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charts/chart1.xml" ContentType="application/vnd.openxmlformats-officedocument.drawingml.chart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heme/themeOverride1.xml" ContentType="application/vnd.openxmlformats-officedocument.themeOverr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handoutMasterIdLst>
    <p:handoutMasterId r:id="rId31"/>
  </p:handoutMasterIdLst>
  <p:sldIdLst>
    <p:sldId id="1029" r:id="rId2"/>
    <p:sldId id="1048" r:id="rId3"/>
    <p:sldId id="1030" r:id="rId4"/>
    <p:sldId id="1074" r:id="rId5"/>
    <p:sldId id="1063" r:id="rId6"/>
    <p:sldId id="1064" r:id="rId7"/>
    <p:sldId id="1066" r:id="rId8"/>
    <p:sldId id="1067" r:id="rId9"/>
    <p:sldId id="1065" r:id="rId10"/>
    <p:sldId id="1076" r:id="rId11"/>
    <p:sldId id="1077" r:id="rId12"/>
    <p:sldId id="1068" r:id="rId13"/>
    <p:sldId id="1070" r:id="rId14"/>
    <p:sldId id="1109" r:id="rId15"/>
    <p:sldId id="1078" r:id="rId16"/>
    <p:sldId id="1069" r:id="rId17"/>
    <p:sldId id="1071" r:id="rId18"/>
    <p:sldId id="1072" r:id="rId19"/>
    <p:sldId id="1075" r:id="rId20"/>
    <p:sldId id="1054" r:id="rId21"/>
    <p:sldId id="1079" r:id="rId22"/>
    <p:sldId id="1080" r:id="rId23"/>
    <p:sldId id="1032" r:id="rId24"/>
    <p:sldId id="1050" r:id="rId25"/>
    <p:sldId id="1040" r:id="rId26"/>
    <p:sldId id="1102" r:id="rId27"/>
    <p:sldId id="1053" r:id="rId28"/>
    <p:sldId id="1098" r:id="rId29"/>
  </p:sldIdLst>
  <p:sldSz cx="12192000" cy="6858000"/>
  <p:notesSz cx="6819900" cy="9918700"/>
  <p:custDataLst>
    <p:tags r:id="rId32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Титульный слайд" id="{B884BE02-F800-47D3-83DF-438D8026D071}">
          <p14:sldIdLst>
            <p14:sldId id="1029"/>
            <p14:sldId id="1048"/>
            <p14:sldId id="1030"/>
            <p14:sldId id="1074"/>
            <p14:sldId id="1063"/>
            <p14:sldId id="1064"/>
            <p14:sldId id="1066"/>
            <p14:sldId id="1067"/>
            <p14:sldId id="1065"/>
            <p14:sldId id="1076"/>
            <p14:sldId id="1077"/>
            <p14:sldId id="1068"/>
            <p14:sldId id="1070"/>
            <p14:sldId id="1109"/>
            <p14:sldId id="1078"/>
            <p14:sldId id="1069"/>
            <p14:sldId id="1071"/>
            <p14:sldId id="1072"/>
            <p14:sldId id="1075"/>
            <p14:sldId id="1054"/>
            <p14:sldId id="1079"/>
            <p14:sldId id="1080"/>
            <p14:sldId id="1032"/>
            <p14:sldId id="1050"/>
            <p14:sldId id="1040"/>
            <p14:sldId id="1102"/>
            <p14:sldId id="1053"/>
            <p14:sldId id="109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685" userDrawn="1">
          <p15:clr>
            <a:srgbClr val="A4A3A4"/>
          </p15:clr>
        </p15:guide>
        <p15:guide id="3" orient="horz" pos="799" userDrawn="1">
          <p15:clr>
            <a:srgbClr val="A4A3A4"/>
          </p15:clr>
        </p15:guide>
        <p15:guide id="4" orient="horz" pos="1026" userDrawn="1">
          <p15:clr>
            <a:srgbClr val="A4A3A4"/>
          </p15:clr>
        </p15:guide>
        <p15:guide id="5" orient="horz" pos="4042" userDrawn="1">
          <p15:clr>
            <a:srgbClr val="A4A3A4"/>
          </p15:clr>
        </p15:guide>
        <p15:guide id="6" pos="211" userDrawn="1">
          <p15:clr>
            <a:srgbClr val="A4A3A4"/>
          </p15:clr>
        </p15:guide>
        <p15:guide id="7" pos="7469" userDrawn="1">
          <p15:clr>
            <a:srgbClr val="A4A3A4"/>
          </p15:clr>
        </p15:guide>
        <p15:guide id="8" orient="horz" pos="4050">
          <p15:clr>
            <a:srgbClr val="A4A3A4"/>
          </p15:clr>
        </p15:guide>
        <p15:guide id="9" orient="horz" pos="336">
          <p15:clr>
            <a:srgbClr val="A4A3A4"/>
          </p15:clr>
        </p15:guide>
        <p15:guide id="10" orient="horz" pos="295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3277"/>
    <a:srgbClr val="EAF2F7"/>
    <a:srgbClr val="979EBA"/>
    <a:srgbClr val="8FA9CA"/>
    <a:srgbClr val="FFFFFF"/>
    <a:srgbClr val="F1B900"/>
    <a:srgbClr val="2A221C"/>
    <a:srgbClr val="00DCFF"/>
    <a:srgbClr val="2E8BFF"/>
    <a:srgbClr val="D6D7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Светлый стиль 1 -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182" autoAdjust="0"/>
    <p:restoredTop sz="96433" autoAdjust="0"/>
  </p:normalViewPr>
  <p:slideViewPr>
    <p:cSldViewPr snapToGrid="0">
      <p:cViewPr varScale="1">
        <p:scale>
          <a:sx n="78" d="100"/>
          <a:sy n="78" d="100"/>
        </p:scale>
        <p:origin x="114" y="774"/>
      </p:cViewPr>
      <p:guideLst>
        <p:guide orient="horz" pos="2160"/>
        <p:guide pos="1685"/>
        <p:guide orient="horz" pos="799"/>
        <p:guide orient="horz" pos="1026"/>
        <p:guide orient="horz" pos="4042"/>
        <p:guide pos="211"/>
        <p:guide pos="7469"/>
        <p:guide orient="horz" pos="4050"/>
        <p:guide orient="horz" pos="336"/>
        <p:guide orient="horz" pos="2954"/>
      </p:guideLst>
    </p:cSldViewPr>
  </p:slideViewPr>
  <p:outlineViewPr>
    <p:cViewPr>
      <p:scale>
        <a:sx n="33" d="100"/>
        <a:sy n="33" d="100"/>
      </p:scale>
      <p:origin x="0" y="-2318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70" d="100"/>
        <a:sy n="170" d="100"/>
      </p:scale>
      <p:origin x="0" y="519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488573680063044E-2"/>
          <c:y val="1.9019751280175568E-2"/>
          <c:w val="0.95902285263987397"/>
          <c:h val="0.9436722750548647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2.2458628841607566E-2"/>
                  <c:y val="-7.168983174835405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BC0A-4FBC-BF4C-DC520F91C2A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2.2458628841607566E-2"/>
                  <c:y val="-7.168983174835405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BC0A-4FBC-BF4C-DC520F91C2A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4"/>
              <c:layout>
                <c:manualLayout>
                  <c:x val="2.2458628841607566E-2"/>
                  <c:y val="-7.168983174835405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BC0A-4FBC-BF4C-DC520F91C2A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6"/>
              <c:layout>
                <c:manualLayout>
                  <c:x val="7.8802206461780922E-3"/>
                  <c:y val="-7.168983174835405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BC0A-4FBC-BF4C-DC520F91C2AF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1053</c:v>
                </c:pt>
                <c:pt idx="2">
                  <c:v>3922</c:v>
                </c:pt>
                <c:pt idx="4">
                  <c:v>2277</c:v>
                </c:pt>
                <c:pt idx="6">
                  <c:v>725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BC0A-4FBC-BF4C-DC520F91C2AF}"/>
            </c:ext>
          </c:extLst>
        </c:ser>
        <c:ser>
          <c:idx val="1"/>
          <c:order val="1"/>
          <c:spPr>
            <a:solidFill>
              <a:srgbClr val="D6D7D9"/>
            </a:solidFill>
            <a:ln>
              <a:noFill/>
            </a:ln>
          </c:spPr>
          <c:invertIfNegative val="0"/>
          <c:val>
            <c:numRef>
              <c:f>Sheet1!$A$2:$G$2</c:f>
              <c:numCache>
                <c:formatCode>General</c:formatCode>
                <c:ptCount val="7"/>
                <c:pt idx="0">
                  <c:v>4492</c:v>
                </c:pt>
                <c:pt idx="2">
                  <c:v>29435.5</c:v>
                </c:pt>
                <c:pt idx="4">
                  <c:v>9474.5499999999993</c:v>
                </c:pt>
                <c:pt idx="6">
                  <c:v>43402.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BC0A-4FBC-BF4C-DC520F91C2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6202632"/>
        <c:axId val="185944808"/>
      </c:barChart>
      <c:catAx>
        <c:axId val="18620263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85944808"/>
        <c:crosses val="min"/>
        <c:auto val="0"/>
        <c:lblAlgn val="ctr"/>
        <c:lblOffset val="100"/>
        <c:noMultiLvlLbl val="0"/>
      </c:catAx>
      <c:valAx>
        <c:axId val="185944808"/>
        <c:scaling>
          <c:orientation val="minMax"/>
          <c:max val="50654.0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862026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33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483BDAD-A82F-4574-A29E-3A57A669E658}" type="doc">
      <dgm:prSet loTypeId="urn:microsoft.com/office/officeart/2005/8/layout/vList3" loCatId="list" qsTypeId="urn:microsoft.com/office/officeart/2005/8/quickstyle/simple1" qsCatId="simple" csTypeId="urn:microsoft.com/office/officeart/2005/8/colors/colorful2" csCatId="colorful" phldr="1"/>
      <dgm:spPr/>
    </dgm:pt>
    <dgm:pt modelId="{E71ECEE6-BFC7-469A-83FD-8A6A50153CED}">
      <dgm:prSet phldrT="[Текст]" custT="1"/>
      <dgm:spPr/>
      <dgm:t>
        <a:bodyPr/>
        <a:lstStyle/>
        <a:p>
          <a:pPr marL="108000" algn="l"/>
          <a:r>
            <a:rPr lang="ru-RU" sz="1200" b="0">
              <a:latin typeface="Arial" pitchFamily="34" charset="0"/>
              <a:cs typeface="Arial" pitchFamily="34" charset="0"/>
            </a:rPr>
            <a:t>Понимать роль руководителя в управлении производительностью</a:t>
          </a:r>
          <a:endParaRPr lang="ru-RU" sz="1200" b="0"/>
        </a:p>
      </dgm:t>
    </dgm:pt>
    <dgm:pt modelId="{1DF0780F-BE08-4670-8219-1807D15C59A4}" type="parTrans" cxnId="{A9FB7267-3054-42FC-86A4-898FDA516D8D}">
      <dgm:prSet/>
      <dgm:spPr/>
      <dgm:t>
        <a:bodyPr/>
        <a:lstStyle/>
        <a:p>
          <a:pPr marL="108000" algn="l"/>
          <a:endParaRPr lang="ru-RU" sz="1200" b="0"/>
        </a:p>
      </dgm:t>
    </dgm:pt>
    <dgm:pt modelId="{8A7C8968-7865-4258-9F8F-F0B675A27088}" type="sibTrans" cxnId="{A9FB7267-3054-42FC-86A4-898FDA516D8D}">
      <dgm:prSet/>
      <dgm:spPr/>
      <dgm:t>
        <a:bodyPr/>
        <a:lstStyle/>
        <a:p>
          <a:pPr marL="108000" algn="l"/>
          <a:endParaRPr lang="ru-RU" sz="1200" b="0"/>
        </a:p>
      </dgm:t>
    </dgm:pt>
    <dgm:pt modelId="{34EEB020-6ADA-4633-96E0-B2BD74D827C7}">
      <dgm:prSet custT="1"/>
      <dgm:spPr/>
      <dgm:t>
        <a:bodyPr/>
        <a:lstStyle/>
        <a:p>
          <a:pPr marL="108000" algn="l"/>
          <a:r>
            <a:rPr lang="ru-RU" sz="1200" b="0" dirty="0">
              <a:latin typeface="Arial" pitchFamily="34" charset="0"/>
              <a:cs typeface="Arial" pitchFamily="34" charset="0"/>
            </a:rPr>
            <a:t>Находить возможность повышения эффективности бизнеса</a:t>
          </a:r>
        </a:p>
      </dgm:t>
    </dgm:pt>
    <dgm:pt modelId="{64888DE5-9A7D-43A8-ADC1-7627CAD7F028}" type="parTrans" cxnId="{7BF74423-4480-4022-8FED-80198855D024}">
      <dgm:prSet/>
      <dgm:spPr/>
      <dgm:t>
        <a:bodyPr/>
        <a:lstStyle/>
        <a:p>
          <a:pPr marL="108000" algn="l"/>
          <a:endParaRPr lang="ru-RU" sz="1200" b="0"/>
        </a:p>
      </dgm:t>
    </dgm:pt>
    <dgm:pt modelId="{5757254B-ECAA-4A15-9EDC-E3B5EB97BC0E}" type="sibTrans" cxnId="{7BF74423-4480-4022-8FED-80198855D024}">
      <dgm:prSet/>
      <dgm:spPr/>
      <dgm:t>
        <a:bodyPr/>
        <a:lstStyle/>
        <a:p>
          <a:pPr marL="108000" algn="l"/>
          <a:endParaRPr lang="ru-RU" sz="1200" b="0"/>
        </a:p>
      </dgm:t>
    </dgm:pt>
    <dgm:pt modelId="{6E20F84C-3CD6-4B56-AE07-D3DA32AF97BC}">
      <dgm:prSet custT="1"/>
      <dgm:spPr/>
      <dgm:t>
        <a:bodyPr/>
        <a:lstStyle/>
        <a:p>
          <a:pPr marL="108000" algn="l"/>
          <a:r>
            <a:rPr lang="ru-RU" sz="1200" b="0" dirty="0">
              <a:latin typeface="Arial" pitchFamily="34" charset="0"/>
              <a:cs typeface="Arial" pitchFamily="34" charset="0"/>
            </a:rPr>
            <a:t>Выстраивать партнерские отношения для достижения максимального результата</a:t>
          </a:r>
        </a:p>
      </dgm:t>
    </dgm:pt>
    <dgm:pt modelId="{B9130B86-F1A1-480E-A844-20C08B961A43}" type="parTrans" cxnId="{8FE799B5-99C2-4DC1-8369-55F22E93CF8B}">
      <dgm:prSet/>
      <dgm:spPr/>
      <dgm:t>
        <a:bodyPr/>
        <a:lstStyle/>
        <a:p>
          <a:pPr marL="108000" algn="l"/>
          <a:endParaRPr lang="ru-RU" sz="1200" b="0"/>
        </a:p>
      </dgm:t>
    </dgm:pt>
    <dgm:pt modelId="{9FC40BD8-D027-41F6-AB0D-01CA373DBD32}" type="sibTrans" cxnId="{8FE799B5-99C2-4DC1-8369-55F22E93CF8B}">
      <dgm:prSet/>
      <dgm:spPr/>
      <dgm:t>
        <a:bodyPr/>
        <a:lstStyle/>
        <a:p>
          <a:pPr marL="108000" algn="l"/>
          <a:endParaRPr lang="ru-RU" sz="1200" b="0"/>
        </a:p>
      </dgm:t>
    </dgm:pt>
    <dgm:pt modelId="{1F54BFB2-87B0-4D51-9C07-B56892B41D91}">
      <dgm:prSet custT="1"/>
      <dgm:spPr/>
      <dgm:t>
        <a:bodyPr/>
        <a:lstStyle/>
        <a:p>
          <a:pPr marL="108000" algn="l"/>
          <a:r>
            <a:rPr lang="ru-RU" sz="1200" b="0" dirty="0">
              <a:latin typeface="Arial" pitchFamily="34" charset="0"/>
              <a:cs typeface="Arial" pitchFamily="34" charset="0"/>
            </a:rPr>
            <a:t>Понимать потребности клиентов и действовать в условиях конкуренции </a:t>
          </a:r>
        </a:p>
      </dgm:t>
    </dgm:pt>
    <dgm:pt modelId="{7B784952-B520-4952-B554-58FE4A47FB5E}" type="parTrans" cxnId="{F0E3126D-0ABE-4105-80B4-0C66108FB944}">
      <dgm:prSet/>
      <dgm:spPr/>
      <dgm:t>
        <a:bodyPr/>
        <a:lstStyle/>
        <a:p>
          <a:pPr marL="108000" algn="l"/>
          <a:endParaRPr lang="ru-RU" sz="1200" b="0"/>
        </a:p>
      </dgm:t>
    </dgm:pt>
    <dgm:pt modelId="{A7A0B6E4-72AD-44F1-BFE6-B398A368CE2A}" type="sibTrans" cxnId="{F0E3126D-0ABE-4105-80B4-0C66108FB944}">
      <dgm:prSet/>
      <dgm:spPr/>
      <dgm:t>
        <a:bodyPr/>
        <a:lstStyle/>
        <a:p>
          <a:pPr marL="108000" algn="l"/>
          <a:endParaRPr lang="ru-RU" sz="1200" b="0"/>
        </a:p>
      </dgm:t>
    </dgm:pt>
    <dgm:pt modelId="{2FE0B574-B05B-4C5F-9E96-391A757F7E28}">
      <dgm:prSet custT="1"/>
      <dgm:spPr/>
      <dgm:t>
        <a:bodyPr/>
        <a:lstStyle/>
        <a:p>
          <a:pPr marL="108000" algn="l"/>
          <a:r>
            <a:rPr lang="ru-RU" sz="1200" b="0" dirty="0">
              <a:latin typeface="Arial" pitchFamily="34" charset="0"/>
              <a:cs typeface="Arial" pitchFamily="34" charset="0"/>
            </a:rPr>
            <a:t>Эффективно запускать и управлять проектами</a:t>
          </a:r>
        </a:p>
      </dgm:t>
    </dgm:pt>
    <dgm:pt modelId="{71A377F0-8D8E-46F7-A5E5-2D22D8CA8FE7}" type="parTrans" cxnId="{1ED91AD9-1E37-4130-BF29-09880C229422}">
      <dgm:prSet/>
      <dgm:spPr/>
      <dgm:t>
        <a:bodyPr/>
        <a:lstStyle/>
        <a:p>
          <a:pPr marL="108000" algn="l"/>
          <a:endParaRPr lang="ru-RU" sz="1200" b="0"/>
        </a:p>
      </dgm:t>
    </dgm:pt>
    <dgm:pt modelId="{113263BF-8FBD-4C5A-9278-DF17131A69CF}" type="sibTrans" cxnId="{1ED91AD9-1E37-4130-BF29-09880C229422}">
      <dgm:prSet/>
      <dgm:spPr/>
      <dgm:t>
        <a:bodyPr/>
        <a:lstStyle/>
        <a:p>
          <a:pPr marL="108000" algn="l"/>
          <a:endParaRPr lang="ru-RU" sz="1200" b="0"/>
        </a:p>
      </dgm:t>
    </dgm:pt>
    <dgm:pt modelId="{EA3DE0FB-E669-48CC-8FA3-F39DCD56FD2D}">
      <dgm:prSet custT="1"/>
      <dgm:spPr/>
      <dgm:t>
        <a:bodyPr/>
        <a:lstStyle/>
        <a:p>
          <a:pPr marL="108000" algn="l"/>
          <a:r>
            <a:rPr lang="ru-RU" sz="1200" b="0">
              <a:latin typeface="Arial" pitchFamily="34" charset="0"/>
              <a:cs typeface="Arial" pitchFamily="34" charset="0"/>
            </a:rPr>
            <a:t>Комплексно оценивать свое предприятие с точки зрения производительности труда </a:t>
          </a:r>
          <a:endParaRPr lang="ru-RU" sz="1200" b="0" dirty="0">
            <a:latin typeface="Arial" pitchFamily="34" charset="0"/>
            <a:cs typeface="Arial" pitchFamily="34" charset="0"/>
          </a:endParaRPr>
        </a:p>
      </dgm:t>
    </dgm:pt>
    <dgm:pt modelId="{AF726105-BB99-451A-8795-1FC9D25A70D2}" type="parTrans" cxnId="{CE9E255D-16FD-4FAA-8029-5BCE012A7274}">
      <dgm:prSet/>
      <dgm:spPr/>
      <dgm:t>
        <a:bodyPr/>
        <a:lstStyle/>
        <a:p>
          <a:pPr marL="108000" algn="l"/>
          <a:endParaRPr lang="ru-RU" sz="1200" b="0"/>
        </a:p>
      </dgm:t>
    </dgm:pt>
    <dgm:pt modelId="{A9EE25EB-FB4A-46C0-9912-BDF98397352D}" type="sibTrans" cxnId="{CE9E255D-16FD-4FAA-8029-5BCE012A7274}">
      <dgm:prSet/>
      <dgm:spPr/>
      <dgm:t>
        <a:bodyPr/>
        <a:lstStyle/>
        <a:p>
          <a:pPr marL="108000" algn="l"/>
          <a:endParaRPr lang="ru-RU" sz="1200" b="0"/>
        </a:p>
      </dgm:t>
    </dgm:pt>
    <dgm:pt modelId="{3E6BCD72-8463-49B6-9E17-B9C042046D8A}" type="pres">
      <dgm:prSet presAssocID="{3483BDAD-A82F-4574-A29E-3A57A669E658}" presName="linearFlow" presStyleCnt="0">
        <dgm:presLayoutVars>
          <dgm:dir/>
          <dgm:resizeHandles val="exact"/>
        </dgm:presLayoutVars>
      </dgm:prSet>
      <dgm:spPr/>
    </dgm:pt>
    <dgm:pt modelId="{438FD87E-4B03-4F59-8EAE-C7632BCA7324}" type="pres">
      <dgm:prSet presAssocID="{E71ECEE6-BFC7-469A-83FD-8A6A50153CED}" presName="composite" presStyleCnt="0"/>
      <dgm:spPr/>
    </dgm:pt>
    <dgm:pt modelId="{B18ECE9C-7244-4374-B4F2-23B433F8314B}" type="pres">
      <dgm:prSet presAssocID="{E71ECEE6-BFC7-469A-83FD-8A6A50153CED}" presName="imgShp" presStyleLbl="fgImgPlace1" presStyleIdx="0" presStyleCnt="6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54A97A67-36B1-49CF-A34D-4AC8ECBDF535}" type="pres">
      <dgm:prSet presAssocID="{E71ECEE6-BFC7-469A-83FD-8A6A50153CED}" presName="txShp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2D68C45-11FE-44BE-AA51-CBF73D5E4FA4}" type="pres">
      <dgm:prSet presAssocID="{8A7C8968-7865-4258-9F8F-F0B675A27088}" presName="spacing" presStyleCnt="0"/>
      <dgm:spPr/>
    </dgm:pt>
    <dgm:pt modelId="{7AEFB0B3-DD66-4AC8-AB27-8049C174E4A6}" type="pres">
      <dgm:prSet presAssocID="{34EEB020-6ADA-4633-96E0-B2BD74D827C7}" presName="composite" presStyleCnt="0"/>
      <dgm:spPr/>
    </dgm:pt>
    <dgm:pt modelId="{82070AF4-F9B9-4138-AF72-29B9DDAF2104}" type="pres">
      <dgm:prSet presAssocID="{34EEB020-6ADA-4633-96E0-B2BD74D827C7}" presName="imgShp" presStyleLbl="fgImgPlace1" presStyleIdx="1" presStyleCnt="6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9FC3EBDC-A5DF-465D-A27C-F8E245D98B9F}" type="pres">
      <dgm:prSet presAssocID="{34EEB020-6ADA-4633-96E0-B2BD74D827C7}" presName="txShp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01DFA77-6CD1-4C7C-A17B-BB1641ABD672}" type="pres">
      <dgm:prSet presAssocID="{5757254B-ECAA-4A15-9EDC-E3B5EB97BC0E}" presName="spacing" presStyleCnt="0"/>
      <dgm:spPr/>
    </dgm:pt>
    <dgm:pt modelId="{23070A35-8EFF-4848-9265-030547DF8F53}" type="pres">
      <dgm:prSet presAssocID="{EA3DE0FB-E669-48CC-8FA3-F39DCD56FD2D}" presName="composite" presStyleCnt="0"/>
      <dgm:spPr/>
    </dgm:pt>
    <dgm:pt modelId="{A4371D21-2620-4E23-BA21-3E2AFE5348AB}" type="pres">
      <dgm:prSet presAssocID="{EA3DE0FB-E669-48CC-8FA3-F39DCD56FD2D}" presName="imgShp" presStyleLbl="fgImgPlace1" presStyleIdx="2" presStyleCnt="6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6EC328A2-5344-432A-820D-F0455C023578}" type="pres">
      <dgm:prSet presAssocID="{EA3DE0FB-E669-48CC-8FA3-F39DCD56FD2D}" presName="txShp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80CEB0A-B947-4608-974F-27BC66A1FCD2}" type="pres">
      <dgm:prSet presAssocID="{A9EE25EB-FB4A-46C0-9912-BDF98397352D}" presName="spacing" presStyleCnt="0"/>
      <dgm:spPr/>
    </dgm:pt>
    <dgm:pt modelId="{D4DBF3C2-36FD-453A-969B-BB9D584A5ECD}" type="pres">
      <dgm:prSet presAssocID="{6E20F84C-3CD6-4B56-AE07-D3DA32AF97BC}" presName="composite" presStyleCnt="0"/>
      <dgm:spPr/>
    </dgm:pt>
    <dgm:pt modelId="{A22ECC96-79DC-448F-9E7D-2DE50AD4BEA0}" type="pres">
      <dgm:prSet presAssocID="{6E20F84C-3CD6-4B56-AE07-D3DA32AF97BC}" presName="imgShp" presStyleLbl="fgImgPlace1" presStyleIdx="3" presStyleCnt="6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045CA6AB-C431-4F5E-9EF2-94F04810D829}" type="pres">
      <dgm:prSet presAssocID="{6E20F84C-3CD6-4B56-AE07-D3DA32AF97BC}" presName="txShp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2D7D574-F5D7-4866-96F3-34A1B8A9C7D0}" type="pres">
      <dgm:prSet presAssocID="{9FC40BD8-D027-41F6-AB0D-01CA373DBD32}" presName="spacing" presStyleCnt="0"/>
      <dgm:spPr/>
    </dgm:pt>
    <dgm:pt modelId="{A4CBDA38-FA66-4E68-B7E6-C24FA139C72E}" type="pres">
      <dgm:prSet presAssocID="{1F54BFB2-87B0-4D51-9C07-B56892B41D91}" presName="composite" presStyleCnt="0"/>
      <dgm:spPr/>
    </dgm:pt>
    <dgm:pt modelId="{A25612FA-0538-4447-9706-E9732C644BE9}" type="pres">
      <dgm:prSet presAssocID="{1F54BFB2-87B0-4D51-9C07-B56892B41D91}" presName="imgShp" presStyleLbl="fgImgPlace1" presStyleIdx="4" presStyleCnt="6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3C0B0919-FBB4-4357-9039-4D6F7447B968}" type="pres">
      <dgm:prSet presAssocID="{1F54BFB2-87B0-4D51-9C07-B56892B41D91}" presName="txShp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C7EB895-C831-42EF-AB0D-94C897504360}" type="pres">
      <dgm:prSet presAssocID="{A7A0B6E4-72AD-44F1-BFE6-B398A368CE2A}" presName="spacing" presStyleCnt="0"/>
      <dgm:spPr/>
    </dgm:pt>
    <dgm:pt modelId="{481327F8-EA8C-4908-9FAB-235E8CDF6D59}" type="pres">
      <dgm:prSet presAssocID="{2FE0B574-B05B-4C5F-9E96-391A757F7E28}" presName="composite" presStyleCnt="0"/>
      <dgm:spPr/>
    </dgm:pt>
    <dgm:pt modelId="{19959B7A-359A-4981-9E0D-58FDA31338EB}" type="pres">
      <dgm:prSet presAssocID="{2FE0B574-B05B-4C5F-9E96-391A757F7E28}" presName="imgShp" presStyleLbl="fgImgPlace1" presStyleIdx="5" presStyleCnt="6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</dgm:pt>
    <dgm:pt modelId="{F6818014-2AF0-4113-914B-96B3C9F68D17}" type="pres">
      <dgm:prSet presAssocID="{2FE0B574-B05B-4C5F-9E96-391A757F7E28}" presName="txShp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9FB7267-3054-42FC-86A4-898FDA516D8D}" srcId="{3483BDAD-A82F-4574-A29E-3A57A669E658}" destId="{E71ECEE6-BFC7-469A-83FD-8A6A50153CED}" srcOrd="0" destOrd="0" parTransId="{1DF0780F-BE08-4670-8219-1807D15C59A4}" sibTransId="{8A7C8968-7865-4258-9F8F-F0B675A27088}"/>
    <dgm:cxn modelId="{6844644E-6C84-4FD8-92AB-603DF3F43CD2}" type="presOf" srcId="{EA3DE0FB-E669-48CC-8FA3-F39DCD56FD2D}" destId="{6EC328A2-5344-432A-820D-F0455C023578}" srcOrd="0" destOrd="0" presId="urn:microsoft.com/office/officeart/2005/8/layout/vList3"/>
    <dgm:cxn modelId="{F0E3126D-0ABE-4105-80B4-0C66108FB944}" srcId="{3483BDAD-A82F-4574-A29E-3A57A669E658}" destId="{1F54BFB2-87B0-4D51-9C07-B56892B41D91}" srcOrd="4" destOrd="0" parTransId="{7B784952-B520-4952-B554-58FE4A47FB5E}" sibTransId="{A7A0B6E4-72AD-44F1-BFE6-B398A368CE2A}"/>
    <dgm:cxn modelId="{B227574A-567E-4A98-B427-CD9AFF17251F}" type="presOf" srcId="{E71ECEE6-BFC7-469A-83FD-8A6A50153CED}" destId="{54A97A67-36B1-49CF-A34D-4AC8ECBDF535}" srcOrd="0" destOrd="0" presId="urn:microsoft.com/office/officeart/2005/8/layout/vList3"/>
    <dgm:cxn modelId="{BDA76DFF-5973-4CD7-8FCD-71F4C8998A50}" type="presOf" srcId="{34EEB020-6ADA-4633-96E0-B2BD74D827C7}" destId="{9FC3EBDC-A5DF-465D-A27C-F8E245D98B9F}" srcOrd="0" destOrd="0" presId="urn:microsoft.com/office/officeart/2005/8/layout/vList3"/>
    <dgm:cxn modelId="{B7F3EE23-E6A9-4618-8869-9D5DAE80E588}" type="presOf" srcId="{3483BDAD-A82F-4574-A29E-3A57A669E658}" destId="{3E6BCD72-8463-49B6-9E17-B9C042046D8A}" srcOrd="0" destOrd="0" presId="urn:microsoft.com/office/officeart/2005/8/layout/vList3"/>
    <dgm:cxn modelId="{2FD73DD6-73B4-4882-A42D-100626E7EE20}" type="presOf" srcId="{2FE0B574-B05B-4C5F-9E96-391A757F7E28}" destId="{F6818014-2AF0-4113-914B-96B3C9F68D17}" srcOrd="0" destOrd="0" presId="urn:microsoft.com/office/officeart/2005/8/layout/vList3"/>
    <dgm:cxn modelId="{1ED91AD9-1E37-4130-BF29-09880C229422}" srcId="{3483BDAD-A82F-4574-A29E-3A57A669E658}" destId="{2FE0B574-B05B-4C5F-9E96-391A757F7E28}" srcOrd="5" destOrd="0" parTransId="{71A377F0-8D8E-46F7-A5E5-2D22D8CA8FE7}" sibTransId="{113263BF-8FBD-4C5A-9278-DF17131A69CF}"/>
    <dgm:cxn modelId="{F3617EEF-905D-4209-8434-069B580F61C2}" type="presOf" srcId="{1F54BFB2-87B0-4D51-9C07-B56892B41D91}" destId="{3C0B0919-FBB4-4357-9039-4D6F7447B968}" srcOrd="0" destOrd="0" presId="urn:microsoft.com/office/officeart/2005/8/layout/vList3"/>
    <dgm:cxn modelId="{7E1A179C-FDFE-4773-8AC5-94A144BA3317}" type="presOf" srcId="{6E20F84C-3CD6-4B56-AE07-D3DA32AF97BC}" destId="{045CA6AB-C431-4F5E-9EF2-94F04810D829}" srcOrd="0" destOrd="0" presId="urn:microsoft.com/office/officeart/2005/8/layout/vList3"/>
    <dgm:cxn modelId="{7BF74423-4480-4022-8FED-80198855D024}" srcId="{3483BDAD-A82F-4574-A29E-3A57A669E658}" destId="{34EEB020-6ADA-4633-96E0-B2BD74D827C7}" srcOrd="1" destOrd="0" parTransId="{64888DE5-9A7D-43A8-ADC1-7627CAD7F028}" sibTransId="{5757254B-ECAA-4A15-9EDC-E3B5EB97BC0E}"/>
    <dgm:cxn modelId="{CE9E255D-16FD-4FAA-8029-5BCE012A7274}" srcId="{3483BDAD-A82F-4574-A29E-3A57A669E658}" destId="{EA3DE0FB-E669-48CC-8FA3-F39DCD56FD2D}" srcOrd="2" destOrd="0" parTransId="{AF726105-BB99-451A-8795-1FC9D25A70D2}" sibTransId="{A9EE25EB-FB4A-46C0-9912-BDF98397352D}"/>
    <dgm:cxn modelId="{8FE799B5-99C2-4DC1-8369-55F22E93CF8B}" srcId="{3483BDAD-A82F-4574-A29E-3A57A669E658}" destId="{6E20F84C-3CD6-4B56-AE07-D3DA32AF97BC}" srcOrd="3" destOrd="0" parTransId="{B9130B86-F1A1-480E-A844-20C08B961A43}" sibTransId="{9FC40BD8-D027-41F6-AB0D-01CA373DBD32}"/>
    <dgm:cxn modelId="{DF010901-4F2B-47FF-A7F1-EFECD0884B1A}" type="presParOf" srcId="{3E6BCD72-8463-49B6-9E17-B9C042046D8A}" destId="{438FD87E-4B03-4F59-8EAE-C7632BCA7324}" srcOrd="0" destOrd="0" presId="urn:microsoft.com/office/officeart/2005/8/layout/vList3"/>
    <dgm:cxn modelId="{E23CFA39-CD55-447B-B4FC-B7759A237BA5}" type="presParOf" srcId="{438FD87E-4B03-4F59-8EAE-C7632BCA7324}" destId="{B18ECE9C-7244-4374-B4F2-23B433F8314B}" srcOrd="0" destOrd="0" presId="urn:microsoft.com/office/officeart/2005/8/layout/vList3"/>
    <dgm:cxn modelId="{36BC98BF-C537-4C5E-AFD5-14D0A61FA93F}" type="presParOf" srcId="{438FD87E-4B03-4F59-8EAE-C7632BCA7324}" destId="{54A97A67-36B1-49CF-A34D-4AC8ECBDF535}" srcOrd="1" destOrd="0" presId="urn:microsoft.com/office/officeart/2005/8/layout/vList3"/>
    <dgm:cxn modelId="{E5C1FD6F-41AB-4100-B3F1-04E8C39CAA03}" type="presParOf" srcId="{3E6BCD72-8463-49B6-9E17-B9C042046D8A}" destId="{E2D68C45-11FE-44BE-AA51-CBF73D5E4FA4}" srcOrd="1" destOrd="0" presId="urn:microsoft.com/office/officeart/2005/8/layout/vList3"/>
    <dgm:cxn modelId="{55CC9D8B-DE30-46AA-9C62-DFF1A48DB98A}" type="presParOf" srcId="{3E6BCD72-8463-49B6-9E17-B9C042046D8A}" destId="{7AEFB0B3-DD66-4AC8-AB27-8049C174E4A6}" srcOrd="2" destOrd="0" presId="urn:microsoft.com/office/officeart/2005/8/layout/vList3"/>
    <dgm:cxn modelId="{3E46E6FB-766C-4CF5-B68D-9F29758638E5}" type="presParOf" srcId="{7AEFB0B3-DD66-4AC8-AB27-8049C174E4A6}" destId="{82070AF4-F9B9-4138-AF72-29B9DDAF2104}" srcOrd="0" destOrd="0" presId="urn:microsoft.com/office/officeart/2005/8/layout/vList3"/>
    <dgm:cxn modelId="{4491C9E3-A3A0-4F8A-858B-8EBF1D23B008}" type="presParOf" srcId="{7AEFB0B3-DD66-4AC8-AB27-8049C174E4A6}" destId="{9FC3EBDC-A5DF-465D-A27C-F8E245D98B9F}" srcOrd="1" destOrd="0" presId="urn:microsoft.com/office/officeart/2005/8/layout/vList3"/>
    <dgm:cxn modelId="{B43BE005-26D3-4FF9-9754-A81E75976F97}" type="presParOf" srcId="{3E6BCD72-8463-49B6-9E17-B9C042046D8A}" destId="{301DFA77-6CD1-4C7C-A17B-BB1641ABD672}" srcOrd="3" destOrd="0" presId="urn:microsoft.com/office/officeart/2005/8/layout/vList3"/>
    <dgm:cxn modelId="{BE6803A5-D94A-4E21-AB93-83E17F174637}" type="presParOf" srcId="{3E6BCD72-8463-49B6-9E17-B9C042046D8A}" destId="{23070A35-8EFF-4848-9265-030547DF8F53}" srcOrd="4" destOrd="0" presId="urn:microsoft.com/office/officeart/2005/8/layout/vList3"/>
    <dgm:cxn modelId="{6673A8C6-6ACF-47EE-9707-A040694553B4}" type="presParOf" srcId="{23070A35-8EFF-4848-9265-030547DF8F53}" destId="{A4371D21-2620-4E23-BA21-3E2AFE5348AB}" srcOrd="0" destOrd="0" presId="urn:microsoft.com/office/officeart/2005/8/layout/vList3"/>
    <dgm:cxn modelId="{79D68F86-113B-421D-8931-3489BD5E8CCD}" type="presParOf" srcId="{23070A35-8EFF-4848-9265-030547DF8F53}" destId="{6EC328A2-5344-432A-820D-F0455C023578}" srcOrd="1" destOrd="0" presId="urn:microsoft.com/office/officeart/2005/8/layout/vList3"/>
    <dgm:cxn modelId="{C02F4CA9-02E8-4F1E-9C67-17D69E760FDF}" type="presParOf" srcId="{3E6BCD72-8463-49B6-9E17-B9C042046D8A}" destId="{980CEB0A-B947-4608-974F-27BC66A1FCD2}" srcOrd="5" destOrd="0" presId="urn:microsoft.com/office/officeart/2005/8/layout/vList3"/>
    <dgm:cxn modelId="{DF9ADB18-61F3-4520-AA2E-68682428CB08}" type="presParOf" srcId="{3E6BCD72-8463-49B6-9E17-B9C042046D8A}" destId="{D4DBF3C2-36FD-453A-969B-BB9D584A5ECD}" srcOrd="6" destOrd="0" presId="urn:microsoft.com/office/officeart/2005/8/layout/vList3"/>
    <dgm:cxn modelId="{B388DA37-7DEF-4177-B4C8-D631D22BDC08}" type="presParOf" srcId="{D4DBF3C2-36FD-453A-969B-BB9D584A5ECD}" destId="{A22ECC96-79DC-448F-9E7D-2DE50AD4BEA0}" srcOrd="0" destOrd="0" presId="urn:microsoft.com/office/officeart/2005/8/layout/vList3"/>
    <dgm:cxn modelId="{625A029F-78B2-42D6-B47B-CED1B29636F7}" type="presParOf" srcId="{D4DBF3C2-36FD-453A-969B-BB9D584A5ECD}" destId="{045CA6AB-C431-4F5E-9EF2-94F04810D829}" srcOrd="1" destOrd="0" presId="urn:microsoft.com/office/officeart/2005/8/layout/vList3"/>
    <dgm:cxn modelId="{EA47904F-882C-41B4-8829-ABE74A18DA00}" type="presParOf" srcId="{3E6BCD72-8463-49B6-9E17-B9C042046D8A}" destId="{F2D7D574-F5D7-4866-96F3-34A1B8A9C7D0}" srcOrd="7" destOrd="0" presId="urn:microsoft.com/office/officeart/2005/8/layout/vList3"/>
    <dgm:cxn modelId="{D5FEE5CD-DB70-476C-9E80-A6A38013215A}" type="presParOf" srcId="{3E6BCD72-8463-49B6-9E17-B9C042046D8A}" destId="{A4CBDA38-FA66-4E68-B7E6-C24FA139C72E}" srcOrd="8" destOrd="0" presId="urn:microsoft.com/office/officeart/2005/8/layout/vList3"/>
    <dgm:cxn modelId="{25E01097-D55E-4615-AD76-2897617BC415}" type="presParOf" srcId="{A4CBDA38-FA66-4E68-B7E6-C24FA139C72E}" destId="{A25612FA-0538-4447-9706-E9732C644BE9}" srcOrd="0" destOrd="0" presId="urn:microsoft.com/office/officeart/2005/8/layout/vList3"/>
    <dgm:cxn modelId="{865565E1-D93D-427E-8391-C5095961F656}" type="presParOf" srcId="{A4CBDA38-FA66-4E68-B7E6-C24FA139C72E}" destId="{3C0B0919-FBB4-4357-9039-4D6F7447B968}" srcOrd="1" destOrd="0" presId="urn:microsoft.com/office/officeart/2005/8/layout/vList3"/>
    <dgm:cxn modelId="{A8065E7D-D250-49CE-A7D0-B1C2336D8660}" type="presParOf" srcId="{3E6BCD72-8463-49B6-9E17-B9C042046D8A}" destId="{FC7EB895-C831-42EF-AB0D-94C897504360}" srcOrd="9" destOrd="0" presId="urn:microsoft.com/office/officeart/2005/8/layout/vList3"/>
    <dgm:cxn modelId="{C435D93B-A0A9-4FBE-9F29-91D2A9F47385}" type="presParOf" srcId="{3E6BCD72-8463-49B6-9E17-B9C042046D8A}" destId="{481327F8-EA8C-4908-9FAB-235E8CDF6D59}" srcOrd="10" destOrd="0" presId="urn:microsoft.com/office/officeart/2005/8/layout/vList3"/>
    <dgm:cxn modelId="{9A9DC1F8-DC7E-4DC0-8806-C5F1DB4273C2}" type="presParOf" srcId="{481327F8-EA8C-4908-9FAB-235E8CDF6D59}" destId="{19959B7A-359A-4981-9E0D-58FDA31338EB}" srcOrd="0" destOrd="0" presId="urn:microsoft.com/office/officeart/2005/8/layout/vList3"/>
    <dgm:cxn modelId="{0147A1E3-D010-4BBA-8056-857CE32B0B8D}" type="presParOf" srcId="{481327F8-EA8C-4908-9FAB-235E8CDF6D59}" destId="{F6818014-2AF0-4113-914B-96B3C9F68D17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6033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62275" y="0"/>
            <a:ext cx="2956033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889F09-BCA8-4BA4-A9DF-D1C0C96DB8B3}" type="datetimeFigureOut">
              <a:rPr lang="ru-RU" smtClean="0"/>
              <a:t>01.08.2019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0624"/>
            <a:ext cx="2956033" cy="4964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62275" y="9420624"/>
            <a:ext cx="2956033" cy="4964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EA4C60-8B47-46ED-8987-3C0A3D3D8D1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89970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5290" cy="495935"/>
          </a:xfrm>
          <a:prstGeom prst="rect">
            <a:avLst/>
          </a:prstGeom>
        </p:spPr>
        <p:txBody>
          <a:bodyPr vert="horz" lIns="91422" tIns="45710" rIns="91422" bIns="4571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63033" y="0"/>
            <a:ext cx="2955290" cy="495935"/>
          </a:xfrm>
          <a:prstGeom prst="rect">
            <a:avLst/>
          </a:prstGeom>
        </p:spPr>
        <p:txBody>
          <a:bodyPr vert="horz" lIns="91422" tIns="45710" rIns="91422" bIns="45710" rtlCol="0"/>
          <a:lstStyle>
            <a:lvl1pPr algn="r">
              <a:defRPr sz="1200"/>
            </a:lvl1pPr>
          </a:lstStyle>
          <a:p>
            <a:fld id="{1C0104B7-604D-471A-9F0C-C227F6571743}" type="datetimeFigureOut">
              <a:rPr lang="ru-RU" smtClean="0"/>
              <a:pPr/>
              <a:t>01.08.2019</a:t>
            </a:fld>
            <a:endParaRPr lang="ru-R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4775" y="744538"/>
            <a:ext cx="6610350" cy="3717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2" tIns="45710" rIns="91422" bIns="45710" rtlCol="0" anchor="ctr"/>
          <a:lstStyle/>
          <a:p>
            <a:endParaRPr lang="ru-R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991" y="4711383"/>
            <a:ext cx="5455920" cy="4463415"/>
          </a:xfrm>
          <a:prstGeom prst="rect">
            <a:avLst/>
          </a:prstGeom>
        </p:spPr>
        <p:txBody>
          <a:bodyPr vert="horz" lIns="91422" tIns="45710" rIns="91422" bIns="4571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1045"/>
            <a:ext cx="2955290" cy="495935"/>
          </a:xfrm>
          <a:prstGeom prst="rect">
            <a:avLst/>
          </a:prstGeom>
        </p:spPr>
        <p:txBody>
          <a:bodyPr vert="horz" lIns="91422" tIns="45710" rIns="91422" bIns="4571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63033" y="9421045"/>
            <a:ext cx="2955290" cy="495935"/>
          </a:xfrm>
          <a:prstGeom prst="rect">
            <a:avLst/>
          </a:prstGeom>
        </p:spPr>
        <p:txBody>
          <a:bodyPr vert="horz" lIns="91422" tIns="45710" rIns="91422" bIns="45710" rtlCol="0" anchor="b"/>
          <a:lstStyle>
            <a:lvl1pPr algn="r">
              <a:defRPr sz="1200"/>
            </a:lvl1pPr>
          </a:lstStyle>
          <a:p>
            <a:fld id="{58C705D4-1822-4D6C-991A-C0638EBD8F3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91019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853DF0-0FAC-4703-AC89-C9779A702D3E}" type="slidenum">
              <a:rPr lang="ru-RU" smtClean="0"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5931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371612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="" xmlns:a16="http://schemas.microsoft.com/office/drawing/2014/main" id="{01097F7E-A264-479C-84B4-27CCB0C605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696"/>
          <a:stretch/>
        </p:blipFill>
        <p:spPr>
          <a:xfrm>
            <a:off x="3119669" y="548680"/>
            <a:ext cx="9072331" cy="1455532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="" xmlns:a16="http://schemas.microsoft.com/office/drawing/2014/main" id="{FE257C70-8464-4BB2-873D-2AE8ED2B605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4384" y="2504489"/>
            <a:ext cx="8852256" cy="1470025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14" name="Subtitle 2">
            <a:extLst>
              <a:ext uri="{FF2B5EF4-FFF2-40B4-BE49-F238E27FC236}">
                <a16:creationId xmlns="" xmlns:a16="http://schemas.microsoft.com/office/drawing/2014/main" id="{84EC7EB9-B45A-4911-A811-95A7571691E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14000" y="4268688"/>
            <a:ext cx="8842640" cy="1752600"/>
          </a:xfrm>
        </p:spPr>
        <p:txBody>
          <a:bodyPr anchor="ctr" anchorCtr="0"/>
          <a:lstStyle>
            <a:lvl1pPr marL="0" indent="0" algn="l">
              <a:buNone/>
              <a:defRPr>
                <a:solidFill>
                  <a:schemeClr val="tx2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15" name="Date Placeholder 3">
            <a:extLst>
              <a:ext uri="{FF2B5EF4-FFF2-40B4-BE49-F238E27FC236}">
                <a16:creationId xmlns="" xmlns:a16="http://schemas.microsoft.com/office/drawing/2014/main" id="{36812166-3AF8-48A5-8851-704815425DC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</p:spPr>
        <p:txBody>
          <a:bodyPr/>
          <a:lstStyle/>
          <a:p>
            <a:fld id="{42F99DE9-7370-4CF2-9EDA-B87204C4BBC3}" type="datetimeFigureOut">
              <a:rPr lang="ru-RU" smtClean="0"/>
              <a:pPr/>
              <a:t>01.08.2019</a:t>
            </a:fld>
            <a:endParaRPr lang="ru-RU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="" xmlns:a16="http://schemas.microsoft.com/office/drawing/2014/main" id="{2F0F4334-D665-4C57-9B85-0391C8374C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="" xmlns:a16="http://schemas.microsoft.com/office/drawing/2014/main" id="{50DD1615-BE5A-45D4-8AFF-0E6CBC24A3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</p:spPr>
        <p:txBody>
          <a:bodyPr/>
          <a:lstStyle/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8" name="Picture 6">
            <a:extLst>
              <a:ext uri="{FF2B5EF4-FFF2-40B4-BE49-F238E27FC236}">
                <a16:creationId xmlns="" xmlns:a16="http://schemas.microsoft.com/office/drawing/2014/main" id="{9DD086EA-B276-4C4E-8991-D3237FE2A39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4730" y="534280"/>
            <a:ext cx="1535378" cy="1512168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859D43E8-5DAB-455D-AB97-F15AE01C8B6E}"/>
              </a:ext>
            </a:extLst>
          </p:cNvPr>
          <p:cNvSpPr txBox="1"/>
          <p:nvPr userDrawn="1"/>
        </p:nvSpPr>
        <p:spPr>
          <a:xfrm>
            <a:off x="3119669" y="860948"/>
            <a:ext cx="9072331" cy="830997"/>
          </a:xfrm>
          <a:prstGeom prst="rect">
            <a:avLst/>
          </a:prstGeom>
          <a:solidFill>
            <a:schemeClr val="bg1">
              <a:lumMod val="95000"/>
              <a:alpha val="9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Министерство экономического развития</a:t>
            </a:r>
          </a:p>
          <a:p>
            <a:r>
              <a:rPr lang="ru-RU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оссийской Федерации</a:t>
            </a:r>
          </a:p>
        </p:txBody>
      </p:sp>
      <p:pic>
        <p:nvPicPr>
          <p:cNvPr id="20" name="Picture 12">
            <a:extLst>
              <a:ext uri="{FF2B5EF4-FFF2-40B4-BE49-F238E27FC236}">
                <a16:creationId xmlns="" xmlns:a16="http://schemas.microsoft.com/office/drawing/2014/main" id="{A227DFFE-15A4-4828-A9D7-42A3ADDF2E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139"/>
          <a:stretch/>
        </p:blipFill>
        <p:spPr>
          <a:xfrm>
            <a:off x="0" y="548680"/>
            <a:ext cx="979827" cy="1455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04508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2F99DE9-7370-4CF2-9EDA-B87204C4BBC3}" type="datetimeFigureOut">
              <a:rPr lang="ru-RU" smtClean="0"/>
              <a:pPr/>
              <a:t>01.08.2019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53516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2F99DE9-7370-4CF2-9EDA-B87204C4BBC3}" type="datetimeFigureOut">
              <a:rPr lang="ru-RU" smtClean="0"/>
              <a:pPr/>
              <a:t>01.08.2019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44106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2F99DE9-7370-4CF2-9EDA-B87204C4BBC3}" type="datetimeFigureOut">
              <a:rPr lang="ru-RU" smtClean="0"/>
              <a:pPr/>
              <a:t>01.08.2019</a:t>
            </a:fld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891946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2F99DE9-7370-4CF2-9EDA-B87204C4BBC3}" type="datetimeFigureOut">
              <a:rPr lang="ru-RU" smtClean="0"/>
              <a:pPr/>
              <a:t>01.08.2019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59136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2F99DE9-7370-4CF2-9EDA-B87204C4BBC3}" type="datetimeFigureOut">
              <a:rPr lang="ru-RU" smtClean="0"/>
              <a:pPr/>
              <a:t>01.08.2019</a:t>
            </a:fld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6228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t" anchorCtr="0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2F99DE9-7370-4CF2-9EDA-B87204C4BBC3}" type="datetimeFigureOut">
              <a:rPr lang="ru-RU" smtClean="0"/>
              <a:pPr/>
              <a:t>01.08.2019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04556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2F99DE9-7370-4CF2-9EDA-B87204C4BBC3}" type="datetimeFigureOut">
              <a:rPr lang="ru-RU" smtClean="0"/>
              <a:pPr/>
              <a:t>01.08.2019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811155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2F99DE9-7370-4CF2-9EDA-B87204C4BBC3}" type="datetimeFigureOut">
              <a:rPr lang="ru-RU" smtClean="0"/>
              <a:pPr/>
              <a:t>01.08.2019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0640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2F99DE9-7370-4CF2-9EDA-B87204C4BBC3}" type="datetimeFigureOut">
              <a:rPr lang="ru-RU" smtClean="0"/>
              <a:pPr/>
              <a:t>01.08.2019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53956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856600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335360" y="147503"/>
            <a:ext cx="10753195" cy="4306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14691" y="67278"/>
            <a:ext cx="11541949" cy="5019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412683" y="117690"/>
            <a:ext cx="2835071" cy="415498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ru-RU" sz="105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Министерство экономического развития</a:t>
            </a:r>
          </a:p>
          <a:p>
            <a:r>
              <a:rPr lang="ru-RU" sz="105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771" y="714408"/>
            <a:ext cx="11530869" cy="439152"/>
          </a:xfrm>
        </p:spPr>
        <p:txBody>
          <a:bodyPr lIns="36000" tIns="36000" rIns="36000" bIns="36000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360" y="1268760"/>
            <a:ext cx="11521280" cy="518457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5360" y="6525345"/>
            <a:ext cx="2158965" cy="21602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224459" y="6525345"/>
            <a:ext cx="1632181" cy="196131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Страница </a:t>
            </a:r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3016" y="70422"/>
            <a:ext cx="620370" cy="64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725595"/>
      </p:ext>
    </p:extLst>
  </p:cSld>
  <p:clrMapOvr>
    <a:masterClrMapping/>
  </p:clrMapOvr>
  <p:hf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5360" y="148479"/>
            <a:ext cx="10753195" cy="4306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14691" y="67278"/>
            <a:ext cx="11541949" cy="501911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412683" y="117690"/>
            <a:ext cx="2835071" cy="415498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ru-RU" sz="105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Министерство экономического развития</a:t>
            </a:r>
          </a:p>
          <a:p>
            <a:r>
              <a:rPr lang="ru-RU" sz="105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771" y="714408"/>
            <a:ext cx="11530869" cy="439152"/>
          </a:xfrm>
        </p:spPr>
        <p:txBody>
          <a:bodyPr lIns="36000" tIns="36000" rIns="36000" bIns="36000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360" y="1268760"/>
            <a:ext cx="556861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5360" y="6525345"/>
            <a:ext cx="2158965" cy="21602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224459" y="6525345"/>
            <a:ext cx="1632181" cy="196131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Страница </a:t>
            </a:r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0430" y="70422"/>
            <a:ext cx="785541" cy="644799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35360" y="1628800"/>
            <a:ext cx="5568619" cy="47525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6288021" y="1268760"/>
            <a:ext cx="556861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6288021" y="1628800"/>
            <a:ext cx="5568619" cy="47525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7636284"/>
      </p:ext>
    </p:extLst>
  </p:cSld>
  <p:clrMapOvr>
    <a:masterClrMapping/>
  </p:clrMapOvr>
  <p:hf hdr="0" ft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+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5360" y="148479"/>
            <a:ext cx="10752000" cy="4306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14691" y="67278"/>
            <a:ext cx="11541949" cy="501911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412683" y="117690"/>
            <a:ext cx="2835071" cy="415498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ru-RU" sz="105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Министерство экономического развития</a:t>
            </a:r>
          </a:p>
          <a:p>
            <a:r>
              <a:rPr lang="ru-RU" sz="105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771" y="714408"/>
            <a:ext cx="11530869" cy="439152"/>
          </a:xfrm>
        </p:spPr>
        <p:txBody>
          <a:bodyPr lIns="36000" tIns="36000" rIns="36000" bIns="36000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5360" y="6525345"/>
            <a:ext cx="2158965" cy="21602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224459" y="6525345"/>
            <a:ext cx="1632181" cy="196131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Страница </a:t>
            </a:r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0430" y="70422"/>
            <a:ext cx="785541" cy="644799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35360" y="1268760"/>
            <a:ext cx="5568619" cy="511256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6288021" y="1268760"/>
            <a:ext cx="556861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6288021" y="1628800"/>
            <a:ext cx="5568619" cy="47525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0813765"/>
      </p:ext>
    </p:extLst>
  </p:cSld>
  <p:clrMapOvr>
    <a:masterClrMapping/>
  </p:clrMapOvr>
  <p:hf hdr="0" ft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+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5361" y="148479"/>
            <a:ext cx="10751740" cy="4306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14691" y="67278"/>
            <a:ext cx="11541949" cy="501911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412683" y="117690"/>
            <a:ext cx="2835071" cy="415498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ru-RU" sz="105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Министерство экономического развития</a:t>
            </a:r>
          </a:p>
          <a:p>
            <a:r>
              <a:rPr lang="ru-RU" sz="105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771" y="714408"/>
            <a:ext cx="11530869" cy="439152"/>
          </a:xfrm>
        </p:spPr>
        <p:txBody>
          <a:bodyPr lIns="36000" tIns="36000" rIns="36000" bIns="36000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360" y="1268760"/>
            <a:ext cx="556861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5360" y="6525345"/>
            <a:ext cx="2158965" cy="21602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224459" y="6525345"/>
            <a:ext cx="1632181" cy="196131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Страница </a:t>
            </a:r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0430" y="70422"/>
            <a:ext cx="785541" cy="644799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35360" y="1628800"/>
            <a:ext cx="5568619" cy="4752528"/>
          </a:xfrm>
          <a:prstGeom prst="rect">
            <a:avLst/>
          </a:prstGeo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6288021" y="1268760"/>
            <a:ext cx="556861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6288021" y="1628800"/>
            <a:ext cx="5568619" cy="2160240"/>
          </a:xfrm>
          <a:prstGeom prst="rect">
            <a:avLst/>
          </a:prstGeo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6288021" y="3875457"/>
            <a:ext cx="5568619" cy="33681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6288021" y="4221088"/>
            <a:ext cx="5568619" cy="2160240"/>
          </a:xfrm>
          <a:prstGeom prst="rect">
            <a:avLst/>
          </a:prstGeo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7924158"/>
      </p:ext>
    </p:extLst>
  </p:cSld>
  <p:clrMapOvr>
    <a:masterClrMapping/>
  </p:clrMapOvr>
  <p:hf hdr="0" ft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harts 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5361" y="148479"/>
            <a:ext cx="10751740" cy="4306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14691" y="67278"/>
            <a:ext cx="11541949" cy="501911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412683" y="117690"/>
            <a:ext cx="2835071" cy="415498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ru-RU" sz="105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Министерство экономического развития</a:t>
            </a:r>
          </a:p>
          <a:p>
            <a:r>
              <a:rPr lang="ru-RU" sz="105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771" y="714408"/>
            <a:ext cx="11530869" cy="439152"/>
          </a:xfrm>
        </p:spPr>
        <p:txBody>
          <a:bodyPr lIns="36000" tIns="36000" rIns="36000" bIns="36000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5360" y="6525345"/>
            <a:ext cx="2158965" cy="21602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224459" y="6525345"/>
            <a:ext cx="1632181" cy="196131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Страница </a:t>
            </a:r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0430" y="70422"/>
            <a:ext cx="785541" cy="644799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335371" y="1268760"/>
            <a:ext cx="556861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335371" y="1628800"/>
            <a:ext cx="5568619" cy="2160240"/>
          </a:xfrm>
          <a:prstGeom prst="rect">
            <a:avLst/>
          </a:prstGeo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35371" y="3875457"/>
            <a:ext cx="5568619" cy="33681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35371" y="4221088"/>
            <a:ext cx="5568619" cy="2160240"/>
          </a:xfrm>
          <a:prstGeom prst="rect">
            <a:avLst/>
          </a:prstGeo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6" name="Content Placeholder 2"/>
          <p:cNvSpPr>
            <a:spLocks noGrp="1"/>
          </p:cNvSpPr>
          <p:nvPr>
            <p:ph idx="1"/>
          </p:nvPr>
        </p:nvSpPr>
        <p:spPr>
          <a:xfrm>
            <a:off x="6278432" y="1268760"/>
            <a:ext cx="556861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7" name="Content Placeholder 2"/>
          <p:cNvSpPr>
            <a:spLocks noGrp="1"/>
          </p:cNvSpPr>
          <p:nvPr>
            <p:ph idx="13"/>
          </p:nvPr>
        </p:nvSpPr>
        <p:spPr>
          <a:xfrm>
            <a:off x="6278432" y="1628800"/>
            <a:ext cx="5568619" cy="4752528"/>
          </a:xfrm>
          <a:prstGeom prst="rect">
            <a:avLst/>
          </a:prstGeom>
          <a:solidFill>
            <a:srgbClr val="F3F3F3"/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2518907"/>
      </p:ext>
    </p:extLst>
  </p:cSld>
  <p:clrMapOvr>
    <a:masterClrMapping/>
  </p:clrMapOvr>
  <p:hf hdr="0" ft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5361" y="148479"/>
            <a:ext cx="10751740" cy="4306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14691" y="67278"/>
            <a:ext cx="11541949" cy="501911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412683" y="117690"/>
            <a:ext cx="2835071" cy="415498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ru-RU" sz="105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Министерство экономического развития</a:t>
            </a:r>
          </a:p>
          <a:p>
            <a:r>
              <a:rPr lang="ru-RU" sz="105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771" y="714408"/>
            <a:ext cx="11530869" cy="439152"/>
          </a:xfrm>
        </p:spPr>
        <p:txBody>
          <a:bodyPr lIns="36000" tIns="36000" rIns="36000" bIns="36000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360" y="1268760"/>
            <a:ext cx="556861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5360" y="6525345"/>
            <a:ext cx="2158965" cy="21602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224459" y="6525345"/>
            <a:ext cx="1632181" cy="196131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Страница </a:t>
            </a:r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0430" y="70422"/>
            <a:ext cx="785541" cy="644799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35360" y="1628800"/>
            <a:ext cx="5568619" cy="22322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6288021" y="1268760"/>
            <a:ext cx="556861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6288021" y="1628800"/>
            <a:ext cx="5568619" cy="22322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35360" y="3925880"/>
            <a:ext cx="556861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35360" y="4285920"/>
            <a:ext cx="5568619" cy="21674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6" name="Content Placeholder 2"/>
          <p:cNvSpPr>
            <a:spLocks noGrp="1"/>
          </p:cNvSpPr>
          <p:nvPr>
            <p:ph idx="18"/>
          </p:nvPr>
        </p:nvSpPr>
        <p:spPr>
          <a:xfrm>
            <a:off x="6288021" y="3925880"/>
            <a:ext cx="556861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7" name="Content Placeholder 2"/>
          <p:cNvSpPr>
            <a:spLocks noGrp="1"/>
          </p:cNvSpPr>
          <p:nvPr>
            <p:ph idx="19"/>
          </p:nvPr>
        </p:nvSpPr>
        <p:spPr>
          <a:xfrm>
            <a:off x="6288021" y="4285920"/>
            <a:ext cx="5568619" cy="21674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3905177"/>
      </p:ext>
    </p:extLst>
  </p:cSld>
  <p:clrMapOvr>
    <a:masterClrMapping/>
  </p:clrMapOvr>
  <p:hf hdr="0" ft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x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5361" y="148479"/>
            <a:ext cx="10751740" cy="4306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14691" y="67278"/>
            <a:ext cx="11541949" cy="501911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412683" y="117690"/>
            <a:ext cx="2835071" cy="415498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ru-RU" sz="105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Министерство экономического развития</a:t>
            </a:r>
          </a:p>
          <a:p>
            <a:r>
              <a:rPr lang="ru-RU" sz="105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771" y="714408"/>
            <a:ext cx="11530869" cy="439152"/>
          </a:xfrm>
        </p:spPr>
        <p:txBody>
          <a:bodyPr lIns="36000" tIns="36000" rIns="36000" bIns="36000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360" y="1268760"/>
            <a:ext cx="11520640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5360" y="6525345"/>
            <a:ext cx="2158965" cy="21602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224459" y="6525345"/>
            <a:ext cx="1632181" cy="196131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Страница </a:t>
            </a:r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0430" y="70422"/>
            <a:ext cx="785541" cy="644799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35360" y="1628800"/>
            <a:ext cx="11511040" cy="22322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35360" y="3925880"/>
            <a:ext cx="556861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35360" y="4285920"/>
            <a:ext cx="5568619" cy="21674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16" name="Content Placeholder 2"/>
          <p:cNvSpPr>
            <a:spLocks noGrp="1"/>
          </p:cNvSpPr>
          <p:nvPr>
            <p:ph idx="18"/>
          </p:nvPr>
        </p:nvSpPr>
        <p:spPr>
          <a:xfrm>
            <a:off x="6288021" y="3925880"/>
            <a:ext cx="5568619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7" name="Content Placeholder 2"/>
          <p:cNvSpPr>
            <a:spLocks noGrp="1"/>
          </p:cNvSpPr>
          <p:nvPr>
            <p:ph idx="19"/>
          </p:nvPr>
        </p:nvSpPr>
        <p:spPr>
          <a:xfrm>
            <a:off x="6288021" y="4285920"/>
            <a:ext cx="5568619" cy="21674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817820"/>
      </p:ext>
    </p:extLst>
  </p:cSld>
  <p:clrMapOvr>
    <a:masterClrMapping/>
  </p:clrMapOvr>
  <p:hf hdr="0" ft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35361" y="148479"/>
            <a:ext cx="10751740" cy="4306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14691" y="67278"/>
            <a:ext cx="11541949" cy="501911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412683" y="117690"/>
            <a:ext cx="2835071" cy="415498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ru-RU" sz="105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Министерство экономического развития</a:t>
            </a:r>
          </a:p>
          <a:p>
            <a:r>
              <a:rPr lang="ru-RU" sz="105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Российской Федерации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771" y="714408"/>
            <a:ext cx="11530869" cy="439152"/>
          </a:xfrm>
        </p:spPr>
        <p:txBody>
          <a:bodyPr lIns="36000" tIns="36000" rIns="36000" bIns="36000" anchor="t">
            <a:normAutofit/>
          </a:bodyPr>
          <a:lstStyle>
            <a:lvl1pPr algn="l">
              <a:defRPr sz="2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5360" y="1268760"/>
            <a:ext cx="3744416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5360" y="6525345"/>
            <a:ext cx="2158965" cy="216023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lang="ru-RU" sz="900" b="1" kern="120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224459" y="6525345"/>
            <a:ext cx="1632181" cy="196131"/>
          </a:xfrm>
        </p:spPr>
        <p:txBody>
          <a:bodyPr rIns="0"/>
          <a:lstStyle>
            <a:lvl1pPr algn="r">
              <a:defRPr sz="1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Страница </a:t>
            </a:r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0430" y="70422"/>
            <a:ext cx="785541" cy="644799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335360" y="1628800"/>
            <a:ext cx="3744416" cy="22322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335360" y="3925880"/>
            <a:ext cx="3744416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335360" y="4285920"/>
            <a:ext cx="3744416" cy="21674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8"/>
          </p:nvPr>
        </p:nvSpPr>
        <p:spPr>
          <a:xfrm>
            <a:off x="8112224" y="1268760"/>
            <a:ext cx="3744416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19" name="Content Placeholder 2"/>
          <p:cNvSpPr>
            <a:spLocks noGrp="1"/>
          </p:cNvSpPr>
          <p:nvPr>
            <p:ph idx="19"/>
          </p:nvPr>
        </p:nvSpPr>
        <p:spPr>
          <a:xfrm>
            <a:off x="8112224" y="1628800"/>
            <a:ext cx="3744416" cy="22322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20"/>
          </p:nvPr>
        </p:nvSpPr>
        <p:spPr>
          <a:xfrm>
            <a:off x="8112224" y="3925880"/>
            <a:ext cx="3744416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1" name="Content Placeholder 2"/>
          <p:cNvSpPr>
            <a:spLocks noGrp="1"/>
          </p:cNvSpPr>
          <p:nvPr>
            <p:ph idx="21"/>
          </p:nvPr>
        </p:nvSpPr>
        <p:spPr>
          <a:xfrm>
            <a:off x="8112224" y="4285920"/>
            <a:ext cx="3744416" cy="21674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22"/>
          </p:nvPr>
        </p:nvSpPr>
        <p:spPr>
          <a:xfrm>
            <a:off x="4175787" y="1268760"/>
            <a:ext cx="3840427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3" name="Content Placeholder 2"/>
          <p:cNvSpPr>
            <a:spLocks noGrp="1"/>
          </p:cNvSpPr>
          <p:nvPr>
            <p:ph idx="23"/>
          </p:nvPr>
        </p:nvSpPr>
        <p:spPr>
          <a:xfrm>
            <a:off x="4175787" y="1628800"/>
            <a:ext cx="3840427" cy="22322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24"/>
          </p:nvPr>
        </p:nvSpPr>
        <p:spPr>
          <a:xfrm>
            <a:off x="4175787" y="3925880"/>
            <a:ext cx="3840427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lIns="36000" tIns="36000" rIns="0" bIns="36000" anchor="ctr">
            <a:noAutofit/>
          </a:bodyPr>
          <a:lstStyle>
            <a:lvl1pPr marL="0" indent="0">
              <a:buNone/>
              <a:defRPr sz="1050" b="1">
                <a:solidFill>
                  <a:schemeClr val="tx2"/>
                </a:solidFill>
              </a:defRPr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  <a:endParaRPr lang="ru-RU"/>
          </a:p>
        </p:txBody>
      </p:sp>
      <p:sp>
        <p:nvSpPr>
          <p:cNvPr id="25" name="Content Placeholder 2"/>
          <p:cNvSpPr>
            <a:spLocks noGrp="1"/>
          </p:cNvSpPr>
          <p:nvPr>
            <p:ph idx="25"/>
          </p:nvPr>
        </p:nvSpPr>
        <p:spPr>
          <a:xfrm>
            <a:off x="4175787" y="4285920"/>
            <a:ext cx="3840427" cy="21674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0446140"/>
      </p:ext>
    </p:extLst>
  </p:cSld>
  <p:clrMapOvr>
    <a:masterClrMapping/>
  </p:clrMapOvr>
  <p:hf hdr="0" ft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85165001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9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="" xmlns:a16="http://schemas.microsoft.com/office/drawing/2014/main" id="{76E6EA5C-F6BC-4BB2-A18D-1CC01E62B026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F99DE9-7370-4CF2-9EDA-B87204C4BBC3}" type="datetimeFigureOut">
              <a:rPr lang="ru-RU" smtClean="0"/>
              <a:pPr/>
              <a:t>01.08.2019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7A8AD3-02BD-4CAC-AF0B-F1BD6FDC906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9667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64" r:id="rId4"/>
    <p:sldLayoutId id="2147483662" r:id="rId5"/>
    <p:sldLayoutId id="2147483666" r:id="rId6"/>
    <p:sldLayoutId id="2147483661" r:id="rId7"/>
    <p:sldLayoutId id="2147483665" r:id="rId8"/>
    <p:sldLayoutId id="2147483663" r:id="rId9"/>
    <p:sldLayoutId id="2147483651" r:id="rId10"/>
    <p:sldLayoutId id="2147483652" r:id="rId11"/>
    <p:sldLayoutId id="2147483653" r:id="rId12"/>
    <p:sldLayoutId id="2147483654" r:id="rId13"/>
    <p:sldLayoutId id="2147483655" r:id="rId14"/>
    <p:sldLayoutId id="2147483656" r:id="rId15"/>
    <p:sldLayoutId id="2147483657" r:id="rId16"/>
    <p:sldLayoutId id="2147483658" r:id="rId17"/>
    <p:sldLayoutId id="2147483659" r:id="rId18"/>
  </p:sldLayoutIdLst>
  <p:txStyles>
    <p:titleStyle>
      <a:lvl1pPr algn="ctr" defTabSz="914400" rtl="0" eaLnBrk="1" latinLnBrk="0" hangingPunct="1">
        <a:spcBef>
          <a:spcPct val="0"/>
        </a:spcBef>
        <a:buNone/>
        <a:defRPr sz="4400" b="1" kern="1200">
          <a:solidFill>
            <a:schemeClr val="tx2">
              <a:lumMod val="90000"/>
              <a:lumOff val="10000"/>
            </a:schemeClr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tx2">
            <a:lumMod val="75000"/>
            <a:lumOff val="25000"/>
          </a:schemeClr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714500" indent="-342900" algn="l" defTabSz="914400" rtl="0" eaLnBrk="1" latinLnBrk="0" hangingPunct="1">
        <a:spcBef>
          <a:spcPct val="20000"/>
        </a:spcBef>
        <a:buClr>
          <a:schemeClr val="tx2">
            <a:lumMod val="75000"/>
            <a:lumOff val="25000"/>
          </a:schemeClr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36.xml"/><Relationship Id="rId7" Type="http://schemas.openxmlformats.org/officeDocument/2006/relationships/image" Target="../media/image13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3" Type="http://schemas.openxmlformats.org/officeDocument/2006/relationships/tags" Target="../tags/tag40.xml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2" Type="http://schemas.openxmlformats.org/officeDocument/2006/relationships/tags" Target="../tags/tag3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11" Type="http://schemas.openxmlformats.org/officeDocument/2006/relationships/image" Target="../media/image19.pn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18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5" Type="http://schemas.openxmlformats.org/officeDocument/2006/relationships/tags" Target="../tags/tag45.xml"/><Relationship Id="rId10" Type="http://schemas.openxmlformats.org/officeDocument/2006/relationships/tags" Target="../tags/tag50.xml"/><Relationship Id="rId4" Type="http://schemas.openxmlformats.org/officeDocument/2006/relationships/tags" Target="../tags/tag44.xml"/><Relationship Id="rId9" Type="http://schemas.openxmlformats.org/officeDocument/2006/relationships/tags" Target="../tags/tag4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53.xml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tags" Target="../tags/tag5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11" Type="http://schemas.openxmlformats.org/officeDocument/2006/relationships/image" Target="../media/image26.png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25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28.png"/><Relationship Id="rId2" Type="http://schemas.openxmlformats.org/officeDocument/2006/relationships/tags" Target="../tags/tag54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29.png"/><Relationship Id="rId2" Type="http://schemas.openxmlformats.org/officeDocument/2006/relationships/tags" Target="../tags/tag5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tags" Target="../tags/tag58.xml"/><Relationship Id="rId7" Type="http://schemas.openxmlformats.org/officeDocument/2006/relationships/image" Target="../media/image6.emf"/><Relationship Id="rId2" Type="http://schemas.openxmlformats.org/officeDocument/2006/relationships/vmlDrawing" Target="../drawings/vmlDrawing18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8.bin"/><Relationship Id="rId11" Type="http://schemas.openxmlformats.org/officeDocument/2006/relationships/image" Target="../media/image32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31.png"/><Relationship Id="rId4" Type="http://schemas.openxmlformats.org/officeDocument/2006/relationships/tags" Target="../tags/tag59.xml"/><Relationship Id="rId9" Type="http://schemas.microsoft.com/office/2007/relationships/hdphoto" Target="../media/hdphoto3.wdp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9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34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1.png"/><Relationship Id="rId3" Type="http://schemas.openxmlformats.org/officeDocument/2006/relationships/tags" Target="../tags/tag66.xml"/><Relationship Id="rId7" Type="http://schemas.openxmlformats.org/officeDocument/2006/relationships/image" Target="../media/image35.png"/><Relationship Id="rId12" Type="http://schemas.openxmlformats.org/officeDocument/2006/relationships/image" Target="../media/image40.png"/><Relationship Id="rId2" Type="http://schemas.openxmlformats.org/officeDocument/2006/relationships/tags" Target="../tags/tag6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emf"/><Relationship Id="rId11" Type="http://schemas.openxmlformats.org/officeDocument/2006/relationships/image" Target="../media/image39.png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38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37.png"/><Relationship Id="rId14" Type="http://schemas.openxmlformats.org/officeDocument/2006/relationships/image" Target="../media/image4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image" Target="../media/image43.png"/><Relationship Id="rId2" Type="http://schemas.openxmlformats.org/officeDocument/2006/relationships/tags" Target="../tags/tag67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tags" Target="../tags/tag70.xml"/><Relationship Id="rId7" Type="http://schemas.openxmlformats.org/officeDocument/2006/relationships/image" Target="../media/image28.png"/><Relationship Id="rId2" Type="http://schemas.openxmlformats.org/officeDocument/2006/relationships/tags" Target="../tags/tag6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4.bin"/><Relationship Id="rId10" Type="http://schemas.openxmlformats.org/officeDocument/2006/relationships/image" Target="../media/image46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NUL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72.xml"/><Relationship Id="rId7" Type="http://schemas.openxmlformats.org/officeDocument/2006/relationships/image" Target="../media/image47.png"/><Relationship Id="rId12" Type="http://schemas.openxmlformats.org/officeDocument/2006/relationships/image" Target="../media/image52.png"/><Relationship Id="rId2" Type="http://schemas.openxmlformats.org/officeDocument/2006/relationships/tags" Target="../tags/tag71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6.emf"/><Relationship Id="rId11" Type="http://schemas.openxmlformats.org/officeDocument/2006/relationships/image" Target="../media/image51.png"/><Relationship Id="rId5" Type="http://schemas.openxmlformats.org/officeDocument/2006/relationships/oleObject" Target="../embeddings/oleObject25.bin"/><Relationship Id="rId10" Type="http://schemas.openxmlformats.org/officeDocument/2006/relationships/image" Target="../media/image50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9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tags" Target="../tags/tag74.xml"/><Relationship Id="rId7" Type="http://schemas.openxmlformats.org/officeDocument/2006/relationships/image" Target="../media/image48.png"/><Relationship Id="rId2" Type="http://schemas.openxmlformats.org/officeDocument/2006/relationships/tags" Target="../tags/tag7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6.emf"/><Relationship Id="rId11" Type="http://schemas.openxmlformats.org/officeDocument/2006/relationships/image" Target="../media/image55.jpeg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52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9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oleObject" Target="../embeddings/oleObject6.bin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6" Type="http://schemas.openxmlformats.org/officeDocument/2006/relationships/tags" Target="../tags/tag24.xml"/><Relationship Id="rId20" Type="http://schemas.openxmlformats.org/officeDocument/2006/relationships/chart" Target="../charts/chart1.xml"/><Relationship Id="rId1" Type="http://schemas.openxmlformats.org/officeDocument/2006/relationships/vmlDrawing" Target="../drawings/vmlDrawing6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tags" Target="../tags/tag23.xml"/><Relationship Id="rId10" Type="http://schemas.openxmlformats.org/officeDocument/2006/relationships/tags" Target="../tags/tag18.xml"/><Relationship Id="rId19" Type="http://schemas.openxmlformats.org/officeDocument/2006/relationships/image" Target="../media/image6.emf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tags" Target="../tags/tag2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6.xml"/><Relationship Id="rId7" Type="http://schemas.openxmlformats.org/officeDocument/2006/relationships/image" Target="../media/image8.png"/><Relationship Id="rId2" Type="http://schemas.openxmlformats.org/officeDocument/2006/relationships/tags" Target="../tags/tag2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28.xml"/><Relationship Id="rId7" Type="http://schemas.openxmlformats.org/officeDocument/2006/relationships/image" Target="../media/image10.png"/><Relationship Id="rId2" Type="http://schemas.openxmlformats.org/officeDocument/2006/relationships/tags" Target="../tags/tag2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32.xml"/><Relationship Id="rId7" Type="http://schemas.openxmlformats.org/officeDocument/2006/relationships/image" Target="../media/image11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070746" y="2002055"/>
            <a:ext cx="8744950" cy="3407343"/>
          </a:xfrm>
        </p:spPr>
        <p:txBody>
          <a:bodyPr>
            <a:normAutofit/>
          </a:bodyPr>
          <a:lstStyle/>
          <a:p>
            <a:r>
              <a:rPr lang="ru-RU" sz="3600" dirty="0"/>
              <a:t>Национальный проект «Производительность труда </a:t>
            </a:r>
            <a:br>
              <a:rPr lang="ru-RU" sz="3600" dirty="0"/>
            </a:br>
            <a:r>
              <a:rPr lang="ru-RU" sz="3600" dirty="0"/>
              <a:t>и поддержка занятости»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014000" y="5702852"/>
            <a:ext cx="8842640" cy="890453"/>
          </a:xfrm>
        </p:spPr>
        <p:txBody>
          <a:bodyPr>
            <a:normAutofit/>
          </a:bodyPr>
          <a:lstStyle/>
          <a:p>
            <a:r>
              <a:rPr lang="ru-RU" sz="1800" b="1" dirty="0" smtClean="0"/>
              <a:t>Ию</a:t>
            </a:r>
            <a:r>
              <a:rPr lang="ru-RU" sz="1800" b="1" dirty="0"/>
              <a:t>л</a:t>
            </a:r>
            <a:r>
              <a:rPr lang="ru-RU" sz="1800" b="1" dirty="0" smtClean="0"/>
              <a:t>ь </a:t>
            </a:r>
            <a:r>
              <a:rPr lang="ru-RU" sz="1800" b="1" dirty="0"/>
              <a:t>2019</a:t>
            </a:r>
          </a:p>
        </p:txBody>
      </p:sp>
    </p:spTree>
    <p:extLst>
      <p:ext uri="{BB962C8B-B14F-4D97-AF65-F5344CB8AC3E}">
        <p14:creationId xmlns:p14="http://schemas.microsoft.com/office/powerpoint/2010/main" val="5492280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6264685" y="4223081"/>
            <a:ext cx="5755845" cy="205983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325771" y="4224999"/>
            <a:ext cx="5755845" cy="205983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325771" y="1621827"/>
            <a:ext cx="5755845" cy="205983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08BF73C0-9D49-460F-B31A-1488A02B0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3691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8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9C769301-4645-43CA-A97D-1346DD4E3AE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D194F2B2-1134-483E-A0B0-351621A049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Финансовые меры поддержи – предлагаются льготные кредиты МСП по ставке до 8,5%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09DC3BD0-4F13-407B-AD9A-DAE780012B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0DB3511F-B841-4B10-AF5B-D793DCCE9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2A710D04-E5D9-404F-B9B6-B18BBC79A6A8}"/>
              </a:ext>
            </a:extLst>
          </p:cNvPr>
          <p:cNvSpPr/>
          <p:nvPr/>
        </p:nvSpPr>
        <p:spPr>
          <a:xfrm>
            <a:off x="6408761" y="4157271"/>
            <a:ext cx="5591771" cy="22082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Bef>
                <a:spcPts val="306"/>
              </a:spcBef>
              <a:buClr>
                <a:srgbClr val="00295C"/>
              </a:buClr>
              <a:defRPr/>
            </a:pPr>
            <a:endParaRPr lang="ru-RU" sz="1200" dirty="0">
              <a:solidFill>
                <a:srgbClr val="000000"/>
              </a:solidFill>
            </a:endParaRP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Субъект МСП – участник региональной </a:t>
            </a:r>
            <a:r>
              <a:rPr lang="ru-RU" sz="1200" dirty="0" smtClean="0"/>
              <a:t>программы</a:t>
            </a:r>
            <a:r>
              <a:rPr lang="en-US" sz="1200" dirty="0" smtClean="0"/>
              <a:t> / </a:t>
            </a:r>
            <a:r>
              <a:rPr lang="ru-RU" sz="1200" dirty="0" smtClean="0"/>
              <a:t>проекта ППТ</a:t>
            </a:r>
            <a:endParaRPr lang="ru-RU" sz="1200" dirty="0"/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Ведение деятельности, относящейся к базовым несырьевым отраслям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Налоговый резидент РФ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Отсутствие возбужденного производства по делу о банкротстве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Отсутствие просроченной задолженности по налогам, превышающей </a:t>
            </a:r>
            <a:r>
              <a:rPr lang="ru-RU" sz="1200" b="1" dirty="0">
                <a:solidFill>
                  <a:srgbClr val="003C86"/>
                </a:solidFill>
              </a:rPr>
              <a:t>50 </a:t>
            </a:r>
            <a:r>
              <a:rPr lang="ru-RU" sz="1200" dirty="0"/>
              <a:t>тыс. руб.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Отсутствие задолженности по зарплате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Отсутствие просроченных платежей по кредитам</a:t>
            </a:r>
            <a:br>
              <a:rPr lang="ru-RU" sz="1200" dirty="0"/>
            </a:br>
            <a:endParaRPr lang="ru-RU" sz="1200" dirty="0"/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ED9FF4F0-42F7-454B-A766-9352386D1D2C}"/>
              </a:ext>
            </a:extLst>
          </p:cNvPr>
          <p:cNvSpPr/>
          <p:nvPr/>
        </p:nvSpPr>
        <p:spPr>
          <a:xfrm>
            <a:off x="325771" y="4523052"/>
            <a:ext cx="5591771" cy="10541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dirty="0" smtClean="0"/>
              <a:t>Предоставляется</a:t>
            </a:r>
            <a:r>
              <a:rPr lang="en-US" sz="1200" dirty="0" smtClean="0"/>
              <a:t> </a:t>
            </a:r>
            <a:r>
              <a:rPr lang="ru-RU" sz="1200" dirty="0" smtClean="0"/>
              <a:t>в </a:t>
            </a:r>
            <a:r>
              <a:rPr lang="ru-RU" sz="1200" dirty="0"/>
              <a:t>соответствии с правилами и процедурами, принятыми в уполномоченном </a:t>
            </a:r>
            <a:r>
              <a:rPr lang="ru-RU" sz="1200" dirty="0" smtClean="0"/>
              <a:t>банке</a:t>
            </a:r>
            <a:endParaRPr lang="ru-RU" sz="1200" dirty="0"/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dirty="0" smtClean="0"/>
              <a:t>Выдается </a:t>
            </a:r>
            <a:r>
              <a:rPr lang="ru-RU" sz="1200" dirty="0"/>
              <a:t>на инвестиционные цели: </a:t>
            </a:r>
            <a:r>
              <a:rPr lang="ru-RU" sz="1200" b="1" dirty="0">
                <a:solidFill>
                  <a:schemeClr val="accent2"/>
                </a:solidFill>
              </a:rPr>
              <a:t>кредитные средства не могут быть размещены на депозитах, а также в иных финансовых </a:t>
            </a:r>
            <a:r>
              <a:rPr lang="ru-RU" sz="1200" b="1" dirty="0" smtClean="0">
                <a:solidFill>
                  <a:schemeClr val="accent2"/>
                </a:solidFill>
              </a:rPr>
              <a:t>инструментах</a:t>
            </a:r>
            <a:endParaRPr lang="ru-RU" sz="1200" b="1" dirty="0">
              <a:solidFill>
                <a:schemeClr val="accent2"/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="" xmlns:a16="http://schemas.microsoft.com/office/drawing/2014/main" id="{4A99CA1B-984C-4CC3-BD99-F31BDF551009}"/>
              </a:ext>
            </a:extLst>
          </p:cNvPr>
          <p:cNvSpPr/>
          <p:nvPr/>
        </p:nvSpPr>
        <p:spPr>
          <a:xfrm>
            <a:off x="325771" y="1498716"/>
            <a:ext cx="5591771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Bef>
                <a:spcPts val="306"/>
              </a:spcBef>
              <a:buClr>
                <a:srgbClr val="00295C"/>
              </a:buClr>
              <a:defRPr/>
            </a:pPr>
            <a:endParaRPr lang="ru-RU" sz="1200" dirty="0">
              <a:solidFill>
                <a:srgbClr val="000000"/>
              </a:solidFill>
            </a:endParaRPr>
          </a:p>
          <a:p>
            <a:pPr marL="285750" indent="-285750" algn="just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В настоящее время в программе участвуют более </a:t>
            </a:r>
            <a:r>
              <a:rPr lang="ru-RU" sz="1200" b="1" dirty="0">
                <a:solidFill>
                  <a:schemeClr val="accent2"/>
                </a:solidFill>
              </a:rPr>
              <a:t>60</a:t>
            </a:r>
            <a:r>
              <a:rPr lang="ru-RU" sz="1200" dirty="0"/>
              <a:t> уполномоченных банков</a:t>
            </a:r>
            <a:r>
              <a:rPr lang="en-US" sz="1200" baseline="30000" dirty="0"/>
              <a:t>1</a:t>
            </a:r>
            <a:endParaRPr lang="en-US" sz="1200" dirty="0"/>
          </a:p>
          <a:p>
            <a:pPr marL="285750" indent="-285750" algn="just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b="1" dirty="0">
                <a:solidFill>
                  <a:schemeClr val="accent2"/>
                </a:solidFill>
              </a:rPr>
              <a:t>Заемщик самостоятельно выбирает уполномоченный банк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  <a:t>Правила 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</a:rPr>
              <a:t>предоставления субсидий утверждены постановлением Правительства РФ от 30.12.2018 N </a:t>
            </a: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  <a:t>1764</a:t>
            </a:r>
            <a:endParaRPr lang="ru-RU" sz="1200" dirty="0">
              <a:solidFill>
                <a:schemeClr val="bg1">
                  <a:lumMod val="50000"/>
                </a:schemeClr>
              </a:solidFill>
            </a:endParaRP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bg1">
                    <a:lumMod val="50000"/>
                  </a:schemeClr>
                </a:solidFill>
              </a:rPr>
              <a:t>Постановлением Правительства РФ от 8.05.2019 N 571 внесены изменения в постановление Правительства РФ от 30.12.2018 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N 1764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</a:rPr>
              <a:t>, предусматривающие особые условия для банков, </a:t>
            </a: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  <a:t>кредитующих 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</a:rPr>
              <a:t>предприятия-участников региональных программ </a:t>
            </a: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  <a:t>ППТ</a:t>
            </a:r>
            <a:endParaRPr lang="ru-RU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23811329-1338-4A9C-ACDF-1EB0856B941A}"/>
              </a:ext>
            </a:extLst>
          </p:cNvPr>
          <p:cNvSpPr txBox="1"/>
          <p:nvPr/>
        </p:nvSpPr>
        <p:spPr>
          <a:xfrm>
            <a:off x="1414842" y="6438744"/>
            <a:ext cx="9067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solidFill>
                  <a:schemeClr val="bg1">
                    <a:lumMod val="50000"/>
                  </a:schemeClr>
                </a:solidFill>
              </a:rPr>
              <a:t>1 </a:t>
            </a:r>
            <a:r>
              <a:rPr lang="en-US" sz="900" dirty="0" smtClean="0">
                <a:solidFill>
                  <a:schemeClr val="bg1">
                    <a:lumMod val="50000"/>
                  </a:schemeClr>
                </a:solidFill>
              </a:rPr>
              <a:t>http</a:t>
            </a:r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://</a:t>
            </a:r>
            <a:r>
              <a:rPr lang="en-US" sz="900" dirty="0" smtClean="0">
                <a:solidFill>
                  <a:schemeClr val="bg1">
                    <a:lumMod val="50000"/>
                  </a:schemeClr>
                </a:solidFill>
              </a:rPr>
              <a:t>economy.gov.ru/minec/about/structure/depinvest/2019040302</a:t>
            </a:r>
            <a:endParaRPr lang="ru-RU" sz="900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ru-RU" sz="900" dirty="0" smtClean="0">
                <a:solidFill>
                  <a:schemeClr val="bg1">
                    <a:lumMod val="50000"/>
                  </a:schemeClr>
                </a:solidFill>
              </a:rPr>
              <a:t>2 По кредитным договорам, заключенным с субъектами МСП ‒ участникам региональной программы / проекта повышения производительности труда   </a:t>
            </a:r>
            <a:endParaRPr lang="ru-RU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B38936B1-9FD3-42C8-B3B9-C3F101A03632}"/>
              </a:ext>
            </a:extLst>
          </p:cNvPr>
          <p:cNvSpPr txBox="1"/>
          <p:nvPr/>
        </p:nvSpPr>
        <p:spPr>
          <a:xfrm>
            <a:off x="325771" y="1344828"/>
            <a:ext cx="1732077" cy="276999"/>
          </a:xfrm>
          <a:prstGeom prst="rect">
            <a:avLst/>
          </a:prstGeom>
          <a:solidFill>
            <a:schemeClr val="accent3"/>
          </a:solidFill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Общая информация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B38936B1-9FD3-42C8-B3B9-C3F101A03632}"/>
              </a:ext>
            </a:extLst>
          </p:cNvPr>
          <p:cNvSpPr txBox="1"/>
          <p:nvPr/>
        </p:nvSpPr>
        <p:spPr>
          <a:xfrm>
            <a:off x="325771" y="3946082"/>
            <a:ext cx="1849737" cy="276999"/>
          </a:xfrm>
          <a:prstGeom prst="rect">
            <a:avLst/>
          </a:prstGeom>
          <a:solidFill>
            <a:schemeClr val="accent3"/>
          </a:solidFill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Особенности кредита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6264685" y="1601658"/>
            <a:ext cx="5755845" cy="205983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B38936B1-9FD3-42C8-B3B9-C3F101A03632}"/>
              </a:ext>
            </a:extLst>
          </p:cNvPr>
          <p:cNvSpPr txBox="1"/>
          <p:nvPr/>
        </p:nvSpPr>
        <p:spPr>
          <a:xfrm>
            <a:off x="6264685" y="1344827"/>
            <a:ext cx="1880195" cy="276999"/>
          </a:xfrm>
          <a:prstGeom prst="rect">
            <a:avLst/>
          </a:prstGeom>
          <a:solidFill>
            <a:schemeClr val="accent3"/>
          </a:solidFill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Основные параметры</a:t>
            </a:r>
            <a:endParaRPr lang="ru-RU" sz="1200" b="1" dirty="0">
              <a:solidFill>
                <a:schemeClr val="bg1"/>
              </a:solidFill>
            </a:endParaRP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="" xmlns:a16="http://schemas.microsoft.com/office/drawing/2014/main" id="{F6AC1107-F0F9-4B32-AE15-3E1E4DA493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2263371"/>
              </p:ext>
            </p:extLst>
          </p:nvPr>
        </p:nvGraphicFramePr>
        <p:xfrm>
          <a:off x="6388581" y="1354336"/>
          <a:ext cx="5632133" cy="205969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8925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44288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25547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6"/>
                        </a:spcBef>
                        <a:spcAft>
                          <a:spcPts val="0"/>
                        </a:spcAft>
                        <a:buClr>
                          <a:srgbClr val="00295C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6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785372"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  <a:p>
                      <a:pPr marL="28575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Процентная 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ставка для заемщика: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  <a:p>
                      <a:pPr marL="28575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  <a:p>
                      <a:pPr marL="28575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Размер кредита: </a:t>
                      </a:r>
                    </a:p>
                    <a:p>
                      <a:pPr marL="28575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  <a:p>
                      <a:pPr marL="28575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Срок </a:t>
                      </a: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займа: </a:t>
                      </a:r>
                    </a:p>
                    <a:p>
                      <a:pPr marL="28575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  <a:p>
                      <a:pPr marL="28575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Размер </a:t>
                      </a: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субсидируемой процентной ставки для банков</a:t>
                      </a:r>
                      <a:r>
                        <a:rPr kumimoji="0" lang="en-US" sz="12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2</a:t>
                      </a: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C86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3C8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е более 8,5% годовых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C86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95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3C8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,5 млн. </a:t>
                      </a: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C8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уб. ‒ </a:t>
                      </a:r>
                      <a:r>
                        <a:rPr kumimoji="0" lang="en-US" sz="1200" b="1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3C8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kumimoji="0" lang="ru-RU" sz="1200" b="1" i="0" u="none" strike="noStrike" kern="1200" cap="none" spc="0" normalizeH="0" baseline="0" noProof="0" smtClean="0">
                          <a:ln>
                            <a:noFill/>
                          </a:ln>
                          <a:solidFill>
                            <a:srgbClr val="003C8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C8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млрд </a:t>
                      </a: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3C8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уб</a:t>
                      </a: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C8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95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kumimoji="0" lang="ru-RU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3C86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95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C8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о </a:t>
                      </a: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3C8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 лет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95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C86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95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kumimoji="0" lang="ru-RU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3C86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295C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C8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,5</a:t>
                      </a: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3C8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%  </a:t>
                      </a:r>
                      <a:endParaRPr kumimoji="0" lang="ru-RU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3C86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B38936B1-9FD3-42C8-B3B9-C3F101A03632}"/>
              </a:ext>
            </a:extLst>
          </p:cNvPr>
          <p:cNvSpPr txBox="1"/>
          <p:nvPr/>
        </p:nvSpPr>
        <p:spPr>
          <a:xfrm>
            <a:off x="6264685" y="3975615"/>
            <a:ext cx="2001253" cy="276999"/>
          </a:xfrm>
          <a:prstGeom prst="rect">
            <a:avLst/>
          </a:prstGeom>
          <a:solidFill>
            <a:schemeClr val="accent3"/>
          </a:solidFill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Требования к заемщику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9063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08BF73C0-9D49-460F-B31A-1488A02B0C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393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="" xmlns:a16="http://schemas.microsoft.com/office/drawing/2014/main" id="{08BF73C0-9D49-460F-B31A-1488A02B0C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9C769301-4645-43CA-A97D-1346DD4E3AE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="" xmlns:a16="http://schemas.microsoft.com/office/drawing/2014/main" id="{4A109A6D-DA11-49CD-832F-8AF91E55CD31}"/>
              </a:ext>
            </a:extLst>
          </p:cNvPr>
          <p:cNvSpPr/>
          <p:nvPr/>
        </p:nvSpPr>
        <p:spPr>
          <a:xfrm>
            <a:off x="2838353" y="2086100"/>
            <a:ext cx="1247228" cy="305209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9FB263AE-8006-4065-AB32-723EA26BCD87}"/>
              </a:ext>
            </a:extLst>
          </p:cNvPr>
          <p:cNvSpPr/>
          <p:nvPr/>
        </p:nvSpPr>
        <p:spPr>
          <a:xfrm>
            <a:off x="2838353" y="5285899"/>
            <a:ext cx="1247228" cy="115136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D194F2B2-1134-483E-A0B0-351621A04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771" y="639977"/>
            <a:ext cx="11530869" cy="439152"/>
          </a:xfrm>
        </p:spPr>
        <p:txBody>
          <a:bodyPr/>
          <a:lstStyle/>
          <a:p>
            <a:r>
              <a:rPr lang="ru-RU" dirty="0"/>
              <a:t>Финансовые меры поддержи – расширен перечень налоговых льгот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09DC3BD0-4F13-407B-AD9A-DAE780012B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0DB3511F-B841-4B10-AF5B-D793DCCE9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3C551F48-C8DE-465F-86E1-06DDB187ED0C}"/>
              </a:ext>
            </a:extLst>
          </p:cNvPr>
          <p:cNvSpPr txBox="1"/>
          <p:nvPr/>
        </p:nvSpPr>
        <p:spPr>
          <a:xfrm>
            <a:off x="335360" y="1076888"/>
            <a:ext cx="11521280" cy="5232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400" b="1" dirty="0" smtClean="0"/>
              <a:t>6 субъектов РФ</a:t>
            </a:r>
            <a:r>
              <a:rPr lang="ru-RU" sz="1400" dirty="0" smtClean="0"/>
              <a:t> предлагают </a:t>
            </a:r>
            <a:r>
              <a:rPr lang="ru-RU" sz="1400" dirty="0"/>
              <a:t>налоговые льготы </a:t>
            </a:r>
            <a:r>
              <a:rPr lang="ru-RU" sz="1400" b="1" dirty="0"/>
              <a:t>с 2020 </a:t>
            </a:r>
            <a:r>
              <a:rPr lang="ru-RU" sz="1400" b="1" dirty="0" smtClean="0"/>
              <a:t>года</a:t>
            </a:r>
            <a:r>
              <a:rPr lang="ru-RU" sz="1400" dirty="0" smtClean="0"/>
              <a:t>: Кемеровская, Ростовская, Самарская, Тамбовская и Челябинская области, а также Краснодарский край. </a:t>
            </a:r>
            <a:r>
              <a:rPr lang="ru-RU" sz="1400" b="1" dirty="0" smtClean="0"/>
              <a:t>В </a:t>
            </a:r>
            <a:r>
              <a:rPr lang="ru-RU" sz="1400" b="1" dirty="0"/>
              <a:t>Республике Удмуртии </a:t>
            </a:r>
            <a:r>
              <a:rPr lang="ru-RU" sz="1400" dirty="0"/>
              <a:t>они </a:t>
            </a:r>
            <a:r>
              <a:rPr lang="ru-RU" sz="1400" dirty="0" smtClean="0"/>
              <a:t>будут применены </a:t>
            </a:r>
            <a:r>
              <a:rPr lang="ru-RU" sz="1400" b="1" dirty="0" smtClean="0"/>
              <a:t>с 1 января 2019 года</a:t>
            </a:r>
            <a:endParaRPr lang="ru-RU" sz="1400" b="1" dirty="0"/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8971DF82-738B-4666-948D-46CA857367C6}"/>
              </a:ext>
            </a:extLst>
          </p:cNvPr>
          <p:cNvSpPr txBox="1"/>
          <p:nvPr/>
        </p:nvSpPr>
        <p:spPr>
          <a:xfrm>
            <a:off x="270200" y="1702178"/>
            <a:ext cx="11921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/>
              <a:t>Вид </a:t>
            </a:r>
            <a:r>
              <a:rPr lang="ru-RU" sz="1400" b="1" dirty="0" smtClean="0"/>
              <a:t>налога</a:t>
            </a:r>
            <a:endParaRPr lang="ru-RU" sz="1400" b="1" dirty="0"/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9632FF81-CAAA-4093-942A-9D22A5A896A1}"/>
              </a:ext>
            </a:extLst>
          </p:cNvPr>
          <p:cNvSpPr txBox="1"/>
          <p:nvPr/>
        </p:nvSpPr>
        <p:spPr>
          <a:xfrm>
            <a:off x="2762838" y="1702178"/>
            <a:ext cx="80182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/>
              <a:t>Ставка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F6B9282B-5365-463C-AE2E-9CD2070E4367}"/>
              </a:ext>
            </a:extLst>
          </p:cNvPr>
          <p:cNvSpPr txBox="1"/>
          <p:nvPr/>
        </p:nvSpPr>
        <p:spPr>
          <a:xfrm>
            <a:off x="4210090" y="1702178"/>
            <a:ext cx="24300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/>
              <a:t>Условие действия</a:t>
            </a:r>
          </a:p>
        </p:txBody>
      </p:sp>
      <p:grpSp>
        <p:nvGrpSpPr>
          <p:cNvPr id="16" name="Группа 15">
            <a:extLst>
              <a:ext uri="{FF2B5EF4-FFF2-40B4-BE49-F238E27FC236}">
                <a16:creationId xmlns="" xmlns:a16="http://schemas.microsoft.com/office/drawing/2014/main" id="{5E20B979-9501-434C-9ADC-35EB69BE1C7E}"/>
              </a:ext>
            </a:extLst>
          </p:cNvPr>
          <p:cNvGrpSpPr/>
          <p:nvPr/>
        </p:nvGrpSpPr>
        <p:grpSpPr>
          <a:xfrm>
            <a:off x="372139" y="2087232"/>
            <a:ext cx="2307267" cy="3048294"/>
            <a:chOff x="3103881" y="2687990"/>
            <a:chExt cx="2143233" cy="2902816"/>
          </a:xfrm>
        </p:grpSpPr>
        <p:pic>
          <p:nvPicPr>
            <p:cNvPr id="12" name="Рисунок 11">
              <a:extLst>
                <a:ext uri="{FF2B5EF4-FFF2-40B4-BE49-F238E27FC236}">
                  <a16:creationId xmlns="" xmlns:a16="http://schemas.microsoft.com/office/drawing/2014/main" id="{0452DDF0-FC6F-4F75-8B62-0014E24BD9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1300" r="42353"/>
            <a:stretch/>
          </p:blipFill>
          <p:spPr>
            <a:xfrm>
              <a:off x="3103881" y="2687990"/>
              <a:ext cx="2143233" cy="2902816"/>
            </a:xfrm>
            <a:prstGeom prst="rect">
              <a:avLst/>
            </a:prstGeom>
          </p:spPr>
        </p:pic>
        <p:sp>
          <p:nvSpPr>
            <p:cNvPr id="13" name="Прямоугольник 12">
              <a:extLst>
                <a:ext uri="{FF2B5EF4-FFF2-40B4-BE49-F238E27FC236}">
                  <a16:creationId xmlns="" xmlns:a16="http://schemas.microsoft.com/office/drawing/2014/main" id="{06736852-15F2-4DD4-93F2-3E764A60280E}"/>
                </a:ext>
              </a:extLst>
            </p:cNvPr>
            <p:cNvSpPr/>
            <p:nvPr/>
          </p:nvSpPr>
          <p:spPr>
            <a:xfrm>
              <a:off x="3504283" y="4938920"/>
              <a:ext cx="723900" cy="139700"/>
            </a:xfrm>
            <a:prstGeom prst="rect">
              <a:avLst/>
            </a:prstGeom>
            <a:solidFill>
              <a:srgbClr val="2A22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="" xmlns:a16="http://schemas.microsoft.com/office/drawing/2014/main" id="{743C838F-D0F5-4345-B25E-108A02E5A9C8}"/>
                </a:ext>
              </a:extLst>
            </p:cNvPr>
            <p:cNvSpPr/>
            <p:nvPr/>
          </p:nvSpPr>
          <p:spPr>
            <a:xfrm rot="5400000">
              <a:off x="4806099" y="3286040"/>
              <a:ext cx="723900" cy="139700"/>
            </a:xfrm>
            <a:prstGeom prst="rect">
              <a:avLst/>
            </a:prstGeom>
            <a:solidFill>
              <a:srgbClr val="2A22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15" name="Прямоугольник 14">
              <a:extLst>
                <a:ext uri="{FF2B5EF4-FFF2-40B4-BE49-F238E27FC236}">
                  <a16:creationId xmlns="" xmlns:a16="http://schemas.microsoft.com/office/drawing/2014/main" id="{74FF8354-EAC9-48E8-9A7A-B1A3FF79835C}"/>
                </a:ext>
              </a:extLst>
            </p:cNvPr>
            <p:cNvSpPr/>
            <p:nvPr/>
          </p:nvSpPr>
          <p:spPr>
            <a:xfrm rot="11184923">
              <a:off x="3404056" y="4442747"/>
              <a:ext cx="810551" cy="288404"/>
            </a:xfrm>
            <a:prstGeom prst="rect">
              <a:avLst/>
            </a:prstGeom>
            <a:solidFill>
              <a:srgbClr val="F1B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</p:grpSp>
      <p:pic>
        <p:nvPicPr>
          <p:cNvPr id="17" name="Рисунок 16">
            <a:extLst>
              <a:ext uri="{FF2B5EF4-FFF2-40B4-BE49-F238E27FC236}">
                <a16:creationId xmlns="" xmlns:a16="http://schemas.microsoft.com/office/drawing/2014/main" id="{60323F99-B4FA-42BE-B45D-C0C27E0732B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1597" r="-32915" b="11842"/>
          <a:stretch/>
        </p:blipFill>
        <p:spPr>
          <a:xfrm>
            <a:off x="371475" y="5285899"/>
            <a:ext cx="3076869" cy="1151370"/>
          </a:xfrm>
          <a:prstGeom prst="rect">
            <a:avLst/>
          </a:prstGeom>
        </p:spPr>
      </p:pic>
      <p:cxnSp>
        <p:nvCxnSpPr>
          <p:cNvPr id="23" name="Прямая соединительная линия 22">
            <a:extLst>
              <a:ext uri="{FF2B5EF4-FFF2-40B4-BE49-F238E27FC236}">
                <a16:creationId xmlns="" xmlns:a16="http://schemas.microsoft.com/office/drawing/2014/main" id="{BE0FE49C-8F34-42F7-8435-6265B4690EB5}"/>
              </a:ext>
            </a:extLst>
          </p:cNvPr>
          <p:cNvCxnSpPr/>
          <p:nvPr/>
        </p:nvCxnSpPr>
        <p:spPr>
          <a:xfrm>
            <a:off x="371475" y="1984677"/>
            <a:ext cx="1149379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3E0EA079-7746-4834-809B-46335DC6C8F2}"/>
              </a:ext>
            </a:extLst>
          </p:cNvPr>
          <p:cNvSpPr txBox="1"/>
          <p:nvPr/>
        </p:nvSpPr>
        <p:spPr>
          <a:xfrm>
            <a:off x="1214261" y="6516669"/>
            <a:ext cx="822052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1 </a:t>
            </a:r>
            <a:r>
              <a:rPr lang="ru-RU" sz="1100" dirty="0" smtClean="0">
                <a:solidFill>
                  <a:schemeClr val="bg1">
                    <a:lumMod val="50000"/>
                  </a:schemeClr>
                </a:solidFill>
              </a:rPr>
              <a:t>В региональный бюджет </a:t>
            </a:r>
            <a:r>
              <a:rPr lang="en-US" sz="1100" dirty="0" smtClean="0">
                <a:solidFill>
                  <a:schemeClr val="bg1">
                    <a:lumMod val="50000"/>
                  </a:schemeClr>
                </a:solidFill>
              </a:rPr>
              <a:t>|</a:t>
            </a:r>
            <a:r>
              <a:rPr lang="ru-RU" sz="1100" dirty="0" smtClean="0">
                <a:solidFill>
                  <a:schemeClr val="bg1">
                    <a:lumMod val="50000"/>
                  </a:schemeClr>
                </a:solidFill>
              </a:rPr>
              <a:t> 2 В Федеральный бюджет</a:t>
            </a:r>
            <a:r>
              <a:rPr lang="en-US" sz="1100" dirty="0" smtClean="0">
                <a:solidFill>
                  <a:schemeClr val="bg1">
                    <a:lumMod val="50000"/>
                  </a:schemeClr>
                </a:solidFill>
              </a:rPr>
              <a:t> |</a:t>
            </a:r>
            <a:r>
              <a:rPr lang="ru-RU" sz="1100" dirty="0" smtClean="0">
                <a:solidFill>
                  <a:schemeClr val="bg1">
                    <a:lumMod val="50000"/>
                  </a:schemeClr>
                </a:solidFill>
              </a:rPr>
              <a:t> 3 В региональный бюджет, не менее, и 0% в федеральный бюджет</a:t>
            </a:r>
            <a:endParaRPr lang="ru-RU" sz="11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A722055E-ADFE-48B6-9C18-CE855617F587}"/>
              </a:ext>
            </a:extLst>
          </p:cNvPr>
          <p:cNvSpPr/>
          <p:nvPr/>
        </p:nvSpPr>
        <p:spPr>
          <a:xfrm>
            <a:off x="751948" y="3412377"/>
            <a:ext cx="2035903" cy="1047743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</a:rPr>
              <a:t>Налог на прибыль</a:t>
            </a:r>
            <a:r>
              <a:rPr lang="ru-RU" sz="1400" dirty="0">
                <a:solidFill>
                  <a:schemeClr val="tx1"/>
                </a:solidFill>
              </a:rPr>
              <a:t/>
            </a:r>
            <a:br>
              <a:rPr lang="ru-RU" sz="1400" dirty="0">
                <a:solidFill>
                  <a:schemeClr val="tx1"/>
                </a:solidFill>
              </a:rPr>
            </a:br>
            <a:r>
              <a:rPr lang="ru-RU" sz="1400" dirty="0">
                <a:solidFill>
                  <a:schemeClr val="tx1"/>
                </a:solidFill>
              </a:rPr>
              <a:t>20</a:t>
            </a:r>
            <a:r>
              <a:rPr lang="ru-RU" sz="1400" dirty="0" smtClean="0">
                <a:solidFill>
                  <a:schemeClr val="tx1"/>
                </a:solidFill>
              </a:rPr>
              <a:t>% </a:t>
            </a:r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</a:rPr>
              <a:t>(17%</a:t>
            </a:r>
            <a:r>
              <a:rPr lang="ru-RU" sz="1400" baseline="30000" dirty="0" smtClean="0">
                <a:solidFill>
                  <a:schemeClr val="bg1">
                    <a:lumMod val="50000"/>
                  </a:schemeClr>
                </a:solidFill>
              </a:rPr>
              <a:t>1</a:t>
            </a:r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</a:rPr>
              <a:t>+3%</a:t>
            </a:r>
            <a:r>
              <a:rPr lang="ru-RU" sz="1400" baseline="30000" dirty="0" smtClean="0">
                <a:solidFill>
                  <a:schemeClr val="bg1">
                    <a:lumMod val="50000"/>
                  </a:schemeClr>
                </a:solidFill>
              </a:rPr>
              <a:t>2</a:t>
            </a:r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</a:rPr>
              <a:t>)</a:t>
            </a:r>
            <a:endParaRPr lang="ru-RU" sz="11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="" xmlns:a16="http://schemas.microsoft.com/office/drawing/2014/main" id="{5D2F607E-10D9-4E16-B1E1-73D0E256B2E1}"/>
              </a:ext>
            </a:extLst>
          </p:cNvPr>
          <p:cNvSpPr/>
          <p:nvPr/>
        </p:nvSpPr>
        <p:spPr>
          <a:xfrm>
            <a:off x="724246" y="5500946"/>
            <a:ext cx="2054399" cy="828518"/>
          </a:xfrm>
          <a:prstGeom prst="rect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</a:rPr>
              <a:t>Налог</a:t>
            </a:r>
            <a:br>
              <a:rPr lang="ru-RU" sz="1400" b="1" dirty="0">
                <a:solidFill>
                  <a:schemeClr val="tx1"/>
                </a:solidFill>
              </a:rPr>
            </a:br>
            <a:r>
              <a:rPr lang="ru-RU" sz="1400" b="1" dirty="0">
                <a:solidFill>
                  <a:schemeClr val="tx1"/>
                </a:solidFill>
              </a:rPr>
              <a:t>на имущество</a:t>
            </a:r>
          </a:p>
          <a:p>
            <a:r>
              <a:rPr lang="ru-RU" sz="1400" dirty="0">
                <a:solidFill>
                  <a:schemeClr val="tx1"/>
                </a:solidFill>
              </a:rPr>
              <a:t>2%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B3873EE0-C7AF-4387-8727-E43DBFB4B5F3}"/>
              </a:ext>
            </a:extLst>
          </p:cNvPr>
          <p:cNvSpPr txBox="1"/>
          <p:nvPr/>
        </p:nvSpPr>
        <p:spPr>
          <a:xfrm>
            <a:off x="3016068" y="5417889"/>
            <a:ext cx="84593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accent2"/>
                </a:solidFill>
              </a:rPr>
              <a:t>0</a:t>
            </a:r>
            <a:r>
              <a:rPr lang="ru-RU" sz="1400" b="1" dirty="0" smtClean="0">
                <a:solidFill>
                  <a:schemeClr val="accent2"/>
                </a:solidFill>
              </a:rPr>
              <a:t>%</a:t>
            </a:r>
          </a:p>
          <a:p>
            <a:endParaRPr lang="ru-RU" sz="1200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  <a:t>(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</a:rPr>
              <a:t>ст. </a:t>
            </a: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  <a:t>380 </a:t>
            </a:r>
            <a:r>
              <a:rPr lang="ru-RU" sz="1200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ru-RU" sz="1200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ru-RU" sz="1200" dirty="0">
                <a:solidFill>
                  <a:schemeClr val="bg1">
                    <a:lumMod val="50000"/>
                  </a:schemeClr>
                </a:solidFill>
              </a:rPr>
              <a:t>НК РФ)</a:t>
            </a:r>
            <a:endParaRPr lang="ru-RU" sz="1200" b="1" dirty="0">
              <a:solidFill>
                <a:schemeClr val="accent2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8E9070EE-024C-43A8-A625-0C822B3B073E}"/>
              </a:ext>
            </a:extLst>
          </p:cNvPr>
          <p:cNvSpPr txBox="1"/>
          <p:nvPr/>
        </p:nvSpPr>
        <p:spPr>
          <a:xfrm>
            <a:off x="2931005" y="2616639"/>
            <a:ext cx="1253686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chemeClr val="accent2"/>
                </a:solidFill>
              </a:rPr>
              <a:t> </a:t>
            </a:r>
            <a:br>
              <a:rPr lang="ru-RU" sz="1400" dirty="0">
                <a:solidFill>
                  <a:schemeClr val="accent2"/>
                </a:solidFill>
              </a:rPr>
            </a:br>
            <a:r>
              <a:rPr lang="ru-RU" sz="1400" b="1" dirty="0">
                <a:solidFill>
                  <a:schemeClr val="accent2"/>
                </a:solidFill>
              </a:rPr>
              <a:t>от </a:t>
            </a:r>
            <a:r>
              <a:rPr lang="ru-RU" sz="1400" b="1" dirty="0" smtClean="0">
                <a:solidFill>
                  <a:schemeClr val="accent2"/>
                </a:solidFill>
              </a:rPr>
              <a:t>5%</a:t>
            </a:r>
            <a:r>
              <a:rPr lang="ru-RU" sz="1400" baseline="30000" dirty="0" smtClean="0">
                <a:solidFill>
                  <a:schemeClr val="accent2"/>
                </a:solidFill>
              </a:rPr>
              <a:t>3</a:t>
            </a:r>
            <a:r>
              <a:rPr lang="ru-RU" sz="1400" b="1" dirty="0" smtClean="0">
                <a:solidFill>
                  <a:schemeClr val="accent2"/>
                </a:solidFill>
              </a:rPr>
              <a:t> </a:t>
            </a:r>
            <a:r>
              <a:rPr lang="ru-RU" sz="1400" b="1" dirty="0">
                <a:solidFill>
                  <a:schemeClr val="accent2"/>
                </a:solidFill>
              </a:rPr>
              <a:t>‒</a:t>
            </a:r>
            <a:r>
              <a:rPr lang="ru-RU" sz="1400" dirty="0">
                <a:solidFill>
                  <a:schemeClr val="accent2"/>
                </a:solidFill>
              </a:rPr>
              <a:t/>
            </a:r>
            <a:br>
              <a:rPr lang="ru-RU" sz="1400" dirty="0">
                <a:solidFill>
                  <a:schemeClr val="accent2"/>
                </a:solidFill>
              </a:rPr>
            </a:br>
            <a:r>
              <a:rPr lang="ru-RU" sz="1200" dirty="0" err="1">
                <a:solidFill>
                  <a:schemeClr val="accent2"/>
                </a:solidFill>
              </a:rPr>
              <a:t>инвестици-онный</a:t>
            </a:r>
            <a:r>
              <a:rPr lang="ru-RU" sz="1200" dirty="0">
                <a:solidFill>
                  <a:schemeClr val="accent2"/>
                </a:solidFill>
              </a:rPr>
              <a:t> налоговый вычет</a:t>
            </a:r>
            <a:br>
              <a:rPr lang="ru-RU" sz="1200" dirty="0">
                <a:solidFill>
                  <a:schemeClr val="accent2"/>
                </a:solidFill>
              </a:rPr>
            </a:br>
            <a:r>
              <a:rPr lang="ru-RU" sz="1200" dirty="0">
                <a:solidFill>
                  <a:schemeClr val="accent2"/>
                </a:solidFill>
              </a:rPr>
              <a:t>до 90</a:t>
            </a:r>
            <a:r>
              <a:rPr lang="ru-RU" sz="1200" dirty="0" smtClean="0">
                <a:solidFill>
                  <a:schemeClr val="accent2"/>
                </a:solidFill>
              </a:rPr>
              <a:t>%</a:t>
            </a:r>
          </a:p>
          <a:p>
            <a:endParaRPr lang="ru-RU" sz="1200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  <a:t>(ст. 286.1 </a:t>
            </a:r>
            <a:b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</a:br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  <a:t>НК РФ)</a:t>
            </a:r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1400" dirty="0"/>
              <a:t/>
            </a:r>
            <a:br>
              <a:rPr lang="ru-RU" sz="1400" dirty="0"/>
            </a:br>
            <a:endParaRPr lang="ru-RU" sz="14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446307A8-92DC-47EF-937F-B2C30D8B1B59}"/>
              </a:ext>
            </a:extLst>
          </p:cNvPr>
          <p:cNvSpPr txBox="1"/>
          <p:nvPr/>
        </p:nvSpPr>
        <p:spPr>
          <a:xfrm>
            <a:off x="6622686" y="1702178"/>
            <a:ext cx="452469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/>
              <a:t>Пример </a:t>
            </a:r>
            <a:r>
              <a:rPr lang="ru-RU" sz="1400" b="1" dirty="0" smtClean="0"/>
              <a:t>расчета</a:t>
            </a:r>
            <a:endParaRPr lang="ru-RU" sz="1400" b="1" dirty="0"/>
          </a:p>
        </p:txBody>
      </p: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B445D8AB-C0D4-4D30-9F28-F99C77DA4BC4}"/>
              </a:ext>
            </a:extLst>
          </p:cNvPr>
          <p:cNvSpPr txBox="1"/>
          <p:nvPr/>
        </p:nvSpPr>
        <p:spPr>
          <a:xfrm>
            <a:off x="4177518" y="3009974"/>
            <a:ext cx="218007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Приобретение объектов ОС</a:t>
            </a:r>
          </a:p>
          <a:p>
            <a:pPr marL="180000" indent="-18000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Модернизация и иные улучшения ОС</a:t>
            </a:r>
          </a:p>
          <a:p>
            <a:pPr marL="180000" indent="-18000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3-7 амортизационная группа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97DB0D29-311E-455D-89FE-B35CD367605D}"/>
              </a:ext>
            </a:extLst>
          </p:cNvPr>
          <p:cNvSpPr txBox="1"/>
          <p:nvPr/>
        </p:nvSpPr>
        <p:spPr>
          <a:xfrm>
            <a:off x="4144439" y="5423307"/>
            <a:ext cx="24080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indent="-18000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 smtClean="0"/>
              <a:t>Вновь приобретаемое имущество </a:t>
            </a:r>
            <a:r>
              <a:rPr lang="ru-RU" sz="1200" dirty="0"/>
              <a:t>организации – участника </a:t>
            </a:r>
            <a:r>
              <a:rPr lang="ru-RU" sz="1200" dirty="0" smtClean="0"/>
              <a:t>проекта, являющееся объектом н/о</a:t>
            </a:r>
            <a:endParaRPr lang="ru-RU" sz="1200" dirty="0"/>
          </a:p>
        </p:txBody>
      </p:sp>
      <p:sp>
        <p:nvSpPr>
          <p:cNvPr id="36" name="TextBox 35">
            <a:extLst>
              <a:ext uri="{FF2B5EF4-FFF2-40B4-BE49-F238E27FC236}">
                <a16:creationId xmlns="" xmlns:a16="http://schemas.microsoft.com/office/drawing/2014/main" id="{7F148977-1B42-417A-9128-4351FA66CA76}"/>
              </a:ext>
            </a:extLst>
          </p:cNvPr>
          <p:cNvSpPr txBox="1"/>
          <p:nvPr/>
        </p:nvSpPr>
        <p:spPr>
          <a:xfrm>
            <a:off x="6596038" y="2017237"/>
            <a:ext cx="524857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tx2">
                  <a:lumMod val="90000"/>
                  <a:lumOff val="10000"/>
                </a:schemeClr>
              </a:buClr>
            </a:pPr>
            <a:r>
              <a:rPr lang="ru-RU" sz="1200" dirty="0" smtClean="0"/>
              <a:t>Прибыль </a:t>
            </a:r>
            <a:r>
              <a:rPr lang="ru-RU" sz="1200" dirty="0"/>
              <a:t>– 5 000 000, приобретение ОС за 1 000 000</a:t>
            </a:r>
          </a:p>
          <a:p>
            <a:pPr>
              <a:buClr>
                <a:schemeClr val="tx2">
                  <a:lumMod val="90000"/>
                  <a:lumOff val="10000"/>
                </a:schemeClr>
              </a:buClr>
            </a:pPr>
            <a:r>
              <a:rPr lang="ru-RU" sz="1200" b="1" dirty="0"/>
              <a:t>При базовой ставке</a:t>
            </a:r>
            <a:r>
              <a:rPr lang="ru-RU" sz="1200" dirty="0"/>
              <a:t> налог к </a:t>
            </a:r>
            <a:r>
              <a:rPr lang="ru-RU" sz="1200" dirty="0" smtClean="0"/>
              <a:t>уплате:</a:t>
            </a:r>
            <a:endParaRPr lang="ru-RU" sz="1200" dirty="0"/>
          </a:p>
          <a:p>
            <a:pPr marL="630238" indent="-630238">
              <a:buClr>
                <a:schemeClr val="tx2">
                  <a:lumMod val="90000"/>
                  <a:lumOff val="10000"/>
                </a:schemeClr>
              </a:buClr>
            </a:pPr>
            <a:endParaRPr lang="ru-RU" sz="1200" b="1" dirty="0" smtClean="0"/>
          </a:p>
          <a:p>
            <a:pPr marL="630238" indent="-630238">
              <a:buClr>
                <a:schemeClr val="tx2">
                  <a:lumMod val="90000"/>
                  <a:lumOff val="10000"/>
                </a:schemeClr>
              </a:buClr>
            </a:pPr>
            <a:endParaRPr lang="ru-RU" sz="1200" b="1" dirty="0"/>
          </a:p>
          <a:p>
            <a:pPr marL="630238" indent="-630238">
              <a:buClr>
                <a:schemeClr val="tx2">
                  <a:lumMod val="90000"/>
                  <a:lumOff val="10000"/>
                </a:schemeClr>
              </a:buClr>
            </a:pPr>
            <a:r>
              <a:rPr lang="ru-RU" sz="1200" b="1" dirty="0" smtClean="0"/>
              <a:t>С применением инвестиционного вычета</a:t>
            </a:r>
            <a:r>
              <a:rPr lang="ru-RU" sz="1200" dirty="0" smtClean="0"/>
              <a:t>:</a:t>
            </a:r>
          </a:p>
          <a:p>
            <a:pPr marL="177800" indent="-17780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 smtClean="0"/>
              <a:t>Предельная сумма вычета (ПСВ):</a:t>
            </a:r>
            <a:endParaRPr lang="ru-RU" sz="1200" dirty="0"/>
          </a:p>
          <a:p>
            <a:pPr marL="630238" indent="-630238">
              <a:buClr>
                <a:schemeClr val="tx2">
                  <a:lumMod val="90000"/>
                  <a:lumOff val="10000"/>
                </a:schemeClr>
              </a:buClr>
            </a:pPr>
            <a:endParaRPr lang="ru-RU" sz="1200" dirty="0" smtClean="0"/>
          </a:p>
          <a:p>
            <a:pPr marL="630238" indent="-630238">
              <a:buClr>
                <a:schemeClr val="tx2">
                  <a:lumMod val="90000"/>
                  <a:lumOff val="10000"/>
                </a:schemeClr>
              </a:buClr>
            </a:pPr>
            <a:endParaRPr lang="ru-RU" sz="1200" dirty="0" smtClean="0"/>
          </a:p>
          <a:p>
            <a:pPr marL="177800" indent="-17780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 smtClean="0"/>
              <a:t>Минимально возможная сумма налога к уплате:</a:t>
            </a:r>
          </a:p>
          <a:p>
            <a:pPr marL="177800" indent="-17780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endParaRPr lang="ru-RU" sz="1200" dirty="0"/>
          </a:p>
          <a:p>
            <a:pPr marL="177800" indent="-17780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endParaRPr lang="ru-RU" sz="1200" dirty="0" smtClean="0"/>
          </a:p>
          <a:p>
            <a:pPr marL="177800" indent="-17780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 smtClean="0"/>
              <a:t>Уменьшение налога на прибыль:</a:t>
            </a:r>
          </a:p>
          <a:p>
            <a:pPr marL="177800" indent="-17780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endParaRPr lang="ru-RU" sz="1200" dirty="0"/>
          </a:p>
          <a:p>
            <a:pPr marL="177800" indent="-17780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endParaRPr lang="ru-RU" sz="1200" dirty="0" smtClean="0"/>
          </a:p>
          <a:p>
            <a:pPr marL="177800" indent="-17780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 smtClean="0"/>
              <a:t>Остаток вычета, который переносится на следующие периоды:</a:t>
            </a:r>
            <a:endParaRPr lang="ru-RU" sz="1200" dirty="0"/>
          </a:p>
          <a:p>
            <a:pPr marL="630238" indent="-630238">
              <a:buClr>
                <a:schemeClr val="tx2">
                  <a:lumMod val="90000"/>
                  <a:lumOff val="10000"/>
                </a:schemeClr>
              </a:buClr>
            </a:pPr>
            <a:endParaRPr lang="ru-RU" sz="1200" dirty="0" smtClean="0"/>
          </a:p>
        </p:txBody>
      </p:sp>
      <p:sp>
        <p:nvSpPr>
          <p:cNvPr id="37" name="TextBox 36">
            <a:extLst>
              <a:ext uri="{FF2B5EF4-FFF2-40B4-BE49-F238E27FC236}">
                <a16:creationId xmlns="" xmlns:a16="http://schemas.microsoft.com/office/drawing/2014/main" id="{C07F1743-724E-4670-BD1E-68E4BDB8B063}"/>
              </a:ext>
            </a:extLst>
          </p:cNvPr>
          <p:cNvSpPr txBox="1"/>
          <p:nvPr/>
        </p:nvSpPr>
        <p:spPr>
          <a:xfrm>
            <a:off x="6616696" y="5515640"/>
            <a:ext cx="53001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Имущество – 10 000 000</a:t>
            </a:r>
          </a:p>
          <a:p>
            <a:pPr marL="285750" indent="-2857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10 000 000 х 2% = </a:t>
            </a:r>
            <a:r>
              <a:rPr lang="ru-RU" sz="1200" b="1" dirty="0"/>
              <a:t>200 000 – при базовой ставке</a:t>
            </a:r>
          </a:p>
          <a:p>
            <a:pPr marL="285750" indent="-2857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/>
              <a:t>10 000 000 х 0% = </a:t>
            </a:r>
            <a:r>
              <a:rPr lang="ru-RU" sz="1200" b="1" dirty="0"/>
              <a:t>0 – при льготной ставке</a:t>
            </a:r>
          </a:p>
        </p:txBody>
      </p:sp>
      <p:cxnSp>
        <p:nvCxnSpPr>
          <p:cNvPr id="39" name="Прямая соединительная линия 38">
            <a:extLst>
              <a:ext uri="{FF2B5EF4-FFF2-40B4-BE49-F238E27FC236}">
                <a16:creationId xmlns="" xmlns:a16="http://schemas.microsoft.com/office/drawing/2014/main" id="{9624C0D7-F7AE-4807-8B75-5C4AC7A515E2}"/>
              </a:ext>
            </a:extLst>
          </p:cNvPr>
          <p:cNvCxnSpPr/>
          <p:nvPr/>
        </p:nvCxnSpPr>
        <p:spPr>
          <a:xfrm>
            <a:off x="380101" y="5212046"/>
            <a:ext cx="11485165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>
            <a:extLst>
              <a:ext uri="{FF2B5EF4-FFF2-40B4-BE49-F238E27FC236}">
                <a16:creationId xmlns="" xmlns:a16="http://schemas.microsoft.com/office/drawing/2014/main" id="{9624C0D7-F7AE-4807-8B75-5C4AC7A515E2}"/>
              </a:ext>
            </a:extLst>
          </p:cNvPr>
          <p:cNvCxnSpPr/>
          <p:nvPr/>
        </p:nvCxnSpPr>
        <p:spPr>
          <a:xfrm>
            <a:off x="359443" y="6500693"/>
            <a:ext cx="11485165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6449532" y="2079750"/>
            <a:ext cx="0" cy="3035501"/>
          </a:xfrm>
          <a:prstGeom prst="line">
            <a:avLst/>
          </a:prstGeom>
          <a:ln>
            <a:solidFill>
              <a:schemeClr val="accent4">
                <a:lumMod val="20000"/>
                <a:lumOff val="80000"/>
              </a:schemeClr>
            </a:solidFill>
          </a:ln>
          <a:effectLst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>
            <a:off x="6449532" y="5285899"/>
            <a:ext cx="0" cy="1156892"/>
          </a:xfrm>
          <a:prstGeom prst="line">
            <a:avLst/>
          </a:prstGeom>
          <a:ln>
            <a:solidFill>
              <a:schemeClr val="accent4">
                <a:lumMod val="20000"/>
                <a:lumOff val="80000"/>
              </a:schemeClr>
            </a:solidFill>
          </a:ln>
          <a:effectLst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3448344" y="-136477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graphicFrame>
        <p:nvGraphicFramePr>
          <p:cNvPr id="27" name="Таблица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8131286"/>
              </p:ext>
            </p:extLst>
          </p:nvPr>
        </p:nvGraphicFramePr>
        <p:xfrm>
          <a:off x="6666421" y="2474750"/>
          <a:ext cx="5184402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067">
                  <a:extLst>
                    <a:ext uri="{9D8B030D-6E8A-4147-A177-3AD203B41FA5}">
                      <a16:colId xmlns="" xmlns:a16="http://schemas.microsoft.com/office/drawing/2014/main" val="3381403562"/>
                    </a:ext>
                  </a:extLst>
                </a:gridCol>
                <a:gridCol w="864067">
                  <a:extLst>
                    <a:ext uri="{9D8B030D-6E8A-4147-A177-3AD203B41FA5}">
                      <a16:colId xmlns="" xmlns:a16="http://schemas.microsoft.com/office/drawing/2014/main" val="3716848026"/>
                    </a:ext>
                  </a:extLst>
                </a:gridCol>
                <a:gridCol w="864067">
                  <a:extLst>
                    <a:ext uri="{9D8B030D-6E8A-4147-A177-3AD203B41FA5}">
                      <a16:colId xmlns="" xmlns:a16="http://schemas.microsoft.com/office/drawing/2014/main" val="1034191979"/>
                    </a:ext>
                  </a:extLst>
                </a:gridCol>
                <a:gridCol w="864067">
                  <a:extLst>
                    <a:ext uri="{9D8B030D-6E8A-4147-A177-3AD203B41FA5}">
                      <a16:colId xmlns="" xmlns:a16="http://schemas.microsoft.com/office/drawing/2014/main" val="3781099577"/>
                    </a:ext>
                  </a:extLst>
                </a:gridCol>
                <a:gridCol w="864067">
                  <a:extLst>
                    <a:ext uri="{9D8B030D-6E8A-4147-A177-3AD203B41FA5}">
                      <a16:colId xmlns="" xmlns:a16="http://schemas.microsoft.com/office/drawing/2014/main" val="1074842193"/>
                    </a:ext>
                  </a:extLst>
                </a:gridCol>
                <a:gridCol w="864067">
                  <a:extLst>
                    <a:ext uri="{9D8B030D-6E8A-4147-A177-3AD203B41FA5}">
                      <a16:colId xmlns="" xmlns:a16="http://schemas.microsoft.com/office/drawing/2014/main" val="855210632"/>
                    </a:ext>
                  </a:extLst>
                </a:gridCol>
              </a:tblGrid>
              <a:tr h="239377"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5 000 000</a:t>
                      </a:r>
                      <a:endParaRPr lang="ru-RU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Х 17%</a:t>
                      </a:r>
                      <a:endParaRPr lang="ru-RU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=</a:t>
                      </a:r>
                      <a:r>
                        <a:rPr lang="ru-RU" sz="1200" b="0" i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 i="1" baseline="0" dirty="0" smtClean="0">
                          <a:solidFill>
                            <a:schemeClr val="tx1"/>
                          </a:solidFill>
                        </a:rPr>
                        <a:t>850 000</a:t>
                      </a:r>
                      <a:endParaRPr lang="ru-RU" sz="1200" b="1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5 000 000</a:t>
                      </a:r>
                      <a:endParaRPr lang="ru-RU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Х 3%</a:t>
                      </a:r>
                      <a:endParaRPr lang="ru-RU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=</a:t>
                      </a:r>
                      <a:r>
                        <a:rPr lang="ru-RU" sz="1200" b="0" i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 i="1" baseline="0" dirty="0" smtClean="0">
                          <a:solidFill>
                            <a:schemeClr val="tx1"/>
                          </a:solidFill>
                        </a:rPr>
                        <a:t>150 000</a:t>
                      </a:r>
                      <a:endParaRPr lang="ru-RU" sz="1200" b="1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10264437"/>
                  </a:ext>
                </a:extLst>
              </a:tr>
            </a:tbl>
          </a:graphicData>
        </a:graphic>
      </p:graphicFrame>
      <p:graphicFrame>
        <p:nvGraphicFramePr>
          <p:cNvPr id="42" name="Таблица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2907076"/>
              </p:ext>
            </p:extLst>
          </p:nvPr>
        </p:nvGraphicFramePr>
        <p:xfrm>
          <a:off x="6666421" y="3758199"/>
          <a:ext cx="5184402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067">
                  <a:extLst>
                    <a:ext uri="{9D8B030D-6E8A-4147-A177-3AD203B41FA5}">
                      <a16:colId xmlns="" xmlns:a16="http://schemas.microsoft.com/office/drawing/2014/main" val="3381403562"/>
                    </a:ext>
                  </a:extLst>
                </a:gridCol>
                <a:gridCol w="864067">
                  <a:extLst>
                    <a:ext uri="{9D8B030D-6E8A-4147-A177-3AD203B41FA5}">
                      <a16:colId xmlns="" xmlns:a16="http://schemas.microsoft.com/office/drawing/2014/main" val="3716848026"/>
                    </a:ext>
                  </a:extLst>
                </a:gridCol>
                <a:gridCol w="864067">
                  <a:extLst>
                    <a:ext uri="{9D8B030D-6E8A-4147-A177-3AD203B41FA5}">
                      <a16:colId xmlns="" xmlns:a16="http://schemas.microsoft.com/office/drawing/2014/main" val="1034191979"/>
                    </a:ext>
                  </a:extLst>
                </a:gridCol>
                <a:gridCol w="864067">
                  <a:extLst>
                    <a:ext uri="{9D8B030D-6E8A-4147-A177-3AD203B41FA5}">
                      <a16:colId xmlns="" xmlns:a16="http://schemas.microsoft.com/office/drawing/2014/main" val="3781099577"/>
                    </a:ext>
                  </a:extLst>
                </a:gridCol>
                <a:gridCol w="864067">
                  <a:extLst>
                    <a:ext uri="{9D8B030D-6E8A-4147-A177-3AD203B41FA5}">
                      <a16:colId xmlns="" xmlns:a16="http://schemas.microsoft.com/office/drawing/2014/main" val="1074842193"/>
                    </a:ext>
                  </a:extLst>
                </a:gridCol>
                <a:gridCol w="864067">
                  <a:extLst>
                    <a:ext uri="{9D8B030D-6E8A-4147-A177-3AD203B41FA5}">
                      <a16:colId xmlns="" xmlns:a16="http://schemas.microsoft.com/office/drawing/2014/main" val="855210632"/>
                    </a:ext>
                  </a:extLst>
                </a:gridCol>
              </a:tblGrid>
              <a:tr h="239377"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5 000 000</a:t>
                      </a:r>
                      <a:endParaRPr lang="ru-RU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Х 5%</a:t>
                      </a:r>
                      <a:endParaRPr lang="ru-RU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=</a:t>
                      </a:r>
                      <a:r>
                        <a:rPr lang="ru-RU" sz="1200" b="0" i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 i="1" baseline="0" dirty="0" smtClean="0">
                          <a:solidFill>
                            <a:schemeClr val="tx1"/>
                          </a:solidFill>
                        </a:rPr>
                        <a:t>250 000</a:t>
                      </a:r>
                      <a:endParaRPr lang="ru-RU" sz="1200" b="1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5 000 000</a:t>
                      </a:r>
                      <a:endParaRPr lang="ru-RU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Х 0%</a:t>
                      </a:r>
                      <a:endParaRPr lang="ru-RU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=</a:t>
                      </a:r>
                      <a:r>
                        <a:rPr lang="ru-RU" sz="1200" b="0" i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 i="1" baseline="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ru-RU" sz="1200" b="1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10264437"/>
                  </a:ext>
                </a:extLst>
              </a:tr>
            </a:tbl>
          </a:graphicData>
        </a:graphic>
      </p:graphicFrame>
      <p:graphicFrame>
        <p:nvGraphicFramePr>
          <p:cNvPr id="43" name="Таблица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8064695"/>
              </p:ext>
            </p:extLst>
          </p:nvPr>
        </p:nvGraphicFramePr>
        <p:xfrm>
          <a:off x="6666421" y="4299565"/>
          <a:ext cx="5184402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067">
                  <a:extLst>
                    <a:ext uri="{9D8B030D-6E8A-4147-A177-3AD203B41FA5}">
                      <a16:colId xmlns="" xmlns:a16="http://schemas.microsoft.com/office/drawing/2014/main" val="3381403562"/>
                    </a:ext>
                  </a:extLst>
                </a:gridCol>
                <a:gridCol w="864067">
                  <a:extLst>
                    <a:ext uri="{9D8B030D-6E8A-4147-A177-3AD203B41FA5}">
                      <a16:colId xmlns="" xmlns:a16="http://schemas.microsoft.com/office/drawing/2014/main" val="3716848026"/>
                    </a:ext>
                  </a:extLst>
                </a:gridCol>
                <a:gridCol w="864067">
                  <a:extLst>
                    <a:ext uri="{9D8B030D-6E8A-4147-A177-3AD203B41FA5}">
                      <a16:colId xmlns="" xmlns:a16="http://schemas.microsoft.com/office/drawing/2014/main" val="1034191979"/>
                    </a:ext>
                  </a:extLst>
                </a:gridCol>
                <a:gridCol w="1728134">
                  <a:extLst>
                    <a:ext uri="{9D8B030D-6E8A-4147-A177-3AD203B41FA5}">
                      <a16:colId xmlns="" xmlns:a16="http://schemas.microsoft.com/office/drawing/2014/main" val="3781099577"/>
                    </a:ext>
                  </a:extLst>
                </a:gridCol>
                <a:gridCol w="864067">
                  <a:extLst>
                    <a:ext uri="{9D8B030D-6E8A-4147-A177-3AD203B41FA5}">
                      <a16:colId xmlns="" xmlns:a16="http://schemas.microsoft.com/office/drawing/2014/main" val="855210632"/>
                    </a:ext>
                  </a:extLst>
                </a:gridCol>
              </a:tblGrid>
              <a:tr h="239377"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850</a:t>
                      </a:r>
                      <a:r>
                        <a:rPr lang="ru-RU" sz="1200" b="0" i="1" baseline="0" dirty="0" smtClean="0">
                          <a:solidFill>
                            <a:schemeClr val="tx1"/>
                          </a:solidFill>
                        </a:rPr>
                        <a:t> 000</a:t>
                      </a:r>
                      <a:endParaRPr lang="ru-RU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‒ 250 000</a:t>
                      </a:r>
                      <a:endParaRPr lang="ru-RU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=</a:t>
                      </a:r>
                      <a:r>
                        <a:rPr lang="ru-RU" sz="1200" b="0" i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 i="1" baseline="0" dirty="0" smtClean="0">
                          <a:solidFill>
                            <a:schemeClr val="tx1"/>
                          </a:solidFill>
                        </a:rPr>
                        <a:t>600 000</a:t>
                      </a:r>
                      <a:endParaRPr lang="ru-RU" sz="1200" b="1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т.к.</a:t>
                      </a:r>
                      <a:r>
                        <a:rPr lang="ru-RU" sz="1200" b="0" i="1" baseline="0" dirty="0" smtClean="0">
                          <a:solidFill>
                            <a:schemeClr val="tx1"/>
                          </a:solidFill>
                        </a:rPr>
                        <a:t> 150 000 </a:t>
                      </a:r>
                      <a:r>
                        <a:rPr lang="en-US" sz="1200" b="0" i="1" baseline="0" dirty="0" smtClean="0">
                          <a:solidFill>
                            <a:schemeClr val="tx1"/>
                          </a:solidFill>
                        </a:rPr>
                        <a:t>&gt; </a:t>
                      </a:r>
                      <a:r>
                        <a:rPr lang="ru-RU" sz="1200" b="0" i="1" baseline="0" dirty="0" smtClean="0">
                          <a:solidFill>
                            <a:schemeClr val="tx1"/>
                          </a:solidFill>
                        </a:rPr>
                        <a:t>ПСВ</a:t>
                      </a:r>
                      <a:endParaRPr lang="ru-RU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baseline="0" dirty="0" smtClean="0">
                          <a:solidFill>
                            <a:schemeClr val="tx1"/>
                          </a:solidFill>
                        </a:rPr>
                        <a:t>= </a:t>
                      </a:r>
                      <a:r>
                        <a:rPr lang="en-US" sz="1200" b="1" i="1" baseline="0" dirty="0" smtClean="0">
                          <a:solidFill>
                            <a:schemeClr val="tx1"/>
                          </a:solidFill>
                        </a:rPr>
                        <a:t>10</a:t>
                      </a:r>
                      <a:r>
                        <a:rPr lang="ru-RU" sz="1200" b="1" i="1" baseline="0" dirty="0" smtClean="0">
                          <a:solidFill>
                            <a:schemeClr val="tx1"/>
                          </a:solidFill>
                        </a:rPr>
                        <a:t>0 000</a:t>
                      </a:r>
                      <a:endParaRPr lang="ru-RU" sz="1200" b="1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10264437"/>
                  </a:ext>
                </a:extLst>
              </a:tr>
            </a:tbl>
          </a:graphicData>
        </a:graphic>
      </p:graphicFrame>
      <p:graphicFrame>
        <p:nvGraphicFramePr>
          <p:cNvPr id="44" name="Таблица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4567887"/>
              </p:ext>
            </p:extLst>
          </p:nvPr>
        </p:nvGraphicFramePr>
        <p:xfrm>
          <a:off x="6666421" y="4840931"/>
          <a:ext cx="5184402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067">
                  <a:extLst>
                    <a:ext uri="{9D8B030D-6E8A-4147-A177-3AD203B41FA5}">
                      <a16:colId xmlns="" xmlns:a16="http://schemas.microsoft.com/office/drawing/2014/main" val="3381403562"/>
                    </a:ext>
                  </a:extLst>
                </a:gridCol>
                <a:gridCol w="864067">
                  <a:extLst>
                    <a:ext uri="{9D8B030D-6E8A-4147-A177-3AD203B41FA5}">
                      <a16:colId xmlns="" xmlns:a16="http://schemas.microsoft.com/office/drawing/2014/main" val="3716848026"/>
                    </a:ext>
                  </a:extLst>
                </a:gridCol>
                <a:gridCol w="864067">
                  <a:extLst>
                    <a:ext uri="{9D8B030D-6E8A-4147-A177-3AD203B41FA5}">
                      <a16:colId xmlns="" xmlns:a16="http://schemas.microsoft.com/office/drawing/2014/main" val="1034191979"/>
                    </a:ext>
                  </a:extLst>
                </a:gridCol>
                <a:gridCol w="1728134">
                  <a:extLst>
                    <a:ext uri="{9D8B030D-6E8A-4147-A177-3AD203B41FA5}">
                      <a16:colId xmlns="" xmlns:a16="http://schemas.microsoft.com/office/drawing/2014/main" val="3781099577"/>
                    </a:ext>
                  </a:extLst>
                </a:gridCol>
                <a:gridCol w="864067">
                  <a:extLst>
                    <a:ext uri="{9D8B030D-6E8A-4147-A177-3AD203B41FA5}">
                      <a16:colId xmlns="" xmlns:a16="http://schemas.microsoft.com/office/drawing/2014/main" val="855210632"/>
                    </a:ext>
                  </a:extLst>
                </a:gridCol>
              </a:tblGrid>
              <a:tr h="239377"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900</a:t>
                      </a:r>
                      <a:r>
                        <a:rPr lang="ru-RU" sz="1200" b="0" i="1" baseline="0" dirty="0" smtClean="0">
                          <a:solidFill>
                            <a:schemeClr val="tx1"/>
                          </a:solidFill>
                        </a:rPr>
                        <a:t> 000</a:t>
                      </a:r>
                      <a:endParaRPr lang="ru-RU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‒ 600 000</a:t>
                      </a:r>
                      <a:endParaRPr lang="ru-RU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=</a:t>
                      </a:r>
                      <a:r>
                        <a:rPr lang="ru-RU" sz="1200" b="0" i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 i="1" baseline="0" dirty="0" smtClean="0">
                          <a:solidFill>
                            <a:schemeClr val="tx1"/>
                          </a:solidFill>
                        </a:rPr>
                        <a:t>300 000</a:t>
                      </a:r>
                      <a:endParaRPr lang="ru-RU" sz="1200" b="1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учтена</a:t>
                      </a:r>
                      <a:r>
                        <a:rPr lang="ru-RU" sz="1200" b="0" i="1" baseline="0" dirty="0" smtClean="0">
                          <a:solidFill>
                            <a:schemeClr val="tx1"/>
                          </a:solidFill>
                        </a:rPr>
                        <a:t> ПСВ</a:t>
                      </a:r>
                      <a:endParaRPr lang="ru-RU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= </a:t>
                      </a:r>
                      <a:r>
                        <a:rPr lang="ru-RU" sz="1200" b="1" i="1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ru-RU" sz="1200" b="1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10264437"/>
                  </a:ext>
                </a:extLst>
              </a:tr>
            </a:tbl>
          </a:graphicData>
        </a:graphic>
      </p:graphicFrame>
      <p:graphicFrame>
        <p:nvGraphicFramePr>
          <p:cNvPr id="45" name="Таблица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1606484"/>
              </p:ext>
            </p:extLst>
          </p:nvPr>
        </p:nvGraphicFramePr>
        <p:xfrm>
          <a:off x="6666421" y="3207944"/>
          <a:ext cx="5184402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067">
                  <a:extLst>
                    <a:ext uri="{9D8B030D-6E8A-4147-A177-3AD203B41FA5}">
                      <a16:colId xmlns="" xmlns:a16="http://schemas.microsoft.com/office/drawing/2014/main" val="3381403562"/>
                    </a:ext>
                  </a:extLst>
                </a:gridCol>
                <a:gridCol w="864067">
                  <a:extLst>
                    <a:ext uri="{9D8B030D-6E8A-4147-A177-3AD203B41FA5}">
                      <a16:colId xmlns="" xmlns:a16="http://schemas.microsoft.com/office/drawing/2014/main" val="3716848026"/>
                    </a:ext>
                  </a:extLst>
                </a:gridCol>
                <a:gridCol w="864067">
                  <a:extLst>
                    <a:ext uri="{9D8B030D-6E8A-4147-A177-3AD203B41FA5}">
                      <a16:colId xmlns="" xmlns:a16="http://schemas.microsoft.com/office/drawing/2014/main" val="1034191979"/>
                    </a:ext>
                  </a:extLst>
                </a:gridCol>
                <a:gridCol w="864067">
                  <a:extLst>
                    <a:ext uri="{9D8B030D-6E8A-4147-A177-3AD203B41FA5}">
                      <a16:colId xmlns="" xmlns:a16="http://schemas.microsoft.com/office/drawing/2014/main" val="3781099577"/>
                    </a:ext>
                  </a:extLst>
                </a:gridCol>
                <a:gridCol w="864067">
                  <a:extLst>
                    <a:ext uri="{9D8B030D-6E8A-4147-A177-3AD203B41FA5}">
                      <a16:colId xmlns="" xmlns:a16="http://schemas.microsoft.com/office/drawing/2014/main" val="1074842193"/>
                    </a:ext>
                  </a:extLst>
                </a:gridCol>
                <a:gridCol w="864067">
                  <a:extLst>
                    <a:ext uri="{9D8B030D-6E8A-4147-A177-3AD203B41FA5}">
                      <a16:colId xmlns="" xmlns:a16="http://schemas.microsoft.com/office/drawing/2014/main" val="855210632"/>
                    </a:ext>
                  </a:extLst>
                </a:gridCol>
              </a:tblGrid>
              <a:tr h="239377"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1 000 000</a:t>
                      </a:r>
                      <a:endParaRPr lang="ru-RU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Х </a:t>
                      </a:r>
                      <a:r>
                        <a:rPr lang="ru-RU" sz="1200" b="1" i="1" dirty="0" smtClean="0">
                          <a:solidFill>
                            <a:schemeClr val="tx1"/>
                          </a:solidFill>
                        </a:rPr>
                        <a:t>90%</a:t>
                      </a:r>
                      <a:endParaRPr lang="ru-RU" sz="1200" b="1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=</a:t>
                      </a:r>
                      <a:r>
                        <a:rPr lang="ru-RU" sz="1200" b="0" i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 i="1" baseline="0" dirty="0" smtClean="0">
                          <a:solidFill>
                            <a:schemeClr val="tx1"/>
                          </a:solidFill>
                        </a:rPr>
                        <a:t>900 000</a:t>
                      </a:r>
                      <a:endParaRPr lang="ru-RU" sz="1200" b="1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1 000 000</a:t>
                      </a:r>
                      <a:endParaRPr lang="ru-RU" sz="1200" b="0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Х </a:t>
                      </a:r>
                      <a:r>
                        <a:rPr lang="ru-RU" sz="1200" b="1" i="1" dirty="0" smtClean="0">
                          <a:solidFill>
                            <a:schemeClr val="tx1"/>
                          </a:solidFill>
                        </a:rPr>
                        <a:t>10%</a:t>
                      </a:r>
                      <a:endParaRPr lang="ru-RU" sz="1200" b="1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solidFill>
                            <a:schemeClr val="tx1"/>
                          </a:solidFill>
                        </a:rPr>
                        <a:t>=</a:t>
                      </a:r>
                      <a:r>
                        <a:rPr lang="ru-RU" sz="1200" b="0" i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b="1" i="1" baseline="0" dirty="0" smtClean="0">
                          <a:solidFill>
                            <a:schemeClr val="tx1"/>
                          </a:solidFill>
                        </a:rPr>
                        <a:t>100 000</a:t>
                      </a:r>
                      <a:endParaRPr lang="ru-RU" sz="1200" b="1" i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10264437"/>
                  </a:ext>
                </a:extLst>
              </a:tr>
            </a:tbl>
          </a:graphicData>
        </a:graphic>
      </p:graphicFrame>
      <p:grpSp>
        <p:nvGrpSpPr>
          <p:cNvPr id="48" name="Группа 47"/>
          <p:cNvGrpSpPr/>
          <p:nvPr/>
        </p:nvGrpSpPr>
        <p:grpSpPr>
          <a:xfrm>
            <a:off x="10021811" y="1577343"/>
            <a:ext cx="2094614" cy="430887"/>
            <a:chOff x="4933507" y="-730562"/>
            <a:chExt cx="2094614" cy="430887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4933507" y="-648587"/>
              <a:ext cx="191386" cy="106326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4933507" y="-485531"/>
              <a:ext cx="191386" cy="106326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952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5124895" y="-730562"/>
              <a:ext cx="1903226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050" dirty="0" smtClean="0"/>
                <a:t>в бюджет субъекта РФ</a:t>
              </a:r>
            </a:p>
            <a:p>
              <a:r>
                <a:rPr lang="ru-RU" sz="1050" dirty="0" smtClean="0"/>
                <a:t>в федеральный бюджет</a:t>
              </a:r>
              <a:endParaRPr lang="ru-RU" sz="1050" dirty="0"/>
            </a:p>
          </p:txBody>
        </p:sp>
      </p:grpSp>
    </p:spTree>
    <p:extLst>
      <p:ext uri="{BB962C8B-B14F-4D97-AF65-F5344CB8AC3E}">
        <p14:creationId xmlns:p14="http://schemas.microsoft.com/office/powerpoint/2010/main" val="5869670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2ADBF20C-579D-4F41-AC3A-B8B7898573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5935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9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="" xmlns:a16="http://schemas.microsoft.com/office/drawing/2014/main" id="{D47CECBC-0F9B-45CE-A167-48B5CF50089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DAF3EB1E-0FA2-4C97-BAEB-ACF64C2FB2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мен опытом с партнерами из Японии, Германии и Франции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067CB345-CCC5-4265-9F0E-C7A7EAEBB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C82E3064-73A9-4D96-82B9-A9E7A0DF9C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20" name="Стрелка: пятиугольник 14">
            <a:extLst>
              <a:ext uri="{FF2B5EF4-FFF2-40B4-BE49-F238E27FC236}">
                <a16:creationId xmlns="" xmlns:a16="http://schemas.microsoft.com/office/drawing/2014/main" id="{AF649ACC-7004-4301-AED5-8114FD0B4332}"/>
              </a:ext>
            </a:extLst>
          </p:cNvPr>
          <p:cNvSpPr/>
          <p:nvPr/>
        </p:nvSpPr>
        <p:spPr>
          <a:xfrm>
            <a:off x="6347942" y="3968001"/>
            <a:ext cx="5508698" cy="2149943"/>
          </a:xfrm>
          <a:prstGeom prst="homePlate">
            <a:avLst>
              <a:gd name="adj" fmla="val 0"/>
            </a:avLst>
          </a:prstGeom>
          <a:noFill/>
          <a:ln w="158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720000"/>
            <a:endParaRPr lang="ru-RU" sz="800" b="1" dirty="0">
              <a:solidFill>
                <a:schemeClr val="accent3"/>
              </a:solidFill>
            </a:endParaRPr>
          </a:p>
          <a:p>
            <a:pPr marL="900000" lvl="1" indent="-171450">
              <a:buFont typeface="Arial" pitchFamily="34" charset="0"/>
              <a:buChar char="•"/>
            </a:pPr>
            <a:endParaRPr lang="ru-RU" sz="1100" dirty="0">
              <a:solidFill>
                <a:schemeClr val="accent3">
                  <a:lumMod val="50000"/>
                </a:schemeClr>
              </a:solidFill>
            </a:endParaRPr>
          </a:p>
          <a:p>
            <a:pPr marL="728550" lvl="1"/>
            <a:endParaRPr lang="ru-RU" sz="1100" dirty="0">
              <a:solidFill>
                <a:schemeClr val="accent3">
                  <a:lumMod val="50000"/>
                </a:schemeClr>
              </a:solidFill>
            </a:endParaRPr>
          </a:p>
          <a:p>
            <a:pPr marL="728550" lvl="1"/>
            <a:endParaRPr lang="ru-RU" sz="1400" b="1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1" name="Стрелка: пятиугольник 14">
            <a:extLst>
              <a:ext uri="{FF2B5EF4-FFF2-40B4-BE49-F238E27FC236}">
                <a16:creationId xmlns="" xmlns:a16="http://schemas.microsoft.com/office/drawing/2014/main" id="{71C631B6-FB26-4AEE-9C85-2F7317BA89B6}"/>
              </a:ext>
            </a:extLst>
          </p:cNvPr>
          <p:cNvSpPr/>
          <p:nvPr/>
        </p:nvSpPr>
        <p:spPr>
          <a:xfrm>
            <a:off x="368370" y="3661113"/>
            <a:ext cx="5636830" cy="2456832"/>
          </a:xfrm>
          <a:prstGeom prst="homePlate">
            <a:avLst>
              <a:gd name="adj" fmla="val 0"/>
            </a:avLst>
          </a:prstGeom>
          <a:noFill/>
          <a:ln w="158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lvl="1"/>
            <a:r>
              <a:rPr lang="ru-RU" sz="1200" b="1" dirty="0">
                <a:solidFill>
                  <a:schemeClr val="tx1"/>
                </a:solidFill>
              </a:rPr>
              <a:t>                                                                                   </a:t>
            </a:r>
          </a:p>
          <a:p>
            <a:pPr marL="728550" lvl="1"/>
            <a:r>
              <a:rPr lang="ru-RU" sz="1200" b="1" dirty="0">
                <a:solidFill>
                  <a:schemeClr val="tx1"/>
                </a:solidFill>
              </a:rPr>
              <a:t>Соглашение между АНО «ФЦК» и «Тойота Мотор»</a:t>
            </a:r>
          </a:p>
          <a:p>
            <a:pPr marL="728550" lvl="1"/>
            <a:endParaRPr lang="ru-RU" sz="1200" b="1" dirty="0" smtClean="0">
              <a:solidFill>
                <a:schemeClr val="tx1"/>
              </a:solidFill>
            </a:endParaRPr>
          </a:p>
          <a:p>
            <a:pPr marL="728550" lvl="1"/>
            <a:r>
              <a:rPr lang="ru-RU" sz="1200" b="1" dirty="0" smtClean="0">
                <a:solidFill>
                  <a:schemeClr val="tx1"/>
                </a:solidFill>
              </a:rPr>
              <a:t>10 </a:t>
            </a:r>
            <a:r>
              <a:rPr lang="ru-RU" sz="1200" b="1" dirty="0">
                <a:solidFill>
                  <a:schemeClr val="tx1"/>
                </a:solidFill>
              </a:rPr>
              <a:t>предприятий - </a:t>
            </a:r>
            <a:r>
              <a:rPr lang="ru-RU" sz="1200" dirty="0">
                <a:solidFill>
                  <a:schemeClr val="tx1"/>
                </a:solidFill>
              </a:rPr>
              <a:t>кандидатов для участия в российско-японских инициативах «Диагностика российских предприятий» и «Подготовка кадров в смежных отраслях» по итогам предварительного отбора Минэкономразвития РФ</a:t>
            </a:r>
          </a:p>
          <a:p>
            <a:pPr marL="728550" lvl="1"/>
            <a:r>
              <a:rPr lang="ru-RU" sz="12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 </a:t>
            </a: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22" name="Стрелка: пятиугольник 14">
            <a:extLst>
              <a:ext uri="{FF2B5EF4-FFF2-40B4-BE49-F238E27FC236}">
                <a16:creationId xmlns="" xmlns:a16="http://schemas.microsoft.com/office/drawing/2014/main" id="{5E54279D-36E0-412B-A04F-8126527BC602}"/>
              </a:ext>
            </a:extLst>
          </p:cNvPr>
          <p:cNvSpPr/>
          <p:nvPr/>
        </p:nvSpPr>
        <p:spPr>
          <a:xfrm>
            <a:off x="368370" y="1549748"/>
            <a:ext cx="5636830" cy="2111365"/>
          </a:xfrm>
          <a:prstGeom prst="homePlate">
            <a:avLst>
              <a:gd name="adj" fmla="val 0"/>
            </a:avLst>
          </a:prstGeom>
          <a:noFill/>
          <a:ln w="158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728550" lvl="1"/>
            <a:endParaRPr lang="ru-RU" sz="1200" b="1" dirty="0" smtClean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pPr marL="728550" lvl="1"/>
            <a:r>
              <a:rPr lang="ru-RU" sz="12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 </a:t>
            </a:r>
            <a:endParaRPr lang="ru-RU" sz="1200" b="1" dirty="0">
              <a:solidFill>
                <a:schemeClr val="tx2">
                  <a:lumMod val="90000"/>
                  <a:lumOff val="10000"/>
                </a:schemeClr>
              </a:solidFill>
            </a:endParaRPr>
          </a:p>
          <a:p>
            <a:pPr marL="1012825" lvl="1" indent="-290513">
              <a:buFont typeface="Wingdings" panose="05000000000000000000" pitchFamily="2" charset="2"/>
              <a:buChar char="§"/>
            </a:pPr>
            <a:r>
              <a:rPr lang="en-US" sz="1200" b="1" dirty="0" smtClean="0">
                <a:solidFill>
                  <a:schemeClr val="tx1"/>
                </a:solidFill>
              </a:rPr>
              <a:t>I </a:t>
            </a:r>
            <a:r>
              <a:rPr lang="ru-RU" sz="1200" b="1" dirty="0" smtClean="0">
                <a:solidFill>
                  <a:schemeClr val="tx1"/>
                </a:solidFill>
              </a:rPr>
              <a:t>бизнес-миссия: 6 </a:t>
            </a:r>
            <a:r>
              <a:rPr lang="ru-RU" sz="1200" dirty="0">
                <a:solidFill>
                  <a:schemeClr val="tx1"/>
                </a:solidFill>
              </a:rPr>
              <a:t>руководителей предприятий,</a:t>
            </a:r>
            <a:r>
              <a:rPr lang="ru-RU" sz="1200" b="1" dirty="0">
                <a:solidFill>
                  <a:schemeClr val="tx1"/>
                </a:solidFill>
              </a:rPr>
              <a:t> </a:t>
            </a:r>
            <a:r>
              <a:rPr lang="en-US" sz="1200" b="1" dirty="0" smtClean="0">
                <a:solidFill>
                  <a:schemeClr val="tx1"/>
                </a:solidFill>
              </a:rPr>
              <a:t/>
            </a:r>
            <a:br>
              <a:rPr lang="en-US" sz="1200" b="1" dirty="0" smtClean="0">
                <a:solidFill>
                  <a:schemeClr val="tx1"/>
                </a:solidFill>
              </a:rPr>
            </a:br>
            <a:r>
              <a:rPr lang="ru-RU" sz="1200" b="1" dirty="0" smtClean="0">
                <a:solidFill>
                  <a:schemeClr val="tx1"/>
                </a:solidFill>
              </a:rPr>
              <a:t>8 </a:t>
            </a:r>
            <a:r>
              <a:rPr lang="ru-RU" sz="1200" dirty="0">
                <a:solidFill>
                  <a:schemeClr val="tx1"/>
                </a:solidFill>
              </a:rPr>
              <a:t>представителей </a:t>
            </a:r>
            <a:r>
              <a:rPr lang="ru-RU" sz="1200" dirty="0" err="1">
                <a:solidFill>
                  <a:schemeClr val="tx1"/>
                </a:solidFill>
              </a:rPr>
              <a:t>ФОИВов</a:t>
            </a:r>
            <a:r>
              <a:rPr lang="ru-RU" sz="1200" b="1" dirty="0">
                <a:solidFill>
                  <a:schemeClr val="tx1"/>
                </a:solidFill>
              </a:rPr>
              <a:t>, </a:t>
            </a:r>
            <a:r>
              <a:rPr lang="ru-RU" sz="1200" b="1" dirty="0" smtClean="0">
                <a:solidFill>
                  <a:schemeClr val="tx1"/>
                </a:solidFill>
              </a:rPr>
              <a:t>12 </a:t>
            </a:r>
            <a:r>
              <a:rPr lang="ru-RU" sz="1200" dirty="0">
                <a:solidFill>
                  <a:schemeClr val="tx1"/>
                </a:solidFill>
              </a:rPr>
              <a:t>– </a:t>
            </a:r>
            <a:r>
              <a:rPr lang="ru-RU" sz="1200" dirty="0" err="1">
                <a:solidFill>
                  <a:schemeClr val="tx1"/>
                </a:solidFill>
              </a:rPr>
              <a:t>РОИВов</a:t>
            </a:r>
            <a:endParaRPr lang="ru-RU" sz="1200" dirty="0">
              <a:solidFill>
                <a:schemeClr val="tx1"/>
              </a:solidFill>
            </a:endParaRPr>
          </a:p>
          <a:p>
            <a:pPr marL="1012825" lvl="1" indent="-290513">
              <a:buFont typeface="Wingdings" panose="05000000000000000000" pitchFamily="2" charset="2"/>
              <a:buChar char="§"/>
            </a:pPr>
            <a:r>
              <a:rPr lang="ru-RU" sz="1200" b="1" dirty="0" smtClean="0">
                <a:solidFill>
                  <a:schemeClr val="tx1"/>
                </a:solidFill>
              </a:rPr>
              <a:t>20 </a:t>
            </a:r>
            <a:r>
              <a:rPr lang="ru-RU" sz="1200" b="1" dirty="0">
                <a:solidFill>
                  <a:schemeClr val="tx1"/>
                </a:solidFill>
              </a:rPr>
              <a:t>предприятий </a:t>
            </a:r>
            <a:r>
              <a:rPr lang="ru-RU" sz="1200" dirty="0">
                <a:solidFill>
                  <a:schemeClr val="tx1"/>
                </a:solidFill>
              </a:rPr>
              <a:t>– участников </a:t>
            </a:r>
            <a:r>
              <a:rPr lang="ru-RU" sz="1200" dirty="0" smtClean="0">
                <a:solidFill>
                  <a:schemeClr val="tx1"/>
                </a:solidFill>
              </a:rPr>
              <a:t>семинара на </a:t>
            </a:r>
            <a:r>
              <a:rPr lang="ru-RU" sz="1200" dirty="0">
                <a:solidFill>
                  <a:schemeClr val="tx1"/>
                </a:solidFill>
              </a:rPr>
              <a:t>заводе Тойота в </a:t>
            </a:r>
            <a:r>
              <a:rPr lang="ru-RU" sz="1200" dirty="0" smtClean="0">
                <a:solidFill>
                  <a:schemeClr val="tx1"/>
                </a:solidFill>
              </a:rPr>
              <a:t>Санкт-Петербурге</a:t>
            </a:r>
            <a:endParaRPr lang="ru-RU" sz="1200" dirty="0">
              <a:solidFill>
                <a:schemeClr val="tx1"/>
              </a:solidFill>
            </a:endParaRPr>
          </a:p>
          <a:p>
            <a:pPr marL="1012825" lvl="1" indent="-290513"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tx1"/>
                </a:solidFill>
              </a:rPr>
              <a:t>Подписан </a:t>
            </a:r>
            <a:r>
              <a:rPr lang="ru-RU" sz="1200" dirty="0">
                <a:solidFill>
                  <a:schemeClr val="tx1"/>
                </a:solidFill>
              </a:rPr>
              <a:t>план действий по сотрудничеству между Минэкономразвития России и Министерством экономики, торговли и промышленности Японии в сфере производительности труда</a:t>
            </a:r>
          </a:p>
        </p:txBody>
      </p:sp>
      <p:sp>
        <p:nvSpPr>
          <p:cNvPr id="24" name="Стрелка: пятиугольник 14">
            <a:extLst>
              <a:ext uri="{FF2B5EF4-FFF2-40B4-BE49-F238E27FC236}">
                <a16:creationId xmlns="" xmlns:a16="http://schemas.microsoft.com/office/drawing/2014/main" id="{078A5061-695A-4A51-B225-1FE3B0024FF7}"/>
              </a:ext>
            </a:extLst>
          </p:cNvPr>
          <p:cNvSpPr/>
          <p:nvPr/>
        </p:nvSpPr>
        <p:spPr>
          <a:xfrm>
            <a:off x="6347942" y="1549749"/>
            <a:ext cx="5508698" cy="1900276"/>
          </a:xfrm>
          <a:prstGeom prst="homePlate">
            <a:avLst>
              <a:gd name="adj" fmla="val 0"/>
            </a:avLst>
          </a:prstGeom>
          <a:noFill/>
          <a:ln w="158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720000"/>
            <a:endParaRPr lang="ru-RU" sz="800" b="1" dirty="0">
              <a:solidFill>
                <a:schemeClr val="tx1"/>
              </a:solidFill>
            </a:endParaRPr>
          </a:p>
          <a:p>
            <a:pPr marL="900000" lvl="1" indent="-171450">
              <a:buFont typeface="Arial" pitchFamily="34" charset="0"/>
              <a:buChar char="•"/>
            </a:pPr>
            <a:endParaRPr lang="ru-RU" sz="1100" dirty="0">
              <a:solidFill>
                <a:schemeClr val="tx1"/>
              </a:solidFill>
            </a:endParaRPr>
          </a:p>
          <a:p>
            <a:pPr marL="728550" lvl="1"/>
            <a:endParaRPr lang="ru-RU" sz="1100" dirty="0">
              <a:solidFill>
                <a:schemeClr val="tx1"/>
              </a:solidFill>
            </a:endParaRPr>
          </a:p>
          <a:p>
            <a:r>
              <a:rPr lang="ru-RU" sz="1100" dirty="0">
                <a:solidFill>
                  <a:schemeClr val="accent3">
                    <a:lumMod val="50000"/>
                  </a:schemeClr>
                </a:solidFill>
              </a:rPr>
              <a:t>         </a:t>
            </a:r>
            <a:endParaRPr lang="ru-RU" sz="1400" b="1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="" xmlns:a16="http://schemas.microsoft.com/office/drawing/2014/main" id="{40239E2F-DEA9-447F-8734-0A3A16F57D32}"/>
              </a:ext>
            </a:extLst>
          </p:cNvPr>
          <p:cNvSpPr/>
          <p:nvPr/>
        </p:nvSpPr>
        <p:spPr>
          <a:xfrm>
            <a:off x="1086670" y="5013300"/>
            <a:ext cx="4630212" cy="8168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100" dirty="0"/>
              <a:t>Ведется обсуждение проекта по созданию модельного предприятия на базе российского предприятия – участника национального проекта при поддержке японских экспертов в сфере производительности труда</a:t>
            </a:r>
          </a:p>
        </p:txBody>
      </p:sp>
      <p:sp>
        <p:nvSpPr>
          <p:cNvPr id="31" name="Прямоугольник 30">
            <a:extLst>
              <a:ext uri="{FF2B5EF4-FFF2-40B4-BE49-F238E27FC236}">
                <a16:creationId xmlns="" xmlns:a16="http://schemas.microsoft.com/office/drawing/2014/main" id="{B313B41A-94FF-42B0-808F-739EBCAC9D2D}"/>
              </a:ext>
            </a:extLst>
          </p:cNvPr>
          <p:cNvSpPr/>
          <p:nvPr/>
        </p:nvSpPr>
        <p:spPr>
          <a:xfrm>
            <a:off x="7035694" y="3995536"/>
            <a:ext cx="472197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7 июня 2019 г. на площадке ПМЭФ в Санкт-Петербурге подписана Декларация о намерениях между </a:t>
            </a:r>
            <a:r>
              <a:rPr lang="ru-RU" sz="1200" b="1" dirty="0"/>
              <a:t>Минэкономразвития России и Министерством экономики и энергетики Германии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DB7DA82B-63E9-4DB2-9718-68AD5513837F}"/>
              </a:ext>
            </a:extLst>
          </p:cNvPr>
          <p:cNvSpPr/>
          <p:nvPr/>
        </p:nvSpPr>
        <p:spPr>
          <a:xfrm>
            <a:off x="7035694" y="1947301"/>
            <a:ext cx="472197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Подписана </a:t>
            </a:r>
            <a:r>
              <a:rPr lang="ru-RU" sz="1200" b="1" dirty="0"/>
              <a:t>Декларация о намерениях Министерства экономического развития Российской Федерации и Министерства экономики и финансов Французской Республики </a:t>
            </a:r>
            <a:r>
              <a:rPr lang="ru-RU" sz="1200" dirty="0"/>
              <a:t>по двустороннему сотрудничеству в сфере повышения производительности труда, а также Дорожная карта по реализации Совместного заявления</a:t>
            </a:r>
          </a:p>
        </p:txBody>
      </p:sp>
      <p:sp>
        <p:nvSpPr>
          <p:cNvPr id="38" name="Прямоугольник 37">
            <a:extLst>
              <a:ext uri="{FF2B5EF4-FFF2-40B4-BE49-F238E27FC236}">
                <a16:creationId xmlns="" xmlns:a16="http://schemas.microsoft.com/office/drawing/2014/main" id="{D4EA7B38-FAE8-4260-BC21-B9EFB0CF820F}"/>
              </a:ext>
            </a:extLst>
          </p:cNvPr>
          <p:cNvSpPr/>
          <p:nvPr/>
        </p:nvSpPr>
        <p:spPr>
          <a:xfrm>
            <a:off x="7035694" y="4818069"/>
            <a:ext cx="472197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/>
              <a:t>Стратегическая сессия с участием отобранных французских предприятий, РСПП, АНО «ФЦК», ВАВТ</a:t>
            </a:r>
          </a:p>
        </p:txBody>
      </p:sp>
      <p:sp>
        <p:nvSpPr>
          <p:cNvPr id="39" name="Прямоугольник 38">
            <a:extLst>
              <a:ext uri="{FF2B5EF4-FFF2-40B4-BE49-F238E27FC236}">
                <a16:creationId xmlns="" xmlns:a16="http://schemas.microsoft.com/office/drawing/2014/main" id="{860CF31E-CFEF-4BCC-8390-40A197E5C2F8}"/>
              </a:ext>
            </a:extLst>
          </p:cNvPr>
          <p:cNvSpPr/>
          <p:nvPr/>
        </p:nvSpPr>
        <p:spPr>
          <a:xfrm>
            <a:off x="7035694" y="5271270"/>
            <a:ext cx="472197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На следующем заседании Российско-Германской рабочей группы по стратегическому сотрудничеству в области экономики и финансов будет утвержден </a:t>
            </a:r>
            <a:r>
              <a:rPr lang="ru-RU" sz="1200" b="1" dirty="0"/>
              <a:t>план действий в сфере производительности труда  </a:t>
            </a:r>
            <a:r>
              <a:rPr lang="ru-RU" sz="1200" dirty="0"/>
              <a:t>(IV квартал 2019 г.)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="" xmlns:a16="http://schemas.microsoft.com/office/drawing/2014/main" id="{B38936B1-9FD3-42C8-B3B9-C3F101A03632}"/>
              </a:ext>
            </a:extLst>
          </p:cNvPr>
          <p:cNvSpPr txBox="1"/>
          <p:nvPr/>
        </p:nvSpPr>
        <p:spPr>
          <a:xfrm>
            <a:off x="368370" y="1270532"/>
            <a:ext cx="760144" cy="276999"/>
          </a:xfrm>
          <a:prstGeom prst="rect">
            <a:avLst/>
          </a:prstGeom>
          <a:solidFill>
            <a:schemeClr val="accent3"/>
          </a:solidFill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Япония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="" xmlns:a16="http://schemas.microsoft.com/office/drawing/2014/main" id="{B38936B1-9FD3-42C8-B3B9-C3F101A03632}"/>
              </a:ext>
            </a:extLst>
          </p:cNvPr>
          <p:cNvSpPr txBox="1"/>
          <p:nvPr/>
        </p:nvSpPr>
        <p:spPr>
          <a:xfrm>
            <a:off x="486190" y="1623482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2018</a:t>
            </a:r>
            <a:endParaRPr lang="ru-RU" sz="1200" b="1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="" xmlns:a16="http://schemas.microsoft.com/office/drawing/2014/main" id="{B38936B1-9FD3-42C8-B3B9-C3F101A03632}"/>
              </a:ext>
            </a:extLst>
          </p:cNvPr>
          <p:cNvSpPr txBox="1"/>
          <p:nvPr/>
        </p:nvSpPr>
        <p:spPr>
          <a:xfrm>
            <a:off x="486189" y="3779969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2019</a:t>
            </a:r>
            <a:endParaRPr lang="ru-RU" sz="1200" b="1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="" xmlns:a16="http://schemas.microsoft.com/office/drawing/2014/main" id="{B38936B1-9FD3-42C8-B3B9-C3F101A03632}"/>
              </a:ext>
            </a:extLst>
          </p:cNvPr>
          <p:cNvSpPr txBox="1"/>
          <p:nvPr/>
        </p:nvSpPr>
        <p:spPr>
          <a:xfrm>
            <a:off x="6347942" y="1285433"/>
            <a:ext cx="867545" cy="276999"/>
          </a:xfrm>
          <a:prstGeom prst="rect">
            <a:avLst/>
          </a:prstGeom>
          <a:solidFill>
            <a:schemeClr val="accent3"/>
          </a:solidFill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Франция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B38936B1-9FD3-42C8-B3B9-C3F101A03632}"/>
              </a:ext>
            </a:extLst>
          </p:cNvPr>
          <p:cNvSpPr txBox="1"/>
          <p:nvPr/>
        </p:nvSpPr>
        <p:spPr>
          <a:xfrm>
            <a:off x="6460608" y="1681622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2018</a:t>
            </a:r>
            <a:endParaRPr lang="ru-RU" sz="1200" b="1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B38936B1-9FD3-42C8-B3B9-C3F101A03632}"/>
              </a:ext>
            </a:extLst>
          </p:cNvPr>
          <p:cNvSpPr txBox="1"/>
          <p:nvPr/>
        </p:nvSpPr>
        <p:spPr>
          <a:xfrm>
            <a:off x="6347942" y="3699339"/>
            <a:ext cx="914930" cy="276999"/>
          </a:xfrm>
          <a:prstGeom prst="rect">
            <a:avLst/>
          </a:prstGeom>
          <a:solidFill>
            <a:schemeClr val="accent3"/>
          </a:solidFill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Германия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="" xmlns:a16="http://schemas.microsoft.com/office/drawing/2014/main" id="{B38936B1-9FD3-42C8-B3B9-C3F101A03632}"/>
              </a:ext>
            </a:extLst>
          </p:cNvPr>
          <p:cNvSpPr txBox="1"/>
          <p:nvPr/>
        </p:nvSpPr>
        <p:spPr>
          <a:xfrm>
            <a:off x="6460607" y="4085752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2019</a:t>
            </a:r>
            <a:endParaRPr lang="ru-RU" sz="1200" b="1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36812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74617DE2-D1E7-4F5C-AB08-2230FA46B4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284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4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56C3B79A-26A8-48FD-AF25-731B759ADA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2" name="Прямоугольник 91">
            <a:extLst>
              <a:ext uri="{FF2B5EF4-FFF2-40B4-BE49-F238E27FC236}">
                <a16:creationId xmlns="" xmlns:a16="http://schemas.microsoft.com/office/drawing/2014/main" id="{04C07D45-3354-4692-8B57-B6DB23ACB104}"/>
              </a:ext>
            </a:extLst>
          </p:cNvPr>
          <p:cNvSpPr/>
          <p:nvPr/>
        </p:nvSpPr>
        <p:spPr>
          <a:xfrm>
            <a:off x="428624" y="2250569"/>
            <a:ext cx="11389106" cy="242499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EE4BFBE8-8E99-40C4-82FB-562007B847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dirty="0"/>
              <a:t>Работа на предприятиях – Федеральный центр компетенций работает </a:t>
            </a:r>
            <a:br>
              <a:rPr lang="ru-RU" dirty="0"/>
            </a:br>
            <a:r>
              <a:rPr lang="ru-RU" dirty="0"/>
              <a:t>на 180+ предприятиях 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FBDE46D2-D8CE-4F2F-9909-0CDAC55676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E26408E9-DBF6-4B5A-A4D7-809B40F3B8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39DC553B-BF0C-4AFA-98C2-F78FAB775FA8}"/>
              </a:ext>
            </a:extLst>
          </p:cNvPr>
          <p:cNvSpPr txBox="1"/>
          <p:nvPr/>
        </p:nvSpPr>
        <p:spPr>
          <a:xfrm>
            <a:off x="335360" y="1775170"/>
            <a:ext cx="115308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/>
              <a:t>Эксперты АНО «ФЦК» работают на участвующих предприятиях, помогая повысить производительность труда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9DB5D531-B461-429C-8A21-142C92F72DCC}"/>
              </a:ext>
            </a:extLst>
          </p:cNvPr>
          <p:cNvSpPr/>
          <p:nvPr/>
        </p:nvSpPr>
        <p:spPr>
          <a:xfrm>
            <a:off x="2513375" y="6469457"/>
            <a:ext cx="2088000" cy="28788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67BA3865-6148-42ED-8D5F-1BD44F12D10B}"/>
              </a:ext>
            </a:extLst>
          </p:cNvPr>
          <p:cNvSpPr txBox="1"/>
          <p:nvPr/>
        </p:nvSpPr>
        <p:spPr>
          <a:xfrm>
            <a:off x="1406230" y="6439847"/>
            <a:ext cx="326698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Подробнее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: </a:t>
            </a: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производительность.рф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="" xmlns:a16="http://schemas.microsoft.com/office/drawing/2014/main" id="{6ECAAF30-D73A-4CAE-A011-227A2CE25546}"/>
              </a:ext>
            </a:extLst>
          </p:cNvPr>
          <p:cNvSpPr/>
          <p:nvPr/>
        </p:nvSpPr>
        <p:spPr>
          <a:xfrm>
            <a:off x="1276903" y="5008678"/>
            <a:ext cx="3073271" cy="523220"/>
          </a:xfrm>
          <a:prstGeom prst="rect">
            <a:avLst/>
          </a:prstGeom>
        </p:spPr>
        <p:txBody>
          <a:bodyPr wrap="square" lIns="91288" tIns="45644" rIns="91288" bIns="45644">
            <a:spAutoFit/>
          </a:bodyPr>
          <a:lstStyle/>
          <a:p>
            <a:pPr defTabSz="894597"/>
            <a:r>
              <a:rPr lang="ru-RU" sz="1400" dirty="0" smtClean="0">
                <a:solidFill>
                  <a:srgbClr val="000000"/>
                </a:solidFill>
              </a:rPr>
              <a:t>Снижают </a:t>
            </a:r>
            <a:r>
              <a:rPr lang="ru-RU" sz="1400" dirty="0">
                <a:solidFill>
                  <a:srgbClr val="000000"/>
                </a:solidFill>
              </a:rPr>
              <a:t>время протекания процесса минимум в 2 раза</a:t>
            </a:r>
          </a:p>
        </p:txBody>
      </p:sp>
      <p:grpSp>
        <p:nvGrpSpPr>
          <p:cNvPr id="94" name="Группа 93">
            <a:extLst>
              <a:ext uri="{FF2B5EF4-FFF2-40B4-BE49-F238E27FC236}">
                <a16:creationId xmlns="" xmlns:a16="http://schemas.microsoft.com/office/drawing/2014/main" id="{713BE70B-4B20-4690-BCA7-88A107920CFF}"/>
              </a:ext>
            </a:extLst>
          </p:cNvPr>
          <p:cNvGrpSpPr/>
          <p:nvPr/>
        </p:nvGrpSpPr>
        <p:grpSpPr>
          <a:xfrm>
            <a:off x="461056" y="5034090"/>
            <a:ext cx="3534006" cy="457660"/>
            <a:chOff x="461056" y="4557840"/>
            <a:chExt cx="3534006" cy="457660"/>
          </a:xfrm>
        </p:grpSpPr>
        <p:sp>
          <p:nvSpPr>
            <p:cNvPr id="17" name="TextBox 16">
              <a:extLst>
                <a:ext uri="{FF2B5EF4-FFF2-40B4-BE49-F238E27FC236}">
                  <a16:creationId xmlns="" xmlns:a16="http://schemas.microsoft.com/office/drawing/2014/main" id="{B1981BC8-6AB8-45DB-BA1B-17B76CC6A1E0}"/>
                </a:ext>
              </a:extLst>
            </p:cNvPr>
            <p:cNvSpPr txBox="1"/>
            <p:nvPr/>
          </p:nvSpPr>
          <p:spPr>
            <a:xfrm>
              <a:off x="615611" y="4632782"/>
              <a:ext cx="865146" cy="307777"/>
            </a:xfrm>
            <a:prstGeom prst="rect">
              <a:avLst/>
            </a:prstGeom>
            <a:noFill/>
          </p:spPr>
          <p:txBody>
            <a:bodyPr wrap="square" lIns="91288" tIns="45644" rIns="91288" bIns="45644" rtlCol="0">
              <a:spAutoFit/>
            </a:bodyPr>
            <a:lstStyle/>
            <a:p>
              <a:pPr defTabSz="894597"/>
              <a:r>
                <a:rPr lang="ru-RU" sz="1400" b="1" dirty="0">
                  <a:solidFill>
                    <a:schemeClr val="tx2">
                      <a:lumMod val="50000"/>
                    </a:schemeClr>
                  </a:solidFill>
                </a:rPr>
                <a:t>ВПП</a:t>
              </a:r>
            </a:p>
          </p:txBody>
        </p:sp>
        <p:sp>
          <p:nvSpPr>
            <p:cNvPr id="24" name="Скругленный прямоугольник 65">
              <a:extLst>
                <a:ext uri="{FF2B5EF4-FFF2-40B4-BE49-F238E27FC236}">
                  <a16:creationId xmlns="" xmlns:a16="http://schemas.microsoft.com/office/drawing/2014/main" id="{D02380AD-A816-4169-BCA5-24EF2896726B}"/>
                </a:ext>
              </a:extLst>
            </p:cNvPr>
            <p:cNvSpPr/>
            <p:nvPr/>
          </p:nvSpPr>
          <p:spPr>
            <a:xfrm>
              <a:off x="461056" y="4557840"/>
              <a:ext cx="3534006" cy="457660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</p:grpSp>
      <p:grpSp>
        <p:nvGrpSpPr>
          <p:cNvPr id="93" name="Группа 92">
            <a:extLst>
              <a:ext uri="{FF2B5EF4-FFF2-40B4-BE49-F238E27FC236}">
                <a16:creationId xmlns="" xmlns:a16="http://schemas.microsoft.com/office/drawing/2014/main" id="{4FE2E9DE-0E9B-4A4C-B1D4-1158DFA2106E}"/>
              </a:ext>
            </a:extLst>
          </p:cNvPr>
          <p:cNvGrpSpPr/>
          <p:nvPr/>
        </p:nvGrpSpPr>
        <p:grpSpPr>
          <a:xfrm>
            <a:off x="461056" y="5555686"/>
            <a:ext cx="3534006" cy="523220"/>
            <a:chOff x="461056" y="5108011"/>
            <a:chExt cx="3534006" cy="523220"/>
          </a:xfrm>
        </p:grpSpPr>
        <p:sp>
          <p:nvSpPr>
            <p:cNvPr id="15" name="Полилиния 49">
              <a:extLst>
                <a:ext uri="{FF2B5EF4-FFF2-40B4-BE49-F238E27FC236}">
                  <a16:creationId xmlns="" xmlns:a16="http://schemas.microsoft.com/office/drawing/2014/main" id="{EB62B183-D942-4162-A7C1-CE6B64B84869}"/>
                </a:ext>
              </a:extLst>
            </p:cNvPr>
            <p:cNvSpPr/>
            <p:nvPr/>
          </p:nvSpPr>
          <p:spPr>
            <a:xfrm>
              <a:off x="762387" y="5262194"/>
              <a:ext cx="334239" cy="214855"/>
            </a:xfrm>
            <a:custGeom>
              <a:avLst/>
              <a:gdLst>
                <a:gd name="connsiteX0" fmla="*/ 0 w 807720"/>
                <a:gd name="connsiteY0" fmla="*/ 723900 h 723900"/>
                <a:gd name="connsiteX1" fmla="*/ 47625 w 807720"/>
                <a:gd name="connsiteY1" fmla="*/ 695325 h 723900"/>
                <a:gd name="connsiteX2" fmla="*/ 70485 w 807720"/>
                <a:gd name="connsiteY2" fmla="*/ 666750 h 723900"/>
                <a:gd name="connsiteX3" fmla="*/ 100965 w 807720"/>
                <a:gd name="connsiteY3" fmla="*/ 626745 h 723900"/>
                <a:gd name="connsiteX4" fmla="*/ 150495 w 807720"/>
                <a:gd name="connsiteY4" fmla="*/ 217170 h 723900"/>
                <a:gd name="connsiteX5" fmla="*/ 163830 w 807720"/>
                <a:gd name="connsiteY5" fmla="*/ 165735 h 723900"/>
                <a:gd name="connsiteX6" fmla="*/ 196215 w 807720"/>
                <a:gd name="connsiteY6" fmla="*/ 100965 h 723900"/>
                <a:gd name="connsiteX7" fmla="*/ 247650 w 807720"/>
                <a:gd name="connsiteY7" fmla="*/ 51435 h 723900"/>
                <a:gd name="connsiteX8" fmla="*/ 314325 w 807720"/>
                <a:gd name="connsiteY8" fmla="*/ 15240 h 723900"/>
                <a:gd name="connsiteX9" fmla="*/ 392430 w 807720"/>
                <a:gd name="connsiteY9" fmla="*/ 0 h 723900"/>
                <a:gd name="connsiteX10" fmla="*/ 457200 w 807720"/>
                <a:gd name="connsiteY10" fmla="*/ 9525 h 723900"/>
                <a:gd name="connsiteX11" fmla="*/ 516255 w 807720"/>
                <a:gd name="connsiteY11" fmla="*/ 30480 h 723900"/>
                <a:gd name="connsiteX12" fmla="*/ 571500 w 807720"/>
                <a:gd name="connsiteY12" fmla="*/ 64770 h 723900"/>
                <a:gd name="connsiteX13" fmla="*/ 605790 w 807720"/>
                <a:gd name="connsiteY13" fmla="*/ 112395 h 723900"/>
                <a:gd name="connsiteX14" fmla="*/ 638175 w 807720"/>
                <a:gd name="connsiteY14" fmla="*/ 167640 h 723900"/>
                <a:gd name="connsiteX15" fmla="*/ 645795 w 807720"/>
                <a:gd name="connsiteY15" fmla="*/ 213360 h 723900"/>
                <a:gd name="connsiteX16" fmla="*/ 702945 w 807720"/>
                <a:gd name="connsiteY16" fmla="*/ 611505 h 723900"/>
                <a:gd name="connsiteX17" fmla="*/ 727710 w 807720"/>
                <a:gd name="connsiteY17" fmla="*/ 661035 h 723900"/>
                <a:gd name="connsiteX18" fmla="*/ 754380 w 807720"/>
                <a:gd name="connsiteY18" fmla="*/ 685800 h 723900"/>
                <a:gd name="connsiteX19" fmla="*/ 773430 w 807720"/>
                <a:gd name="connsiteY19" fmla="*/ 702945 h 723900"/>
                <a:gd name="connsiteX20" fmla="*/ 807720 w 807720"/>
                <a:gd name="connsiteY20" fmla="*/ 721995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07720" h="723900">
                  <a:moveTo>
                    <a:pt x="0" y="723900"/>
                  </a:moveTo>
                  <a:lnTo>
                    <a:pt x="47625" y="695325"/>
                  </a:lnTo>
                  <a:lnTo>
                    <a:pt x="70485" y="666750"/>
                  </a:lnTo>
                  <a:lnTo>
                    <a:pt x="100965" y="626745"/>
                  </a:lnTo>
                  <a:lnTo>
                    <a:pt x="150495" y="217170"/>
                  </a:lnTo>
                  <a:lnTo>
                    <a:pt x="163830" y="165735"/>
                  </a:lnTo>
                  <a:lnTo>
                    <a:pt x="196215" y="100965"/>
                  </a:lnTo>
                  <a:lnTo>
                    <a:pt x="247650" y="51435"/>
                  </a:lnTo>
                  <a:lnTo>
                    <a:pt x="314325" y="15240"/>
                  </a:lnTo>
                  <a:lnTo>
                    <a:pt x="392430" y="0"/>
                  </a:lnTo>
                  <a:lnTo>
                    <a:pt x="457200" y="9525"/>
                  </a:lnTo>
                  <a:lnTo>
                    <a:pt x="516255" y="30480"/>
                  </a:lnTo>
                  <a:lnTo>
                    <a:pt x="571500" y="64770"/>
                  </a:lnTo>
                  <a:lnTo>
                    <a:pt x="605790" y="112395"/>
                  </a:lnTo>
                  <a:lnTo>
                    <a:pt x="638175" y="167640"/>
                  </a:lnTo>
                  <a:lnTo>
                    <a:pt x="645795" y="213360"/>
                  </a:lnTo>
                  <a:lnTo>
                    <a:pt x="702945" y="611505"/>
                  </a:lnTo>
                  <a:lnTo>
                    <a:pt x="727710" y="661035"/>
                  </a:lnTo>
                  <a:lnTo>
                    <a:pt x="754380" y="685800"/>
                  </a:lnTo>
                  <a:lnTo>
                    <a:pt x="773430" y="702945"/>
                  </a:lnTo>
                  <a:lnTo>
                    <a:pt x="807720" y="721995"/>
                  </a:lnTo>
                </a:path>
              </a:pathLst>
            </a:custGeom>
            <a:pattFill prst="wdUpDiag">
              <a:fgClr>
                <a:schemeClr val="tx1"/>
              </a:fgClr>
              <a:bgClr>
                <a:schemeClr val="bg1"/>
              </a:bgClr>
            </a:patt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16" name="Прямоугольник 15">
              <a:extLst>
                <a:ext uri="{FF2B5EF4-FFF2-40B4-BE49-F238E27FC236}">
                  <a16:creationId xmlns="" xmlns:a16="http://schemas.microsoft.com/office/drawing/2014/main" id="{12297FA5-BC44-4036-A62B-6F00E3A4EF3A}"/>
                </a:ext>
              </a:extLst>
            </p:cNvPr>
            <p:cNvSpPr/>
            <p:nvPr/>
          </p:nvSpPr>
          <p:spPr>
            <a:xfrm>
              <a:off x="1250974" y="5108011"/>
              <a:ext cx="2515072" cy="523220"/>
            </a:xfrm>
            <a:prstGeom prst="rect">
              <a:avLst/>
            </a:prstGeom>
          </p:spPr>
          <p:txBody>
            <a:bodyPr wrap="square" lIns="91288" tIns="45644" rIns="91288" bIns="45644">
              <a:spAutoFit/>
            </a:bodyPr>
            <a:lstStyle/>
            <a:p>
              <a:pPr defTabSz="894597"/>
              <a:r>
                <a:rPr lang="ru-RU" sz="1400" dirty="0" smtClean="0">
                  <a:solidFill>
                    <a:srgbClr val="000000"/>
                  </a:solidFill>
                </a:rPr>
                <a:t>Сокращают </a:t>
              </a:r>
              <a:r>
                <a:rPr lang="ru-RU" sz="1400" dirty="0">
                  <a:solidFill>
                    <a:srgbClr val="000000"/>
                  </a:solidFill>
                </a:rPr>
                <a:t>запасы </a:t>
              </a:r>
              <a:r>
                <a:rPr lang="ru-RU" sz="1400" dirty="0" smtClean="0">
                  <a:solidFill>
                    <a:srgbClr val="000000"/>
                  </a:solidFill>
                </a:rPr>
                <a:t/>
              </a:r>
              <a:br>
                <a:rPr lang="ru-RU" sz="1400" dirty="0" smtClean="0">
                  <a:solidFill>
                    <a:srgbClr val="000000"/>
                  </a:solidFill>
                </a:rPr>
              </a:br>
              <a:r>
                <a:rPr lang="ru-RU" sz="1400" dirty="0" smtClean="0">
                  <a:solidFill>
                    <a:srgbClr val="000000"/>
                  </a:solidFill>
                </a:rPr>
                <a:t>не менее</a:t>
              </a:r>
              <a:r>
                <a:rPr lang="en-US" sz="1400" dirty="0">
                  <a:solidFill>
                    <a:srgbClr val="000000"/>
                  </a:solidFill>
                </a:rPr>
                <a:t>,</a:t>
              </a:r>
              <a:r>
                <a:rPr lang="ru-RU" sz="1400" dirty="0" smtClean="0">
                  <a:solidFill>
                    <a:srgbClr val="000000"/>
                  </a:solidFill>
                </a:rPr>
                <a:t> </a:t>
              </a:r>
              <a:r>
                <a:rPr lang="ru-RU" sz="1400" dirty="0">
                  <a:solidFill>
                    <a:srgbClr val="000000"/>
                  </a:solidFill>
                </a:rPr>
                <a:t>чем на 50%</a:t>
              </a:r>
            </a:p>
          </p:txBody>
        </p:sp>
        <p:sp>
          <p:nvSpPr>
            <p:cNvPr id="26" name="Скругленный прямоугольник 67">
              <a:extLst>
                <a:ext uri="{FF2B5EF4-FFF2-40B4-BE49-F238E27FC236}">
                  <a16:creationId xmlns="" xmlns:a16="http://schemas.microsoft.com/office/drawing/2014/main" id="{E889F889-C004-4756-ADA2-2ADA8621C921}"/>
                </a:ext>
              </a:extLst>
            </p:cNvPr>
            <p:cNvSpPr/>
            <p:nvPr/>
          </p:nvSpPr>
          <p:spPr>
            <a:xfrm>
              <a:off x="461056" y="5140791"/>
              <a:ext cx="3534006" cy="457660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Группа 97">
            <a:extLst>
              <a:ext uri="{FF2B5EF4-FFF2-40B4-BE49-F238E27FC236}">
                <a16:creationId xmlns="" xmlns:a16="http://schemas.microsoft.com/office/drawing/2014/main" id="{EA196E0D-2B6E-4F2D-8438-0BB897577324}"/>
              </a:ext>
            </a:extLst>
          </p:cNvPr>
          <p:cNvGrpSpPr/>
          <p:nvPr/>
        </p:nvGrpSpPr>
        <p:grpSpPr>
          <a:xfrm>
            <a:off x="8169207" y="5535099"/>
            <a:ext cx="3534006" cy="523220"/>
            <a:chOff x="8169207" y="5096949"/>
            <a:chExt cx="3534006" cy="523220"/>
          </a:xfrm>
        </p:grpSpPr>
        <p:pic>
          <p:nvPicPr>
            <p:cNvPr id="18" name="Picture 6" descr="D:\ФЦК\презы\ик\1-05.png">
              <a:extLst>
                <a:ext uri="{FF2B5EF4-FFF2-40B4-BE49-F238E27FC236}">
                  <a16:creationId xmlns="" xmlns:a16="http://schemas.microsoft.com/office/drawing/2014/main" id="{A766FBF4-8C94-4779-8B9C-5A7C3C868D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507" t="17003" r="20644" b="14540"/>
            <a:stretch/>
          </p:blipFill>
          <p:spPr bwMode="auto">
            <a:xfrm>
              <a:off x="8429847" y="5215338"/>
              <a:ext cx="343051" cy="2864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Прямоугольник 18">
              <a:extLst>
                <a:ext uri="{FF2B5EF4-FFF2-40B4-BE49-F238E27FC236}">
                  <a16:creationId xmlns="" xmlns:a16="http://schemas.microsoft.com/office/drawing/2014/main" id="{9C1CF9B5-492E-43E7-BCBB-FF72F049C700}"/>
                </a:ext>
              </a:extLst>
            </p:cNvPr>
            <p:cNvSpPr/>
            <p:nvPr/>
          </p:nvSpPr>
          <p:spPr>
            <a:xfrm>
              <a:off x="8935527" y="5096949"/>
              <a:ext cx="2694608" cy="523220"/>
            </a:xfrm>
            <a:prstGeom prst="rect">
              <a:avLst/>
            </a:prstGeom>
          </p:spPr>
          <p:txBody>
            <a:bodyPr wrap="square" lIns="91288" tIns="45644" rIns="91288" bIns="45644">
              <a:spAutoFit/>
            </a:bodyPr>
            <a:lstStyle/>
            <a:p>
              <a:pPr defTabSz="894597"/>
              <a:r>
                <a:rPr lang="ru-RU" sz="1400" dirty="0" smtClean="0">
                  <a:solidFill>
                    <a:srgbClr val="000000"/>
                  </a:solidFill>
                </a:rPr>
                <a:t>Повышают </a:t>
              </a:r>
              <a:r>
                <a:rPr lang="ru-RU" sz="1400" dirty="0">
                  <a:solidFill>
                    <a:srgbClr val="000000"/>
                  </a:solidFill>
                </a:rPr>
                <a:t>загрузку персонала в среднем до 85%</a:t>
              </a:r>
            </a:p>
          </p:txBody>
        </p:sp>
        <p:sp>
          <p:nvSpPr>
            <p:cNvPr id="28" name="Скругленный прямоугольник 69">
              <a:extLst>
                <a:ext uri="{FF2B5EF4-FFF2-40B4-BE49-F238E27FC236}">
                  <a16:creationId xmlns="" xmlns:a16="http://schemas.microsoft.com/office/drawing/2014/main" id="{7F34CC4F-B842-4DBF-92C3-DC65A4AF09AE}"/>
                </a:ext>
              </a:extLst>
            </p:cNvPr>
            <p:cNvSpPr/>
            <p:nvPr/>
          </p:nvSpPr>
          <p:spPr>
            <a:xfrm>
              <a:off x="8169207" y="5129729"/>
              <a:ext cx="3534006" cy="457660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</p:grpSp>
      <p:grpSp>
        <p:nvGrpSpPr>
          <p:cNvPr id="97" name="Группа 96">
            <a:extLst>
              <a:ext uri="{FF2B5EF4-FFF2-40B4-BE49-F238E27FC236}">
                <a16:creationId xmlns="" xmlns:a16="http://schemas.microsoft.com/office/drawing/2014/main" id="{465040E8-C0AE-47BC-95C2-10AC7581E2A5}"/>
              </a:ext>
            </a:extLst>
          </p:cNvPr>
          <p:cNvGrpSpPr/>
          <p:nvPr/>
        </p:nvGrpSpPr>
        <p:grpSpPr>
          <a:xfrm>
            <a:off x="8134229" y="4985963"/>
            <a:ext cx="3534006" cy="523220"/>
            <a:chOff x="8134229" y="4509713"/>
            <a:chExt cx="3534006" cy="523220"/>
          </a:xfrm>
        </p:grpSpPr>
        <p:sp>
          <p:nvSpPr>
            <p:cNvPr id="30" name="Скругленный прямоугольник 71">
              <a:extLst>
                <a:ext uri="{FF2B5EF4-FFF2-40B4-BE49-F238E27FC236}">
                  <a16:creationId xmlns="" xmlns:a16="http://schemas.microsoft.com/office/drawing/2014/main" id="{32619F0A-60B7-4C14-B71F-FB35584757C5}"/>
                </a:ext>
              </a:extLst>
            </p:cNvPr>
            <p:cNvSpPr/>
            <p:nvPr/>
          </p:nvSpPr>
          <p:spPr>
            <a:xfrm>
              <a:off x="8134229" y="4542493"/>
              <a:ext cx="3534006" cy="45766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pic>
          <p:nvPicPr>
            <p:cNvPr id="31" name="Picture 7" descr="D:\ФЦК\презы\ик\1-06.png">
              <a:extLst>
                <a:ext uri="{FF2B5EF4-FFF2-40B4-BE49-F238E27FC236}">
                  <a16:creationId xmlns="" xmlns:a16="http://schemas.microsoft.com/office/drawing/2014/main" id="{7B1BD640-1748-41EB-8151-C460114F96A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486" t="13309" r="25312" b="14820"/>
            <a:stretch/>
          </p:blipFill>
          <p:spPr bwMode="auto">
            <a:xfrm>
              <a:off x="8416678" y="4606494"/>
              <a:ext cx="307503" cy="3296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Прямоугольник 31">
              <a:extLst>
                <a:ext uri="{FF2B5EF4-FFF2-40B4-BE49-F238E27FC236}">
                  <a16:creationId xmlns="" xmlns:a16="http://schemas.microsoft.com/office/drawing/2014/main" id="{9FEC9324-6DD7-4592-807F-A70475541F5F}"/>
                </a:ext>
              </a:extLst>
            </p:cNvPr>
            <p:cNvSpPr/>
            <p:nvPr/>
          </p:nvSpPr>
          <p:spPr>
            <a:xfrm>
              <a:off x="8868849" y="4509713"/>
              <a:ext cx="2500429" cy="523220"/>
            </a:xfrm>
            <a:prstGeom prst="rect">
              <a:avLst/>
            </a:prstGeom>
          </p:spPr>
          <p:txBody>
            <a:bodyPr wrap="square" lIns="91288" tIns="45644" rIns="91288" bIns="45644">
              <a:spAutoFit/>
            </a:bodyPr>
            <a:lstStyle/>
            <a:p>
              <a:pPr defTabSz="894597"/>
              <a:r>
                <a:rPr lang="ru-RU" sz="1400" dirty="0" smtClean="0">
                  <a:solidFill>
                    <a:srgbClr val="000000"/>
                  </a:solidFill>
                </a:rPr>
                <a:t>Уменьшают </a:t>
              </a:r>
              <a:r>
                <a:rPr lang="ru-RU" sz="1400" dirty="0">
                  <a:solidFill>
                    <a:srgbClr val="000000"/>
                  </a:solidFill>
                </a:rPr>
                <a:t>объем партий не </a:t>
              </a:r>
              <a:r>
                <a:rPr lang="ru-RU" sz="1400" dirty="0" smtClean="0">
                  <a:solidFill>
                    <a:srgbClr val="000000"/>
                  </a:solidFill>
                </a:rPr>
                <a:t>менее</a:t>
              </a:r>
              <a:r>
                <a:rPr lang="en-US" sz="1400" dirty="0" smtClean="0">
                  <a:solidFill>
                    <a:srgbClr val="000000"/>
                  </a:solidFill>
                </a:rPr>
                <a:t>,</a:t>
              </a:r>
              <a:r>
                <a:rPr lang="ru-RU" sz="1400" dirty="0" smtClean="0">
                  <a:solidFill>
                    <a:srgbClr val="000000"/>
                  </a:solidFill>
                </a:rPr>
                <a:t> </a:t>
              </a:r>
              <a:r>
                <a:rPr lang="ru-RU" sz="1400" dirty="0">
                  <a:solidFill>
                    <a:srgbClr val="000000"/>
                  </a:solidFill>
                </a:rPr>
                <a:t>чем в 4 раза</a:t>
              </a:r>
            </a:p>
          </p:txBody>
        </p:sp>
      </p:grpSp>
      <p:grpSp>
        <p:nvGrpSpPr>
          <p:cNvPr id="95" name="Группа 94">
            <a:extLst>
              <a:ext uri="{FF2B5EF4-FFF2-40B4-BE49-F238E27FC236}">
                <a16:creationId xmlns="" xmlns:a16="http://schemas.microsoft.com/office/drawing/2014/main" id="{FB8C2B9E-9A40-435F-83B7-3D581EC23250}"/>
              </a:ext>
            </a:extLst>
          </p:cNvPr>
          <p:cNvGrpSpPr/>
          <p:nvPr/>
        </p:nvGrpSpPr>
        <p:grpSpPr>
          <a:xfrm>
            <a:off x="4295940" y="5562641"/>
            <a:ext cx="3644161" cy="523220"/>
            <a:chOff x="4295940" y="5086391"/>
            <a:chExt cx="3644161" cy="523220"/>
          </a:xfrm>
        </p:grpSpPr>
        <p:pic>
          <p:nvPicPr>
            <p:cNvPr id="20" name="Picture 5" descr="D:\ФЦК\презы\ик\1-04.png">
              <a:extLst>
                <a:ext uri="{FF2B5EF4-FFF2-40B4-BE49-F238E27FC236}">
                  <a16:creationId xmlns="" xmlns:a16="http://schemas.microsoft.com/office/drawing/2014/main" id="{557C92BC-1ECF-4C87-B324-DA420B6C099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334" t="26002" r="15522" b="22979"/>
            <a:stretch/>
          </p:blipFill>
          <p:spPr bwMode="auto">
            <a:xfrm>
              <a:off x="4537188" y="5228015"/>
              <a:ext cx="439642" cy="2399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Прямоугольник 20">
              <a:extLst>
                <a:ext uri="{FF2B5EF4-FFF2-40B4-BE49-F238E27FC236}">
                  <a16:creationId xmlns="" xmlns:a16="http://schemas.microsoft.com/office/drawing/2014/main" id="{FB964564-01C2-422B-9DD7-69A385EF4137}"/>
                </a:ext>
              </a:extLst>
            </p:cNvPr>
            <p:cNvSpPr/>
            <p:nvPr/>
          </p:nvSpPr>
          <p:spPr>
            <a:xfrm>
              <a:off x="5035719" y="5086391"/>
              <a:ext cx="2904382" cy="523220"/>
            </a:xfrm>
            <a:prstGeom prst="rect">
              <a:avLst/>
            </a:prstGeom>
          </p:spPr>
          <p:txBody>
            <a:bodyPr wrap="square" lIns="91288" tIns="45644" rIns="91288" bIns="45644">
              <a:spAutoFit/>
            </a:bodyPr>
            <a:lstStyle/>
            <a:p>
              <a:pPr defTabSz="894597"/>
              <a:r>
                <a:rPr lang="ru-RU" sz="1400" dirty="0" smtClean="0">
                  <a:solidFill>
                    <a:srgbClr val="000000"/>
                  </a:solidFill>
                </a:rPr>
                <a:t>Снижают дистанцию </a:t>
              </a:r>
              <a:r>
                <a:rPr lang="ru-RU" sz="1400" dirty="0">
                  <a:solidFill>
                    <a:srgbClr val="000000"/>
                  </a:solidFill>
                </a:rPr>
                <a:t>и время </a:t>
              </a:r>
              <a:r>
                <a:rPr lang="ru-RU" sz="1400" dirty="0" smtClean="0">
                  <a:solidFill>
                    <a:srgbClr val="000000"/>
                  </a:solidFill>
                </a:rPr>
                <a:t>транспортировки </a:t>
              </a:r>
              <a:r>
                <a:rPr lang="ru-RU" sz="1400" dirty="0">
                  <a:solidFill>
                    <a:srgbClr val="000000"/>
                  </a:solidFill>
                </a:rPr>
                <a:t>на 30%</a:t>
              </a:r>
            </a:p>
          </p:txBody>
        </p:sp>
        <p:sp>
          <p:nvSpPr>
            <p:cNvPr id="34" name="Скругленный прямоугольник 75">
              <a:extLst>
                <a:ext uri="{FF2B5EF4-FFF2-40B4-BE49-F238E27FC236}">
                  <a16:creationId xmlns="" xmlns:a16="http://schemas.microsoft.com/office/drawing/2014/main" id="{AA6488F6-6FE6-4FCD-A3AA-C3936A24B744}"/>
                </a:ext>
              </a:extLst>
            </p:cNvPr>
            <p:cNvSpPr/>
            <p:nvPr/>
          </p:nvSpPr>
          <p:spPr>
            <a:xfrm>
              <a:off x="4295940" y="5119171"/>
              <a:ext cx="3534006" cy="457660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="" xmlns:a16="http://schemas.microsoft.com/office/drawing/2014/main" id="{06906249-F825-49C2-9612-A2376A309D65}"/>
              </a:ext>
            </a:extLst>
          </p:cNvPr>
          <p:cNvGrpSpPr/>
          <p:nvPr/>
        </p:nvGrpSpPr>
        <p:grpSpPr>
          <a:xfrm>
            <a:off x="1195136" y="2243201"/>
            <a:ext cx="9845413" cy="2399810"/>
            <a:chOff x="751305" y="1022813"/>
            <a:chExt cx="8095367" cy="1973238"/>
          </a:xfrm>
        </p:grpSpPr>
        <p:pic>
          <p:nvPicPr>
            <p:cNvPr id="38" name="Picture 3" descr="D:\ФЦК\презы\ик\1-02.png">
              <a:extLst>
                <a:ext uri="{FF2B5EF4-FFF2-40B4-BE49-F238E27FC236}">
                  <a16:creationId xmlns="" xmlns:a16="http://schemas.microsoft.com/office/drawing/2014/main" id="{E6A35697-C54A-4075-92CB-713035AD750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957" t="7154" r="12792" b="6266"/>
            <a:stretch/>
          </p:blipFill>
          <p:spPr bwMode="auto">
            <a:xfrm>
              <a:off x="1208345" y="1888006"/>
              <a:ext cx="1159408" cy="10485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3" descr="D:\ФЦК\презы\ик\1-02.png">
              <a:extLst>
                <a:ext uri="{FF2B5EF4-FFF2-40B4-BE49-F238E27FC236}">
                  <a16:creationId xmlns="" xmlns:a16="http://schemas.microsoft.com/office/drawing/2014/main" id="{6D31E94F-EB57-4D3E-B0FA-6D51817C56F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957" t="7154" r="12792" b="6266"/>
            <a:stretch/>
          </p:blipFill>
          <p:spPr bwMode="auto">
            <a:xfrm>
              <a:off x="6436377" y="1901038"/>
              <a:ext cx="1159408" cy="10485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8" descr="D:\ФЦК\презы\ик\1-01.png">
              <a:extLst>
                <a:ext uri="{FF2B5EF4-FFF2-40B4-BE49-F238E27FC236}">
                  <a16:creationId xmlns="" xmlns:a16="http://schemas.microsoft.com/office/drawing/2014/main" id="{2E1131AF-500F-47C7-A46D-3B4D8380652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04930" y="1022813"/>
              <a:ext cx="3429564" cy="19732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TextBox 40">
              <a:extLst>
                <a:ext uri="{FF2B5EF4-FFF2-40B4-BE49-F238E27FC236}">
                  <a16:creationId xmlns="" xmlns:a16="http://schemas.microsoft.com/office/drawing/2014/main" id="{F818453C-2DD6-4418-894D-BD9165A005DE}"/>
                </a:ext>
              </a:extLst>
            </p:cNvPr>
            <p:cNvSpPr txBox="1"/>
            <p:nvPr/>
          </p:nvSpPr>
          <p:spPr>
            <a:xfrm>
              <a:off x="1416173" y="2124163"/>
              <a:ext cx="743787" cy="400110"/>
            </a:xfrm>
            <a:prstGeom prst="rect">
              <a:avLst/>
            </a:prstGeom>
            <a:noFill/>
          </p:spPr>
          <p:txBody>
            <a:bodyPr wrap="square" lIns="91288" tIns="45644" rIns="91288" bIns="45644" rtlCol="0">
              <a:spAutoFit/>
            </a:bodyPr>
            <a:lstStyle/>
            <a:p>
              <a:pPr algn="ctr" defTabSz="894597"/>
              <a:r>
                <a:rPr lang="ru-RU" sz="1000" dirty="0">
                  <a:solidFill>
                    <a:srgbClr val="000000"/>
                  </a:solidFill>
                </a:rPr>
                <a:t>СКЛАД СЫРЬЯ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="" xmlns:a16="http://schemas.microsoft.com/office/drawing/2014/main" id="{80AECECC-0986-4D2A-8286-517B1B202A9D}"/>
                </a:ext>
              </a:extLst>
            </p:cNvPr>
            <p:cNvSpPr txBox="1"/>
            <p:nvPr/>
          </p:nvSpPr>
          <p:spPr>
            <a:xfrm>
              <a:off x="6482621" y="2064101"/>
              <a:ext cx="1028381" cy="553998"/>
            </a:xfrm>
            <a:prstGeom prst="rect">
              <a:avLst/>
            </a:prstGeom>
            <a:noFill/>
          </p:spPr>
          <p:txBody>
            <a:bodyPr wrap="square" lIns="91288" tIns="45644" rIns="91288" bIns="45644" rtlCol="0">
              <a:spAutoFit/>
            </a:bodyPr>
            <a:lstStyle/>
            <a:p>
              <a:pPr algn="ctr" defTabSz="894597"/>
              <a:r>
                <a:rPr lang="ru-RU" sz="1000" dirty="0">
                  <a:solidFill>
                    <a:srgbClr val="000000"/>
                  </a:solidFill>
                </a:rPr>
                <a:t>СКЛАД ГОТОВОЙ ПРОДУКЦИИ</a:t>
              </a:r>
            </a:p>
          </p:txBody>
        </p:sp>
        <p:cxnSp>
          <p:nvCxnSpPr>
            <p:cNvPr id="43" name="Прямая соединительная линия 42">
              <a:extLst>
                <a:ext uri="{FF2B5EF4-FFF2-40B4-BE49-F238E27FC236}">
                  <a16:creationId xmlns="" xmlns:a16="http://schemas.microsoft.com/office/drawing/2014/main" id="{7D43332F-D14C-417E-A1F8-B71E6D823164}"/>
                </a:ext>
              </a:extLst>
            </p:cNvPr>
            <p:cNvCxnSpPr/>
            <p:nvPr/>
          </p:nvCxnSpPr>
          <p:spPr>
            <a:xfrm>
              <a:off x="1199518" y="1255571"/>
              <a:ext cx="6311480" cy="0"/>
            </a:xfrm>
            <a:prstGeom prst="line">
              <a:avLst/>
            </a:prstGeom>
            <a:ln w="19050">
              <a:solidFill>
                <a:schemeClr val="tx2"/>
              </a:solidFill>
              <a:prstDash val="solid"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Прямая соединительная линия 43">
              <a:extLst>
                <a:ext uri="{FF2B5EF4-FFF2-40B4-BE49-F238E27FC236}">
                  <a16:creationId xmlns="" xmlns:a16="http://schemas.microsoft.com/office/drawing/2014/main" id="{786A3125-4DF6-4DBA-838D-52B54637A927}"/>
                </a:ext>
              </a:extLst>
            </p:cNvPr>
            <p:cNvCxnSpPr/>
            <p:nvPr/>
          </p:nvCxnSpPr>
          <p:spPr>
            <a:xfrm>
              <a:off x="1256932" y="1255570"/>
              <a:ext cx="0" cy="941674"/>
            </a:xfrm>
            <a:prstGeom prst="line">
              <a:avLst/>
            </a:prstGeom>
            <a:ln w="19050">
              <a:solidFill>
                <a:schemeClr val="tx2"/>
              </a:solidFill>
              <a:prstDash val="sysDot"/>
              <a:headEnd type="oval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Box 44">
              <a:extLst>
                <a:ext uri="{FF2B5EF4-FFF2-40B4-BE49-F238E27FC236}">
                  <a16:creationId xmlns="" xmlns:a16="http://schemas.microsoft.com/office/drawing/2014/main" id="{BDF70D05-7549-45A6-8F56-06DD45A754B1}"/>
                </a:ext>
              </a:extLst>
            </p:cNvPr>
            <p:cNvSpPr txBox="1"/>
            <p:nvPr/>
          </p:nvSpPr>
          <p:spPr>
            <a:xfrm>
              <a:off x="1050896" y="1028871"/>
              <a:ext cx="743787" cy="280743"/>
            </a:xfrm>
            <a:prstGeom prst="rect">
              <a:avLst/>
            </a:prstGeom>
            <a:noFill/>
          </p:spPr>
          <p:txBody>
            <a:bodyPr wrap="square" lIns="91288" tIns="45644" rIns="91288" bIns="45644" rtlCol="0">
              <a:spAutoFit/>
            </a:bodyPr>
            <a:lstStyle/>
            <a:p>
              <a:pPr algn="ctr" defTabSz="894597"/>
              <a:r>
                <a:rPr lang="ru-RU" sz="1200" b="1" dirty="0">
                  <a:solidFill>
                    <a:srgbClr val="000000"/>
                  </a:solidFill>
                </a:rPr>
                <a:t>Т</a:t>
              </a:r>
              <a:r>
                <a:rPr lang="ru-RU" sz="1200" b="1" baseline="-25000" dirty="0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="" xmlns:a16="http://schemas.microsoft.com/office/drawing/2014/main" id="{45877E41-7225-403E-B480-45DA7163F1C6}"/>
                </a:ext>
              </a:extLst>
            </p:cNvPr>
            <p:cNvSpPr txBox="1"/>
            <p:nvPr/>
          </p:nvSpPr>
          <p:spPr>
            <a:xfrm>
              <a:off x="2073870" y="1028871"/>
              <a:ext cx="743787" cy="280743"/>
            </a:xfrm>
            <a:prstGeom prst="rect">
              <a:avLst/>
            </a:prstGeom>
            <a:noFill/>
          </p:spPr>
          <p:txBody>
            <a:bodyPr wrap="square" lIns="91288" tIns="45644" rIns="91288" bIns="45644" rtlCol="0">
              <a:spAutoFit/>
            </a:bodyPr>
            <a:lstStyle/>
            <a:p>
              <a:pPr algn="ctr" defTabSz="894597"/>
              <a:r>
                <a:rPr lang="ru-RU" sz="1200" b="1" dirty="0">
                  <a:solidFill>
                    <a:srgbClr val="000000"/>
                  </a:solidFill>
                </a:rPr>
                <a:t>Т</a:t>
              </a:r>
              <a:r>
                <a:rPr lang="ru-RU" sz="1200" b="1" baseline="-25000" dirty="0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="" xmlns:a16="http://schemas.microsoft.com/office/drawing/2014/main" id="{DD16344C-1088-449C-A4B9-F3F314703679}"/>
                </a:ext>
              </a:extLst>
            </p:cNvPr>
            <p:cNvSpPr txBox="1"/>
            <p:nvPr/>
          </p:nvSpPr>
          <p:spPr>
            <a:xfrm>
              <a:off x="2588195" y="1028871"/>
              <a:ext cx="743787" cy="280743"/>
            </a:xfrm>
            <a:prstGeom prst="rect">
              <a:avLst/>
            </a:prstGeom>
            <a:noFill/>
          </p:spPr>
          <p:txBody>
            <a:bodyPr wrap="square" lIns="91288" tIns="45644" rIns="91288" bIns="45644" rtlCol="0">
              <a:spAutoFit/>
            </a:bodyPr>
            <a:lstStyle/>
            <a:p>
              <a:pPr algn="ctr" defTabSz="894597"/>
              <a:r>
                <a:rPr lang="ru-RU" sz="1200" b="1" dirty="0">
                  <a:solidFill>
                    <a:srgbClr val="000000"/>
                  </a:solidFill>
                </a:rPr>
                <a:t>Т</a:t>
              </a:r>
              <a:r>
                <a:rPr lang="ru-RU" sz="1200" b="1" baseline="-25000" dirty="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="" xmlns:a16="http://schemas.microsoft.com/office/drawing/2014/main" id="{146D9B09-C4DD-4FEB-8282-E1C5996E9DC9}"/>
                </a:ext>
              </a:extLst>
            </p:cNvPr>
            <p:cNvSpPr txBox="1"/>
            <p:nvPr/>
          </p:nvSpPr>
          <p:spPr>
            <a:xfrm>
              <a:off x="3910744" y="1028871"/>
              <a:ext cx="743787" cy="280743"/>
            </a:xfrm>
            <a:prstGeom prst="rect">
              <a:avLst/>
            </a:prstGeom>
            <a:noFill/>
          </p:spPr>
          <p:txBody>
            <a:bodyPr wrap="square" lIns="91288" tIns="45644" rIns="91288" bIns="45644" rtlCol="0">
              <a:spAutoFit/>
            </a:bodyPr>
            <a:lstStyle/>
            <a:p>
              <a:pPr algn="ctr" defTabSz="894597"/>
              <a:r>
                <a:rPr lang="ru-RU" sz="1200" b="1" dirty="0">
                  <a:solidFill>
                    <a:srgbClr val="000000"/>
                  </a:solidFill>
                </a:rPr>
                <a:t>Т</a:t>
              </a:r>
              <a:r>
                <a:rPr lang="ru-RU" sz="1200" b="1" baseline="-25000" dirty="0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="" xmlns:a16="http://schemas.microsoft.com/office/drawing/2014/main" id="{7C33687E-37F6-4B36-878B-91BFF9D82BDD}"/>
                </a:ext>
              </a:extLst>
            </p:cNvPr>
            <p:cNvSpPr txBox="1"/>
            <p:nvPr/>
          </p:nvSpPr>
          <p:spPr>
            <a:xfrm>
              <a:off x="4323018" y="1028871"/>
              <a:ext cx="743787" cy="280743"/>
            </a:xfrm>
            <a:prstGeom prst="rect">
              <a:avLst/>
            </a:prstGeom>
            <a:noFill/>
          </p:spPr>
          <p:txBody>
            <a:bodyPr wrap="square" lIns="91288" tIns="45644" rIns="91288" bIns="45644" rtlCol="0">
              <a:spAutoFit/>
            </a:bodyPr>
            <a:lstStyle/>
            <a:p>
              <a:pPr algn="ctr" defTabSz="894597"/>
              <a:r>
                <a:rPr lang="ru-RU" sz="1200" b="1" dirty="0">
                  <a:solidFill>
                    <a:srgbClr val="000000"/>
                  </a:solidFill>
                </a:rPr>
                <a:t>Т</a:t>
              </a:r>
              <a:r>
                <a:rPr lang="ru-RU" sz="1200" b="1" baseline="-25000" dirty="0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="" xmlns:a16="http://schemas.microsoft.com/office/drawing/2014/main" id="{8A37096F-A3F7-47F4-9C40-C3B3D884A767}"/>
                </a:ext>
              </a:extLst>
            </p:cNvPr>
            <p:cNvSpPr txBox="1"/>
            <p:nvPr/>
          </p:nvSpPr>
          <p:spPr>
            <a:xfrm>
              <a:off x="5665105" y="1028871"/>
              <a:ext cx="743787" cy="280743"/>
            </a:xfrm>
            <a:prstGeom prst="rect">
              <a:avLst/>
            </a:prstGeom>
            <a:noFill/>
          </p:spPr>
          <p:txBody>
            <a:bodyPr wrap="square" lIns="91288" tIns="45644" rIns="91288" bIns="45644" rtlCol="0">
              <a:spAutoFit/>
            </a:bodyPr>
            <a:lstStyle/>
            <a:p>
              <a:pPr algn="ctr" defTabSz="894597"/>
              <a:r>
                <a:rPr lang="ru-RU" sz="1200" b="1" dirty="0">
                  <a:solidFill>
                    <a:srgbClr val="000000"/>
                  </a:solidFill>
                </a:rPr>
                <a:t>Т</a:t>
              </a:r>
              <a:r>
                <a:rPr lang="ru-RU" sz="1200" b="1" baseline="-25000" dirty="0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="" xmlns:a16="http://schemas.microsoft.com/office/drawing/2014/main" id="{C12673F4-869C-4B5E-9C1F-FF2E8AEE506F}"/>
                </a:ext>
              </a:extLst>
            </p:cNvPr>
            <p:cNvSpPr txBox="1"/>
            <p:nvPr/>
          </p:nvSpPr>
          <p:spPr>
            <a:xfrm>
              <a:off x="6252905" y="1028871"/>
              <a:ext cx="743787" cy="280743"/>
            </a:xfrm>
            <a:prstGeom prst="rect">
              <a:avLst/>
            </a:prstGeom>
            <a:noFill/>
          </p:spPr>
          <p:txBody>
            <a:bodyPr wrap="square" lIns="91288" tIns="45644" rIns="91288" bIns="45644" rtlCol="0">
              <a:spAutoFit/>
            </a:bodyPr>
            <a:lstStyle/>
            <a:p>
              <a:pPr algn="ctr" defTabSz="894597"/>
              <a:r>
                <a:rPr lang="ru-RU" sz="1200" b="1" dirty="0">
                  <a:solidFill>
                    <a:srgbClr val="000000"/>
                  </a:solidFill>
                </a:rPr>
                <a:t>Т</a:t>
              </a:r>
              <a:r>
                <a:rPr lang="ru-RU" sz="1200" b="1" baseline="-25000" dirty="0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="" xmlns:a16="http://schemas.microsoft.com/office/drawing/2014/main" id="{EB3C3F39-51C6-4A4E-B7FA-CCE8972EFE52}"/>
                </a:ext>
              </a:extLst>
            </p:cNvPr>
            <p:cNvSpPr txBox="1"/>
            <p:nvPr/>
          </p:nvSpPr>
          <p:spPr>
            <a:xfrm>
              <a:off x="7510998" y="1083149"/>
              <a:ext cx="1335674" cy="333575"/>
            </a:xfrm>
            <a:prstGeom prst="rect">
              <a:avLst/>
            </a:prstGeom>
            <a:noFill/>
          </p:spPr>
          <p:txBody>
            <a:bodyPr wrap="square" lIns="91288" tIns="45644" rIns="91288" bIns="45644" rtlCol="0">
              <a:spAutoFit/>
            </a:bodyPr>
            <a:lstStyle/>
            <a:p>
              <a:pPr defTabSz="894597"/>
              <a:r>
                <a:rPr lang="ru-RU" sz="1200" b="1" dirty="0">
                  <a:solidFill>
                    <a:schemeClr val="tx2"/>
                  </a:solidFill>
                </a:rPr>
                <a:t>Время протекания процесса (ВПП)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="" xmlns:a16="http://schemas.microsoft.com/office/drawing/2014/main" id="{A6BE28AC-8CF1-4631-A79B-068CE26C510F}"/>
                </a:ext>
              </a:extLst>
            </p:cNvPr>
            <p:cNvSpPr txBox="1"/>
            <p:nvPr/>
          </p:nvSpPr>
          <p:spPr>
            <a:xfrm>
              <a:off x="2889968" y="2597667"/>
              <a:ext cx="334854" cy="222346"/>
            </a:xfrm>
            <a:prstGeom prst="rect">
              <a:avLst/>
            </a:prstGeom>
            <a:noFill/>
          </p:spPr>
          <p:txBody>
            <a:bodyPr wrap="none" lIns="91288" tIns="45644" rIns="91288" bIns="45644" rtlCol="0">
              <a:spAutoFit/>
            </a:bodyPr>
            <a:lstStyle/>
            <a:p>
              <a:pPr algn="ctr" defTabSz="894597"/>
              <a:r>
                <a:rPr lang="ru-RU" sz="1400" dirty="0" err="1">
                  <a:solidFill>
                    <a:srgbClr val="000000"/>
                  </a:solidFill>
                </a:rPr>
                <a:t>нзп</a:t>
              </a:r>
              <a:endParaRPr lang="ru-RU" sz="1400" dirty="0">
                <a:solidFill>
                  <a:srgbClr val="000000"/>
                </a:solidFill>
              </a:endParaRPr>
            </a:p>
          </p:txBody>
        </p:sp>
        <p:pic>
          <p:nvPicPr>
            <p:cNvPr id="54" name="Picture 5" descr="D:\ФЦК\презы\ик\1-04.png">
              <a:extLst>
                <a:ext uri="{FF2B5EF4-FFF2-40B4-BE49-F238E27FC236}">
                  <a16:creationId xmlns="" xmlns:a16="http://schemas.microsoft.com/office/drawing/2014/main" id="{28812983-369E-48CE-A434-C9AEEDADBA9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334" t="26002" r="15522" b="22979"/>
            <a:stretch/>
          </p:blipFill>
          <p:spPr bwMode="auto">
            <a:xfrm>
              <a:off x="2379828" y="2235976"/>
              <a:ext cx="439642" cy="2399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5" name="Picture 6" descr="D:\ФЦК\презы\ик\1-05.png">
              <a:extLst>
                <a:ext uri="{FF2B5EF4-FFF2-40B4-BE49-F238E27FC236}">
                  <a16:creationId xmlns="" xmlns:a16="http://schemas.microsoft.com/office/drawing/2014/main" id="{2205B3A6-C4D9-4ABF-99B8-62B52ED34FB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507" t="17003" r="20644" b="14540"/>
            <a:stretch/>
          </p:blipFill>
          <p:spPr bwMode="auto">
            <a:xfrm>
              <a:off x="3333218" y="2054025"/>
              <a:ext cx="343051" cy="2864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6" name="Picture 7" descr="D:\ФЦК\презы\ик\1-06.png">
              <a:extLst>
                <a:ext uri="{FF2B5EF4-FFF2-40B4-BE49-F238E27FC236}">
                  <a16:creationId xmlns="" xmlns:a16="http://schemas.microsoft.com/office/drawing/2014/main" id="{3A8F2682-2E27-4AA3-82B5-4D009CD18CE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486" t="13309" r="25312" b="14820"/>
            <a:stretch/>
          </p:blipFill>
          <p:spPr bwMode="auto">
            <a:xfrm>
              <a:off x="4186126" y="2182912"/>
              <a:ext cx="307503" cy="3296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7" name="Скругленный прямоугольник 24">
              <a:extLst>
                <a:ext uri="{FF2B5EF4-FFF2-40B4-BE49-F238E27FC236}">
                  <a16:creationId xmlns="" xmlns:a16="http://schemas.microsoft.com/office/drawing/2014/main" id="{5CD062EF-6F37-418C-B352-0521FC80B5E7}"/>
                </a:ext>
              </a:extLst>
            </p:cNvPr>
            <p:cNvSpPr/>
            <p:nvPr/>
          </p:nvSpPr>
          <p:spPr>
            <a:xfrm>
              <a:off x="3291152" y="2367782"/>
              <a:ext cx="417335" cy="312983"/>
            </a:xfrm>
            <a:prstGeom prst="roundRect">
              <a:avLst/>
            </a:prstGeom>
            <a:noFill/>
            <a:ln w="22225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8" name="Полилиния 25">
              <a:extLst>
                <a:ext uri="{FF2B5EF4-FFF2-40B4-BE49-F238E27FC236}">
                  <a16:creationId xmlns="" xmlns:a16="http://schemas.microsoft.com/office/drawing/2014/main" id="{449408E7-DDD3-4DD5-8B14-4878A2098409}"/>
                </a:ext>
              </a:extLst>
            </p:cNvPr>
            <p:cNvSpPr/>
            <p:nvPr/>
          </p:nvSpPr>
          <p:spPr>
            <a:xfrm>
              <a:off x="2883421" y="2425096"/>
              <a:ext cx="334239" cy="214855"/>
            </a:xfrm>
            <a:custGeom>
              <a:avLst/>
              <a:gdLst>
                <a:gd name="connsiteX0" fmla="*/ 0 w 807720"/>
                <a:gd name="connsiteY0" fmla="*/ 723900 h 723900"/>
                <a:gd name="connsiteX1" fmla="*/ 47625 w 807720"/>
                <a:gd name="connsiteY1" fmla="*/ 695325 h 723900"/>
                <a:gd name="connsiteX2" fmla="*/ 70485 w 807720"/>
                <a:gd name="connsiteY2" fmla="*/ 666750 h 723900"/>
                <a:gd name="connsiteX3" fmla="*/ 100965 w 807720"/>
                <a:gd name="connsiteY3" fmla="*/ 626745 h 723900"/>
                <a:gd name="connsiteX4" fmla="*/ 150495 w 807720"/>
                <a:gd name="connsiteY4" fmla="*/ 217170 h 723900"/>
                <a:gd name="connsiteX5" fmla="*/ 163830 w 807720"/>
                <a:gd name="connsiteY5" fmla="*/ 165735 h 723900"/>
                <a:gd name="connsiteX6" fmla="*/ 196215 w 807720"/>
                <a:gd name="connsiteY6" fmla="*/ 100965 h 723900"/>
                <a:gd name="connsiteX7" fmla="*/ 247650 w 807720"/>
                <a:gd name="connsiteY7" fmla="*/ 51435 h 723900"/>
                <a:gd name="connsiteX8" fmla="*/ 314325 w 807720"/>
                <a:gd name="connsiteY8" fmla="*/ 15240 h 723900"/>
                <a:gd name="connsiteX9" fmla="*/ 392430 w 807720"/>
                <a:gd name="connsiteY9" fmla="*/ 0 h 723900"/>
                <a:gd name="connsiteX10" fmla="*/ 457200 w 807720"/>
                <a:gd name="connsiteY10" fmla="*/ 9525 h 723900"/>
                <a:gd name="connsiteX11" fmla="*/ 516255 w 807720"/>
                <a:gd name="connsiteY11" fmla="*/ 30480 h 723900"/>
                <a:gd name="connsiteX12" fmla="*/ 571500 w 807720"/>
                <a:gd name="connsiteY12" fmla="*/ 64770 h 723900"/>
                <a:gd name="connsiteX13" fmla="*/ 605790 w 807720"/>
                <a:gd name="connsiteY13" fmla="*/ 112395 h 723900"/>
                <a:gd name="connsiteX14" fmla="*/ 638175 w 807720"/>
                <a:gd name="connsiteY14" fmla="*/ 167640 h 723900"/>
                <a:gd name="connsiteX15" fmla="*/ 645795 w 807720"/>
                <a:gd name="connsiteY15" fmla="*/ 213360 h 723900"/>
                <a:gd name="connsiteX16" fmla="*/ 702945 w 807720"/>
                <a:gd name="connsiteY16" fmla="*/ 611505 h 723900"/>
                <a:gd name="connsiteX17" fmla="*/ 727710 w 807720"/>
                <a:gd name="connsiteY17" fmla="*/ 661035 h 723900"/>
                <a:gd name="connsiteX18" fmla="*/ 754380 w 807720"/>
                <a:gd name="connsiteY18" fmla="*/ 685800 h 723900"/>
                <a:gd name="connsiteX19" fmla="*/ 773430 w 807720"/>
                <a:gd name="connsiteY19" fmla="*/ 702945 h 723900"/>
                <a:gd name="connsiteX20" fmla="*/ 807720 w 807720"/>
                <a:gd name="connsiteY20" fmla="*/ 721995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07720" h="723900">
                  <a:moveTo>
                    <a:pt x="0" y="723900"/>
                  </a:moveTo>
                  <a:lnTo>
                    <a:pt x="47625" y="695325"/>
                  </a:lnTo>
                  <a:lnTo>
                    <a:pt x="70485" y="666750"/>
                  </a:lnTo>
                  <a:lnTo>
                    <a:pt x="100965" y="626745"/>
                  </a:lnTo>
                  <a:lnTo>
                    <a:pt x="150495" y="217170"/>
                  </a:lnTo>
                  <a:lnTo>
                    <a:pt x="163830" y="165735"/>
                  </a:lnTo>
                  <a:lnTo>
                    <a:pt x="196215" y="100965"/>
                  </a:lnTo>
                  <a:lnTo>
                    <a:pt x="247650" y="51435"/>
                  </a:lnTo>
                  <a:lnTo>
                    <a:pt x="314325" y="15240"/>
                  </a:lnTo>
                  <a:lnTo>
                    <a:pt x="392430" y="0"/>
                  </a:lnTo>
                  <a:lnTo>
                    <a:pt x="457200" y="9525"/>
                  </a:lnTo>
                  <a:lnTo>
                    <a:pt x="516255" y="30480"/>
                  </a:lnTo>
                  <a:lnTo>
                    <a:pt x="571500" y="64770"/>
                  </a:lnTo>
                  <a:lnTo>
                    <a:pt x="605790" y="112395"/>
                  </a:lnTo>
                  <a:lnTo>
                    <a:pt x="638175" y="167640"/>
                  </a:lnTo>
                  <a:lnTo>
                    <a:pt x="645795" y="213360"/>
                  </a:lnTo>
                  <a:lnTo>
                    <a:pt x="702945" y="611505"/>
                  </a:lnTo>
                  <a:lnTo>
                    <a:pt x="727710" y="661035"/>
                  </a:lnTo>
                  <a:lnTo>
                    <a:pt x="754380" y="685800"/>
                  </a:lnTo>
                  <a:lnTo>
                    <a:pt x="773430" y="702945"/>
                  </a:lnTo>
                  <a:lnTo>
                    <a:pt x="807720" y="721995"/>
                  </a:lnTo>
                </a:path>
              </a:pathLst>
            </a:custGeom>
            <a:pattFill prst="wdUpDiag">
              <a:fgClr>
                <a:schemeClr val="tx1"/>
              </a:fgClr>
              <a:bgClr>
                <a:schemeClr val="bg1"/>
              </a:bgClr>
            </a:patt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59" name="Полилиния 26">
              <a:extLst>
                <a:ext uri="{FF2B5EF4-FFF2-40B4-BE49-F238E27FC236}">
                  <a16:creationId xmlns="" xmlns:a16="http://schemas.microsoft.com/office/drawing/2014/main" id="{472F9965-2364-4B3D-9FE1-EECA1EC6D6BD}"/>
                </a:ext>
              </a:extLst>
            </p:cNvPr>
            <p:cNvSpPr/>
            <p:nvPr/>
          </p:nvSpPr>
          <p:spPr>
            <a:xfrm>
              <a:off x="1605249" y="2456387"/>
              <a:ext cx="334239" cy="214855"/>
            </a:xfrm>
            <a:custGeom>
              <a:avLst/>
              <a:gdLst>
                <a:gd name="connsiteX0" fmla="*/ 0 w 807720"/>
                <a:gd name="connsiteY0" fmla="*/ 723900 h 723900"/>
                <a:gd name="connsiteX1" fmla="*/ 47625 w 807720"/>
                <a:gd name="connsiteY1" fmla="*/ 695325 h 723900"/>
                <a:gd name="connsiteX2" fmla="*/ 70485 w 807720"/>
                <a:gd name="connsiteY2" fmla="*/ 666750 h 723900"/>
                <a:gd name="connsiteX3" fmla="*/ 100965 w 807720"/>
                <a:gd name="connsiteY3" fmla="*/ 626745 h 723900"/>
                <a:gd name="connsiteX4" fmla="*/ 150495 w 807720"/>
                <a:gd name="connsiteY4" fmla="*/ 217170 h 723900"/>
                <a:gd name="connsiteX5" fmla="*/ 163830 w 807720"/>
                <a:gd name="connsiteY5" fmla="*/ 165735 h 723900"/>
                <a:gd name="connsiteX6" fmla="*/ 196215 w 807720"/>
                <a:gd name="connsiteY6" fmla="*/ 100965 h 723900"/>
                <a:gd name="connsiteX7" fmla="*/ 247650 w 807720"/>
                <a:gd name="connsiteY7" fmla="*/ 51435 h 723900"/>
                <a:gd name="connsiteX8" fmla="*/ 314325 w 807720"/>
                <a:gd name="connsiteY8" fmla="*/ 15240 h 723900"/>
                <a:gd name="connsiteX9" fmla="*/ 392430 w 807720"/>
                <a:gd name="connsiteY9" fmla="*/ 0 h 723900"/>
                <a:gd name="connsiteX10" fmla="*/ 457200 w 807720"/>
                <a:gd name="connsiteY10" fmla="*/ 9525 h 723900"/>
                <a:gd name="connsiteX11" fmla="*/ 516255 w 807720"/>
                <a:gd name="connsiteY11" fmla="*/ 30480 h 723900"/>
                <a:gd name="connsiteX12" fmla="*/ 571500 w 807720"/>
                <a:gd name="connsiteY12" fmla="*/ 64770 h 723900"/>
                <a:gd name="connsiteX13" fmla="*/ 605790 w 807720"/>
                <a:gd name="connsiteY13" fmla="*/ 112395 h 723900"/>
                <a:gd name="connsiteX14" fmla="*/ 638175 w 807720"/>
                <a:gd name="connsiteY14" fmla="*/ 167640 h 723900"/>
                <a:gd name="connsiteX15" fmla="*/ 645795 w 807720"/>
                <a:gd name="connsiteY15" fmla="*/ 213360 h 723900"/>
                <a:gd name="connsiteX16" fmla="*/ 702945 w 807720"/>
                <a:gd name="connsiteY16" fmla="*/ 611505 h 723900"/>
                <a:gd name="connsiteX17" fmla="*/ 727710 w 807720"/>
                <a:gd name="connsiteY17" fmla="*/ 661035 h 723900"/>
                <a:gd name="connsiteX18" fmla="*/ 754380 w 807720"/>
                <a:gd name="connsiteY18" fmla="*/ 685800 h 723900"/>
                <a:gd name="connsiteX19" fmla="*/ 773430 w 807720"/>
                <a:gd name="connsiteY19" fmla="*/ 702945 h 723900"/>
                <a:gd name="connsiteX20" fmla="*/ 807720 w 807720"/>
                <a:gd name="connsiteY20" fmla="*/ 721995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07720" h="723900">
                  <a:moveTo>
                    <a:pt x="0" y="723900"/>
                  </a:moveTo>
                  <a:lnTo>
                    <a:pt x="47625" y="695325"/>
                  </a:lnTo>
                  <a:lnTo>
                    <a:pt x="70485" y="666750"/>
                  </a:lnTo>
                  <a:lnTo>
                    <a:pt x="100965" y="626745"/>
                  </a:lnTo>
                  <a:lnTo>
                    <a:pt x="150495" y="217170"/>
                  </a:lnTo>
                  <a:lnTo>
                    <a:pt x="163830" y="165735"/>
                  </a:lnTo>
                  <a:lnTo>
                    <a:pt x="196215" y="100965"/>
                  </a:lnTo>
                  <a:lnTo>
                    <a:pt x="247650" y="51435"/>
                  </a:lnTo>
                  <a:lnTo>
                    <a:pt x="314325" y="15240"/>
                  </a:lnTo>
                  <a:lnTo>
                    <a:pt x="392430" y="0"/>
                  </a:lnTo>
                  <a:lnTo>
                    <a:pt x="457200" y="9525"/>
                  </a:lnTo>
                  <a:lnTo>
                    <a:pt x="516255" y="30480"/>
                  </a:lnTo>
                  <a:lnTo>
                    <a:pt x="571500" y="64770"/>
                  </a:lnTo>
                  <a:lnTo>
                    <a:pt x="605790" y="112395"/>
                  </a:lnTo>
                  <a:lnTo>
                    <a:pt x="638175" y="167640"/>
                  </a:lnTo>
                  <a:lnTo>
                    <a:pt x="645795" y="213360"/>
                  </a:lnTo>
                  <a:lnTo>
                    <a:pt x="702945" y="611505"/>
                  </a:lnTo>
                  <a:lnTo>
                    <a:pt x="727710" y="661035"/>
                  </a:lnTo>
                  <a:lnTo>
                    <a:pt x="754380" y="685800"/>
                  </a:lnTo>
                  <a:lnTo>
                    <a:pt x="773430" y="702945"/>
                  </a:lnTo>
                  <a:lnTo>
                    <a:pt x="807720" y="721995"/>
                  </a:lnTo>
                </a:path>
              </a:pathLst>
            </a:custGeom>
            <a:pattFill prst="wdUpDiag">
              <a:fgClr>
                <a:schemeClr val="tx1"/>
              </a:fgClr>
              <a:bgClr>
                <a:schemeClr val="bg1"/>
              </a:bgClr>
            </a:patt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="" xmlns:a16="http://schemas.microsoft.com/office/drawing/2014/main" id="{366E2885-9F38-4388-B42D-DD9F8F405E36}"/>
                </a:ext>
              </a:extLst>
            </p:cNvPr>
            <p:cNvSpPr txBox="1"/>
            <p:nvPr/>
          </p:nvSpPr>
          <p:spPr>
            <a:xfrm>
              <a:off x="3772835" y="2597667"/>
              <a:ext cx="334854" cy="222346"/>
            </a:xfrm>
            <a:prstGeom prst="rect">
              <a:avLst/>
            </a:prstGeom>
            <a:noFill/>
          </p:spPr>
          <p:txBody>
            <a:bodyPr wrap="none" lIns="91288" tIns="45644" rIns="91288" bIns="45644" rtlCol="0">
              <a:spAutoFit/>
            </a:bodyPr>
            <a:lstStyle/>
            <a:p>
              <a:pPr algn="ctr" defTabSz="894597"/>
              <a:r>
                <a:rPr lang="ru-RU" sz="1400" dirty="0" err="1">
                  <a:solidFill>
                    <a:srgbClr val="000000"/>
                  </a:solidFill>
                </a:rPr>
                <a:t>нзп</a:t>
              </a: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61" name="Полилиния 28">
              <a:extLst>
                <a:ext uri="{FF2B5EF4-FFF2-40B4-BE49-F238E27FC236}">
                  <a16:creationId xmlns="" xmlns:a16="http://schemas.microsoft.com/office/drawing/2014/main" id="{9DAD21F0-1BE7-495D-8FF1-3731B899932B}"/>
                </a:ext>
              </a:extLst>
            </p:cNvPr>
            <p:cNvSpPr/>
            <p:nvPr/>
          </p:nvSpPr>
          <p:spPr>
            <a:xfrm>
              <a:off x="3766292" y="2425096"/>
              <a:ext cx="334239" cy="214855"/>
            </a:xfrm>
            <a:custGeom>
              <a:avLst/>
              <a:gdLst>
                <a:gd name="connsiteX0" fmla="*/ 0 w 807720"/>
                <a:gd name="connsiteY0" fmla="*/ 723900 h 723900"/>
                <a:gd name="connsiteX1" fmla="*/ 47625 w 807720"/>
                <a:gd name="connsiteY1" fmla="*/ 695325 h 723900"/>
                <a:gd name="connsiteX2" fmla="*/ 70485 w 807720"/>
                <a:gd name="connsiteY2" fmla="*/ 666750 h 723900"/>
                <a:gd name="connsiteX3" fmla="*/ 100965 w 807720"/>
                <a:gd name="connsiteY3" fmla="*/ 626745 h 723900"/>
                <a:gd name="connsiteX4" fmla="*/ 150495 w 807720"/>
                <a:gd name="connsiteY4" fmla="*/ 217170 h 723900"/>
                <a:gd name="connsiteX5" fmla="*/ 163830 w 807720"/>
                <a:gd name="connsiteY5" fmla="*/ 165735 h 723900"/>
                <a:gd name="connsiteX6" fmla="*/ 196215 w 807720"/>
                <a:gd name="connsiteY6" fmla="*/ 100965 h 723900"/>
                <a:gd name="connsiteX7" fmla="*/ 247650 w 807720"/>
                <a:gd name="connsiteY7" fmla="*/ 51435 h 723900"/>
                <a:gd name="connsiteX8" fmla="*/ 314325 w 807720"/>
                <a:gd name="connsiteY8" fmla="*/ 15240 h 723900"/>
                <a:gd name="connsiteX9" fmla="*/ 392430 w 807720"/>
                <a:gd name="connsiteY9" fmla="*/ 0 h 723900"/>
                <a:gd name="connsiteX10" fmla="*/ 457200 w 807720"/>
                <a:gd name="connsiteY10" fmla="*/ 9525 h 723900"/>
                <a:gd name="connsiteX11" fmla="*/ 516255 w 807720"/>
                <a:gd name="connsiteY11" fmla="*/ 30480 h 723900"/>
                <a:gd name="connsiteX12" fmla="*/ 571500 w 807720"/>
                <a:gd name="connsiteY12" fmla="*/ 64770 h 723900"/>
                <a:gd name="connsiteX13" fmla="*/ 605790 w 807720"/>
                <a:gd name="connsiteY13" fmla="*/ 112395 h 723900"/>
                <a:gd name="connsiteX14" fmla="*/ 638175 w 807720"/>
                <a:gd name="connsiteY14" fmla="*/ 167640 h 723900"/>
                <a:gd name="connsiteX15" fmla="*/ 645795 w 807720"/>
                <a:gd name="connsiteY15" fmla="*/ 213360 h 723900"/>
                <a:gd name="connsiteX16" fmla="*/ 702945 w 807720"/>
                <a:gd name="connsiteY16" fmla="*/ 611505 h 723900"/>
                <a:gd name="connsiteX17" fmla="*/ 727710 w 807720"/>
                <a:gd name="connsiteY17" fmla="*/ 661035 h 723900"/>
                <a:gd name="connsiteX18" fmla="*/ 754380 w 807720"/>
                <a:gd name="connsiteY18" fmla="*/ 685800 h 723900"/>
                <a:gd name="connsiteX19" fmla="*/ 773430 w 807720"/>
                <a:gd name="connsiteY19" fmla="*/ 702945 h 723900"/>
                <a:gd name="connsiteX20" fmla="*/ 807720 w 807720"/>
                <a:gd name="connsiteY20" fmla="*/ 721995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07720" h="723900">
                  <a:moveTo>
                    <a:pt x="0" y="723900"/>
                  </a:moveTo>
                  <a:lnTo>
                    <a:pt x="47625" y="695325"/>
                  </a:lnTo>
                  <a:lnTo>
                    <a:pt x="70485" y="666750"/>
                  </a:lnTo>
                  <a:lnTo>
                    <a:pt x="100965" y="626745"/>
                  </a:lnTo>
                  <a:lnTo>
                    <a:pt x="150495" y="217170"/>
                  </a:lnTo>
                  <a:lnTo>
                    <a:pt x="163830" y="165735"/>
                  </a:lnTo>
                  <a:lnTo>
                    <a:pt x="196215" y="100965"/>
                  </a:lnTo>
                  <a:lnTo>
                    <a:pt x="247650" y="51435"/>
                  </a:lnTo>
                  <a:lnTo>
                    <a:pt x="314325" y="15240"/>
                  </a:lnTo>
                  <a:lnTo>
                    <a:pt x="392430" y="0"/>
                  </a:lnTo>
                  <a:lnTo>
                    <a:pt x="457200" y="9525"/>
                  </a:lnTo>
                  <a:lnTo>
                    <a:pt x="516255" y="30480"/>
                  </a:lnTo>
                  <a:lnTo>
                    <a:pt x="571500" y="64770"/>
                  </a:lnTo>
                  <a:lnTo>
                    <a:pt x="605790" y="112395"/>
                  </a:lnTo>
                  <a:lnTo>
                    <a:pt x="638175" y="167640"/>
                  </a:lnTo>
                  <a:lnTo>
                    <a:pt x="645795" y="213360"/>
                  </a:lnTo>
                  <a:lnTo>
                    <a:pt x="702945" y="611505"/>
                  </a:lnTo>
                  <a:lnTo>
                    <a:pt x="727710" y="661035"/>
                  </a:lnTo>
                  <a:lnTo>
                    <a:pt x="754380" y="685800"/>
                  </a:lnTo>
                  <a:lnTo>
                    <a:pt x="773430" y="702945"/>
                  </a:lnTo>
                  <a:lnTo>
                    <a:pt x="807720" y="721995"/>
                  </a:lnTo>
                </a:path>
              </a:pathLst>
            </a:custGeom>
            <a:pattFill prst="wdUpDiag">
              <a:fgClr>
                <a:schemeClr val="tx1"/>
              </a:fgClr>
              <a:bgClr>
                <a:schemeClr val="bg1"/>
              </a:bgClr>
            </a:patt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cxnSp>
          <p:nvCxnSpPr>
            <p:cNvPr id="62" name="Прямая со стрелкой 61">
              <a:extLst>
                <a:ext uri="{FF2B5EF4-FFF2-40B4-BE49-F238E27FC236}">
                  <a16:creationId xmlns="" xmlns:a16="http://schemas.microsoft.com/office/drawing/2014/main" id="{FCE843D2-32C2-4513-A236-472CEFB62EDD}"/>
                </a:ext>
              </a:extLst>
            </p:cNvPr>
            <p:cNvCxnSpPr/>
            <p:nvPr/>
          </p:nvCxnSpPr>
          <p:spPr>
            <a:xfrm>
              <a:off x="4167491" y="2532522"/>
              <a:ext cx="403333" cy="0"/>
            </a:xfrm>
            <a:prstGeom prst="straightConnector1">
              <a:avLst/>
            </a:prstGeom>
            <a:ln w="31750">
              <a:solidFill>
                <a:srgbClr val="002060"/>
              </a:solidFill>
              <a:prstDash val="solid"/>
              <a:headEnd type="oval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Прямая со стрелкой 62">
              <a:extLst>
                <a:ext uri="{FF2B5EF4-FFF2-40B4-BE49-F238E27FC236}">
                  <a16:creationId xmlns="" xmlns:a16="http://schemas.microsoft.com/office/drawing/2014/main" id="{7F94F91D-2ADF-4AF6-B50A-8B2C557785B2}"/>
                </a:ext>
              </a:extLst>
            </p:cNvPr>
            <p:cNvCxnSpPr/>
            <p:nvPr/>
          </p:nvCxnSpPr>
          <p:spPr>
            <a:xfrm>
              <a:off x="2294277" y="2532522"/>
              <a:ext cx="534954" cy="0"/>
            </a:xfrm>
            <a:prstGeom prst="straightConnector1">
              <a:avLst/>
            </a:prstGeom>
            <a:ln w="31750">
              <a:solidFill>
                <a:srgbClr val="002060"/>
              </a:solidFill>
              <a:prstDash val="solid"/>
              <a:headEnd type="oval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TextBox 63">
              <a:extLst>
                <a:ext uri="{FF2B5EF4-FFF2-40B4-BE49-F238E27FC236}">
                  <a16:creationId xmlns="" xmlns:a16="http://schemas.microsoft.com/office/drawing/2014/main" id="{1A248FFF-DE8F-4FE3-AE43-B1390731A777}"/>
                </a:ext>
              </a:extLst>
            </p:cNvPr>
            <p:cNvSpPr txBox="1"/>
            <p:nvPr/>
          </p:nvSpPr>
          <p:spPr>
            <a:xfrm>
              <a:off x="4603018" y="2597667"/>
              <a:ext cx="334854" cy="222346"/>
            </a:xfrm>
            <a:prstGeom prst="rect">
              <a:avLst/>
            </a:prstGeom>
            <a:noFill/>
          </p:spPr>
          <p:txBody>
            <a:bodyPr wrap="none" lIns="91288" tIns="45644" rIns="91288" bIns="45644" rtlCol="0">
              <a:spAutoFit/>
            </a:bodyPr>
            <a:lstStyle/>
            <a:p>
              <a:pPr algn="ctr" defTabSz="894597"/>
              <a:r>
                <a:rPr lang="ru-RU" sz="1400" dirty="0" err="1">
                  <a:solidFill>
                    <a:srgbClr val="000000"/>
                  </a:solidFill>
                </a:rPr>
                <a:t>нзп</a:t>
              </a:r>
              <a:endParaRPr lang="ru-RU" sz="1400" dirty="0">
                <a:solidFill>
                  <a:srgbClr val="000000"/>
                </a:solidFill>
              </a:endParaRPr>
            </a:p>
          </p:txBody>
        </p:sp>
        <p:pic>
          <p:nvPicPr>
            <p:cNvPr id="65" name="Picture 6" descr="D:\ФЦК\презы\ик\1-05.png">
              <a:extLst>
                <a:ext uri="{FF2B5EF4-FFF2-40B4-BE49-F238E27FC236}">
                  <a16:creationId xmlns="" xmlns:a16="http://schemas.microsoft.com/office/drawing/2014/main" id="{D9C7FFEF-A1A4-4CCD-8135-1DC64748F5D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507" t="17003" r="20644" b="14540"/>
            <a:stretch/>
          </p:blipFill>
          <p:spPr bwMode="auto">
            <a:xfrm>
              <a:off x="5046268" y="2054025"/>
              <a:ext cx="343051" cy="2864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6" name="Скругленный прямоугольник 33">
              <a:extLst>
                <a:ext uri="{FF2B5EF4-FFF2-40B4-BE49-F238E27FC236}">
                  <a16:creationId xmlns="" xmlns:a16="http://schemas.microsoft.com/office/drawing/2014/main" id="{7AA12D25-C675-4586-9C0B-BB7FB38C3D0F}"/>
                </a:ext>
              </a:extLst>
            </p:cNvPr>
            <p:cNvSpPr/>
            <p:nvPr/>
          </p:nvSpPr>
          <p:spPr>
            <a:xfrm>
              <a:off x="5004200" y="2367782"/>
              <a:ext cx="417335" cy="312983"/>
            </a:xfrm>
            <a:prstGeom prst="roundRect">
              <a:avLst/>
            </a:prstGeom>
            <a:noFill/>
            <a:ln w="22225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7" name="Полилиния 34">
              <a:extLst>
                <a:ext uri="{FF2B5EF4-FFF2-40B4-BE49-F238E27FC236}">
                  <a16:creationId xmlns="" xmlns:a16="http://schemas.microsoft.com/office/drawing/2014/main" id="{37CB5A2A-0C1A-4E9B-80E8-75E778B45BB8}"/>
                </a:ext>
              </a:extLst>
            </p:cNvPr>
            <p:cNvSpPr/>
            <p:nvPr/>
          </p:nvSpPr>
          <p:spPr>
            <a:xfrm>
              <a:off x="4596471" y="2425096"/>
              <a:ext cx="334239" cy="214855"/>
            </a:xfrm>
            <a:custGeom>
              <a:avLst/>
              <a:gdLst>
                <a:gd name="connsiteX0" fmla="*/ 0 w 807720"/>
                <a:gd name="connsiteY0" fmla="*/ 723900 h 723900"/>
                <a:gd name="connsiteX1" fmla="*/ 47625 w 807720"/>
                <a:gd name="connsiteY1" fmla="*/ 695325 h 723900"/>
                <a:gd name="connsiteX2" fmla="*/ 70485 w 807720"/>
                <a:gd name="connsiteY2" fmla="*/ 666750 h 723900"/>
                <a:gd name="connsiteX3" fmla="*/ 100965 w 807720"/>
                <a:gd name="connsiteY3" fmla="*/ 626745 h 723900"/>
                <a:gd name="connsiteX4" fmla="*/ 150495 w 807720"/>
                <a:gd name="connsiteY4" fmla="*/ 217170 h 723900"/>
                <a:gd name="connsiteX5" fmla="*/ 163830 w 807720"/>
                <a:gd name="connsiteY5" fmla="*/ 165735 h 723900"/>
                <a:gd name="connsiteX6" fmla="*/ 196215 w 807720"/>
                <a:gd name="connsiteY6" fmla="*/ 100965 h 723900"/>
                <a:gd name="connsiteX7" fmla="*/ 247650 w 807720"/>
                <a:gd name="connsiteY7" fmla="*/ 51435 h 723900"/>
                <a:gd name="connsiteX8" fmla="*/ 314325 w 807720"/>
                <a:gd name="connsiteY8" fmla="*/ 15240 h 723900"/>
                <a:gd name="connsiteX9" fmla="*/ 392430 w 807720"/>
                <a:gd name="connsiteY9" fmla="*/ 0 h 723900"/>
                <a:gd name="connsiteX10" fmla="*/ 457200 w 807720"/>
                <a:gd name="connsiteY10" fmla="*/ 9525 h 723900"/>
                <a:gd name="connsiteX11" fmla="*/ 516255 w 807720"/>
                <a:gd name="connsiteY11" fmla="*/ 30480 h 723900"/>
                <a:gd name="connsiteX12" fmla="*/ 571500 w 807720"/>
                <a:gd name="connsiteY12" fmla="*/ 64770 h 723900"/>
                <a:gd name="connsiteX13" fmla="*/ 605790 w 807720"/>
                <a:gd name="connsiteY13" fmla="*/ 112395 h 723900"/>
                <a:gd name="connsiteX14" fmla="*/ 638175 w 807720"/>
                <a:gd name="connsiteY14" fmla="*/ 167640 h 723900"/>
                <a:gd name="connsiteX15" fmla="*/ 645795 w 807720"/>
                <a:gd name="connsiteY15" fmla="*/ 213360 h 723900"/>
                <a:gd name="connsiteX16" fmla="*/ 702945 w 807720"/>
                <a:gd name="connsiteY16" fmla="*/ 611505 h 723900"/>
                <a:gd name="connsiteX17" fmla="*/ 727710 w 807720"/>
                <a:gd name="connsiteY17" fmla="*/ 661035 h 723900"/>
                <a:gd name="connsiteX18" fmla="*/ 754380 w 807720"/>
                <a:gd name="connsiteY18" fmla="*/ 685800 h 723900"/>
                <a:gd name="connsiteX19" fmla="*/ 773430 w 807720"/>
                <a:gd name="connsiteY19" fmla="*/ 702945 h 723900"/>
                <a:gd name="connsiteX20" fmla="*/ 807720 w 807720"/>
                <a:gd name="connsiteY20" fmla="*/ 721995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07720" h="723900">
                  <a:moveTo>
                    <a:pt x="0" y="723900"/>
                  </a:moveTo>
                  <a:lnTo>
                    <a:pt x="47625" y="695325"/>
                  </a:lnTo>
                  <a:lnTo>
                    <a:pt x="70485" y="666750"/>
                  </a:lnTo>
                  <a:lnTo>
                    <a:pt x="100965" y="626745"/>
                  </a:lnTo>
                  <a:lnTo>
                    <a:pt x="150495" y="217170"/>
                  </a:lnTo>
                  <a:lnTo>
                    <a:pt x="163830" y="165735"/>
                  </a:lnTo>
                  <a:lnTo>
                    <a:pt x="196215" y="100965"/>
                  </a:lnTo>
                  <a:lnTo>
                    <a:pt x="247650" y="51435"/>
                  </a:lnTo>
                  <a:lnTo>
                    <a:pt x="314325" y="15240"/>
                  </a:lnTo>
                  <a:lnTo>
                    <a:pt x="392430" y="0"/>
                  </a:lnTo>
                  <a:lnTo>
                    <a:pt x="457200" y="9525"/>
                  </a:lnTo>
                  <a:lnTo>
                    <a:pt x="516255" y="30480"/>
                  </a:lnTo>
                  <a:lnTo>
                    <a:pt x="571500" y="64770"/>
                  </a:lnTo>
                  <a:lnTo>
                    <a:pt x="605790" y="112395"/>
                  </a:lnTo>
                  <a:lnTo>
                    <a:pt x="638175" y="167640"/>
                  </a:lnTo>
                  <a:lnTo>
                    <a:pt x="645795" y="213360"/>
                  </a:lnTo>
                  <a:lnTo>
                    <a:pt x="702945" y="611505"/>
                  </a:lnTo>
                  <a:lnTo>
                    <a:pt x="727710" y="661035"/>
                  </a:lnTo>
                  <a:lnTo>
                    <a:pt x="754380" y="685800"/>
                  </a:lnTo>
                  <a:lnTo>
                    <a:pt x="773430" y="702945"/>
                  </a:lnTo>
                  <a:lnTo>
                    <a:pt x="807720" y="721995"/>
                  </a:lnTo>
                </a:path>
              </a:pathLst>
            </a:custGeom>
            <a:pattFill prst="wdUpDiag">
              <a:fgClr>
                <a:schemeClr val="tx1"/>
              </a:fgClr>
              <a:bgClr>
                <a:schemeClr val="bg1"/>
              </a:bgClr>
            </a:patt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="" xmlns:a16="http://schemas.microsoft.com/office/drawing/2014/main" id="{5D472C5C-9736-4E29-883C-B60352834F6A}"/>
                </a:ext>
              </a:extLst>
            </p:cNvPr>
            <p:cNvSpPr txBox="1"/>
            <p:nvPr/>
          </p:nvSpPr>
          <p:spPr>
            <a:xfrm>
              <a:off x="5421518" y="2597667"/>
              <a:ext cx="463588" cy="307777"/>
            </a:xfrm>
            <a:prstGeom prst="rect">
              <a:avLst/>
            </a:prstGeom>
            <a:noFill/>
          </p:spPr>
          <p:txBody>
            <a:bodyPr wrap="none" lIns="91288" tIns="45644" rIns="91288" bIns="45644" rtlCol="0">
              <a:spAutoFit/>
            </a:bodyPr>
            <a:lstStyle/>
            <a:p>
              <a:pPr defTabSz="894597"/>
              <a:r>
                <a:rPr lang="ru-RU" sz="1400" dirty="0" err="1">
                  <a:solidFill>
                    <a:srgbClr val="000000"/>
                  </a:solidFill>
                </a:rPr>
                <a:t>нзп</a:t>
              </a:r>
              <a:endParaRPr lang="ru-RU" sz="1400" dirty="0">
                <a:solidFill>
                  <a:srgbClr val="000000"/>
                </a:solidFill>
              </a:endParaRPr>
            </a:p>
          </p:txBody>
        </p:sp>
        <p:sp>
          <p:nvSpPr>
            <p:cNvPr id="69" name="Полилиния 36">
              <a:extLst>
                <a:ext uri="{FF2B5EF4-FFF2-40B4-BE49-F238E27FC236}">
                  <a16:creationId xmlns="" xmlns:a16="http://schemas.microsoft.com/office/drawing/2014/main" id="{08744862-7F45-410D-B306-D618AC5CA0A2}"/>
                </a:ext>
              </a:extLst>
            </p:cNvPr>
            <p:cNvSpPr/>
            <p:nvPr/>
          </p:nvSpPr>
          <p:spPr>
            <a:xfrm>
              <a:off x="5479339" y="2425096"/>
              <a:ext cx="334239" cy="214855"/>
            </a:xfrm>
            <a:custGeom>
              <a:avLst/>
              <a:gdLst>
                <a:gd name="connsiteX0" fmla="*/ 0 w 807720"/>
                <a:gd name="connsiteY0" fmla="*/ 723900 h 723900"/>
                <a:gd name="connsiteX1" fmla="*/ 47625 w 807720"/>
                <a:gd name="connsiteY1" fmla="*/ 695325 h 723900"/>
                <a:gd name="connsiteX2" fmla="*/ 70485 w 807720"/>
                <a:gd name="connsiteY2" fmla="*/ 666750 h 723900"/>
                <a:gd name="connsiteX3" fmla="*/ 100965 w 807720"/>
                <a:gd name="connsiteY3" fmla="*/ 626745 h 723900"/>
                <a:gd name="connsiteX4" fmla="*/ 150495 w 807720"/>
                <a:gd name="connsiteY4" fmla="*/ 217170 h 723900"/>
                <a:gd name="connsiteX5" fmla="*/ 163830 w 807720"/>
                <a:gd name="connsiteY5" fmla="*/ 165735 h 723900"/>
                <a:gd name="connsiteX6" fmla="*/ 196215 w 807720"/>
                <a:gd name="connsiteY6" fmla="*/ 100965 h 723900"/>
                <a:gd name="connsiteX7" fmla="*/ 247650 w 807720"/>
                <a:gd name="connsiteY7" fmla="*/ 51435 h 723900"/>
                <a:gd name="connsiteX8" fmla="*/ 314325 w 807720"/>
                <a:gd name="connsiteY8" fmla="*/ 15240 h 723900"/>
                <a:gd name="connsiteX9" fmla="*/ 392430 w 807720"/>
                <a:gd name="connsiteY9" fmla="*/ 0 h 723900"/>
                <a:gd name="connsiteX10" fmla="*/ 457200 w 807720"/>
                <a:gd name="connsiteY10" fmla="*/ 9525 h 723900"/>
                <a:gd name="connsiteX11" fmla="*/ 516255 w 807720"/>
                <a:gd name="connsiteY11" fmla="*/ 30480 h 723900"/>
                <a:gd name="connsiteX12" fmla="*/ 571500 w 807720"/>
                <a:gd name="connsiteY12" fmla="*/ 64770 h 723900"/>
                <a:gd name="connsiteX13" fmla="*/ 605790 w 807720"/>
                <a:gd name="connsiteY13" fmla="*/ 112395 h 723900"/>
                <a:gd name="connsiteX14" fmla="*/ 638175 w 807720"/>
                <a:gd name="connsiteY14" fmla="*/ 167640 h 723900"/>
                <a:gd name="connsiteX15" fmla="*/ 645795 w 807720"/>
                <a:gd name="connsiteY15" fmla="*/ 213360 h 723900"/>
                <a:gd name="connsiteX16" fmla="*/ 702945 w 807720"/>
                <a:gd name="connsiteY16" fmla="*/ 611505 h 723900"/>
                <a:gd name="connsiteX17" fmla="*/ 727710 w 807720"/>
                <a:gd name="connsiteY17" fmla="*/ 661035 h 723900"/>
                <a:gd name="connsiteX18" fmla="*/ 754380 w 807720"/>
                <a:gd name="connsiteY18" fmla="*/ 685800 h 723900"/>
                <a:gd name="connsiteX19" fmla="*/ 773430 w 807720"/>
                <a:gd name="connsiteY19" fmla="*/ 702945 h 723900"/>
                <a:gd name="connsiteX20" fmla="*/ 807720 w 807720"/>
                <a:gd name="connsiteY20" fmla="*/ 721995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07720" h="723900">
                  <a:moveTo>
                    <a:pt x="0" y="723900"/>
                  </a:moveTo>
                  <a:lnTo>
                    <a:pt x="47625" y="695325"/>
                  </a:lnTo>
                  <a:lnTo>
                    <a:pt x="70485" y="666750"/>
                  </a:lnTo>
                  <a:lnTo>
                    <a:pt x="100965" y="626745"/>
                  </a:lnTo>
                  <a:lnTo>
                    <a:pt x="150495" y="217170"/>
                  </a:lnTo>
                  <a:lnTo>
                    <a:pt x="163830" y="165735"/>
                  </a:lnTo>
                  <a:lnTo>
                    <a:pt x="196215" y="100965"/>
                  </a:lnTo>
                  <a:lnTo>
                    <a:pt x="247650" y="51435"/>
                  </a:lnTo>
                  <a:lnTo>
                    <a:pt x="314325" y="15240"/>
                  </a:lnTo>
                  <a:lnTo>
                    <a:pt x="392430" y="0"/>
                  </a:lnTo>
                  <a:lnTo>
                    <a:pt x="457200" y="9525"/>
                  </a:lnTo>
                  <a:lnTo>
                    <a:pt x="516255" y="30480"/>
                  </a:lnTo>
                  <a:lnTo>
                    <a:pt x="571500" y="64770"/>
                  </a:lnTo>
                  <a:lnTo>
                    <a:pt x="605790" y="112395"/>
                  </a:lnTo>
                  <a:lnTo>
                    <a:pt x="638175" y="167640"/>
                  </a:lnTo>
                  <a:lnTo>
                    <a:pt x="645795" y="213360"/>
                  </a:lnTo>
                  <a:lnTo>
                    <a:pt x="702945" y="611505"/>
                  </a:lnTo>
                  <a:lnTo>
                    <a:pt x="727710" y="661035"/>
                  </a:lnTo>
                  <a:lnTo>
                    <a:pt x="754380" y="685800"/>
                  </a:lnTo>
                  <a:lnTo>
                    <a:pt x="773430" y="702945"/>
                  </a:lnTo>
                  <a:lnTo>
                    <a:pt x="807720" y="721995"/>
                  </a:lnTo>
                </a:path>
              </a:pathLst>
            </a:custGeom>
            <a:pattFill prst="wdUpDiag">
              <a:fgClr>
                <a:schemeClr val="tx1"/>
              </a:fgClr>
              <a:bgClr>
                <a:schemeClr val="bg1"/>
              </a:bgClr>
            </a:patt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cxnSp>
          <p:nvCxnSpPr>
            <p:cNvPr id="70" name="Прямая со стрелкой 69">
              <a:extLst>
                <a:ext uri="{FF2B5EF4-FFF2-40B4-BE49-F238E27FC236}">
                  <a16:creationId xmlns="" xmlns:a16="http://schemas.microsoft.com/office/drawing/2014/main" id="{D62539F2-B7AB-4EE5-A6A3-232210ADA53C}"/>
                </a:ext>
              </a:extLst>
            </p:cNvPr>
            <p:cNvCxnSpPr/>
            <p:nvPr/>
          </p:nvCxnSpPr>
          <p:spPr>
            <a:xfrm>
              <a:off x="5894549" y="2546474"/>
              <a:ext cx="588068" cy="0"/>
            </a:xfrm>
            <a:prstGeom prst="straightConnector1">
              <a:avLst/>
            </a:prstGeom>
            <a:ln w="31750">
              <a:solidFill>
                <a:srgbClr val="002060"/>
              </a:solidFill>
              <a:prstDash val="solid"/>
              <a:headEnd type="oval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Полилиния 38">
              <a:extLst>
                <a:ext uri="{FF2B5EF4-FFF2-40B4-BE49-F238E27FC236}">
                  <a16:creationId xmlns="" xmlns:a16="http://schemas.microsoft.com/office/drawing/2014/main" id="{4F280738-7A9A-42BF-A8D3-848F99106306}"/>
                </a:ext>
              </a:extLst>
            </p:cNvPr>
            <p:cNvSpPr/>
            <p:nvPr/>
          </p:nvSpPr>
          <p:spPr>
            <a:xfrm>
              <a:off x="6829688" y="2489087"/>
              <a:ext cx="334239" cy="214855"/>
            </a:xfrm>
            <a:custGeom>
              <a:avLst/>
              <a:gdLst>
                <a:gd name="connsiteX0" fmla="*/ 0 w 807720"/>
                <a:gd name="connsiteY0" fmla="*/ 723900 h 723900"/>
                <a:gd name="connsiteX1" fmla="*/ 47625 w 807720"/>
                <a:gd name="connsiteY1" fmla="*/ 695325 h 723900"/>
                <a:gd name="connsiteX2" fmla="*/ 70485 w 807720"/>
                <a:gd name="connsiteY2" fmla="*/ 666750 h 723900"/>
                <a:gd name="connsiteX3" fmla="*/ 100965 w 807720"/>
                <a:gd name="connsiteY3" fmla="*/ 626745 h 723900"/>
                <a:gd name="connsiteX4" fmla="*/ 150495 w 807720"/>
                <a:gd name="connsiteY4" fmla="*/ 217170 h 723900"/>
                <a:gd name="connsiteX5" fmla="*/ 163830 w 807720"/>
                <a:gd name="connsiteY5" fmla="*/ 165735 h 723900"/>
                <a:gd name="connsiteX6" fmla="*/ 196215 w 807720"/>
                <a:gd name="connsiteY6" fmla="*/ 100965 h 723900"/>
                <a:gd name="connsiteX7" fmla="*/ 247650 w 807720"/>
                <a:gd name="connsiteY7" fmla="*/ 51435 h 723900"/>
                <a:gd name="connsiteX8" fmla="*/ 314325 w 807720"/>
                <a:gd name="connsiteY8" fmla="*/ 15240 h 723900"/>
                <a:gd name="connsiteX9" fmla="*/ 392430 w 807720"/>
                <a:gd name="connsiteY9" fmla="*/ 0 h 723900"/>
                <a:gd name="connsiteX10" fmla="*/ 457200 w 807720"/>
                <a:gd name="connsiteY10" fmla="*/ 9525 h 723900"/>
                <a:gd name="connsiteX11" fmla="*/ 516255 w 807720"/>
                <a:gd name="connsiteY11" fmla="*/ 30480 h 723900"/>
                <a:gd name="connsiteX12" fmla="*/ 571500 w 807720"/>
                <a:gd name="connsiteY12" fmla="*/ 64770 h 723900"/>
                <a:gd name="connsiteX13" fmla="*/ 605790 w 807720"/>
                <a:gd name="connsiteY13" fmla="*/ 112395 h 723900"/>
                <a:gd name="connsiteX14" fmla="*/ 638175 w 807720"/>
                <a:gd name="connsiteY14" fmla="*/ 167640 h 723900"/>
                <a:gd name="connsiteX15" fmla="*/ 645795 w 807720"/>
                <a:gd name="connsiteY15" fmla="*/ 213360 h 723900"/>
                <a:gd name="connsiteX16" fmla="*/ 702945 w 807720"/>
                <a:gd name="connsiteY16" fmla="*/ 611505 h 723900"/>
                <a:gd name="connsiteX17" fmla="*/ 727710 w 807720"/>
                <a:gd name="connsiteY17" fmla="*/ 661035 h 723900"/>
                <a:gd name="connsiteX18" fmla="*/ 754380 w 807720"/>
                <a:gd name="connsiteY18" fmla="*/ 685800 h 723900"/>
                <a:gd name="connsiteX19" fmla="*/ 773430 w 807720"/>
                <a:gd name="connsiteY19" fmla="*/ 702945 h 723900"/>
                <a:gd name="connsiteX20" fmla="*/ 807720 w 807720"/>
                <a:gd name="connsiteY20" fmla="*/ 721995 h 723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07720" h="723900">
                  <a:moveTo>
                    <a:pt x="0" y="723900"/>
                  </a:moveTo>
                  <a:lnTo>
                    <a:pt x="47625" y="695325"/>
                  </a:lnTo>
                  <a:lnTo>
                    <a:pt x="70485" y="666750"/>
                  </a:lnTo>
                  <a:lnTo>
                    <a:pt x="100965" y="626745"/>
                  </a:lnTo>
                  <a:lnTo>
                    <a:pt x="150495" y="217170"/>
                  </a:lnTo>
                  <a:lnTo>
                    <a:pt x="163830" y="165735"/>
                  </a:lnTo>
                  <a:lnTo>
                    <a:pt x="196215" y="100965"/>
                  </a:lnTo>
                  <a:lnTo>
                    <a:pt x="247650" y="51435"/>
                  </a:lnTo>
                  <a:lnTo>
                    <a:pt x="314325" y="15240"/>
                  </a:lnTo>
                  <a:lnTo>
                    <a:pt x="392430" y="0"/>
                  </a:lnTo>
                  <a:lnTo>
                    <a:pt x="457200" y="9525"/>
                  </a:lnTo>
                  <a:lnTo>
                    <a:pt x="516255" y="30480"/>
                  </a:lnTo>
                  <a:lnTo>
                    <a:pt x="571500" y="64770"/>
                  </a:lnTo>
                  <a:lnTo>
                    <a:pt x="605790" y="112395"/>
                  </a:lnTo>
                  <a:lnTo>
                    <a:pt x="638175" y="167640"/>
                  </a:lnTo>
                  <a:lnTo>
                    <a:pt x="645795" y="213360"/>
                  </a:lnTo>
                  <a:lnTo>
                    <a:pt x="702945" y="611505"/>
                  </a:lnTo>
                  <a:lnTo>
                    <a:pt x="727710" y="661035"/>
                  </a:lnTo>
                  <a:lnTo>
                    <a:pt x="754380" y="685800"/>
                  </a:lnTo>
                  <a:lnTo>
                    <a:pt x="773430" y="702945"/>
                  </a:lnTo>
                  <a:lnTo>
                    <a:pt x="807720" y="721995"/>
                  </a:lnTo>
                </a:path>
              </a:pathLst>
            </a:custGeom>
            <a:pattFill prst="wdUpDiag">
              <a:fgClr>
                <a:schemeClr val="tx1"/>
              </a:fgClr>
              <a:bgClr>
                <a:schemeClr val="bg1"/>
              </a:bgClr>
            </a:patt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pic>
          <p:nvPicPr>
            <p:cNvPr id="72" name="Picture 5" descr="D:\ФЦК\презы\ик\1-04.png">
              <a:extLst>
                <a:ext uri="{FF2B5EF4-FFF2-40B4-BE49-F238E27FC236}">
                  <a16:creationId xmlns="" xmlns:a16="http://schemas.microsoft.com/office/drawing/2014/main" id="{2690EB4B-CA56-4B19-8692-F9C78CE91F1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334" t="26002" r="15522" b="22979"/>
            <a:stretch/>
          </p:blipFill>
          <p:spPr bwMode="auto">
            <a:xfrm>
              <a:off x="6011887" y="2235976"/>
              <a:ext cx="439642" cy="2399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" name="Picture 2" descr="C:\Users\Masha\Desktop\иконки фцк\9-25.png">
              <a:extLst>
                <a:ext uri="{FF2B5EF4-FFF2-40B4-BE49-F238E27FC236}">
                  <a16:creationId xmlns="" xmlns:a16="http://schemas.microsoft.com/office/drawing/2014/main" id="{BD5CEB55-2AC0-4C3D-A3B9-99CCEB867E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1305" y="1095473"/>
              <a:ext cx="358231" cy="278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74" name="Прямая соединительная линия 73">
              <a:extLst>
                <a:ext uri="{FF2B5EF4-FFF2-40B4-BE49-F238E27FC236}">
                  <a16:creationId xmlns="" xmlns:a16="http://schemas.microsoft.com/office/drawing/2014/main" id="{2CD39759-0C91-4936-8B80-61095BCE2837}"/>
                </a:ext>
              </a:extLst>
            </p:cNvPr>
            <p:cNvCxnSpPr/>
            <p:nvPr/>
          </p:nvCxnSpPr>
          <p:spPr>
            <a:xfrm>
              <a:off x="2317137" y="1255572"/>
              <a:ext cx="0" cy="1290904"/>
            </a:xfrm>
            <a:prstGeom prst="line">
              <a:avLst/>
            </a:prstGeom>
            <a:ln w="19050">
              <a:solidFill>
                <a:schemeClr val="tx2"/>
              </a:solidFill>
              <a:prstDash val="sysDot"/>
              <a:headEnd type="oval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Прямая соединительная линия 74">
              <a:extLst>
                <a:ext uri="{FF2B5EF4-FFF2-40B4-BE49-F238E27FC236}">
                  <a16:creationId xmlns="" xmlns:a16="http://schemas.microsoft.com/office/drawing/2014/main" id="{C36A6973-FAC8-41A3-A0FD-4FF87858F3F3}"/>
                </a:ext>
              </a:extLst>
            </p:cNvPr>
            <p:cNvCxnSpPr/>
            <p:nvPr/>
          </p:nvCxnSpPr>
          <p:spPr>
            <a:xfrm>
              <a:off x="2804228" y="1255572"/>
              <a:ext cx="0" cy="1290904"/>
            </a:xfrm>
            <a:prstGeom prst="line">
              <a:avLst/>
            </a:prstGeom>
            <a:ln w="19050">
              <a:solidFill>
                <a:schemeClr val="tx2"/>
              </a:solidFill>
              <a:prstDash val="sysDot"/>
              <a:headEnd type="oval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Прямая соединительная линия 75">
              <a:extLst>
                <a:ext uri="{FF2B5EF4-FFF2-40B4-BE49-F238E27FC236}">
                  <a16:creationId xmlns="" xmlns:a16="http://schemas.microsoft.com/office/drawing/2014/main" id="{BD0ECD7A-5A59-45EB-8067-C4F48E562D9D}"/>
                </a:ext>
              </a:extLst>
            </p:cNvPr>
            <p:cNvCxnSpPr/>
            <p:nvPr/>
          </p:nvCxnSpPr>
          <p:spPr>
            <a:xfrm>
              <a:off x="4570820" y="1255572"/>
              <a:ext cx="0" cy="1290904"/>
            </a:xfrm>
            <a:prstGeom prst="line">
              <a:avLst/>
            </a:prstGeom>
            <a:ln w="19050">
              <a:solidFill>
                <a:schemeClr val="tx2"/>
              </a:solidFill>
              <a:prstDash val="sysDot"/>
              <a:headEnd type="oval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Прямая соединительная линия 76">
              <a:extLst>
                <a:ext uri="{FF2B5EF4-FFF2-40B4-BE49-F238E27FC236}">
                  <a16:creationId xmlns="" xmlns:a16="http://schemas.microsoft.com/office/drawing/2014/main" id="{59B83A48-C8EE-4E54-880C-9221F22F8165}"/>
                </a:ext>
              </a:extLst>
            </p:cNvPr>
            <p:cNvCxnSpPr/>
            <p:nvPr/>
          </p:nvCxnSpPr>
          <p:spPr>
            <a:xfrm>
              <a:off x="4167488" y="1255572"/>
              <a:ext cx="0" cy="1290904"/>
            </a:xfrm>
            <a:prstGeom prst="line">
              <a:avLst/>
            </a:prstGeom>
            <a:ln w="19050">
              <a:solidFill>
                <a:schemeClr val="tx2"/>
              </a:solidFill>
              <a:prstDash val="sysDot"/>
              <a:headEnd type="oval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Прямая соединительная линия 77">
              <a:extLst>
                <a:ext uri="{FF2B5EF4-FFF2-40B4-BE49-F238E27FC236}">
                  <a16:creationId xmlns="" xmlns:a16="http://schemas.microsoft.com/office/drawing/2014/main" id="{D671F948-F51F-4621-8E45-A2A51BD9AED1}"/>
                </a:ext>
              </a:extLst>
            </p:cNvPr>
            <p:cNvCxnSpPr/>
            <p:nvPr/>
          </p:nvCxnSpPr>
          <p:spPr>
            <a:xfrm>
              <a:off x="5894549" y="1255572"/>
              <a:ext cx="0" cy="1290904"/>
            </a:xfrm>
            <a:prstGeom prst="line">
              <a:avLst/>
            </a:prstGeom>
            <a:ln w="19050">
              <a:solidFill>
                <a:schemeClr val="tx2"/>
              </a:solidFill>
              <a:prstDash val="sysDot"/>
              <a:headEnd type="oval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Прямая соединительная линия 78">
              <a:extLst>
                <a:ext uri="{FF2B5EF4-FFF2-40B4-BE49-F238E27FC236}">
                  <a16:creationId xmlns="" xmlns:a16="http://schemas.microsoft.com/office/drawing/2014/main" id="{41C726A6-9F40-4DC4-AB68-4F08CE3345F0}"/>
                </a:ext>
              </a:extLst>
            </p:cNvPr>
            <p:cNvCxnSpPr/>
            <p:nvPr/>
          </p:nvCxnSpPr>
          <p:spPr>
            <a:xfrm>
              <a:off x="6482617" y="1255572"/>
              <a:ext cx="0" cy="1290904"/>
            </a:xfrm>
            <a:prstGeom prst="line">
              <a:avLst/>
            </a:prstGeom>
            <a:ln w="19050">
              <a:solidFill>
                <a:schemeClr val="tx2"/>
              </a:solidFill>
              <a:prstDash val="sysDot"/>
              <a:headEnd type="oval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Овал 79">
              <a:extLst>
                <a:ext uri="{FF2B5EF4-FFF2-40B4-BE49-F238E27FC236}">
                  <a16:creationId xmlns="" xmlns:a16="http://schemas.microsoft.com/office/drawing/2014/main" id="{3FE24BB2-A0B0-4E51-914B-F598E9ECBA9C}"/>
                </a:ext>
              </a:extLst>
            </p:cNvPr>
            <p:cNvSpPr/>
            <p:nvPr/>
          </p:nvSpPr>
          <p:spPr>
            <a:xfrm>
              <a:off x="1185309" y="1195827"/>
              <a:ext cx="143246" cy="107428"/>
            </a:xfrm>
            <a:prstGeom prst="ellipse">
              <a:avLst/>
            </a:prstGeom>
            <a:noFill/>
            <a:ln w="12700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81" name="Овал 80">
              <a:extLst>
                <a:ext uri="{FF2B5EF4-FFF2-40B4-BE49-F238E27FC236}">
                  <a16:creationId xmlns="" xmlns:a16="http://schemas.microsoft.com/office/drawing/2014/main" id="{EA0B0D87-6319-4C8E-B3E1-F6DEC0B772E2}"/>
                </a:ext>
              </a:extLst>
            </p:cNvPr>
            <p:cNvSpPr/>
            <p:nvPr/>
          </p:nvSpPr>
          <p:spPr>
            <a:xfrm>
              <a:off x="2245514" y="1195827"/>
              <a:ext cx="143246" cy="107428"/>
            </a:xfrm>
            <a:prstGeom prst="ellipse">
              <a:avLst/>
            </a:prstGeom>
            <a:noFill/>
            <a:ln w="12700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82" name="Овал 81">
              <a:extLst>
                <a:ext uri="{FF2B5EF4-FFF2-40B4-BE49-F238E27FC236}">
                  <a16:creationId xmlns="" xmlns:a16="http://schemas.microsoft.com/office/drawing/2014/main" id="{B93D0FE8-763F-4FD4-9188-9C2F50999816}"/>
                </a:ext>
              </a:extLst>
            </p:cNvPr>
            <p:cNvSpPr/>
            <p:nvPr/>
          </p:nvSpPr>
          <p:spPr>
            <a:xfrm>
              <a:off x="2732605" y="1195827"/>
              <a:ext cx="143246" cy="107428"/>
            </a:xfrm>
            <a:prstGeom prst="ellipse">
              <a:avLst/>
            </a:prstGeom>
            <a:noFill/>
            <a:ln w="12700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83" name="Овал 82">
              <a:extLst>
                <a:ext uri="{FF2B5EF4-FFF2-40B4-BE49-F238E27FC236}">
                  <a16:creationId xmlns="" xmlns:a16="http://schemas.microsoft.com/office/drawing/2014/main" id="{60060873-F7AF-4300-AF0C-7F86276105FF}"/>
                </a:ext>
              </a:extLst>
            </p:cNvPr>
            <p:cNvSpPr/>
            <p:nvPr/>
          </p:nvSpPr>
          <p:spPr>
            <a:xfrm>
              <a:off x="4095865" y="1195827"/>
              <a:ext cx="143246" cy="107428"/>
            </a:xfrm>
            <a:prstGeom prst="ellipse">
              <a:avLst/>
            </a:prstGeom>
            <a:noFill/>
            <a:ln w="12700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84" name="Овал 83">
              <a:extLst>
                <a:ext uri="{FF2B5EF4-FFF2-40B4-BE49-F238E27FC236}">
                  <a16:creationId xmlns="" xmlns:a16="http://schemas.microsoft.com/office/drawing/2014/main" id="{C402D223-B7EC-4F60-AC9B-6D22A9F95B44}"/>
                </a:ext>
              </a:extLst>
            </p:cNvPr>
            <p:cNvSpPr/>
            <p:nvPr/>
          </p:nvSpPr>
          <p:spPr>
            <a:xfrm>
              <a:off x="4493626" y="1195827"/>
              <a:ext cx="143246" cy="107428"/>
            </a:xfrm>
            <a:prstGeom prst="ellipse">
              <a:avLst/>
            </a:prstGeom>
            <a:noFill/>
            <a:ln w="12700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85" name="Овал 84">
              <a:extLst>
                <a:ext uri="{FF2B5EF4-FFF2-40B4-BE49-F238E27FC236}">
                  <a16:creationId xmlns="" xmlns:a16="http://schemas.microsoft.com/office/drawing/2014/main" id="{DE08F893-764E-41AB-8498-197A34A8F14C}"/>
                </a:ext>
              </a:extLst>
            </p:cNvPr>
            <p:cNvSpPr/>
            <p:nvPr/>
          </p:nvSpPr>
          <p:spPr>
            <a:xfrm>
              <a:off x="5825058" y="1195827"/>
              <a:ext cx="143246" cy="107428"/>
            </a:xfrm>
            <a:prstGeom prst="ellipse">
              <a:avLst/>
            </a:prstGeom>
            <a:noFill/>
            <a:ln w="12700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86" name="Овал 85">
              <a:extLst>
                <a:ext uri="{FF2B5EF4-FFF2-40B4-BE49-F238E27FC236}">
                  <a16:creationId xmlns="" xmlns:a16="http://schemas.microsoft.com/office/drawing/2014/main" id="{9726FC4F-F452-42FD-A43F-819A71651F93}"/>
                </a:ext>
              </a:extLst>
            </p:cNvPr>
            <p:cNvSpPr/>
            <p:nvPr/>
          </p:nvSpPr>
          <p:spPr>
            <a:xfrm>
              <a:off x="6408058" y="1195827"/>
              <a:ext cx="143246" cy="107428"/>
            </a:xfrm>
            <a:prstGeom prst="ellipse">
              <a:avLst/>
            </a:prstGeom>
            <a:noFill/>
            <a:ln w="12700"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pic>
          <p:nvPicPr>
            <p:cNvPr id="87" name="Picture 2" descr="D:\ФЦК\презы\ик\3-02.png">
              <a:extLst>
                <a:ext uri="{FF2B5EF4-FFF2-40B4-BE49-F238E27FC236}">
                  <a16:creationId xmlns="" xmlns:a16="http://schemas.microsoft.com/office/drawing/2014/main" id="{D1B9A0A2-675F-47A2-B651-0E6BD06CC2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68437" y="2370662"/>
              <a:ext cx="482175" cy="3237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8" name="Picture 2" descr="D:\ФЦК\презы\ик\3-02.png">
              <a:extLst>
                <a:ext uri="{FF2B5EF4-FFF2-40B4-BE49-F238E27FC236}">
                  <a16:creationId xmlns="" xmlns:a16="http://schemas.microsoft.com/office/drawing/2014/main" id="{8E3AADC0-3FB0-4018-8086-3AFBB29917D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97164" y="2370662"/>
              <a:ext cx="482175" cy="3237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6" name="Группа 95">
            <a:extLst>
              <a:ext uri="{FF2B5EF4-FFF2-40B4-BE49-F238E27FC236}">
                <a16:creationId xmlns="" xmlns:a16="http://schemas.microsoft.com/office/drawing/2014/main" id="{67D65390-94EF-4F06-A6FC-5987C9982CE7}"/>
              </a:ext>
            </a:extLst>
          </p:cNvPr>
          <p:cNvGrpSpPr/>
          <p:nvPr/>
        </p:nvGrpSpPr>
        <p:grpSpPr>
          <a:xfrm>
            <a:off x="4295940" y="5001478"/>
            <a:ext cx="3534006" cy="523220"/>
            <a:chOff x="4295940" y="4525228"/>
            <a:chExt cx="3534006" cy="523220"/>
          </a:xfrm>
        </p:grpSpPr>
        <p:sp>
          <p:nvSpPr>
            <p:cNvPr id="22" name="Прямоугольник 21">
              <a:extLst>
                <a:ext uri="{FF2B5EF4-FFF2-40B4-BE49-F238E27FC236}">
                  <a16:creationId xmlns="" xmlns:a16="http://schemas.microsoft.com/office/drawing/2014/main" id="{42A9E5AE-B7DA-4786-84B9-932B3783BA89}"/>
                </a:ext>
              </a:extLst>
            </p:cNvPr>
            <p:cNvSpPr/>
            <p:nvPr/>
          </p:nvSpPr>
          <p:spPr>
            <a:xfrm>
              <a:off x="5035719" y="4525228"/>
              <a:ext cx="2421792" cy="523220"/>
            </a:xfrm>
            <a:prstGeom prst="rect">
              <a:avLst/>
            </a:prstGeom>
          </p:spPr>
          <p:txBody>
            <a:bodyPr wrap="square" lIns="91288" tIns="45644" rIns="91288" bIns="45644">
              <a:spAutoFit/>
            </a:bodyPr>
            <a:lstStyle/>
            <a:p>
              <a:pPr defTabSz="894597"/>
              <a:r>
                <a:rPr lang="ru-RU" sz="1400" dirty="0" smtClean="0">
                  <a:solidFill>
                    <a:srgbClr val="000000"/>
                  </a:solidFill>
                </a:rPr>
                <a:t>Повышают </a:t>
              </a:r>
              <a:r>
                <a:rPr lang="ru-RU" sz="1400" dirty="0">
                  <a:solidFill>
                    <a:srgbClr val="000000"/>
                  </a:solidFill>
                </a:rPr>
                <a:t>загрузку оборудования до 85%</a:t>
              </a:r>
            </a:p>
          </p:txBody>
        </p:sp>
        <p:sp>
          <p:nvSpPr>
            <p:cNvPr id="36" name="Скругленный прямоугольник 77">
              <a:extLst>
                <a:ext uri="{FF2B5EF4-FFF2-40B4-BE49-F238E27FC236}">
                  <a16:creationId xmlns="" xmlns:a16="http://schemas.microsoft.com/office/drawing/2014/main" id="{F9BAF3CC-81DC-4E38-9138-C4F591578F67}"/>
                </a:ext>
              </a:extLst>
            </p:cNvPr>
            <p:cNvSpPr/>
            <p:nvPr/>
          </p:nvSpPr>
          <p:spPr>
            <a:xfrm>
              <a:off x="4295940" y="4558008"/>
              <a:ext cx="3534006" cy="457660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00206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288" tIns="45644" rIns="91288" bIns="45644" rtlCol="0" anchor="ctr"/>
            <a:lstStyle/>
            <a:p>
              <a:pPr algn="ctr" defTabSz="894597"/>
              <a:endParaRPr lang="ru-RU">
                <a:solidFill>
                  <a:prstClr val="white"/>
                </a:solidFill>
              </a:endParaRPr>
            </a:p>
          </p:txBody>
        </p:sp>
        <p:pic>
          <p:nvPicPr>
            <p:cNvPr id="89" name="Picture 2" descr="D:\ФЦК\презы\ик\3-02.png">
              <a:extLst>
                <a:ext uri="{FF2B5EF4-FFF2-40B4-BE49-F238E27FC236}">
                  <a16:creationId xmlns="" xmlns:a16="http://schemas.microsoft.com/office/drawing/2014/main" id="{7BA6F63B-99FD-4BA2-925C-55569A6F5D1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70677" y="4624963"/>
              <a:ext cx="482175" cy="3237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91" name="Прямая соединительная линия 90">
            <a:extLst>
              <a:ext uri="{FF2B5EF4-FFF2-40B4-BE49-F238E27FC236}">
                <a16:creationId xmlns="" xmlns:a16="http://schemas.microsoft.com/office/drawing/2014/main" id="{907CC47B-C41F-4EC6-BC6E-1396AE8F34BB}"/>
              </a:ext>
            </a:extLst>
          </p:cNvPr>
          <p:cNvCxnSpPr/>
          <p:nvPr/>
        </p:nvCxnSpPr>
        <p:spPr>
          <a:xfrm>
            <a:off x="409575" y="2126824"/>
            <a:ext cx="1138910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17719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Подход по работе с предприятиями в регионе: 1 предприятие = 3 месяца = 2 эксперта 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357413" y="1212686"/>
            <a:ext cx="11253561" cy="7737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lIns="65197" tIns="32604" rIns="65197" bIns="32604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cs typeface="Times New Roman" panose="02020603050405020304" pitchFamily="18" charset="0"/>
              </a:rPr>
              <a:t>Резко </a:t>
            </a:r>
            <a:r>
              <a:rPr lang="ru-RU" sz="1200" b="1" dirty="0">
                <a:cs typeface="Times New Roman" panose="02020603050405020304" pitchFamily="18" charset="0"/>
              </a:rPr>
              <a:t>увеличился существующий заказ</a:t>
            </a:r>
            <a:r>
              <a:rPr lang="en-US" sz="1200" b="1" dirty="0">
                <a:cs typeface="Times New Roman" panose="02020603050405020304" pitchFamily="18" charset="0"/>
              </a:rPr>
              <a:t> </a:t>
            </a:r>
            <a:r>
              <a:rPr lang="ru-RU" sz="1200" dirty="0">
                <a:cs typeface="Times New Roman" panose="02020603050405020304" pitchFamily="18" charset="0"/>
              </a:rPr>
              <a:t>или </a:t>
            </a:r>
            <a:r>
              <a:rPr lang="ru-RU" sz="1200" b="1" dirty="0">
                <a:cs typeface="Times New Roman" panose="02020603050405020304" pitchFamily="18" charset="0"/>
              </a:rPr>
              <a:t>осваиваются новые продукты</a:t>
            </a:r>
            <a:r>
              <a:rPr lang="ru-RU" sz="1200" dirty="0">
                <a:cs typeface="Times New Roman" panose="02020603050405020304" pitchFamily="18" charset="0"/>
              </a:rPr>
              <a:t>, при этом необходимо выполнить заказ без увеличения </a:t>
            </a:r>
            <a:r>
              <a:rPr lang="ru-RU" sz="1200" dirty="0" smtClean="0">
                <a:cs typeface="Times New Roman" panose="02020603050405020304" pitchFamily="18" charset="0"/>
              </a:rPr>
              <a:t>численности</a:t>
            </a:r>
            <a:endParaRPr lang="ru-RU" sz="1200" dirty="0">
              <a:cs typeface="Times New Roman" panose="02020603050405020304" pitchFamily="18" charset="0"/>
            </a:endParaRPr>
          </a:p>
          <a:p>
            <a:pPr marL="285750" indent="-285750"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ru-RU" sz="1200" b="1" dirty="0">
                <a:cs typeface="Times New Roman" panose="02020603050405020304" pitchFamily="18" charset="0"/>
              </a:rPr>
              <a:t>Изменений хочет лично генеральный директор,  </a:t>
            </a:r>
            <a:r>
              <a:rPr lang="ru-RU" sz="1200" dirty="0">
                <a:cs typeface="Times New Roman" panose="02020603050405020304" pitchFamily="18" charset="0"/>
              </a:rPr>
              <a:t>при этом собственник (или головной холдинг) дает ему на это полный </a:t>
            </a:r>
            <a:r>
              <a:rPr lang="ru-RU" sz="1200" dirty="0" smtClean="0">
                <a:cs typeface="Times New Roman" panose="02020603050405020304" pitchFamily="18" charset="0"/>
              </a:rPr>
              <a:t>карт-бланш</a:t>
            </a:r>
            <a:endParaRPr lang="ru-RU" sz="1200" dirty="0">
              <a:cs typeface="Times New Roman" panose="02020603050405020304" pitchFamily="18" charset="0"/>
            </a:endParaRPr>
          </a:p>
          <a:p>
            <a:pPr marL="285750" indent="-285750">
              <a:spcBef>
                <a:spcPts val="600"/>
              </a:spcBef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cs typeface="Times New Roman" panose="02020603050405020304" pitchFamily="18" charset="0"/>
              </a:rPr>
              <a:t>Существует </a:t>
            </a:r>
            <a:r>
              <a:rPr lang="ru-RU" sz="1200" b="1" dirty="0">
                <a:cs typeface="Times New Roman" panose="02020603050405020304" pitchFamily="18" charset="0"/>
              </a:rPr>
              <a:t>мотивация всего коллектива </a:t>
            </a:r>
            <a:r>
              <a:rPr lang="ru-RU" sz="1200" dirty="0">
                <a:cs typeface="Times New Roman" panose="02020603050405020304" pitchFamily="18" charset="0"/>
              </a:rPr>
              <a:t>на сокращение </a:t>
            </a:r>
            <a:r>
              <a:rPr lang="ru-RU" sz="1200" dirty="0" smtClean="0">
                <a:cs typeface="Times New Roman" panose="02020603050405020304" pitchFamily="18" charset="0"/>
              </a:rPr>
              <a:t>издержек</a:t>
            </a:r>
            <a:endParaRPr lang="en-US" sz="1200" dirty="0">
              <a:cs typeface="Times New Roman" panose="02020603050405020304" pitchFamily="18" charset="0"/>
            </a:endParaRPr>
          </a:p>
        </p:txBody>
      </p:sp>
      <p:sp>
        <p:nvSpPr>
          <p:cNvPr id="8" name="Пятиугольник 7"/>
          <p:cNvSpPr/>
          <p:nvPr>
            <p:custDataLst>
              <p:tags r:id="rId1"/>
            </p:custDataLst>
          </p:nvPr>
        </p:nvSpPr>
        <p:spPr>
          <a:xfrm>
            <a:off x="9091950" y="4973794"/>
            <a:ext cx="2414250" cy="720000"/>
          </a:xfrm>
          <a:prstGeom prst="homePlate">
            <a:avLst>
              <a:gd name="adj" fmla="val 16434"/>
            </a:avLst>
          </a:prstGeom>
          <a:solidFill>
            <a:schemeClr val="accent3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91277" tIns="45639" rIns="91277" bIns="45639" rtlCol="0" anchor="ctr"/>
          <a:lstStyle/>
          <a:p>
            <a:pPr algn="ctr" defTabSz="912737">
              <a:defRPr/>
            </a:pPr>
            <a:r>
              <a:rPr lang="ru-RU" sz="1200" b="1" dirty="0"/>
              <a:t>РЦК</a:t>
            </a:r>
          </a:p>
          <a:p>
            <a:pPr algn="ctr" defTabSz="912737">
              <a:defRPr/>
            </a:pPr>
            <a:r>
              <a:rPr lang="ru-RU" sz="1200" b="1" dirty="0"/>
              <a:t>80% на площадке</a:t>
            </a:r>
          </a:p>
        </p:txBody>
      </p:sp>
      <p:sp>
        <p:nvSpPr>
          <p:cNvPr id="9" name="Пятиугольник 8"/>
          <p:cNvSpPr/>
          <p:nvPr>
            <p:custDataLst>
              <p:tags r:id="rId2"/>
            </p:custDataLst>
          </p:nvPr>
        </p:nvSpPr>
        <p:spPr>
          <a:xfrm>
            <a:off x="8806200" y="4223881"/>
            <a:ext cx="2700000" cy="720000"/>
          </a:xfrm>
          <a:prstGeom prst="homePlate">
            <a:avLst>
              <a:gd name="adj" fmla="val 16434"/>
            </a:avLst>
          </a:prstGeom>
          <a:pattFill prst="ltUpDiag">
            <a:fgClr>
              <a:schemeClr val="tx2">
                <a:lumMod val="10000"/>
                <a:lumOff val="90000"/>
              </a:schemeClr>
            </a:fgClr>
            <a:bgClr>
              <a:schemeClr val="bg1"/>
            </a:bgClr>
          </a:pattFill>
          <a:ln>
            <a:solidFill>
              <a:schemeClr val="tx2">
                <a:lumMod val="10000"/>
                <a:lumOff val="9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5197" tIns="32604" rIns="65197" bIns="32604" rtlCol="0" anchor="ctr"/>
          <a:lstStyle/>
          <a:p>
            <a:pPr algn="ctr"/>
            <a:r>
              <a:rPr lang="ru-RU" sz="1100" dirty="0">
                <a:solidFill>
                  <a:schemeClr val="tx2">
                    <a:lumMod val="75000"/>
                  </a:schemeClr>
                </a:solidFill>
              </a:rPr>
              <a:t>Внедрение улучшений</a:t>
            </a:r>
          </a:p>
          <a:p>
            <a:pPr algn="ctr"/>
            <a:r>
              <a:rPr lang="ru-RU" sz="1100" dirty="0">
                <a:solidFill>
                  <a:schemeClr val="tx2">
                    <a:lumMod val="75000"/>
                  </a:schemeClr>
                </a:solidFill>
              </a:rPr>
              <a:t>(поддержка)</a:t>
            </a:r>
          </a:p>
          <a:p>
            <a:pPr algn="ctr"/>
            <a:r>
              <a:rPr lang="ru-RU" sz="1100" b="1" dirty="0">
                <a:solidFill>
                  <a:schemeClr val="tx2">
                    <a:lumMod val="75000"/>
                  </a:schemeClr>
                </a:solidFill>
              </a:rPr>
              <a:t>20% на площадке</a:t>
            </a:r>
          </a:p>
        </p:txBody>
      </p:sp>
      <p:sp>
        <p:nvSpPr>
          <p:cNvPr id="10" name="Пятиугольник 9"/>
          <p:cNvSpPr/>
          <p:nvPr>
            <p:custDataLst>
              <p:tags r:id="rId3"/>
            </p:custDataLst>
          </p:nvPr>
        </p:nvSpPr>
        <p:spPr>
          <a:xfrm>
            <a:off x="3691950" y="2741329"/>
            <a:ext cx="2700000" cy="720000"/>
          </a:xfrm>
          <a:prstGeom prst="homePlate">
            <a:avLst>
              <a:gd name="adj" fmla="val 16434"/>
            </a:avLst>
          </a:prstGeom>
          <a:pattFill prst="ltUpDiag">
            <a:fgClr>
              <a:schemeClr val="tx2">
                <a:lumMod val="10000"/>
                <a:lumOff val="90000"/>
              </a:schemeClr>
            </a:fgClr>
            <a:bgClr>
              <a:schemeClr val="bg1"/>
            </a:bgClr>
          </a:pattFill>
          <a:ln>
            <a:solidFill>
              <a:schemeClr val="tx2">
                <a:lumMod val="10000"/>
                <a:lumOff val="9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5197" tIns="32604" rIns="65197" bIns="32604" rtlCol="0" anchor="ctr"/>
          <a:lstStyle/>
          <a:p>
            <a:pPr algn="ctr"/>
            <a:r>
              <a:rPr lang="ru-RU" sz="1100" dirty="0">
                <a:solidFill>
                  <a:schemeClr val="tx2">
                    <a:lumMod val="75000"/>
                  </a:schemeClr>
                </a:solidFill>
              </a:rPr>
              <a:t>Внедрение улучшений</a:t>
            </a:r>
          </a:p>
          <a:p>
            <a:pPr algn="ctr"/>
            <a:r>
              <a:rPr lang="ru-RU" sz="1100" dirty="0">
                <a:solidFill>
                  <a:schemeClr val="tx2">
                    <a:lumMod val="75000"/>
                  </a:schemeClr>
                </a:solidFill>
              </a:rPr>
              <a:t>(поддержка)</a:t>
            </a:r>
          </a:p>
          <a:p>
            <a:pPr algn="ctr"/>
            <a:r>
              <a:rPr lang="ru-RU" sz="1100" b="1" dirty="0">
                <a:solidFill>
                  <a:schemeClr val="tx2">
                    <a:lumMod val="75000"/>
                  </a:schemeClr>
                </a:solidFill>
              </a:rPr>
              <a:t>20% на площадке</a:t>
            </a:r>
          </a:p>
        </p:txBody>
      </p:sp>
      <p:sp>
        <p:nvSpPr>
          <p:cNvPr id="11" name="Пятиугольник 10"/>
          <p:cNvSpPr/>
          <p:nvPr>
            <p:custDataLst>
              <p:tags r:id="rId4"/>
            </p:custDataLst>
          </p:nvPr>
        </p:nvSpPr>
        <p:spPr>
          <a:xfrm>
            <a:off x="1171950" y="2741329"/>
            <a:ext cx="2700000" cy="720000"/>
          </a:xfrm>
          <a:prstGeom prst="homePlate">
            <a:avLst>
              <a:gd name="adj" fmla="val 14858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5197" tIns="32604" rIns="65197" bIns="32604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Диагностика и целевое состояние</a:t>
            </a:r>
          </a:p>
          <a:p>
            <a:pPr algn="ctr"/>
            <a:r>
              <a:rPr lang="ru-RU" sz="1200" b="1" dirty="0">
                <a:solidFill>
                  <a:schemeClr val="bg1"/>
                </a:solidFill>
              </a:rPr>
              <a:t>80% на площадке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08269" y="2216296"/>
            <a:ext cx="1367660" cy="307766"/>
          </a:xfrm>
          <a:prstGeom prst="rect">
            <a:avLst/>
          </a:prstGeom>
          <a:noFill/>
        </p:spPr>
        <p:txBody>
          <a:bodyPr wrap="none" lIns="91277" tIns="45639" rIns="91277" bIns="45639" rtlCol="0">
            <a:spAutoFit/>
          </a:bodyPr>
          <a:lstStyle>
            <a:defPPr>
              <a:defRPr lang="en-US"/>
            </a:defPPr>
            <a:lvl1pPr algn="ctr" defTabSz="1280160"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ru-RU" sz="1400" dirty="0"/>
              <a:t>Предприятие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1079529" y="5706194"/>
            <a:ext cx="968753" cy="657516"/>
          </a:xfrm>
          <a:prstGeom prst="rect">
            <a:avLst/>
          </a:prstGeom>
          <a:noFill/>
        </p:spPr>
        <p:txBody>
          <a:bodyPr wrap="square" lIns="91277" tIns="45639" rIns="91277" bIns="45639" rtlCol="0">
            <a:spAutoFit/>
          </a:bodyPr>
          <a:lstStyle/>
          <a:p>
            <a:pPr algn="ctr" defTabSz="912737"/>
            <a:r>
              <a:rPr lang="ru-RU" sz="1200" b="1" dirty="0"/>
              <a:t>Оценка со стороны ФЦК</a:t>
            </a:r>
          </a:p>
        </p:txBody>
      </p:sp>
      <p:cxnSp>
        <p:nvCxnSpPr>
          <p:cNvPr id="14" name="Прямая со стрелкой 13"/>
          <p:cNvCxnSpPr/>
          <p:nvPr/>
        </p:nvCxnSpPr>
        <p:spPr>
          <a:xfrm>
            <a:off x="1171949" y="2608794"/>
            <a:ext cx="10772401" cy="0"/>
          </a:xfrm>
          <a:prstGeom prst="straightConnector1">
            <a:avLst/>
          </a:prstGeom>
          <a:ln w="9525">
            <a:solidFill>
              <a:schemeClr val="bg1">
                <a:lumMod val="50000"/>
              </a:schemeClr>
            </a:solidFill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7" name="Группа 26"/>
          <p:cNvGrpSpPr/>
          <p:nvPr/>
        </p:nvGrpSpPr>
        <p:grpSpPr>
          <a:xfrm>
            <a:off x="11356573" y="2510683"/>
            <a:ext cx="201556" cy="173572"/>
            <a:chOff x="1859935" y="3879483"/>
            <a:chExt cx="324000" cy="324000"/>
          </a:xfrm>
        </p:grpSpPr>
        <p:sp>
          <p:nvSpPr>
            <p:cNvPr id="29" name="Овал 28"/>
            <p:cNvSpPr/>
            <p:nvPr/>
          </p:nvSpPr>
          <p:spPr>
            <a:xfrm>
              <a:off x="1859935" y="3879483"/>
              <a:ext cx="324000" cy="3240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Овал 27"/>
            <p:cNvSpPr/>
            <p:nvPr/>
          </p:nvSpPr>
          <p:spPr>
            <a:xfrm>
              <a:off x="1913934" y="3936844"/>
              <a:ext cx="216000" cy="216001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0" name="TextBox 29"/>
          <p:cNvSpPr txBox="1"/>
          <p:nvPr/>
        </p:nvSpPr>
        <p:spPr>
          <a:xfrm>
            <a:off x="11079529" y="2216296"/>
            <a:ext cx="712865" cy="307766"/>
          </a:xfrm>
          <a:prstGeom prst="rect">
            <a:avLst/>
          </a:prstGeom>
          <a:noFill/>
        </p:spPr>
        <p:txBody>
          <a:bodyPr wrap="none" lIns="91277" tIns="45639" rIns="91277" bIns="45639" rtlCol="0">
            <a:spAutoFit/>
          </a:bodyPr>
          <a:lstStyle/>
          <a:p>
            <a:pPr algn="ctr" defTabSz="912737"/>
            <a:r>
              <a:rPr lang="ru-RU" sz="1400" b="1" dirty="0">
                <a:solidFill>
                  <a:srgbClr val="000000"/>
                </a:solidFill>
              </a:rPr>
              <a:t>3 мес.</a:t>
            </a:r>
          </a:p>
        </p:txBody>
      </p:sp>
      <p:sp>
        <p:nvSpPr>
          <p:cNvPr id="31" name="Пятиугольник 30"/>
          <p:cNvSpPr/>
          <p:nvPr>
            <p:custDataLst>
              <p:tags r:id="rId5"/>
            </p:custDataLst>
          </p:nvPr>
        </p:nvSpPr>
        <p:spPr>
          <a:xfrm>
            <a:off x="1171949" y="4973794"/>
            <a:ext cx="8057775" cy="720000"/>
          </a:xfrm>
          <a:prstGeom prst="homePlate">
            <a:avLst>
              <a:gd name="adj" fmla="val 14858"/>
            </a:avLst>
          </a:prstGeom>
          <a:solidFill>
            <a:schemeClr val="bg1"/>
          </a:solidFill>
          <a:ln w="25400" cap="flat" cmpd="sng" algn="ctr">
            <a:solidFill>
              <a:schemeClr val="accent2"/>
            </a:solidFill>
            <a:prstDash val="solid"/>
          </a:ln>
          <a:effectLst/>
        </p:spPr>
        <p:txBody>
          <a:bodyPr lIns="107804" tIns="45639" rIns="91277" bIns="45639" rtlCol="0" anchor="ctr"/>
          <a:lstStyle/>
          <a:p>
            <a:pPr algn="ctr" defTabSz="956079"/>
            <a:r>
              <a:rPr lang="ru-RU" sz="1200" b="1" kern="0" dirty="0"/>
              <a:t>ФЦК требуется 9 месяцев для создания РЦК:</a:t>
            </a:r>
          </a:p>
          <a:p>
            <a:pPr algn="ctr" defTabSz="956079"/>
            <a:r>
              <a:rPr lang="ru-RU" sz="1200" kern="0" dirty="0"/>
              <a:t>подбор, обучение на площадке, сертификация экспертов</a:t>
            </a:r>
          </a:p>
        </p:txBody>
      </p:sp>
      <p:sp>
        <p:nvSpPr>
          <p:cNvPr id="32" name="Пятиугольник 31"/>
          <p:cNvSpPr/>
          <p:nvPr>
            <p:custDataLst>
              <p:tags r:id="rId6"/>
            </p:custDataLst>
          </p:nvPr>
        </p:nvSpPr>
        <p:spPr>
          <a:xfrm>
            <a:off x="6275535" y="3480379"/>
            <a:ext cx="2700000" cy="720000"/>
          </a:xfrm>
          <a:prstGeom prst="homePlate">
            <a:avLst>
              <a:gd name="adj" fmla="val 16434"/>
            </a:avLst>
          </a:prstGeom>
          <a:pattFill prst="ltUpDiag">
            <a:fgClr>
              <a:schemeClr val="tx2">
                <a:lumMod val="10000"/>
                <a:lumOff val="90000"/>
              </a:schemeClr>
            </a:fgClr>
            <a:bgClr>
              <a:schemeClr val="bg1"/>
            </a:bgClr>
          </a:pattFill>
          <a:ln>
            <a:solidFill>
              <a:schemeClr val="tx2">
                <a:lumMod val="10000"/>
                <a:lumOff val="9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5197" tIns="32604" rIns="65197" bIns="32604" rtlCol="0" anchor="ctr"/>
          <a:lstStyle/>
          <a:p>
            <a:pPr algn="ctr"/>
            <a:r>
              <a:rPr lang="ru-RU" sz="1100" dirty="0">
                <a:solidFill>
                  <a:schemeClr val="tx2">
                    <a:lumMod val="75000"/>
                  </a:schemeClr>
                </a:solidFill>
              </a:rPr>
              <a:t>Внедрение улучшений</a:t>
            </a:r>
          </a:p>
          <a:p>
            <a:pPr algn="ctr"/>
            <a:r>
              <a:rPr lang="ru-RU" sz="1100" dirty="0">
                <a:solidFill>
                  <a:schemeClr val="tx2">
                    <a:lumMod val="75000"/>
                  </a:schemeClr>
                </a:solidFill>
              </a:rPr>
              <a:t>(поддержка)</a:t>
            </a:r>
          </a:p>
          <a:p>
            <a:pPr algn="ctr"/>
            <a:r>
              <a:rPr lang="ru-RU" sz="1100" b="1" dirty="0">
                <a:solidFill>
                  <a:schemeClr val="tx2">
                    <a:lumMod val="75000"/>
                  </a:schemeClr>
                </a:solidFill>
              </a:rPr>
              <a:t>20% на площадке</a:t>
            </a:r>
          </a:p>
        </p:txBody>
      </p:sp>
      <p:sp>
        <p:nvSpPr>
          <p:cNvPr id="33" name="Пятиугольник 32"/>
          <p:cNvSpPr/>
          <p:nvPr>
            <p:custDataLst>
              <p:tags r:id="rId7"/>
            </p:custDataLst>
          </p:nvPr>
        </p:nvSpPr>
        <p:spPr>
          <a:xfrm>
            <a:off x="3701475" y="3480379"/>
            <a:ext cx="2700000" cy="720000"/>
          </a:xfrm>
          <a:prstGeom prst="homePlate">
            <a:avLst>
              <a:gd name="adj" fmla="val 14858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5197" tIns="32604" rIns="65197" bIns="32604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Диагностика и целевое состояние</a:t>
            </a:r>
          </a:p>
          <a:p>
            <a:pPr algn="ctr"/>
            <a:r>
              <a:rPr lang="ru-RU" sz="1200" b="1" dirty="0">
                <a:solidFill>
                  <a:schemeClr val="bg1"/>
                </a:solidFill>
              </a:rPr>
              <a:t>80% на площадке</a:t>
            </a:r>
          </a:p>
        </p:txBody>
      </p:sp>
      <p:sp>
        <p:nvSpPr>
          <p:cNvPr id="34" name="Пятиугольник 33"/>
          <p:cNvSpPr/>
          <p:nvPr>
            <p:custDataLst>
              <p:tags r:id="rId8"/>
            </p:custDataLst>
          </p:nvPr>
        </p:nvSpPr>
        <p:spPr>
          <a:xfrm>
            <a:off x="6275535" y="4223881"/>
            <a:ext cx="2700000" cy="720000"/>
          </a:xfrm>
          <a:prstGeom prst="homePlate">
            <a:avLst>
              <a:gd name="adj" fmla="val 14858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5197" tIns="32604" rIns="65197" bIns="32604"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Диагностика и целевое состояние</a:t>
            </a:r>
          </a:p>
          <a:p>
            <a:pPr algn="ctr"/>
            <a:r>
              <a:rPr lang="ru-RU" sz="1200" b="1" dirty="0">
                <a:solidFill>
                  <a:schemeClr val="bg1"/>
                </a:solidFill>
              </a:rPr>
              <a:t>80% на площадке</a:t>
            </a:r>
          </a:p>
        </p:txBody>
      </p:sp>
      <p:sp>
        <p:nvSpPr>
          <p:cNvPr id="35" name="Равнобедренный треугольник 34"/>
          <p:cNvSpPr/>
          <p:nvPr/>
        </p:nvSpPr>
        <p:spPr>
          <a:xfrm rot="10800000">
            <a:off x="11455894" y="5266836"/>
            <a:ext cx="216024" cy="248215"/>
          </a:xfrm>
          <a:prstGeom prst="triangle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lIns="91277" tIns="45639" rIns="91277" bIns="45639" rtlCol="0" anchor="ctr"/>
          <a:lstStyle/>
          <a:p>
            <a:pPr algn="ctr" defTabSz="912737">
              <a:defRPr/>
            </a:pPr>
            <a:endParaRPr lang="ru-RU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326850" y="2947446"/>
            <a:ext cx="484405" cy="307766"/>
          </a:xfrm>
          <a:prstGeom prst="rect">
            <a:avLst/>
          </a:prstGeom>
          <a:noFill/>
        </p:spPr>
        <p:txBody>
          <a:bodyPr wrap="none" lIns="91277" tIns="45639" rIns="91277" bIns="45639" rtlCol="0">
            <a:spAutoFit/>
          </a:bodyPr>
          <a:lstStyle/>
          <a:p>
            <a:pPr algn="ctr" defTabSz="912737"/>
            <a:r>
              <a:rPr lang="ru-RU" sz="1400" b="1" dirty="0">
                <a:solidFill>
                  <a:srgbClr val="000000"/>
                </a:solidFill>
              </a:rPr>
              <a:t>№1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36103" y="3686496"/>
            <a:ext cx="484405" cy="307766"/>
          </a:xfrm>
          <a:prstGeom prst="rect">
            <a:avLst/>
          </a:prstGeom>
          <a:noFill/>
        </p:spPr>
        <p:txBody>
          <a:bodyPr wrap="none" lIns="91277" tIns="45639" rIns="91277" bIns="45639" rtlCol="0">
            <a:spAutoFit/>
          </a:bodyPr>
          <a:lstStyle/>
          <a:p>
            <a:pPr algn="ctr" defTabSz="912737"/>
            <a:r>
              <a:rPr lang="ru-RU" sz="1400" b="1" dirty="0">
                <a:solidFill>
                  <a:srgbClr val="000000"/>
                </a:solidFill>
              </a:rPr>
              <a:t>№2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336103" y="4429998"/>
            <a:ext cx="484405" cy="307766"/>
          </a:xfrm>
          <a:prstGeom prst="rect">
            <a:avLst/>
          </a:prstGeom>
          <a:noFill/>
        </p:spPr>
        <p:txBody>
          <a:bodyPr wrap="none" lIns="91277" tIns="45639" rIns="91277" bIns="45639" rtlCol="0">
            <a:spAutoFit/>
          </a:bodyPr>
          <a:lstStyle/>
          <a:p>
            <a:pPr algn="ctr" defTabSz="912737"/>
            <a:r>
              <a:rPr lang="ru-RU" sz="1400" b="1" dirty="0">
                <a:solidFill>
                  <a:srgbClr val="000000"/>
                </a:solidFill>
              </a:rPr>
              <a:t>№3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336103" y="5179910"/>
            <a:ext cx="484405" cy="307766"/>
          </a:xfrm>
          <a:prstGeom prst="rect">
            <a:avLst/>
          </a:prstGeom>
          <a:noFill/>
        </p:spPr>
        <p:txBody>
          <a:bodyPr wrap="none" lIns="91277" tIns="45639" rIns="91277" bIns="45639" rtlCol="0">
            <a:spAutoFit/>
          </a:bodyPr>
          <a:lstStyle/>
          <a:p>
            <a:pPr algn="ctr" defTabSz="912737"/>
            <a:r>
              <a:rPr lang="ru-RU" sz="1400" b="1" dirty="0">
                <a:solidFill>
                  <a:srgbClr val="000000"/>
                </a:solidFill>
              </a:rPr>
              <a:t>№4</a:t>
            </a:r>
          </a:p>
        </p:txBody>
      </p:sp>
      <p:sp>
        <p:nvSpPr>
          <p:cNvPr id="40" name="Пятиугольник 39"/>
          <p:cNvSpPr/>
          <p:nvPr>
            <p:custDataLst>
              <p:tags r:id="rId9"/>
            </p:custDataLst>
          </p:nvPr>
        </p:nvSpPr>
        <p:spPr>
          <a:xfrm>
            <a:off x="1366063" y="6103306"/>
            <a:ext cx="279514" cy="213042"/>
          </a:xfrm>
          <a:prstGeom prst="homePlate">
            <a:avLst>
              <a:gd name="adj" fmla="val 16434"/>
            </a:avLst>
          </a:prstGeom>
          <a:pattFill prst="dkUpDiag">
            <a:fgClr>
              <a:schemeClr val="tx2">
                <a:lumMod val="10000"/>
                <a:lumOff val="90000"/>
              </a:schemeClr>
            </a:fgClr>
            <a:bgClr>
              <a:schemeClr val="bg1"/>
            </a:bgClr>
          </a:pattFill>
          <a:ln>
            <a:solidFill>
              <a:schemeClr val="tx2">
                <a:lumMod val="10000"/>
                <a:lumOff val="9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5197" tIns="32604" rIns="65197" bIns="32604" rtlCol="0" anchor="ctr"/>
          <a:lstStyle/>
          <a:p>
            <a:pPr algn="ctr"/>
            <a:endParaRPr lang="ru-RU" sz="12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1" name="Пятиугольник 40"/>
          <p:cNvSpPr/>
          <p:nvPr>
            <p:custDataLst>
              <p:tags r:id="rId10"/>
            </p:custDataLst>
          </p:nvPr>
        </p:nvSpPr>
        <p:spPr>
          <a:xfrm>
            <a:off x="1132288" y="6103306"/>
            <a:ext cx="279514" cy="213042"/>
          </a:xfrm>
          <a:prstGeom prst="homePlate">
            <a:avLst>
              <a:gd name="adj" fmla="val 14858"/>
            </a:avLst>
          </a:prstGeom>
          <a:solidFill>
            <a:schemeClr val="accent2"/>
          </a:solidFill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5197" tIns="32604" rIns="65197" bIns="32604" rtlCol="0" anchor="ctr"/>
          <a:lstStyle/>
          <a:p>
            <a:pPr algn="ctr"/>
            <a:endParaRPr lang="ru-RU" sz="13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2" name="Пятиугольник 41"/>
          <p:cNvSpPr/>
          <p:nvPr>
            <p:custDataLst>
              <p:tags r:id="rId11"/>
            </p:custDataLst>
          </p:nvPr>
        </p:nvSpPr>
        <p:spPr>
          <a:xfrm>
            <a:off x="3043122" y="6099982"/>
            <a:ext cx="559029" cy="223586"/>
          </a:xfrm>
          <a:prstGeom prst="homePlate">
            <a:avLst>
              <a:gd name="adj" fmla="val 14858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5197" tIns="32604" rIns="65197" bIns="32604" rtlCol="0" anchor="ctr"/>
          <a:lstStyle/>
          <a:p>
            <a:pPr algn="ctr"/>
            <a:endParaRPr lang="ru-RU" sz="13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675929" y="6055944"/>
            <a:ext cx="1239740" cy="307766"/>
          </a:xfrm>
          <a:prstGeom prst="rect">
            <a:avLst/>
          </a:prstGeom>
          <a:noFill/>
        </p:spPr>
        <p:txBody>
          <a:bodyPr wrap="none" lIns="91277" tIns="45639" rIns="91277" bIns="45639" rtlCol="0">
            <a:spAutoFit/>
          </a:bodyPr>
          <a:lstStyle>
            <a:defPPr>
              <a:defRPr lang="en-US"/>
            </a:defPPr>
            <a:lvl1pPr algn="ctr" defTabSz="1280160"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ru-RU" sz="1400" dirty="0"/>
              <a:t>работа ФЦК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3636913" y="6055944"/>
            <a:ext cx="1206077" cy="307766"/>
          </a:xfrm>
          <a:prstGeom prst="rect">
            <a:avLst/>
          </a:prstGeom>
          <a:noFill/>
        </p:spPr>
        <p:txBody>
          <a:bodyPr wrap="none" lIns="91277" tIns="45639" rIns="91277" bIns="45639" rtlCol="0">
            <a:spAutoFit/>
          </a:bodyPr>
          <a:lstStyle>
            <a:defPPr>
              <a:defRPr lang="en-US"/>
            </a:defPPr>
            <a:lvl1pPr algn="ctr" defTabSz="1280160"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ru-RU" sz="1400" dirty="0"/>
              <a:t>работа РЦК</a:t>
            </a:r>
          </a:p>
        </p:txBody>
      </p:sp>
      <p:grpSp>
        <p:nvGrpSpPr>
          <p:cNvPr id="49" name="Группа 48"/>
          <p:cNvGrpSpPr/>
          <p:nvPr/>
        </p:nvGrpSpPr>
        <p:grpSpPr>
          <a:xfrm>
            <a:off x="8793903" y="2499576"/>
            <a:ext cx="201556" cy="173572"/>
            <a:chOff x="1859935" y="3879483"/>
            <a:chExt cx="324000" cy="324000"/>
          </a:xfrm>
        </p:grpSpPr>
        <p:sp>
          <p:nvSpPr>
            <p:cNvPr id="50" name="Овал 49"/>
            <p:cNvSpPr/>
            <p:nvPr/>
          </p:nvSpPr>
          <p:spPr>
            <a:xfrm>
              <a:off x="1859935" y="3879483"/>
              <a:ext cx="324000" cy="3240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Овал 50"/>
            <p:cNvSpPr/>
            <p:nvPr/>
          </p:nvSpPr>
          <p:spPr>
            <a:xfrm>
              <a:off x="1913934" y="3936844"/>
              <a:ext cx="216000" cy="216001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52" name="TextBox 51"/>
          <p:cNvSpPr txBox="1"/>
          <p:nvPr/>
        </p:nvSpPr>
        <p:spPr>
          <a:xfrm>
            <a:off x="8516859" y="2205189"/>
            <a:ext cx="712865" cy="307766"/>
          </a:xfrm>
          <a:prstGeom prst="rect">
            <a:avLst/>
          </a:prstGeom>
          <a:noFill/>
        </p:spPr>
        <p:txBody>
          <a:bodyPr wrap="none" lIns="91277" tIns="45639" rIns="91277" bIns="45639" rtlCol="0">
            <a:spAutoFit/>
          </a:bodyPr>
          <a:lstStyle/>
          <a:p>
            <a:pPr algn="ctr" defTabSz="912737"/>
            <a:r>
              <a:rPr lang="ru-RU" sz="1400" b="1" dirty="0">
                <a:solidFill>
                  <a:srgbClr val="000000"/>
                </a:solidFill>
              </a:rPr>
              <a:t>3 мес.</a:t>
            </a:r>
          </a:p>
        </p:txBody>
      </p:sp>
      <p:grpSp>
        <p:nvGrpSpPr>
          <p:cNvPr id="53" name="Группа 52"/>
          <p:cNvGrpSpPr/>
          <p:nvPr/>
        </p:nvGrpSpPr>
        <p:grpSpPr>
          <a:xfrm>
            <a:off x="6160427" y="2517044"/>
            <a:ext cx="201556" cy="173572"/>
            <a:chOff x="1859935" y="3879483"/>
            <a:chExt cx="324000" cy="324000"/>
          </a:xfrm>
        </p:grpSpPr>
        <p:sp>
          <p:nvSpPr>
            <p:cNvPr id="54" name="Овал 53"/>
            <p:cNvSpPr/>
            <p:nvPr/>
          </p:nvSpPr>
          <p:spPr>
            <a:xfrm>
              <a:off x="1859935" y="3879483"/>
              <a:ext cx="324000" cy="3240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Овал 54"/>
            <p:cNvSpPr/>
            <p:nvPr/>
          </p:nvSpPr>
          <p:spPr>
            <a:xfrm>
              <a:off x="1913934" y="3936844"/>
              <a:ext cx="216000" cy="216001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56" name="TextBox 55"/>
          <p:cNvSpPr txBox="1"/>
          <p:nvPr/>
        </p:nvSpPr>
        <p:spPr>
          <a:xfrm>
            <a:off x="5883383" y="2222657"/>
            <a:ext cx="712865" cy="307766"/>
          </a:xfrm>
          <a:prstGeom prst="rect">
            <a:avLst/>
          </a:prstGeom>
          <a:noFill/>
        </p:spPr>
        <p:txBody>
          <a:bodyPr wrap="none" lIns="91277" tIns="45639" rIns="91277" bIns="45639" rtlCol="0">
            <a:spAutoFit/>
          </a:bodyPr>
          <a:lstStyle/>
          <a:p>
            <a:pPr algn="ctr" defTabSz="912737"/>
            <a:r>
              <a:rPr lang="ru-RU" sz="1400" b="1" dirty="0">
                <a:solidFill>
                  <a:srgbClr val="000000"/>
                </a:solidFill>
              </a:rPr>
              <a:t>3 мес.</a:t>
            </a:r>
          </a:p>
        </p:txBody>
      </p:sp>
      <p:grpSp>
        <p:nvGrpSpPr>
          <p:cNvPr id="57" name="Группа 56"/>
          <p:cNvGrpSpPr/>
          <p:nvPr/>
        </p:nvGrpSpPr>
        <p:grpSpPr>
          <a:xfrm>
            <a:off x="3672388" y="2517044"/>
            <a:ext cx="201556" cy="173572"/>
            <a:chOff x="1859935" y="3879483"/>
            <a:chExt cx="324000" cy="324000"/>
          </a:xfrm>
        </p:grpSpPr>
        <p:sp>
          <p:nvSpPr>
            <p:cNvPr id="58" name="Овал 57"/>
            <p:cNvSpPr/>
            <p:nvPr/>
          </p:nvSpPr>
          <p:spPr>
            <a:xfrm>
              <a:off x="1859935" y="3879483"/>
              <a:ext cx="324000" cy="3240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Овал 58"/>
            <p:cNvSpPr/>
            <p:nvPr/>
          </p:nvSpPr>
          <p:spPr>
            <a:xfrm>
              <a:off x="1913934" y="3936844"/>
              <a:ext cx="216000" cy="216001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190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60" name="TextBox 59"/>
          <p:cNvSpPr txBox="1"/>
          <p:nvPr/>
        </p:nvSpPr>
        <p:spPr>
          <a:xfrm>
            <a:off x="3395344" y="2222657"/>
            <a:ext cx="712865" cy="307766"/>
          </a:xfrm>
          <a:prstGeom prst="rect">
            <a:avLst/>
          </a:prstGeom>
          <a:noFill/>
        </p:spPr>
        <p:txBody>
          <a:bodyPr wrap="none" lIns="91277" tIns="45639" rIns="91277" bIns="45639" rtlCol="0">
            <a:spAutoFit/>
          </a:bodyPr>
          <a:lstStyle/>
          <a:p>
            <a:pPr algn="ctr" defTabSz="912737"/>
            <a:r>
              <a:rPr lang="ru-RU" sz="1400" b="1" dirty="0">
                <a:solidFill>
                  <a:srgbClr val="000000"/>
                </a:solidFill>
              </a:rPr>
              <a:t>3 мес.</a:t>
            </a:r>
          </a:p>
        </p:txBody>
      </p:sp>
    </p:spTree>
    <p:extLst>
      <p:ext uri="{BB962C8B-B14F-4D97-AF65-F5344CB8AC3E}">
        <p14:creationId xmlns:p14="http://schemas.microsoft.com/office/powerpoint/2010/main" val="776112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CB6EBE88-5FB3-4002-9AEE-2A6A8441DC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3217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2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D1869907-05C2-4E5E-B72B-CAE2C3FB6C8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FF74ACE-27BB-450C-8877-BF9A6372A6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95" y="723933"/>
            <a:ext cx="11592000" cy="439152"/>
          </a:xfrm>
        </p:spPr>
        <p:txBody>
          <a:bodyPr>
            <a:noAutofit/>
          </a:bodyPr>
          <a:lstStyle/>
          <a:p>
            <a:r>
              <a:rPr lang="ru-RU" dirty="0"/>
              <a:t>Пример проекта ФЦК на предприятии – ООО «Аэрозоль Новомосковск», Тульская област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D77F434F-03F5-484D-BBDB-7ECA6E6453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70972B61-F262-4B6C-9EB7-D8F2EAE6CC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15</a:t>
            </a:fld>
            <a:endParaRPr lang="ru-RU" dirty="0"/>
          </a:p>
        </p:txBody>
      </p:sp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033CF466-0001-4612-B443-86BD92F2DBE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64313" y="1422400"/>
            <a:ext cx="2520000" cy="1598507"/>
          </a:xfrm>
          <a:prstGeom prst="rect">
            <a:avLst/>
          </a:prstGeom>
        </p:spPr>
      </p:pic>
      <p:sp>
        <p:nvSpPr>
          <p:cNvPr id="156" name="TextBox 155">
            <a:extLst>
              <a:ext uri="{FF2B5EF4-FFF2-40B4-BE49-F238E27FC236}">
                <a16:creationId xmlns="" xmlns:a16="http://schemas.microsoft.com/office/drawing/2014/main" id="{DE0B2500-5F0F-4DFD-B451-04EF666C11D3}"/>
              </a:ext>
            </a:extLst>
          </p:cNvPr>
          <p:cNvSpPr txBox="1"/>
          <p:nvPr/>
        </p:nvSpPr>
        <p:spPr>
          <a:xfrm>
            <a:off x="324532" y="1366865"/>
            <a:ext cx="25757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i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Показатели предприятия</a:t>
            </a:r>
          </a:p>
        </p:txBody>
      </p:sp>
      <p:pic>
        <p:nvPicPr>
          <p:cNvPr id="158" name="Рисунок 157">
            <a:extLst>
              <a:ext uri="{FF2B5EF4-FFF2-40B4-BE49-F238E27FC236}">
                <a16:creationId xmlns="" xmlns:a16="http://schemas.microsoft.com/office/drawing/2014/main" id="{B51FFF76-AC6D-4D9E-916D-2AC28818AABB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8336"/>
          <a:stretch/>
        </p:blipFill>
        <p:spPr>
          <a:xfrm>
            <a:off x="9075193" y="1422400"/>
            <a:ext cx="2520000" cy="1598507"/>
          </a:xfrm>
          <a:prstGeom prst="rect">
            <a:avLst/>
          </a:prstGeom>
        </p:spPr>
      </p:pic>
      <p:pic>
        <p:nvPicPr>
          <p:cNvPr id="159" name="Рисунок 158">
            <a:extLst>
              <a:ext uri="{FF2B5EF4-FFF2-40B4-BE49-F238E27FC236}">
                <a16:creationId xmlns="" xmlns:a16="http://schemas.microsoft.com/office/drawing/2014/main" id="{1AB8DA00-BE87-487A-B81F-CB9D5A6C364D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4624"/>
          <a:stretch/>
        </p:blipFill>
        <p:spPr>
          <a:xfrm>
            <a:off x="6572250" y="3183781"/>
            <a:ext cx="2519999" cy="1463377"/>
          </a:xfrm>
          <a:prstGeom prst="rect">
            <a:avLst/>
          </a:prstGeom>
        </p:spPr>
      </p:pic>
      <p:pic>
        <p:nvPicPr>
          <p:cNvPr id="161" name="Рисунок 160">
            <a:extLst>
              <a:ext uri="{FF2B5EF4-FFF2-40B4-BE49-F238E27FC236}">
                <a16:creationId xmlns="" xmlns:a16="http://schemas.microsoft.com/office/drawing/2014/main" id="{EAF5E4A6-FB01-4A69-94B0-9DA6E680C14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590773" y="4810031"/>
            <a:ext cx="2520000" cy="1434744"/>
          </a:xfrm>
          <a:prstGeom prst="rect">
            <a:avLst/>
          </a:prstGeom>
        </p:spPr>
      </p:pic>
      <p:pic>
        <p:nvPicPr>
          <p:cNvPr id="162" name="Рисунок 161">
            <a:extLst>
              <a:ext uri="{FF2B5EF4-FFF2-40B4-BE49-F238E27FC236}">
                <a16:creationId xmlns="" xmlns:a16="http://schemas.microsoft.com/office/drawing/2014/main" id="{A2995BD8-208C-40F6-B735-519AA6C3830D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8499"/>
          <a:stretch/>
        </p:blipFill>
        <p:spPr>
          <a:xfrm>
            <a:off x="9075193" y="4810031"/>
            <a:ext cx="2520000" cy="1434744"/>
          </a:xfrm>
          <a:prstGeom prst="rect">
            <a:avLst/>
          </a:prstGeom>
        </p:spPr>
      </p:pic>
      <p:pic>
        <p:nvPicPr>
          <p:cNvPr id="160" name="Рисунок 159">
            <a:extLst>
              <a:ext uri="{FF2B5EF4-FFF2-40B4-BE49-F238E27FC236}">
                <a16:creationId xmlns="" xmlns:a16="http://schemas.microsoft.com/office/drawing/2014/main" id="{A8C8B1E6-E69C-4614-B781-6AA48DCEBC80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b="4405"/>
          <a:stretch/>
        </p:blipFill>
        <p:spPr>
          <a:xfrm>
            <a:off x="9075193" y="3185613"/>
            <a:ext cx="2520000" cy="1459713"/>
          </a:xfrm>
          <a:prstGeom prst="rect">
            <a:avLst/>
          </a:prstGeom>
        </p:spPr>
      </p:pic>
      <p:cxnSp>
        <p:nvCxnSpPr>
          <p:cNvPr id="172" name="Прямая соединительная линия 171">
            <a:extLst>
              <a:ext uri="{FF2B5EF4-FFF2-40B4-BE49-F238E27FC236}">
                <a16:creationId xmlns="" xmlns:a16="http://schemas.microsoft.com/office/drawing/2014/main" id="{46EBFC0A-A3C8-488D-B47B-F363CC3DDAB1}"/>
              </a:ext>
            </a:extLst>
          </p:cNvPr>
          <p:cNvCxnSpPr/>
          <p:nvPr/>
        </p:nvCxnSpPr>
        <p:spPr>
          <a:xfrm>
            <a:off x="9075193" y="1409699"/>
            <a:ext cx="0" cy="4860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69" name="Стрелка: шеврон 168">
            <a:extLst>
              <a:ext uri="{FF2B5EF4-FFF2-40B4-BE49-F238E27FC236}">
                <a16:creationId xmlns="" xmlns:a16="http://schemas.microsoft.com/office/drawing/2014/main" id="{740957A5-E0DC-4CBA-B364-0166A4510991}"/>
              </a:ext>
            </a:extLst>
          </p:cNvPr>
          <p:cNvSpPr/>
          <p:nvPr/>
        </p:nvSpPr>
        <p:spPr>
          <a:xfrm>
            <a:off x="8888782" y="1946513"/>
            <a:ext cx="320674" cy="569674"/>
          </a:xfrm>
          <a:prstGeom prst="chevron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70" name="Стрелка: шеврон 169">
            <a:extLst>
              <a:ext uri="{FF2B5EF4-FFF2-40B4-BE49-F238E27FC236}">
                <a16:creationId xmlns="" xmlns:a16="http://schemas.microsoft.com/office/drawing/2014/main" id="{34C948B0-8F0A-40D9-BA9B-F26250A9F697}"/>
              </a:ext>
            </a:extLst>
          </p:cNvPr>
          <p:cNvSpPr/>
          <p:nvPr/>
        </p:nvSpPr>
        <p:spPr>
          <a:xfrm>
            <a:off x="8888782" y="3661013"/>
            <a:ext cx="320674" cy="569674"/>
          </a:xfrm>
          <a:prstGeom prst="chevron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73" name="Стрелка: шеврон 172">
            <a:extLst>
              <a:ext uri="{FF2B5EF4-FFF2-40B4-BE49-F238E27FC236}">
                <a16:creationId xmlns="" xmlns:a16="http://schemas.microsoft.com/office/drawing/2014/main" id="{EF3F0BF4-98BF-4F7A-9090-0179D90651A3}"/>
              </a:ext>
            </a:extLst>
          </p:cNvPr>
          <p:cNvSpPr/>
          <p:nvPr/>
        </p:nvSpPr>
        <p:spPr>
          <a:xfrm>
            <a:off x="8888782" y="5248513"/>
            <a:ext cx="320674" cy="569674"/>
          </a:xfrm>
          <a:prstGeom prst="chevron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74" name="Прямоугольник 173">
            <a:extLst>
              <a:ext uri="{FF2B5EF4-FFF2-40B4-BE49-F238E27FC236}">
                <a16:creationId xmlns="" xmlns:a16="http://schemas.microsoft.com/office/drawing/2014/main" id="{BE134E27-F488-4D44-8C29-ADBE5546626B}"/>
              </a:ext>
            </a:extLst>
          </p:cNvPr>
          <p:cNvSpPr/>
          <p:nvPr/>
        </p:nvSpPr>
        <p:spPr>
          <a:xfrm>
            <a:off x="3151550" y="6496753"/>
            <a:ext cx="2088000" cy="28788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5" name="TextBox 174">
            <a:extLst>
              <a:ext uri="{FF2B5EF4-FFF2-40B4-BE49-F238E27FC236}">
                <a16:creationId xmlns="" xmlns:a16="http://schemas.microsoft.com/office/drawing/2014/main" id="{0E0D2C04-7977-4DDD-B90F-A100E1D742C1}"/>
              </a:ext>
            </a:extLst>
          </p:cNvPr>
          <p:cNvSpPr txBox="1"/>
          <p:nvPr/>
        </p:nvSpPr>
        <p:spPr>
          <a:xfrm>
            <a:off x="1406230" y="6467143"/>
            <a:ext cx="39081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Больше примеров:   </a:t>
            </a:r>
            <a:r>
              <a:rPr lang="ru-RU" sz="1400" dirty="0" err="1">
                <a:solidFill>
                  <a:schemeClr val="bg1"/>
                </a:solidFill>
              </a:rPr>
              <a:t>производительность.рф</a:t>
            </a:r>
            <a:endParaRPr lang="ru-RU" sz="1400" dirty="0">
              <a:solidFill>
                <a:schemeClr val="bg1"/>
              </a:solidFill>
            </a:endParaRPr>
          </a:p>
        </p:txBody>
      </p:sp>
      <p:graphicFrame>
        <p:nvGraphicFramePr>
          <p:cNvPr id="206" name="Таблица 205">
            <a:extLst>
              <a:ext uri="{FF2B5EF4-FFF2-40B4-BE49-F238E27FC236}">
                <a16:creationId xmlns="" xmlns:a16="http://schemas.microsoft.com/office/drawing/2014/main" id="{CE0BCC74-8854-45C8-8519-67CE154038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3267785"/>
              </p:ext>
            </p:extLst>
          </p:nvPr>
        </p:nvGraphicFramePr>
        <p:xfrm>
          <a:off x="371595" y="1727689"/>
          <a:ext cx="5752140" cy="4536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00856">
                  <a:extLst>
                    <a:ext uri="{9D8B030D-6E8A-4147-A177-3AD203B41FA5}">
                      <a16:colId xmlns="" xmlns:a16="http://schemas.microsoft.com/office/drawing/2014/main" val="3623355244"/>
                    </a:ext>
                  </a:extLst>
                </a:gridCol>
                <a:gridCol w="1012359">
                  <a:extLst>
                    <a:ext uri="{9D8B030D-6E8A-4147-A177-3AD203B41FA5}">
                      <a16:colId xmlns="" xmlns:a16="http://schemas.microsoft.com/office/drawing/2014/main" val="2951402363"/>
                    </a:ext>
                  </a:extLst>
                </a:gridCol>
                <a:gridCol w="713283">
                  <a:extLst>
                    <a:ext uri="{9D8B030D-6E8A-4147-A177-3AD203B41FA5}">
                      <a16:colId xmlns="" xmlns:a16="http://schemas.microsoft.com/office/drawing/2014/main" val="2517696386"/>
                    </a:ext>
                  </a:extLst>
                </a:gridCol>
                <a:gridCol w="862821">
                  <a:extLst>
                    <a:ext uri="{9D8B030D-6E8A-4147-A177-3AD203B41FA5}">
                      <a16:colId xmlns="" xmlns:a16="http://schemas.microsoft.com/office/drawing/2014/main" val="1386653311"/>
                    </a:ext>
                  </a:extLst>
                </a:gridCol>
                <a:gridCol w="862821">
                  <a:extLst>
                    <a:ext uri="{9D8B030D-6E8A-4147-A177-3AD203B41FA5}">
                      <a16:colId xmlns="" xmlns:a16="http://schemas.microsoft.com/office/drawing/2014/main" val="1753406990"/>
                    </a:ext>
                  </a:extLst>
                </a:gridCol>
              </a:tblGrid>
              <a:tr h="504000"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b="1" u="none" strike="noStrike" dirty="0">
                          <a:effectLst/>
                          <a:latin typeface="+mj-lt"/>
                        </a:rPr>
                        <a:t>Производительность</a:t>
                      </a:r>
                      <a:r>
                        <a:rPr lang="en-US" sz="1400" b="1" u="none" strike="noStrike" dirty="0">
                          <a:effectLst/>
                          <a:latin typeface="+mj-lt"/>
                        </a:rPr>
                        <a:t/>
                      </a:r>
                      <a:br>
                        <a:rPr lang="en-US" sz="1400" b="1" u="none" strike="noStrike" dirty="0">
                          <a:effectLst/>
                          <a:latin typeface="+mj-lt"/>
                        </a:rPr>
                      </a:br>
                      <a:r>
                        <a:rPr lang="ru-RU" sz="1400" b="1" u="none" strike="noStrike" dirty="0">
                          <a:effectLst/>
                          <a:latin typeface="+mj-lt"/>
                        </a:rPr>
                        <a:t>труд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i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j-lt"/>
                        </a:rPr>
                        <a:t>млн руб. / чел.</a:t>
                      </a:r>
                      <a:endParaRPr lang="ru-RU" sz="1400" b="0" i="1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spcAft>
                          <a:spcPts val="60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,7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spcAft>
                          <a:spcPts val="60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,2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spcAft>
                          <a:spcPts val="600"/>
                        </a:spcAft>
                      </a:pPr>
                      <a:r>
                        <a:rPr lang="ru-RU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+10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13212184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b="1" u="none" strike="noStrike" dirty="0">
                          <a:effectLst/>
                          <a:latin typeface="+mj-lt"/>
                        </a:rPr>
                        <a:t>Выручк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endParaRPr lang="ru-RU" sz="1400" b="0" i="1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spcAft>
                          <a:spcPts val="600"/>
                        </a:spcAft>
                      </a:pP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spcAft>
                          <a:spcPts val="600"/>
                        </a:spcAft>
                      </a:pP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spcAft>
                          <a:spcPts val="600"/>
                        </a:spcAft>
                      </a:pPr>
                      <a:r>
                        <a:rPr lang="ru-RU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+17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636282816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b="1" u="none" strike="noStrike">
                          <a:effectLst/>
                          <a:latin typeface="+mj-lt"/>
                        </a:rPr>
                        <a:t>Доля полных затрат в выручке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i="1" u="none" strike="noStrike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j-lt"/>
                        </a:rPr>
                        <a:t>%</a:t>
                      </a:r>
                      <a:endParaRPr lang="ru-RU" sz="1400" b="0" i="1" u="none" strike="noStrike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spcAft>
                          <a:spcPts val="60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9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spcAft>
                          <a:spcPts val="60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5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spcAft>
                          <a:spcPts val="600"/>
                        </a:spcAft>
                      </a:pPr>
                      <a:r>
                        <a:rPr lang="ru-RU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-4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692270277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b="1" u="none" strike="noStrike">
                          <a:effectLst/>
                          <a:latin typeface="+mj-lt"/>
                        </a:rPr>
                        <a:t> 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i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j-lt"/>
                        </a:rPr>
                        <a:t> </a:t>
                      </a:r>
                      <a:endParaRPr lang="ru-RU" sz="1400" b="0" i="1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Aft>
                          <a:spcPts val="600"/>
                        </a:spcAft>
                      </a:pPr>
                      <a:endParaRPr lang="ru-RU" sz="14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55907110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b="1" u="none" strike="noStrike" dirty="0">
                          <a:effectLst/>
                          <a:latin typeface="+mj-lt"/>
                        </a:rPr>
                        <a:t>Выработк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i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j-lt"/>
                        </a:rPr>
                        <a:t>тыс. шт. </a:t>
                      </a:r>
                      <a:br>
                        <a:rPr lang="ru-RU" sz="1400" i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j-lt"/>
                        </a:rPr>
                      </a:br>
                      <a:r>
                        <a:rPr lang="ru-RU" sz="1400" i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j-lt"/>
                        </a:rPr>
                        <a:t>в час</a:t>
                      </a:r>
                      <a:endParaRPr lang="ru-RU" sz="1400" b="0" i="1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spcAft>
                          <a:spcPts val="60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,7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spcAft>
                          <a:spcPts val="60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,9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spcAft>
                          <a:spcPts val="600"/>
                        </a:spcAft>
                      </a:pPr>
                      <a:r>
                        <a:rPr lang="ru-RU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+31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30692256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b="1" u="none" strike="noStrike" dirty="0">
                          <a:effectLst/>
                          <a:latin typeface="+mj-lt"/>
                        </a:rPr>
                        <a:t>Незавершенное производство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i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j-lt"/>
                        </a:rPr>
                        <a:t>млн шт.</a:t>
                      </a:r>
                      <a:endParaRPr lang="ru-RU" sz="1400" b="0" i="1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spcAft>
                          <a:spcPts val="60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1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spcAft>
                          <a:spcPts val="60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spcAft>
                          <a:spcPts val="600"/>
                        </a:spcAft>
                      </a:pPr>
                      <a:r>
                        <a:rPr lang="ru-RU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-65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583972580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b="1" u="none" strike="noStrike" dirty="0">
                          <a:effectLst/>
                          <a:latin typeface="+mj-lt"/>
                        </a:rPr>
                        <a:t>Время изготовления единицы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i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j-lt"/>
                        </a:rPr>
                        <a:t>час</a:t>
                      </a:r>
                      <a:endParaRPr lang="ru-RU" sz="1400" b="0" i="1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spcAft>
                          <a:spcPts val="60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spcAft>
                          <a:spcPts val="60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spcAft>
                          <a:spcPts val="600"/>
                        </a:spcAft>
                      </a:pPr>
                      <a:r>
                        <a:rPr lang="ru-RU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-71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714475212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b="1" u="none" strike="noStrike" dirty="0">
                          <a:effectLst/>
                          <a:latin typeface="+mj-lt"/>
                        </a:rPr>
                        <a:t>Переналадка оборудования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i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j-lt"/>
                        </a:rPr>
                        <a:t>мин.</a:t>
                      </a:r>
                      <a:endParaRPr lang="ru-RU" sz="1400" b="0" i="1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spcAft>
                          <a:spcPts val="60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8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spcAft>
                          <a:spcPts val="600"/>
                        </a:spcAft>
                      </a:pP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spcAft>
                          <a:spcPts val="600"/>
                        </a:spcAft>
                      </a:pPr>
                      <a:r>
                        <a:rPr lang="ru-RU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-85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844329743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b="1" u="none" strike="noStrike" dirty="0">
                          <a:effectLst/>
                          <a:latin typeface="+mj-lt"/>
                        </a:rPr>
                        <a:t>Минимальная партия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r>
                        <a:rPr lang="ru-RU" sz="1400" i="1" u="none" strike="noStrike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j-lt"/>
                        </a:rPr>
                        <a:t>тыс. шт.</a:t>
                      </a:r>
                      <a:endParaRPr lang="ru-RU" sz="1400" b="0" i="1" u="none" strike="noStrike" dirty="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spcAft>
                          <a:spcPts val="60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0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>
                        <a:spcAft>
                          <a:spcPts val="600"/>
                        </a:spcAft>
                      </a:pPr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spcAft>
                          <a:spcPts val="600"/>
                        </a:spcAft>
                      </a:pPr>
                      <a:r>
                        <a:rPr lang="ru-RU" sz="1400" b="1" i="0" u="none" strike="noStrike" dirty="0">
                          <a:solidFill>
                            <a:schemeClr val="tx2"/>
                          </a:solidFill>
                          <a:effectLst/>
                          <a:latin typeface="+mj-lt"/>
                        </a:rPr>
                        <a:t>-80%</a:t>
                      </a:r>
                    </a:p>
                  </a:txBody>
                  <a:tcPr marL="6350" marR="6350" marT="635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56327625"/>
                  </a:ext>
                </a:extLst>
              </a:tr>
            </a:tbl>
          </a:graphicData>
        </a:graphic>
      </p:graphicFrame>
      <p:sp>
        <p:nvSpPr>
          <p:cNvPr id="207" name="TextBox 206">
            <a:extLst>
              <a:ext uri="{FF2B5EF4-FFF2-40B4-BE49-F238E27FC236}">
                <a16:creationId xmlns="" xmlns:a16="http://schemas.microsoft.com/office/drawing/2014/main" id="{F37A6DE0-0490-4E34-B415-45540F9788E0}"/>
              </a:ext>
            </a:extLst>
          </p:cNvPr>
          <p:cNvSpPr txBox="1"/>
          <p:nvPr/>
        </p:nvSpPr>
        <p:spPr>
          <a:xfrm>
            <a:off x="324531" y="3340536"/>
            <a:ext cx="308103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i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Показатели пилотного потока</a:t>
            </a:r>
          </a:p>
        </p:txBody>
      </p:sp>
      <p:sp>
        <p:nvSpPr>
          <p:cNvPr id="208" name="TextBox 207">
            <a:extLst>
              <a:ext uri="{FF2B5EF4-FFF2-40B4-BE49-F238E27FC236}">
                <a16:creationId xmlns="" xmlns:a16="http://schemas.microsoft.com/office/drawing/2014/main" id="{0E7846D4-3946-44FD-90F1-C7FFCB4CA0AB}"/>
              </a:ext>
            </a:extLst>
          </p:cNvPr>
          <p:cNvSpPr txBox="1"/>
          <p:nvPr/>
        </p:nvSpPr>
        <p:spPr>
          <a:xfrm>
            <a:off x="3904214" y="1367889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2017</a:t>
            </a:r>
          </a:p>
        </p:txBody>
      </p:sp>
      <p:sp>
        <p:nvSpPr>
          <p:cNvPr id="209" name="TextBox 208">
            <a:extLst>
              <a:ext uri="{FF2B5EF4-FFF2-40B4-BE49-F238E27FC236}">
                <a16:creationId xmlns="" xmlns:a16="http://schemas.microsoft.com/office/drawing/2014/main" id="{14A5FD58-92E2-4229-966E-5B676B664627}"/>
              </a:ext>
            </a:extLst>
          </p:cNvPr>
          <p:cNvSpPr txBox="1"/>
          <p:nvPr/>
        </p:nvSpPr>
        <p:spPr>
          <a:xfrm>
            <a:off x="4750636" y="1367889"/>
            <a:ext cx="5822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2018</a:t>
            </a:r>
          </a:p>
        </p:txBody>
      </p:sp>
    </p:spTree>
    <p:extLst>
      <p:ext uri="{BB962C8B-B14F-4D97-AF65-F5344CB8AC3E}">
        <p14:creationId xmlns:p14="http://schemas.microsoft.com/office/powerpoint/2010/main" val="916059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9C43534C-6DB3-4607-9E94-53CCC3B605A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0578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1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B01B3C0D-59C9-41AA-9981-F85481681DA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65A3DA4A-BC16-4516-B291-2B5C79239D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абота на предприятиях – РЦК, партнеры, консультанты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FC293820-C3CE-4635-9529-4F5DCA0BAE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20B11C1B-3AE8-4CAF-9DBF-C7D9388709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16</a:t>
            </a:fld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E19458A4-55D7-463E-A614-1B67CDBBA4A8}"/>
              </a:ext>
            </a:extLst>
          </p:cNvPr>
          <p:cNvSpPr txBox="1"/>
          <p:nvPr/>
        </p:nvSpPr>
        <p:spPr>
          <a:xfrm>
            <a:off x="2705911" y="2670078"/>
            <a:ext cx="8784000" cy="1569660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>
            <a:defPPr>
              <a:defRPr lang="ru-RU"/>
            </a:defPPr>
            <a:lvl1pPr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171450" indent="-1714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</a:rPr>
              <a:t>Определение партнера и его проверка </a:t>
            </a:r>
          </a:p>
          <a:p>
            <a:pPr marL="171450" indent="-1714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</a:rPr>
              <a:t>Заключение соглашения Партнер – ФЦК – МЭР</a:t>
            </a:r>
          </a:p>
          <a:p>
            <a:pPr marL="171450" indent="-1714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</a:rPr>
              <a:t>Закрепление партнера за субъектом/</a:t>
            </a:r>
            <a:r>
              <a:rPr lang="ru-RU" sz="1200" dirty="0" err="1">
                <a:solidFill>
                  <a:schemeClr val="tx1"/>
                </a:solidFill>
              </a:rPr>
              <a:t>ами</a:t>
            </a:r>
            <a:r>
              <a:rPr lang="ru-RU" sz="1200" dirty="0">
                <a:solidFill>
                  <a:schemeClr val="tx1"/>
                </a:solidFill>
              </a:rPr>
              <a:t> РФ</a:t>
            </a:r>
          </a:p>
          <a:p>
            <a:pPr marL="171450" indent="-1714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</a:rPr>
              <a:t>Информирование РОИВ  о необходимости планирования регионального проекта с учетом возможностей партнера</a:t>
            </a:r>
          </a:p>
          <a:p>
            <a:pPr marL="171450" indent="-1714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b="1" dirty="0">
                <a:solidFill>
                  <a:schemeClr val="tx1"/>
                </a:solidFill>
              </a:rPr>
              <a:t>Утверждены</a:t>
            </a:r>
            <a:r>
              <a:rPr lang="ru-RU" sz="1200" dirty="0">
                <a:solidFill>
                  <a:schemeClr val="tx1"/>
                </a:solidFill>
              </a:rPr>
              <a:t> методические рекомендации № 2018/1-029 от 21.12.2018«Процесс вовлечения предприятий-партнеров для участия в национальном проекте «Производительность труда и поддержка занятости»»</a:t>
            </a:r>
          </a:p>
          <a:p>
            <a:pPr marL="171450" indent="-1714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endParaRPr lang="ru-RU" sz="1200" dirty="0">
              <a:solidFill>
                <a:schemeClr val="tx1"/>
              </a:solidFill>
            </a:endParaRPr>
          </a:p>
          <a:p>
            <a:pPr marL="171450" indent="-1714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1E27B3AE-6481-48D3-BE5C-538F233F81BF}"/>
              </a:ext>
            </a:extLst>
          </p:cNvPr>
          <p:cNvSpPr txBox="1"/>
          <p:nvPr/>
        </p:nvSpPr>
        <p:spPr>
          <a:xfrm>
            <a:off x="2705911" y="4751964"/>
            <a:ext cx="8948094" cy="461665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>
            <a:defPPr>
              <a:defRPr lang="ru-RU"/>
            </a:defPPr>
            <a:lvl1pPr marL="171450" indent="-171450">
              <a:buFont typeface="Arial" panose="020B0604020202020204" pitchFamily="34" charset="0"/>
              <a:buChar char="•"/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tx1"/>
                </a:solidFill>
              </a:rPr>
              <a:t>Предприятие может самостоятельно повышать производительность труда, выстраивая свою производственную систему или привлекая внешних консультантов, при этом доступ к другим мерам поддержки сохраняется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26DD44AE-EC72-4990-81C2-322BA8FE2D81}"/>
              </a:ext>
            </a:extLst>
          </p:cNvPr>
          <p:cNvSpPr txBox="1"/>
          <p:nvPr/>
        </p:nvSpPr>
        <p:spPr>
          <a:xfrm>
            <a:off x="794466" y="2659446"/>
            <a:ext cx="1828601" cy="276999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>
            <a:defPPr>
              <a:defRPr lang="ru-RU"/>
            </a:defPPr>
            <a:lvl1pPr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ru-RU" sz="1200" dirty="0">
                <a:solidFill>
                  <a:srgbClr val="203277"/>
                </a:solidFill>
              </a:rPr>
              <a:t>Партнеры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951C90E2-666E-411E-9D31-1632AF5F6D56}"/>
              </a:ext>
            </a:extLst>
          </p:cNvPr>
          <p:cNvSpPr txBox="1"/>
          <p:nvPr/>
        </p:nvSpPr>
        <p:spPr>
          <a:xfrm>
            <a:off x="794466" y="3936847"/>
            <a:ext cx="19312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203277"/>
                </a:solidFill>
              </a:rPr>
              <a:t>Консультанты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59AFC4EA-F7E5-4CDC-8FC4-AE99E595C58C}"/>
              </a:ext>
            </a:extLst>
          </p:cNvPr>
          <p:cNvSpPr txBox="1"/>
          <p:nvPr/>
        </p:nvSpPr>
        <p:spPr>
          <a:xfrm>
            <a:off x="794466" y="4762598"/>
            <a:ext cx="18286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203277"/>
                </a:solidFill>
              </a:rPr>
              <a:t>Предприятия реализуют проект самостоятельно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7077B72B-FB3F-400D-96BE-CB6CDCEB0EE1}"/>
              </a:ext>
            </a:extLst>
          </p:cNvPr>
          <p:cNvSpPr txBox="1"/>
          <p:nvPr/>
        </p:nvSpPr>
        <p:spPr>
          <a:xfrm>
            <a:off x="2702290" y="1906901"/>
            <a:ext cx="3774709" cy="276999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>
            <a:defPPr>
              <a:defRPr lang="ru-RU"/>
            </a:defPPr>
            <a:lvl1pPr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ru-RU" sz="1200" b="1" dirty="0">
                <a:solidFill>
                  <a:schemeClr val="accent2"/>
                </a:solidFill>
              </a:rPr>
              <a:t>Описание вовлечения в проект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AA469956-3A02-4712-8B57-6524A15FF3C0}"/>
              </a:ext>
            </a:extLst>
          </p:cNvPr>
          <p:cNvSpPr txBox="1"/>
          <p:nvPr/>
        </p:nvSpPr>
        <p:spPr>
          <a:xfrm>
            <a:off x="2764201" y="3958113"/>
            <a:ext cx="8946355" cy="646331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>
            <a:defPPr>
              <a:defRPr lang="ru-RU"/>
            </a:defPPr>
            <a:lvl1pPr marL="171450" indent="-171450">
              <a:buFont typeface="Arial" panose="020B0604020202020204" pitchFamily="34" charset="0"/>
              <a:buChar char="•"/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</a:rPr>
              <a:t>Регион самостоятельно подбирает консультантов исходя из финансовых возможностей и целей по охвату предприятий</a:t>
            </a:r>
          </a:p>
          <a:p>
            <a:pPr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</a:rPr>
              <a:t>Регион сам определяет объем работ, целевые параметры и пр. </a:t>
            </a:r>
          </a:p>
          <a:p>
            <a:pPr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b="1" dirty="0" smtClean="0">
                <a:solidFill>
                  <a:schemeClr val="tx1"/>
                </a:solidFill>
              </a:rPr>
              <a:t>На </a:t>
            </a:r>
            <a:r>
              <a:rPr lang="ru-RU" sz="1200" b="1" dirty="0">
                <a:solidFill>
                  <a:schemeClr val="tx1"/>
                </a:solidFill>
              </a:rPr>
              <a:t>этапе согласования</a:t>
            </a:r>
            <a:r>
              <a:rPr lang="ru-RU" sz="1200" dirty="0">
                <a:solidFill>
                  <a:schemeClr val="tx1"/>
                </a:solidFill>
              </a:rPr>
              <a:t> методические рекомендации по работе с консультантами</a:t>
            </a:r>
            <a:r>
              <a:rPr lang="en-US" sz="1200" dirty="0">
                <a:solidFill>
                  <a:schemeClr val="tx1"/>
                </a:solidFill>
              </a:rPr>
              <a:t>/</a:t>
            </a:r>
            <a:r>
              <a:rPr lang="ru-RU" sz="1200" dirty="0">
                <a:solidFill>
                  <a:schemeClr val="tx1"/>
                </a:solidFill>
              </a:rPr>
              <a:t>проект типового технического задания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="" xmlns:a16="http://schemas.microsoft.com/office/drawing/2014/main" id="{CE6FD1EE-A57A-4131-A4A7-1540CE094278}"/>
              </a:ext>
            </a:extLst>
          </p:cNvPr>
          <p:cNvCxnSpPr>
            <a:cxnSpLocks/>
          </p:cNvCxnSpPr>
          <p:nvPr/>
        </p:nvCxnSpPr>
        <p:spPr>
          <a:xfrm>
            <a:off x="323535" y="2176498"/>
            <a:ext cx="11205879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Овал 15">
            <a:extLst>
              <a:ext uri="{FF2B5EF4-FFF2-40B4-BE49-F238E27FC236}">
                <a16:creationId xmlns="" xmlns:a16="http://schemas.microsoft.com/office/drawing/2014/main" id="{EAD9DDEE-2781-4BE1-B483-7518FD2C1D6F}"/>
              </a:ext>
            </a:extLst>
          </p:cNvPr>
          <p:cNvSpPr>
            <a:spLocks/>
          </p:cNvSpPr>
          <p:nvPr/>
        </p:nvSpPr>
        <p:spPr>
          <a:xfrm>
            <a:off x="414792" y="2248990"/>
            <a:ext cx="311679" cy="228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lIns="69922" tIns="34961" rIns="69922" bIns="34961" rtlCol="0" anchor="ctr">
            <a:noAutofit/>
          </a:bodyPr>
          <a:lstStyle/>
          <a:p>
            <a:pPr algn="ctr" defTabSz="69930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 kern="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6" name="Овал 15">
            <a:extLst>
              <a:ext uri="{FF2B5EF4-FFF2-40B4-BE49-F238E27FC236}">
                <a16:creationId xmlns="" xmlns:a16="http://schemas.microsoft.com/office/drawing/2014/main" id="{28EA0278-5D9C-48FE-8EFA-76C3DB76B178}"/>
              </a:ext>
            </a:extLst>
          </p:cNvPr>
          <p:cNvSpPr>
            <a:spLocks/>
          </p:cNvSpPr>
          <p:nvPr/>
        </p:nvSpPr>
        <p:spPr>
          <a:xfrm>
            <a:off x="414792" y="2723243"/>
            <a:ext cx="311679" cy="228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lIns="69922" tIns="34961" rIns="69922" bIns="34961" rtlCol="0" anchor="ctr">
            <a:noAutofit/>
          </a:bodyPr>
          <a:lstStyle/>
          <a:p>
            <a:pPr algn="ctr" defTabSz="69930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 kern="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7" name="Овал 15">
            <a:extLst>
              <a:ext uri="{FF2B5EF4-FFF2-40B4-BE49-F238E27FC236}">
                <a16:creationId xmlns="" xmlns:a16="http://schemas.microsoft.com/office/drawing/2014/main" id="{3B61F8A4-7B3C-467A-BB4D-233EDE84E818}"/>
              </a:ext>
            </a:extLst>
          </p:cNvPr>
          <p:cNvSpPr>
            <a:spLocks/>
          </p:cNvSpPr>
          <p:nvPr/>
        </p:nvSpPr>
        <p:spPr>
          <a:xfrm>
            <a:off x="414792" y="4011277"/>
            <a:ext cx="311679" cy="228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lIns="69922" tIns="34961" rIns="69922" bIns="34961" rtlCol="0" anchor="ctr">
            <a:noAutofit/>
          </a:bodyPr>
          <a:lstStyle/>
          <a:p>
            <a:pPr algn="ctr" defTabSz="69930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 kern="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8" name="Овал 15">
            <a:extLst>
              <a:ext uri="{FF2B5EF4-FFF2-40B4-BE49-F238E27FC236}">
                <a16:creationId xmlns="" xmlns:a16="http://schemas.microsoft.com/office/drawing/2014/main" id="{6459D848-D99B-48E5-8DE7-8A48E33402EA}"/>
              </a:ext>
            </a:extLst>
          </p:cNvPr>
          <p:cNvSpPr>
            <a:spLocks/>
          </p:cNvSpPr>
          <p:nvPr/>
        </p:nvSpPr>
        <p:spPr>
          <a:xfrm>
            <a:off x="414792" y="4837028"/>
            <a:ext cx="311679" cy="228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lIns="69922" tIns="34961" rIns="69922" bIns="34961" rtlCol="0" anchor="ctr">
            <a:noAutofit/>
          </a:bodyPr>
          <a:lstStyle/>
          <a:p>
            <a:pPr algn="ctr" defTabSz="69930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b="1" kern="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09C7790D-F188-49A1-AA08-8B102C0D9D2E}"/>
              </a:ext>
            </a:extLst>
          </p:cNvPr>
          <p:cNvSpPr txBox="1"/>
          <p:nvPr/>
        </p:nvSpPr>
        <p:spPr>
          <a:xfrm>
            <a:off x="318542" y="1906901"/>
            <a:ext cx="2160000" cy="276999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>
            <a:defPPr>
              <a:defRPr lang="ru-RU"/>
            </a:defPPr>
            <a:lvl1pPr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ru-RU" sz="1200" b="1" dirty="0">
                <a:solidFill>
                  <a:schemeClr val="accent2"/>
                </a:solidFill>
              </a:rPr>
              <a:t>Кто реализует проект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="" xmlns:a16="http://schemas.microsoft.com/office/drawing/2014/main" id="{54B4BFA9-15D0-4550-83AE-98A1B51D6A2B}"/>
              </a:ext>
            </a:extLst>
          </p:cNvPr>
          <p:cNvSpPr/>
          <p:nvPr/>
        </p:nvSpPr>
        <p:spPr>
          <a:xfrm>
            <a:off x="907011" y="1286087"/>
            <a:ext cx="10651278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185737">
              <a:tabLst>
                <a:tab pos="4398963" algn="l"/>
                <a:tab pos="4929188" algn="l"/>
              </a:tabLst>
            </a:pPr>
            <a:r>
              <a:rPr lang="ru-RU" sz="1200" b="1" dirty="0">
                <a:solidFill>
                  <a:schemeClr val="accent2"/>
                </a:solidFill>
              </a:rPr>
              <a:t>Цель – +10-15-30% к производительности труда в первые три года участия, доступ ко всем мерам поддержки национального проекта</a:t>
            </a:r>
          </a:p>
          <a:p>
            <a:pPr marL="185737">
              <a:tabLst>
                <a:tab pos="4398963" algn="l"/>
                <a:tab pos="4929188" algn="l"/>
              </a:tabLst>
            </a:pPr>
            <a:r>
              <a:rPr lang="ru-RU" sz="1200" b="1" dirty="0">
                <a:solidFill>
                  <a:schemeClr val="accent2"/>
                </a:solidFill>
              </a:rPr>
              <a:t>Работа экспертов на предприятиях всегда строится аналогично подходу ФЦК</a:t>
            </a:r>
          </a:p>
        </p:txBody>
      </p:sp>
      <p:pic>
        <p:nvPicPr>
          <p:cNvPr id="31" name="Рисунок 30">
            <a:extLst>
              <a:ext uri="{FF2B5EF4-FFF2-40B4-BE49-F238E27FC236}">
                <a16:creationId xmlns="" xmlns:a16="http://schemas.microsoft.com/office/drawing/2014/main" id="{1273A1C2-F03A-4FB6-A632-86900CFF64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8542" y="1259659"/>
            <a:ext cx="476775" cy="485973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790609D1-2133-4822-83F1-B7274A82F844}"/>
              </a:ext>
            </a:extLst>
          </p:cNvPr>
          <p:cNvSpPr txBox="1"/>
          <p:nvPr/>
        </p:nvSpPr>
        <p:spPr>
          <a:xfrm>
            <a:off x="794466" y="2195826"/>
            <a:ext cx="1828601" cy="276999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>
            <a:defPPr>
              <a:defRPr lang="ru-RU"/>
            </a:defPPr>
            <a:lvl1pPr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ru-RU" sz="1200" dirty="0">
                <a:solidFill>
                  <a:srgbClr val="203277"/>
                </a:solidFill>
              </a:rPr>
              <a:t>РЦК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B0AF651B-8016-4B8A-BB0A-81F339E68F36}"/>
              </a:ext>
            </a:extLst>
          </p:cNvPr>
          <p:cNvSpPr txBox="1"/>
          <p:nvPr/>
        </p:nvSpPr>
        <p:spPr>
          <a:xfrm>
            <a:off x="2705911" y="2195825"/>
            <a:ext cx="8784000" cy="461665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>
            <a:defPPr>
              <a:defRPr lang="ru-RU"/>
            </a:defPPr>
            <a:lvl1pPr>
              <a:defRPr sz="10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171450" indent="-1714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/>
                </a:solidFill>
              </a:rPr>
              <a:t>Определяется регионом </a:t>
            </a:r>
          </a:p>
          <a:p>
            <a:pPr marL="171450" indent="-1714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35" name="Прямая соединительная линия 34">
            <a:extLst>
              <a:ext uri="{FF2B5EF4-FFF2-40B4-BE49-F238E27FC236}">
                <a16:creationId xmlns="" xmlns:a16="http://schemas.microsoft.com/office/drawing/2014/main" id="{93BCCC44-757A-4307-897B-0B1830920F52}"/>
              </a:ext>
            </a:extLst>
          </p:cNvPr>
          <p:cNvCxnSpPr>
            <a:cxnSpLocks/>
          </p:cNvCxnSpPr>
          <p:nvPr/>
        </p:nvCxnSpPr>
        <p:spPr>
          <a:xfrm>
            <a:off x="323535" y="2656157"/>
            <a:ext cx="11205879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>
            <a:extLst>
              <a:ext uri="{FF2B5EF4-FFF2-40B4-BE49-F238E27FC236}">
                <a16:creationId xmlns="" xmlns:a16="http://schemas.microsoft.com/office/drawing/2014/main" id="{9A5DBA8D-0378-45C3-975A-AFEC8B1EBA17}"/>
              </a:ext>
            </a:extLst>
          </p:cNvPr>
          <p:cNvCxnSpPr>
            <a:cxnSpLocks/>
          </p:cNvCxnSpPr>
          <p:nvPr/>
        </p:nvCxnSpPr>
        <p:spPr>
          <a:xfrm>
            <a:off x="323535" y="3934714"/>
            <a:ext cx="11205879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>
            <a:extLst>
              <a:ext uri="{FF2B5EF4-FFF2-40B4-BE49-F238E27FC236}">
                <a16:creationId xmlns="" xmlns:a16="http://schemas.microsoft.com/office/drawing/2014/main" id="{504950D5-B44F-4FD3-93E0-11E830518F97}"/>
              </a:ext>
            </a:extLst>
          </p:cNvPr>
          <p:cNvCxnSpPr>
            <a:cxnSpLocks/>
          </p:cNvCxnSpPr>
          <p:nvPr/>
        </p:nvCxnSpPr>
        <p:spPr>
          <a:xfrm>
            <a:off x="323535" y="4734306"/>
            <a:ext cx="11205879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>
            <a:extLst>
              <a:ext uri="{FF2B5EF4-FFF2-40B4-BE49-F238E27FC236}">
                <a16:creationId xmlns="" xmlns:a16="http://schemas.microsoft.com/office/drawing/2014/main" id="{2C9B43FA-3A4B-4E99-B678-0C64295DD0D7}"/>
              </a:ext>
            </a:extLst>
          </p:cNvPr>
          <p:cNvCxnSpPr>
            <a:cxnSpLocks/>
          </p:cNvCxnSpPr>
          <p:nvPr/>
        </p:nvCxnSpPr>
        <p:spPr>
          <a:xfrm>
            <a:off x="335360" y="5568342"/>
            <a:ext cx="11205879" cy="0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754802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907B28C7-8C86-443E-A702-7AC411B33A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236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7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06A43AEE-4AE4-4BF0-82AD-6C72367A36D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="" xmlns:a16="http://schemas.microsoft.com/office/drawing/2014/main" id="{06961A86-1EA9-44C4-8EA1-645986A0B53A}"/>
              </a:ext>
            </a:extLst>
          </p:cNvPr>
          <p:cNvSpPr/>
          <p:nvPr/>
        </p:nvSpPr>
        <p:spPr>
          <a:xfrm>
            <a:off x="5301343" y="1484671"/>
            <a:ext cx="6555297" cy="4881150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rgbClr val="FFFFFF">
                  <a:shade val="100000"/>
                  <a:satMod val="115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AFC357A-8F29-49B4-B91B-CAD6B89BA4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dirty="0"/>
              <a:t>Возможность обучить работников предприятий – </a:t>
            </a:r>
            <a:r>
              <a:rPr lang="ru-RU" dirty="0" smtClean="0"/>
              <a:t>18</a:t>
            </a:r>
            <a:r>
              <a:rPr lang="en-US" dirty="0" smtClean="0"/>
              <a:t> </a:t>
            </a:r>
            <a:r>
              <a:rPr lang="ru-RU" dirty="0" smtClean="0"/>
              <a:t>400</a:t>
            </a:r>
            <a:r>
              <a:rPr lang="ru-RU" dirty="0"/>
              <a:t>+ человек в 2019 году, </a:t>
            </a:r>
            <a:br>
              <a:rPr lang="ru-RU" dirty="0"/>
            </a:br>
            <a:r>
              <a:rPr lang="ru-RU" dirty="0"/>
              <a:t>почти 2000 уже приступили к обучению 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8E549741-9B20-4F41-B986-38BF464507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E98F22E2-B926-46F5-9D53-4DF534285F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17</a:t>
            </a:fld>
            <a:endParaRPr lang="ru-RU" dirty="0"/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37CE6D82-FF3C-4258-8EC4-62157DCBB3C0}"/>
              </a:ext>
            </a:extLst>
          </p:cNvPr>
          <p:cNvSpPr txBox="1"/>
          <p:nvPr/>
        </p:nvSpPr>
        <p:spPr>
          <a:xfrm>
            <a:off x="358429" y="1528204"/>
            <a:ext cx="4259693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12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 err="1"/>
              <a:t>Возможностьдля</a:t>
            </a:r>
            <a:r>
              <a:rPr lang="ru-RU" sz="1400" dirty="0"/>
              <a:t> предприятия  </a:t>
            </a:r>
            <a:r>
              <a:rPr lang="ru-RU" sz="1400" b="1" dirty="0"/>
              <a:t>обучить персонал </a:t>
            </a:r>
            <a:endParaRPr lang="en-US" sz="1400" b="1" dirty="0" smtClean="0"/>
          </a:p>
          <a:p>
            <a:pPr marL="342900" indent="-342900">
              <a:spcAft>
                <a:spcPts val="12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 smtClean="0"/>
              <a:t>Обучаться </a:t>
            </a:r>
            <a:r>
              <a:rPr lang="ru-RU" sz="1400" dirty="0"/>
              <a:t>могут </a:t>
            </a:r>
            <a:r>
              <a:rPr lang="ru-RU" sz="1400" b="1" dirty="0"/>
              <a:t>рабочие, бригадиры, </a:t>
            </a:r>
            <a:r>
              <a:rPr lang="en-US" sz="1400" b="1" dirty="0"/>
              <a:t/>
            </a:r>
            <a:br>
              <a:rPr lang="en-US" sz="1400" b="1" dirty="0"/>
            </a:br>
            <a:r>
              <a:rPr lang="ru-RU" sz="1400" b="1" dirty="0"/>
              <a:t>начальники цехов, а также офисные сотрудники</a:t>
            </a:r>
          </a:p>
          <a:p>
            <a:pPr marL="342900" indent="-342900">
              <a:spcAft>
                <a:spcPts val="12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b="1" dirty="0"/>
              <a:t>Можно выбрать </a:t>
            </a:r>
            <a:r>
              <a:rPr lang="ru-RU" sz="1400" dirty="0"/>
              <a:t>направления обучения</a:t>
            </a:r>
          </a:p>
          <a:p>
            <a:pPr marL="342900" indent="-342900">
              <a:spcAft>
                <a:spcPts val="12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Обучение в течение всего года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45C79963-68A1-4B4E-AD49-901C41D5CE7B}"/>
              </a:ext>
            </a:extLst>
          </p:cNvPr>
          <p:cNvSpPr/>
          <p:nvPr/>
        </p:nvSpPr>
        <p:spPr>
          <a:xfrm>
            <a:off x="6341788" y="1902559"/>
            <a:ext cx="5120044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Clr>
                <a:schemeClr val="accent2"/>
              </a:buClr>
              <a:buFont typeface="+mj-lt"/>
              <a:buAutoNum type="arabicPeriod"/>
            </a:pPr>
            <a:r>
              <a:rPr lang="ru-RU" sz="1400" dirty="0"/>
              <a:t>Региональное министерство </a:t>
            </a:r>
            <a:br>
              <a:rPr lang="ru-RU" sz="1400" dirty="0"/>
            </a:br>
            <a:r>
              <a:rPr lang="ru-RU" sz="1400" dirty="0"/>
              <a:t>готовит порядок предоставления средств на обучение</a:t>
            </a:r>
          </a:p>
          <a:p>
            <a:pPr marL="228600" indent="-228600">
              <a:buClr>
                <a:schemeClr val="accent2"/>
              </a:buClr>
              <a:buFont typeface="+mj-lt"/>
              <a:buAutoNum type="arabicPeriod"/>
            </a:pPr>
            <a:endParaRPr lang="ru-RU" sz="1400" dirty="0"/>
          </a:p>
          <a:p>
            <a:pPr marL="228600" indent="-228600">
              <a:buClr>
                <a:schemeClr val="accent2"/>
              </a:buClr>
              <a:buFont typeface="+mj-lt"/>
              <a:buAutoNum type="arabicPeriod"/>
            </a:pPr>
            <a:r>
              <a:rPr lang="ru-RU" sz="1400" dirty="0"/>
              <a:t>Предприятие заключает соглашение с региональным министерством о сотрудничестве по реализации проекта</a:t>
            </a:r>
          </a:p>
          <a:p>
            <a:pPr marL="228600" indent="-228600">
              <a:buClr>
                <a:schemeClr val="accent2"/>
              </a:buClr>
              <a:buFont typeface="+mj-lt"/>
              <a:buAutoNum type="arabicPeriod"/>
            </a:pPr>
            <a:endParaRPr lang="ru-RU" sz="1400" dirty="0">
              <a:latin typeface="+mj-lt"/>
            </a:endParaRPr>
          </a:p>
          <a:p>
            <a:pPr marL="228600" indent="-228600">
              <a:buClr>
                <a:schemeClr val="accent2"/>
              </a:buClr>
              <a:buFont typeface="+mj-lt"/>
              <a:buAutoNum type="arabicPeriod"/>
            </a:pPr>
            <a:r>
              <a:rPr lang="ru-RU" sz="1400" dirty="0"/>
              <a:t>Предприятие выбирает обучающие организации, соответствующие критериям этого порядка и рекомендуемым направлениям обучения</a:t>
            </a:r>
          </a:p>
          <a:p>
            <a:pPr marL="228600" indent="-228600">
              <a:buClr>
                <a:schemeClr val="accent2"/>
              </a:buClr>
              <a:buFont typeface="+mj-lt"/>
              <a:buAutoNum type="arabicPeriod"/>
            </a:pPr>
            <a:endParaRPr lang="ru-RU" sz="1400" dirty="0"/>
          </a:p>
          <a:p>
            <a:pPr marL="228600" indent="-228600">
              <a:buClr>
                <a:schemeClr val="accent2"/>
              </a:buClr>
              <a:buFont typeface="+mj-lt"/>
              <a:buAutoNum type="arabicPeriod"/>
            </a:pPr>
            <a:r>
              <a:rPr lang="ru-RU" sz="1400" dirty="0"/>
              <a:t>Предприятие заключает договоры на обучение</a:t>
            </a:r>
          </a:p>
          <a:p>
            <a:pPr marL="228600" indent="-228600">
              <a:buClr>
                <a:schemeClr val="accent2"/>
              </a:buClr>
              <a:buFont typeface="+mj-lt"/>
              <a:buAutoNum type="arabicPeriod"/>
            </a:pPr>
            <a:endParaRPr lang="ru-RU" sz="1400" dirty="0">
              <a:latin typeface="+mj-lt"/>
            </a:endParaRPr>
          </a:p>
          <a:p>
            <a:pPr marL="228600" indent="-228600">
              <a:buClr>
                <a:schemeClr val="accent2"/>
              </a:buClr>
              <a:buFont typeface="+mj-lt"/>
              <a:buAutoNum type="arabicPeriod"/>
            </a:pPr>
            <a:r>
              <a:rPr lang="ru-RU" sz="1400" dirty="0"/>
              <a:t>Обучающие организации проводят обучение</a:t>
            </a:r>
          </a:p>
          <a:p>
            <a:pPr marL="228600" indent="-228600">
              <a:buClr>
                <a:schemeClr val="accent2"/>
              </a:buClr>
              <a:buFont typeface="+mj-lt"/>
              <a:buAutoNum type="arabicPeriod"/>
            </a:pPr>
            <a:endParaRPr lang="ru-RU" sz="1400" dirty="0">
              <a:latin typeface="+mj-lt"/>
            </a:endParaRPr>
          </a:p>
          <a:p>
            <a:pPr marL="228600" indent="-228600">
              <a:buClr>
                <a:schemeClr val="accent2"/>
              </a:buClr>
              <a:buFont typeface="+mj-lt"/>
              <a:buAutoNum type="arabicPeriod"/>
            </a:pPr>
            <a:r>
              <a:rPr lang="ru-RU" sz="1400" dirty="0"/>
              <a:t>Предприятия подают в ЦЗН заявления о возмещении затрат на обучение</a:t>
            </a:r>
          </a:p>
          <a:p>
            <a:pPr marL="228600" indent="-228600">
              <a:buClr>
                <a:schemeClr val="accent2"/>
              </a:buClr>
              <a:buFont typeface="+mj-lt"/>
              <a:buAutoNum type="arabicPeriod"/>
            </a:pPr>
            <a:endParaRPr lang="ru-RU" sz="1400" dirty="0"/>
          </a:p>
          <a:p>
            <a:pPr marL="228600" indent="-228600">
              <a:buClr>
                <a:schemeClr val="accent2"/>
              </a:buClr>
              <a:buFont typeface="+mj-lt"/>
              <a:buAutoNum type="arabicPeriod"/>
            </a:pPr>
            <a:r>
              <a:rPr lang="ru-RU" sz="1400" dirty="0"/>
              <a:t>Центр занятости населения компенсирует затраты </a:t>
            </a:r>
            <a:br>
              <a:rPr lang="ru-RU" sz="1400" dirty="0"/>
            </a:br>
            <a:r>
              <a:rPr lang="ru-RU" sz="1400" dirty="0"/>
              <a:t>на обучение</a:t>
            </a:r>
            <a:endParaRPr lang="ru-RU" sz="1400" dirty="0"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F4DA4942-C295-4C84-B8DB-662CDE471914}"/>
              </a:ext>
            </a:extLst>
          </p:cNvPr>
          <p:cNvSpPr txBox="1"/>
          <p:nvPr/>
        </p:nvSpPr>
        <p:spPr>
          <a:xfrm>
            <a:off x="1410382" y="6411118"/>
            <a:ext cx="1005560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chemeClr val="bg1">
                    <a:lumMod val="50000"/>
                  </a:schemeClr>
                </a:solidFill>
              </a:rPr>
              <a:t>Подробнее –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1100" dirty="0">
                <a:solidFill>
                  <a:schemeClr val="bg1">
                    <a:lumMod val="50000"/>
                  </a:schemeClr>
                </a:solidFill>
              </a:rPr>
              <a:t> Приложение </a:t>
            </a:r>
            <a:r>
              <a:rPr lang="ru-RU" sz="1100" dirty="0" smtClean="0">
                <a:solidFill>
                  <a:schemeClr val="bg1">
                    <a:lumMod val="50000"/>
                  </a:schemeClr>
                </a:solidFill>
              </a:rPr>
              <a:t>Б</a:t>
            </a:r>
          </a:p>
          <a:p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1 </a:t>
            </a:r>
            <a:r>
              <a:rPr lang="ru-RU" sz="1100" dirty="0">
                <a:solidFill>
                  <a:schemeClr val="bg1">
                    <a:lumMod val="50000"/>
                  </a:schemeClr>
                </a:solidFill>
              </a:rPr>
              <a:t>Если форма – возмещение расходов; иногда возможна форма </a:t>
            </a:r>
            <a:r>
              <a:rPr lang="ru-RU" sz="1100" dirty="0" smtClean="0">
                <a:solidFill>
                  <a:schemeClr val="bg1">
                    <a:lumMod val="50000"/>
                  </a:schemeClr>
                </a:solidFill>
              </a:rPr>
              <a:t>субсидии </a:t>
            </a:r>
            <a:r>
              <a:rPr lang="ru-RU" sz="1100" dirty="0">
                <a:solidFill>
                  <a:schemeClr val="bg1">
                    <a:lumMod val="50000"/>
                  </a:schemeClr>
                </a:solidFill>
              </a:rPr>
              <a:t>– уточняйте в региональном </a:t>
            </a:r>
            <a:r>
              <a:rPr lang="ru-RU" sz="1100" dirty="0" smtClean="0">
                <a:solidFill>
                  <a:schemeClr val="bg1">
                    <a:lumMod val="50000"/>
                  </a:schemeClr>
                </a:solidFill>
              </a:rPr>
              <a:t>министерстве</a:t>
            </a:r>
            <a:endParaRPr lang="ru-RU" sz="11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="" xmlns:a16="http://schemas.microsoft.com/office/drawing/2014/main" id="{877F793F-0095-4FEA-93C6-09EEE48DCF9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8754" b="18128"/>
          <a:stretch/>
        </p:blipFill>
        <p:spPr>
          <a:xfrm>
            <a:off x="444475" y="3679371"/>
            <a:ext cx="5324567" cy="2578923"/>
          </a:xfrm>
          <a:prstGeom prst="rect">
            <a:avLst/>
          </a:prstGeom>
        </p:spPr>
      </p:pic>
      <p:sp>
        <p:nvSpPr>
          <p:cNvPr id="19" name="Прямоугольник 18">
            <a:extLst>
              <a:ext uri="{FF2B5EF4-FFF2-40B4-BE49-F238E27FC236}">
                <a16:creationId xmlns="" xmlns:a16="http://schemas.microsoft.com/office/drawing/2014/main" id="{A062F7E8-6649-41E7-AE70-C54C64B6CFAA}"/>
              </a:ext>
            </a:extLst>
          </p:cNvPr>
          <p:cNvSpPr/>
          <p:nvPr/>
        </p:nvSpPr>
        <p:spPr>
          <a:xfrm>
            <a:off x="6248400" y="1360906"/>
            <a:ext cx="93388" cy="480187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F14A7B1D-87C4-4260-965C-94417870EF76}"/>
              </a:ext>
            </a:extLst>
          </p:cNvPr>
          <p:cNvSpPr txBox="1"/>
          <p:nvPr/>
        </p:nvSpPr>
        <p:spPr>
          <a:xfrm>
            <a:off x="6549577" y="1515020"/>
            <a:ext cx="24792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/>
              <a:t>Как проводится обучение</a:t>
            </a:r>
          </a:p>
        </p:txBody>
      </p:sp>
      <p:sp>
        <p:nvSpPr>
          <p:cNvPr id="22" name="Стрелка: шеврон 21">
            <a:extLst>
              <a:ext uri="{FF2B5EF4-FFF2-40B4-BE49-F238E27FC236}">
                <a16:creationId xmlns="" xmlns:a16="http://schemas.microsoft.com/office/drawing/2014/main" id="{7BE66398-6796-4609-A2F2-63643B7787FC}"/>
              </a:ext>
            </a:extLst>
          </p:cNvPr>
          <p:cNvSpPr/>
          <p:nvPr/>
        </p:nvSpPr>
        <p:spPr>
          <a:xfrm rot="5400000">
            <a:off x="6331506" y="2009715"/>
            <a:ext cx="252000" cy="324000"/>
          </a:xfrm>
          <a:prstGeom prst="chevron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3" name="Стрелка: шеврон 22">
            <a:extLst>
              <a:ext uri="{FF2B5EF4-FFF2-40B4-BE49-F238E27FC236}">
                <a16:creationId xmlns="" xmlns:a16="http://schemas.microsoft.com/office/drawing/2014/main" id="{69AAA324-85E2-4B8D-9271-07D4A3C2EAD0}"/>
              </a:ext>
            </a:extLst>
          </p:cNvPr>
          <p:cNvSpPr/>
          <p:nvPr/>
        </p:nvSpPr>
        <p:spPr>
          <a:xfrm rot="5400000">
            <a:off x="6331506" y="2645607"/>
            <a:ext cx="252000" cy="324000"/>
          </a:xfrm>
          <a:prstGeom prst="chevron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4" name="Стрелка: шеврон 23">
            <a:extLst>
              <a:ext uri="{FF2B5EF4-FFF2-40B4-BE49-F238E27FC236}">
                <a16:creationId xmlns="" xmlns:a16="http://schemas.microsoft.com/office/drawing/2014/main" id="{3A277CE8-22F0-417D-9CFE-BD21C4AB23F4}"/>
              </a:ext>
            </a:extLst>
          </p:cNvPr>
          <p:cNvSpPr/>
          <p:nvPr/>
        </p:nvSpPr>
        <p:spPr>
          <a:xfrm rot="5400000">
            <a:off x="6331506" y="3494693"/>
            <a:ext cx="252000" cy="324000"/>
          </a:xfrm>
          <a:prstGeom prst="chevron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5" name="Стрелка: шеврон 24">
            <a:extLst>
              <a:ext uri="{FF2B5EF4-FFF2-40B4-BE49-F238E27FC236}">
                <a16:creationId xmlns="" xmlns:a16="http://schemas.microsoft.com/office/drawing/2014/main" id="{40B5AA28-9E9E-4DF5-8C7B-F8A807BFFB01}"/>
              </a:ext>
            </a:extLst>
          </p:cNvPr>
          <p:cNvSpPr/>
          <p:nvPr/>
        </p:nvSpPr>
        <p:spPr>
          <a:xfrm rot="5400000">
            <a:off x="6331506" y="4350147"/>
            <a:ext cx="252000" cy="324000"/>
          </a:xfrm>
          <a:prstGeom prst="chevron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6" name="Стрелка: шеврон 25">
            <a:extLst>
              <a:ext uri="{FF2B5EF4-FFF2-40B4-BE49-F238E27FC236}">
                <a16:creationId xmlns="" xmlns:a16="http://schemas.microsoft.com/office/drawing/2014/main" id="{46ACBEDA-CDA4-4AA6-9B6E-DA3576649E41}"/>
              </a:ext>
            </a:extLst>
          </p:cNvPr>
          <p:cNvSpPr/>
          <p:nvPr/>
        </p:nvSpPr>
        <p:spPr>
          <a:xfrm rot="5400000">
            <a:off x="6331506" y="4785572"/>
            <a:ext cx="252000" cy="324000"/>
          </a:xfrm>
          <a:prstGeom prst="chevron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7" name="Стрелка: шеврон 26">
            <a:extLst>
              <a:ext uri="{FF2B5EF4-FFF2-40B4-BE49-F238E27FC236}">
                <a16:creationId xmlns="" xmlns:a16="http://schemas.microsoft.com/office/drawing/2014/main" id="{378A9D82-FAF6-4866-8ADE-B366C2A81B89}"/>
              </a:ext>
            </a:extLst>
          </p:cNvPr>
          <p:cNvSpPr/>
          <p:nvPr/>
        </p:nvSpPr>
        <p:spPr>
          <a:xfrm rot="5400000">
            <a:off x="6331506" y="5203747"/>
            <a:ext cx="252000" cy="324000"/>
          </a:xfrm>
          <a:prstGeom prst="chevron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8" name="Стрелка: шеврон 27">
            <a:extLst>
              <a:ext uri="{FF2B5EF4-FFF2-40B4-BE49-F238E27FC236}">
                <a16:creationId xmlns="" xmlns:a16="http://schemas.microsoft.com/office/drawing/2014/main" id="{9FB34A58-DC9C-4571-AB4B-A8200F5A4C33}"/>
              </a:ext>
            </a:extLst>
          </p:cNvPr>
          <p:cNvSpPr/>
          <p:nvPr/>
        </p:nvSpPr>
        <p:spPr>
          <a:xfrm rot="5400000">
            <a:off x="6331506" y="5841487"/>
            <a:ext cx="252000" cy="324000"/>
          </a:xfrm>
          <a:prstGeom prst="chevron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49325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15C5C000-C217-49DC-95B7-660B1DA8266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4889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94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="" xmlns:a16="http://schemas.microsoft.com/office/drawing/2014/main" id="{68B92A03-D164-4E35-B70E-C588835738C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442F12D9-1581-4115-8CF7-5D1D24190C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1813" y="714408"/>
            <a:ext cx="11530869" cy="439152"/>
          </a:xfrm>
        </p:spPr>
        <p:txBody>
          <a:bodyPr>
            <a:noAutofit/>
          </a:bodyPr>
          <a:lstStyle/>
          <a:p>
            <a:r>
              <a:rPr lang="ru-RU" dirty="0"/>
              <a:t>Создается новая служба занятости населения</a:t>
            </a:r>
            <a:r>
              <a:rPr lang="en-US" dirty="0"/>
              <a:t> – </a:t>
            </a:r>
            <a:r>
              <a:rPr lang="ru-RU" dirty="0"/>
              <a:t>современная и </a:t>
            </a:r>
            <a:r>
              <a:rPr lang="ru-RU" dirty="0" err="1"/>
              <a:t>проактивная</a:t>
            </a:r>
            <a:r>
              <a:rPr lang="ru-RU" dirty="0"/>
              <a:t>, </a:t>
            </a:r>
            <a:br>
              <a:rPr lang="ru-RU" dirty="0"/>
            </a:br>
            <a:r>
              <a:rPr lang="ru-RU" dirty="0"/>
              <a:t>в 2019 году – пилотные проекты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5ED38260-3A72-4DF1-BEBD-83766FD8CF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B7FABAAE-BA6A-4F14-809A-1F4FFDBAF0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18</a:t>
            </a:fld>
            <a:endParaRPr lang="ru-RU" dirty="0"/>
          </a:p>
        </p:txBody>
      </p:sp>
      <p:grpSp>
        <p:nvGrpSpPr>
          <p:cNvPr id="13" name="Группа 12">
            <a:extLst>
              <a:ext uri="{FF2B5EF4-FFF2-40B4-BE49-F238E27FC236}">
                <a16:creationId xmlns="" xmlns:a16="http://schemas.microsoft.com/office/drawing/2014/main" id="{B6E78CBF-3D35-4037-ADA4-84B14C973CB4}"/>
              </a:ext>
            </a:extLst>
          </p:cNvPr>
          <p:cNvGrpSpPr/>
          <p:nvPr/>
        </p:nvGrpSpPr>
        <p:grpSpPr>
          <a:xfrm>
            <a:off x="4459704" y="1378155"/>
            <a:ext cx="7239694" cy="4986113"/>
            <a:chOff x="320843" y="1378155"/>
            <a:chExt cx="7239694" cy="4986113"/>
          </a:xfrm>
        </p:grpSpPr>
        <p:pic>
          <p:nvPicPr>
            <p:cNvPr id="12" name="Рисунок 11">
              <a:extLst>
                <a:ext uri="{FF2B5EF4-FFF2-40B4-BE49-F238E27FC236}">
                  <a16:creationId xmlns="" xmlns:a16="http://schemas.microsoft.com/office/drawing/2014/main" id="{66D41923-4C82-4F88-B96E-73ABC68F06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40000" contrast="-40000"/>
                      </a14:imgEffect>
                    </a14:imgLayer>
                  </a14:imgProps>
                </a:ext>
              </a:extLst>
            </a:blip>
            <a:srcRect l="3702" t="24728" r="42297"/>
            <a:stretch/>
          </p:blipFill>
          <p:spPr>
            <a:xfrm>
              <a:off x="341813" y="1378155"/>
              <a:ext cx="7218724" cy="4689411"/>
            </a:xfrm>
            <a:prstGeom prst="rect">
              <a:avLst/>
            </a:prstGeom>
          </p:spPr>
        </p:pic>
        <p:pic>
          <p:nvPicPr>
            <p:cNvPr id="11" name="Рисунок 10">
              <a:extLst>
                <a:ext uri="{FF2B5EF4-FFF2-40B4-BE49-F238E27FC236}">
                  <a16:creationId xmlns="" xmlns:a16="http://schemas.microsoft.com/office/drawing/2014/main" id="{E2427A17-3BB8-48D4-A1D4-0A36417FFB4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2032" t="17143" r="10561" b="6755"/>
            <a:stretch/>
          </p:blipFill>
          <p:spPr>
            <a:xfrm rot="512469">
              <a:off x="320843" y="4402506"/>
              <a:ext cx="6158644" cy="1961762"/>
            </a:xfrm>
            <a:prstGeom prst="rect">
              <a:avLst/>
            </a:prstGeom>
          </p:spPr>
        </p:pic>
        <p:pic>
          <p:nvPicPr>
            <p:cNvPr id="10" name="Рисунок 9">
              <a:extLst>
                <a:ext uri="{FF2B5EF4-FFF2-40B4-BE49-F238E27FC236}">
                  <a16:creationId xmlns="" xmlns:a16="http://schemas.microsoft.com/office/drawing/2014/main" id="{19C86527-9B40-45FE-963D-45EAC5E79D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t="21862"/>
            <a:stretch/>
          </p:blipFill>
          <p:spPr>
            <a:xfrm>
              <a:off x="1722962" y="2390275"/>
              <a:ext cx="5776244" cy="250937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88DF2B73-DE01-4804-8F82-F5F379C47B8B}"/>
              </a:ext>
            </a:extLst>
          </p:cNvPr>
          <p:cNvSpPr txBox="1"/>
          <p:nvPr/>
        </p:nvSpPr>
        <p:spPr>
          <a:xfrm>
            <a:off x="306591" y="1379493"/>
            <a:ext cx="6144126" cy="5170646"/>
          </a:xfrm>
          <a:prstGeom prst="rect">
            <a:avLst/>
          </a:prstGeom>
          <a:solidFill>
            <a:srgbClr val="FFFFFF">
              <a:alpha val="78824"/>
            </a:srgbClr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marL="285750" indent="-285750">
              <a:spcAft>
                <a:spcPts val="1200"/>
              </a:spcAft>
              <a:buFont typeface="Wingdings" panose="05000000000000000000" pitchFamily="2" charset="2"/>
              <a:buChar char="§"/>
              <a:defRPr sz="2000"/>
            </a:lvl1pPr>
          </a:lstStyle>
          <a:p>
            <a:endParaRPr lang="ru-RU" sz="800" b="1" dirty="0"/>
          </a:p>
          <a:p>
            <a:pPr>
              <a:buClr>
                <a:schemeClr val="tx2">
                  <a:lumMod val="90000"/>
                  <a:lumOff val="10000"/>
                </a:schemeClr>
              </a:buClr>
            </a:pPr>
            <a:r>
              <a:rPr lang="ru-RU" b="1" dirty="0"/>
              <a:t>Единый стандарт </a:t>
            </a:r>
            <a:r>
              <a:rPr lang="ru-RU" dirty="0"/>
              <a:t>на федеральном </a:t>
            </a:r>
            <a:r>
              <a:rPr lang="ru-RU" dirty="0" smtClean="0"/>
              <a:t>уровне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включает требования к услугам</a:t>
            </a:r>
            <a:r>
              <a:rPr lang="en-US" dirty="0"/>
              <a:t>, </a:t>
            </a:r>
            <a:r>
              <a:rPr lang="ru-RU" dirty="0"/>
              <a:t>помещениям </a:t>
            </a:r>
            <a:br>
              <a:rPr lang="ru-RU" dirty="0"/>
            </a:br>
            <a:r>
              <a:rPr lang="ru-RU" dirty="0"/>
              <a:t>и единый бренд</a:t>
            </a:r>
          </a:p>
          <a:p>
            <a:pPr>
              <a:buClr>
                <a:schemeClr val="tx2">
                  <a:lumMod val="90000"/>
                  <a:lumOff val="10000"/>
                </a:schemeClr>
              </a:buClr>
            </a:pPr>
            <a:r>
              <a:rPr lang="ru-RU" b="1" dirty="0"/>
              <a:t>Пилотные проекты </a:t>
            </a:r>
            <a:r>
              <a:rPr lang="ru-RU" dirty="0"/>
              <a:t>по внедрению стандарта </a:t>
            </a:r>
            <a:br>
              <a:rPr lang="ru-RU" dirty="0"/>
            </a:br>
            <a:r>
              <a:rPr lang="ru-RU" dirty="0"/>
              <a:t>в центрах занятости населения уже начались – </a:t>
            </a:r>
            <a:br>
              <a:rPr lang="ru-RU" dirty="0"/>
            </a:br>
            <a:r>
              <a:rPr lang="ru-RU" dirty="0"/>
              <a:t>16 регионов в 2019 году</a:t>
            </a:r>
          </a:p>
          <a:p>
            <a:pPr>
              <a:buClr>
                <a:schemeClr val="tx2">
                  <a:lumMod val="90000"/>
                  <a:lumOff val="10000"/>
                </a:schemeClr>
              </a:buClr>
            </a:pPr>
            <a:r>
              <a:rPr lang="ru-RU" dirty="0"/>
              <a:t>Первые результаты к концу года – </a:t>
            </a:r>
            <a:br>
              <a:rPr lang="ru-RU" dirty="0"/>
            </a:br>
            <a:r>
              <a:rPr lang="ru-RU" b="1" dirty="0" err="1"/>
              <a:t>проактивная</a:t>
            </a:r>
            <a:r>
              <a:rPr lang="ru-RU" b="1" dirty="0"/>
              <a:t> работа </a:t>
            </a:r>
            <a:r>
              <a:rPr lang="ru-RU" dirty="0"/>
              <a:t>с населением </a:t>
            </a:r>
            <a:br>
              <a:rPr lang="ru-RU" dirty="0"/>
            </a:br>
            <a:r>
              <a:rPr lang="ru-RU" dirty="0"/>
              <a:t>и работодателями</a:t>
            </a:r>
          </a:p>
          <a:p>
            <a:pPr>
              <a:buClr>
                <a:schemeClr val="tx2">
                  <a:lumMod val="90000"/>
                  <a:lumOff val="10000"/>
                </a:schemeClr>
              </a:buClr>
            </a:pPr>
            <a:r>
              <a:rPr lang="ru-RU" dirty="0"/>
              <a:t>Результат </a:t>
            </a:r>
            <a:r>
              <a:rPr lang="ru-RU" b="1" dirty="0"/>
              <a:t>оценят получатели услуг</a:t>
            </a:r>
            <a:r>
              <a:rPr lang="ru-RU" dirty="0"/>
              <a:t>, </a:t>
            </a:r>
            <a:br>
              <a:rPr lang="ru-RU" dirty="0"/>
            </a:br>
            <a:r>
              <a:rPr lang="ru-RU" dirty="0"/>
              <a:t>их удовлетворенность – один из целевых показателей проекта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81421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2F9F36B5-7004-4D8F-B135-C7F707A8636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3839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57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D78EBD00-B306-46DB-B545-8153FC766F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иложения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6C3D37E9-37B1-4DC4-8B31-45ECCC3268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0A194987-C7B4-434F-89D3-8891DEA359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591388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620"/>
          <a:stretch/>
        </p:blipFill>
        <p:spPr>
          <a:xfrm>
            <a:off x="0" y="777922"/>
            <a:ext cx="12192000" cy="5670646"/>
          </a:xfrm>
          <a:prstGeom prst="rect">
            <a:avLst/>
          </a:prstGeom>
        </p:spPr>
      </p:pic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32" name="Прямоугольник 4">
            <a:extLst>
              <a:ext uri="{FF2B5EF4-FFF2-40B4-BE49-F238E27FC236}">
                <a16:creationId xmlns="" xmlns:a16="http://schemas.microsoft.com/office/drawing/2014/main" id="{FE05470B-B3F8-4F07-AA7A-1A58723EE07D}"/>
              </a:ext>
            </a:extLst>
          </p:cNvPr>
          <p:cNvSpPr/>
          <p:nvPr/>
        </p:nvSpPr>
        <p:spPr>
          <a:xfrm>
            <a:off x="0" y="779761"/>
            <a:ext cx="12192003" cy="598664"/>
          </a:xfrm>
          <a:prstGeom prst="rect">
            <a:avLst/>
          </a:prstGeom>
          <a:solidFill>
            <a:schemeClr val="tx2">
              <a:lumMod val="90000"/>
              <a:lumOff val="10000"/>
            </a:scheme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chemeClr val="bg1"/>
              </a:solidFill>
            </a:endParaRPr>
          </a:p>
          <a:p>
            <a:pPr algn="ctr"/>
            <a:r>
              <a:rPr lang="ru-RU" sz="2000" b="1" dirty="0">
                <a:solidFill>
                  <a:schemeClr val="bg1"/>
                </a:solidFill>
              </a:rPr>
              <a:t>Цель национального проекта – обеспечить к 2024 году:</a:t>
            </a:r>
            <a:endParaRPr lang="ru-RU" b="1" dirty="0">
              <a:solidFill>
                <a:schemeClr val="bg1"/>
              </a:solidFill>
            </a:endParaRPr>
          </a:p>
          <a:p>
            <a:endParaRPr lang="ru-RU" sz="1400" b="1" dirty="0">
              <a:solidFill>
                <a:schemeClr val="bg1"/>
              </a:solidFill>
            </a:endParaRPr>
          </a:p>
        </p:txBody>
      </p:sp>
      <p:grpSp>
        <p:nvGrpSpPr>
          <p:cNvPr id="30" name="Группа 29"/>
          <p:cNvGrpSpPr/>
          <p:nvPr/>
        </p:nvGrpSpPr>
        <p:grpSpPr>
          <a:xfrm>
            <a:off x="491324" y="1467515"/>
            <a:ext cx="11177518" cy="893544"/>
            <a:chOff x="-347431" y="1658587"/>
            <a:chExt cx="11318509" cy="893544"/>
          </a:xfrm>
        </p:grpSpPr>
        <p:grpSp>
          <p:nvGrpSpPr>
            <p:cNvPr id="29" name="Группа 28"/>
            <p:cNvGrpSpPr/>
            <p:nvPr/>
          </p:nvGrpSpPr>
          <p:grpSpPr>
            <a:xfrm>
              <a:off x="-347431" y="1669141"/>
              <a:ext cx="4701067" cy="882990"/>
              <a:chOff x="-347431" y="1669141"/>
              <a:chExt cx="4701067" cy="882990"/>
            </a:xfrm>
          </p:grpSpPr>
          <p:sp>
            <p:nvSpPr>
              <p:cNvPr id="35" name="Прямоугольник 4">
                <a:extLst>
                  <a:ext uri="{FF2B5EF4-FFF2-40B4-BE49-F238E27FC236}">
                    <a16:creationId xmlns="" xmlns:a16="http://schemas.microsoft.com/office/drawing/2014/main" id="{FE05470B-B3F8-4F07-AA7A-1A58723EE07D}"/>
                  </a:ext>
                </a:extLst>
              </p:cNvPr>
              <p:cNvSpPr/>
              <p:nvPr/>
            </p:nvSpPr>
            <p:spPr>
              <a:xfrm>
                <a:off x="-347431" y="1669141"/>
                <a:ext cx="4701067" cy="882990"/>
              </a:xfrm>
              <a:prstGeom prst="rect">
                <a:avLst/>
              </a:prstGeom>
              <a:solidFill>
                <a:schemeClr val="tx2">
                  <a:lumMod val="90000"/>
                  <a:lumOff val="10000"/>
                </a:schemeClr>
              </a:solidFill>
              <a:ln w="158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ru-RU" sz="1200" b="1" dirty="0">
                  <a:solidFill>
                    <a:schemeClr val="bg1"/>
                  </a:solidFill>
                </a:endParaRPr>
              </a:p>
              <a:p>
                <a:pPr lvl="3"/>
                <a:r>
                  <a:rPr lang="ru-RU" sz="1200" dirty="0">
                    <a:solidFill>
                      <a:schemeClr val="bg1"/>
                    </a:solidFill>
                  </a:rPr>
                  <a:t>Ежегодный прирост производительности труда на средних и крупных предприятиях базовых </a:t>
                </a:r>
                <a:r>
                  <a:rPr lang="ru-RU" sz="1200" dirty="0" err="1">
                    <a:solidFill>
                      <a:schemeClr val="bg1"/>
                    </a:solidFill>
                  </a:rPr>
                  <a:t>несырьевых</a:t>
                </a:r>
                <a:r>
                  <a:rPr lang="ru-RU" sz="1200" dirty="0">
                    <a:solidFill>
                      <a:schemeClr val="bg1"/>
                    </a:solidFill>
                  </a:rPr>
                  <a:t> отраслей экономики</a:t>
                </a:r>
                <a:endParaRPr lang="ru-RU" sz="1100" dirty="0">
                  <a:solidFill>
                    <a:schemeClr val="bg1"/>
                  </a:solidFill>
                </a:endParaRPr>
              </a:p>
              <a:p>
                <a:endParaRPr lang="ru-RU" sz="105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" name="TextBox 13"/>
              <p:cNvSpPr txBox="1"/>
              <p:nvPr/>
            </p:nvSpPr>
            <p:spPr>
              <a:xfrm>
                <a:off x="-234735" y="1746139"/>
                <a:ext cx="1242090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4000" b="1" dirty="0">
                    <a:solidFill>
                      <a:schemeClr val="bg1"/>
                    </a:solidFill>
                  </a:rPr>
                  <a:t>+5%</a:t>
                </a:r>
              </a:p>
            </p:txBody>
          </p:sp>
        </p:grpSp>
        <p:grpSp>
          <p:nvGrpSpPr>
            <p:cNvPr id="37" name="Группа 36"/>
            <p:cNvGrpSpPr/>
            <p:nvPr/>
          </p:nvGrpSpPr>
          <p:grpSpPr>
            <a:xfrm>
              <a:off x="4478742" y="1669141"/>
              <a:ext cx="4051102" cy="882990"/>
              <a:chOff x="152402" y="1669141"/>
              <a:chExt cx="4051102" cy="882990"/>
            </a:xfrm>
          </p:grpSpPr>
          <p:sp>
            <p:nvSpPr>
              <p:cNvPr id="38" name="Прямоугольник 4">
                <a:extLst>
                  <a:ext uri="{FF2B5EF4-FFF2-40B4-BE49-F238E27FC236}">
                    <a16:creationId xmlns="" xmlns:a16="http://schemas.microsoft.com/office/drawing/2014/main" id="{FE05470B-B3F8-4F07-AA7A-1A58723EE07D}"/>
                  </a:ext>
                </a:extLst>
              </p:cNvPr>
              <p:cNvSpPr/>
              <p:nvPr/>
            </p:nvSpPr>
            <p:spPr>
              <a:xfrm>
                <a:off x="152402" y="1669141"/>
                <a:ext cx="4051102" cy="882990"/>
              </a:xfrm>
              <a:prstGeom prst="rect">
                <a:avLst/>
              </a:prstGeom>
              <a:solidFill>
                <a:schemeClr val="tx2">
                  <a:lumMod val="90000"/>
                  <a:lumOff val="10000"/>
                </a:schemeClr>
              </a:solidFill>
              <a:ln w="158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ru-RU" sz="1200" b="1" dirty="0">
                  <a:solidFill>
                    <a:schemeClr val="bg1"/>
                  </a:solidFill>
                </a:endParaRPr>
              </a:p>
              <a:p>
                <a:pPr lvl="4"/>
                <a:r>
                  <a:rPr lang="ru-RU" sz="1200" dirty="0">
                    <a:solidFill>
                      <a:schemeClr val="bg1"/>
                    </a:solidFill>
                  </a:rPr>
                  <a:t>Предприятий-участников</a:t>
                </a:r>
                <a:endParaRPr lang="ru-RU" sz="1100" dirty="0">
                  <a:solidFill>
                    <a:schemeClr val="bg1"/>
                  </a:solidFill>
                </a:endParaRPr>
              </a:p>
              <a:p>
                <a:endParaRPr lang="ru-RU" sz="105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9" name="TextBox 38"/>
              <p:cNvSpPr txBox="1"/>
              <p:nvPr/>
            </p:nvSpPr>
            <p:spPr>
              <a:xfrm>
                <a:off x="166049" y="1746139"/>
                <a:ext cx="1754006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4000" b="1" dirty="0">
                    <a:solidFill>
                      <a:schemeClr val="bg1"/>
                    </a:solidFill>
                  </a:rPr>
                  <a:t>10 000</a:t>
                </a:r>
              </a:p>
            </p:txBody>
          </p:sp>
        </p:grpSp>
        <p:grpSp>
          <p:nvGrpSpPr>
            <p:cNvPr id="40" name="Группа 39"/>
            <p:cNvGrpSpPr/>
            <p:nvPr/>
          </p:nvGrpSpPr>
          <p:grpSpPr>
            <a:xfrm>
              <a:off x="8655511" y="1658587"/>
              <a:ext cx="2315567" cy="882990"/>
              <a:chOff x="-98349" y="1669141"/>
              <a:chExt cx="4201235" cy="882990"/>
            </a:xfrm>
          </p:grpSpPr>
          <p:sp>
            <p:nvSpPr>
              <p:cNvPr id="41" name="Прямоугольник 4">
                <a:extLst>
                  <a:ext uri="{FF2B5EF4-FFF2-40B4-BE49-F238E27FC236}">
                    <a16:creationId xmlns="" xmlns:a16="http://schemas.microsoft.com/office/drawing/2014/main" id="{FE05470B-B3F8-4F07-AA7A-1A58723EE07D}"/>
                  </a:ext>
                </a:extLst>
              </p:cNvPr>
              <p:cNvSpPr/>
              <p:nvPr/>
            </p:nvSpPr>
            <p:spPr>
              <a:xfrm>
                <a:off x="-98349" y="1669141"/>
                <a:ext cx="4201235" cy="882990"/>
              </a:xfrm>
              <a:prstGeom prst="rect">
                <a:avLst/>
              </a:prstGeom>
              <a:solidFill>
                <a:schemeClr val="tx2">
                  <a:lumMod val="90000"/>
                  <a:lumOff val="10000"/>
                </a:schemeClr>
              </a:solidFill>
              <a:ln w="158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ru-RU" sz="1200" b="1" dirty="0">
                  <a:solidFill>
                    <a:schemeClr val="bg1"/>
                  </a:solidFill>
                </a:endParaRPr>
              </a:p>
              <a:p>
                <a:pPr lvl="2"/>
                <a:r>
                  <a:rPr lang="ru-RU" sz="1200" dirty="0">
                    <a:solidFill>
                      <a:schemeClr val="bg1"/>
                    </a:solidFill>
                  </a:rPr>
                  <a:t>Субъектов РФ</a:t>
                </a:r>
                <a:endParaRPr lang="ru-RU" sz="1100" dirty="0">
                  <a:solidFill>
                    <a:schemeClr val="bg1"/>
                  </a:solidFill>
                </a:endParaRPr>
              </a:p>
              <a:p>
                <a:endParaRPr lang="ru-RU" sz="105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2" name="TextBox 41"/>
              <p:cNvSpPr txBox="1"/>
              <p:nvPr/>
            </p:nvSpPr>
            <p:spPr>
              <a:xfrm>
                <a:off x="206993" y="1746139"/>
                <a:ext cx="755335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4000" b="1" dirty="0">
                    <a:solidFill>
                      <a:schemeClr val="bg1"/>
                    </a:solidFill>
                  </a:rPr>
                  <a:t>85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3611044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5771" y="714408"/>
            <a:ext cx="11530869" cy="439152"/>
          </a:xfrm>
        </p:spPr>
        <p:txBody>
          <a:bodyPr/>
          <a:lstStyle/>
          <a:p>
            <a:r>
              <a:rPr lang="ru-RU" dirty="0"/>
              <a:t>Программа курса обучения управленческих кадров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20</a:t>
            </a:fld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499002" y="1279681"/>
            <a:ext cx="13334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/>
              <a:t>Чему учат?</a:t>
            </a:r>
          </a:p>
        </p:txBody>
      </p:sp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2476529331"/>
              </p:ext>
            </p:extLst>
          </p:nvPr>
        </p:nvGraphicFramePr>
        <p:xfrm>
          <a:off x="-291630" y="1752398"/>
          <a:ext cx="4762500" cy="44695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8" name="Рисунок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96576" y="1249946"/>
            <a:ext cx="1095375" cy="390525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/>
        </p:nvCxnSpPr>
        <p:spPr>
          <a:xfrm>
            <a:off x="378224" y="1624429"/>
            <a:ext cx="363656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4539994" y="1285875"/>
            <a:ext cx="194829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/>
              <a:t>Программа курса</a:t>
            </a:r>
          </a:p>
        </p:txBody>
      </p:sp>
      <p:sp>
        <p:nvSpPr>
          <p:cNvPr id="13" name="Pentagon 27">
            <a:extLst>
              <a:ext uri="{FF2B5EF4-FFF2-40B4-BE49-F238E27FC236}">
                <a16:creationId xmlns="" xmlns:a16="http://schemas.microsoft.com/office/drawing/2014/main" id="{63533FE3-AD6B-4B9F-ADC9-8A4AD25156C3}"/>
              </a:ext>
            </a:extLst>
          </p:cNvPr>
          <p:cNvSpPr/>
          <p:nvPr/>
        </p:nvSpPr>
        <p:spPr bwMode="gray">
          <a:xfrm>
            <a:off x="4600353" y="1752398"/>
            <a:ext cx="1224000" cy="923330"/>
          </a:xfrm>
          <a:prstGeom prst="rect">
            <a:avLst/>
          </a:prstGeom>
          <a:solidFill>
            <a:srgbClr val="FFC000"/>
          </a:solidFill>
          <a:ln w="19050" algn="ctr">
            <a:noFill/>
            <a:miter lim="800000"/>
            <a:headEnd/>
            <a:tailEnd/>
          </a:ln>
        </p:spPr>
        <p:txBody>
          <a:bodyPr wrap="square" lIns="27000" tIns="0" rIns="27000" bIns="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Экономика и организация производства</a:t>
            </a:r>
          </a:p>
          <a:p>
            <a:pPr algn="ctr">
              <a:lnSpc>
                <a:spcPct val="106000"/>
              </a:lnSpc>
            </a:pPr>
            <a:r>
              <a:rPr lang="ru-RU" sz="1200" b="1" dirty="0"/>
              <a:t>Модуль 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1731B167-EC49-45A4-B37F-DA724C4DF136}"/>
              </a:ext>
            </a:extLst>
          </p:cNvPr>
          <p:cNvSpPr txBox="1"/>
          <p:nvPr/>
        </p:nvSpPr>
        <p:spPr>
          <a:xfrm>
            <a:off x="5929290" y="1752398"/>
            <a:ext cx="5851008" cy="92333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Производительность в мире и в России: тенденции и аналитика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Российские и мировые практики повышения производительности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Эффективное управление производственной компанией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Работа с людьми и мотивация команд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Технологии в производстве: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igital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трансформация компаний</a:t>
            </a:r>
          </a:p>
        </p:txBody>
      </p:sp>
      <p:sp>
        <p:nvSpPr>
          <p:cNvPr id="15" name="Pentagon 27">
            <a:extLst>
              <a:ext uri="{FF2B5EF4-FFF2-40B4-BE49-F238E27FC236}">
                <a16:creationId xmlns="" xmlns:a16="http://schemas.microsoft.com/office/drawing/2014/main" id="{27686714-84CB-453B-9A37-CEC052AB5DD0}"/>
              </a:ext>
            </a:extLst>
          </p:cNvPr>
          <p:cNvSpPr/>
          <p:nvPr/>
        </p:nvSpPr>
        <p:spPr bwMode="gray">
          <a:xfrm>
            <a:off x="4600353" y="2744286"/>
            <a:ext cx="1224000" cy="750141"/>
          </a:xfrm>
          <a:prstGeom prst="rect">
            <a:avLst/>
          </a:prstGeom>
          <a:solidFill>
            <a:srgbClr val="FFC000"/>
          </a:solidFill>
          <a:ln w="19050" algn="ctr">
            <a:noFill/>
            <a:miter lim="800000"/>
            <a:headEnd/>
            <a:tailEnd/>
          </a:ln>
        </p:spPr>
        <p:txBody>
          <a:bodyPr wrap="square" lIns="27000" tIns="0" rIns="27000" bIns="0" rtlCol="0" anchor="ctr"/>
          <a:lstStyle/>
          <a:p>
            <a:pPr algn="ctr">
              <a:lnSpc>
                <a:spcPct val="106000"/>
              </a:lnSpc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Бизнес-навыки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ru-RU" sz="1100" b="1" dirty="0"/>
          </a:p>
          <a:p>
            <a:pPr algn="ctr">
              <a:lnSpc>
                <a:spcPct val="106000"/>
              </a:lnSpc>
            </a:pPr>
            <a:r>
              <a:rPr lang="ru-RU" sz="1200" b="1" dirty="0"/>
              <a:t>Модуль 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2F7E5F30-16D9-44EA-8D51-D559BA4C90C4}"/>
              </a:ext>
            </a:extLst>
          </p:cNvPr>
          <p:cNvSpPr txBox="1"/>
          <p:nvPr/>
        </p:nvSpPr>
        <p:spPr>
          <a:xfrm>
            <a:off x="5929290" y="2739730"/>
            <a:ext cx="5849390" cy="7386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Управление изменениями в проектах по повышению производительности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Понимание рынка, потребностей клиентов, выстраивание партнерских взаимоотношений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Управление финансами </a:t>
            </a:r>
          </a:p>
        </p:txBody>
      </p:sp>
      <p:sp>
        <p:nvSpPr>
          <p:cNvPr id="17" name="Pentagon 27">
            <a:extLst>
              <a:ext uri="{FF2B5EF4-FFF2-40B4-BE49-F238E27FC236}">
                <a16:creationId xmlns="" xmlns:a16="http://schemas.microsoft.com/office/drawing/2014/main" id="{7C73798C-DC72-4D55-982B-9FD9286C7825}"/>
              </a:ext>
            </a:extLst>
          </p:cNvPr>
          <p:cNvSpPr/>
          <p:nvPr/>
        </p:nvSpPr>
        <p:spPr bwMode="gray">
          <a:xfrm>
            <a:off x="4600353" y="3562985"/>
            <a:ext cx="1224000" cy="741051"/>
          </a:xfrm>
          <a:prstGeom prst="rect">
            <a:avLst/>
          </a:prstGeom>
          <a:solidFill>
            <a:srgbClr val="FFC000"/>
          </a:solidFill>
          <a:ln w="19050" algn="ctr">
            <a:noFill/>
            <a:miter lim="800000"/>
            <a:headEnd/>
            <a:tailEnd/>
          </a:ln>
        </p:spPr>
        <p:txBody>
          <a:bodyPr wrap="square" lIns="27000" tIns="0" rIns="27000" bIns="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пециализации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ru-RU" sz="1100" b="1" dirty="0"/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ru-RU" sz="1200" b="1" dirty="0"/>
              <a:t>Модуль 3</a:t>
            </a:r>
            <a:r>
              <a:rPr lang="ru-RU" sz="1100" b="1" dirty="0"/>
              <a:t>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F1B9AF2E-7DA1-4871-B59E-D9D97C88A264}"/>
              </a:ext>
            </a:extLst>
          </p:cNvPr>
          <p:cNvSpPr txBox="1"/>
          <p:nvPr/>
        </p:nvSpPr>
        <p:spPr>
          <a:xfrm>
            <a:off x="5929290" y="3542396"/>
            <a:ext cx="5836119" cy="7386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тратегическое управление производством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Маркетинг и продажи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Управление персоналом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Управление производством и логистикой</a:t>
            </a:r>
          </a:p>
        </p:txBody>
      </p:sp>
      <p:sp>
        <p:nvSpPr>
          <p:cNvPr id="19" name="Pentagon 27">
            <a:extLst>
              <a:ext uri="{FF2B5EF4-FFF2-40B4-BE49-F238E27FC236}">
                <a16:creationId xmlns="" xmlns:a16="http://schemas.microsoft.com/office/drawing/2014/main" id="{934A27CF-6D7E-4A19-86C8-1B5469A99E33}"/>
              </a:ext>
            </a:extLst>
          </p:cNvPr>
          <p:cNvSpPr/>
          <p:nvPr/>
        </p:nvSpPr>
        <p:spPr bwMode="gray">
          <a:xfrm>
            <a:off x="4600353" y="4372594"/>
            <a:ext cx="1224000" cy="553997"/>
          </a:xfrm>
          <a:prstGeom prst="rect">
            <a:avLst/>
          </a:prstGeom>
          <a:solidFill>
            <a:srgbClr val="FFC000"/>
          </a:solidFill>
          <a:ln w="19050" algn="ctr">
            <a:noFill/>
            <a:miter lim="800000"/>
            <a:headEnd/>
            <a:tailEnd/>
          </a:ln>
        </p:spPr>
        <p:txBody>
          <a:bodyPr wrap="square" lIns="27000" tIns="0" rIns="27000" bIns="0" rtlCol="0" anchor="ctr"/>
          <a:lstStyle/>
          <a:p>
            <a:pPr algn="ctr">
              <a:lnSpc>
                <a:spcPct val="106000"/>
              </a:lnSpc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тажировка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ru-RU" sz="1200" b="1" dirty="0" smtClean="0"/>
              <a:t>Модуль </a:t>
            </a:r>
            <a:r>
              <a:rPr lang="ru-RU" sz="1200" b="1" dirty="0"/>
              <a:t>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2644C4EF-32DB-4E97-97B1-EC2EE276AF5F}"/>
              </a:ext>
            </a:extLst>
          </p:cNvPr>
          <p:cNvSpPr txBox="1"/>
          <p:nvPr/>
        </p:nvSpPr>
        <p:spPr>
          <a:xfrm>
            <a:off x="5929290" y="4345062"/>
            <a:ext cx="5849389" cy="5539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Работа над проектами на предприятиях участников программы</a:t>
            </a:r>
          </a:p>
          <a:p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entagon 27">
            <a:extLst>
              <a:ext uri="{FF2B5EF4-FFF2-40B4-BE49-F238E27FC236}">
                <a16:creationId xmlns="" xmlns:a16="http://schemas.microsoft.com/office/drawing/2014/main" id="{2F63481E-8AB1-480B-9E58-BB2CAE74FC89}"/>
              </a:ext>
            </a:extLst>
          </p:cNvPr>
          <p:cNvSpPr/>
          <p:nvPr/>
        </p:nvSpPr>
        <p:spPr bwMode="gray">
          <a:xfrm>
            <a:off x="4588080" y="4995149"/>
            <a:ext cx="1224000" cy="1075909"/>
          </a:xfrm>
          <a:prstGeom prst="rect">
            <a:avLst/>
          </a:prstGeom>
          <a:solidFill>
            <a:srgbClr val="FFC000"/>
          </a:solidFill>
          <a:ln w="19050" algn="ctr">
            <a:noFill/>
            <a:miter lim="800000"/>
            <a:headEnd/>
            <a:tailEnd/>
          </a:ln>
        </p:spPr>
        <p:txBody>
          <a:bodyPr wrap="square" lIns="27000" tIns="0" rIns="27000" bIns="0" rtlCol="0" anchor="ctr"/>
          <a:lstStyle/>
          <a:p>
            <a:pPr algn="ctr">
              <a:lnSpc>
                <a:spcPct val="106000"/>
              </a:lnSpc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Личная эффективность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Защита проектов</a:t>
            </a:r>
          </a:p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ru-RU" sz="1200" b="1" dirty="0"/>
              <a:t>Модуль 5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258F710E-803B-4031-BDCD-814884BA274A}"/>
              </a:ext>
            </a:extLst>
          </p:cNvPr>
          <p:cNvSpPr txBox="1"/>
          <p:nvPr/>
        </p:nvSpPr>
        <p:spPr>
          <a:xfrm>
            <a:off x="5929290" y="4963062"/>
            <a:ext cx="5836118" cy="110799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Развитие личной эффективности  руководителя (управленческие и коммуникативные навыки в зависимости от индивидуальных потребностей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Защита проектов перед экспертной комиссией с участием Заказчиков программы: полноценная обратная связь как инструмент дальнейшего развития  и внедрения проекта в работу</a:t>
            </a:r>
          </a:p>
          <a:p>
            <a:pPr marL="285750" indent="-285750"/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4470870" y="1624429"/>
            <a:ext cx="730780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>
            <a:extLst>
              <a:ext uri="{FF2B5EF4-FFF2-40B4-BE49-F238E27FC236}">
                <a16:creationId xmlns="" xmlns:a16="http://schemas.microsoft.com/office/drawing/2014/main" id="{F0958B9E-569D-439F-BB78-6FD2FAD04DDF}"/>
              </a:ext>
            </a:extLst>
          </p:cNvPr>
          <p:cNvSpPr/>
          <p:nvPr/>
        </p:nvSpPr>
        <p:spPr>
          <a:xfrm>
            <a:off x="8915400" y="190696"/>
            <a:ext cx="2000640" cy="3913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Приложение А</a:t>
            </a:r>
          </a:p>
        </p:txBody>
      </p:sp>
      <p:sp>
        <p:nvSpPr>
          <p:cNvPr id="29" name="Стрелка вправо 28"/>
          <p:cNvSpPr/>
          <p:nvPr/>
        </p:nvSpPr>
        <p:spPr>
          <a:xfrm>
            <a:off x="4599296" y="6135059"/>
            <a:ext cx="1224155" cy="390286"/>
          </a:xfrm>
          <a:prstGeom prst="rightArrow">
            <a:avLst/>
          </a:prstGeom>
          <a:solidFill>
            <a:srgbClr val="203277"/>
          </a:solidFill>
          <a:ln w="19050" algn="ctr">
            <a:noFill/>
            <a:miter lim="800000"/>
            <a:headEnd/>
            <a:tailEnd/>
          </a:ln>
        </p:spPr>
        <p:txBody>
          <a:bodyPr wrap="square" lIns="27000" tIns="0" rIns="27000" bIns="0" rtlCol="0" anchor="ctr"/>
          <a:lstStyle/>
          <a:p>
            <a:pPr algn="ctr">
              <a:lnSpc>
                <a:spcPct val="106000"/>
              </a:lnSpc>
            </a:pPr>
            <a:endParaRPr lang="ru-RU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929290" y="6135059"/>
            <a:ext cx="5837736" cy="36933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marL="285750" indent="-285750"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10% </a:t>
            </a:r>
            <a:r>
              <a:rPr lang="ru-RU" dirty="0"/>
              <a:t>лучших студентов пройдут зарубежную стажировку – в Японии, Германии или Франции</a:t>
            </a:r>
          </a:p>
        </p:txBody>
      </p:sp>
    </p:spTree>
    <p:extLst>
      <p:ext uri="{BB962C8B-B14F-4D97-AF65-F5344CB8AC3E}">
        <p14:creationId xmlns:p14="http://schemas.microsoft.com/office/powerpoint/2010/main" val="194463336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5B942360-9978-4D3F-B227-06ED1CD2E45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4415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4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D52957DF-1578-4288-8434-C5F790C044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931ADD96-7045-4266-AC37-A311C6335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екомендации по обучению в федеральном проекте «Поддержка занятости»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472ADFE5-B003-4505-B338-55B9DDFA6E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55E8FF3D-81A9-49A9-8396-043BA009FF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21</a:t>
            </a:fld>
            <a:endParaRPr lang="ru-RU" dirty="0"/>
          </a:p>
        </p:txBody>
      </p:sp>
      <p:sp>
        <p:nvSpPr>
          <p:cNvPr id="17" name="Прямоугольник 16">
            <a:extLst>
              <a:ext uri="{FF2B5EF4-FFF2-40B4-BE49-F238E27FC236}">
                <a16:creationId xmlns="" xmlns:a16="http://schemas.microsoft.com/office/drawing/2014/main" id="{BD27AA74-48AF-44EB-84FC-DB1D80141AA1}"/>
              </a:ext>
            </a:extLst>
          </p:cNvPr>
          <p:cNvSpPr/>
          <p:nvPr/>
        </p:nvSpPr>
        <p:spPr>
          <a:xfrm>
            <a:off x="316182" y="1444828"/>
            <a:ext cx="11540458" cy="44472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>
            <a:extLst>
              <a:ext uri="{FF2B5EF4-FFF2-40B4-BE49-F238E27FC236}">
                <a16:creationId xmlns="" xmlns:a16="http://schemas.microsoft.com/office/drawing/2014/main" id="{C3960D1B-74F5-462D-B521-0969ABF20C65}"/>
              </a:ext>
            </a:extLst>
          </p:cNvPr>
          <p:cNvSpPr/>
          <p:nvPr/>
        </p:nvSpPr>
        <p:spPr>
          <a:xfrm>
            <a:off x="427371" y="2854007"/>
            <a:ext cx="2398008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/>
              <a:t>Критерии оценки обучающих программ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="" xmlns:a16="http://schemas.microsoft.com/office/drawing/2014/main" id="{2DAA1635-F7BC-4ABE-9A35-5F75C0AB7708}"/>
              </a:ext>
            </a:extLst>
          </p:cNvPr>
          <p:cNvSpPr/>
          <p:nvPr/>
        </p:nvSpPr>
        <p:spPr>
          <a:xfrm>
            <a:off x="439744" y="1783215"/>
            <a:ext cx="2398008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/>
              <a:t>Критерии оценки обучающих организаций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="" xmlns:a16="http://schemas.microsoft.com/office/drawing/2014/main" id="{4E505113-ADB8-4CE3-81F7-F5E9A1E02A15}"/>
              </a:ext>
            </a:extLst>
          </p:cNvPr>
          <p:cNvSpPr/>
          <p:nvPr/>
        </p:nvSpPr>
        <p:spPr>
          <a:xfrm>
            <a:off x="427371" y="3920095"/>
            <a:ext cx="2398008" cy="160043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/>
              <a:t>Направления обучения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50335EBF-FBBB-4FD5-B348-3D4CA2C19BE0}"/>
              </a:ext>
            </a:extLst>
          </p:cNvPr>
          <p:cNvSpPr txBox="1"/>
          <p:nvPr/>
        </p:nvSpPr>
        <p:spPr>
          <a:xfrm>
            <a:off x="2866135" y="2944839"/>
            <a:ext cx="7721473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Соответствие целям повышения производительности труда и направлениям обучения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Практическая направленность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Возможность оценить эффективность и получить внешние оценки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82070C97-6127-48A9-A8FC-E526D967A3E1}"/>
              </a:ext>
            </a:extLst>
          </p:cNvPr>
          <p:cNvSpPr txBox="1"/>
          <p:nvPr/>
        </p:nvSpPr>
        <p:spPr>
          <a:xfrm>
            <a:off x="2866135" y="3923642"/>
            <a:ext cx="4426776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ru-RU" sz="1400" dirty="0"/>
              <a:t>Автоматизация и цифровизация</a:t>
            </a:r>
          </a:p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ru-RU" sz="1400" dirty="0"/>
              <a:t>Бережливое производство</a:t>
            </a:r>
          </a:p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ru-RU" sz="1400" dirty="0"/>
              <a:t>Бизнес-процессы</a:t>
            </a:r>
          </a:p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ru-RU" sz="1400" dirty="0"/>
              <a:t>Инженерные и производственные компетенции</a:t>
            </a:r>
          </a:p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ru-RU" sz="1400" dirty="0"/>
              <a:t>Логистика</a:t>
            </a:r>
          </a:p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ru-RU" sz="1400" dirty="0"/>
              <a:t>Операционный менеджмент</a:t>
            </a:r>
          </a:p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ru-RU" sz="1400" dirty="0"/>
              <a:t>Планирование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F9A0CB2B-017D-4E98-BD96-08EA3DDB3DCB}"/>
              </a:ext>
            </a:extLst>
          </p:cNvPr>
          <p:cNvSpPr txBox="1"/>
          <p:nvPr/>
        </p:nvSpPr>
        <p:spPr>
          <a:xfrm>
            <a:off x="2902445" y="1877224"/>
            <a:ext cx="6646628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Квалификация преподавателей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Рекомендации предприятий, профессиональных объединений, экспертов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/>
              <a:t>Опыт работы на рынке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D01DCA89-AE90-4E15-A5F3-E268FFA7BED1}"/>
              </a:ext>
            </a:extLst>
          </p:cNvPr>
          <p:cNvSpPr txBox="1"/>
          <p:nvPr/>
        </p:nvSpPr>
        <p:spPr>
          <a:xfrm>
            <a:off x="7292911" y="3923642"/>
            <a:ext cx="4134676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ru-RU" sz="1400" dirty="0"/>
              <a:t>Построение системы управления затратами</a:t>
            </a:r>
          </a:p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ru-RU" sz="1400" dirty="0"/>
              <a:t>Продажи и маркетинг</a:t>
            </a:r>
          </a:p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ru-RU" sz="1400" dirty="0"/>
              <a:t>Профессиональная подготовка</a:t>
            </a:r>
          </a:p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ru-RU" sz="1400" dirty="0"/>
              <a:t>Работа с поставщиками</a:t>
            </a:r>
          </a:p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ru-RU" sz="1400" dirty="0"/>
              <a:t>Развитие системы менеджмента качества</a:t>
            </a:r>
          </a:p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ru-RU" sz="1400" dirty="0"/>
              <a:t>Управление на основе данных</a:t>
            </a:r>
          </a:p>
          <a:p>
            <a:pPr marL="285750" indent="-285750" fontAlgn="t">
              <a:buFont typeface="Wingdings" panose="05000000000000000000" pitchFamily="2" charset="2"/>
              <a:buChar char="§"/>
            </a:pPr>
            <a:r>
              <a:rPr lang="ru-RU" sz="1400" dirty="0"/>
              <a:t>Управление проектами</a:t>
            </a: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="" xmlns:a16="http://schemas.microsoft.com/office/drawing/2014/main" id="{A758E744-E9B7-44ED-9F04-701DFA29CB5C}"/>
              </a:ext>
            </a:extLst>
          </p:cNvPr>
          <p:cNvCxnSpPr/>
          <p:nvPr/>
        </p:nvCxnSpPr>
        <p:spPr>
          <a:xfrm>
            <a:off x="439744" y="2777807"/>
            <a:ext cx="11221967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>
            <a:extLst>
              <a:ext uri="{FF2B5EF4-FFF2-40B4-BE49-F238E27FC236}">
                <a16:creationId xmlns="" xmlns:a16="http://schemas.microsoft.com/office/drawing/2014/main" id="{26D44824-9B11-4A81-8F66-1C5DA6D33E44}"/>
              </a:ext>
            </a:extLst>
          </p:cNvPr>
          <p:cNvCxnSpPr/>
          <p:nvPr/>
        </p:nvCxnSpPr>
        <p:spPr>
          <a:xfrm>
            <a:off x="427371" y="3831111"/>
            <a:ext cx="11221967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D2F8E30C-1E00-4D62-A09C-7E3D187DE94E}"/>
              </a:ext>
            </a:extLst>
          </p:cNvPr>
          <p:cNvSpPr/>
          <p:nvPr/>
        </p:nvSpPr>
        <p:spPr>
          <a:xfrm>
            <a:off x="8915400" y="190696"/>
            <a:ext cx="2000640" cy="3913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Приложение Б</a:t>
            </a:r>
          </a:p>
        </p:txBody>
      </p:sp>
    </p:spTree>
    <p:extLst>
      <p:ext uri="{BB962C8B-B14F-4D97-AF65-F5344CB8AC3E}">
        <p14:creationId xmlns:p14="http://schemas.microsoft.com/office/powerpoint/2010/main" val="12232803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6DFE2749-FBAF-4C96-8422-166C8E0589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106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60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="" xmlns:a16="http://schemas.microsoft.com/office/drawing/2014/main" id="{04A5C824-892B-4AE6-A6FE-21E7F2A2F24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987B043-2B04-453F-B778-6AACE00D36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Дополнительно – частые вопросы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F244B93E-18AC-45A9-AB8A-A4AC5C9D9A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79146306-9706-4D4B-9FBC-19AA9FB37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313862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>
            <a:extLst>
              <a:ext uri="{FF2B5EF4-FFF2-40B4-BE49-F238E27FC236}">
                <a16:creationId xmlns="" xmlns:a16="http://schemas.microsoft.com/office/drawing/2014/main" id="{1E6D2711-1C74-445D-AD2A-7BBF0690C6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6562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84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рямоугольник 14" hidden="1">
            <a:extLst>
              <a:ext uri="{FF2B5EF4-FFF2-40B4-BE49-F238E27FC236}">
                <a16:creationId xmlns="" xmlns:a16="http://schemas.microsoft.com/office/drawing/2014/main" id="{7C4A678A-6AC9-446F-B4F7-87CC767519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5771" y="891832"/>
            <a:ext cx="11530869" cy="439152"/>
          </a:xfrm>
        </p:spPr>
        <p:txBody>
          <a:bodyPr/>
          <a:lstStyle/>
          <a:p>
            <a:r>
              <a:rPr lang="ru-RU" dirty="0"/>
              <a:t>В чем преимущества участия для регионов?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23</a:t>
            </a:fld>
            <a:endParaRPr lang="ru-RU" dirty="0"/>
          </a:p>
        </p:txBody>
      </p:sp>
      <p:grpSp>
        <p:nvGrpSpPr>
          <p:cNvPr id="3" name="Группа 2"/>
          <p:cNvGrpSpPr/>
          <p:nvPr/>
        </p:nvGrpSpPr>
        <p:grpSpPr>
          <a:xfrm>
            <a:off x="318761" y="1537344"/>
            <a:ext cx="11677620" cy="4596801"/>
            <a:chOff x="509833" y="1400864"/>
            <a:chExt cx="11472901" cy="4596801"/>
          </a:xfrm>
        </p:grpSpPr>
        <p:sp>
          <p:nvSpPr>
            <p:cNvPr id="6" name="TextBox 5"/>
            <p:cNvSpPr txBox="1"/>
            <p:nvPr/>
          </p:nvSpPr>
          <p:spPr>
            <a:xfrm>
              <a:off x="1271239" y="1481798"/>
              <a:ext cx="10711495" cy="45089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1200"/>
                </a:spcBef>
                <a:spcAft>
                  <a:spcPts val="1800"/>
                </a:spcAft>
              </a:pPr>
              <a:r>
                <a:rPr lang="ru-RU" sz="1400" b="1" dirty="0"/>
                <a:t>Реализация комплексной программы повышения производительности труда в регионе</a:t>
              </a:r>
            </a:p>
            <a:p>
              <a:pPr>
                <a:spcBef>
                  <a:spcPts val="1200"/>
                </a:spcBef>
                <a:spcAft>
                  <a:spcPts val="1800"/>
                </a:spcAft>
              </a:pPr>
              <a:r>
                <a:rPr lang="ru-RU" sz="1400" b="1" dirty="0"/>
                <a:t>Обучение управленческих команд органов исполнительной власти региона, предприятий, служб занятости</a:t>
              </a:r>
            </a:p>
            <a:p>
              <a:pPr>
                <a:spcBef>
                  <a:spcPts val="1200"/>
                </a:spcBef>
                <a:spcAft>
                  <a:spcPts val="1800"/>
                </a:spcAft>
              </a:pPr>
              <a:r>
                <a:rPr lang="ru-RU" sz="1400" b="1" dirty="0"/>
                <a:t>Создание регионального центра компетенций (РЦК), содействующего предприятиям в повышении производительности</a:t>
              </a:r>
            </a:p>
            <a:p>
              <a:pPr>
                <a:spcBef>
                  <a:spcPts val="1200"/>
                </a:spcBef>
                <a:spcAft>
                  <a:spcPts val="1800"/>
                </a:spcAft>
              </a:pPr>
              <a:r>
                <a:rPr lang="ru-RU" sz="1400" b="1" dirty="0"/>
                <a:t>Гранты на цели повышения производительности труда</a:t>
              </a:r>
            </a:p>
            <a:p>
              <a:pPr>
                <a:spcBef>
                  <a:spcPts val="1200"/>
                </a:spcBef>
                <a:spcAft>
                  <a:spcPts val="1800"/>
                </a:spcAft>
              </a:pPr>
              <a:r>
                <a:rPr lang="ru-RU" sz="1400" b="1" dirty="0"/>
                <a:t>Обновление основных фондов предприятий региона</a:t>
              </a:r>
            </a:p>
            <a:p>
              <a:pPr>
                <a:spcBef>
                  <a:spcPts val="1200"/>
                </a:spcBef>
                <a:spcAft>
                  <a:spcPts val="1800"/>
                </a:spcAft>
              </a:pPr>
              <a:r>
                <a:rPr lang="ru-RU" sz="1400" b="1" dirty="0"/>
                <a:t>Повышение конкурентоспособности предприятий и региона</a:t>
              </a:r>
            </a:p>
            <a:p>
              <a:pPr>
                <a:spcBef>
                  <a:spcPts val="1200"/>
                </a:spcBef>
                <a:spcAft>
                  <a:spcPts val="1800"/>
                </a:spcAft>
              </a:pPr>
              <a:r>
                <a:rPr lang="ru-RU" sz="1400" b="1" dirty="0"/>
                <a:t>Увеличение налоговой базы</a:t>
              </a:r>
            </a:p>
            <a:p>
              <a:pPr>
                <a:spcBef>
                  <a:spcPts val="1200"/>
                </a:spcBef>
                <a:spcAft>
                  <a:spcPts val="1800"/>
                </a:spcAft>
              </a:pPr>
              <a:r>
                <a:rPr lang="ru-RU" sz="1400" b="1" dirty="0"/>
                <a:t>Комплексное решение проблем занятости в регионе, повышение качества и доступности услуг службы занятости</a:t>
              </a:r>
            </a:p>
          </p:txBody>
        </p:sp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51030" y="4974584"/>
              <a:ext cx="481942" cy="430671"/>
            </a:xfrm>
            <a:prstGeom prst="rect">
              <a:avLst/>
            </a:prstGeom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49763" y="4452296"/>
              <a:ext cx="583209" cy="306952"/>
            </a:xfrm>
            <a:prstGeom prst="rect">
              <a:avLst/>
            </a:prstGeom>
          </p:spPr>
        </p:pic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09833" y="2029860"/>
              <a:ext cx="672573" cy="437270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29119" y="1400864"/>
              <a:ext cx="474841" cy="454527"/>
            </a:xfrm>
            <a:prstGeom prst="rect">
              <a:avLst/>
            </a:prstGeom>
          </p:spPr>
        </p:pic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59266" y="3818944"/>
              <a:ext cx="573706" cy="469396"/>
            </a:xfrm>
            <a:prstGeom prst="rect">
              <a:avLst/>
            </a:prstGeom>
          </p:spPr>
        </p:pic>
        <p:pic>
          <p:nvPicPr>
            <p:cNvPr id="12" name="Рисунок 11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54747" y="5538374"/>
              <a:ext cx="382743" cy="459291"/>
            </a:xfrm>
            <a:prstGeom prst="rect">
              <a:avLst/>
            </a:prstGeom>
          </p:spPr>
        </p:pic>
        <p:pic>
          <p:nvPicPr>
            <p:cNvPr id="13" name="Рисунок 12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619104" y="3196725"/>
              <a:ext cx="454030" cy="463857"/>
            </a:xfrm>
            <a:prstGeom prst="rect">
              <a:avLst/>
            </a:prstGeom>
          </p:spPr>
        </p:pic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642330" y="2636024"/>
              <a:ext cx="407578" cy="38646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6469703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9E2FD929-9CCE-4C02-A5ED-885A11C299E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853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2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213CD137-9CE7-4A7A-A20D-1550A6A057C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5771" y="891832"/>
            <a:ext cx="11530869" cy="439152"/>
          </a:xfrm>
        </p:spPr>
        <p:txBody>
          <a:bodyPr/>
          <a:lstStyle/>
          <a:p>
            <a:r>
              <a:rPr lang="ru-RU" dirty="0"/>
              <a:t>В чем преимущества участия для предприятий?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24</a:t>
            </a:fld>
            <a:endParaRPr lang="ru-RU" dirty="0"/>
          </a:p>
        </p:txBody>
      </p:sp>
      <p:sp>
        <p:nvSpPr>
          <p:cNvPr id="15" name="Rectangle 40">
            <a:extLst>
              <a:ext uri="{FF2B5EF4-FFF2-40B4-BE49-F238E27FC236}">
                <a16:creationId xmlns="" xmlns:a16="http://schemas.microsoft.com/office/drawing/2014/main" id="{0C9FD47B-86C0-44FC-AE21-BB68A4BA43CA}"/>
              </a:ext>
            </a:extLst>
          </p:cNvPr>
          <p:cNvSpPr>
            <a:spLocks/>
          </p:cNvSpPr>
          <p:nvPr/>
        </p:nvSpPr>
        <p:spPr>
          <a:xfrm>
            <a:off x="1840510" y="1566190"/>
            <a:ext cx="9942512" cy="47705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Экспертная и методическая поддержка повышения производительности на предприятиях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Льготные займы ФРП (под 1%), субсидирование процентных ставок по кредитам субъектам МСП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Обучение руководителей предприятий (мини-</a:t>
            </a:r>
            <a:r>
              <a:rPr lang="en-US" sz="1600" dirty="0"/>
              <a:t>MBA </a:t>
            </a:r>
            <a:r>
              <a:rPr lang="ru-RU" sz="1600" dirty="0"/>
              <a:t>по производительности)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Обучение проектных команд на предприятиях основам повышения производительности труда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Переобучение и повышение квалификации работников предприятий 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Поддержка выхода на экспорт (экспортные акселераторы)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Международные проекты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Форумы и другие мероприятия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Возможность стать частью сообщества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Сокращение административных и регуляторных барьеров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600" dirty="0"/>
              <a:t>Налоговые льготы (пилотные проекты в 8 участвующих субъектах РФ, будет расширено)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ru-RU" sz="1400" dirty="0"/>
          </a:p>
          <a:p>
            <a:pPr marL="285750" indent="-285750">
              <a:spcBef>
                <a:spcPts val="306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chemeClr val="bg1">
                    <a:lumMod val="50000"/>
                  </a:schemeClr>
                </a:solidFill>
              </a:rPr>
              <a:t>Дополнительные меры (в разработке)</a:t>
            </a:r>
          </a:p>
          <a:p>
            <a:pPr marL="285750" indent="-285750">
              <a:spcBef>
                <a:spcPts val="306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chemeClr val="bg1">
                    <a:lumMod val="50000"/>
                  </a:schemeClr>
                </a:solidFill>
              </a:rPr>
              <a:t>Цифровизация</a:t>
            </a:r>
            <a:r>
              <a:rPr lang="ru-RU" sz="1600" dirty="0">
                <a:solidFill>
                  <a:schemeClr val="bg1">
                    <a:lumMod val="50000"/>
                  </a:schemeClr>
                </a:solidFill>
              </a:rPr>
              <a:t> производства</a:t>
            </a:r>
          </a:p>
          <a:p>
            <a:pPr marL="285750" indent="-285750">
              <a:spcBef>
                <a:spcPts val="306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>
                    <a:lumMod val="50000"/>
                  </a:schemeClr>
                </a:solidFill>
              </a:rPr>
              <a:t>Сервисы ИТ-платформы проекта (</a:t>
            </a:r>
            <a:r>
              <a:rPr lang="ru-RU" sz="1600" dirty="0" err="1">
                <a:solidFill>
                  <a:schemeClr val="bg1">
                    <a:lumMod val="50000"/>
                  </a:schemeClr>
                </a:solidFill>
              </a:rPr>
              <a:t>бенчмаркинг</a:t>
            </a:r>
            <a:r>
              <a:rPr lang="ru-RU" sz="1600" dirty="0">
                <a:solidFill>
                  <a:schemeClr val="bg1">
                    <a:lumMod val="50000"/>
                  </a:schemeClr>
                </a:solidFill>
              </a:rPr>
              <a:t>, коробочные решения) </a:t>
            </a:r>
          </a:p>
          <a:p>
            <a:pPr marL="285750" indent="-285750">
              <a:spcBef>
                <a:spcPts val="306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bg1">
                    <a:lumMod val="50000"/>
                  </a:schemeClr>
                </a:solidFill>
              </a:rPr>
              <a:t>Развитие продаж</a:t>
            </a:r>
          </a:p>
          <a:p>
            <a:pPr marL="285750" indent="-285750">
              <a:spcBef>
                <a:spcPts val="306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</a:pPr>
            <a:endParaRPr lang="ru-RU" sz="16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6737" y="1607134"/>
            <a:ext cx="1274446" cy="871538"/>
          </a:xfrm>
          <a:prstGeom prst="rect">
            <a:avLst/>
          </a:prstGeom>
        </p:spPr>
      </p:pic>
      <p:cxnSp>
        <p:nvCxnSpPr>
          <p:cNvPr id="17" name="Прямая соединительная линия 16"/>
          <p:cNvCxnSpPr/>
          <p:nvPr/>
        </p:nvCxnSpPr>
        <p:spPr>
          <a:xfrm>
            <a:off x="434766" y="4774876"/>
            <a:ext cx="11348256" cy="0"/>
          </a:xfrm>
          <a:prstGeom prst="line">
            <a:avLst/>
          </a:prstGeom>
          <a:ln w="12700">
            <a:solidFill>
              <a:schemeClr val="accent4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928401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="" xmlns:a16="http://schemas.microsoft.com/office/drawing/2014/main" id="{D19C1184-8C52-4189-9F4A-E48D0BB0A2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006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0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B3E67A31-45AF-440C-A89A-25B460043ED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 чем разница между обучением в федеральных проектах?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25</a:t>
            </a:fld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DB527488-474D-4BCB-9A84-5D437CD1CACE}"/>
              </a:ext>
            </a:extLst>
          </p:cNvPr>
          <p:cNvSpPr/>
          <p:nvPr/>
        </p:nvSpPr>
        <p:spPr>
          <a:xfrm>
            <a:off x="1094069" y="3046586"/>
            <a:ext cx="1524779" cy="5960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r>
              <a:rPr lang="ru-RU" sz="1400" b="1" dirty="0">
                <a:solidFill>
                  <a:schemeClr val="tx1"/>
                </a:solidFill>
              </a:rPr>
              <a:t>Аудитория </a:t>
            </a:r>
            <a:endParaRPr lang="ru-RU" sz="14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="" xmlns:a16="http://schemas.microsoft.com/office/drawing/2014/main" id="{3C6F786F-4CBB-4952-BE1E-F42204ABC629}"/>
              </a:ext>
            </a:extLst>
          </p:cNvPr>
          <p:cNvSpPr/>
          <p:nvPr/>
        </p:nvSpPr>
        <p:spPr>
          <a:xfrm>
            <a:off x="1100730" y="5545351"/>
            <a:ext cx="1524779" cy="5960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r>
              <a:rPr lang="ru-RU" sz="1400" b="1" dirty="0">
                <a:solidFill>
                  <a:schemeClr val="tx1"/>
                </a:solidFill>
              </a:rPr>
              <a:t>Направления</a:t>
            </a:r>
            <a:endParaRPr lang="ru-RU" sz="14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455896FC-C56C-49EF-8C60-1203848EF621}"/>
              </a:ext>
            </a:extLst>
          </p:cNvPr>
          <p:cNvSpPr/>
          <p:nvPr/>
        </p:nvSpPr>
        <p:spPr>
          <a:xfrm>
            <a:off x="1094070" y="4332716"/>
            <a:ext cx="1524779" cy="5960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r>
              <a:rPr lang="ru-RU" sz="1400" b="1" dirty="0">
                <a:solidFill>
                  <a:schemeClr val="tx1"/>
                </a:solidFill>
              </a:rPr>
              <a:t>Цель </a:t>
            </a:r>
            <a:endParaRPr lang="ru-RU" sz="14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0606B647-6946-4C97-9180-7E3305191BCF}"/>
              </a:ext>
            </a:extLst>
          </p:cNvPr>
          <p:cNvSpPr txBox="1"/>
          <p:nvPr/>
        </p:nvSpPr>
        <p:spPr>
          <a:xfrm>
            <a:off x="2617159" y="3921918"/>
            <a:ext cx="3150072" cy="1171425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400" dirty="0"/>
              <a:t>«Площадочное» обучение методам бережливого производства Обучение повышению производительности по всей цепочке создания стоимости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B5362A73-4943-41FC-BACB-B9A530A0497F}"/>
              </a:ext>
            </a:extLst>
          </p:cNvPr>
          <p:cNvSpPr txBox="1"/>
          <p:nvPr/>
        </p:nvSpPr>
        <p:spPr>
          <a:xfrm>
            <a:off x="6096100" y="3921919"/>
            <a:ext cx="2874545" cy="1386869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400" dirty="0"/>
              <a:t>Обучение управлению в условиях трансформаций;</a:t>
            </a:r>
          </a:p>
          <a:p>
            <a:r>
              <a:rPr lang="ru-RU" sz="1400" dirty="0"/>
              <a:t>Обучение по всей линейке компетенций – от развития экспорта до управления логистикой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4F15089E-3A29-4251-864B-FD44F0B3C153}"/>
              </a:ext>
            </a:extLst>
          </p:cNvPr>
          <p:cNvSpPr txBox="1"/>
          <p:nvPr/>
        </p:nvSpPr>
        <p:spPr>
          <a:xfrm>
            <a:off x="9132567" y="3921919"/>
            <a:ext cx="2724073" cy="1386869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400" dirty="0"/>
              <a:t>Обучение востребованным навыкам, повышение квалификации для повышения производительности труда и/или трудоустройства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B4503BAE-5E22-4C0C-A29D-93301ADAFE54}"/>
              </a:ext>
            </a:extLst>
          </p:cNvPr>
          <p:cNvSpPr txBox="1"/>
          <p:nvPr/>
        </p:nvSpPr>
        <p:spPr>
          <a:xfrm>
            <a:off x="2617157" y="2852495"/>
            <a:ext cx="3150074" cy="955981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400" dirty="0"/>
              <a:t>Руководители предприятий, заместители по производству, рабочая группа пилотного проекта по оптимизации потоков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6EDA9521-1C61-407C-9875-8CA3A8F17895}"/>
              </a:ext>
            </a:extLst>
          </p:cNvPr>
          <p:cNvSpPr txBox="1"/>
          <p:nvPr/>
        </p:nvSpPr>
        <p:spPr>
          <a:xfrm>
            <a:off x="6096100" y="2852496"/>
            <a:ext cx="2704798" cy="740538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400" dirty="0"/>
              <a:t>Руководители предприятий, регионов и служб занятости населения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13BAE9A5-32E3-4722-AA39-AEB010998D8D}"/>
              </a:ext>
            </a:extLst>
          </p:cNvPr>
          <p:cNvSpPr txBox="1"/>
          <p:nvPr/>
        </p:nvSpPr>
        <p:spPr>
          <a:xfrm>
            <a:off x="9132567" y="2852496"/>
            <a:ext cx="2878458" cy="955981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400" dirty="0"/>
              <a:t>Рабочий персонал, сотрудники обеспечивающих подразделений, линейные руководители</a:t>
            </a:r>
            <a:endParaRPr lang="ru-RU" sz="14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8EC3A85B-59B6-402D-AB38-01501B8C82E6}"/>
              </a:ext>
            </a:extLst>
          </p:cNvPr>
          <p:cNvSpPr txBox="1"/>
          <p:nvPr/>
        </p:nvSpPr>
        <p:spPr>
          <a:xfrm>
            <a:off x="2617158" y="5454645"/>
            <a:ext cx="3150073" cy="740538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400" dirty="0"/>
              <a:t>Инструменты бережливого производства, управление изменениями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C0A9C387-E66A-42B2-AF84-D3A3151930D7}"/>
              </a:ext>
            </a:extLst>
          </p:cNvPr>
          <p:cNvSpPr txBox="1"/>
          <p:nvPr/>
        </p:nvSpPr>
        <p:spPr>
          <a:xfrm>
            <a:off x="6109747" y="5468293"/>
            <a:ext cx="3058702" cy="740538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400" dirty="0"/>
              <a:t>Управление в условиях изменений управление персоналом, мотивация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FD18F263-3267-47A7-9632-43EA6EB23102}"/>
              </a:ext>
            </a:extLst>
          </p:cNvPr>
          <p:cNvSpPr txBox="1"/>
          <p:nvPr/>
        </p:nvSpPr>
        <p:spPr>
          <a:xfrm>
            <a:off x="9132567" y="5447241"/>
            <a:ext cx="2802258" cy="955981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400" dirty="0"/>
              <a:t>Рабочие профессии, прикладные информационные технологии, производственные компетенции по профилю</a:t>
            </a: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="" xmlns:a16="http://schemas.microsoft.com/office/drawing/2014/main" id="{A71C5B52-5E61-4727-B807-991C844FB822}"/>
              </a:ext>
            </a:extLst>
          </p:cNvPr>
          <p:cNvCxnSpPr/>
          <p:nvPr/>
        </p:nvCxnSpPr>
        <p:spPr>
          <a:xfrm>
            <a:off x="325771" y="3884320"/>
            <a:ext cx="11530869" cy="0"/>
          </a:xfrm>
          <a:prstGeom prst="line">
            <a:avLst/>
          </a:prstGeom>
          <a:ln>
            <a:solidFill>
              <a:schemeClr val="accent4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="" xmlns:a16="http://schemas.microsoft.com/office/drawing/2014/main" id="{9B5A9D9B-5441-4A53-94AC-F844C353ECFE}"/>
              </a:ext>
            </a:extLst>
          </p:cNvPr>
          <p:cNvCxnSpPr/>
          <p:nvPr/>
        </p:nvCxnSpPr>
        <p:spPr>
          <a:xfrm>
            <a:off x="325771" y="5392064"/>
            <a:ext cx="11530869" cy="0"/>
          </a:xfrm>
          <a:prstGeom prst="line">
            <a:avLst/>
          </a:prstGeom>
          <a:ln>
            <a:solidFill>
              <a:schemeClr val="accent4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B4503BAE-5E22-4C0C-A29D-93301ADAFE54}"/>
              </a:ext>
            </a:extLst>
          </p:cNvPr>
          <p:cNvSpPr txBox="1"/>
          <p:nvPr/>
        </p:nvSpPr>
        <p:spPr>
          <a:xfrm>
            <a:off x="2644454" y="2081513"/>
            <a:ext cx="2686304" cy="525094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400" dirty="0"/>
              <a:t>Федеральный Центр Компетенций (ФЦК)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="" xmlns:a16="http://schemas.microsoft.com/office/drawing/2014/main" id="{DB527488-474D-4BCB-9A84-5D437CD1CACE}"/>
              </a:ext>
            </a:extLst>
          </p:cNvPr>
          <p:cNvSpPr/>
          <p:nvPr/>
        </p:nvSpPr>
        <p:spPr>
          <a:xfrm>
            <a:off x="1100730" y="2046027"/>
            <a:ext cx="1524779" cy="5960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r>
              <a:rPr lang="ru-RU" sz="1400" b="1" dirty="0">
                <a:solidFill>
                  <a:schemeClr val="tx1"/>
                </a:solidFill>
              </a:rPr>
              <a:t>Обучающая организация</a:t>
            </a:r>
            <a:endParaRPr lang="ru-RU" sz="14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B4503BAE-5E22-4C0C-A29D-93301ADAFE54}"/>
              </a:ext>
            </a:extLst>
          </p:cNvPr>
          <p:cNvSpPr txBox="1"/>
          <p:nvPr/>
        </p:nvSpPr>
        <p:spPr>
          <a:xfrm>
            <a:off x="6096100" y="2189235"/>
            <a:ext cx="2686304" cy="309651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400" dirty="0"/>
              <a:t>Ведущие вузы РФ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B4503BAE-5E22-4C0C-A29D-93301ADAFE54}"/>
              </a:ext>
            </a:extLst>
          </p:cNvPr>
          <p:cNvSpPr txBox="1"/>
          <p:nvPr/>
        </p:nvSpPr>
        <p:spPr>
          <a:xfrm>
            <a:off x="9132567" y="1973791"/>
            <a:ext cx="2686304" cy="740538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r>
              <a:rPr lang="ru-RU" sz="1400" dirty="0"/>
              <a:t>Региональные вузы и операторы профессионального обучения</a:t>
            </a: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="" xmlns:a16="http://schemas.microsoft.com/office/drawing/2014/main" id="{A71C5B52-5E61-4727-B807-991C844FB822}"/>
              </a:ext>
            </a:extLst>
          </p:cNvPr>
          <p:cNvCxnSpPr/>
          <p:nvPr/>
        </p:nvCxnSpPr>
        <p:spPr>
          <a:xfrm>
            <a:off x="325771" y="2790426"/>
            <a:ext cx="11530869" cy="0"/>
          </a:xfrm>
          <a:prstGeom prst="line">
            <a:avLst/>
          </a:prstGeom>
          <a:ln>
            <a:solidFill>
              <a:schemeClr val="accent4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>
            <a:extLst>
              <a:ext uri="{FF2B5EF4-FFF2-40B4-BE49-F238E27FC236}">
                <a16:creationId xmlns="" xmlns:a16="http://schemas.microsoft.com/office/drawing/2014/main" id="{9B5A9D9B-5441-4A53-94AC-F844C353ECFE}"/>
              </a:ext>
            </a:extLst>
          </p:cNvPr>
          <p:cNvCxnSpPr/>
          <p:nvPr/>
        </p:nvCxnSpPr>
        <p:spPr>
          <a:xfrm>
            <a:off x="325771" y="6460372"/>
            <a:ext cx="11609054" cy="0"/>
          </a:xfrm>
          <a:prstGeom prst="line">
            <a:avLst/>
          </a:prstGeom>
          <a:ln>
            <a:solidFill>
              <a:schemeClr val="accent4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53" name="Рисунок 5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9229" y="4298170"/>
            <a:ext cx="599376" cy="610939"/>
          </a:xfrm>
          <a:prstGeom prst="rect">
            <a:avLst/>
          </a:prstGeom>
        </p:spPr>
      </p:pic>
      <p:pic>
        <p:nvPicPr>
          <p:cNvPr id="54" name="Рисунок 5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9229" y="3076820"/>
            <a:ext cx="455755" cy="487639"/>
          </a:xfrm>
          <a:prstGeom prst="rect">
            <a:avLst/>
          </a:prstGeom>
        </p:spPr>
      </p:pic>
      <p:pic>
        <p:nvPicPr>
          <p:cNvPr id="57" name="Рисунок 5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38754" y="5595304"/>
            <a:ext cx="456120" cy="559460"/>
          </a:xfrm>
          <a:prstGeom prst="rect">
            <a:avLst/>
          </a:prstGeom>
        </p:spPr>
      </p:pic>
      <p:pic>
        <p:nvPicPr>
          <p:cNvPr id="58" name="Рисунок 5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8754" y="2087525"/>
            <a:ext cx="453151" cy="540900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4A650E92-9E9A-4288-ACED-685A3927C8F8}"/>
              </a:ext>
            </a:extLst>
          </p:cNvPr>
          <p:cNvSpPr txBox="1"/>
          <p:nvPr/>
        </p:nvSpPr>
        <p:spPr>
          <a:xfrm>
            <a:off x="2644454" y="1410122"/>
            <a:ext cx="206107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/>
              <a:t>Адресная поддержка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="" xmlns:a16="http://schemas.microsoft.com/office/drawing/2014/main" id="{14D8086F-3F8A-431B-9B2A-67DE00FE6ACA}"/>
              </a:ext>
            </a:extLst>
          </p:cNvPr>
          <p:cNvSpPr txBox="1"/>
          <p:nvPr/>
        </p:nvSpPr>
        <p:spPr>
          <a:xfrm>
            <a:off x="6091205" y="1410122"/>
            <a:ext cx="17500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/>
              <a:t>Системные меры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324B1027-CC4C-4A6A-850A-2D87535BD233}"/>
              </a:ext>
            </a:extLst>
          </p:cNvPr>
          <p:cNvSpPr txBox="1"/>
          <p:nvPr/>
        </p:nvSpPr>
        <p:spPr>
          <a:xfrm>
            <a:off x="9132567" y="1410122"/>
            <a:ext cx="211083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/>
              <a:t>Поддержка занятости</a:t>
            </a:r>
          </a:p>
        </p:txBody>
      </p:sp>
      <p:cxnSp>
        <p:nvCxnSpPr>
          <p:cNvPr id="40" name="Прямая соединительная линия 39">
            <a:extLst>
              <a:ext uri="{FF2B5EF4-FFF2-40B4-BE49-F238E27FC236}">
                <a16:creationId xmlns="" xmlns:a16="http://schemas.microsoft.com/office/drawing/2014/main" id="{1C4E6EAE-A8B6-44BE-89AA-599D7629B571}"/>
              </a:ext>
            </a:extLst>
          </p:cNvPr>
          <p:cNvCxnSpPr/>
          <p:nvPr/>
        </p:nvCxnSpPr>
        <p:spPr>
          <a:xfrm>
            <a:off x="363871" y="1888726"/>
            <a:ext cx="11530869" cy="0"/>
          </a:xfrm>
          <a:prstGeom prst="line">
            <a:avLst/>
          </a:prstGeom>
          <a:ln>
            <a:solidFill>
              <a:schemeClr val="accent4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487894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349823" y="4021851"/>
            <a:ext cx="1137783" cy="152660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  <a:cs typeface="Times New Roman" panose="02020603050405020304" pitchFamily="18" charset="0"/>
              </a:rPr>
              <a:t>Производи-</a:t>
            </a:r>
            <a:r>
              <a:rPr lang="ru-RU" sz="1200" b="1" dirty="0" err="1">
                <a:solidFill>
                  <a:schemeClr val="bg1"/>
                </a:solidFill>
                <a:cs typeface="Times New Roman" panose="02020603050405020304" pitchFamily="18" charset="0"/>
              </a:rPr>
              <a:t>тельность</a:t>
            </a:r>
            <a:r>
              <a:rPr lang="ru-RU" sz="1200" b="1" dirty="0">
                <a:solidFill>
                  <a:schemeClr val="bg1"/>
                </a:solidFill>
                <a:cs typeface="Times New Roman" panose="02020603050405020304" pitchFamily="18" charset="0"/>
              </a:rPr>
              <a:t> труда</a:t>
            </a:r>
            <a:endParaRPr lang="en-US" sz="12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737898" y="1484313"/>
            <a:ext cx="1243413" cy="332953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accent2"/>
                </a:solidFill>
                <a:cs typeface="Times New Roman" panose="02020603050405020304" pitchFamily="18" charset="0"/>
              </a:rPr>
              <a:t>Добавленная стоимость</a:t>
            </a:r>
            <a:endParaRPr lang="en-US" sz="1200" b="1" dirty="0">
              <a:solidFill>
                <a:schemeClr val="accent2"/>
              </a:solidFill>
              <a:cs typeface="Times New Roman" panose="02020603050405020304" pitchFamily="18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737898" y="4868923"/>
            <a:ext cx="1243413" cy="163591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accent2"/>
                </a:solidFill>
                <a:cs typeface="Times New Roman" panose="02020603050405020304" pitchFamily="18" charset="0"/>
              </a:rPr>
              <a:t>Затраты труда</a:t>
            </a:r>
            <a:endParaRPr lang="en-US" sz="1200" b="1" dirty="0">
              <a:solidFill>
                <a:schemeClr val="accent2"/>
              </a:solidFill>
              <a:cs typeface="Times New Roman" panose="02020603050405020304" pitchFamily="18" charset="0"/>
            </a:endParaRPr>
          </a:p>
        </p:txBody>
      </p:sp>
      <p:sp>
        <p:nvSpPr>
          <p:cNvPr id="24" name="Дата 3"/>
          <p:cNvSpPr>
            <a:spLocks noGrp="1"/>
          </p:cNvSpPr>
          <p:nvPr>
            <p:ph type="dt" sz="half" idx="10"/>
          </p:nvPr>
        </p:nvSpPr>
        <p:spPr>
          <a:xfrm>
            <a:off x="335360" y="6568209"/>
            <a:ext cx="2158965" cy="216023"/>
          </a:xfrm>
        </p:spPr>
        <p:txBody>
          <a:bodyPr/>
          <a:lstStyle/>
          <a:p>
            <a:fld id="{4C374C9C-2019-4AC3-80AF-53A91E6B0E64}" type="datetime4">
              <a:rPr lang="ru-RU" smtClean="0"/>
              <a:t>1 августа 2019 г.</a:t>
            </a:fld>
            <a:endParaRPr lang="ru-RU" dirty="0"/>
          </a:p>
        </p:txBody>
      </p:sp>
      <p:sp>
        <p:nvSpPr>
          <p:cNvPr id="26" name="Заголовок 1"/>
          <p:cNvSpPr txBox="1">
            <a:spLocks/>
          </p:cNvSpPr>
          <p:nvPr/>
        </p:nvSpPr>
        <p:spPr>
          <a:xfrm>
            <a:off x="325771" y="714408"/>
            <a:ext cx="11530869" cy="439152"/>
          </a:xfrm>
          <a:prstGeom prst="rect">
            <a:avLst/>
          </a:prstGeom>
        </p:spPr>
        <p:txBody>
          <a:bodyPr vert="horz" lIns="36000" tIns="36000" rIns="36000" bIns="3600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b="1" kern="120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Как считать производительность труда на предприятии?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480547" y="4625551"/>
            <a:ext cx="259224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accent2"/>
                </a:solidFill>
              </a:rPr>
              <a:t>=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215134" y="1468603"/>
            <a:ext cx="972000" cy="792000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accent2"/>
                </a:solidFill>
              </a:rPr>
              <a:t>Прибыль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3215134" y="5728027"/>
            <a:ext cx="972000" cy="792000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accent2"/>
                </a:solidFill>
              </a:rPr>
              <a:t>12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7" name="Прямоугольник 46"/>
              <p:cNvSpPr/>
              <p:nvPr/>
            </p:nvSpPr>
            <p:spPr>
              <a:xfrm>
                <a:off x="3215134" y="4880955"/>
                <a:ext cx="972000" cy="792000"/>
              </a:xfrm>
              <a:prstGeom prst="rect">
                <a:avLst/>
              </a:prstGeom>
              <a:noFill/>
              <a:ln w="3175"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∑"/>
                          <m:limLoc m:val="subSup"/>
                          <m:ctrlPr>
                            <a:rPr lang="ru-RU" sz="900" b="1" i="1" smtClean="0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5"/>
                            </m:rPr>
                            <a:rPr lang="en-US" sz="9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𝒊</m:t>
                          </m:r>
                          <m:r>
                            <a:rPr lang="en-US" sz="9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sz="9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𝟏</m:t>
                          </m:r>
                        </m:sub>
                        <m:sup>
                          <m:r>
                            <a:rPr lang="ru-RU" sz="900" b="1" i="1">
                              <a:solidFill>
                                <a:schemeClr val="accent2"/>
                              </a:solidFill>
                              <a:latin typeface="Cambria Math" panose="02040503050406030204" pitchFamily="18" charset="0"/>
                            </a:rPr>
                            <m:t>𝟒</m:t>
                          </m:r>
                        </m:sup>
                        <m:e>
                          <m:nary>
                            <m:naryPr>
                              <m:chr m:val="∑"/>
                              <m:limLoc m:val="subSup"/>
                              <m:ctrlPr>
                                <a:rPr lang="ru-RU" sz="900" b="1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naryPr>
                            <m:sub>
                              <m:r>
                                <m:rPr>
                                  <m:brk m:alnAt="25"/>
                                </m:rPr>
                                <a:rPr lang="en-US" sz="900" b="1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𝒋</m:t>
                              </m:r>
                              <m:r>
                                <a:rPr lang="en-US" sz="900" b="1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=</m:t>
                              </m:r>
                              <m:r>
                                <a:rPr lang="en-US" sz="900" b="1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𝟑</m:t>
                              </m:r>
                            </m:sub>
                            <m:sup>
                              <m:r>
                                <a:rPr lang="en-US" sz="900" b="1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𝟓</m:t>
                              </m:r>
                            </m:sup>
                            <m:e>
                              <m:r>
                                <a:rPr lang="ru-RU" sz="900" b="1" i="1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КЗЛ</m:t>
                              </m:r>
                              <m:r>
                                <a:rPr lang="en-US" sz="900" b="1" i="1" baseline="-25000">
                                  <a:solidFill>
                                    <a:schemeClr val="accent2"/>
                                  </a:solidFill>
                                  <a:latin typeface="Cambria Math" panose="02040503050406030204" pitchFamily="18" charset="0"/>
                                </a:rPr>
                                <m:t>𝒊𝒋</m:t>
                              </m:r>
                            </m:e>
                          </m:nary>
                        </m:e>
                      </m:nary>
                    </m:oMath>
                  </m:oMathPara>
                </a14:m>
                <a:endParaRPr lang="ru-RU" sz="900" dirty="0">
                  <a:solidFill>
                    <a:schemeClr val="accent2"/>
                  </a:solidFill>
                </a:endParaRPr>
              </a:p>
            </p:txBody>
          </p:sp>
        </mc:Choice>
        <mc:Fallback xmlns="">
          <p:sp>
            <p:nvSpPr>
              <p:cNvPr id="47" name="Прямоугольник 4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15134" y="4880955"/>
                <a:ext cx="972000" cy="792000"/>
              </a:xfrm>
              <a:prstGeom prst="rect">
                <a:avLst/>
              </a:prstGeom>
              <a:blipFill rotWithShape="0">
                <a:blip r:embed="rId3"/>
                <a:stretch>
                  <a:fillRect l="-42857" t="-35115" r="-40994" b="-63359"/>
                </a:stretch>
              </a:blipFill>
              <a:ln w="3175">
                <a:solidFill>
                  <a:schemeClr val="bg1">
                    <a:lumMod val="50000"/>
                  </a:schemeClr>
                </a:solidFill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8" name="Прямоугольник 47"/>
          <p:cNvSpPr/>
          <p:nvPr/>
        </p:nvSpPr>
        <p:spPr>
          <a:xfrm>
            <a:off x="3215134" y="4009819"/>
            <a:ext cx="972000" cy="792000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accent2"/>
                </a:solidFill>
              </a:rPr>
              <a:t>Налог на имущество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3215134" y="3162747"/>
            <a:ext cx="972000" cy="792000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accent2"/>
                </a:solidFill>
              </a:rPr>
              <a:t>Страховые взносы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3215134" y="2315675"/>
            <a:ext cx="972000" cy="792000"/>
          </a:xfrm>
          <a:prstGeom prst="rect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accent2"/>
                </a:solidFill>
              </a:rPr>
              <a:t>Оплата труда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354452" y="5544209"/>
            <a:ext cx="1133154" cy="4653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i="1" dirty="0">
                <a:solidFill>
                  <a:schemeClr val="tx1"/>
                </a:solidFill>
              </a:rPr>
              <a:t>рассчитывается 1 раз в год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3555623" y="2059270"/>
            <a:ext cx="259224" cy="360000"/>
            <a:chOff x="1441842" y="1467899"/>
            <a:chExt cx="259224" cy="360000"/>
          </a:xfrm>
        </p:grpSpPr>
        <p:sp>
          <p:nvSpPr>
            <p:cNvPr id="7" name="Овал 6"/>
            <p:cNvSpPr/>
            <p:nvPr/>
          </p:nvSpPr>
          <p:spPr>
            <a:xfrm>
              <a:off x="1445454" y="1521899"/>
              <a:ext cx="252000" cy="252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0" name="Прямоугольник 59"/>
            <p:cNvSpPr/>
            <p:nvPr/>
          </p:nvSpPr>
          <p:spPr>
            <a:xfrm>
              <a:off x="1441842" y="1467899"/>
              <a:ext cx="259224" cy="360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b="1" dirty="0">
                  <a:solidFill>
                    <a:schemeClr val="bg1"/>
                  </a:solidFill>
                </a:rPr>
                <a:t>+</a:t>
              </a:r>
            </a:p>
          </p:txBody>
        </p:sp>
      </p:grpSp>
      <p:grpSp>
        <p:nvGrpSpPr>
          <p:cNvPr id="30" name="Группа 29"/>
          <p:cNvGrpSpPr/>
          <p:nvPr/>
        </p:nvGrpSpPr>
        <p:grpSpPr>
          <a:xfrm>
            <a:off x="3555623" y="2939067"/>
            <a:ext cx="259224" cy="360000"/>
            <a:chOff x="1441842" y="1467899"/>
            <a:chExt cx="259224" cy="360000"/>
          </a:xfrm>
        </p:grpSpPr>
        <p:sp>
          <p:nvSpPr>
            <p:cNvPr id="31" name="Овал 30"/>
            <p:cNvSpPr/>
            <p:nvPr/>
          </p:nvSpPr>
          <p:spPr>
            <a:xfrm>
              <a:off x="1445454" y="1521899"/>
              <a:ext cx="252000" cy="252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1441842" y="1467899"/>
              <a:ext cx="259224" cy="360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b="1" dirty="0">
                  <a:solidFill>
                    <a:schemeClr val="bg1"/>
                  </a:solidFill>
                </a:rPr>
                <a:t>+</a:t>
              </a: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3555623" y="3797062"/>
            <a:ext cx="259224" cy="360000"/>
            <a:chOff x="1441842" y="1467899"/>
            <a:chExt cx="259224" cy="360000"/>
          </a:xfrm>
        </p:grpSpPr>
        <p:sp>
          <p:nvSpPr>
            <p:cNvPr id="34" name="Овал 33"/>
            <p:cNvSpPr/>
            <p:nvPr/>
          </p:nvSpPr>
          <p:spPr>
            <a:xfrm>
              <a:off x="1445454" y="1521899"/>
              <a:ext cx="252000" cy="252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1441842" y="1467899"/>
              <a:ext cx="259224" cy="360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b="1" dirty="0">
                  <a:solidFill>
                    <a:schemeClr val="bg1"/>
                  </a:solidFill>
                </a:rPr>
                <a:t>+</a:t>
              </a:r>
            </a:p>
          </p:txBody>
        </p:sp>
      </p:grpSp>
      <p:grpSp>
        <p:nvGrpSpPr>
          <p:cNvPr id="36" name="Группа 35"/>
          <p:cNvGrpSpPr/>
          <p:nvPr/>
        </p:nvGrpSpPr>
        <p:grpSpPr>
          <a:xfrm>
            <a:off x="3555623" y="5494459"/>
            <a:ext cx="259224" cy="360000"/>
            <a:chOff x="1441842" y="1467899"/>
            <a:chExt cx="259224" cy="360000"/>
          </a:xfrm>
        </p:grpSpPr>
        <p:sp>
          <p:nvSpPr>
            <p:cNvPr id="37" name="Овал 36"/>
            <p:cNvSpPr/>
            <p:nvPr/>
          </p:nvSpPr>
          <p:spPr>
            <a:xfrm>
              <a:off x="1445454" y="1521899"/>
              <a:ext cx="252000" cy="252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8" name="Прямоугольник 37"/>
            <p:cNvSpPr/>
            <p:nvPr/>
          </p:nvSpPr>
          <p:spPr>
            <a:xfrm>
              <a:off x="1441842" y="1467899"/>
              <a:ext cx="259224" cy="360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b="1" dirty="0">
                  <a:solidFill>
                    <a:schemeClr val="bg1"/>
                  </a:solidFill>
                </a:rPr>
                <a:t>÷</a:t>
              </a:r>
            </a:p>
          </p:txBody>
        </p:sp>
      </p:grpSp>
      <p:sp>
        <p:nvSpPr>
          <p:cNvPr id="40" name="Прямоугольник 39"/>
          <p:cNvSpPr/>
          <p:nvPr/>
        </p:nvSpPr>
        <p:spPr>
          <a:xfrm>
            <a:off x="7476501" y="1468603"/>
            <a:ext cx="4380137" cy="792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cs typeface="Times New Roman" panose="02020603050405020304" pitchFamily="18" charset="0"/>
              </a:rPr>
              <a:t>Приложения № 1 и 2 к Листу 2 Формы налоговой декларации по налогу на прибыль 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  <a:cs typeface="Times New Roman" panose="02020603050405020304" pitchFamily="18" charset="0"/>
              </a:rPr>
              <a:t>( КНД  1151006)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4528605" y="1468603"/>
            <a:ext cx="2880000" cy="792000"/>
          </a:xfrm>
          <a:prstGeom prst="rect">
            <a:avLst/>
          </a:prstGeom>
          <a:noFill/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cs typeface="Times New Roman" panose="02020603050405020304" pitchFamily="18" charset="0"/>
              </a:rPr>
              <a:t>Выручка (стр. 11 + стр. 12)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  <a:cs typeface="Times New Roman" panose="02020603050405020304" pitchFamily="18" charset="0"/>
              </a:rPr>
              <a:t>— 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  <a:cs typeface="Times New Roman" panose="02020603050405020304" pitchFamily="18" charset="0"/>
              </a:rPr>
              <a:t>Прямые расходы (стр. 10 + стр. 20)</a:t>
            </a:r>
          </a:p>
        </p:txBody>
      </p:sp>
      <p:sp>
        <p:nvSpPr>
          <p:cNvPr id="44" name="Равнобедренный треугольник 43"/>
          <p:cNvSpPr/>
          <p:nvPr/>
        </p:nvSpPr>
        <p:spPr>
          <a:xfrm rot="5400000">
            <a:off x="4008618" y="1753999"/>
            <a:ext cx="712257" cy="172883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рямоугольник 45"/>
          <p:cNvSpPr/>
          <p:nvPr/>
        </p:nvSpPr>
        <p:spPr>
          <a:xfrm>
            <a:off x="7476326" y="2315675"/>
            <a:ext cx="4380137" cy="792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N - количество работников предприятия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</a:rPr>
              <a:t> </a:t>
            </a:r>
            <a:r>
              <a:rPr lang="ru-RU" sz="1200" dirty="0" err="1">
                <a:solidFill>
                  <a:schemeClr val="tx1"/>
                </a:solidFill>
              </a:rPr>
              <a:t>ОСДі</a:t>
            </a:r>
            <a:r>
              <a:rPr lang="ru-RU" sz="1200" dirty="0">
                <a:solidFill>
                  <a:schemeClr val="tx1"/>
                </a:solidFill>
              </a:rPr>
              <a:t> - сумма трудовых доходов, выплаченных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</a:rPr>
              <a:t> i-тому работнику предприятия  (сумма строк «Сумма дохода» приложения Справки 2-НДФЛ) (КНД  1151078)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7476326" y="3162747"/>
            <a:ext cx="4380137" cy="792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>
                <a:solidFill>
                  <a:schemeClr val="tx1"/>
                </a:solidFill>
              </a:rPr>
              <a:t>Форма по страховым взносам</a:t>
            </a:r>
          </a:p>
          <a:p>
            <a:pPr algn="ctr"/>
            <a:r>
              <a:rPr lang="ru-RU" sz="1200">
                <a:solidFill>
                  <a:schemeClr val="tx1"/>
                </a:solidFill>
              </a:rPr>
              <a:t>(КНД   1151111)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7476326" y="4009819"/>
            <a:ext cx="4380137" cy="792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Форма налоговой декларации по налогу на имущество 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</a:rPr>
              <a:t>( КНД  1152026)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7476326" y="4880955"/>
            <a:ext cx="4380137" cy="792000"/>
          </a:xfrm>
          <a:prstGeom prst="rect">
            <a:avLst/>
          </a:prstGeom>
          <a:noFill/>
          <a:ln w="3175"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Форма по страховым взносам</a:t>
            </a:r>
          </a:p>
          <a:p>
            <a:pPr algn="ctr"/>
            <a:r>
              <a:rPr lang="ru-RU" sz="1200" dirty="0">
                <a:solidFill>
                  <a:schemeClr val="tx1"/>
                </a:solidFill>
              </a:rPr>
              <a:t>(КНД   1151111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4" name="Прямоугольник 53"/>
              <p:cNvSpPr/>
              <p:nvPr/>
            </p:nvSpPr>
            <p:spPr>
              <a:xfrm>
                <a:off x="4528605" y="2315675"/>
                <a:ext cx="2880000" cy="792000"/>
              </a:xfrm>
              <a:prstGeom prst="rect">
                <a:avLst/>
              </a:prstGeom>
              <a:noFill/>
              <a:ln w="3175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nary>
                        <m:naryPr>
                          <m:chr m:val="∑"/>
                          <m:ctrlPr>
                            <a:rPr lang="ru-RU" sz="120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sty m:val="p"/>
                              <m:brk m:alnAt="23"/>
                            </m:rPr>
                            <a:rPr lang="en-US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i</m:t>
                          </m:r>
                          <m:r>
                            <a:rPr lang="en-US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=</m:t>
                          </m:r>
                          <m:r>
                            <a:rPr lang="en-US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  <m:sup>
                          <m:r>
                            <m:rPr>
                              <m:sty m:val="p"/>
                            </m:rPr>
                            <a:rPr lang="en-US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N</m:t>
                          </m:r>
                        </m:sup>
                        <m:e>
                          <m:r>
                            <a:rPr lang="ru-RU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ОСД</m:t>
                          </m:r>
                          <m:r>
                            <m:rPr>
                              <m:sty m:val="p"/>
                            </m:rPr>
                            <a:rPr lang="en-US" sz="1200" i="1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i</m:t>
                          </m:r>
                          <m:r>
                            <a:rPr lang="ru-RU" sz="120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 </m:t>
                          </m:r>
                        </m:e>
                      </m:nary>
                    </m:oMath>
                  </m:oMathPara>
                </a14:m>
                <a:endParaRPr lang="ru-RU" sz="1200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54" name="Прямоугольник 5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28605" y="2315675"/>
                <a:ext cx="2880000" cy="792000"/>
              </a:xfrm>
              <a:prstGeom prst="rect">
                <a:avLst/>
              </a:prstGeom>
              <a:blipFill rotWithShape="0">
                <a:blip r:embed="rId4"/>
                <a:stretch>
                  <a:fillRect/>
                </a:stretch>
              </a:blipFill>
              <a:ln w="3175">
                <a:solidFill>
                  <a:schemeClr val="accent2"/>
                </a:solidFill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5" name="Прямоугольник 54"/>
          <p:cNvSpPr/>
          <p:nvPr/>
        </p:nvSpPr>
        <p:spPr>
          <a:xfrm>
            <a:off x="4524757" y="3162747"/>
            <a:ext cx="2880000" cy="792000"/>
          </a:xfrm>
          <a:prstGeom prst="rect">
            <a:avLst/>
          </a:prstGeom>
          <a:noFill/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err="1">
                <a:solidFill>
                  <a:schemeClr val="tx1"/>
                </a:solidFill>
              </a:rPr>
              <a:t>ВзнОПС</a:t>
            </a:r>
            <a:r>
              <a:rPr lang="ru-RU" sz="1200" dirty="0">
                <a:solidFill>
                  <a:schemeClr val="tx1"/>
                </a:solidFill>
              </a:rPr>
              <a:t> (стр. 30 разд. 1) + </a:t>
            </a:r>
            <a:r>
              <a:rPr lang="ru-RU" sz="1200" dirty="0" err="1">
                <a:solidFill>
                  <a:schemeClr val="tx1"/>
                </a:solidFill>
              </a:rPr>
              <a:t>ВзнОПСД</a:t>
            </a:r>
            <a:r>
              <a:rPr lang="ru-RU" sz="1200" dirty="0">
                <a:solidFill>
                  <a:schemeClr val="tx1"/>
                </a:solidFill>
              </a:rPr>
              <a:t>  (стр. 70 разд. 1) + </a:t>
            </a:r>
            <a:r>
              <a:rPr lang="ru-RU" sz="1200" dirty="0" err="1">
                <a:solidFill>
                  <a:schemeClr val="tx1"/>
                </a:solidFill>
              </a:rPr>
              <a:t>ВзнОМС</a:t>
            </a:r>
            <a:r>
              <a:rPr lang="ru-RU" sz="1200" dirty="0">
                <a:solidFill>
                  <a:schemeClr val="tx1"/>
                </a:solidFill>
              </a:rPr>
              <a:t> (стр. 50 разд. 1) + </a:t>
            </a:r>
            <a:r>
              <a:rPr lang="ru-RU" sz="1200" dirty="0" err="1">
                <a:solidFill>
                  <a:schemeClr val="tx1"/>
                </a:solidFill>
              </a:rPr>
              <a:t>ВзнОСС</a:t>
            </a:r>
            <a:r>
              <a:rPr lang="ru-RU" sz="1200" dirty="0">
                <a:solidFill>
                  <a:schemeClr val="tx1"/>
                </a:solidFill>
              </a:rPr>
              <a:t> (стр. 60 разд. 1 прил. № 2) + </a:t>
            </a:r>
            <a:r>
              <a:rPr lang="ru-RU" sz="1200" dirty="0" err="1">
                <a:solidFill>
                  <a:schemeClr val="tx1"/>
                </a:solidFill>
              </a:rPr>
              <a:t>ВзнДСО</a:t>
            </a:r>
            <a:r>
              <a:rPr lang="ru-RU" sz="1200" dirty="0">
                <a:solidFill>
                  <a:schemeClr val="tx1"/>
                </a:solidFill>
              </a:rPr>
              <a:t> (стр. 90 разд. 1)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4524757" y="4009819"/>
            <a:ext cx="2880000" cy="792000"/>
          </a:xfrm>
          <a:prstGeom prst="rect">
            <a:avLst/>
          </a:prstGeom>
          <a:noFill/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Строка 220 раздела 2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4524757" y="4880955"/>
            <a:ext cx="2880000" cy="792000"/>
          </a:xfrm>
          <a:prstGeom prst="rect">
            <a:avLst/>
          </a:prstGeom>
          <a:noFill/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tx1"/>
                </a:solidFill>
              </a:rPr>
              <a:t>C</a:t>
            </a:r>
            <a:r>
              <a:rPr lang="ru-RU" sz="1200" dirty="0" err="1">
                <a:solidFill>
                  <a:schemeClr val="tx1"/>
                </a:solidFill>
              </a:rPr>
              <a:t>толбец</a:t>
            </a:r>
            <a:r>
              <a:rPr lang="en-US" sz="1200" dirty="0">
                <a:solidFill>
                  <a:schemeClr val="tx1"/>
                </a:solidFill>
              </a:rPr>
              <a:t> j</a:t>
            </a:r>
            <a:r>
              <a:rPr lang="ru-RU" sz="1200" dirty="0">
                <a:solidFill>
                  <a:schemeClr val="tx1"/>
                </a:solidFill>
              </a:rPr>
              <a:t> строки 10 подраздела 1.1 приложения № 1 раздела 1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524758" y="5728027"/>
            <a:ext cx="7331882" cy="788842"/>
          </a:xfrm>
          <a:prstGeom prst="rect">
            <a:avLst/>
          </a:prstGeom>
          <a:noFill/>
          <a:ln w="3175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i="1" dirty="0">
                <a:solidFill>
                  <a:schemeClr val="tx1"/>
                </a:solidFill>
                <a:cs typeface="Times New Roman" panose="02020603050405020304" pitchFamily="18" charset="0"/>
              </a:rPr>
              <a:t>определяются как среднемесячное количество застрахованных лиц по данным четырех квартальных форм по страховым взносам</a:t>
            </a:r>
          </a:p>
        </p:txBody>
      </p:sp>
      <p:sp>
        <p:nvSpPr>
          <p:cNvPr id="67" name="Равнобедренный треугольник 66"/>
          <p:cNvSpPr/>
          <p:nvPr/>
        </p:nvSpPr>
        <p:spPr>
          <a:xfrm rot="5400000">
            <a:off x="4008967" y="2610813"/>
            <a:ext cx="720001" cy="181325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8" name="Равнобедренный треугольник 67"/>
          <p:cNvSpPr/>
          <p:nvPr/>
        </p:nvSpPr>
        <p:spPr>
          <a:xfrm rot="5400000">
            <a:off x="4006780" y="3477909"/>
            <a:ext cx="715934" cy="172882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9" name="Равнобедренный треугольник 68"/>
          <p:cNvSpPr/>
          <p:nvPr/>
        </p:nvSpPr>
        <p:spPr>
          <a:xfrm rot="5400000">
            <a:off x="4004745" y="4336715"/>
            <a:ext cx="720002" cy="172884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Равнобедренный треугольник 69"/>
          <p:cNvSpPr/>
          <p:nvPr/>
        </p:nvSpPr>
        <p:spPr>
          <a:xfrm rot="5400000">
            <a:off x="4005634" y="5196668"/>
            <a:ext cx="720000" cy="174657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71" name="Прямая соединительная линия 70"/>
          <p:cNvCxnSpPr/>
          <p:nvPr/>
        </p:nvCxnSpPr>
        <p:spPr>
          <a:xfrm>
            <a:off x="3224205" y="4843870"/>
            <a:ext cx="8632833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Прямоугольник 71"/>
          <p:cNvSpPr/>
          <p:nvPr/>
        </p:nvSpPr>
        <p:spPr>
          <a:xfrm>
            <a:off x="2981311" y="5493497"/>
            <a:ext cx="259224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accent2"/>
                </a:solidFill>
              </a:rPr>
              <a:t>=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2964981" y="2978641"/>
            <a:ext cx="259224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accent2"/>
                </a:solidFill>
              </a:rPr>
              <a:t>=</a:t>
            </a:r>
          </a:p>
        </p:txBody>
      </p:sp>
      <p:grpSp>
        <p:nvGrpSpPr>
          <p:cNvPr id="75" name="Группа 74"/>
          <p:cNvGrpSpPr/>
          <p:nvPr/>
        </p:nvGrpSpPr>
        <p:grpSpPr>
          <a:xfrm>
            <a:off x="2203098" y="4651838"/>
            <a:ext cx="259224" cy="360000"/>
            <a:chOff x="1441842" y="1467899"/>
            <a:chExt cx="259224" cy="360000"/>
          </a:xfrm>
        </p:grpSpPr>
        <p:sp>
          <p:nvSpPr>
            <p:cNvPr id="76" name="Овал 75"/>
            <p:cNvSpPr/>
            <p:nvPr/>
          </p:nvSpPr>
          <p:spPr>
            <a:xfrm>
              <a:off x="1445454" y="1521899"/>
              <a:ext cx="252000" cy="252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7" name="Прямоугольник 76"/>
            <p:cNvSpPr/>
            <p:nvPr/>
          </p:nvSpPr>
          <p:spPr>
            <a:xfrm>
              <a:off x="1441842" y="1467899"/>
              <a:ext cx="259224" cy="360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b="1" dirty="0">
                  <a:solidFill>
                    <a:schemeClr val="bg1"/>
                  </a:solidFill>
                </a:rPr>
                <a:t>÷</a:t>
              </a:r>
            </a:p>
          </p:txBody>
        </p:sp>
      </p:grpSp>
      <p:sp>
        <p:nvSpPr>
          <p:cNvPr id="78" name="Прямоугольник 77">
            <a:extLst>
              <a:ext uri="{FF2B5EF4-FFF2-40B4-BE49-F238E27FC236}">
                <a16:creationId xmlns="" xmlns:a16="http://schemas.microsoft.com/office/drawing/2014/main" id="{FD1F0FE0-570B-4897-9702-FD7FEA15DD7A}"/>
              </a:ext>
            </a:extLst>
          </p:cNvPr>
          <p:cNvSpPr/>
          <p:nvPr/>
        </p:nvSpPr>
        <p:spPr>
          <a:xfrm>
            <a:off x="1882774" y="1153560"/>
            <a:ext cx="2304359" cy="314953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</a:rPr>
              <a:t>Показатель</a:t>
            </a:r>
          </a:p>
        </p:txBody>
      </p:sp>
      <p:sp>
        <p:nvSpPr>
          <p:cNvPr id="79" name="Прямоугольник 78">
            <a:extLst>
              <a:ext uri="{FF2B5EF4-FFF2-40B4-BE49-F238E27FC236}">
                <a16:creationId xmlns="" xmlns:a16="http://schemas.microsoft.com/office/drawing/2014/main" id="{FD1F0FE0-570B-4897-9702-FD7FEA15DD7A}"/>
              </a:ext>
            </a:extLst>
          </p:cNvPr>
          <p:cNvSpPr/>
          <p:nvPr/>
        </p:nvSpPr>
        <p:spPr>
          <a:xfrm>
            <a:off x="4519084" y="1172393"/>
            <a:ext cx="2885673" cy="296209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</a:rPr>
              <a:t>Формула расчета</a:t>
            </a:r>
          </a:p>
        </p:txBody>
      </p:sp>
      <p:sp>
        <p:nvSpPr>
          <p:cNvPr id="80" name="Прямоугольник 79">
            <a:extLst>
              <a:ext uri="{FF2B5EF4-FFF2-40B4-BE49-F238E27FC236}">
                <a16:creationId xmlns="" xmlns:a16="http://schemas.microsoft.com/office/drawing/2014/main" id="{FD1F0FE0-570B-4897-9702-FD7FEA15DD7A}"/>
              </a:ext>
            </a:extLst>
          </p:cNvPr>
          <p:cNvSpPr/>
          <p:nvPr/>
        </p:nvSpPr>
        <p:spPr>
          <a:xfrm>
            <a:off x="7472653" y="1174111"/>
            <a:ext cx="4380770" cy="294491"/>
          </a:xfrm>
          <a:prstGeom prst="rect">
            <a:avLst/>
          </a:prstGeo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</a:rPr>
              <a:t>Источник данных</a:t>
            </a:r>
          </a:p>
        </p:txBody>
      </p:sp>
    </p:spTree>
    <p:extLst>
      <p:ext uri="{BB962C8B-B14F-4D97-AF65-F5344CB8AC3E}">
        <p14:creationId xmlns:p14="http://schemas.microsoft.com/office/powerpoint/2010/main" val="73932410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CC434D13-913D-4E94-9C3C-37C0F78F260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8752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5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29F512F8-A49E-4D90-9B77-09AA2B0E8E5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акие соглашения требуется заключить субъектам РФ?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27</a:t>
            </a:fld>
            <a:endParaRPr lang="ru-RU" dirty="0"/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25771" y="2508131"/>
            <a:ext cx="11520178" cy="6679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718899" y="1283037"/>
            <a:ext cx="607270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/>
              <a:t>Вступление субъекта РФ в Национальный проект</a:t>
            </a:r>
          </a:p>
        </p:txBody>
      </p:sp>
      <p:sp>
        <p:nvSpPr>
          <p:cNvPr id="10" name="Овал 9"/>
          <p:cNvSpPr/>
          <p:nvPr/>
        </p:nvSpPr>
        <p:spPr>
          <a:xfrm>
            <a:off x="334963" y="1241536"/>
            <a:ext cx="360000" cy="36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1</a:t>
            </a:r>
          </a:p>
        </p:txBody>
      </p:sp>
      <p:grpSp>
        <p:nvGrpSpPr>
          <p:cNvPr id="12" name="Группа 11"/>
          <p:cNvGrpSpPr/>
          <p:nvPr/>
        </p:nvGrpSpPr>
        <p:grpSpPr>
          <a:xfrm>
            <a:off x="1882246" y="1601556"/>
            <a:ext cx="540000" cy="540000"/>
            <a:chOff x="2860062" y="4133563"/>
            <a:chExt cx="1008112" cy="1008112"/>
          </a:xfrm>
        </p:grpSpPr>
        <p:sp>
          <p:nvSpPr>
            <p:cNvPr id="13" name="Овал 12"/>
            <p:cNvSpPr/>
            <p:nvPr/>
          </p:nvSpPr>
          <p:spPr>
            <a:xfrm>
              <a:off x="2860062" y="4133563"/>
              <a:ext cx="1008112" cy="100811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pic>
          <p:nvPicPr>
            <p:cNvPr id="14" name="Picture 4" descr="ÐÐ°ÑÑÐ¸Ð½ÐºÐ¸ Ð¿Ð¾ Ð·Ð°Ð¿ÑÐ¾ÑÑ Ð¼Ð¸Ð½ÑÐºÐ¾Ð½Ð¾Ð¼ÑÐ°Ð·Ð²Ð¸ÑÐ¸Ñ ÑÑ Ð»Ð¾Ð³Ð¾ÑÐ¸Ð¿ 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0400" y="4240560"/>
              <a:ext cx="727437" cy="7941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5" name="TextBox 14"/>
          <p:cNvSpPr txBox="1"/>
          <p:nvPr/>
        </p:nvSpPr>
        <p:spPr>
          <a:xfrm>
            <a:off x="1745168" y="2127008"/>
            <a:ext cx="7872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/>
              <a:t>МЭР</a:t>
            </a:r>
            <a:r>
              <a:rPr lang="en-US" sz="1200" dirty="0"/>
              <a:t> </a:t>
            </a:r>
            <a:r>
              <a:rPr lang="ru-RU" sz="1200" dirty="0"/>
              <a:t>РФ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24" r="21624"/>
          <a:stretch/>
        </p:blipFill>
        <p:spPr bwMode="auto">
          <a:xfrm>
            <a:off x="7280997" y="1601537"/>
            <a:ext cx="539265" cy="50400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7031192" y="2127007"/>
            <a:ext cx="10388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/>
              <a:t>Субъект РФ</a:t>
            </a:r>
          </a:p>
        </p:txBody>
      </p:sp>
      <p:cxnSp>
        <p:nvCxnSpPr>
          <p:cNvPr id="18" name="Прямая со стрелкой 17"/>
          <p:cNvCxnSpPr/>
          <p:nvPr/>
        </p:nvCxnSpPr>
        <p:spPr>
          <a:xfrm flipV="1">
            <a:off x="2422246" y="1853537"/>
            <a:ext cx="4858751" cy="18019"/>
          </a:xfrm>
          <a:prstGeom prst="straightConnector1">
            <a:avLst/>
          </a:prstGeom>
          <a:ln w="63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9130352" y="1234105"/>
            <a:ext cx="2715598" cy="1200329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rtlCol="0">
            <a:spAutoFit/>
          </a:bodyPr>
          <a:lstStyle/>
          <a:p>
            <a:r>
              <a:rPr lang="ru-RU" sz="1200" i="1" dirty="0"/>
              <a:t>Общее соглашение о вступлении в национальный проект необходимо для целей доведения финансирования до субъектов в рамках ФП «Поддержка занятости»</a:t>
            </a:r>
          </a:p>
        </p:txBody>
      </p:sp>
      <p:sp>
        <p:nvSpPr>
          <p:cNvPr id="22" name="Овал 21"/>
          <p:cNvSpPr/>
          <p:nvPr/>
        </p:nvSpPr>
        <p:spPr>
          <a:xfrm>
            <a:off x="342955" y="2568764"/>
            <a:ext cx="360000" cy="36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2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726891" y="2568764"/>
            <a:ext cx="6072708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200" b="1" dirty="0"/>
              <a:t>Вступление субъекта РФ в федеральные проекты в ГИИС «Электронный бюджет»</a:t>
            </a:r>
          </a:p>
        </p:txBody>
      </p:sp>
      <p:cxnSp>
        <p:nvCxnSpPr>
          <p:cNvPr id="27" name="Соединительная линия уступом 26"/>
          <p:cNvCxnSpPr>
            <a:stCxn id="52" idx="0"/>
            <a:endCxn id="157" idx="2"/>
          </p:cNvCxnSpPr>
          <p:nvPr/>
        </p:nvCxnSpPr>
        <p:spPr>
          <a:xfrm rot="5400000" flipH="1" flipV="1">
            <a:off x="3017982" y="2222318"/>
            <a:ext cx="670769" cy="2402240"/>
          </a:xfrm>
          <a:prstGeom prst="bentConnector2">
            <a:avLst/>
          </a:prstGeom>
          <a:ln w="635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Соединительная линия уступом 27"/>
          <p:cNvCxnSpPr>
            <a:stCxn id="49" idx="0"/>
            <a:endCxn id="157" idx="6"/>
          </p:cNvCxnSpPr>
          <p:nvPr/>
        </p:nvCxnSpPr>
        <p:spPr>
          <a:xfrm rot="16200000" flipV="1">
            <a:off x="5985422" y="2196382"/>
            <a:ext cx="673538" cy="2456879"/>
          </a:xfrm>
          <a:prstGeom prst="bentConnector2">
            <a:avLst/>
          </a:prstGeom>
          <a:ln w="635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/>
          <p:cNvCxnSpPr>
            <a:stCxn id="47" idx="0"/>
            <a:endCxn id="44" idx="2"/>
          </p:cNvCxnSpPr>
          <p:nvPr/>
        </p:nvCxnSpPr>
        <p:spPr>
          <a:xfrm flipH="1" flipV="1">
            <a:off x="4824120" y="3575677"/>
            <a:ext cx="21803" cy="185603"/>
          </a:xfrm>
          <a:prstGeom prst="straightConnector1">
            <a:avLst/>
          </a:prstGeom>
          <a:ln w="635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2" name="Группа 161"/>
          <p:cNvGrpSpPr/>
          <p:nvPr/>
        </p:nvGrpSpPr>
        <p:grpSpPr>
          <a:xfrm>
            <a:off x="892246" y="3758822"/>
            <a:ext cx="2520000" cy="489715"/>
            <a:chOff x="892246" y="3686252"/>
            <a:chExt cx="2520000" cy="489715"/>
          </a:xfrm>
        </p:grpSpPr>
        <p:sp>
          <p:nvSpPr>
            <p:cNvPr id="52" name="Прямоугольник 51"/>
            <p:cNvSpPr/>
            <p:nvPr/>
          </p:nvSpPr>
          <p:spPr>
            <a:xfrm>
              <a:off x="892246" y="3686252"/>
              <a:ext cx="2520000" cy="489715"/>
            </a:xfrm>
            <a:prstGeom prst="rect">
              <a:avLst/>
            </a:prstGeom>
            <a:solidFill>
              <a:schemeClr val="accent2"/>
            </a:solidFill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531813" lvl="1" algn="ctr"/>
              <a:r>
                <a:rPr lang="ru-RU" sz="1200" b="1" dirty="0"/>
                <a:t>ФП </a:t>
              </a:r>
            </a:p>
            <a:p>
              <a:pPr marL="531813" lvl="1" algn="ctr"/>
              <a:r>
                <a:rPr lang="ru-RU" sz="1200" b="1" dirty="0"/>
                <a:t>«Системные меры»</a:t>
              </a: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893075" y="3686252"/>
              <a:ext cx="555381" cy="48971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pic>
          <p:nvPicPr>
            <p:cNvPr id="54" name="Picture 4" descr="ÐÐ°ÑÑÐ¸Ð½ÐºÐ¸ Ð¿Ð¾ Ð·Ð°Ð¿ÑÐ¾ÑÑ Ð¼Ð¸Ð½ÑÐºÐ¾Ð½Ð¾Ð¼ÑÐ°Ð·Ð²Ð¸ÑÐ¸Ñ ÑÑ Ð»Ð¾Ð³Ð¾ÑÐ¸Ð¿ 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0411" y="3686252"/>
              <a:ext cx="480711" cy="4730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56" name="Группа 155"/>
          <p:cNvGrpSpPr/>
          <p:nvPr/>
        </p:nvGrpSpPr>
        <p:grpSpPr>
          <a:xfrm>
            <a:off x="6235989" y="3758822"/>
            <a:ext cx="2629281" cy="492485"/>
            <a:chOff x="6235989" y="3800552"/>
            <a:chExt cx="2629281" cy="492485"/>
          </a:xfrm>
        </p:grpSpPr>
        <p:sp>
          <p:nvSpPr>
            <p:cNvPr id="49" name="Прямоугольник 48"/>
            <p:cNvSpPr/>
            <p:nvPr/>
          </p:nvSpPr>
          <p:spPr>
            <a:xfrm>
              <a:off x="6235989" y="3803321"/>
              <a:ext cx="2629281" cy="489716"/>
            </a:xfrm>
            <a:prstGeom prst="rect">
              <a:avLst/>
            </a:prstGeom>
            <a:solidFill>
              <a:schemeClr val="accent2"/>
            </a:solidFill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450850" lvl="1" algn="ctr"/>
              <a:r>
                <a:rPr lang="ru-RU" sz="1200" b="1" dirty="0"/>
                <a:t>ФП </a:t>
              </a:r>
            </a:p>
            <a:p>
              <a:pPr marL="450850" lvl="1" algn="ctr"/>
              <a:r>
                <a:rPr lang="ru-RU" sz="1200" b="1" dirty="0"/>
                <a:t>«Поддержка занятости»</a:t>
              </a:r>
            </a:p>
          </p:txBody>
        </p:sp>
        <p:grpSp>
          <p:nvGrpSpPr>
            <p:cNvPr id="155" name="Группа 154"/>
            <p:cNvGrpSpPr/>
            <p:nvPr/>
          </p:nvGrpSpPr>
          <p:grpSpPr>
            <a:xfrm>
              <a:off x="6243085" y="3800552"/>
              <a:ext cx="555381" cy="489715"/>
              <a:chOff x="6243085" y="3800552"/>
              <a:chExt cx="555381" cy="489715"/>
            </a:xfrm>
          </p:grpSpPr>
          <p:sp>
            <p:nvSpPr>
              <p:cNvPr id="50" name="Прямоугольник 49"/>
              <p:cNvSpPr/>
              <p:nvPr/>
            </p:nvSpPr>
            <p:spPr>
              <a:xfrm>
                <a:off x="6243085" y="3800552"/>
                <a:ext cx="555381" cy="489715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  <p:pic>
            <p:nvPicPr>
              <p:cNvPr id="51" name="Picture 6" descr="ÐÐ¾ÑÐ¾Ð¶ÐµÐµ Ð¸Ð·Ð¾Ð±ÑÐ°Ð¶ÐµÐ½Ð¸Ðµ"/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34820" y="3852323"/>
                <a:ext cx="371910" cy="38617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40" name="TextBox 39"/>
          <p:cNvSpPr txBox="1"/>
          <p:nvPr/>
        </p:nvSpPr>
        <p:spPr>
          <a:xfrm>
            <a:off x="3581371" y="4718680"/>
            <a:ext cx="252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/>
              <a:t>Соглашение о выделении гранта для реализации </a:t>
            </a:r>
          </a:p>
          <a:p>
            <a:pPr algn="ctr"/>
            <a:r>
              <a:rPr lang="ru-RU" sz="1200" dirty="0"/>
              <a:t>ФП «Адресная поддержка» (заключается с МЭР РФ)</a:t>
            </a:r>
          </a:p>
        </p:txBody>
      </p:sp>
      <p:pic>
        <p:nvPicPr>
          <p:cNvPr id="41" name="Picture 12" descr="ÐÐ¾ÑÐ¾Ð¶ÐµÐµ Ð¸Ð·Ð¾Ð±ÑÐ°Ð¶ÐµÐ½Ð¸Ðµ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7922" y="4718680"/>
            <a:ext cx="189671" cy="170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3" name="Группа 152"/>
          <p:cNvGrpSpPr/>
          <p:nvPr/>
        </p:nvGrpSpPr>
        <p:grpSpPr>
          <a:xfrm>
            <a:off x="3581371" y="3761278"/>
            <a:ext cx="2520000" cy="489718"/>
            <a:chOff x="3564118" y="3803008"/>
            <a:chExt cx="2520000" cy="489718"/>
          </a:xfrm>
        </p:grpSpPr>
        <p:grpSp>
          <p:nvGrpSpPr>
            <p:cNvPr id="45" name="Группа 44"/>
            <p:cNvGrpSpPr/>
            <p:nvPr/>
          </p:nvGrpSpPr>
          <p:grpSpPr>
            <a:xfrm>
              <a:off x="3564118" y="3803008"/>
              <a:ext cx="2520000" cy="489718"/>
              <a:chOff x="407368" y="716042"/>
              <a:chExt cx="2212218" cy="576066"/>
            </a:xfrm>
          </p:grpSpPr>
          <p:sp>
            <p:nvSpPr>
              <p:cNvPr id="47" name="Прямоугольник 46"/>
              <p:cNvSpPr/>
              <p:nvPr/>
            </p:nvSpPr>
            <p:spPr>
              <a:xfrm>
                <a:off x="415359" y="716044"/>
                <a:ext cx="2204227" cy="576064"/>
              </a:xfrm>
              <a:prstGeom prst="rect">
                <a:avLst/>
              </a:prstGeom>
              <a:solidFill>
                <a:schemeClr val="accent2"/>
              </a:solidFill>
              <a:ln w="63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531813" lvl="1" algn="ctr"/>
                <a:r>
                  <a:rPr lang="ru-RU" sz="1200" b="1" dirty="0"/>
                  <a:t>ФП </a:t>
                </a:r>
              </a:p>
              <a:p>
                <a:pPr marL="531813" lvl="1" algn="ctr"/>
                <a:r>
                  <a:rPr lang="ru-RU" sz="1200" b="1" dirty="0"/>
                  <a:t>«Адресная поддержка»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407368" y="716042"/>
                <a:ext cx="526337" cy="576064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</p:grpSp>
        <p:pic>
          <p:nvPicPr>
            <p:cNvPr id="46" name="Picture 13" descr="Z:\ФЦК\Лого ФЦК\логотип ФЦК png.pn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2311" y="3905750"/>
              <a:ext cx="543178" cy="2824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4" name="TextBox 43"/>
          <p:cNvSpPr txBox="1"/>
          <p:nvPr/>
        </p:nvSpPr>
        <p:spPr>
          <a:xfrm>
            <a:off x="4304682" y="3298678"/>
            <a:ext cx="1038875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ru-RU" sz="1200" dirty="0"/>
              <a:t>Субъект РФ</a:t>
            </a:r>
          </a:p>
        </p:txBody>
      </p:sp>
      <p:sp>
        <p:nvSpPr>
          <p:cNvPr id="91" name="Прямоугольник 90"/>
          <p:cNvSpPr/>
          <p:nvPr/>
        </p:nvSpPr>
        <p:spPr>
          <a:xfrm>
            <a:off x="9130352" y="2699195"/>
            <a:ext cx="2746049" cy="1782636"/>
          </a:xfrm>
          <a:prstGeom prst="rect">
            <a:avLst/>
          </a:prstGeom>
          <a:noFill/>
          <a:ln w="31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i="1" dirty="0">
                <a:solidFill>
                  <a:schemeClr val="tx1"/>
                </a:solidFill>
              </a:rPr>
              <a:t>Соглашение о реализации региональных проектов </a:t>
            </a:r>
          </a:p>
          <a:p>
            <a:r>
              <a:rPr lang="ru-RU" sz="1200" i="1" dirty="0">
                <a:solidFill>
                  <a:schemeClr val="tx1"/>
                </a:solidFill>
              </a:rPr>
              <a:t>на территории Субъекта РФ в ГИИС «Электронный бюджет»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i="1" dirty="0">
                <a:solidFill>
                  <a:schemeClr val="tx1"/>
                </a:solidFill>
              </a:rPr>
              <a:t>Содержит декомпозированные цели и результаты ФП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i="1" dirty="0">
                <a:solidFill>
                  <a:schemeClr val="tx1"/>
                </a:solidFill>
              </a:rPr>
              <a:t>Финансирование не предусмотрено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892246" y="4306720"/>
            <a:ext cx="2520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i="1" dirty="0"/>
              <a:t>Заключено 36</a:t>
            </a:r>
            <a:r>
              <a:rPr lang="en-US" sz="1050" i="1" dirty="0"/>
              <a:t>/36 </a:t>
            </a:r>
            <a:r>
              <a:rPr lang="ru-RU" sz="1050" i="1" dirty="0"/>
              <a:t>соглашений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3598624" y="4308608"/>
            <a:ext cx="2520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i="1" dirty="0"/>
              <a:t>Заключено 36</a:t>
            </a:r>
            <a:r>
              <a:rPr lang="en-US" sz="1050" i="1" dirty="0"/>
              <a:t>/36 </a:t>
            </a:r>
            <a:r>
              <a:rPr lang="ru-RU" sz="1050" i="1" dirty="0"/>
              <a:t>соглашений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6235990" y="4280758"/>
            <a:ext cx="25200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i="1" dirty="0"/>
              <a:t>Заключено 31</a:t>
            </a:r>
            <a:r>
              <a:rPr lang="en-US" sz="1050" i="1" dirty="0"/>
              <a:t>/3</a:t>
            </a:r>
            <a:r>
              <a:rPr lang="ru-RU" sz="1050" i="1" dirty="0"/>
              <a:t>1</a:t>
            </a:r>
            <a:r>
              <a:rPr lang="en-US" sz="1050" i="1" dirty="0"/>
              <a:t> </a:t>
            </a:r>
            <a:r>
              <a:rPr lang="ru-RU" sz="1050" i="1" dirty="0"/>
              <a:t>соглашений</a:t>
            </a:r>
          </a:p>
          <a:p>
            <a:pPr algn="ctr"/>
            <a:r>
              <a:rPr lang="ru-RU" sz="1050" i="1" dirty="0"/>
              <a:t>(5 регионов не участвуют в 2019 г.)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6290629" y="4718680"/>
            <a:ext cx="252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/>
              <a:t>Соглашение о предоставлении МБТ для реализации </a:t>
            </a:r>
          </a:p>
          <a:p>
            <a:pPr algn="ctr"/>
            <a:r>
              <a:rPr lang="ru-RU" sz="1200" dirty="0"/>
              <a:t>ФП «Поддержка занятости» (заключается с </a:t>
            </a:r>
            <a:r>
              <a:rPr lang="ru-RU" sz="1200" dirty="0" err="1"/>
              <a:t>Рострудом</a:t>
            </a:r>
            <a:r>
              <a:rPr lang="ru-RU" sz="1200" dirty="0"/>
              <a:t>)</a:t>
            </a:r>
          </a:p>
        </p:txBody>
      </p:sp>
      <p:sp>
        <p:nvSpPr>
          <p:cNvPr id="99" name="Прямоугольник 98"/>
          <p:cNvSpPr/>
          <p:nvPr/>
        </p:nvSpPr>
        <p:spPr>
          <a:xfrm>
            <a:off x="9130352" y="4756780"/>
            <a:ext cx="2715597" cy="759454"/>
          </a:xfrm>
          <a:prstGeom prst="rect">
            <a:avLst/>
          </a:prstGeom>
          <a:noFill/>
          <a:ln w="31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i="1" dirty="0">
                <a:solidFill>
                  <a:schemeClr val="tx1"/>
                </a:solidFill>
              </a:rPr>
              <a:t>Соглашения с предусмотренным финансированием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892246" y="4718680"/>
            <a:ext cx="252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/>
              <a:t>«Денежное» соглашение не заключается</a:t>
            </a:r>
          </a:p>
        </p:txBody>
      </p:sp>
      <p:pic>
        <p:nvPicPr>
          <p:cNvPr id="101" name="Picture 12" descr="ÐÐ¾ÑÐ¾Ð¶ÐµÐµ Ð¸Ð·Ð¾Ð±ÑÐ°Ð¶ÐµÐ½Ð¸Ðµ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5793" y="4718680"/>
            <a:ext cx="189671" cy="170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" name="Равнобедренный треугольник 101"/>
          <p:cNvSpPr/>
          <p:nvPr/>
        </p:nvSpPr>
        <p:spPr>
          <a:xfrm rot="10800000">
            <a:off x="873685" y="5549676"/>
            <a:ext cx="7900866" cy="228906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111" name="TextBox 110"/>
          <p:cNvSpPr txBox="1"/>
          <p:nvPr/>
        </p:nvSpPr>
        <p:spPr>
          <a:xfrm>
            <a:off x="3696016" y="1900468"/>
            <a:ext cx="23112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i="1" dirty="0"/>
              <a:t>Заключено 31</a:t>
            </a:r>
            <a:r>
              <a:rPr lang="en-US" sz="1200" i="1" dirty="0"/>
              <a:t>/36 </a:t>
            </a:r>
            <a:r>
              <a:rPr lang="ru-RU" sz="1200" i="1" dirty="0"/>
              <a:t>соглашений</a:t>
            </a:r>
          </a:p>
        </p:txBody>
      </p:sp>
      <p:cxnSp>
        <p:nvCxnSpPr>
          <p:cNvPr id="144" name="Прямая соединительная линия 143"/>
          <p:cNvCxnSpPr/>
          <p:nvPr/>
        </p:nvCxnSpPr>
        <p:spPr>
          <a:xfrm>
            <a:off x="325771" y="4687385"/>
            <a:ext cx="11520178" cy="6679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Прямоугольник 148"/>
          <p:cNvSpPr/>
          <p:nvPr/>
        </p:nvSpPr>
        <p:spPr>
          <a:xfrm>
            <a:off x="750343" y="5818430"/>
            <a:ext cx="8216562" cy="634758"/>
          </a:xfrm>
          <a:prstGeom prst="rect">
            <a:avLst/>
          </a:prstGeom>
          <a:noFill/>
          <a:ln w="31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Регионы формируют</a:t>
            </a:r>
            <a:r>
              <a:rPr lang="en-US" sz="1200" dirty="0">
                <a:solidFill>
                  <a:schemeClr val="tx1"/>
                </a:solidFill>
              </a:rPr>
              <a:t>/</a:t>
            </a:r>
            <a:r>
              <a:rPr lang="ru-RU" sz="1200" dirty="0">
                <a:solidFill>
                  <a:schemeClr val="tx1"/>
                </a:solidFill>
              </a:rPr>
              <a:t>актуализируют региональные проекты с учетом показателей и результатов, содержащихся в соглашениях о реализации региональных проектов, заключенных в ГИИС «Электронный бюджет»</a:t>
            </a:r>
          </a:p>
        </p:txBody>
      </p:sp>
      <p:pic>
        <p:nvPicPr>
          <p:cNvPr id="157" name="Picture 2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24" r="21624"/>
          <a:stretch/>
        </p:blipFill>
        <p:spPr bwMode="auto">
          <a:xfrm>
            <a:off x="4554486" y="2836053"/>
            <a:ext cx="539265" cy="50400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5158622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45BE085E-D9EB-4EC2-8977-2194484097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1542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7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338E641E-C68A-41EB-BD9E-7399A022A7C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акие соглашения требуется заключить предприятиям?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28</a:t>
            </a:fld>
            <a:endParaRPr lang="ru-RU" dirty="0"/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25771" y="2508131"/>
            <a:ext cx="11520178" cy="6679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718899" y="1283037"/>
            <a:ext cx="68317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/>
              <a:t>Вступление предприятия в национальный, федеральный, региональный проекты</a:t>
            </a:r>
          </a:p>
        </p:txBody>
      </p:sp>
      <p:sp>
        <p:nvSpPr>
          <p:cNvPr id="10" name="Овал 9"/>
          <p:cNvSpPr/>
          <p:nvPr/>
        </p:nvSpPr>
        <p:spPr>
          <a:xfrm>
            <a:off x="334963" y="1241536"/>
            <a:ext cx="360000" cy="36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1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85964" y="2127008"/>
            <a:ext cx="103887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/>
              <a:t>Субъект</a:t>
            </a:r>
            <a:r>
              <a:rPr lang="en-US" sz="1200" dirty="0"/>
              <a:t> </a:t>
            </a:r>
            <a:r>
              <a:rPr lang="ru-RU" sz="1200" dirty="0"/>
              <a:t>РФ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473323" y="2100259"/>
            <a:ext cx="11318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/>
              <a:t>Предприятие</a:t>
            </a:r>
          </a:p>
        </p:txBody>
      </p:sp>
      <p:cxnSp>
        <p:nvCxnSpPr>
          <p:cNvPr id="18" name="Прямая со стрелкой 17"/>
          <p:cNvCxnSpPr>
            <a:stCxn id="58" idx="6"/>
            <a:endCxn id="61" idx="2"/>
          </p:cNvCxnSpPr>
          <p:nvPr/>
        </p:nvCxnSpPr>
        <p:spPr>
          <a:xfrm flipV="1">
            <a:off x="1877803" y="1827924"/>
            <a:ext cx="3948565" cy="367"/>
          </a:xfrm>
          <a:prstGeom prst="straightConnector1">
            <a:avLst/>
          </a:prstGeom>
          <a:ln w="63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7451387" y="1125627"/>
            <a:ext cx="4407851" cy="1384995"/>
          </a:xfrm>
          <a:prstGeom prst="rect">
            <a:avLst/>
          </a:prstGeom>
          <a:noFill/>
          <a:ln w="3175">
            <a:noFill/>
            <a:prstDash val="dash"/>
          </a:ln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i="1" dirty="0"/>
              <a:t>Общее соглашение о вступлении в национальный проект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i="1" dirty="0">
                <a:solidFill>
                  <a:schemeClr val="accent2"/>
                </a:solidFill>
              </a:rPr>
              <a:t>Соглашение – подтверждение вовлеченности предприятия в нац. проект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i="1" dirty="0"/>
              <a:t>Фиксирует цели 10-15-30%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i="1" dirty="0"/>
              <a:t>Подключает предприятие к мероприятиям федеральных проектов</a:t>
            </a:r>
          </a:p>
        </p:txBody>
      </p:sp>
      <p:sp>
        <p:nvSpPr>
          <p:cNvPr id="22" name="Овал 21"/>
          <p:cNvSpPr/>
          <p:nvPr/>
        </p:nvSpPr>
        <p:spPr>
          <a:xfrm>
            <a:off x="342955" y="2568764"/>
            <a:ext cx="360000" cy="360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2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726890" y="2568764"/>
            <a:ext cx="7047405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200" b="1" dirty="0"/>
              <a:t>Возможность предприятия участвовать в мероприятиях трех федеральных проектов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4685815" y="3663233"/>
            <a:ext cx="3060000" cy="553998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chemeClr val="accent2"/>
                </a:solidFill>
              </a:rPr>
              <a:t>Работа с ФЦК</a:t>
            </a:r>
          </a:p>
          <a:p>
            <a:pPr algn="ctr"/>
            <a:r>
              <a:rPr lang="ru-RU" sz="1000" dirty="0"/>
              <a:t>(соглашение о реализации проекта, </a:t>
            </a:r>
            <a:r>
              <a:rPr lang="ru-RU" sz="1000" i="1" dirty="0"/>
              <a:t>заключается с ФЦК</a:t>
            </a:r>
            <a:r>
              <a:rPr lang="ru-RU" sz="1000" dirty="0"/>
              <a:t>)</a:t>
            </a:r>
          </a:p>
        </p:txBody>
      </p:sp>
      <p:pic>
        <p:nvPicPr>
          <p:cNvPr id="58" name="Picture 2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24" r="21624"/>
          <a:stretch/>
        </p:blipFill>
        <p:spPr bwMode="auto">
          <a:xfrm>
            <a:off x="1332999" y="1558291"/>
            <a:ext cx="544804" cy="540000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9" name="Группа 58"/>
          <p:cNvGrpSpPr/>
          <p:nvPr/>
        </p:nvGrpSpPr>
        <p:grpSpPr>
          <a:xfrm>
            <a:off x="5826368" y="1558291"/>
            <a:ext cx="539265" cy="539265"/>
            <a:chOff x="10705256" y="6832848"/>
            <a:chExt cx="1368152" cy="1368152"/>
          </a:xfrm>
        </p:grpSpPr>
        <p:pic>
          <p:nvPicPr>
            <p:cNvPr id="60" name="Picture 3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084"/>
            <a:stretch/>
          </p:blipFill>
          <p:spPr bwMode="auto">
            <a:xfrm>
              <a:off x="10849240" y="7086782"/>
              <a:ext cx="1080183" cy="8602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1" name="Овал 60"/>
            <p:cNvSpPr/>
            <p:nvPr/>
          </p:nvSpPr>
          <p:spPr>
            <a:xfrm>
              <a:off x="10705256" y="6832848"/>
              <a:ext cx="1368152" cy="1368152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</p:grpSp>
      <p:sp>
        <p:nvSpPr>
          <p:cNvPr id="63" name="TextBox 62"/>
          <p:cNvSpPr txBox="1"/>
          <p:nvPr/>
        </p:nvSpPr>
        <p:spPr>
          <a:xfrm>
            <a:off x="5530076" y="3333474"/>
            <a:ext cx="11318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/>
              <a:t>Предприятие</a:t>
            </a:r>
          </a:p>
        </p:txBody>
      </p:sp>
      <p:grpSp>
        <p:nvGrpSpPr>
          <p:cNvPr id="64" name="Группа 63"/>
          <p:cNvGrpSpPr/>
          <p:nvPr/>
        </p:nvGrpSpPr>
        <p:grpSpPr>
          <a:xfrm>
            <a:off x="5826368" y="2803328"/>
            <a:ext cx="539265" cy="539265"/>
            <a:chOff x="10705256" y="6832848"/>
            <a:chExt cx="1368152" cy="1368152"/>
          </a:xfrm>
        </p:grpSpPr>
        <p:pic>
          <p:nvPicPr>
            <p:cNvPr id="65" name="Picture 3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084"/>
            <a:stretch/>
          </p:blipFill>
          <p:spPr bwMode="auto">
            <a:xfrm>
              <a:off x="10849240" y="7086782"/>
              <a:ext cx="1080183" cy="8602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6" name="Овал 65"/>
            <p:cNvSpPr/>
            <p:nvPr/>
          </p:nvSpPr>
          <p:spPr>
            <a:xfrm>
              <a:off x="10705256" y="6832848"/>
              <a:ext cx="1368152" cy="1368152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</p:grpSp>
      <p:sp>
        <p:nvSpPr>
          <p:cNvPr id="67" name="TextBox 66"/>
          <p:cNvSpPr txBox="1"/>
          <p:nvPr/>
        </p:nvSpPr>
        <p:spPr>
          <a:xfrm>
            <a:off x="4692248" y="4253824"/>
            <a:ext cx="3060000" cy="553998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chemeClr val="accent2"/>
                </a:solidFill>
              </a:rPr>
              <a:t>Работа с РЦК</a:t>
            </a:r>
          </a:p>
          <a:p>
            <a:pPr algn="ctr"/>
            <a:r>
              <a:rPr lang="ru-RU" sz="1000" dirty="0"/>
              <a:t>(соглашение о реализации проекта, </a:t>
            </a:r>
            <a:r>
              <a:rPr lang="ru-RU" sz="1000" i="1" dirty="0"/>
              <a:t>заключается с РЦК</a:t>
            </a:r>
            <a:r>
              <a:rPr lang="ru-RU" sz="1000" dirty="0"/>
              <a:t>)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4692248" y="4844415"/>
            <a:ext cx="3060000" cy="553998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chemeClr val="accent2"/>
                </a:solidFill>
              </a:rPr>
              <a:t>Работа с партнерами</a:t>
            </a:r>
          </a:p>
          <a:p>
            <a:pPr algn="ctr"/>
            <a:r>
              <a:rPr lang="ru-RU" sz="1000" dirty="0"/>
              <a:t>(соглашение о реализации проекта, </a:t>
            </a:r>
            <a:r>
              <a:rPr lang="ru-RU" sz="1000" i="1" dirty="0"/>
              <a:t>заключается с партнерами</a:t>
            </a:r>
            <a:r>
              <a:rPr lang="ru-RU" sz="1000" dirty="0"/>
              <a:t>)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572933" y="5588893"/>
            <a:ext cx="3060000" cy="40011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chemeClr val="accent2"/>
                </a:solidFill>
              </a:rPr>
              <a:t>Льготные займы</a:t>
            </a:r>
          </a:p>
          <a:p>
            <a:pPr algn="ctr"/>
            <a:r>
              <a:rPr lang="ru-RU" sz="1000" dirty="0"/>
              <a:t>(соглашение, </a:t>
            </a:r>
            <a:r>
              <a:rPr lang="ru-RU" sz="1000" i="1" dirty="0"/>
              <a:t>заключается с ФРП</a:t>
            </a:r>
            <a:r>
              <a:rPr lang="ru-RU" sz="1000" dirty="0"/>
              <a:t>)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572391" y="4933840"/>
            <a:ext cx="3060000" cy="553998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chemeClr val="accent2"/>
                </a:solidFill>
              </a:rPr>
              <a:t>Обучение управленческих кадров</a:t>
            </a:r>
          </a:p>
          <a:p>
            <a:pPr algn="ctr"/>
            <a:r>
              <a:rPr lang="ru-RU" sz="1000" dirty="0"/>
              <a:t>(списки на зачисление людей на обучение в ВАВТ)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572391" y="3663233"/>
            <a:ext cx="3060000" cy="1169551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chemeClr val="accent2"/>
                </a:solidFill>
              </a:rPr>
              <a:t>Участие в программе «Экспортный акселератор»</a:t>
            </a:r>
          </a:p>
          <a:p>
            <a:pPr algn="ctr"/>
            <a:r>
              <a:rPr lang="ru-RU" sz="1000" dirty="0"/>
              <a:t>(соглашение об оказании образовательных услуг</a:t>
            </a:r>
          </a:p>
          <a:p>
            <a:pPr algn="ctr"/>
            <a:r>
              <a:rPr lang="ru-RU" sz="1000" dirty="0"/>
              <a:t>соглашение о межмодульном сопровождении </a:t>
            </a:r>
            <a:br>
              <a:rPr lang="ru-RU" sz="1000" dirty="0"/>
            </a:br>
            <a:r>
              <a:rPr lang="ru-RU" sz="1000" dirty="0"/>
              <a:t>при оказании информационных </a:t>
            </a:r>
            <a:br>
              <a:rPr lang="ru-RU" sz="1000" dirty="0"/>
            </a:br>
            <a:r>
              <a:rPr lang="ru-RU" sz="1000" dirty="0"/>
              <a:t>и консультационных услуг, </a:t>
            </a:r>
            <a:r>
              <a:rPr lang="ru-RU" sz="1000" i="1" dirty="0"/>
              <a:t>заключается с РЭЦ</a:t>
            </a:r>
            <a:r>
              <a:rPr lang="ru-RU" sz="1000" dirty="0"/>
              <a:t>) 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8799238" y="3663233"/>
            <a:ext cx="3060000" cy="707886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chemeClr val="accent2"/>
                </a:solidFill>
              </a:rPr>
              <a:t>Переобучение сотрудников с привлечением вузов</a:t>
            </a:r>
          </a:p>
          <a:p>
            <a:pPr algn="ctr"/>
            <a:r>
              <a:rPr lang="ru-RU" sz="1000" dirty="0"/>
              <a:t>(договор об оказании образовательных услуг, </a:t>
            </a:r>
            <a:r>
              <a:rPr lang="ru-RU" sz="1000" i="1" dirty="0"/>
              <a:t>заключается с вузами</a:t>
            </a:r>
            <a:r>
              <a:rPr lang="ru-RU" sz="1000" dirty="0"/>
              <a:t>)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8799238" y="5127229"/>
            <a:ext cx="3060000" cy="861774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chemeClr val="accent2"/>
                </a:solidFill>
              </a:rPr>
              <a:t>Переобучение сотрудников с привлечением ЦЗН</a:t>
            </a:r>
          </a:p>
          <a:p>
            <a:pPr algn="ctr"/>
            <a:r>
              <a:rPr lang="ru-RU" sz="1000" dirty="0"/>
              <a:t>(соглашение о возмещении расходов или о финансовом обеспечении, </a:t>
            </a:r>
            <a:r>
              <a:rPr lang="ru-RU" sz="1000" i="1" dirty="0"/>
              <a:t>заключается с ЦЗН</a:t>
            </a:r>
            <a:r>
              <a:rPr lang="ru-RU" sz="1000" dirty="0"/>
              <a:t>)</a:t>
            </a:r>
          </a:p>
        </p:txBody>
      </p:sp>
      <p:cxnSp>
        <p:nvCxnSpPr>
          <p:cNvPr id="25" name="Соединительная линия уступом 24"/>
          <p:cNvCxnSpPr>
            <a:stCxn id="66" idx="2"/>
            <a:endCxn id="70" idx="1"/>
          </p:cNvCxnSpPr>
          <p:nvPr/>
        </p:nvCxnSpPr>
        <p:spPr>
          <a:xfrm rot="10800000" flipV="1">
            <a:off x="572934" y="3072960"/>
            <a:ext cx="5253435" cy="2715987"/>
          </a:xfrm>
          <a:prstGeom prst="bentConnector3">
            <a:avLst>
              <a:gd name="adj1" fmla="val 104351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Соединительная линия уступом 85"/>
          <p:cNvCxnSpPr>
            <a:stCxn id="65" idx="1"/>
            <a:endCxn id="68" idx="1"/>
          </p:cNvCxnSpPr>
          <p:nvPr/>
        </p:nvCxnSpPr>
        <p:spPr>
          <a:xfrm rot="10800000" flipV="1">
            <a:off x="4692248" y="3072960"/>
            <a:ext cx="1190872" cy="2048453"/>
          </a:xfrm>
          <a:prstGeom prst="bentConnector3">
            <a:avLst>
              <a:gd name="adj1" fmla="val 11919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Соединительная линия уступом 88"/>
          <p:cNvCxnSpPr>
            <a:stCxn id="66" idx="6"/>
            <a:endCxn id="74" idx="1"/>
          </p:cNvCxnSpPr>
          <p:nvPr/>
        </p:nvCxnSpPr>
        <p:spPr>
          <a:xfrm>
            <a:off x="6365633" y="3072961"/>
            <a:ext cx="2433605" cy="2485155"/>
          </a:xfrm>
          <a:prstGeom prst="bentConnector3">
            <a:avLst>
              <a:gd name="adj1" fmla="val 90183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Box 102"/>
          <p:cNvSpPr txBox="1"/>
          <p:nvPr/>
        </p:nvSpPr>
        <p:spPr>
          <a:xfrm>
            <a:off x="4692248" y="5435005"/>
            <a:ext cx="3060000" cy="553998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chemeClr val="accent2"/>
                </a:solidFill>
              </a:rPr>
              <a:t>Работа с консультантами</a:t>
            </a:r>
          </a:p>
          <a:p>
            <a:pPr algn="ctr"/>
            <a:r>
              <a:rPr lang="ru-RU" sz="1000" dirty="0"/>
              <a:t>(договор о реализации проекта на предприятии, </a:t>
            </a:r>
            <a:r>
              <a:rPr lang="ru-RU" sz="1000" i="1" dirty="0"/>
              <a:t>заключается с консультантами</a:t>
            </a:r>
            <a:r>
              <a:rPr lang="ru-RU" sz="1000" dirty="0"/>
              <a:t>) </a:t>
            </a:r>
          </a:p>
        </p:txBody>
      </p:sp>
      <p:cxnSp>
        <p:nvCxnSpPr>
          <p:cNvPr id="104" name="Соединительная линия уступом 103"/>
          <p:cNvCxnSpPr>
            <a:stCxn id="66" idx="2"/>
            <a:endCxn id="103" idx="1"/>
          </p:cNvCxnSpPr>
          <p:nvPr/>
        </p:nvCxnSpPr>
        <p:spPr>
          <a:xfrm rot="10800000" flipV="1">
            <a:off x="4692248" y="3072960"/>
            <a:ext cx="1134120" cy="2639043"/>
          </a:xfrm>
          <a:prstGeom prst="bentConnector3">
            <a:avLst>
              <a:gd name="adj1" fmla="val 120157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Соединительная линия уступом 61"/>
          <p:cNvCxnSpPr>
            <a:stCxn id="65" idx="1"/>
            <a:endCxn id="72" idx="1"/>
          </p:cNvCxnSpPr>
          <p:nvPr/>
        </p:nvCxnSpPr>
        <p:spPr>
          <a:xfrm rot="10800000" flipV="1">
            <a:off x="572392" y="3072961"/>
            <a:ext cx="5310729" cy="1175048"/>
          </a:xfrm>
          <a:prstGeom prst="bentConnector3">
            <a:avLst>
              <a:gd name="adj1" fmla="val 104304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Соединительная линия уступом 68"/>
          <p:cNvCxnSpPr>
            <a:stCxn id="66" idx="2"/>
            <a:endCxn id="71" idx="1"/>
          </p:cNvCxnSpPr>
          <p:nvPr/>
        </p:nvCxnSpPr>
        <p:spPr>
          <a:xfrm rot="10800000" flipV="1">
            <a:off x="572392" y="3072961"/>
            <a:ext cx="5253977" cy="2137878"/>
          </a:xfrm>
          <a:prstGeom prst="bentConnector3">
            <a:avLst>
              <a:gd name="adj1" fmla="val 104351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Соединительная линия уступом 74"/>
          <p:cNvCxnSpPr>
            <a:stCxn id="65" idx="1"/>
            <a:endCxn id="67" idx="1"/>
          </p:cNvCxnSpPr>
          <p:nvPr/>
        </p:nvCxnSpPr>
        <p:spPr>
          <a:xfrm rot="10800000" flipV="1">
            <a:off x="4692248" y="3072961"/>
            <a:ext cx="1190872" cy="1457862"/>
          </a:xfrm>
          <a:prstGeom prst="bentConnector3">
            <a:avLst>
              <a:gd name="adj1" fmla="val 11919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Соединительная линия уступом 75"/>
          <p:cNvCxnSpPr>
            <a:stCxn id="65" idx="1"/>
            <a:endCxn id="40" idx="1"/>
          </p:cNvCxnSpPr>
          <p:nvPr/>
        </p:nvCxnSpPr>
        <p:spPr>
          <a:xfrm rot="10800000" flipV="1">
            <a:off x="4685816" y="3072960"/>
            <a:ext cx="1197305" cy="867271"/>
          </a:xfrm>
          <a:prstGeom prst="bentConnector3">
            <a:avLst>
              <a:gd name="adj1" fmla="val 119093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Соединительная линия уступом 95"/>
          <p:cNvCxnSpPr>
            <a:stCxn id="66" idx="6"/>
            <a:endCxn id="73" idx="1"/>
          </p:cNvCxnSpPr>
          <p:nvPr/>
        </p:nvCxnSpPr>
        <p:spPr>
          <a:xfrm>
            <a:off x="6365633" y="3072961"/>
            <a:ext cx="2433605" cy="944215"/>
          </a:xfrm>
          <a:prstGeom prst="bentConnector3">
            <a:avLst>
              <a:gd name="adj1" fmla="val 90074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Равнобедренный треугольник 129"/>
          <p:cNvSpPr/>
          <p:nvPr/>
        </p:nvSpPr>
        <p:spPr>
          <a:xfrm rot="10800000">
            <a:off x="1650154" y="6032342"/>
            <a:ext cx="905559" cy="158098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5" name="Равнобедренный треугольник 134"/>
          <p:cNvSpPr/>
          <p:nvPr/>
        </p:nvSpPr>
        <p:spPr>
          <a:xfrm rot="10800000">
            <a:off x="5769469" y="6032342"/>
            <a:ext cx="905559" cy="158098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6" name="Равнобедренный треугольник 135"/>
          <p:cNvSpPr/>
          <p:nvPr/>
        </p:nvSpPr>
        <p:spPr>
          <a:xfrm rot="10800000">
            <a:off x="9876459" y="6032342"/>
            <a:ext cx="905559" cy="158098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4" name="Picture 4" descr="ÐÐ°ÑÑÐ¸Ð½ÐºÐ¸ Ð¿Ð¾ Ð·Ð°Ð¿ÑÐ¾ÑÑ Ð¼Ð¸Ð½ÑÐºÐ¾Ð½Ð¾Ð¼ÑÐ°Ð·Ð²Ð¸ÑÐ¸Ñ ÑÑ Ð»Ð¾Ð³Ð¾ÑÐ¸Ð¿ 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933" y="6193803"/>
            <a:ext cx="329925" cy="324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3" name="TextBox 132"/>
          <p:cNvSpPr txBox="1"/>
          <p:nvPr/>
        </p:nvSpPr>
        <p:spPr>
          <a:xfrm>
            <a:off x="869972" y="6233034"/>
            <a:ext cx="238144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chemeClr val="accent2"/>
                </a:solidFill>
              </a:rPr>
              <a:t>В рамках ФП «Системные меры»</a:t>
            </a:r>
          </a:p>
        </p:txBody>
      </p:sp>
      <p:grpSp>
        <p:nvGrpSpPr>
          <p:cNvPr id="137" name="Группа 136"/>
          <p:cNvGrpSpPr/>
          <p:nvPr/>
        </p:nvGrpSpPr>
        <p:grpSpPr>
          <a:xfrm>
            <a:off x="4668902" y="6214913"/>
            <a:ext cx="3076913" cy="282462"/>
            <a:chOff x="4668902" y="6214913"/>
            <a:chExt cx="3076913" cy="282462"/>
          </a:xfrm>
        </p:grpSpPr>
        <p:pic>
          <p:nvPicPr>
            <p:cNvPr id="46" name="Picture 13" descr="Z:\ФЦК\Лого ФЦК\логотип ФЦК png.pn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68902" y="6214913"/>
              <a:ext cx="543178" cy="282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9" name="TextBox 138"/>
            <p:cNvSpPr txBox="1"/>
            <p:nvPr/>
          </p:nvSpPr>
          <p:spPr>
            <a:xfrm>
              <a:off x="5158740" y="6233034"/>
              <a:ext cx="258707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>
                  <a:solidFill>
                    <a:schemeClr val="accent2"/>
                  </a:solidFill>
                </a:rPr>
                <a:t>В рамках ФП «Адресная поддержка»</a:t>
              </a:r>
            </a:p>
          </p:txBody>
        </p:sp>
      </p:grpSp>
      <p:sp>
        <p:nvSpPr>
          <p:cNvPr id="140" name="TextBox 139"/>
          <p:cNvSpPr txBox="1"/>
          <p:nvPr/>
        </p:nvSpPr>
        <p:spPr>
          <a:xfrm>
            <a:off x="9138518" y="6233034"/>
            <a:ext cx="27074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chemeClr val="accent2"/>
                </a:solidFill>
              </a:rPr>
              <a:t>В рамках ФП «Поддержка занятости»</a:t>
            </a:r>
          </a:p>
        </p:txBody>
      </p:sp>
      <p:pic>
        <p:nvPicPr>
          <p:cNvPr id="145" name="Picture 6" descr="ÐÐ¾ÑÐ¾Ð¶ÐµÐµ Ð¸Ð·Ð¾Ð±ÑÐ°Ð¶ÐµÐ½Ð¸Ðµ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9238" y="6168037"/>
            <a:ext cx="326926" cy="339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0867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="" xmlns:a16="http://schemas.microsoft.com/office/drawing/2014/main" id="{575E542D-8D4F-4FA0-A7C8-E22EFC1633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3567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38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CA8372E1-BBDC-4BC1-8A7F-5AD4795CEFE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Стрелка: пятиугольник 14">
            <a:extLst>
              <a:ext uri="{FF2B5EF4-FFF2-40B4-BE49-F238E27FC236}">
                <a16:creationId xmlns="" xmlns:a16="http://schemas.microsoft.com/office/drawing/2014/main" id="{1C22AC74-99C0-455D-BB44-EB6F128A9D65}"/>
              </a:ext>
            </a:extLst>
          </p:cNvPr>
          <p:cNvSpPr/>
          <p:nvPr/>
        </p:nvSpPr>
        <p:spPr>
          <a:xfrm>
            <a:off x="578750" y="1839578"/>
            <a:ext cx="4976477" cy="1497527"/>
          </a:xfrm>
          <a:prstGeom prst="homePlate">
            <a:avLst>
              <a:gd name="adj" fmla="val 0"/>
            </a:avLst>
          </a:prstGeom>
          <a:noFill/>
          <a:ln w="158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720000"/>
            <a:endParaRPr lang="ru-RU" sz="800" b="1" dirty="0">
              <a:solidFill>
                <a:schemeClr val="accent3"/>
              </a:solidFill>
            </a:endParaRPr>
          </a:p>
          <a:p>
            <a:pPr marL="900000" lvl="1" indent="-171450">
              <a:buFont typeface="Arial" pitchFamily="34" charset="0"/>
              <a:buChar char="•"/>
            </a:pPr>
            <a:endParaRPr lang="ru-RU" sz="1100" dirty="0">
              <a:solidFill>
                <a:schemeClr val="accent3">
                  <a:lumMod val="50000"/>
                </a:schemeClr>
              </a:solidFill>
            </a:endParaRPr>
          </a:p>
          <a:p>
            <a:pPr marL="900000" lvl="1" indent="-171450">
              <a:buFont typeface="Arial" pitchFamily="34" charset="0"/>
              <a:buChar char="•"/>
            </a:pPr>
            <a:r>
              <a:rPr lang="ru-RU" sz="1300" dirty="0">
                <a:solidFill>
                  <a:schemeClr val="accent3">
                    <a:lumMod val="50000"/>
                  </a:schemeClr>
                </a:solidFill>
              </a:rPr>
              <a:t>Обрабатывающая промышленность</a:t>
            </a:r>
          </a:p>
          <a:p>
            <a:pPr marL="900000" lvl="1" indent="-171450">
              <a:buFont typeface="Arial" pitchFamily="34" charset="0"/>
              <a:buChar char="•"/>
            </a:pPr>
            <a:r>
              <a:rPr lang="ru-RU" sz="1300" dirty="0">
                <a:solidFill>
                  <a:schemeClr val="accent3">
                    <a:lumMod val="50000"/>
                  </a:schemeClr>
                </a:solidFill>
              </a:rPr>
              <a:t>Сельское хозяйство</a:t>
            </a:r>
          </a:p>
          <a:p>
            <a:pPr marL="900000" lvl="1" indent="-171450">
              <a:buFont typeface="Arial" pitchFamily="34" charset="0"/>
              <a:buChar char="•"/>
            </a:pPr>
            <a:r>
              <a:rPr lang="ru-RU" sz="1300" dirty="0">
                <a:solidFill>
                  <a:schemeClr val="accent3">
                    <a:lumMod val="50000"/>
                  </a:schemeClr>
                </a:solidFill>
              </a:rPr>
              <a:t>Строительство</a:t>
            </a:r>
          </a:p>
          <a:p>
            <a:pPr marL="900000" lvl="1" indent="-171450">
              <a:buFont typeface="Arial" pitchFamily="34" charset="0"/>
              <a:buChar char="•"/>
            </a:pPr>
            <a:r>
              <a:rPr lang="ru-RU" sz="1300" dirty="0">
                <a:solidFill>
                  <a:schemeClr val="accent3">
                    <a:lumMod val="50000"/>
                  </a:schemeClr>
                </a:solidFill>
              </a:rPr>
              <a:t>Транспорт</a:t>
            </a:r>
          </a:p>
          <a:p>
            <a:pPr marL="900000" lvl="1" indent="-171450">
              <a:buFont typeface="Arial" pitchFamily="34" charset="0"/>
              <a:buChar char="•"/>
            </a:pPr>
            <a:r>
              <a:rPr lang="ru-RU" sz="1300" dirty="0">
                <a:solidFill>
                  <a:schemeClr val="accent3">
                    <a:lumMod val="50000"/>
                  </a:schemeClr>
                </a:solidFill>
              </a:rPr>
              <a:t>ЖКХ </a:t>
            </a:r>
            <a:r>
              <a:rPr lang="ru-RU" sz="1300" dirty="0">
                <a:solidFill>
                  <a:schemeClr val="bg1">
                    <a:lumMod val="65000"/>
                  </a:schemeClr>
                </a:solidFill>
              </a:rPr>
              <a:t>(к включению)</a:t>
            </a:r>
          </a:p>
          <a:p>
            <a:pPr marL="228600" indent="-228600">
              <a:buAutoNum type="arabicPeriod"/>
            </a:pPr>
            <a:endParaRPr lang="ru-RU" sz="1400" b="1" dirty="0">
              <a:solidFill>
                <a:schemeClr val="accent3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 составе национального проекта три федеральных проек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7" name="Прямоугольник 4">
            <a:extLst>
              <a:ext uri="{FF2B5EF4-FFF2-40B4-BE49-F238E27FC236}">
                <a16:creationId xmlns="" xmlns:a16="http://schemas.microsoft.com/office/drawing/2014/main" id="{FE05470B-B3F8-4F07-AA7A-1A58723EE07D}"/>
              </a:ext>
            </a:extLst>
          </p:cNvPr>
          <p:cNvSpPr/>
          <p:nvPr/>
        </p:nvSpPr>
        <p:spPr>
          <a:xfrm>
            <a:off x="5904399" y="1214652"/>
            <a:ext cx="5924743" cy="227584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8" name="Стрелка: пятиугольник 6">
            <a:extLst>
              <a:ext uri="{FF2B5EF4-FFF2-40B4-BE49-F238E27FC236}">
                <a16:creationId xmlns="" xmlns:a16="http://schemas.microsoft.com/office/drawing/2014/main" id="{894E484A-9517-4960-B8A4-3E9D47D32FC4}"/>
              </a:ext>
            </a:extLst>
          </p:cNvPr>
          <p:cNvSpPr/>
          <p:nvPr/>
        </p:nvSpPr>
        <p:spPr>
          <a:xfrm>
            <a:off x="578750" y="1214652"/>
            <a:ext cx="4987416" cy="645507"/>
          </a:xfrm>
          <a:prstGeom prst="homePlate">
            <a:avLst>
              <a:gd name="adj" fmla="val 0"/>
            </a:avLst>
          </a:prstGeom>
          <a:solidFill>
            <a:schemeClr val="tx2">
              <a:lumMod val="90000"/>
              <a:lumOff val="10000"/>
            </a:scheme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500" b="1" smtClean="0">
                <a:solidFill>
                  <a:schemeClr val="bg1"/>
                </a:solidFill>
              </a:rPr>
              <a:t>Производительность труда и </a:t>
            </a:r>
            <a:r>
              <a:rPr lang="ru-RU" sz="1500" b="1" dirty="0">
                <a:solidFill>
                  <a:schemeClr val="bg1"/>
                </a:solidFill>
              </a:rPr>
              <a:t>поддержка занятости</a:t>
            </a:r>
            <a:endParaRPr lang="en-US" sz="1500" b="1" dirty="0" err="1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47C17AF4-F506-4273-B5C9-1CF025E22A1C}"/>
              </a:ext>
            </a:extLst>
          </p:cNvPr>
          <p:cNvSpPr txBox="1"/>
          <p:nvPr/>
        </p:nvSpPr>
        <p:spPr>
          <a:xfrm>
            <a:off x="1347832" y="1843706"/>
            <a:ext cx="38767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solidFill>
                  <a:schemeClr val="accent3"/>
                </a:solidFill>
              </a:rPr>
              <a:t>Для предприятий несырьевых отраслей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47C17AF4-F506-4273-B5C9-1CF025E22A1C}"/>
              </a:ext>
            </a:extLst>
          </p:cNvPr>
          <p:cNvSpPr txBox="1"/>
          <p:nvPr/>
        </p:nvSpPr>
        <p:spPr>
          <a:xfrm>
            <a:off x="748248" y="3593592"/>
            <a:ext cx="230979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i="1" dirty="0">
                <a:solidFill>
                  <a:schemeClr val="accent3"/>
                </a:solidFill>
              </a:rPr>
              <a:t>Федеральные проекты</a:t>
            </a: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2007121"/>
              </p:ext>
            </p:extLst>
          </p:nvPr>
        </p:nvGraphicFramePr>
        <p:xfrm>
          <a:off x="5983586" y="1407539"/>
          <a:ext cx="5845556" cy="1859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9551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35004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3966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</a:rPr>
                        <a:t>Куратор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</a:rPr>
                        <a:t>Первый заместитель Председателя Правительства РФ – Министр финансов РФ</a:t>
                      </a:r>
                      <a:r>
                        <a:rPr lang="ru-RU" sz="13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300" dirty="0">
                          <a:solidFill>
                            <a:schemeClr val="tx1"/>
                          </a:solidFill>
                        </a:rPr>
                        <a:t>–</a:t>
                      </a:r>
                      <a:r>
                        <a:rPr lang="ru-RU" sz="13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300" b="1" dirty="0" err="1">
                          <a:solidFill>
                            <a:schemeClr val="tx1"/>
                          </a:solidFill>
                        </a:rPr>
                        <a:t>Силуанов</a:t>
                      </a:r>
                      <a:r>
                        <a:rPr lang="ru-RU" sz="1300" b="1" dirty="0">
                          <a:solidFill>
                            <a:schemeClr val="tx1"/>
                          </a:solidFill>
                        </a:rPr>
                        <a:t> А.Г.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3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41123">
                <a:tc>
                  <a:txBody>
                    <a:bodyPr/>
                    <a:lstStyle/>
                    <a:p>
                      <a:pPr algn="l"/>
                      <a:r>
                        <a:rPr lang="ru-RU" sz="1300" dirty="0">
                          <a:solidFill>
                            <a:schemeClr val="tx1"/>
                          </a:solidFill>
                        </a:rPr>
                        <a:t>Руководитель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</a:rPr>
                        <a:t>Министр экономического развития РФ </a:t>
                      </a:r>
                      <a:br>
                        <a:rPr lang="ru-RU" sz="1300" dirty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300" b="1" dirty="0">
                          <a:solidFill>
                            <a:schemeClr val="tx1"/>
                          </a:solidFill>
                        </a:rPr>
                        <a:t>Орешкин М.С</a:t>
                      </a:r>
                      <a:r>
                        <a:rPr lang="ru-RU" sz="1300" dirty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3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41123">
                <a:tc>
                  <a:txBody>
                    <a:bodyPr/>
                    <a:lstStyle/>
                    <a:p>
                      <a:pPr algn="l"/>
                      <a:r>
                        <a:rPr lang="ru-RU" sz="1300" dirty="0">
                          <a:solidFill>
                            <a:schemeClr val="tx1"/>
                          </a:solidFill>
                        </a:rPr>
                        <a:t>Администратор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</a:rPr>
                        <a:t>Заместитель Министра экономического развития РФ </a:t>
                      </a:r>
                      <a:r>
                        <a:rPr lang="ru-RU" sz="1300" b="1" dirty="0">
                          <a:solidFill>
                            <a:schemeClr val="tx1"/>
                          </a:solidFill>
                        </a:rPr>
                        <a:t>Засельский П.В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13" name="Прямая со стрелкой 12"/>
          <p:cNvCxnSpPr>
            <a:stCxn id="8" idx="3"/>
          </p:cNvCxnSpPr>
          <p:nvPr/>
        </p:nvCxnSpPr>
        <p:spPr>
          <a:xfrm flipV="1">
            <a:off x="5566166" y="1537405"/>
            <a:ext cx="338233" cy="1"/>
          </a:xfrm>
          <a:prstGeom prst="straightConnector1">
            <a:avLst/>
          </a:prstGeom>
          <a:ln>
            <a:solidFill>
              <a:schemeClr val="accent4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Группа 13">
            <a:extLst>
              <a:ext uri="{FF2B5EF4-FFF2-40B4-BE49-F238E27FC236}">
                <a16:creationId xmlns="" xmlns:a16="http://schemas.microsoft.com/office/drawing/2014/main" id="{FE069F81-7A8C-42E9-AAB8-D9FE50E01CE3}"/>
              </a:ext>
            </a:extLst>
          </p:cNvPr>
          <p:cNvGrpSpPr/>
          <p:nvPr/>
        </p:nvGrpSpPr>
        <p:grpSpPr>
          <a:xfrm>
            <a:off x="5931749" y="3924223"/>
            <a:ext cx="5897394" cy="684000"/>
            <a:chOff x="5931749" y="3924223"/>
            <a:chExt cx="5897394" cy="684000"/>
          </a:xfrm>
        </p:grpSpPr>
        <p:sp>
          <p:nvSpPr>
            <p:cNvPr id="15" name="Прямоугольник 4">
              <a:extLst>
                <a:ext uri="{FF2B5EF4-FFF2-40B4-BE49-F238E27FC236}">
                  <a16:creationId xmlns="" xmlns:a16="http://schemas.microsoft.com/office/drawing/2014/main" id="{FE05470B-B3F8-4F07-AA7A-1A58723EE07D}"/>
                </a:ext>
              </a:extLst>
            </p:cNvPr>
            <p:cNvSpPr/>
            <p:nvPr/>
          </p:nvSpPr>
          <p:spPr>
            <a:xfrm>
              <a:off x="5931749" y="3924223"/>
              <a:ext cx="5897394" cy="68400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400" dirty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6101772" y="4120029"/>
              <a:ext cx="4158664" cy="29238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300" dirty="0"/>
                <a:t>Руководитель: </a:t>
              </a:r>
              <a:r>
                <a:rPr lang="ru-RU" sz="1300" b="1" dirty="0" err="1"/>
                <a:t>Засельский</a:t>
              </a:r>
              <a:r>
                <a:rPr lang="ru-RU" sz="1300" b="1" dirty="0"/>
                <a:t> П.В.</a:t>
              </a:r>
            </a:p>
          </p:txBody>
        </p:sp>
      </p:grpSp>
      <p:grpSp>
        <p:nvGrpSpPr>
          <p:cNvPr id="29" name="Группа 28">
            <a:extLst>
              <a:ext uri="{FF2B5EF4-FFF2-40B4-BE49-F238E27FC236}">
                <a16:creationId xmlns="" xmlns:a16="http://schemas.microsoft.com/office/drawing/2014/main" id="{56FFF582-F1ED-4823-B2AB-7788BE48C1B6}"/>
              </a:ext>
            </a:extLst>
          </p:cNvPr>
          <p:cNvGrpSpPr/>
          <p:nvPr/>
        </p:nvGrpSpPr>
        <p:grpSpPr>
          <a:xfrm>
            <a:off x="5931749" y="4695760"/>
            <a:ext cx="5897394" cy="684000"/>
            <a:chOff x="5931749" y="4695760"/>
            <a:chExt cx="5897394" cy="684000"/>
          </a:xfrm>
        </p:grpSpPr>
        <p:sp>
          <p:nvSpPr>
            <p:cNvPr id="17" name="Прямоугольник 4">
              <a:extLst>
                <a:ext uri="{FF2B5EF4-FFF2-40B4-BE49-F238E27FC236}">
                  <a16:creationId xmlns="" xmlns:a16="http://schemas.microsoft.com/office/drawing/2014/main" id="{FE05470B-B3F8-4F07-AA7A-1A58723EE07D}"/>
                </a:ext>
              </a:extLst>
            </p:cNvPr>
            <p:cNvSpPr/>
            <p:nvPr/>
          </p:nvSpPr>
          <p:spPr>
            <a:xfrm>
              <a:off x="5931749" y="4695760"/>
              <a:ext cx="5897394" cy="68400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400" dirty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6126521" y="4891566"/>
              <a:ext cx="4158664" cy="29238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300" dirty="0"/>
                <a:t>Руководитель: </a:t>
              </a:r>
              <a:r>
                <a:rPr lang="ru-RU" sz="1300" b="1" dirty="0"/>
                <a:t>Соломон Н.И.</a:t>
              </a:r>
            </a:p>
          </p:txBody>
        </p:sp>
      </p:grpSp>
      <p:grpSp>
        <p:nvGrpSpPr>
          <p:cNvPr id="30" name="Группа 29">
            <a:extLst>
              <a:ext uri="{FF2B5EF4-FFF2-40B4-BE49-F238E27FC236}">
                <a16:creationId xmlns="" xmlns:a16="http://schemas.microsoft.com/office/drawing/2014/main" id="{CC47295C-70F4-49DB-891E-50AB977CBF47}"/>
              </a:ext>
            </a:extLst>
          </p:cNvPr>
          <p:cNvGrpSpPr/>
          <p:nvPr/>
        </p:nvGrpSpPr>
        <p:grpSpPr>
          <a:xfrm>
            <a:off x="5931749" y="5467297"/>
            <a:ext cx="5897394" cy="684000"/>
            <a:chOff x="5931749" y="5467297"/>
            <a:chExt cx="5897394" cy="684000"/>
          </a:xfrm>
        </p:grpSpPr>
        <p:sp>
          <p:nvSpPr>
            <p:cNvPr id="19" name="Прямоугольник 4">
              <a:extLst>
                <a:ext uri="{FF2B5EF4-FFF2-40B4-BE49-F238E27FC236}">
                  <a16:creationId xmlns="" xmlns:a16="http://schemas.microsoft.com/office/drawing/2014/main" id="{FE05470B-B3F8-4F07-AA7A-1A58723EE07D}"/>
                </a:ext>
              </a:extLst>
            </p:cNvPr>
            <p:cNvSpPr/>
            <p:nvPr/>
          </p:nvSpPr>
          <p:spPr>
            <a:xfrm>
              <a:off x="5931749" y="5467297"/>
              <a:ext cx="5897394" cy="68400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400" dirty="0">
                <a:solidFill>
                  <a:schemeClr val="accent3">
                    <a:lumMod val="50000"/>
                  </a:schemeClr>
                </a:solidFill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129122" y="5663103"/>
              <a:ext cx="4158664" cy="29238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300" dirty="0"/>
                <a:t>Руководитель: </a:t>
              </a:r>
              <a:r>
                <a:rPr lang="ru-RU" sz="1300" b="1" dirty="0"/>
                <a:t>Вовченко А.В</a:t>
              </a:r>
              <a:r>
                <a:rPr lang="ru-RU" sz="1300" dirty="0"/>
                <a:t>.</a:t>
              </a:r>
            </a:p>
          </p:txBody>
        </p:sp>
      </p:grpSp>
      <p:sp>
        <p:nvSpPr>
          <p:cNvPr id="21" name="Стрелка: пятиугольник 14">
            <a:extLst>
              <a:ext uri="{FF2B5EF4-FFF2-40B4-BE49-F238E27FC236}">
                <a16:creationId xmlns="" xmlns:a16="http://schemas.microsoft.com/office/drawing/2014/main" id="{1C22AC74-99C0-455D-BB44-EB6F128A9D65}"/>
              </a:ext>
            </a:extLst>
          </p:cNvPr>
          <p:cNvSpPr/>
          <p:nvPr/>
        </p:nvSpPr>
        <p:spPr>
          <a:xfrm>
            <a:off x="847491" y="3924223"/>
            <a:ext cx="4718675" cy="684000"/>
          </a:xfrm>
          <a:prstGeom prst="homePlate">
            <a:avLst>
              <a:gd name="adj" fmla="val 0"/>
            </a:avLst>
          </a:prstGeom>
          <a:noFill/>
          <a:ln w="158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0"/>
            <a:r>
              <a:rPr lang="ru-RU" sz="1400" b="1" dirty="0">
                <a:solidFill>
                  <a:schemeClr val="accent3"/>
                </a:solidFill>
              </a:rPr>
              <a:t>Системные меры</a:t>
            </a:r>
            <a:r>
              <a:rPr lang="ru-RU" sz="1400" dirty="0">
                <a:solidFill>
                  <a:schemeClr val="accent3"/>
                </a:solidFill>
              </a:rPr>
              <a:t>: </a:t>
            </a:r>
          </a:p>
          <a:p>
            <a:pPr marL="720000"/>
            <a:r>
              <a:rPr lang="ru-RU" sz="1100" dirty="0">
                <a:solidFill>
                  <a:schemeClr val="accent3"/>
                </a:solidFill>
              </a:rPr>
              <a:t>Создание условий </a:t>
            </a:r>
            <a:br>
              <a:rPr lang="ru-RU" sz="1100" dirty="0">
                <a:solidFill>
                  <a:schemeClr val="accent3"/>
                </a:solidFill>
              </a:rPr>
            </a:br>
            <a:r>
              <a:rPr lang="ru-RU" sz="1100" dirty="0">
                <a:solidFill>
                  <a:schemeClr val="accent3"/>
                </a:solidFill>
              </a:rPr>
              <a:t>для повышения производительности труда</a:t>
            </a:r>
          </a:p>
        </p:txBody>
      </p:sp>
      <p:sp>
        <p:nvSpPr>
          <p:cNvPr id="22" name="Стрелка: пятиугольник 14">
            <a:extLst>
              <a:ext uri="{FF2B5EF4-FFF2-40B4-BE49-F238E27FC236}">
                <a16:creationId xmlns="" xmlns:a16="http://schemas.microsoft.com/office/drawing/2014/main" id="{1C22AC74-99C0-455D-BB44-EB6F128A9D65}"/>
              </a:ext>
            </a:extLst>
          </p:cNvPr>
          <p:cNvSpPr/>
          <p:nvPr/>
        </p:nvSpPr>
        <p:spPr>
          <a:xfrm>
            <a:off x="847491" y="4695760"/>
            <a:ext cx="4718675" cy="684000"/>
          </a:xfrm>
          <a:prstGeom prst="homePlate">
            <a:avLst>
              <a:gd name="adj" fmla="val 0"/>
            </a:avLst>
          </a:prstGeom>
          <a:noFill/>
          <a:ln w="158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0"/>
            <a:r>
              <a:rPr lang="ru-RU" sz="1400" b="1" dirty="0">
                <a:solidFill>
                  <a:schemeClr val="accent3"/>
                </a:solidFill>
              </a:rPr>
              <a:t>Адресная поддержка</a:t>
            </a:r>
            <a:r>
              <a:rPr lang="ru-RU" sz="1400" dirty="0">
                <a:solidFill>
                  <a:schemeClr val="accent3"/>
                </a:solidFill>
              </a:rPr>
              <a:t>: </a:t>
            </a:r>
          </a:p>
          <a:p>
            <a:pPr marL="720000"/>
            <a:r>
              <a:rPr lang="ru-RU" sz="1100" dirty="0">
                <a:solidFill>
                  <a:schemeClr val="accent3"/>
                </a:solidFill>
              </a:rPr>
              <a:t>Работа на предприятиях </a:t>
            </a:r>
            <a:br>
              <a:rPr lang="ru-RU" sz="1100" dirty="0">
                <a:solidFill>
                  <a:schemeClr val="accent3"/>
                </a:solidFill>
              </a:rPr>
            </a:br>
            <a:r>
              <a:rPr lang="ru-RU" sz="1100" dirty="0">
                <a:solidFill>
                  <a:schemeClr val="accent3"/>
                </a:solidFill>
              </a:rPr>
              <a:t>для </a:t>
            </a:r>
            <a:r>
              <a:rPr lang="ru-RU" sz="1100" dirty="0" smtClean="0">
                <a:solidFill>
                  <a:schemeClr val="accent3"/>
                </a:solidFill>
              </a:rPr>
              <a:t>повышения </a:t>
            </a:r>
            <a:r>
              <a:rPr lang="ru-RU" sz="1100" dirty="0">
                <a:solidFill>
                  <a:schemeClr val="accent3"/>
                </a:solidFill>
              </a:rPr>
              <a:t>производительности труда</a:t>
            </a:r>
          </a:p>
        </p:txBody>
      </p:sp>
      <p:sp>
        <p:nvSpPr>
          <p:cNvPr id="23" name="Стрелка: пятиугольник 14">
            <a:extLst>
              <a:ext uri="{FF2B5EF4-FFF2-40B4-BE49-F238E27FC236}">
                <a16:creationId xmlns="" xmlns:a16="http://schemas.microsoft.com/office/drawing/2014/main" id="{1C22AC74-99C0-455D-BB44-EB6F128A9D65}"/>
              </a:ext>
            </a:extLst>
          </p:cNvPr>
          <p:cNvSpPr/>
          <p:nvPr/>
        </p:nvSpPr>
        <p:spPr>
          <a:xfrm>
            <a:off x="847491" y="5467297"/>
            <a:ext cx="4718675" cy="684000"/>
          </a:xfrm>
          <a:prstGeom prst="homePlate">
            <a:avLst>
              <a:gd name="adj" fmla="val 0"/>
            </a:avLst>
          </a:prstGeom>
          <a:noFill/>
          <a:ln w="1587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20000"/>
            <a:r>
              <a:rPr lang="ru-RU" sz="1400" b="1" dirty="0">
                <a:solidFill>
                  <a:schemeClr val="accent3"/>
                </a:solidFill>
              </a:rPr>
              <a:t>Поддержка занятости</a:t>
            </a:r>
            <a:r>
              <a:rPr lang="ru-RU" sz="1400" dirty="0">
                <a:solidFill>
                  <a:schemeClr val="accent3"/>
                </a:solidFill>
              </a:rPr>
              <a:t>: </a:t>
            </a:r>
          </a:p>
          <a:p>
            <a:pPr marL="720000"/>
            <a:r>
              <a:rPr lang="ru-RU" sz="1050" dirty="0">
                <a:solidFill>
                  <a:schemeClr val="accent3"/>
                </a:solidFill>
              </a:rPr>
              <a:t>Развитие навыков работников предприятий </a:t>
            </a:r>
            <a:br>
              <a:rPr lang="ru-RU" sz="1050" dirty="0">
                <a:solidFill>
                  <a:schemeClr val="accent3"/>
                </a:solidFill>
              </a:rPr>
            </a:br>
            <a:r>
              <a:rPr lang="ru-RU" sz="1050" dirty="0">
                <a:solidFill>
                  <a:schemeClr val="accent3"/>
                </a:solidFill>
              </a:rPr>
              <a:t>и помощь в трудоустройстве, когда это необходимо</a:t>
            </a:r>
          </a:p>
        </p:txBody>
      </p:sp>
      <p:cxnSp>
        <p:nvCxnSpPr>
          <p:cNvPr id="24" name="Прямая со стрелкой 23"/>
          <p:cNvCxnSpPr>
            <a:cxnSpLocks/>
            <a:stCxn id="21" idx="3"/>
            <a:endCxn id="15" idx="1"/>
          </p:cNvCxnSpPr>
          <p:nvPr/>
        </p:nvCxnSpPr>
        <p:spPr>
          <a:xfrm>
            <a:off x="5566166" y="4266223"/>
            <a:ext cx="365583" cy="0"/>
          </a:xfrm>
          <a:prstGeom prst="straightConnector1">
            <a:avLst/>
          </a:prstGeom>
          <a:ln>
            <a:solidFill>
              <a:schemeClr val="accent4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/>
          <p:cNvCxnSpPr>
            <a:cxnSpLocks/>
            <a:stCxn id="22" idx="3"/>
            <a:endCxn id="17" idx="1"/>
          </p:cNvCxnSpPr>
          <p:nvPr/>
        </p:nvCxnSpPr>
        <p:spPr>
          <a:xfrm>
            <a:off x="5566166" y="5037760"/>
            <a:ext cx="365583" cy="0"/>
          </a:xfrm>
          <a:prstGeom prst="straightConnector1">
            <a:avLst/>
          </a:prstGeom>
          <a:ln>
            <a:solidFill>
              <a:schemeClr val="accent4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/>
          <p:cNvCxnSpPr>
            <a:cxnSpLocks/>
            <a:stCxn id="23" idx="3"/>
            <a:endCxn id="19" idx="1"/>
          </p:cNvCxnSpPr>
          <p:nvPr/>
        </p:nvCxnSpPr>
        <p:spPr>
          <a:xfrm>
            <a:off x="5566166" y="5809297"/>
            <a:ext cx="365583" cy="0"/>
          </a:xfrm>
          <a:prstGeom prst="straightConnector1">
            <a:avLst/>
          </a:prstGeom>
          <a:ln>
            <a:solidFill>
              <a:schemeClr val="accent4"/>
            </a:solidFill>
            <a:headEnd type="diamond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Соединительная линия уступом 27"/>
          <p:cNvCxnSpPr>
            <a:cxnSpLocks/>
            <a:stCxn id="8" idx="1"/>
            <a:endCxn id="11" idx="1"/>
          </p:cNvCxnSpPr>
          <p:nvPr/>
        </p:nvCxnSpPr>
        <p:spPr>
          <a:xfrm rot="10800000" flipH="1" flipV="1">
            <a:off x="578750" y="1537405"/>
            <a:ext cx="169498" cy="2210075"/>
          </a:xfrm>
          <a:prstGeom prst="bentConnector3">
            <a:avLst>
              <a:gd name="adj1" fmla="val -134869"/>
            </a:avLst>
          </a:prstGeom>
          <a:ln>
            <a:solidFill>
              <a:schemeClr val="accent3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578">
            <a:extLst>
              <a:ext uri="{FF2B5EF4-FFF2-40B4-BE49-F238E27FC236}">
                <a16:creationId xmlns="" xmlns:a16="http://schemas.microsoft.com/office/drawing/2014/main" id="{8397C280-2E78-4137-9F81-56F12B97BEA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64164" y="4853404"/>
            <a:ext cx="367631" cy="368713"/>
            <a:chOff x="399" y="2382"/>
            <a:chExt cx="340" cy="341"/>
          </a:xfrm>
          <a:solidFill>
            <a:schemeClr val="accent3"/>
          </a:solidFill>
        </p:grpSpPr>
        <p:sp>
          <p:nvSpPr>
            <p:cNvPr id="44" name="Freeform 579">
              <a:extLst>
                <a:ext uri="{FF2B5EF4-FFF2-40B4-BE49-F238E27FC236}">
                  <a16:creationId xmlns="" xmlns:a16="http://schemas.microsoft.com/office/drawing/2014/main" id="{A6689FC4-62C1-44AA-B5BE-E9552373A0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3" y="2503"/>
              <a:ext cx="212" cy="127"/>
            </a:xfrm>
            <a:custGeom>
              <a:avLst/>
              <a:gdLst>
                <a:gd name="T0" fmla="*/ 287 w 320"/>
                <a:gd name="T1" fmla="*/ 9 h 192"/>
                <a:gd name="T2" fmla="*/ 277 w 320"/>
                <a:gd name="T3" fmla="*/ 0 h 192"/>
                <a:gd name="T4" fmla="*/ 213 w 320"/>
                <a:gd name="T5" fmla="*/ 0 h 192"/>
                <a:gd name="T6" fmla="*/ 202 w 320"/>
                <a:gd name="T7" fmla="*/ 9 h 192"/>
                <a:gd name="T8" fmla="*/ 190 w 320"/>
                <a:gd name="T9" fmla="*/ 107 h 192"/>
                <a:gd name="T10" fmla="*/ 112 w 320"/>
                <a:gd name="T11" fmla="*/ 55 h 192"/>
                <a:gd name="T12" fmla="*/ 101 w 320"/>
                <a:gd name="T13" fmla="*/ 55 h 192"/>
                <a:gd name="T14" fmla="*/ 96 w 320"/>
                <a:gd name="T15" fmla="*/ 64 h 192"/>
                <a:gd name="T16" fmla="*/ 96 w 320"/>
                <a:gd name="T17" fmla="*/ 108 h 192"/>
                <a:gd name="T18" fmla="*/ 16 w 320"/>
                <a:gd name="T19" fmla="*/ 55 h 192"/>
                <a:gd name="T20" fmla="*/ 5 w 320"/>
                <a:gd name="T21" fmla="*/ 55 h 192"/>
                <a:gd name="T22" fmla="*/ 0 w 320"/>
                <a:gd name="T23" fmla="*/ 64 h 192"/>
                <a:gd name="T24" fmla="*/ 0 w 320"/>
                <a:gd name="T25" fmla="*/ 181 h 192"/>
                <a:gd name="T26" fmla="*/ 10 w 320"/>
                <a:gd name="T27" fmla="*/ 192 h 192"/>
                <a:gd name="T28" fmla="*/ 309 w 320"/>
                <a:gd name="T29" fmla="*/ 192 h 192"/>
                <a:gd name="T30" fmla="*/ 317 w 320"/>
                <a:gd name="T31" fmla="*/ 188 h 192"/>
                <a:gd name="T32" fmla="*/ 319 w 320"/>
                <a:gd name="T33" fmla="*/ 179 h 192"/>
                <a:gd name="T34" fmla="*/ 287 w 320"/>
                <a:gd name="T35" fmla="*/ 9 h 192"/>
                <a:gd name="T36" fmla="*/ 187 w 320"/>
                <a:gd name="T37" fmla="*/ 131 h 192"/>
                <a:gd name="T38" fmla="*/ 182 w 320"/>
                <a:gd name="T39" fmla="*/ 171 h 192"/>
                <a:gd name="T40" fmla="*/ 117 w 320"/>
                <a:gd name="T41" fmla="*/ 171 h 192"/>
                <a:gd name="T42" fmla="*/ 117 w 320"/>
                <a:gd name="T43" fmla="*/ 84 h 192"/>
                <a:gd name="T44" fmla="*/ 187 w 320"/>
                <a:gd name="T45" fmla="*/ 131 h 192"/>
                <a:gd name="T46" fmla="*/ 96 w 320"/>
                <a:gd name="T47" fmla="*/ 134 h 192"/>
                <a:gd name="T48" fmla="*/ 96 w 320"/>
                <a:gd name="T49" fmla="*/ 171 h 192"/>
                <a:gd name="T50" fmla="*/ 21 w 320"/>
                <a:gd name="T51" fmla="*/ 171 h 192"/>
                <a:gd name="T52" fmla="*/ 21 w 320"/>
                <a:gd name="T53" fmla="*/ 84 h 192"/>
                <a:gd name="T54" fmla="*/ 96 w 320"/>
                <a:gd name="T55" fmla="*/ 134 h 192"/>
                <a:gd name="T56" fmla="*/ 204 w 320"/>
                <a:gd name="T57" fmla="*/ 171 h 192"/>
                <a:gd name="T58" fmla="*/ 222 w 320"/>
                <a:gd name="T59" fmla="*/ 21 h 192"/>
                <a:gd name="T60" fmla="*/ 268 w 320"/>
                <a:gd name="T61" fmla="*/ 21 h 192"/>
                <a:gd name="T62" fmla="*/ 296 w 320"/>
                <a:gd name="T63" fmla="*/ 171 h 192"/>
                <a:gd name="T64" fmla="*/ 204 w 320"/>
                <a:gd name="T65" fmla="*/ 171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0" h="192">
                  <a:moveTo>
                    <a:pt x="287" y="9"/>
                  </a:moveTo>
                  <a:cubicBezTo>
                    <a:pt x="287" y="4"/>
                    <a:pt x="282" y="0"/>
                    <a:pt x="277" y="0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208" y="0"/>
                    <a:pt x="203" y="4"/>
                    <a:pt x="202" y="9"/>
                  </a:cubicBezTo>
                  <a:cubicBezTo>
                    <a:pt x="190" y="107"/>
                    <a:pt x="190" y="107"/>
                    <a:pt x="190" y="107"/>
                  </a:cubicBezTo>
                  <a:cubicBezTo>
                    <a:pt x="112" y="55"/>
                    <a:pt x="112" y="55"/>
                    <a:pt x="112" y="55"/>
                  </a:cubicBezTo>
                  <a:cubicBezTo>
                    <a:pt x="109" y="53"/>
                    <a:pt x="105" y="53"/>
                    <a:pt x="101" y="55"/>
                  </a:cubicBezTo>
                  <a:cubicBezTo>
                    <a:pt x="98" y="56"/>
                    <a:pt x="96" y="60"/>
                    <a:pt x="96" y="64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3" y="53"/>
                    <a:pt x="9" y="53"/>
                    <a:pt x="5" y="55"/>
                  </a:cubicBezTo>
                  <a:cubicBezTo>
                    <a:pt x="2" y="56"/>
                    <a:pt x="0" y="60"/>
                    <a:pt x="0" y="64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187"/>
                    <a:pt x="4" y="192"/>
                    <a:pt x="10" y="192"/>
                  </a:cubicBezTo>
                  <a:cubicBezTo>
                    <a:pt x="309" y="192"/>
                    <a:pt x="309" y="192"/>
                    <a:pt x="309" y="192"/>
                  </a:cubicBezTo>
                  <a:cubicBezTo>
                    <a:pt x="312" y="192"/>
                    <a:pt x="315" y="191"/>
                    <a:pt x="317" y="188"/>
                  </a:cubicBezTo>
                  <a:cubicBezTo>
                    <a:pt x="319" y="186"/>
                    <a:pt x="320" y="182"/>
                    <a:pt x="319" y="179"/>
                  </a:cubicBezTo>
                  <a:lnTo>
                    <a:pt x="287" y="9"/>
                  </a:lnTo>
                  <a:close/>
                  <a:moveTo>
                    <a:pt x="187" y="131"/>
                  </a:moveTo>
                  <a:cubicBezTo>
                    <a:pt x="182" y="171"/>
                    <a:pt x="182" y="171"/>
                    <a:pt x="182" y="171"/>
                  </a:cubicBezTo>
                  <a:cubicBezTo>
                    <a:pt x="117" y="171"/>
                    <a:pt x="117" y="171"/>
                    <a:pt x="117" y="171"/>
                  </a:cubicBezTo>
                  <a:cubicBezTo>
                    <a:pt x="117" y="84"/>
                    <a:pt x="117" y="84"/>
                    <a:pt x="117" y="84"/>
                  </a:cubicBezTo>
                  <a:lnTo>
                    <a:pt x="187" y="131"/>
                  </a:lnTo>
                  <a:close/>
                  <a:moveTo>
                    <a:pt x="96" y="134"/>
                  </a:moveTo>
                  <a:cubicBezTo>
                    <a:pt x="96" y="171"/>
                    <a:pt x="96" y="171"/>
                    <a:pt x="96" y="171"/>
                  </a:cubicBezTo>
                  <a:cubicBezTo>
                    <a:pt x="21" y="171"/>
                    <a:pt x="21" y="171"/>
                    <a:pt x="21" y="171"/>
                  </a:cubicBezTo>
                  <a:cubicBezTo>
                    <a:pt x="21" y="84"/>
                    <a:pt x="21" y="84"/>
                    <a:pt x="21" y="84"/>
                  </a:cubicBezTo>
                  <a:lnTo>
                    <a:pt x="96" y="134"/>
                  </a:lnTo>
                  <a:close/>
                  <a:moveTo>
                    <a:pt x="204" y="171"/>
                  </a:moveTo>
                  <a:cubicBezTo>
                    <a:pt x="222" y="21"/>
                    <a:pt x="222" y="21"/>
                    <a:pt x="222" y="21"/>
                  </a:cubicBezTo>
                  <a:cubicBezTo>
                    <a:pt x="268" y="21"/>
                    <a:pt x="268" y="21"/>
                    <a:pt x="268" y="21"/>
                  </a:cubicBezTo>
                  <a:cubicBezTo>
                    <a:pt x="296" y="171"/>
                    <a:pt x="296" y="171"/>
                    <a:pt x="296" y="171"/>
                  </a:cubicBezTo>
                  <a:lnTo>
                    <a:pt x="204" y="1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580">
              <a:extLst>
                <a:ext uri="{FF2B5EF4-FFF2-40B4-BE49-F238E27FC236}">
                  <a16:creationId xmlns="" xmlns:a16="http://schemas.microsoft.com/office/drawing/2014/main" id="{23C47F69-B097-4123-A5C2-832C5C01A0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" y="2445"/>
              <a:ext cx="20" cy="44"/>
            </a:xfrm>
            <a:custGeom>
              <a:avLst/>
              <a:gdLst>
                <a:gd name="T0" fmla="*/ 8 w 31"/>
                <a:gd name="T1" fmla="*/ 46 h 65"/>
                <a:gd name="T2" fmla="*/ 8 w 31"/>
                <a:gd name="T3" fmla="*/ 61 h 65"/>
                <a:gd name="T4" fmla="*/ 16 w 31"/>
                <a:gd name="T5" fmla="*/ 65 h 65"/>
                <a:gd name="T6" fmla="*/ 23 w 31"/>
                <a:gd name="T7" fmla="*/ 62 h 65"/>
                <a:gd name="T8" fmla="*/ 31 w 31"/>
                <a:gd name="T9" fmla="*/ 43 h 65"/>
                <a:gd name="T10" fmla="*/ 23 w 31"/>
                <a:gd name="T11" fmla="*/ 25 h 65"/>
                <a:gd name="T12" fmla="*/ 23 w 31"/>
                <a:gd name="T13" fmla="*/ 19 h 65"/>
                <a:gd name="T14" fmla="*/ 23 w 31"/>
                <a:gd name="T15" fmla="*/ 4 h 65"/>
                <a:gd name="T16" fmla="*/ 8 w 31"/>
                <a:gd name="T17" fmla="*/ 4 h 65"/>
                <a:gd name="T18" fmla="*/ 0 w 31"/>
                <a:gd name="T19" fmla="*/ 22 h 65"/>
                <a:gd name="T20" fmla="*/ 8 w 31"/>
                <a:gd name="T21" fmla="*/ 40 h 65"/>
                <a:gd name="T22" fmla="*/ 8 w 31"/>
                <a:gd name="T23" fmla="*/ 4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" h="65">
                  <a:moveTo>
                    <a:pt x="8" y="46"/>
                  </a:moveTo>
                  <a:cubicBezTo>
                    <a:pt x="4" y="50"/>
                    <a:pt x="4" y="57"/>
                    <a:pt x="8" y="61"/>
                  </a:cubicBezTo>
                  <a:cubicBezTo>
                    <a:pt x="10" y="64"/>
                    <a:pt x="13" y="65"/>
                    <a:pt x="16" y="65"/>
                  </a:cubicBezTo>
                  <a:cubicBezTo>
                    <a:pt x="18" y="65"/>
                    <a:pt x="21" y="64"/>
                    <a:pt x="23" y="62"/>
                  </a:cubicBezTo>
                  <a:cubicBezTo>
                    <a:pt x="24" y="60"/>
                    <a:pt x="31" y="53"/>
                    <a:pt x="31" y="43"/>
                  </a:cubicBezTo>
                  <a:cubicBezTo>
                    <a:pt x="31" y="39"/>
                    <a:pt x="30" y="32"/>
                    <a:pt x="23" y="25"/>
                  </a:cubicBezTo>
                  <a:cubicBezTo>
                    <a:pt x="22" y="24"/>
                    <a:pt x="20" y="22"/>
                    <a:pt x="23" y="19"/>
                  </a:cubicBezTo>
                  <a:cubicBezTo>
                    <a:pt x="27" y="15"/>
                    <a:pt x="27" y="8"/>
                    <a:pt x="23" y="4"/>
                  </a:cubicBezTo>
                  <a:cubicBezTo>
                    <a:pt x="19" y="0"/>
                    <a:pt x="12" y="0"/>
                    <a:pt x="8" y="4"/>
                  </a:cubicBezTo>
                  <a:cubicBezTo>
                    <a:pt x="7" y="5"/>
                    <a:pt x="0" y="12"/>
                    <a:pt x="0" y="22"/>
                  </a:cubicBezTo>
                  <a:cubicBezTo>
                    <a:pt x="0" y="27"/>
                    <a:pt x="2" y="34"/>
                    <a:pt x="8" y="40"/>
                  </a:cubicBezTo>
                  <a:cubicBezTo>
                    <a:pt x="9" y="41"/>
                    <a:pt x="11" y="43"/>
                    <a:pt x="8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581">
              <a:extLst>
                <a:ext uri="{FF2B5EF4-FFF2-40B4-BE49-F238E27FC236}">
                  <a16:creationId xmlns="" xmlns:a16="http://schemas.microsoft.com/office/drawing/2014/main" id="{CC4DB869-3292-41CD-A03A-B6F7CFE8771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" y="2445"/>
              <a:ext cx="21" cy="44"/>
            </a:xfrm>
            <a:custGeom>
              <a:avLst/>
              <a:gdLst>
                <a:gd name="T0" fmla="*/ 8 w 31"/>
                <a:gd name="T1" fmla="*/ 46 h 65"/>
                <a:gd name="T2" fmla="*/ 8 w 31"/>
                <a:gd name="T3" fmla="*/ 61 h 65"/>
                <a:gd name="T4" fmla="*/ 15 w 31"/>
                <a:gd name="T5" fmla="*/ 65 h 65"/>
                <a:gd name="T6" fmla="*/ 23 w 31"/>
                <a:gd name="T7" fmla="*/ 62 h 65"/>
                <a:gd name="T8" fmla="*/ 31 w 31"/>
                <a:gd name="T9" fmla="*/ 43 h 65"/>
                <a:gd name="T10" fmla="*/ 23 w 31"/>
                <a:gd name="T11" fmla="*/ 25 h 65"/>
                <a:gd name="T12" fmla="*/ 23 w 31"/>
                <a:gd name="T13" fmla="*/ 19 h 65"/>
                <a:gd name="T14" fmla="*/ 23 w 31"/>
                <a:gd name="T15" fmla="*/ 4 h 65"/>
                <a:gd name="T16" fmla="*/ 8 w 31"/>
                <a:gd name="T17" fmla="*/ 4 h 65"/>
                <a:gd name="T18" fmla="*/ 0 w 31"/>
                <a:gd name="T19" fmla="*/ 22 h 65"/>
                <a:gd name="T20" fmla="*/ 8 w 31"/>
                <a:gd name="T21" fmla="*/ 40 h 65"/>
                <a:gd name="T22" fmla="*/ 8 w 31"/>
                <a:gd name="T23" fmla="*/ 4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" h="65">
                  <a:moveTo>
                    <a:pt x="8" y="46"/>
                  </a:moveTo>
                  <a:cubicBezTo>
                    <a:pt x="4" y="50"/>
                    <a:pt x="4" y="57"/>
                    <a:pt x="8" y="61"/>
                  </a:cubicBezTo>
                  <a:cubicBezTo>
                    <a:pt x="10" y="64"/>
                    <a:pt x="13" y="65"/>
                    <a:pt x="15" y="65"/>
                  </a:cubicBezTo>
                  <a:cubicBezTo>
                    <a:pt x="18" y="65"/>
                    <a:pt x="21" y="64"/>
                    <a:pt x="23" y="62"/>
                  </a:cubicBezTo>
                  <a:cubicBezTo>
                    <a:pt x="24" y="60"/>
                    <a:pt x="31" y="53"/>
                    <a:pt x="31" y="43"/>
                  </a:cubicBezTo>
                  <a:cubicBezTo>
                    <a:pt x="31" y="39"/>
                    <a:pt x="30" y="32"/>
                    <a:pt x="23" y="25"/>
                  </a:cubicBezTo>
                  <a:cubicBezTo>
                    <a:pt x="22" y="24"/>
                    <a:pt x="20" y="22"/>
                    <a:pt x="23" y="19"/>
                  </a:cubicBezTo>
                  <a:cubicBezTo>
                    <a:pt x="27" y="15"/>
                    <a:pt x="27" y="8"/>
                    <a:pt x="23" y="4"/>
                  </a:cubicBezTo>
                  <a:cubicBezTo>
                    <a:pt x="19" y="0"/>
                    <a:pt x="12" y="0"/>
                    <a:pt x="8" y="4"/>
                  </a:cubicBezTo>
                  <a:cubicBezTo>
                    <a:pt x="7" y="5"/>
                    <a:pt x="0" y="12"/>
                    <a:pt x="0" y="22"/>
                  </a:cubicBezTo>
                  <a:cubicBezTo>
                    <a:pt x="0" y="27"/>
                    <a:pt x="1" y="34"/>
                    <a:pt x="8" y="40"/>
                  </a:cubicBezTo>
                  <a:cubicBezTo>
                    <a:pt x="9" y="41"/>
                    <a:pt x="11" y="43"/>
                    <a:pt x="8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7" name="Freeform 582">
              <a:extLst>
                <a:ext uri="{FF2B5EF4-FFF2-40B4-BE49-F238E27FC236}">
                  <a16:creationId xmlns="" xmlns:a16="http://schemas.microsoft.com/office/drawing/2014/main" id="{422A08E8-1649-420A-B55F-6807FA9E41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9" y="2382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1" name="Group 29">
            <a:extLst>
              <a:ext uri="{FF2B5EF4-FFF2-40B4-BE49-F238E27FC236}">
                <a16:creationId xmlns="" xmlns:a16="http://schemas.microsoft.com/office/drawing/2014/main" id="{A495D739-6C4E-49F0-9B6D-06D16B9FA09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86880" y="2338032"/>
            <a:ext cx="468000" cy="468000"/>
            <a:chOff x="2899" y="653"/>
            <a:chExt cx="340" cy="340"/>
          </a:xfrm>
          <a:solidFill>
            <a:schemeClr val="accent3"/>
          </a:solidFill>
        </p:grpSpPr>
        <p:sp>
          <p:nvSpPr>
            <p:cNvPr id="52" name="Freeform 30">
              <a:extLst>
                <a:ext uri="{FF2B5EF4-FFF2-40B4-BE49-F238E27FC236}">
                  <a16:creationId xmlns="" xmlns:a16="http://schemas.microsoft.com/office/drawing/2014/main" id="{03712F7B-9BF7-4665-8C63-584DDA0AFA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63" y="717"/>
              <a:ext cx="212" cy="213"/>
            </a:xfrm>
            <a:custGeom>
              <a:avLst/>
              <a:gdLst>
                <a:gd name="T0" fmla="*/ 316 w 320"/>
                <a:gd name="T1" fmla="*/ 126 h 321"/>
                <a:gd name="T2" fmla="*/ 275 w 320"/>
                <a:gd name="T3" fmla="*/ 105 h 321"/>
                <a:gd name="T4" fmla="*/ 289 w 320"/>
                <a:gd name="T5" fmla="*/ 66 h 321"/>
                <a:gd name="T6" fmla="*/ 287 w 320"/>
                <a:gd name="T7" fmla="*/ 63 h 321"/>
                <a:gd name="T8" fmla="*/ 254 w 320"/>
                <a:gd name="T9" fmla="*/ 31 h 321"/>
                <a:gd name="T10" fmla="*/ 215 w 320"/>
                <a:gd name="T11" fmla="*/ 45 h 321"/>
                <a:gd name="T12" fmla="*/ 194 w 320"/>
                <a:gd name="T13" fmla="*/ 4 h 321"/>
                <a:gd name="T14" fmla="*/ 125 w 320"/>
                <a:gd name="T15" fmla="*/ 4 h 321"/>
                <a:gd name="T16" fmla="*/ 105 w 320"/>
                <a:gd name="T17" fmla="*/ 45 h 321"/>
                <a:gd name="T18" fmla="*/ 64 w 320"/>
                <a:gd name="T19" fmla="*/ 32 h 321"/>
                <a:gd name="T20" fmla="*/ 26 w 320"/>
                <a:gd name="T21" fmla="*/ 87 h 321"/>
                <a:gd name="T22" fmla="*/ 14 w 320"/>
                <a:gd name="T23" fmla="*/ 118 h 321"/>
                <a:gd name="T24" fmla="*/ 0 w 320"/>
                <a:gd name="T25" fmla="*/ 147 h 321"/>
                <a:gd name="T26" fmla="*/ 0 w 320"/>
                <a:gd name="T27" fmla="*/ 156 h 321"/>
                <a:gd name="T28" fmla="*/ 0 w 320"/>
                <a:gd name="T29" fmla="*/ 160 h 321"/>
                <a:gd name="T30" fmla="*/ 3 w 320"/>
                <a:gd name="T31" fmla="*/ 195 h 321"/>
                <a:gd name="T32" fmla="*/ 44 w 320"/>
                <a:gd name="T33" fmla="*/ 215 h 321"/>
                <a:gd name="T34" fmla="*/ 31 w 320"/>
                <a:gd name="T35" fmla="*/ 254 h 321"/>
                <a:gd name="T36" fmla="*/ 33 w 320"/>
                <a:gd name="T37" fmla="*/ 257 h 321"/>
                <a:gd name="T38" fmla="*/ 65 w 320"/>
                <a:gd name="T39" fmla="*/ 289 h 321"/>
                <a:gd name="T40" fmla="*/ 105 w 320"/>
                <a:gd name="T41" fmla="*/ 275 h 321"/>
                <a:gd name="T42" fmla="*/ 125 w 320"/>
                <a:gd name="T43" fmla="*/ 317 h 321"/>
                <a:gd name="T44" fmla="*/ 147 w 320"/>
                <a:gd name="T45" fmla="*/ 321 h 321"/>
                <a:gd name="T46" fmla="*/ 160 w 320"/>
                <a:gd name="T47" fmla="*/ 321 h 321"/>
                <a:gd name="T48" fmla="*/ 168 w 320"/>
                <a:gd name="T49" fmla="*/ 321 h 321"/>
                <a:gd name="T50" fmla="*/ 173 w 320"/>
                <a:gd name="T51" fmla="*/ 321 h 321"/>
                <a:gd name="T52" fmla="*/ 202 w 320"/>
                <a:gd name="T53" fmla="*/ 306 h 321"/>
                <a:gd name="T54" fmla="*/ 233 w 320"/>
                <a:gd name="T55" fmla="*/ 293 h 321"/>
                <a:gd name="T56" fmla="*/ 288 w 320"/>
                <a:gd name="T57" fmla="*/ 256 h 321"/>
                <a:gd name="T58" fmla="*/ 275 w 320"/>
                <a:gd name="T59" fmla="*/ 215 h 321"/>
                <a:gd name="T60" fmla="*/ 316 w 320"/>
                <a:gd name="T61" fmla="*/ 195 h 321"/>
                <a:gd name="T62" fmla="*/ 320 w 320"/>
                <a:gd name="T63" fmla="*/ 147 h 321"/>
                <a:gd name="T64" fmla="*/ 272 w 320"/>
                <a:gd name="T65" fmla="*/ 182 h 321"/>
                <a:gd name="T66" fmla="*/ 255 w 320"/>
                <a:gd name="T67" fmla="*/ 225 h 321"/>
                <a:gd name="T68" fmla="*/ 243 w 320"/>
                <a:gd name="T69" fmla="*/ 271 h 321"/>
                <a:gd name="T70" fmla="*/ 212 w 320"/>
                <a:gd name="T71" fmla="*/ 253 h 321"/>
                <a:gd name="T72" fmla="*/ 181 w 320"/>
                <a:gd name="T73" fmla="*/ 297 h 321"/>
                <a:gd name="T74" fmla="*/ 149 w 320"/>
                <a:gd name="T75" fmla="*/ 299 h 321"/>
                <a:gd name="T76" fmla="*/ 138 w 320"/>
                <a:gd name="T77" fmla="*/ 297 h 321"/>
                <a:gd name="T78" fmla="*/ 108 w 320"/>
                <a:gd name="T79" fmla="*/ 253 h 321"/>
                <a:gd name="T80" fmla="*/ 77 w 320"/>
                <a:gd name="T81" fmla="*/ 271 h 321"/>
                <a:gd name="T82" fmla="*/ 50 w 320"/>
                <a:gd name="T83" fmla="*/ 244 h 321"/>
                <a:gd name="T84" fmla="*/ 48 w 320"/>
                <a:gd name="T85" fmla="*/ 242 h 321"/>
                <a:gd name="T86" fmla="*/ 57 w 320"/>
                <a:gd name="T87" fmla="*/ 189 h 321"/>
                <a:gd name="T88" fmla="*/ 22 w 320"/>
                <a:gd name="T89" fmla="*/ 171 h 321"/>
                <a:gd name="T90" fmla="*/ 23 w 320"/>
                <a:gd name="T91" fmla="*/ 139 h 321"/>
                <a:gd name="T92" fmla="*/ 67 w 320"/>
                <a:gd name="T93" fmla="*/ 108 h 321"/>
                <a:gd name="T94" fmla="*/ 49 w 320"/>
                <a:gd name="T95" fmla="*/ 77 h 321"/>
                <a:gd name="T96" fmla="*/ 95 w 320"/>
                <a:gd name="T97" fmla="*/ 65 h 321"/>
                <a:gd name="T98" fmla="*/ 138 w 320"/>
                <a:gd name="T99" fmla="*/ 47 h 321"/>
                <a:gd name="T100" fmla="*/ 171 w 320"/>
                <a:gd name="T101" fmla="*/ 22 h 321"/>
                <a:gd name="T102" fmla="*/ 189 w 320"/>
                <a:gd name="T103" fmla="*/ 58 h 321"/>
                <a:gd name="T104" fmla="*/ 241 w 320"/>
                <a:gd name="T105" fmla="*/ 48 h 321"/>
                <a:gd name="T106" fmla="*/ 244 w 320"/>
                <a:gd name="T107" fmla="*/ 50 h 321"/>
                <a:gd name="T108" fmla="*/ 270 w 320"/>
                <a:gd name="T109" fmla="*/ 77 h 321"/>
                <a:gd name="T110" fmla="*/ 253 w 320"/>
                <a:gd name="T111" fmla="*/ 108 h 321"/>
                <a:gd name="T112" fmla="*/ 297 w 320"/>
                <a:gd name="T113" fmla="*/ 139 h 321"/>
                <a:gd name="T114" fmla="*/ 298 w 320"/>
                <a:gd name="T115" fmla="*/ 17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20" h="321">
                  <a:moveTo>
                    <a:pt x="320" y="147"/>
                  </a:moveTo>
                  <a:cubicBezTo>
                    <a:pt x="320" y="147"/>
                    <a:pt x="320" y="147"/>
                    <a:pt x="320" y="147"/>
                  </a:cubicBezTo>
                  <a:cubicBezTo>
                    <a:pt x="318" y="140"/>
                    <a:pt x="318" y="133"/>
                    <a:pt x="316" y="126"/>
                  </a:cubicBezTo>
                  <a:cubicBezTo>
                    <a:pt x="315" y="121"/>
                    <a:pt x="310" y="118"/>
                    <a:pt x="305" y="118"/>
                  </a:cubicBezTo>
                  <a:cubicBezTo>
                    <a:pt x="280" y="118"/>
                    <a:pt x="280" y="118"/>
                    <a:pt x="280" y="118"/>
                  </a:cubicBezTo>
                  <a:cubicBezTo>
                    <a:pt x="279" y="113"/>
                    <a:pt x="277" y="109"/>
                    <a:pt x="275" y="105"/>
                  </a:cubicBezTo>
                  <a:cubicBezTo>
                    <a:pt x="293" y="87"/>
                    <a:pt x="293" y="87"/>
                    <a:pt x="293" y="87"/>
                  </a:cubicBezTo>
                  <a:cubicBezTo>
                    <a:pt x="296" y="84"/>
                    <a:pt x="297" y="78"/>
                    <a:pt x="294" y="74"/>
                  </a:cubicBezTo>
                  <a:cubicBezTo>
                    <a:pt x="293" y="71"/>
                    <a:pt x="291" y="68"/>
                    <a:pt x="289" y="66"/>
                  </a:cubicBezTo>
                  <a:cubicBezTo>
                    <a:pt x="289" y="66"/>
                    <a:pt x="289" y="66"/>
                    <a:pt x="289" y="66"/>
                  </a:cubicBezTo>
                  <a:cubicBezTo>
                    <a:pt x="288" y="65"/>
                    <a:pt x="288" y="65"/>
                    <a:pt x="288" y="64"/>
                  </a:cubicBezTo>
                  <a:cubicBezTo>
                    <a:pt x="287" y="64"/>
                    <a:pt x="287" y="63"/>
                    <a:pt x="287" y="63"/>
                  </a:cubicBezTo>
                  <a:cubicBezTo>
                    <a:pt x="278" y="52"/>
                    <a:pt x="268" y="42"/>
                    <a:pt x="257" y="33"/>
                  </a:cubicBezTo>
                  <a:cubicBezTo>
                    <a:pt x="257" y="33"/>
                    <a:pt x="256" y="32"/>
                    <a:pt x="255" y="32"/>
                  </a:cubicBezTo>
                  <a:cubicBezTo>
                    <a:pt x="255" y="32"/>
                    <a:pt x="254" y="31"/>
                    <a:pt x="254" y="31"/>
                  </a:cubicBezTo>
                  <a:cubicBezTo>
                    <a:pt x="251" y="29"/>
                    <a:pt x="249" y="27"/>
                    <a:pt x="246" y="25"/>
                  </a:cubicBezTo>
                  <a:cubicBezTo>
                    <a:pt x="242" y="23"/>
                    <a:pt x="236" y="23"/>
                    <a:pt x="233" y="27"/>
                  </a:cubicBezTo>
                  <a:cubicBezTo>
                    <a:pt x="215" y="45"/>
                    <a:pt x="215" y="45"/>
                    <a:pt x="215" y="45"/>
                  </a:cubicBezTo>
                  <a:cubicBezTo>
                    <a:pt x="211" y="43"/>
                    <a:pt x="207" y="41"/>
                    <a:pt x="202" y="39"/>
                  </a:cubicBezTo>
                  <a:cubicBezTo>
                    <a:pt x="202" y="14"/>
                    <a:pt x="202" y="14"/>
                    <a:pt x="202" y="14"/>
                  </a:cubicBezTo>
                  <a:cubicBezTo>
                    <a:pt x="202" y="9"/>
                    <a:pt x="199" y="5"/>
                    <a:pt x="194" y="4"/>
                  </a:cubicBezTo>
                  <a:cubicBezTo>
                    <a:pt x="187" y="2"/>
                    <a:pt x="180" y="1"/>
                    <a:pt x="172" y="1"/>
                  </a:cubicBezTo>
                  <a:cubicBezTo>
                    <a:pt x="164" y="0"/>
                    <a:pt x="155" y="0"/>
                    <a:pt x="147" y="1"/>
                  </a:cubicBezTo>
                  <a:cubicBezTo>
                    <a:pt x="140" y="1"/>
                    <a:pt x="132" y="2"/>
                    <a:pt x="125" y="4"/>
                  </a:cubicBezTo>
                  <a:cubicBezTo>
                    <a:pt x="120" y="5"/>
                    <a:pt x="117" y="9"/>
                    <a:pt x="117" y="14"/>
                  </a:cubicBezTo>
                  <a:cubicBezTo>
                    <a:pt x="117" y="39"/>
                    <a:pt x="117" y="39"/>
                    <a:pt x="117" y="39"/>
                  </a:cubicBezTo>
                  <a:cubicBezTo>
                    <a:pt x="113" y="41"/>
                    <a:pt x="109" y="43"/>
                    <a:pt x="105" y="45"/>
                  </a:cubicBezTo>
                  <a:cubicBezTo>
                    <a:pt x="87" y="27"/>
                    <a:pt x="87" y="27"/>
                    <a:pt x="87" y="27"/>
                  </a:cubicBezTo>
                  <a:cubicBezTo>
                    <a:pt x="83" y="23"/>
                    <a:pt x="78" y="23"/>
                    <a:pt x="73" y="25"/>
                  </a:cubicBezTo>
                  <a:cubicBezTo>
                    <a:pt x="70" y="27"/>
                    <a:pt x="67" y="30"/>
                    <a:pt x="64" y="32"/>
                  </a:cubicBezTo>
                  <a:cubicBezTo>
                    <a:pt x="52" y="41"/>
                    <a:pt x="41" y="52"/>
                    <a:pt x="32" y="64"/>
                  </a:cubicBezTo>
                  <a:cubicBezTo>
                    <a:pt x="29" y="67"/>
                    <a:pt x="27" y="71"/>
                    <a:pt x="25" y="74"/>
                  </a:cubicBezTo>
                  <a:cubicBezTo>
                    <a:pt x="22" y="78"/>
                    <a:pt x="23" y="84"/>
                    <a:pt x="26" y="87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42" y="109"/>
                    <a:pt x="41" y="113"/>
                    <a:pt x="39" y="118"/>
                  </a:cubicBezTo>
                  <a:cubicBezTo>
                    <a:pt x="14" y="118"/>
                    <a:pt x="14" y="118"/>
                    <a:pt x="14" y="118"/>
                  </a:cubicBezTo>
                  <a:cubicBezTo>
                    <a:pt x="9" y="118"/>
                    <a:pt x="4" y="121"/>
                    <a:pt x="3" y="126"/>
                  </a:cubicBezTo>
                  <a:cubicBezTo>
                    <a:pt x="2" y="133"/>
                    <a:pt x="1" y="140"/>
                    <a:pt x="0" y="147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47"/>
                    <a:pt x="0" y="147"/>
                    <a:pt x="0" y="147"/>
                  </a:cubicBezTo>
                  <a:cubicBezTo>
                    <a:pt x="0" y="150"/>
                    <a:pt x="0" y="153"/>
                    <a:pt x="0" y="156"/>
                  </a:cubicBezTo>
                  <a:cubicBezTo>
                    <a:pt x="0" y="157"/>
                    <a:pt x="0" y="159"/>
                    <a:pt x="0" y="160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1"/>
                    <a:pt x="0" y="163"/>
                    <a:pt x="0" y="164"/>
                  </a:cubicBezTo>
                  <a:cubicBezTo>
                    <a:pt x="0" y="167"/>
                    <a:pt x="0" y="170"/>
                    <a:pt x="0" y="173"/>
                  </a:cubicBezTo>
                  <a:cubicBezTo>
                    <a:pt x="1" y="180"/>
                    <a:pt x="2" y="188"/>
                    <a:pt x="3" y="195"/>
                  </a:cubicBezTo>
                  <a:cubicBezTo>
                    <a:pt x="4" y="200"/>
                    <a:pt x="9" y="203"/>
                    <a:pt x="14" y="203"/>
                  </a:cubicBezTo>
                  <a:cubicBezTo>
                    <a:pt x="39" y="203"/>
                    <a:pt x="39" y="203"/>
                    <a:pt x="39" y="203"/>
                  </a:cubicBezTo>
                  <a:cubicBezTo>
                    <a:pt x="41" y="207"/>
                    <a:pt x="42" y="211"/>
                    <a:pt x="44" y="215"/>
                  </a:cubicBezTo>
                  <a:cubicBezTo>
                    <a:pt x="26" y="233"/>
                    <a:pt x="26" y="233"/>
                    <a:pt x="26" y="233"/>
                  </a:cubicBezTo>
                  <a:cubicBezTo>
                    <a:pt x="23" y="237"/>
                    <a:pt x="22" y="242"/>
                    <a:pt x="25" y="246"/>
                  </a:cubicBezTo>
                  <a:cubicBezTo>
                    <a:pt x="27" y="249"/>
                    <a:pt x="29" y="252"/>
                    <a:pt x="31" y="254"/>
                  </a:cubicBezTo>
                  <a:cubicBezTo>
                    <a:pt x="31" y="254"/>
                    <a:pt x="31" y="254"/>
                    <a:pt x="31" y="254"/>
                  </a:cubicBezTo>
                  <a:cubicBezTo>
                    <a:pt x="31" y="255"/>
                    <a:pt x="31" y="255"/>
                    <a:pt x="32" y="256"/>
                  </a:cubicBezTo>
                  <a:cubicBezTo>
                    <a:pt x="32" y="256"/>
                    <a:pt x="32" y="257"/>
                    <a:pt x="33" y="257"/>
                  </a:cubicBezTo>
                  <a:cubicBezTo>
                    <a:pt x="41" y="268"/>
                    <a:pt x="51" y="278"/>
                    <a:pt x="62" y="287"/>
                  </a:cubicBezTo>
                  <a:cubicBezTo>
                    <a:pt x="63" y="287"/>
                    <a:pt x="64" y="288"/>
                    <a:pt x="64" y="288"/>
                  </a:cubicBezTo>
                  <a:cubicBezTo>
                    <a:pt x="64" y="288"/>
                    <a:pt x="65" y="289"/>
                    <a:pt x="65" y="289"/>
                  </a:cubicBezTo>
                  <a:cubicBezTo>
                    <a:pt x="68" y="291"/>
                    <a:pt x="71" y="293"/>
                    <a:pt x="73" y="295"/>
                  </a:cubicBezTo>
                  <a:cubicBezTo>
                    <a:pt x="78" y="297"/>
                    <a:pt x="83" y="297"/>
                    <a:pt x="87" y="293"/>
                  </a:cubicBezTo>
                  <a:cubicBezTo>
                    <a:pt x="105" y="275"/>
                    <a:pt x="105" y="275"/>
                    <a:pt x="105" y="275"/>
                  </a:cubicBezTo>
                  <a:cubicBezTo>
                    <a:pt x="109" y="277"/>
                    <a:pt x="113" y="279"/>
                    <a:pt x="117" y="281"/>
                  </a:cubicBezTo>
                  <a:cubicBezTo>
                    <a:pt x="117" y="306"/>
                    <a:pt x="117" y="306"/>
                    <a:pt x="117" y="306"/>
                  </a:cubicBezTo>
                  <a:cubicBezTo>
                    <a:pt x="117" y="311"/>
                    <a:pt x="120" y="316"/>
                    <a:pt x="125" y="317"/>
                  </a:cubicBezTo>
                  <a:cubicBezTo>
                    <a:pt x="132" y="318"/>
                    <a:pt x="139" y="321"/>
                    <a:pt x="147" y="321"/>
                  </a:cubicBezTo>
                  <a:cubicBezTo>
                    <a:pt x="147" y="321"/>
                    <a:pt x="147" y="321"/>
                    <a:pt x="147" y="321"/>
                  </a:cubicBezTo>
                  <a:cubicBezTo>
                    <a:pt x="147" y="321"/>
                    <a:pt x="147" y="321"/>
                    <a:pt x="147" y="321"/>
                  </a:cubicBezTo>
                  <a:cubicBezTo>
                    <a:pt x="147" y="321"/>
                    <a:pt x="147" y="321"/>
                    <a:pt x="147" y="321"/>
                  </a:cubicBezTo>
                  <a:cubicBezTo>
                    <a:pt x="149" y="321"/>
                    <a:pt x="151" y="321"/>
                    <a:pt x="153" y="321"/>
                  </a:cubicBezTo>
                  <a:cubicBezTo>
                    <a:pt x="155" y="321"/>
                    <a:pt x="157" y="321"/>
                    <a:pt x="160" y="321"/>
                  </a:cubicBezTo>
                  <a:cubicBezTo>
                    <a:pt x="160" y="321"/>
                    <a:pt x="160" y="321"/>
                    <a:pt x="160" y="321"/>
                  </a:cubicBezTo>
                  <a:cubicBezTo>
                    <a:pt x="160" y="321"/>
                    <a:pt x="160" y="321"/>
                    <a:pt x="160" y="321"/>
                  </a:cubicBezTo>
                  <a:cubicBezTo>
                    <a:pt x="162" y="321"/>
                    <a:pt x="165" y="321"/>
                    <a:pt x="168" y="321"/>
                  </a:cubicBezTo>
                  <a:cubicBezTo>
                    <a:pt x="169" y="320"/>
                    <a:pt x="171" y="321"/>
                    <a:pt x="172" y="321"/>
                  </a:cubicBezTo>
                  <a:cubicBezTo>
                    <a:pt x="172" y="321"/>
                    <a:pt x="172" y="321"/>
                    <a:pt x="172" y="321"/>
                  </a:cubicBezTo>
                  <a:cubicBezTo>
                    <a:pt x="172" y="321"/>
                    <a:pt x="172" y="321"/>
                    <a:pt x="173" y="321"/>
                  </a:cubicBezTo>
                  <a:cubicBezTo>
                    <a:pt x="173" y="321"/>
                    <a:pt x="173" y="320"/>
                    <a:pt x="173" y="320"/>
                  </a:cubicBezTo>
                  <a:cubicBezTo>
                    <a:pt x="180" y="319"/>
                    <a:pt x="187" y="318"/>
                    <a:pt x="194" y="317"/>
                  </a:cubicBezTo>
                  <a:cubicBezTo>
                    <a:pt x="199" y="315"/>
                    <a:pt x="202" y="311"/>
                    <a:pt x="202" y="306"/>
                  </a:cubicBezTo>
                  <a:cubicBezTo>
                    <a:pt x="202" y="281"/>
                    <a:pt x="202" y="281"/>
                    <a:pt x="202" y="281"/>
                  </a:cubicBezTo>
                  <a:cubicBezTo>
                    <a:pt x="207" y="279"/>
                    <a:pt x="211" y="277"/>
                    <a:pt x="215" y="275"/>
                  </a:cubicBezTo>
                  <a:cubicBezTo>
                    <a:pt x="233" y="293"/>
                    <a:pt x="233" y="293"/>
                    <a:pt x="233" y="293"/>
                  </a:cubicBezTo>
                  <a:cubicBezTo>
                    <a:pt x="236" y="297"/>
                    <a:pt x="242" y="297"/>
                    <a:pt x="246" y="295"/>
                  </a:cubicBezTo>
                  <a:cubicBezTo>
                    <a:pt x="249" y="293"/>
                    <a:pt x="252" y="290"/>
                    <a:pt x="255" y="288"/>
                  </a:cubicBezTo>
                  <a:cubicBezTo>
                    <a:pt x="268" y="279"/>
                    <a:pt x="279" y="268"/>
                    <a:pt x="288" y="256"/>
                  </a:cubicBezTo>
                  <a:cubicBezTo>
                    <a:pt x="290" y="253"/>
                    <a:pt x="292" y="249"/>
                    <a:pt x="294" y="246"/>
                  </a:cubicBezTo>
                  <a:cubicBezTo>
                    <a:pt x="297" y="242"/>
                    <a:pt x="296" y="236"/>
                    <a:pt x="293" y="233"/>
                  </a:cubicBezTo>
                  <a:cubicBezTo>
                    <a:pt x="275" y="215"/>
                    <a:pt x="275" y="215"/>
                    <a:pt x="275" y="215"/>
                  </a:cubicBezTo>
                  <a:cubicBezTo>
                    <a:pt x="277" y="211"/>
                    <a:pt x="279" y="207"/>
                    <a:pt x="280" y="203"/>
                  </a:cubicBezTo>
                  <a:cubicBezTo>
                    <a:pt x="305" y="203"/>
                    <a:pt x="305" y="203"/>
                    <a:pt x="305" y="203"/>
                  </a:cubicBezTo>
                  <a:cubicBezTo>
                    <a:pt x="310" y="203"/>
                    <a:pt x="315" y="200"/>
                    <a:pt x="316" y="195"/>
                  </a:cubicBezTo>
                  <a:cubicBezTo>
                    <a:pt x="317" y="188"/>
                    <a:pt x="318" y="180"/>
                    <a:pt x="319" y="173"/>
                  </a:cubicBezTo>
                  <a:cubicBezTo>
                    <a:pt x="319" y="169"/>
                    <a:pt x="320" y="164"/>
                    <a:pt x="320" y="160"/>
                  </a:cubicBezTo>
                  <a:cubicBezTo>
                    <a:pt x="320" y="156"/>
                    <a:pt x="320" y="152"/>
                    <a:pt x="320" y="147"/>
                  </a:cubicBezTo>
                  <a:close/>
                  <a:moveTo>
                    <a:pt x="298" y="171"/>
                  </a:moveTo>
                  <a:cubicBezTo>
                    <a:pt x="297" y="175"/>
                    <a:pt x="297" y="178"/>
                    <a:pt x="297" y="182"/>
                  </a:cubicBezTo>
                  <a:cubicBezTo>
                    <a:pt x="272" y="182"/>
                    <a:pt x="272" y="182"/>
                    <a:pt x="272" y="182"/>
                  </a:cubicBezTo>
                  <a:cubicBezTo>
                    <a:pt x="268" y="182"/>
                    <a:pt x="263" y="185"/>
                    <a:pt x="262" y="189"/>
                  </a:cubicBezTo>
                  <a:cubicBezTo>
                    <a:pt x="260" y="197"/>
                    <a:pt x="257" y="205"/>
                    <a:pt x="253" y="212"/>
                  </a:cubicBezTo>
                  <a:cubicBezTo>
                    <a:pt x="250" y="216"/>
                    <a:pt x="251" y="221"/>
                    <a:pt x="255" y="225"/>
                  </a:cubicBezTo>
                  <a:cubicBezTo>
                    <a:pt x="272" y="242"/>
                    <a:pt x="272" y="242"/>
                    <a:pt x="272" y="242"/>
                  </a:cubicBezTo>
                  <a:cubicBezTo>
                    <a:pt x="271" y="242"/>
                    <a:pt x="271" y="243"/>
                    <a:pt x="271" y="243"/>
                  </a:cubicBezTo>
                  <a:cubicBezTo>
                    <a:pt x="263" y="254"/>
                    <a:pt x="253" y="263"/>
                    <a:pt x="243" y="271"/>
                  </a:cubicBezTo>
                  <a:cubicBezTo>
                    <a:pt x="242" y="271"/>
                    <a:pt x="242" y="272"/>
                    <a:pt x="241" y="272"/>
                  </a:cubicBezTo>
                  <a:cubicBezTo>
                    <a:pt x="224" y="255"/>
                    <a:pt x="224" y="255"/>
                    <a:pt x="224" y="255"/>
                  </a:cubicBezTo>
                  <a:cubicBezTo>
                    <a:pt x="221" y="251"/>
                    <a:pt x="216" y="251"/>
                    <a:pt x="212" y="253"/>
                  </a:cubicBezTo>
                  <a:cubicBezTo>
                    <a:pt x="204" y="257"/>
                    <a:pt x="197" y="260"/>
                    <a:pt x="189" y="262"/>
                  </a:cubicBezTo>
                  <a:cubicBezTo>
                    <a:pt x="184" y="264"/>
                    <a:pt x="181" y="268"/>
                    <a:pt x="181" y="273"/>
                  </a:cubicBezTo>
                  <a:cubicBezTo>
                    <a:pt x="181" y="297"/>
                    <a:pt x="181" y="297"/>
                    <a:pt x="181" y="297"/>
                  </a:cubicBezTo>
                  <a:cubicBezTo>
                    <a:pt x="178" y="297"/>
                    <a:pt x="174" y="298"/>
                    <a:pt x="171" y="299"/>
                  </a:cubicBezTo>
                  <a:cubicBezTo>
                    <a:pt x="163" y="299"/>
                    <a:pt x="156" y="299"/>
                    <a:pt x="149" y="299"/>
                  </a:cubicBezTo>
                  <a:cubicBezTo>
                    <a:pt x="149" y="299"/>
                    <a:pt x="149" y="299"/>
                    <a:pt x="149" y="299"/>
                  </a:cubicBezTo>
                  <a:cubicBezTo>
                    <a:pt x="149" y="299"/>
                    <a:pt x="149" y="299"/>
                    <a:pt x="149" y="299"/>
                  </a:cubicBezTo>
                  <a:cubicBezTo>
                    <a:pt x="149" y="299"/>
                    <a:pt x="149" y="299"/>
                    <a:pt x="149" y="299"/>
                  </a:cubicBezTo>
                  <a:cubicBezTo>
                    <a:pt x="145" y="299"/>
                    <a:pt x="142" y="297"/>
                    <a:pt x="138" y="297"/>
                  </a:cubicBezTo>
                  <a:cubicBezTo>
                    <a:pt x="138" y="273"/>
                    <a:pt x="138" y="273"/>
                    <a:pt x="138" y="273"/>
                  </a:cubicBezTo>
                  <a:cubicBezTo>
                    <a:pt x="138" y="268"/>
                    <a:pt x="135" y="264"/>
                    <a:pt x="131" y="262"/>
                  </a:cubicBezTo>
                  <a:cubicBezTo>
                    <a:pt x="123" y="260"/>
                    <a:pt x="115" y="257"/>
                    <a:pt x="108" y="253"/>
                  </a:cubicBezTo>
                  <a:cubicBezTo>
                    <a:pt x="104" y="251"/>
                    <a:pt x="98" y="251"/>
                    <a:pt x="95" y="255"/>
                  </a:cubicBezTo>
                  <a:cubicBezTo>
                    <a:pt x="78" y="272"/>
                    <a:pt x="78" y="272"/>
                    <a:pt x="78" y="272"/>
                  </a:cubicBezTo>
                  <a:cubicBezTo>
                    <a:pt x="77" y="271"/>
                    <a:pt x="77" y="271"/>
                    <a:pt x="77" y="271"/>
                  </a:cubicBezTo>
                  <a:cubicBezTo>
                    <a:pt x="77" y="271"/>
                    <a:pt x="76" y="270"/>
                    <a:pt x="76" y="270"/>
                  </a:cubicBezTo>
                  <a:cubicBezTo>
                    <a:pt x="76" y="270"/>
                    <a:pt x="76" y="270"/>
                    <a:pt x="76" y="270"/>
                  </a:cubicBezTo>
                  <a:cubicBezTo>
                    <a:pt x="66" y="262"/>
                    <a:pt x="57" y="254"/>
                    <a:pt x="50" y="244"/>
                  </a:cubicBezTo>
                  <a:cubicBezTo>
                    <a:pt x="50" y="244"/>
                    <a:pt x="49" y="244"/>
                    <a:pt x="49" y="244"/>
                  </a:cubicBezTo>
                  <a:cubicBezTo>
                    <a:pt x="49" y="243"/>
                    <a:pt x="49" y="243"/>
                    <a:pt x="49" y="243"/>
                  </a:cubicBezTo>
                  <a:cubicBezTo>
                    <a:pt x="48" y="242"/>
                    <a:pt x="48" y="242"/>
                    <a:pt x="48" y="242"/>
                  </a:cubicBezTo>
                  <a:cubicBezTo>
                    <a:pt x="65" y="225"/>
                    <a:pt x="65" y="225"/>
                    <a:pt x="65" y="225"/>
                  </a:cubicBezTo>
                  <a:cubicBezTo>
                    <a:pt x="68" y="221"/>
                    <a:pt x="69" y="216"/>
                    <a:pt x="67" y="212"/>
                  </a:cubicBezTo>
                  <a:cubicBezTo>
                    <a:pt x="63" y="205"/>
                    <a:pt x="59" y="197"/>
                    <a:pt x="57" y="189"/>
                  </a:cubicBezTo>
                  <a:cubicBezTo>
                    <a:pt x="56" y="185"/>
                    <a:pt x="52" y="182"/>
                    <a:pt x="47" y="182"/>
                  </a:cubicBezTo>
                  <a:cubicBezTo>
                    <a:pt x="23" y="182"/>
                    <a:pt x="23" y="182"/>
                    <a:pt x="23" y="182"/>
                  </a:cubicBezTo>
                  <a:cubicBezTo>
                    <a:pt x="22" y="178"/>
                    <a:pt x="22" y="175"/>
                    <a:pt x="22" y="171"/>
                  </a:cubicBezTo>
                  <a:cubicBezTo>
                    <a:pt x="21" y="168"/>
                    <a:pt x="21" y="164"/>
                    <a:pt x="21" y="160"/>
                  </a:cubicBezTo>
                  <a:cubicBezTo>
                    <a:pt x="21" y="156"/>
                    <a:pt x="21" y="153"/>
                    <a:pt x="22" y="149"/>
                  </a:cubicBezTo>
                  <a:cubicBezTo>
                    <a:pt x="22" y="146"/>
                    <a:pt x="22" y="142"/>
                    <a:pt x="23" y="139"/>
                  </a:cubicBezTo>
                  <a:cubicBezTo>
                    <a:pt x="47" y="139"/>
                    <a:pt x="47" y="139"/>
                    <a:pt x="47" y="139"/>
                  </a:cubicBezTo>
                  <a:cubicBezTo>
                    <a:pt x="52" y="139"/>
                    <a:pt x="56" y="136"/>
                    <a:pt x="57" y="131"/>
                  </a:cubicBezTo>
                  <a:cubicBezTo>
                    <a:pt x="59" y="123"/>
                    <a:pt x="63" y="115"/>
                    <a:pt x="67" y="108"/>
                  </a:cubicBezTo>
                  <a:cubicBezTo>
                    <a:pt x="69" y="104"/>
                    <a:pt x="68" y="99"/>
                    <a:pt x="65" y="95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8"/>
                    <a:pt x="49" y="77"/>
                  </a:cubicBezTo>
                  <a:cubicBezTo>
                    <a:pt x="57" y="66"/>
                    <a:pt x="66" y="57"/>
                    <a:pt x="77" y="49"/>
                  </a:cubicBezTo>
                  <a:cubicBezTo>
                    <a:pt x="77" y="49"/>
                    <a:pt x="78" y="48"/>
                    <a:pt x="78" y="48"/>
                  </a:cubicBezTo>
                  <a:cubicBezTo>
                    <a:pt x="95" y="65"/>
                    <a:pt x="95" y="65"/>
                    <a:pt x="95" y="65"/>
                  </a:cubicBezTo>
                  <a:cubicBezTo>
                    <a:pt x="98" y="69"/>
                    <a:pt x="104" y="69"/>
                    <a:pt x="108" y="67"/>
                  </a:cubicBezTo>
                  <a:cubicBezTo>
                    <a:pt x="115" y="63"/>
                    <a:pt x="123" y="60"/>
                    <a:pt x="131" y="58"/>
                  </a:cubicBezTo>
                  <a:cubicBezTo>
                    <a:pt x="135" y="56"/>
                    <a:pt x="138" y="52"/>
                    <a:pt x="138" y="47"/>
                  </a:cubicBezTo>
                  <a:cubicBezTo>
                    <a:pt x="138" y="23"/>
                    <a:pt x="138" y="23"/>
                    <a:pt x="138" y="23"/>
                  </a:cubicBezTo>
                  <a:cubicBezTo>
                    <a:pt x="142" y="23"/>
                    <a:pt x="145" y="22"/>
                    <a:pt x="149" y="22"/>
                  </a:cubicBezTo>
                  <a:cubicBezTo>
                    <a:pt x="156" y="21"/>
                    <a:pt x="163" y="21"/>
                    <a:pt x="171" y="22"/>
                  </a:cubicBezTo>
                  <a:cubicBezTo>
                    <a:pt x="174" y="22"/>
                    <a:pt x="178" y="23"/>
                    <a:pt x="181" y="23"/>
                  </a:cubicBezTo>
                  <a:cubicBezTo>
                    <a:pt x="181" y="47"/>
                    <a:pt x="181" y="47"/>
                    <a:pt x="181" y="47"/>
                  </a:cubicBezTo>
                  <a:cubicBezTo>
                    <a:pt x="181" y="52"/>
                    <a:pt x="184" y="56"/>
                    <a:pt x="189" y="58"/>
                  </a:cubicBezTo>
                  <a:cubicBezTo>
                    <a:pt x="197" y="60"/>
                    <a:pt x="204" y="63"/>
                    <a:pt x="212" y="67"/>
                  </a:cubicBezTo>
                  <a:cubicBezTo>
                    <a:pt x="216" y="69"/>
                    <a:pt x="221" y="69"/>
                    <a:pt x="224" y="65"/>
                  </a:cubicBezTo>
                  <a:cubicBezTo>
                    <a:pt x="241" y="48"/>
                    <a:pt x="241" y="48"/>
                    <a:pt x="241" y="48"/>
                  </a:cubicBezTo>
                  <a:cubicBezTo>
                    <a:pt x="242" y="49"/>
                    <a:pt x="242" y="49"/>
                    <a:pt x="242" y="49"/>
                  </a:cubicBezTo>
                  <a:cubicBezTo>
                    <a:pt x="243" y="49"/>
                    <a:pt x="243" y="50"/>
                    <a:pt x="243" y="50"/>
                  </a:cubicBezTo>
                  <a:cubicBezTo>
                    <a:pt x="244" y="50"/>
                    <a:pt x="244" y="50"/>
                    <a:pt x="244" y="50"/>
                  </a:cubicBezTo>
                  <a:cubicBezTo>
                    <a:pt x="253" y="58"/>
                    <a:pt x="262" y="66"/>
                    <a:pt x="270" y="76"/>
                  </a:cubicBezTo>
                  <a:cubicBezTo>
                    <a:pt x="270" y="76"/>
                    <a:pt x="270" y="76"/>
                    <a:pt x="270" y="76"/>
                  </a:cubicBezTo>
                  <a:cubicBezTo>
                    <a:pt x="270" y="77"/>
                    <a:pt x="270" y="77"/>
                    <a:pt x="270" y="77"/>
                  </a:cubicBezTo>
                  <a:cubicBezTo>
                    <a:pt x="271" y="78"/>
                    <a:pt x="271" y="78"/>
                    <a:pt x="271" y="78"/>
                  </a:cubicBezTo>
                  <a:cubicBezTo>
                    <a:pt x="255" y="95"/>
                    <a:pt x="255" y="95"/>
                    <a:pt x="255" y="95"/>
                  </a:cubicBezTo>
                  <a:cubicBezTo>
                    <a:pt x="251" y="99"/>
                    <a:pt x="250" y="104"/>
                    <a:pt x="253" y="108"/>
                  </a:cubicBezTo>
                  <a:cubicBezTo>
                    <a:pt x="257" y="115"/>
                    <a:pt x="260" y="123"/>
                    <a:pt x="262" y="131"/>
                  </a:cubicBezTo>
                  <a:cubicBezTo>
                    <a:pt x="263" y="136"/>
                    <a:pt x="268" y="139"/>
                    <a:pt x="272" y="139"/>
                  </a:cubicBezTo>
                  <a:cubicBezTo>
                    <a:pt x="297" y="139"/>
                    <a:pt x="297" y="139"/>
                    <a:pt x="297" y="139"/>
                  </a:cubicBezTo>
                  <a:cubicBezTo>
                    <a:pt x="297" y="142"/>
                    <a:pt x="297" y="146"/>
                    <a:pt x="298" y="149"/>
                  </a:cubicBezTo>
                  <a:cubicBezTo>
                    <a:pt x="298" y="153"/>
                    <a:pt x="298" y="157"/>
                    <a:pt x="298" y="160"/>
                  </a:cubicBezTo>
                  <a:cubicBezTo>
                    <a:pt x="298" y="164"/>
                    <a:pt x="298" y="168"/>
                    <a:pt x="298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6" name="Freeform 31">
              <a:extLst>
                <a:ext uri="{FF2B5EF4-FFF2-40B4-BE49-F238E27FC236}">
                  <a16:creationId xmlns="" xmlns:a16="http://schemas.microsoft.com/office/drawing/2014/main" id="{3DCFD561-CD32-459C-994F-22F042F898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26" y="781"/>
              <a:ext cx="85" cy="85"/>
            </a:xfrm>
            <a:custGeom>
              <a:avLst/>
              <a:gdLst>
                <a:gd name="T0" fmla="*/ 64 w 128"/>
                <a:gd name="T1" fmla="*/ 0 h 128"/>
                <a:gd name="T2" fmla="*/ 0 w 128"/>
                <a:gd name="T3" fmla="*/ 64 h 128"/>
                <a:gd name="T4" fmla="*/ 64 w 128"/>
                <a:gd name="T5" fmla="*/ 128 h 128"/>
                <a:gd name="T6" fmla="*/ 128 w 128"/>
                <a:gd name="T7" fmla="*/ 64 h 128"/>
                <a:gd name="T8" fmla="*/ 64 w 128"/>
                <a:gd name="T9" fmla="*/ 0 h 128"/>
                <a:gd name="T10" fmla="*/ 64 w 128"/>
                <a:gd name="T11" fmla="*/ 107 h 128"/>
                <a:gd name="T12" fmla="*/ 21 w 128"/>
                <a:gd name="T13" fmla="*/ 64 h 128"/>
                <a:gd name="T14" fmla="*/ 64 w 128"/>
                <a:gd name="T15" fmla="*/ 21 h 128"/>
                <a:gd name="T16" fmla="*/ 106 w 128"/>
                <a:gd name="T17" fmla="*/ 64 h 128"/>
                <a:gd name="T18" fmla="*/ 64 w 128"/>
                <a:gd name="T19" fmla="*/ 107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8" h="128">
                  <a:moveTo>
                    <a:pt x="64" y="0"/>
                  </a:moveTo>
                  <a:cubicBezTo>
                    <a:pt x="28" y="0"/>
                    <a:pt x="0" y="29"/>
                    <a:pt x="0" y="64"/>
                  </a:cubicBezTo>
                  <a:cubicBezTo>
                    <a:pt x="0" y="99"/>
                    <a:pt x="28" y="128"/>
                    <a:pt x="64" y="128"/>
                  </a:cubicBezTo>
                  <a:cubicBezTo>
                    <a:pt x="99" y="128"/>
                    <a:pt x="128" y="99"/>
                    <a:pt x="128" y="64"/>
                  </a:cubicBezTo>
                  <a:cubicBezTo>
                    <a:pt x="128" y="29"/>
                    <a:pt x="99" y="0"/>
                    <a:pt x="64" y="0"/>
                  </a:cubicBezTo>
                  <a:close/>
                  <a:moveTo>
                    <a:pt x="64" y="107"/>
                  </a:moveTo>
                  <a:cubicBezTo>
                    <a:pt x="40" y="107"/>
                    <a:pt x="21" y="88"/>
                    <a:pt x="21" y="64"/>
                  </a:cubicBezTo>
                  <a:cubicBezTo>
                    <a:pt x="21" y="40"/>
                    <a:pt x="40" y="21"/>
                    <a:pt x="64" y="21"/>
                  </a:cubicBezTo>
                  <a:cubicBezTo>
                    <a:pt x="87" y="21"/>
                    <a:pt x="106" y="40"/>
                    <a:pt x="106" y="64"/>
                  </a:cubicBezTo>
                  <a:cubicBezTo>
                    <a:pt x="106" y="88"/>
                    <a:pt x="87" y="107"/>
                    <a:pt x="64" y="1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32">
              <a:extLst>
                <a:ext uri="{FF2B5EF4-FFF2-40B4-BE49-F238E27FC236}">
                  <a16:creationId xmlns="" xmlns:a16="http://schemas.microsoft.com/office/drawing/2014/main" id="{8FA4EC5F-B040-4A1A-94AA-7CFD949FE3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99" y="653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1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7"/>
                    <a:pt x="490" y="256"/>
                  </a:cubicBezTo>
                  <a:cubicBezTo>
                    <a:pt x="490" y="385"/>
                    <a:pt x="385" y="491"/>
                    <a:pt x="256" y="491"/>
                  </a:cubicBezTo>
                  <a:cubicBezTo>
                    <a:pt x="126" y="491"/>
                    <a:pt x="21" y="385"/>
                    <a:pt x="21" y="256"/>
                  </a:cubicBezTo>
                  <a:cubicBezTo>
                    <a:pt x="21" y="127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5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5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8" name="Group 526">
            <a:extLst>
              <a:ext uri="{FF2B5EF4-FFF2-40B4-BE49-F238E27FC236}">
                <a16:creationId xmlns="" xmlns:a16="http://schemas.microsoft.com/office/drawing/2014/main" id="{B9BAE192-9E2E-4A76-B75C-2A35DCB727B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63469" y="4081713"/>
            <a:ext cx="369021" cy="369021"/>
            <a:chOff x="3464" y="1974"/>
            <a:chExt cx="340" cy="340"/>
          </a:xfrm>
          <a:solidFill>
            <a:schemeClr val="accent3"/>
          </a:solidFill>
        </p:grpSpPr>
        <p:sp>
          <p:nvSpPr>
            <p:cNvPr id="59" name="Freeform 527">
              <a:extLst>
                <a:ext uri="{FF2B5EF4-FFF2-40B4-BE49-F238E27FC236}">
                  <a16:creationId xmlns="" xmlns:a16="http://schemas.microsoft.com/office/drawing/2014/main" id="{928EEEEE-C1F4-4B6B-B169-C54C3D49B0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4" y="197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528">
              <a:extLst>
                <a:ext uri="{FF2B5EF4-FFF2-40B4-BE49-F238E27FC236}">
                  <a16:creationId xmlns="" xmlns:a16="http://schemas.microsoft.com/office/drawing/2014/main" id="{F85C559A-DB7A-47EF-A32E-40E6F88316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41" y="2037"/>
              <a:ext cx="185" cy="199"/>
            </a:xfrm>
            <a:custGeom>
              <a:avLst/>
              <a:gdLst>
                <a:gd name="T0" fmla="*/ 268 w 279"/>
                <a:gd name="T1" fmla="*/ 299 h 299"/>
                <a:gd name="T2" fmla="*/ 12 w 279"/>
                <a:gd name="T3" fmla="*/ 299 h 299"/>
                <a:gd name="T4" fmla="*/ 3 w 279"/>
                <a:gd name="T5" fmla="*/ 294 h 299"/>
                <a:gd name="T6" fmla="*/ 2 w 279"/>
                <a:gd name="T7" fmla="*/ 284 h 299"/>
                <a:gd name="T8" fmla="*/ 23 w 279"/>
                <a:gd name="T9" fmla="*/ 241 h 299"/>
                <a:gd name="T10" fmla="*/ 33 w 279"/>
                <a:gd name="T11" fmla="*/ 235 h 299"/>
                <a:gd name="T12" fmla="*/ 246 w 279"/>
                <a:gd name="T13" fmla="*/ 235 h 299"/>
                <a:gd name="T14" fmla="*/ 256 w 279"/>
                <a:gd name="T15" fmla="*/ 241 h 299"/>
                <a:gd name="T16" fmla="*/ 277 w 279"/>
                <a:gd name="T17" fmla="*/ 284 h 299"/>
                <a:gd name="T18" fmla="*/ 277 w 279"/>
                <a:gd name="T19" fmla="*/ 294 h 299"/>
                <a:gd name="T20" fmla="*/ 268 w 279"/>
                <a:gd name="T21" fmla="*/ 299 h 299"/>
                <a:gd name="T22" fmla="*/ 29 w 279"/>
                <a:gd name="T23" fmla="*/ 278 h 299"/>
                <a:gd name="T24" fmla="*/ 250 w 279"/>
                <a:gd name="T25" fmla="*/ 278 h 299"/>
                <a:gd name="T26" fmla="*/ 240 w 279"/>
                <a:gd name="T27" fmla="*/ 257 h 299"/>
                <a:gd name="T28" fmla="*/ 40 w 279"/>
                <a:gd name="T29" fmla="*/ 257 h 299"/>
                <a:gd name="T30" fmla="*/ 29 w 279"/>
                <a:gd name="T31" fmla="*/ 278 h 299"/>
                <a:gd name="T32" fmla="*/ 257 w 279"/>
                <a:gd name="T33" fmla="*/ 86 h 299"/>
                <a:gd name="T34" fmla="*/ 22 w 279"/>
                <a:gd name="T35" fmla="*/ 86 h 299"/>
                <a:gd name="T36" fmla="*/ 12 w 279"/>
                <a:gd name="T37" fmla="*/ 78 h 299"/>
                <a:gd name="T38" fmla="*/ 17 w 279"/>
                <a:gd name="T39" fmla="*/ 66 h 299"/>
                <a:gd name="T40" fmla="*/ 135 w 279"/>
                <a:gd name="T41" fmla="*/ 2 h 299"/>
                <a:gd name="T42" fmla="*/ 145 w 279"/>
                <a:gd name="T43" fmla="*/ 2 h 299"/>
                <a:gd name="T44" fmla="*/ 262 w 279"/>
                <a:gd name="T45" fmla="*/ 66 h 299"/>
                <a:gd name="T46" fmla="*/ 267 w 279"/>
                <a:gd name="T47" fmla="*/ 78 h 299"/>
                <a:gd name="T48" fmla="*/ 257 w 279"/>
                <a:gd name="T49" fmla="*/ 86 h 299"/>
                <a:gd name="T50" fmla="*/ 64 w 279"/>
                <a:gd name="T51" fmla="*/ 65 h 299"/>
                <a:gd name="T52" fmla="*/ 215 w 279"/>
                <a:gd name="T53" fmla="*/ 65 h 299"/>
                <a:gd name="T54" fmla="*/ 140 w 279"/>
                <a:gd name="T55" fmla="*/ 23 h 299"/>
                <a:gd name="T56" fmla="*/ 64 w 279"/>
                <a:gd name="T57" fmla="*/ 65 h 299"/>
                <a:gd name="T58" fmla="*/ 54 w 279"/>
                <a:gd name="T59" fmla="*/ 203 h 299"/>
                <a:gd name="T60" fmla="*/ 54 w 279"/>
                <a:gd name="T61" fmla="*/ 118 h 299"/>
                <a:gd name="T62" fmla="*/ 44 w 279"/>
                <a:gd name="T63" fmla="*/ 107 h 299"/>
                <a:gd name="T64" fmla="*/ 33 w 279"/>
                <a:gd name="T65" fmla="*/ 118 h 299"/>
                <a:gd name="T66" fmla="*/ 33 w 279"/>
                <a:gd name="T67" fmla="*/ 203 h 299"/>
                <a:gd name="T68" fmla="*/ 44 w 279"/>
                <a:gd name="T69" fmla="*/ 214 h 299"/>
                <a:gd name="T70" fmla="*/ 54 w 279"/>
                <a:gd name="T71" fmla="*/ 203 h 299"/>
                <a:gd name="T72" fmla="*/ 118 w 279"/>
                <a:gd name="T73" fmla="*/ 203 h 299"/>
                <a:gd name="T74" fmla="*/ 118 w 279"/>
                <a:gd name="T75" fmla="*/ 118 h 299"/>
                <a:gd name="T76" fmla="*/ 108 w 279"/>
                <a:gd name="T77" fmla="*/ 107 h 299"/>
                <a:gd name="T78" fmla="*/ 97 w 279"/>
                <a:gd name="T79" fmla="*/ 118 h 299"/>
                <a:gd name="T80" fmla="*/ 97 w 279"/>
                <a:gd name="T81" fmla="*/ 203 h 299"/>
                <a:gd name="T82" fmla="*/ 108 w 279"/>
                <a:gd name="T83" fmla="*/ 214 h 299"/>
                <a:gd name="T84" fmla="*/ 118 w 279"/>
                <a:gd name="T85" fmla="*/ 203 h 299"/>
                <a:gd name="T86" fmla="*/ 182 w 279"/>
                <a:gd name="T87" fmla="*/ 203 h 299"/>
                <a:gd name="T88" fmla="*/ 182 w 279"/>
                <a:gd name="T89" fmla="*/ 118 h 299"/>
                <a:gd name="T90" fmla="*/ 172 w 279"/>
                <a:gd name="T91" fmla="*/ 107 h 299"/>
                <a:gd name="T92" fmla="*/ 161 w 279"/>
                <a:gd name="T93" fmla="*/ 118 h 299"/>
                <a:gd name="T94" fmla="*/ 161 w 279"/>
                <a:gd name="T95" fmla="*/ 203 h 299"/>
                <a:gd name="T96" fmla="*/ 172 w 279"/>
                <a:gd name="T97" fmla="*/ 214 h 299"/>
                <a:gd name="T98" fmla="*/ 182 w 279"/>
                <a:gd name="T99" fmla="*/ 203 h 299"/>
                <a:gd name="T100" fmla="*/ 246 w 279"/>
                <a:gd name="T101" fmla="*/ 203 h 299"/>
                <a:gd name="T102" fmla="*/ 246 w 279"/>
                <a:gd name="T103" fmla="*/ 118 h 299"/>
                <a:gd name="T104" fmla="*/ 236 w 279"/>
                <a:gd name="T105" fmla="*/ 107 h 299"/>
                <a:gd name="T106" fmla="*/ 225 w 279"/>
                <a:gd name="T107" fmla="*/ 118 h 299"/>
                <a:gd name="T108" fmla="*/ 225 w 279"/>
                <a:gd name="T109" fmla="*/ 203 h 299"/>
                <a:gd name="T110" fmla="*/ 236 w 279"/>
                <a:gd name="T111" fmla="*/ 214 h 299"/>
                <a:gd name="T112" fmla="*/ 246 w 279"/>
                <a:gd name="T113" fmla="*/ 20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79" h="299">
                  <a:moveTo>
                    <a:pt x="268" y="299"/>
                  </a:moveTo>
                  <a:cubicBezTo>
                    <a:pt x="12" y="299"/>
                    <a:pt x="12" y="299"/>
                    <a:pt x="12" y="299"/>
                  </a:cubicBezTo>
                  <a:cubicBezTo>
                    <a:pt x="8" y="299"/>
                    <a:pt x="5" y="297"/>
                    <a:pt x="3" y="294"/>
                  </a:cubicBezTo>
                  <a:cubicBezTo>
                    <a:pt x="1" y="291"/>
                    <a:pt x="0" y="287"/>
                    <a:pt x="2" y="284"/>
                  </a:cubicBezTo>
                  <a:cubicBezTo>
                    <a:pt x="23" y="241"/>
                    <a:pt x="23" y="241"/>
                    <a:pt x="23" y="241"/>
                  </a:cubicBezTo>
                  <a:cubicBezTo>
                    <a:pt x="25" y="238"/>
                    <a:pt x="29" y="235"/>
                    <a:pt x="33" y="235"/>
                  </a:cubicBezTo>
                  <a:cubicBezTo>
                    <a:pt x="246" y="235"/>
                    <a:pt x="246" y="235"/>
                    <a:pt x="246" y="235"/>
                  </a:cubicBezTo>
                  <a:cubicBezTo>
                    <a:pt x="250" y="235"/>
                    <a:pt x="254" y="238"/>
                    <a:pt x="256" y="241"/>
                  </a:cubicBezTo>
                  <a:cubicBezTo>
                    <a:pt x="277" y="284"/>
                    <a:pt x="277" y="284"/>
                    <a:pt x="277" y="284"/>
                  </a:cubicBezTo>
                  <a:cubicBezTo>
                    <a:pt x="279" y="287"/>
                    <a:pt x="279" y="291"/>
                    <a:pt x="277" y="294"/>
                  </a:cubicBezTo>
                  <a:cubicBezTo>
                    <a:pt x="275" y="297"/>
                    <a:pt x="271" y="299"/>
                    <a:pt x="268" y="299"/>
                  </a:cubicBezTo>
                  <a:close/>
                  <a:moveTo>
                    <a:pt x="29" y="278"/>
                  </a:moveTo>
                  <a:cubicBezTo>
                    <a:pt x="250" y="278"/>
                    <a:pt x="250" y="278"/>
                    <a:pt x="250" y="278"/>
                  </a:cubicBezTo>
                  <a:cubicBezTo>
                    <a:pt x="240" y="257"/>
                    <a:pt x="240" y="257"/>
                    <a:pt x="240" y="257"/>
                  </a:cubicBezTo>
                  <a:cubicBezTo>
                    <a:pt x="40" y="257"/>
                    <a:pt x="40" y="257"/>
                    <a:pt x="40" y="257"/>
                  </a:cubicBezTo>
                  <a:lnTo>
                    <a:pt x="29" y="278"/>
                  </a:lnTo>
                  <a:close/>
                  <a:moveTo>
                    <a:pt x="257" y="86"/>
                  </a:moveTo>
                  <a:cubicBezTo>
                    <a:pt x="22" y="86"/>
                    <a:pt x="22" y="86"/>
                    <a:pt x="22" y="86"/>
                  </a:cubicBezTo>
                  <a:cubicBezTo>
                    <a:pt x="17" y="86"/>
                    <a:pt x="13" y="83"/>
                    <a:pt x="12" y="78"/>
                  </a:cubicBezTo>
                  <a:cubicBezTo>
                    <a:pt x="11" y="73"/>
                    <a:pt x="13" y="68"/>
                    <a:pt x="17" y="66"/>
                  </a:cubicBezTo>
                  <a:cubicBezTo>
                    <a:pt x="135" y="2"/>
                    <a:pt x="135" y="2"/>
                    <a:pt x="135" y="2"/>
                  </a:cubicBezTo>
                  <a:cubicBezTo>
                    <a:pt x="138" y="0"/>
                    <a:pt x="142" y="0"/>
                    <a:pt x="145" y="2"/>
                  </a:cubicBezTo>
                  <a:cubicBezTo>
                    <a:pt x="262" y="66"/>
                    <a:pt x="262" y="66"/>
                    <a:pt x="262" y="66"/>
                  </a:cubicBezTo>
                  <a:cubicBezTo>
                    <a:pt x="266" y="68"/>
                    <a:pt x="269" y="73"/>
                    <a:pt x="267" y="78"/>
                  </a:cubicBezTo>
                  <a:cubicBezTo>
                    <a:pt x="266" y="83"/>
                    <a:pt x="262" y="86"/>
                    <a:pt x="257" y="86"/>
                  </a:cubicBezTo>
                  <a:close/>
                  <a:moveTo>
                    <a:pt x="64" y="65"/>
                  </a:moveTo>
                  <a:cubicBezTo>
                    <a:pt x="215" y="65"/>
                    <a:pt x="215" y="65"/>
                    <a:pt x="215" y="65"/>
                  </a:cubicBezTo>
                  <a:cubicBezTo>
                    <a:pt x="140" y="23"/>
                    <a:pt x="140" y="23"/>
                    <a:pt x="140" y="23"/>
                  </a:cubicBezTo>
                  <a:lnTo>
                    <a:pt x="64" y="65"/>
                  </a:lnTo>
                  <a:close/>
                  <a:moveTo>
                    <a:pt x="54" y="203"/>
                  </a:moveTo>
                  <a:cubicBezTo>
                    <a:pt x="54" y="118"/>
                    <a:pt x="54" y="118"/>
                    <a:pt x="54" y="118"/>
                  </a:cubicBezTo>
                  <a:cubicBezTo>
                    <a:pt x="54" y="112"/>
                    <a:pt x="50" y="107"/>
                    <a:pt x="44" y="107"/>
                  </a:cubicBezTo>
                  <a:cubicBezTo>
                    <a:pt x="38" y="107"/>
                    <a:pt x="33" y="112"/>
                    <a:pt x="33" y="118"/>
                  </a:cubicBezTo>
                  <a:cubicBezTo>
                    <a:pt x="33" y="203"/>
                    <a:pt x="33" y="203"/>
                    <a:pt x="33" y="203"/>
                  </a:cubicBezTo>
                  <a:cubicBezTo>
                    <a:pt x="33" y="209"/>
                    <a:pt x="38" y="214"/>
                    <a:pt x="44" y="214"/>
                  </a:cubicBezTo>
                  <a:cubicBezTo>
                    <a:pt x="50" y="214"/>
                    <a:pt x="54" y="209"/>
                    <a:pt x="54" y="203"/>
                  </a:cubicBezTo>
                  <a:close/>
                  <a:moveTo>
                    <a:pt x="118" y="203"/>
                  </a:moveTo>
                  <a:cubicBezTo>
                    <a:pt x="118" y="118"/>
                    <a:pt x="118" y="118"/>
                    <a:pt x="118" y="118"/>
                  </a:cubicBezTo>
                  <a:cubicBezTo>
                    <a:pt x="118" y="112"/>
                    <a:pt x="114" y="107"/>
                    <a:pt x="108" y="107"/>
                  </a:cubicBezTo>
                  <a:cubicBezTo>
                    <a:pt x="102" y="107"/>
                    <a:pt x="97" y="112"/>
                    <a:pt x="97" y="118"/>
                  </a:cubicBezTo>
                  <a:cubicBezTo>
                    <a:pt x="97" y="203"/>
                    <a:pt x="97" y="203"/>
                    <a:pt x="97" y="203"/>
                  </a:cubicBezTo>
                  <a:cubicBezTo>
                    <a:pt x="97" y="209"/>
                    <a:pt x="102" y="214"/>
                    <a:pt x="108" y="214"/>
                  </a:cubicBezTo>
                  <a:cubicBezTo>
                    <a:pt x="114" y="214"/>
                    <a:pt x="118" y="209"/>
                    <a:pt x="118" y="203"/>
                  </a:cubicBezTo>
                  <a:close/>
                  <a:moveTo>
                    <a:pt x="182" y="203"/>
                  </a:moveTo>
                  <a:cubicBezTo>
                    <a:pt x="182" y="118"/>
                    <a:pt x="182" y="118"/>
                    <a:pt x="182" y="118"/>
                  </a:cubicBezTo>
                  <a:cubicBezTo>
                    <a:pt x="182" y="112"/>
                    <a:pt x="178" y="107"/>
                    <a:pt x="172" y="107"/>
                  </a:cubicBezTo>
                  <a:cubicBezTo>
                    <a:pt x="166" y="107"/>
                    <a:pt x="161" y="112"/>
                    <a:pt x="161" y="118"/>
                  </a:cubicBezTo>
                  <a:cubicBezTo>
                    <a:pt x="161" y="203"/>
                    <a:pt x="161" y="203"/>
                    <a:pt x="161" y="203"/>
                  </a:cubicBezTo>
                  <a:cubicBezTo>
                    <a:pt x="161" y="209"/>
                    <a:pt x="166" y="214"/>
                    <a:pt x="172" y="214"/>
                  </a:cubicBezTo>
                  <a:cubicBezTo>
                    <a:pt x="178" y="214"/>
                    <a:pt x="182" y="209"/>
                    <a:pt x="182" y="203"/>
                  </a:cubicBezTo>
                  <a:close/>
                  <a:moveTo>
                    <a:pt x="246" y="203"/>
                  </a:moveTo>
                  <a:cubicBezTo>
                    <a:pt x="246" y="118"/>
                    <a:pt x="246" y="118"/>
                    <a:pt x="246" y="118"/>
                  </a:cubicBezTo>
                  <a:cubicBezTo>
                    <a:pt x="246" y="112"/>
                    <a:pt x="242" y="107"/>
                    <a:pt x="236" y="107"/>
                  </a:cubicBezTo>
                  <a:cubicBezTo>
                    <a:pt x="230" y="107"/>
                    <a:pt x="225" y="112"/>
                    <a:pt x="225" y="118"/>
                  </a:cubicBezTo>
                  <a:cubicBezTo>
                    <a:pt x="225" y="203"/>
                    <a:pt x="225" y="203"/>
                    <a:pt x="225" y="203"/>
                  </a:cubicBezTo>
                  <a:cubicBezTo>
                    <a:pt x="225" y="209"/>
                    <a:pt x="230" y="214"/>
                    <a:pt x="236" y="214"/>
                  </a:cubicBezTo>
                  <a:cubicBezTo>
                    <a:pt x="242" y="214"/>
                    <a:pt x="246" y="209"/>
                    <a:pt x="246" y="2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61" name="Group 545">
            <a:extLst>
              <a:ext uri="{FF2B5EF4-FFF2-40B4-BE49-F238E27FC236}">
                <a16:creationId xmlns="" xmlns:a16="http://schemas.microsoft.com/office/drawing/2014/main" id="{2066851E-5730-4681-8AEB-11B66BF1D4A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63469" y="5624787"/>
            <a:ext cx="369021" cy="369021"/>
            <a:chOff x="1885" y="1944"/>
            <a:chExt cx="340" cy="340"/>
          </a:xfrm>
          <a:solidFill>
            <a:schemeClr val="accent3"/>
          </a:solidFill>
        </p:grpSpPr>
        <p:sp>
          <p:nvSpPr>
            <p:cNvPr id="62" name="Freeform 546">
              <a:extLst>
                <a:ext uri="{FF2B5EF4-FFF2-40B4-BE49-F238E27FC236}">
                  <a16:creationId xmlns="" xmlns:a16="http://schemas.microsoft.com/office/drawing/2014/main" id="{3DF8160B-E314-4F52-9AFB-429AADA91C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" y="194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547">
              <a:extLst>
                <a:ext uri="{FF2B5EF4-FFF2-40B4-BE49-F238E27FC236}">
                  <a16:creationId xmlns="" xmlns:a16="http://schemas.microsoft.com/office/drawing/2014/main" id="{4C09F540-6918-4134-8167-19C3BD3D59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7" y="2007"/>
              <a:ext cx="215" cy="185"/>
            </a:xfrm>
            <a:custGeom>
              <a:avLst/>
              <a:gdLst>
                <a:gd name="T0" fmla="*/ 318 w 323"/>
                <a:gd name="T1" fmla="*/ 259 h 278"/>
                <a:gd name="T2" fmla="*/ 257 w 323"/>
                <a:gd name="T3" fmla="*/ 241 h 278"/>
                <a:gd name="T4" fmla="*/ 229 w 323"/>
                <a:gd name="T5" fmla="*/ 236 h 278"/>
                <a:gd name="T6" fmla="*/ 212 w 323"/>
                <a:gd name="T7" fmla="*/ 223 h 278"/>
                <a:gd name="T8" fmla="*/ 213 w 323"/>
                <a:gd name="T9" fmla="*/ 220 h 278"/>
                <a:gd name="T10" fmla="*/ 246 w 323"/>
                <a:gd name="T11" fmla="*/ 142 h 278"/>
                <a:gd name="T12" fmla="*/ 233 w 323"/>
                <a:gd name="T13" fmla="*/ 33 h 278"/>
                <a:gd name="T14" fmla="*/ 161 w 323"/>
                <a:gd name="T15" fmla="*/ 1 h 278"/>
                <a:gd name="T16" fmla="*/ 161 w 323"/>
                <a:gd name="T17" fmla="*/ 1 h 278"/>
                <a:gd name="T18" fmla="*/ 90 w 323"/>
                <a:gd name="T19" fmla="*/ 33 h 278"/>
                <a:gd name="T20" fmla="*/ 77 w 323"/>
                <a:gd name="T21" fmla="*/ 142 h 278"/>
                <a:gd name="T22" fmla="*/ 110 w 323"/>
                <a:gd name="T23" fmla="*/ 220 h 278"/>
                <a:gd name="T24" fmla="*/ 111 w 323"/>
                <a:gd name="T25" fmla="*/ 223 h 278"/>
                <a:gd name="T26" fmla="*/ 94 w 323"/>
                <a:gd name="T27" fmla="*/ 236 h 278"/>
                <a:gd name="T28" fmla="*/ 66 w 323"/>
                <a:gd name="T29" fmla="*/ 241 h 278"/>
                <a:gd name="T30" fmla="*/ 5 w 323"/>
                <a:gd name="T31" fmla="*/ 259 h 278"/>
                <a:gd name="T32" fmla="*/ 4 w 323"/>
                <a:gd name="T33" fmla="*/ 274 h 278"/>
                <a:gd name="T34" fmla="*/ 12 w 323"/>
                <a:gd name="T35" fmla="*/ 278 h 278"/>
                <a:gd name="T36" fmla="*/ 19 w 323"/>
                <a:gd name="T37" fmla="*/ 275 h 278"/>
                <a:gd name="T38" fmla="*/ 69 w 323"/>
                <a:gd name="T39" fmla="*/ 263 h 278"/>
                <a:gd name="T40" fmla="*/ 101 w 323"/>
                <a:gd name="T41" fmla="*/ 256 h 278"/>
                <a:gd name="T42" fmla="*/ 131 w 323"/>
                <a:gd name="T43" fmla="*/ 229 h 278"/>
                <a:gd name="T44" fmla="*/ 128 w 323"/>
                <a:gd name="T45" fmla="*/ 208 h 278"/>
                <a:gd name="T46" fmla="*/ 97 w 323"/>
                <a:gd name="T47" fmla="*/ 137 h 278"/>
                <a:gd name="T48" fmla="*/ 106 w 323"/>
                <a:gd name="T49" fmla="*/ 46 h 278"/>
                <a:gd name="T50" fmla="*/ 161 w 323"/>
                <a:gd name="T51" fmla="*/ 22 h 278"/>
                <a:gd name="T52" fmla="*/ 162 w 323"/>
                <a:gd name="T53" fmla="*/ 22 h 278"/>
                <a:gd name="T54" fmla="*/ 162 w 323"/>
                <a:gd name="T55" fmla="*/ 22 h 278"/>
                <a:gd name="T56" fmla="*/ 162 w 323"/>
                <a:gd name="T57" fmla="*/ 22 h 278"/>
                <a:gd name="T58" fmla="*/ 217 w 323"/>
                <a:gd name="T59" fmla="*/ 46 h 278"/>
                <a:gd name="T60" fmla="*/ 226 w 323"/>
                <a:gd name="T61" fmla="*/ 137 h 278"/>
                <a:gd name="T62" fmla="*/ 195 w 323"/>
                <a:gd name="T63" fmla="*/ 208 h 278"/>
                <a:gd name="T64" fmla="*/ 192 w 323"/>
                <a:gd name="T65" fmla="*/ 229 h 278"/>
                <a:gd name="T66" fmla="*/ 222 w 323"/>
                <a:gd name="T67" fmla="*/ 256 h 278"/>
                <a:gd name="T68" fmla="*/ 254 w 323"/>
                <a:gd name="T69" fmla="*/ 263 h 278"/>
                <a:gd name="T70" fmla="*/ 304 w 323"/>
                <a:gd name="T71" fmla="*/ 275 h 278"/>
                <a:gd name="T72" fmla="*/ 311 w 323"/>
                <a:gd name="T73" fmla="*/ 278 h 278"/>
                <a:gd name="T74" fmla="*/ 319 w 323"/>
                <a:gd name="T75" fmla="*/ 274 h 278"/>
                <a:gd name="T76" fmla="*/ 318 w 323"/>
                <a:gd name="T77" fmla="*/ 259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3" h="278">
                  <a:moveTo>
                    <a:pt x="318" y="259"/>
                  </a:moveTo>
                  <a:cubicBezTo>
                    <a:pt x="306" y="249"/>
                    <a:pt x="281" y="245"/>
                    <a:pt x="257" y="241"/>
                  </a:cubicBezTo>
                  <a:cubicBezTo>
                    <a:pt x="246" y="240"/>
                    <a:pt x="235" y="238"/>
                    <a:pt x="229" y="236"/>
                  </a:cubicBezTo>
                  <a:cubicBezTo>
                    <a:pt x="220" y="232"/>
                    <a:pt x="214" y="226"/>
                    <a:pt x="212" y="223"/>
                  </a:cubicBezTo>
                  <a:cubicBezTo>
                    <a:pt x="212" y="221"/>
                    <a:pt x="212" y="221"/>
                    <a:pt x="213" y="220"/>
                  </a:cubicBezTo>
                  <a:cubicBezTo>
                    <a:pt x="226" y="202"/>
                    <a:pt x="240" y="170"/>
                    <a:pt x="246" y="142"/>
                  </a:cubicBezTo>
                  <a:cubicBezTo>
                    <a:pt x="258" y="95"/>
                    <a:pt x="253" y="58"/>
                    <a:pt x="233" y="33"/>
                  </a:cubicBezTo>
                  <a:cubicBezTo>
                    <a:pt x="207" y="0"/>
                    <a:pt x="163" y="1"/>
                    <a:pt x="161" y="1"/>
                  </a:cubicBezTo>
                  <a:cubicBezTo>
                    <a:pt x="161" y="1"/>
                    <a:pt x="161" y="1"/>
                    <a:pt x="161" y="1"/>
                  </a:cubicBezTo>
                  <a:cubicBezTo>
                    <a:pt x="158" y="1"/>
                    <a:pt x="116" y="1"/>
                    <a:pt x="90" y="33"/>
                  </a:cubicBezTo>
                  <a:cubicBezTo>
                    <a:pt x="70" y="58"/>
                    <a:pt x="65" y="95"/>
                    <a:pt x="77" y="142"/>
                  </a:cubicBezTo>
                  <a:cubicBezTo>
                    <a:pt x="83" y="170"/>
                    <a:pt x="97" y="202"/>
                    <a:pt x="110" y="220"/>
                  </a:cubicBezTo>
                  <a:cubicBezTo>
                    <a:pt x="111" y="221"/>
                    <a:pt x="111" y="221"/>
                    <a:pt x="111" y="223"/>
                  </a:cubicBezTo>
                  <a:cubicBezTo>
                    <a:pt x="110" y="226"/>
                    <a:pt x="103" y="232"/>
                    <a:pt x="94" y="236"/>
                  </a:cubicBezTo>
                  <a:cubicBezTo>
                    <a:pt x="88" y="238"/>
                    <a:pt x="77" y="240"/>
                    <a:pt x="66" y="241"/>
                  </a:cubicBezTo>
                  <a:cubicBezTo>
                    <a:pt x="42" y="245"/>
                    <a:pt x="17" y="249"/>
                    <a:pt x="5" y="259"/>
                  </a:cubicBezTo>
                  <a:cubicBezTo>
                    <a:pt x="1" y="263"/>
                    <a:pt x="0" y="270"/>
                    <a:pt x="4" y="274"/>
                  </a:cubicBezTo>
                  <a:cubicBezTo>
                    <a:pt x="6" y="277"/>
                    <a:pt x="9" y="278"/>
                    <a:pt x="12" y="278"/>
                  </a:cubicBezTo>
                  <a:cubicBezTo>
                    <a:pt x="15" y="278"/>
                    <a:pt x="17" y="277"/>
                    <a:pt x="19" y="275"/>
                  </a:cubicBezTo>
                  <a:cubicBezTo>
                    <a:pt x="27" y="269"/>
                    <a:pt x="51" y="265"/>
                    <a:pt x="69" y="263"/>
                  </a:cubicBezTo>
                  <a:cubicBezTo>
                    <a:pt x="82" y="261"/>
                    <a:pt x="94" y="259"/>
                    <a:pt x="101" y="256"/>
                  </a:cubicBezTo>
                  <a:cubicBezTo>
                    <a:pt x="117" y="250"/>
                    <a:pt x="128" y="240"/>
                    <a:pt x="131" y="229"/>
                  </a:cubicBezTo>
                  <a:cubicBezTo>
                    <a:pt x="133" y="221"/>
                    <a:pt x="132" y="214"/>
                    <a:pt x="128" y="208"/>
                  </a:cubicBezTo>
                  <a:cubicBezTo>
                    <a:pt x="116" y="192"/>
                    <a:pt x="103" y="162"/>
                    <a:pt x="97" y="137"/>
                  </a:cubicBezTo>
                  <a:cubicBezTo>
                    <a:pt x="88" y="96"/>
                    <a:pt x="91" y="66"/>
                    <a:pt x="106" y="46"/>
                  </a:cubicBezTo>
                  <a:cubicBezTo>
                    <a:pt x="126" y="22"/>
                    <a:pt x="160" y="22"/>
                    <a:pt x="161" y="22"/>
                  </a:cubicBezTo>
                  <a:cubicBezTo>
                    <a:pt x="161" y="22"/>
                    <a:pt x="161" y="22"/>
                    <a:pt x="162" y="22"/>
                  </a:cubicBezTo>
                  <a:cubicBezTo>
                    <a:pt x="162" y="22"/>
                    <a:pt x="162" y="22"/>
                    <a:pt x="162" y="22"/>
                  </a:cubicBezTo>
                  <a:cubicBezTo>
                    <a:pt x="162" y="22"/>
                    <a:pt x="162" y="22"/>
                    <a:pt x="162" y="22"/>
                  </a:cubicBezTo>
                  <a:cubicBezTo>
                    <a:pt x="162" y="22"/>
                    <a:pt x="197" y="22"/>
                    <a:pt x="217" y="46"/>
                  </a:cubicBezTo>
                  <a:cubicBezTo>
                    <a:pt x="232" y="66"/>
                    <a:pt x="235" y="96"/>
                    <a:pt x="226" y="137"/>
                  </a:cubicBezTo>
                  <a:cubicBezTo>
                    <a:pt x="220" y="162"/>
                    <a:pt x="207" y="192"/>
                    <a:pt x="195" y="208"/>
                  </a:cubicBezTo>
                  <a:cubicBezTo>
                    <a:pt x="191" y="214"/>
                    <a:pt x="190" y="221"/>
                    <a:pt x="192" y="229"/>
                  </a:cubicBezTo>
                  <a:cubicBezTo>
                    <a:pt x="195" y="240"/>
                    <a:pt x="206" y="250"/>
                    <a:pt x="222" y="256"/>
                  </a:cubicBezTo>
                  <a:cubicBezTo>
                    <a:pt x="229" y="259"/>
                    <a:pt x="241" y="261"/>
                    <a:pt x="254" y="263"/>
                  </a:cubicBezTo>
                  <a:cubicBezTo>
                    <a:pt x="272" y="265"/>
                    <a:pt x="296" y="269"/>
                    <a:pt x="304" y="275"/>
                  </a:cubicBezTo>
                  <a:cubicBezTo>
                    <a:pt x="306" y="277"/>
                    <a:pt x="308" y="278"/>
                    <a:pt x="311" y="278"/>
                  </a:cubicBezTo>
                  <a:cubicBezTo>
                    <a:pt x="314" y="278"/>
                    <a:pt x="317" y="277"/>
                    <a:pt x="319" y="274"/>
                  </a:cubicBezTo>
                  <a:cubicBezTo>
                    <a:pt x="323" y="270"/>
                    <a:pt x="322" y="263"/>
                    <a:pt x="318" y="2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2C03DD22-C2BB-4E1B-9614-CCC060615A40}"/>
              </a:ext>
            </a:extLst>
          </p:cNvPr>
          <p:cNvSpPr txBox="1"/>
          <p:nvPr/>
        </p:nvSpPr>
        <p:spPr>
          <a:xfrm>
            <a:off x="9018564" y="4111517"/>
            <a:ext cx="2359044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00" dirty="0">
                <a:solidFill>
                  <a:schemeClr val="accent3"/>
                </a:solidFill>
              </a:rPr>
              <a:t>Минэкономразвития России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="" xmlns:a16="http://schemas.microsoft.com/office/drawing/2014/main" id="{001DE821-43D7-4337-9FA8-629C5B46AA10}"/>
              </a:ext>
            </a:extLst>
          </p:cNvPr>
          <p:cNvSpPr txBox="1"/>
          <p:nvPr/>
        </p:nvSpPr>
        <p:spPr>
          <a:xfrm>
            <a:off x="9018564" y="4891566"/>
            <a:ext cx="2810578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00" dirty="0">
                <a:solidFill>
                  <a:schemeClr val="accent3"/>
                </a:solidFill>
              </a:rPr>
              <a:t>Федеральный центр компетенций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="" xmlns:a16="http://schemas.microsoft.com/office/drawing/2014/main" id="{44102C2B-F3DF-4152-BD41-45CAEFD88E80}"/>
              </a:ext>
            </a:extLst>
          </p:cNvPr>
          <p:cNvSpPr txBox="1"/>
          <p:nvPr/>
        </p:nvSpPr>
        <p:spPr>
          <a:xfrm>
            <a:off x="9018564" y="5653111"/>
            <a:ext cx="1447576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300" dirty="0">
                <a:solidFill>
                  <a:schemeClr val="accent3"/>
                </a:solidFill>
              </a:rPr>
              <a:t>Минтруд России</a:t>
            </a:r>
          </a:p>
        </p:txBody>
      </p:sp>
    </p:spTree>
    <p:extLst>
      <p:ext uri="{BB962C8B-B14F-4D97-AF65-F5344CB8AC3E}">
        <p14:creationId xmlns:p14="http://schemas.microsoft.com/office/powerpoint/2010/main" val="23959299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203DB7D9-A753-4F1F-8D78-A16F5E36DB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3824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4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818058BB-5E76-45A6-BA74-0B08B38BF15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D57C5DC2-399A-4828-BC93-13145869FC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641DC8B7-625B-45BF-A0A2-93402D1634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4</a:t>
            </a:fld>
            <a:endParaRPr lang="ru-RU" dirty="0"/>
          </a:p>
        </p:txBody>
      </p:sp>
      <p:grpSp>
        <p:nvGrpSpPr>
          <p:cNvPr id="265" name="Группа 264">
            <a:extLst>
              <a:ext uri="{FF2B5EF4-FFF2-40B4-BE49-F238E27FC236}">
                <a16:creationId xmlns="" xmlns:a16="http://schemas.microsoft.com/office/drawing/2014/main" id="{37CC7CC7-119F-4E30-B0BF-940FD1B02203}"/>
              </a:ext>
            </a:extLst>
          </p:cNvPr>
          <p:cNvGrpSpPr/>
          <p:nvPr/>
        </p:nvGrpSpPr>
        <p:grpSpPr>
          <a:xfrm>
            <a:off x="0" y="1160101"/>
            <a:ext cx="8699338" cy="4554514"/>
            <a:chOff x="938452" y="1132263"/>
            <a:chExt cx="10520123" cy="5386627"/>
          </a:xfrm>
        </p:grpSpPr>
        <p:grpSp>
          <p:nvGrpSpPr>
            <p:cNvPr id="9" name="Group 3">
              <a:extLst>
                <a:ext uri="{FF2B5EF4-FFF2-40B4-BE49-F238E27FC236}">
                  <a16:creationId xmlns="" xmlns:a16="http://schemas.microsoft.com/office/drawing/2014/main" id="{7FAFA39D-594F-49F4-995B-0263EF3D0474}"/>
                </a:ext>
              </a:extLst>
            </p:cNvPr>
            <p:cNvGrpSpPr/>
            <p:nvPr/>
          </p:nvGrpSpPr>
          <p:grpSpPr>
            <a:xfrm>
              <a:off x="1119402" y="1132263"/>
              <a:ext cx="10339173" cy="5386627"/>
              <a:chOff x="1182688" y="1436688"/>
              <a:chExt cx="7246937" cy="3943351"/>
            </a:xfrm>
            <a:solidFill>
              <a:schemeClr val="bg1">
                <a:lumMod val="85000"/>
              </a:schemeClr>
            </a:solidFill>
          </p:grpSpPr>
          <p:sp>
            <p:nvSpPr>
              <p:cNvPr id="10" name="Freeform 5">
                <a:extLst>
                  <a:ext uri="{FF2B5EF4-FFF2-40B4-BE49-F238E27FC236}">
                    <a16:creationId xmlns="" xmlns:a16="http://schemas.microsoft.com/office/drawing/2014/main" id="{6D01016A-C242-4C73-A458-6D31F5CB2F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58088" y="1436688"/>
                <a:ext cx="85725" cy="85725"/>
              </a:xfrm>
              <a:custGeom>
                <a:avLst/>
                <a:gdLst>
                  <a:gd name="T0" fmla="*/ 30 w 54"/>
                  <a:gd name="T1" fmla="*/ 6 h 54"/>
                  <a:gd name="T2" fmla="*/ 32 w 54"/>
                  <a:gd name="T3" fmla="*/ 4 h 54"/>
                  <a:gd name="T4" fmla="*/ 32 w 54"/>
                  <a:gd name="T5" fmla="*/ 4 h 54"/>
                  <a:gd name="T6" fmla="*/ 34 w 54"/>
                  <a:gd name="T7" fmla="*/ 6 h 54"/>
                  <a:gd name="T8" fmla="*/ 32 w 54"/>
                  <a:gd name="T9" fmla="*/ 8 h 54"/>
                  <a:gd name="T10" fmla="*/ 36 w 54"/>
                  <a:gd name="T11" fmla="*/ 6 h 54"/>
                  <a:gd name="T12" fmla="*/ 38 w 54"/>
                  <a:gd name="T13" fmla="*/ 4 h 54"/>
                  <a:gd name="T14" fmla="*/ 38 w 54"/>
                  <a:gd name="T15" fmla="*/ 6 h 54"/>
                  <a:gd name="T16" fmla="*/ 38 w 54"/>
                  <a:gd name="T17" fmla="*/ 6 h 54"/>
                  <a:gd name="T18" fmla="*/ 40 w 54"/>
                  <a:gd name="T19" fmla="*/ 4 h 54"/>
                  <a:gd name="T20" fmla="*/ 40 w 54"/>
                  <a:gd name="T21" fmla="*/ 4 h 54"/>
                  <a:gd name="T22" fmla="*/ 44 w 54"/>
                  <a:gd name="T23" fmla="*/ 2 h 54"/>
                  <a:gd name="T24" fmla="*/ 42 w 54"/>
                  <a:gd name="T25" fmla="*/ 2 h 54"/>
                  <a:gd name="T26" fmla="*/ 46 w 54"/>
                  <a:gd name="T27" fmla="*/ 2 h 54"/>
                  <a:gd name="T28" fmla="*/ 48 w 54"/>
                  <a:gd name="T29" fmla="*/ 0 h 54"/>
                  <a:gd name="T30" fmla="*/ 54 w 54"/>
                  <a:gd name="T31" fmla="*/ 2 h 54"/>
                  <a:gd name="T32" fmla="*/ 54 w 54"/>
                  <a:gd name="T33" fmla="*/ 8 h 54"/>
                  <a:gd name="T34" fmla="*/ 54 w 54"/>
                  <a:gd name="T35" fmla="*/ 12 h 54"/>
                  <a:gd name="T36" fmla="*/ 50 w 54"/>
                  <a:gd name="T37" fmla="*/ 16 h 54"/>
                  <a:gd name="T38" fmla="*/ 44 w 54"/>
                  <a:gd name="T39" fmla="*/ 18 h 54"/>
                  <a:gd name="T40" fmla="*/ 44 w 54"/>
                  <a:gd name="T41" fmla="*/ 18 h 54"/>
                  <a:gd name="T42" fmla="*/ 48 w 54"/>
                  <a:gd name="T43" fmla="*/ 18 h 54"/>
                  <a:gd name="T44" fmla="*/ 52 w 54"/>
                  <a:gd name="T45" fmla="*/ 14 h 54"/>
                  <a:gd name="T46" fmla="*/ 54 w 54"/>
                  <a:gd name="T47" fmla="*/ 16 h 54"/>
                  <a:gd name="T48" fmla="*/ 50 w 54"/>
                  <a:gd name="T49" fmla="*/ 21 h 54"/>
                  <a:gd name="T50" fmla="*/ 48 w 54"/>
                  <a:gd name="T51" fmla="*/ 27 h 54"/>
                  <a:gd name="T52" fmla="*/ 48 w 54"/>
                  <a:gd name="T53" fmla="*/ 25 h 54"/>
                  <a:gd name="T54" fmla="*/ 46 w 54"/>
                  <a:gd name="T55" fmla="*/ 31 h 54"/>
                  <a:gd name="T56" fmla="*/ 44 w 54"/>
                  <a:gd name="T57" fmla="*/ 33 h 54"/>
                  <a:gd name="T58" fmla="*/ 44 w 54"/>
                  <a:gd name="T59" fmla="*/ 33 h 54"/>
                  <a:gd name="T60" fmla="*/ 42 w 54"/>
                  <a:gd name="T61" fmla="*/ 39 h 54"/>
                  <a:gd name="T62" fmla="*/ 38 w 54"/>
                  <a:gd name="T63" fmla="*/ 44 h 54"/>
                  <a:gd name="T64" fmla="*/ 36 w 54"/>
                  <a:gd name="T65" fmla="*/ 46 h 54"/>
                  <a:gd name="T66" fmla="*/ 36 w 54"/>
                  <a:gd name="T67" fmla="*/ 46 h 54"/>
                  <a:gd name="T68" fmla="*/ 34 w 54"/>
                  <a:gd name="T69" fmla="*/ 52 h 54"/>
                  <a:gd name="T70" fmla="*/ 34 w 54"/>
                  <a:gd name="T71" fmla="*/ 48 h 54"/>
                  <a:gd name="T72" fmla="*/ 32 w 54"/>
                  <a:gd name="T73" fmla="*/ 48 h 54"/>
                  <a:gd name="T74" fmla="*/ 30 w 54"/>
                  <a:gd name="T75" fmla="*/ 50 h 54"/>
                  <a:gd name="T76" fmla="*/ 0 w 54"/>
                  <a:gd name="T77" fmla="*/ 35 h 54"/>
                  <a:gd name="T78" fmla="*/ 2 w 54"/>
                  <a:gd name="T79" fmla="*/ 33 h 54"/>
                  <a:gd name="T80" fmla="*/ 4 w 54"/>
                  <a:gd name="T81" fmla="*/ 31 h 54"/>
                  <a:gd name="T82" fmla="*/ 2 w 54"/>
                  <a:gd name="T83" fmla="*/ 33 h 54"/>
                  <a:gd name="T84" fmla="*/ 4 w 54"/>
                  <a:gd name="T85" fmla="*/ 27 h 54"/>
                  <a:gd name="T86" fmla="*/ 4 w 54"/>
                  <a:gd name="T87" fmla="*/ 27 h 54"/>
                  <a:gd name="T88" fmla="*/ 7 w 54"/>
                  <a:gd name="T89" fmla="*/ 25 h 54"/>
                  <a:gd name="T90" fmla="*/ 9 w 54"/>
                  <a:gd name="T91" fmla="*/ 23 h 54"/>
                  <a:gd name="T92" fmla="*/ 11 w 54"/>
                  <a:gd name="T93" fmla="*/ 21 h 54"/>
                  <a:gd name="T94" fmla="*/ 11 w 54"/>
                  <a:gd name="T95" fmla="*/ 19 h 54"/>
                  <a:gd name="T96" fmla="*/ 13 w 54"/>
                  <a:gd name="T97" fmla="*/ 18 h 54"/>
                  <a:gd name="T98" fmla="*/ 13 w 54"/>
                  <a:gd name="T99" fmla="*/ 18 h 54"/>
                  <a:gd name="T100" fmla="*/ 13 w 54"/>
                  <a:gd name="T101" fmla="*/ 14 h 54"/>
                  <a:gd name="T102" fmla="*/ 13 w 54"/>
                  <a:gd name="T103" fmla="*/ 14 h 54"/>
                  <a:gd name="T104" fmla="*/ 15 w 54"/>
                  <a:gd name="T105" fmla="*/ 12 h 54"/>
                  <a:gd name="T106" fmla="*/ 17 w 54"/>
                  <a:gd name="T107" fmla="*/ 10 h 54"/>
                  <a:gd name="T108" fmla="*/ 21 w 54"/>
                  <a:gd name="T109" fmla="*/ 8 h 54"/>
                  <a:gd name="T110" fmla="*/ 29 w 54"/>
                  <a:gd name="T111" fmla="*/ 4 h 54"/>
                  <a:gd name="T112" fmla="*/ 17 w 54"/>
                  <a:gd name="T113" fmla="*/ 16 h 54"/>
                  <a:gd name="T114" fmla="*/ 19 w 54"/>
                  <a:gd name="T115" fmla="*/ 18 h 54"/>
                  <a:gd name="T116" fmla="*/ 25 w 54"/>
                  <a:gd name="T117" fmla="*/ 19 h 54"/>
                  <a:gd name="T118" fmla="*/ 25 w 54"/>
                  <a:gd name="T119" fmla="*/ 19 h 54"/>
                  <a:gd name="T120" fmla="*/ 19 w 54"/>
                  <a:gd name="T121" fmla="*/ 16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4" h="54">
                    <a:moveTo>
                      <a:pt x="25" y="6"/>
                    </a:moveTo>
                    <a:lnTo>
                      <a:pt x="27" y="6"/>
                    </a:lnTo>
                    <a:lnTo>
                      <a:pt x="29" y="6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30" y="2"/>
                    </a:lnTo>
                    <a:lnTo>
                      <a:pt x="32" y="2"/>
                    </a:lnTo>
                    <a:lnTo>
                      <a:pt x="32" y="4"/>
                    </a:lnTo>
                    <a:lnTo>
                      <a:pt x="32" y="2"/>
                    </a:lnTo>
                    <a:lnTo>
                      <a:pt x="34" y="2"/>
                    </a:lnTo>
                    <a:lnTo>
                      <a:pt x="34" y="4"/>
                    </a:lnTo>
                    <a:lnTo>
                      <a:pt x="32" y="4"/>
                    </a:lnTo>
                    <a:lnTo>
                      <a:pt x="34" y="4"/>
                    </a:lnTo>
                    <a:lnTo>
                      <a:pt x="32" y="4"/>
                    </a:lnTo>
                    <a:lnTo>
                      <a:pt x="34" y="4"/>
                    </a:lnTo>
                    <a:lnTo>
                      <a:pt x="34" y="6"/>
                    </a:lnTo>
                    <a:lnTo>
                      <a:pt x="32" y="6"/>
                    </a:lnTo>
                    <a:lnTo>
                      <a:pt x="32" y="8"/>
                    </a:lnTo>
                    <a:lnTo>
                      <a:pt x="32" y="10"/>
                    </a:lnTo>
                    <a:lnTo>
                      <a:pt x="32" y="8"/>
                    </a:lnTo>
                    <a:lnTo>
                      <a:pt x="32" y="6"/>
                    </a:lnTo>
                    <a:lnTo>
                      <a:pt x="34" y="6"/>
                    </a:lnTo>
                    <a:lnTo>
                      <a:pt x="34" y="4"/>
                    </a:lnTo>
                    <a:lnTo>
                      <a:pt x="36" y="6"/>
                    </a:lnTo>
                    <a:lnTo>
                      <a:pt x="36" y="4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38" y="4"/>
                    </a:lnTo>
                    <a:lnTo>
                      <a:pt x="40" y="2"/>
                    </a:lnTo>
                    <a:lnTo>
                      <a:pt x="40" y="4"/>
                    </a:lnTo>
                    <a:lnTo>
                      <a:pt x="38" y="4"/>
                    </a:lnTo>
                    <a:lnTo>
                      <a:pt x="38" y="6"/>
                    </a:lnTo>
                    <a:lnTo>
                      <a:pt x="38" y="8"/>
                    </a:lnTo>
                    <a:lnTo>
                      <a:pt x="38" y="10"/>
                    </a:lnTo>
                    <a:lnTo>
                      <a:pt x="38" y="8"/>
                    </a:lnTo>
                    <a:lnTo>
                      <a:pt x="38" y="6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6"/>
                    </a:lnTo>
                    <a:lnTo>
                      <a:pt x="40" y="4"/>
                    </a:lnTo>
                    <a:lnTo>
                      <a:pt x="40" y="2"/>
                    </a:lnTo>
                    <a:lnTo>
                      <a:pt x="40" y="4"/>
                    </a:lnTo>
                    <a:lnTo>
                      <a:pt x="42" y="4"/>
                    </a:lnTo>
                    <a:lnTo>
                      <a:pt x="42" y="2"/>
                    </a:lnTo>
                    <a:lnTo>
                      <a:pt x="42" y="4"/>
                    </a:lnTo>
                    <a:lnTo>
                      <a:pt x="44" y="2"/>
                    </a:lnTo>
                    <a:lnTo>
                      <a:pt x="40" y="2"/>
                    </a:lnTo>
                    <a:lnTo>
                      <a:pt x="38" y="2"/>
                    </a:lnTo>
                    <a:lnTo>
                      <a:pt x="40" y="2"/>
                    </a:lnTo>
                    <a:lnTo>
                      <a:pt x="42" y="2"/>
                    </a:lnTo>
                    <a:lnTo>
                      <a:pt x="44" y="2"/>
                    </a:lnTo>
                    <a:lnTo>
                      <a:pt x="46" y="2"/>
                    </a:lnTo>
                    <a:lnTo>
                      <a:pt x="46" y="4"/>
                    </a:lnTo>
                    <a:lnTo>
                      <a:pt x="46" y="2"/>
                    </a:lnTo>
                    <a:lnTo>
                      <a:pt x="46" y="4"/>
                    </a:lnTo>
                    <a:lnTo>
                      <a:pt x="46" y="2"/>
                    </a:lnTo>
                    <a:lnTo>
                      <a:pt x="48" y="2"/>
                    </a:lnTo>
                    <a:lnTo>
                      <a:pt x="48" y="0"/>
                    </a:lnTo>
                    <a:lnTo>
                      <a:pt x="50" y="0"/>
                    </a:lnTo>
                    <a:lnTo>
                      <a:pt x="52" y="0"/>
                    </a:lnTo>
                    <a:lnTo>
                      <a:pt x="52" y="2"/>
                    </a:lnTo>
                    <a:lnTo>
                      <a:pt x="54" y="2"/>
                    </a:lnTo>
                    <a:lnTo>
                      <a:pt x="52" y="2"/>
                    </a:lnTo>
                    <a:lnTo>
                      <a:pt x="54" y="4"/>
                    </a:lnTo>
                    <a:lnTo>
                      <a:pt x="54" y="6"/>
                    </a:lnTo>
                    <a:lnTo>
                      <a:pt x="54" y="8"/>
                    </a:lnTo>
                    <a:lnTo>
                      <a:pt x="54" y="6"/>
                    </a:lnTo>
                    <a:lnTo>
                      <a:pt x="54" y="8"/>
                    </a:lnTo>
                    <a:lnTo>
                      <a:pt x="54" y="10"/>
                    </a:lnTo>
                    <a:lnTo>
                      <a:pt x="54" y="12"/>
                    </a:lnTo>
                    <a:lnTo>
                      <a:pt x="52" y="12"/>
                    </a:lnTo>
                    <a:lnTo>
                      <a:pt x="52" y="14"/>
                    </a:lnTo>
                    <a:lnTo>
                      <a:pt x="50" y="14"/>
                    </a:lnTo>
                    <a:lnTo>
                      <a:pt x="50" y="16"/>
                    </a:lnTo>
                    <a:lnTo>
                      <a:pt x="48" y="16"/>
                    </a:lnTo>
                    <a:lnTo>
                      <a:pt x="48" y="18"/>
                    </a:lnTo>
                    <a:lnTo>
                      <a:pt x="46" y="18"/>
                    </a:lnTo>
                    <a:lnTo>
                      <a:pt x="44" y="18"/>
                    </a:lnTo>
                    <a:lnTo>
                      <a:pt x="42" y="18"/>
                    </a:lnTo>
                    <a:lnTo>
                      <a:pt x="40" y="18"/>
                    </a:lnTo>
                    <a:lnTo>
                      <a:pt x="42" y="18"/>
                    </a:lnTo>
                    <a:lnTo>
                      <a:pt x="44" y="18"/>
                    </a:lnTo>
                    <a:lnTo>
                      <a:pt x="44" y="19"/>
                    </a:lnTo>
                    <a:lnTo>
                      <a:pt x="44" y="18"/>
                    </a:lnTo>
                    <a:lnTo>
                      <a:pt x="46" y="18"/>
                    </a:lnTo>
                    <a:lnTo>
                      <a:pt x="48" y="18"/>
                    </a:lnTo>
                    <a:lnTo>
                      <a:pt x="48" y="16"/>
                    </a:lnTo>
                    <a:lnTo>
                      <a:pt x="50" y="16"/>
                    </a:lnTo>
                    <a:lnTo>
                      <a:pt x="50" y="14"/>
                    </a:lnTo>
                    <a:lnTo>
                      <a:pt x="52" y="14"/>
                    </a:lnTo>
                    <a:lnTo>
                      <a:pt x="52" y="12"/>
                    </a:lnTo>
                    <a:lnTo>
                      <a:pt x="54" y="12"/>
                    </a:lnTo>
                    <a:lnTo>
                      <a:pt x="54" y="14"/>
                    </a:lnTo>
                    <a:lnTo>
                      <a:pt x="54" y="16"/>
                    </a:lnTo>
                    <a:lnTo>
                      <a:pt x="52" y="18"/>
                    </a:lnTo>
                    <a:lnTo>
                      <a:pt x="52" y="19"/>
                    </a:lnTo>
                    <a:lnTo>
                      <a:pt x="50" y="19"/>
                    </a:lnTo>
                    <a:lnTo>
                      <a:pt x="50" y="21"/>
                    </a:lnTo>
                    <a:lnTo>
                      <a:pt x="50" y="23"/>
                    </a:lnTo>
                    <a:lnTo>
                      <a:pt x="48" y="23"/>
                    </a:lnTo>
                    <a:lnTo>
                      <a:pt x="48" y="25"/>
                    </a:lnTo>
                    <a:lnTo>
                      <a:pt x="48" y="27"/>
                    </a:lnTo>
                    <a:lnTo>
                      <a:pt x="46" y="29"/>
                    </a:lnTo>
                    <a:lnTo>
                      <a:pt x="46" y="27"/>
                    </a:lnTo>
                    <a:lnTo>
                      <a:pt x="48" y="27"/>
                    </a:lnTo>
                    <a:lnTo>
                      <a:pt x="48" y="25"/>
                    </a:lnTo>
                    <a:lnTo>
                      <a:pt x="48" y="27"/>
                    </a:lnTo>
                    <a:lnTo>
                      <a:pt x="46" y="27"/>
                    </a:lnTo>
                    <a:lnTo>
                      <a:pt x="46" y="29"/>
                    </a:lnTo>
                    <a:lnTo>
                      <a:pt x="46" y="31"/>
                    </a:lnTo>
                    <a:lnTo>
                      <a:pt x="46" y="29"/>
                    </a:lnTo>
                    <a:lnTo>
                      <a:pt x="46" y="31"/>
                    </a:lnTo>
                    <a:lnTo>
                      <a:pt x="44" y="31"/>
                    </a:lnTo>
                    <a:lnTo>
                      <a:pt x="44" y="33"/>
                    </a:lnTo>
                    <a:lnTo>
                      <a:pt x="44" y="35"/>
                    </a:lnTo>
                    <a:lnTo>
                      <a:pt x="42" y="35"/>
                    </a:lnTo>
                    <a:lnTo>
                      <a:pt x="44" y="35"/>
                    </a:lnTo>
                    <a:lnTo>
                      <a:pt x="44" y="33"/>
                    </a:lnTo>
                    <a:lnTo>
                      <a:pt x="44" y="35"/>
                    </a:lnTo>
                    <a:lnTo>
                      <a:pt x="42" y="35"/>
                    </a:lnTo>
                    <a:lnTo>
                      <a:pt x="42" y="37"/>
                    </a:lnTo>
                    <a:lnTo>
                      <a:pt x="42" y="39"/>
                    </a:lnTo>
                    <a:lnTo>
                      <a:pt x="40" y="41"/>
                    </a:lnTo>
                    <a:lnTo>
                      <a:pt x="40" y="43"/>
                    </a:lnTo>
                    <a:lnTo>
                      <a:pt x="40" y="44"/>
                    </a:lnTo>
                    <a:lnTo>
                      <a:pt x="38" y="44"/>
                    </a:lnTo>
                    <a:lnTo>
                      <a:pt x="38" y="46"/>
                    </a:lnTo>
                    <a:lnTo>
                      <a:pt x="36" y="46"/>
                    </a:lnTo>
                    <a:lnTo>
                      <a:pt x="38" y="46"/>
                    </a:lnTo>
                    <a:lnTo>
                      <a:pt x="36" y="46"/>
                    </a:lnTo>
                    <a:lnTo>
                      <a:pt x="36" y="48"/>
                    </a:lnTo>
                    <a:lnTo>
                      <a:pt x="36" y="46"/>
                    </a:lnTo>
                    <a:lnTo>
                      <a:pt x="36" y="48"/>
                    </a:lnTo>
                    <a:lnTo>
                      <a:pt x="36" y="46"/>
                    </a:lnTo>
                    <a:lnTo>
                      <a:pt x="36" y="48"/>
                    </a:lnTo>
                    <a:lnTo>
                      <a:pt x="36" y="50"/>
                    </a:lnTo>
                    <a:lnTo>
                      <a:pt x="36" y="52"/>
                    </a:lnTo>
                    <a:lnTo>
                      <a:pt x="34" y="52"/>
                    </a:lnTo>
                    <a:lnTo>
                      <a:pt x="34" y="50"/>
                    </a:lnTo>
                    <a:lnTo>
                      <a:pt x="36" y="50"/>
                    </a:lnTo>
                    <a:lnTo>
                      <a:pt x="36" y="48"/>
                    </a:lnTo>
                    <a:lnTo>
                      <a:pt x="34" y="48"/>
                    </a:lnTo>
                    <a:lnTo>
                      <a:pt x="32" y="50"/>
                    </a:lnTo>
                    <a:lnTo>
                      <a:pt x="32" y="48"/>
                    </a:lnTo>
                    <a:lnTo>
                      <a:pt x="32" y="50"/>
                    </a:lnTo>
                    <a:lnTo>
                      <a:pt x="32" y="48"/>
                    </a:lnTo>
                    <a:lnTo>
                      <a:pt x="34" y="48"/>
                    </a:lnTo>
                    <a:lnTo>
                      <a:pt x="32" y="48"/>
                    </a:lnTo>
                    <a:lnTo>
                      <a:pt x="32" y="50"/>
                    </a:lnTo>
                    <a:lnTo>
                      <a:pt x="30" y="50"/>
                    </a:lnTo>
                    <a:lnTo>
                      <a:pt x="29" y="52"/>
                    </a:lnTo>
                    <a:lnTo>
                      <a:pt x="25" y="54"/>
                    </a:lnTo>
                    <a:lnTo>
                      <a:pt x="23" y="54"/>
                    </a:lnTo>
                    <a:lnTo>
                      <a:pt x="0" y="35"/>
                    </a:lnTo>
                    <a:lnTo>
                      <a:pt x="0" y="33"/>
                    </a:lnTo>
                    <a:lnTo>
                      <a:pt x="0" y="35"/>
                    </a:lnTo>
                    <a:lnTo>
                      <a:pt x="2" y="35"/>
                    </a:lnTo>
                    <a:lnTo>
                      <a:pt x="2" y="33"/>
                    </a:lnTo>
                    <a:lnTo>
                      <a:pt x="4" y="33"/>
                    </a:lnTo>
                    <a:lnTo>
                      <a:pt x="2" y="33"/>
                    </a:lnTo>
                    <a:lnTo>
                      <a:pt x="4" y="33"/>
                    </a:lnTo>
                    <a:lnTo>
                      <a:pt x="4" y="31"/>
                    </a:lnTo>
                    <a:lnTo>
                      <a:pt x="4" y="33"/>
                    </a:lnTo>
                    <a:lnTo>
                      <a:pt x="4" y="31"/>
                    </a:lnTo>
                    <a:lnTo>
                      <a:pt x="2" y="31"/>
                    </a:lnTo>
                    <a:lnTo>
                      <a:pt x="2" y="33"/>
                    </a:lnTo>
                    <a:lnTo>
                      <a:pt x="2" y="31"/>
                    </a:lnTo>
                    <a:lnTo>
                      <a:pt x="4" y="31"/>
                    </a:lnTo>
                    <a:lnTo>
                      <a:pt x="4" y="29"/>
                    </a:lnTo>
                    <a:lnTo>
                      <a:pt x="4" y="27"/>
                    </a:lnTo>
                    <a:lnTo>
                      <a:pt x="4" y="29"/>
                    </a:lnTo>
                    <a:lnTo>
                      <a:pt x="6" y="29"/>
                    </a:lnTo>
                    <a:lnTo>
                      <a:pt x="6" y="27"/>
                    </a:lnTo>
                    <a:lnTo>
                      <a:pt x="4" y="27"/>
                    </a:lnTo>
                    <a:lnTo>
                      <a:pt x="6" y="27"/>
                    </a:lnTo>
                    <a:lnTo>
                      <a:pt x="4" y="25"/>
                    </a:lnTo>
                    <a:lnTo>
                      <a:pt x="6" y="25"/>
                    </a:lnTo>
                    <a:lnTo>
                      <a:pt x="7" y="25"/>
                    </a:lnTo>
                    <a:lnTo>
                      <a:pt x="7" y="23"/>
                    </a:lnTo>
                    <a:lnTo>
                      <a:pt x="7" y="25"/>
                    </a:lnTo>
                    <a:lnTo>
                      <a:pt x="7" y="23"/>
                    </a:lnTo>
                    <a:lnTo>
                      <a:pt x="9" y="23"/>
                    </a:lnTo>
                    <a:lnTo>
                      <a:pt x="9" y="21"/>
                    </a:lnTo>
                    <a:lnTo>
                      <a:pt x="9" y="23"/>
                    </a:lnTo>
                    <a:lnTo>
                      <a:pt x="11" y="23"/>
                    </a:lnTo>
                    <a:lnTo>
                      <a:pt x="11" y="21"/>
                    </a:lnTo>
                    <a:lnTo>
                      <a:pt x="11" y="19"/>
                    </a:lnTo>
                    <a:lnTo>
                      <a:pt x="11" y="21"/>
                    </a:lnTo>
                    <a:lnTo>
                      <a:pt x="13" y="21"/>
                    </a:lnTo>
                    <a:lnTo>
                      <a:pt x="11" y="19"/>
                    </a:lnTo>
                    <a:lnTo>
                      <a:pt x="11" y="21"/>
                    </a:lnTo>
                    <a:lnTo>
                      <a:pt x="11" y="19"/>
                    </a:lnTo>
                    <a:lnTo>
                      <a:pt x="11" y="18"/>
                    </a:lnTo>
                    <a:lnTo>
                      <a:pt x="13" y="18"/>
                    </a:lnTo>
                    <a:lnTo>
                      <a:pt x="15" y="18"/>
                    </a:lnTo>
                    <a:lnTo>
                      <a:pt x="13" y="18"/>
                    </a:lnTo>
                    <a:lnTo>
                      <a:pt x="13" y="16"/>
                    </a:lnTo>
                    <a:lnTo>
                      <a:pt x="13" y="18"/>
                    </a:lnTo>
                    <a:lnTo>
                      <a:pt x="13" y="16"/>
                    </a:lnTo>
                    <a:lnTo>
                      <a:pt x="11" y="16"/>
                    </a:lnTo>
                    <a:lnTo>
                      <a:pt x="13" y="16"/>
                    </a:lnTo>
                    <a:lnTo>
                      <a:pt x="13" y="14"/>
                    </a:lnTo>
                    <a:lnTo>
                      <a:pt x="13" y="16"/>
                    </a:lnTo>
                    <a:lnTo>
                      <a:pt x="13" y="14"/>
                    </a:lnTo>
                    <a:lnTo>
                      <a:pt x="15" y="14"/>
                    </a:lnTo>
                    <a:lnTo>
                      <a:pt x="13" y="14"/>
                    </a:lnTo>
                    <a:lnTo>
                      <a:pt x="15" y="14"/>
                    </a:lnTo>
                    <a:lnTo>
                      <a:pt x="15" y="12"/>
                    </a:lnTo>
                    <a:lnTo>
                      <a:pt x="17" y="12"/>
                    </a:lnTo>
                    <a:lnTo>
                      <a:pt x="15" y="12"/>
                    </a:lnTo>
                    <a:lnTo>
                      <a:pt x="15" y="14"/>
                    </a:lnTo>
                    <a:lnTo>
                      <a:pt x="15" y="12"/>
                    </a:lnTo>
                    <a:lnTo>
                      <a:pt x="17" y="12"/>
                    </a:lnTo>
                    <a:lnTo>
                      <a:pt x="17" y="10"/>
                    </a:lnTo>
                    <a:lnTo>
                      <a:pt x="17" y="12"/>
                    </a:lnTo>
                    <a:lnTo>
                      <a:pt x="17" y="10"/>
                    </a:lnTo>
                    <a:lnTo>
                      <a:pt x="19" y="10"/>
                    </a:lnTo>
                    <a:lnTo>
                      <a:pt x="21" y="8"/>
                    </a:lnTo>
                    <a:lnTo>
                      <a:pt x="23" y="6"/>
                    </a:lnTo>
                    <a:lnTo>
                      <a:pt x="25" y="6"/>
                    </a:lnTo>
                    <a:lnTo>
                      <a:pt x="27" y="4"/>
                    </a:lnTo>
                    <a:lnTo>
                      <a:pt x="29" y="4"/>
                    </a:lnTo>
                    <a:lnTo>
                      <a:pt x="27" y="4"/>
                    </a:lnTo>
                    <a:lnTo>
                      <a:pt x="27" y="6"/>
                    </a:lnTo>
                    <a:lnTo>
                      <a:pt x="25" y="6"/>
                    </a:lnTo>
                    <a:close/>
                    <a:moveTo>
                      <a:pt x="17" y="16"/>
                    </a:moveTo>
                    <a:lnTo>
                      <a:pt x="15" y="18"/>
                    </a:lnTo>
                    <a:lnTo>
                      <a:pt x="17" y="16"/>
                    </a:lnTo>
                    <a:lnTo>
                      <a:pt x="19" y="16"/>
                    </a:lnTo>
                    <a:lnTo>
                      <a:pt x="19" y="18"/>
                    </a:lnTo>
                    <a:lnTo>
                      <a:pt x="21" y="18"/>
                    </a:lnTo>
                    <a:lnTo>
                      <a:pt x="21" y="19"/>
                    </a:lnTo>
                    <a:lnTo>
                      <a:pt x="23" y="19"/>
                    </a:lnTo>
                    <a:lnTo>
                      <a:pt x="25" y="19"/>
                    </a:lnTo>
                    <a:lnTo>
                      <a:pt x="27" y="19"/>
                    </a:lnTo>
                    <a:lnTo>
                      <a:pt x="27" y="21"/>
                    </a:lnTo>
                    <a:lnTo>
                      <a:pt x="27" y="19"/>
                    </a:lnTo>
                    <a:lnTo>
                      <a:pt x="25" y="19"/>
                    </a:lnTo>
                    <a:lnTo>
                      <a:pt x="23" y="19"/>
                    </a:lnTo>
                    <a:lnTo>
                      <a:pt x="21" y="18"/>
                    </a:lnTo>
                    <a:lnTo>
                      <a:pt x="19" y="18"/>
                    </a:lnTo>
                    <a:lnTo>
                      <a:pt x="19" y="16"/>
                    </a:lnTo>
                    <a:lnTo>
                      <a:pt x="17" y="1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Freeform 6">
                <a:extLst>
                  <a:ext uri="{FF2B5EF4-FFF2-40B4-BE49-F238E27FC236}">
                    <a16:creationId xmlns="" xmlns:a16="http://schemas.microsoft.com/office/drawing/2014/main" id="{6EB792A2-AACF-4BEE-A98F-A5887550AE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49938" y="4659313"/>
                <a:ext cx="201613" cy="158750"/>
              </a:xfrm>
              <a:custGeom>
                <a:avLst/>
                <a:gdLst>
                  <a:gd name="T0" fmla="*/ 100 w 127"/>
                  <a:gd name="T1" fmla="*/ 6 h 100"/>
                  <a:gd name="T2" fmla="*/ 111 w 127"/>
                  <a:gd name="T3" fmla="*/ 12 h 100"/>
                  <a:gd name="T4" fmla="*/ 117 w 127"/>
                  <a:gd name="T5" fmla="*/ 20 h 100"/>
                  <a:gd name="T6" fmla="*/ 123 w 127"/>
                  <a:gd name="T7" fmla="*/ 22 h 100"/>
                  <a:gd name="T8" fmla="*/ 121 w 127"/>
                  <a:gd name="T9" fmla="*/ 29 h 100"/>
                  <a:gd name="T10" fmla="*/ 119 w 127"/>
                  <a:gd name="T11" fmla="*/ 37 h 100"/>
                  <a:gd name="T12" fmla="*/ 115 w 127"/>
                  <a:gd name="T13" fmla="*/ 43 h 100"/>
                  <a:gd name="T14" fmla="*/ 113 w 127"/>
                  <a:gd name="T15" fmla="*/ 43 h 100"/>
                  <a:gd name="T16" fmla="*/ 106 w 127"/>
                  <a:gd name="T17" fmla="*/ 43 h 100"/>
                  <a:gd name="T18" fmla="*/ 106 w 127"/>
                  <a:gd name="T19" fmla="*/ 48 h 100"/>
                  <a:gd name="T20" fmla="*/ 106 w 127"/>
                  <a:gd name="T21" fmla="*/ 54 h 100"/>
                  <a:gd name="T22" fmla="*/ 115 w 127"/>
                  <a:gd name="T23" fmla="*/ 54 h 100"/>
                  <a:gd name="T24" fmla="*/ 123 w 127"/>
                  <a:gd name="T25" fmla="*/ 58 h 100"/>
                  <a:gd name="T26" fmla="*/ 127 w 127"/>
                  <a:gd name="T27" fmla="*/ 66 h 100"/>
                  <a:gd name="T28" fmla="*/ 121 w 127"/>
                  <a:gd name="T29" fmla="*/ 66 h 100"/>
                  <a:gd name="T30" fmla="*/ 119 w 127"/>
                  <a:gd name="T31" fmla="*/ 72 h 100"/>
                  <a:gd name="T32" fmla="*/ 113 w 127"/>
                  <a:gd name="T33" fmla="*/ 75 h 100"/>
                  <a:gd name="T34" fmla="*/ 107 w 127"/>
                  <a:gd name="T35" fmla="*/ 75 h 100"/>
                  <a:gd name="T36" fmla="*/ 104 w 127"/>
                  <a:gd name="T37" fmla="*/ 77 h 100"/>
                  <a:gd name="T38" fmla="*/ 102 w 127"/>
                  <a:gd name="T39" fmla="*/ 81 h 100"/>
                  <a:gd name="T40" fmla="*/ 96 w 127"/>
                  <a:gd name="T41" fmla="*/ 81 h 100"/>
                  <a:gd name="T42" fmla="*/ 92 w 127"/>
                  <a:gd name="T43" fmla="*/ 83 h 100"/>
                  <a:gd name="T44" fmla="*/ 84 w 127"/>
                  <a:gd name="T45" fmla="*/ 85 h 100"/>
                  <a:gd name="T46" fmla="*/ 81 w 127"/>
                  <a:gd name="T47" fmla="*/ 89 h 100"/>
                  <a:gd name="T48" fmla="*/ 77 w 127"/>
                  <a:gd name="T49" fmla="*/ 87 h 100"/>
                  <a:gd name="T50" fmla="*/ 73 w 127"/>
                  <a:gd name="T51" fmla="*/ 89 h 100"/>
                  <a:gd name="T52" fmla="*/ 69 w 127"/>
                  <a:gd name="T53" fmla="*/ 91 h 100"/>
                  <a:gd name="T54" fmla="*/ 65 w 127"/>
                  <a:gd name="T55" fmla="*/ 96 h 100"/>
                  <a:gd name="T56" fmla="*/ 59 w 127"/>
                  <a:gd name="T57" fmla="*/ 91 h 100"/>
                  <a:gd name="T58" fmla="*/ 48 w 127"/>
                  <a:gd name="T59" fmla="*/ 91 h 100"/>
                  <a:gd name="T60" fmla="*/ 46 w 127"/>
                  <a:gd name="T61" fmla="*/ 98 h 100"/>
                  <a:gd name="T62" fmla="*/ 42 w 127"/>
                  <a:gd name="T63" fmla="*/ 98 h 100"/>
                  <a:gd name="T64" fmla="*/ 38 w 127"/>
                  <a:gd name="T65" fmla="*/ 91 h 100"/>
                  <a:gd name="T66" fmla="*/ 34 w 127"/>
                  <a:gd name="T67" fmla="*/ 89 h 100"/>
                  <a:gd name="T68" fmla="*/ 29 w 127"/>
                  <a:gd name="T69" fmla="*/ 89 h 100"/>
                  <a:gd name="T70" fmla="*/ 19 w 127"/>
                  <a:gd name="T71" fmla="*/ 93 h 100"/>
                  <a:gd name="T72" fmla="*/ 15 w 127"/>
                  <a:gd name="T73" fmla="*/ 83 h 100"/>
                  <a:gd name="T74" fmla="*/ 8 w 127"/>
                  <a:gd name="T75" fmla="*/ 77 h 100"/>
                  <a:gd name="T76" fmla="*/ 0 w 127"/>
                  <a:gd name="T77" fmla="*/ 75 h 100"/>
                  <a:gd name="T78" fmla="*/ 2 w 127"/>
                  <a:gd name="T79" fmla="*/ 64 h 100"/>
                  <a:gd name="T80" fmla="*/ 6 w 127"/>
                  <a:gd name="T81" fmla="*/ 56 h 100"/>
                  <a:gd name="T82" fmla="*/ 11 w 127"/>
                  <a:gd name="T83" fmla="*/ 54 h 100"/>
                  <a:gd name="T84" fmla="*/ 17 w 127"/>
                  <a:gd name="T85" fmla="*/ 60 h 100"/>
                  <a:gd name="T86" fmla="*/ 23 w 127"/>
                  <a:gd name="T87" fmla="*/ 66 h 100"/>
                  <a:gd name="T88" fmla="*/ 29 w 127"/>
                  <a:gd name="T89" fmla="*/ 58 h 100"/>
                  <a:gd name="T90" fmla="*/ 33 w 127"/>
                  <a:gd name="T91" fmla="*/ 50 h 100"/>
                  <a:gd name="T92" fmla="*/ 40 w 127"/>
                  <a:gd name="T93" fmla="*/ 50 h 100"/>
                  <a:gd name="T94" fmla="*/ 50 w 127"/>
                  <a:gd name="T95" fmla="*/ 56 h 100"/>
                  <a:gd name="T96" fmla="*/ 48 w 127"/>
                  <a:gd name="T97" fmla="*/ 43 h 100"/>
                  <a:gd name="T98" fmla="*/ 52 w 127"/>
                  <a:gd name="T99" fmla="*/ 27 h 100"/>
                  <a:gd name="T100" fmla="*/ 58 w 127"/>
                  <a:gd name="T101" fmla="*/ 29 h 100"/>
                  <a:gd name="T102" fmla="*/ 61 w 127"/>
                  <a:gd name="T103" fmla="*/ 33 h 100"/>
                  <a:gd name="T104" fmla="*/ 69 w 127"/>
                  <a:gd name="T105" fmla="*/ 29 h 100"/>
                  <a:gd name="T106" fmla="*/ 75 w 127"/>
                  <a:gd name="T107" fmla="*/ 16 h 100"/>
                  <a:gd name="T108" fmla="*/ 82 w 127"/>
                  <a:gd name="T109" fmla="*/ 2 h 100"/>
                  <a:gd name="T110" fmla="*/ 88 w 127"/>
                  <a:gd name="T111" fmla="*/ 2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27" h="100">
                    <a:moveTo>
                      <a:pt x="90" y="2"/>
                    </a:moveTo>
                    <a:lnTo>
                      <a:pt x="94" y="4"/>
                    </a:lnTo>
                    <a:lnTo>
                      <a:pt x="94" y="6"/>
                    </a:lnTo>
                    <a:lnTo>
                      <a:pt x="98" y="6"/>
                    </a:lnTo>
                    <a:lnTo>
                      <a:pt x="100" y="6"/>
                    </a:lnTo>
                    <a:lnTo>
                      <a:pt x="102" y="8"/>
                    </a:lnTo>
                    <a:lnTo>
                      <a:pt x="106" y="10"/>
                    </a:lnTo>
                    <a:lnTo>
                      <a:pt x="107" y="12"/>
                    </a:lnTo>
                    <a:lnTo>
                      <a:pt x="109" y="12"/>
                    </a:lnTo>
                    <a:lnTo>
                      <a:pt x="111" y="12"/>
                    </a:lnTo>
                    <a:lnTo>
                      <a:pt x="113" y="14"/>
                    </a:lnTo>
                    <a:lnTo>
                      <a:pt x="113" y="16"/>
                    </a:lnTo>
                    <a:lnTo>
                      <a:pt x="115" y="18"/>
                    </a:lnTo>
                    <a:lnTo>
                      <a:pt x="117" y="18"/>
                    </a:lnTo>
                    <a:lnTo>
                      <a:pt x="117" y="20"/>
                    </a:lnTo>
                    <a:lnTo>
                      <a:pt x="119" y="20"/>
                    </a:lnTo>
                    <a:lnTo>
                      <a:pt x="119" y="18"/>
                    </a:lnTo>
                    <a:lnTo>
                      <a:pt x="121" y="18"/>
                    </a:lnTo>
                    <a:lnTo>
                      <a:pt x="123" y="20"/>
                    </a:lnTo>
                    <a:lnTo>
                      <a:pt x="123" y="22"/>
                    </a:lnTo>
                    <a:lnTo>
                      <a:pt x="123" y="23"/>
                    </a:lnTo>
                    <a:lnTo>
                      <a:pt x="123" y="25"/>
                    </a:lnTo>
                    <a:lnTo>
                      <a:pt x="123" y="27"/>
                    </a:lnTo>
                    <a:lnTo>
                      <a:pt x="123" y="29"/>
                    </a:lnTo>
                    <a:lnTo>
                      <a:pt x="121" y="29"/>
                    </a:lnTo>
                    <a:lnTo>
                      <a:pt x="121" y="31"/>
                    </a:lnTo>
                    <a:lnTo>
                      <a:pt x="121" y="33"/>
                    </a:lnTo>
                    <a:lnTo>
                      <a:pt x="121" y="35"/>
                    </a:lnTo>
                    <a:lnTo>
                      <a:pt x="119" y="35"/>
                    </a:lnTo>
                    <a:lnTo>
                      <a:pt x="119" y="37"/>
                    </a:lnTo>
                    <a:lnTo>
                      <a:pt x="117" y="37"/>
                    </a:lnTo>
                    <a:lnTo>
                      <a:pt x="117" y="39"/>
                    </a:lnTo>
                    <a:lnTo>
                      <a:pt x="117" y="41"/>
                    </a:lnTo>
                    <a:lnTo>
                      <a:pt x="115" y="41"/>
                    </a:lnTo>
                    <a:lnTo>
                      <a:pt x="115" y="43"/>
                    </a:lnTo>
                    <a:lnTo>
                      <a:pt x="115" y="45"/>
                    </a:lnTo>
                    <a:lnTo>
                      <a:pt x="113" y="45"/>
                    </a:lnTo>
                    <a:lnTo>
                      <a:pt x="113" y="47"/>
                    </a:lnTo>
                    <a:lnTo>
                      <a:pt x="113" y="45"/>
                    </a:lnTo>
                    <a:lnTo>
                      <a:pt x="113" y="43"/>
                    </a:lnTo>
                    <a:lnTo>
                      <a:pt x="111" y="43"/>
                    </a:lnTo>
                    <a:lnTo>
                      <a:pt x="109" y="43"/>
                    </a:lnTo>
                    <a:lnTo>
                      <a:pt x="107" y="41"/>
                    </a:lnTo>
                    <a:lnTo>
                      <a:pt x="107" y="43"/>
                    </a:lnTo>
                    <a:lnTo>
                      <a:pt x="106" y="43"/>
                    </a:lnTo>
                    <a:lnTo>
                      <a:pt x="106" y="45"/>
                    </a:lnTo>
                    <a:lnTo>
                      <a:pt x="107" y="45"/>
                    </a:lnTo>
                    <a:lnTo>
                      <a:pt x="107" y="47"/>
                    </a:lnTo>
                    <a:lnTo>
                      <a:pt x="107" y="48"/>
                    </a:lnTo>
                    <a:lnTo>
                      <a:pt x="106" y="48"/>
                    </a:lnTo>
                    <a:lnTo>
                      <a:pt x="106" y="50"/>
                    </a:lnTo>
                    <a:lnTo>
                      <a:pt x="104" y="50"/>
                    </a:lnTo>
                    <a:lnTo>
                      <a:pt x="104" y="52"/>
                    </a:lnTo>
                    <a:lnTo>
                      <a:pt x="106" y="52"/>
                    </a:lnTo>
                    <a:lnTo>
                      <a:pt x="106" y="54"/>
                    </a:lnTo>
                    <a:lnTo>
                      <a:pt x="107" y="54"/>
                    </a:lnTo>
                    <a:lnTo>
                      <a:pt x="109" y="54"/>
                    </a:lnTo>
                    <a:lnTo>
                      <a:pt x="111" y="54"/>
                    </a:lnTo>
                    <a:lnTo>
                      <a:pt x="113" y="54"/>
                    </a:lnTo>
                    <a:lnTo>
                      <a:pt x="115" y="54"/>
                    </a:lnTo>
                    <a:lnTo>
                      <a:pt x="117" y="54"/>
                    </a:lnTo>
                    <a:lnTo>
                      <a:pt x="119" y="54"/>
                    </a:lnTo>
                    <a:lnTo>
                      <a:pt x="121" y="54"/>
                    </a:lnTo>
                    <a:lnTo>
                      <a:pt x="123" y="56"/>
                    </a:lnTo>
                    <a:lnTo>
                      <a:pt x="123" y="58"/>
                    </a:lnTo>
                    <a:lnTo>
                      <a:pt x="125" y="58"/>
                    </a:lnTo>
                    <a:lnTo>
                      <a:pt x="125" y="62"/>
                    </a:lnTo>
                    <a:lnTo>
                      <a:pt x="127" y="62"/>
                    </a:lnTo>
                    <a:lnTo>
                      <a:pt x="127" y="64"/>
                    </a:lnTo>
                    <a:lnTo>
                      <a:pt x="127" y="66"/>
                    </a:lnTo>
                    <a:lnTo>
                      <a:pt x="125" y="66"/>
                    </a:lnTo>
                    <a:lnTo>
                      <a:pt x="123" y="66"/>
                    </a:lnTo>
                    <a:lnTo>
                      <a:pt x="123" y="64"/>
                    </a:lnTo>
                    <a:lnTo>
                      <a:pt x="123" y="66"/>
                    </a:lnTo>
                    <a:lnTo>
                      <a:pt x="121" y="66"/>
                    </a:lnTo>
                    <a:lnTo>
                      <a:pt x="123" y="68"/>
                    </a:lnTo>
                    <a:lnTo>
                      <a:pt x="123" y="70"/>
                    </a:lnTo>
                    <a:lnTo>
                      <a:pt x="121" y="70"/>
                    </a:lnTo>
                    <a:lnTo>
                      <a:pt x="121" y="72"/>
                    </a:lnTo>
                    <a:lnTo>
                      <a:pt x="119" y="72"/>
                    </a:lnTo>
                    <a:lnTo>
                      <a:pt x="119" y="73"/>
                    </a:lnTo>
                    <a:lnTo>
                      <a:pt x="117" y="73"/>
                    </a:lnTo>
                    <a:lnTo>
                      <a:pt x="115" y="73"/>
                    </a:lnTo>
                    <a:lnTo>
                      <a:pt x="113" y="73"/>
                    </a:lnTo>
                    <a:lnTo>
                      <a:pt x="113" y="75"/>
                    </a:lnTo>
                    <a:lnTo>
                      <a:pt x="111" y="73"/>
                    </a:lnTo>
                    <a:lnTo>
                      <a:pt x="109" y="73"/>
                    </a:lnTo>
                    <a:lnTo>
                      <a:pt x="107" y="73"/>
                    </a:lnTo>
                    <a:lnTo>
                      <a:pt x="109" y="75"/>
                    </a:lnTo>
                    <a:lnTo>
                      <a:pt x="107" y="75"/>
                    </a:lnTo>
                    <a:lnTo>
                      <a:pt x="107" y="73"/>
                    </a:lnTo>
                    <a:lnTo>
                      <a:pt x="107" y="75"/>
                    </a:lnTo>
                    <a:lnTo>
                      <a:pt x="106" y="75"/>
                    </a:lnTo>
                    <a:lnTo>
                      <a:pt x="106" y="77"/>
                    </a:lnTo>
                    <a:lnTo>
                      <a:pt x="104" y="77"/>
                    </a:lnTo>
                    <a:lnTo>
                      <a:pt x="104" y="79"/>
                    </a:lnTo>
                    <a:lnTo>
                      <a:pt x="104" y="77"/>
                    </a:lnTo>
                    <a:lnTo>
                      <a:pt x="104" y="79"/>
                    </a:lnTo>
                    <a:lnTo>
                      <a:pt x="102" y="79"/>
                    </a:lnTo>
                    <a:lnTo>
                      <a:pt x="102" y="81"/>
                    </a:lnTo>
                    <a:lnTo>
                      <a:pt x="100" y="81"/>
                    </a:lnTo>
                    <a:lnTo>
                      <a:pt x="98" y="81"/>
                    </a:lnTo>
                    <a:lnTo>
                      <a:pt x="98" y="79"/>
                    </a:lnTo>
                    <a:lnTo>
                      <a:pt x="98" y="81"/>
                    </a:lnTo>
                    <a:lnTo>
                      <a:pt x="96" y="81"/>
                    </a:lnTo>
                    <a:lnTo>
                      <a:pt x="96" y="83"/>
                    </a:lnTo>
                    <a:lnTo>
                      <a:pt x="96" y="81"/>
                    </a:lnTo>
                    <a:lnTo>
                      <a:pt x="96" y="83"/>
                    </a:lnTo>
                    <a:lnTo>
                      <a:pt x="94" y="83"/>
                    </a:lnTo>
                    <a:lnTo>
                      <a:pt x="92" y="83"/>
                    </a:lnTo>
                    <a:lnTo>
                      <a:pt x="90" y="83"/>
                    </a:lnTo>
                    <a:lnTo>
                      <a:pt x="88" y="83"/>
                    </a:lnTo>
                    <a:lnTo>
                      <a:pt x="86" y="83"/>
                    </a:lnTo>
                    <a:lnTo>
                      <a:pt x="86" y="85"/>
                    </a:lnTo>
                    <a:lnTo>
                      <a:pt x="84" y="85"/>
                    </a:lnTo>
                    <a:lnTo>
                      <a:pt x="84" y="87"/>
                    </a:lnTo>
                    <a:lnTo>
                      <a:pt x="82" y="87"/>
                    </a:lnTo>
                    <a:lnTo>
                      <a:pt x="81" y="89"/>
                    </a:lnTo>
                    <a:lnTo>
                      <a:pt x="81" y="87"/>
                    </a:lnTo>
                    <a:lnTo>
                      <a:pt x="81" y="89"/>
                    </a:lnTo>
                    <a:lnTo>
                      <a:pt x="79" y="89"/>
                    </a:lnTo>
                    <a:lnTo>
                      <a:pt x="79" y="87"/>
                    </a:lnTo>
                    <a:lnTo>
                      <a:pt x="79" y="89"/>
                    </a:lnTo>
                    <a:lnTo>
                      <a:pt x="79" y="87"/>
                    </a:lnTo>
                    <a:lnTo>
                      <a:pt x="77" y="87"/>
                    </a:lnTo>
                    <a:lnTo>
                      <a:pt x="77" y="89"/>
                    </a:lnTo>
                    <a:lnTo>
                      <a:pt x="75" y="89"/>
                    </a:lnTo>
                    <a:lnTo>
                      <a:pt x="75" y="87"/>
                    </a:lnTo>
                    <a:lnTo>
                      <a:pt x="73" y="87"/>
                    </a:lnTo>
                    <a:lnTo>
                      <a:pt x="73" y="89"/>
                    </a:lnTo>
                    <a:lnTo>
                      <a:pt x="71" y="89"/>
                    </a:lnTo>
                    <a:lnTo>
                      <a:pt x="69" y="89"/>
                    </a:lnTo>
                    <a:lnTo>
                      <a:pt x="71" y="89"/>
                    </a:lnTo>
                    <a:lnTo>
                      <a:pt x="69" y="89"/>
                    </a:lnTo>
                    <a:lnTo>
                      <a:pt x="69" y="91"/>
                    </a:lnTo>
                    <a:lnTo>
                      <a:pt x="67" y="91"/>
                    </a:lnTo>
                    <a:lnTo>
                      <a:pt x="65" y="93"/>
                    </a:lnTo>
                    <a:lnTo>
                      <a:pt x="67" y="93"/>
                    </a:lnTo>
                    <a:lnTo>
                      <a:pt x="65" y="95"/>
                    </a:lnTo>
                    <a:lnTo>
                      <a:pt x="65" y="96"/>
                    </a:lnTo>
                    <a:lnTo>
                      <a:pt x="63" y="96"/>
                    </a:lnTo>
                    <a:lnTo>
                      <a:pt x="63" y="95"/>
                    </a:lnTo>
                    <a:lnTo>
                      <a:pt x="61" y="95"/>
                    </a:lnTo>
                    <a:lnTo>
                      <a:pt x="61" y="93"/>
                    </a:lnTo>
                    <a:lnTo>
                      <a:pt x="59" y="91"/>
                    </a:lnTo>
                    <a:lnTo>
                      <a:pt x="56" y="89"/>
                    </a:lnTo>
                    <a:lnTo>
                      <a:pt x="54" y="89"/>
                    </a:lnTo>
                    <a:lnTo>
                      <a:pt x="52" y="89"/>
                    </a:lnTo>
                    <a:lnTo>
                      <a:pt x="50" y="89"/>
                    </a:lnTo>
                    <a:lnTo>
                      <a:pt x="48" y="91"/>
                    </a:lnTo>
                    <a:lnTo>
                      <a:pt x="50" y="93"/>
                    </a:lnTo>
                    <a:lnTo>
                      <a:pt x="48" y="95"/>
                    </a:lnTo>
                    <a:lnTo>
                      <a:pt x="46" y="95"/>
                    </a:lnTo>
                    <a:lnTo>
                      <a:pt x="46" y="96"/>
                    </a:lnTo>
                    <a:lnTo>
                      <a:pt x="46" y="98"/>
                    </a:lnTo>
                    <a:lnTo>
                      <a:pt x="46" y="100"/>
                    </a:lnTo>
                    <a:lnTo>
                      <a:pt x="44" y="100"/>
                    </a:lnTo>
                    <a:lnTo>
                      <a:pt x="42" y="100"/>
                    </a:lnTo>
                    <a:lnTo>
                      <a:pt x="40" y="100"/>
                    </a:lnTo>
                    <a:lnTo>
                      <a:pt x="42" y="98"/>
                    </a:lnTo>
                    <a:lnTo>
                      <a:pt x="42" y="96"/>
                    </a:lnTo>
                    <a:lnTo>
                      <a:pt x="42" y="95"/>
                    </a:lnTo>
                    <a:lnTo>
                      <a:pt x="40" y="95"/>
                    </a:lnTo>
                    <a:lnTo>
                      <a:pt x="38" y="93"/>
                    </a:lnTo>
                    <a:lnTo>
                      <a:pt x="38" y="91"/>
                    </a:lnTo>
                    <a:lnTo>
                      <a:pt x="38" y="89"/>
                    </a:lnTo>
                    <a:lnTo>
                      <a:pt x="38" y="87"/>
                    </a:lnTo>
                    <a:lnTo>
                      <a:pt x="36" y="87"/>
                    </a:lnTo>
                    <a:lnTo>
                      <a:pt x="36" y="89"/>
                    </a:lnTo>
                    <a:lnTo>
                      <a:pt x="34" y="89"/>
                    </a:lnTo>
                    <a:lnTo>
                      <a:pt x="33" y="87"/>
                    </a:lnTo>
                    <a:lnTo>
                      <a:pt x="31" y="87"/>
                    </a:lnTo>
                    <a:lnTo>
                      <a:pt x="29" y="87"/>
                    </a:lnTo>
                    <a:lnTo>
                      <a:pt x="31" y="89"/>
                    </a:lnTo>
                    <a:lnTo>
                      <a:pt x="29" y="89"/>
                    </a:lnTo>
                    <a:lnTo>
                      <a:pt x="25" y="89"/>
                    </a:lnTo>
                    <a:lnTo>
                      <a:pt x="23" y="89"/>
                    </a:lnTo>
                    <a:lnTo>
                      <a:pt x="23" y="91"/>
                    </a:lnTo>
                    <a:lnTo>
                      <a:pt x="21" y="93"/>
                    </a:lnTo>
                    <a:lnTo>
                      <a:pt x="19" y="93"/>
                    </a:lnTo>
                    <a:lnTo>
                      <a:pt x="17" y="91"/>
                    </a:lnTo>
                    <a:lnTo>
                      <a:pt x="15" y="89"/>
                    </a:lnTo>
                    <a:lnTo>
                      <a:pt x="15" y="87"/>
                    </a:lnTo>
                    <a:lnTo>
                      <a:pt x="15" y="85"/>
                    </a:lnTo>
                    <a:lnTo>
                      <a:pt x="15" y="83"/>
                    </a:lnTo>
                    <a:lnTo>
                      <a:pt x="15" y="81"/>
                    </a:lnTo>
                    <a:lnTo>
                      <a:pt x="13" y="79"/>
                    </a:lnTo>
                    <a:lnTo>
                      <a:pt x="11" y="79"/>
                    </a:lnTo>
                    <a:lnTo>
                      <a:pt x="9" y="79"/>
                    </a:lnTo>
                    <a:lnTo>
                      <a:pt x="8" y="77"/>
                    </a:lnTo>
                    <a:lnTo>
                      <a:pt x="8" y="79"/>
                    </a:lnTo>
                    <a:lnTo>
                      <a:pt x="6" y="79"/>
                    </a:lnTo>
                    <a:lnTo>
                      <a:pt x="6" y="81"/>
                    </a:lnTo>
                    <a:lnTo>
                      <a:pt x="2" y="79"/>
                    </a:lnTo>
                    <a:lnTo>
                      <a:pt x="0" y="75"/>
                    </a:lnTo>
                    <a:lnTo>
                      <a:pt x="0" y="73"/>
                    </a:lnTo>
                    <a:lnTo>
                      <a:pt x="0" y="72"/>
                    </a:lnTo>
                    <a:lnTo>
                      <a:pt x="0" y="70"/>
                    </a:lnTo>
                    <a:lnTo>
                      <a:pt x="2" y="68"/>
                    </a:lnTo>
                    <a:lnTo>
                      <a:pt x="2" y="64"/>
                    </a:lnTo>
                    <a:lnTo>
                      <a:pt x="4" y="62"/>
                    </a:lnTo>
                    <a:lnTo>
                      <a:pt x="6" y="62"/>
                    </a:lnTo>
                    <a:lnTo>
                      <a:pt x="4" y="60"/>
                    </a:lnTo>
                    <a:lnTo>
                      <a:pt x="6" y="58"/>
                    </a:lnTo>
                    <a:lnTo>
                      <a:pt x="6" y="56"/>
                    </a:lnTo>
                    <a:lnTo>
                      <a:pt x="6" y="54"/>
                    </a:lnTo>
                    <a:lnTo>
                      <a:pt x="6" y="52"/>
                    </a:lnTo>
                    <a:lnTo>
                      <a:pt x="9" y="52"/>
                    </a:lnTo>
                    <a:lnTo>
                      <a:pt x="9" y="54"/>
                    </a:lnTo>
                    <a:lnTo>
                      <a:pt x="11" y="54"/>
                    </a:lnTo>
                    <a:lnTo>
                      <a:pt x="11" y="52"/>
                    </a:lnTo>
                    <a:lnTo>
                      <a:pt x="15" y="52"/>
                    </a:lnTo>
                    <a:lnTo>
                      <a:pt x="15" y="56"/>
                    </a:lnTo>
                    <a:lnTo>
                      <a:pt x="15" y="58"/>
                    </a:lnTo>
                    <a:lnTo>
                      <a:pt x="17" y="60"/>
                    </a:lnTo>
                    <a:lnTo>
                      <a:pt x="17" y="62"/>
                    </a:lnTo>
                    <a:lnTo>
                      <a:pt x="19" y="64"/>
                    </a:lnTo>
                    <a:lnTo>
                      <a:pt x="21" y="64"/>
                    </a:lnTo>
                    <a:lnTo>
                      <a:pt x="21" y="66"/>
                    </a:lnTo>
                    <a:lnTo>
                      <a:pt x="23" y="66"/>
                    </a:lnTo>
                    <a:lnTo>
                      <a:pt x="25" y="66"/>
                    </a:lnTo>
                    <a:lnTo>
                      <a:pt x="25" y="64"/>
                    </a:lnTo>
                    <a:lnTo>
                      <a:pt x="25" y="62"/>
                    </a:lnTo>
                    <a:lnTo>
                      <a:pt x="27" y="62"/>
                    </a:lnTo>
                    <a:lnTo>
                      <a:pt x="29" y="58"/>
                    </a:lnTo>
                    <a:lnTo>
                      <a:pt x="29" y="56"/>
                    </a:lnTo>
                    <a:lnTo>
                      <a:pt x="31" y="56"/>
                    </a:lnTo>
                    <a:lnTo>
                      <a:pt x="31" y="54"/>
                    </a:lnTo>
                    <a:lnTo>
                      <a:pt x="31" y="52"/>
                    </a:lnTo>
                    <a:lnTo>
                      <a:pt x="33" y="50"/>
                    </a:lnTo>
                    <a:lnTo>
                      <a:pt x="33" y="52"/>
                    </a:lnTo>
                    <a:lnTo>
                      <a:pt x="34" y="50"/>
                    </a:lnTo>
                    <a:lnTo>
                      <a:pt x="34" y="48"/>
                    </a:lnTo>
                    <a:lnTo>
                      <a:pt x="36" y="48"/>
                    </a:lnTo>
                    <a:lnTo>
                      <a:pt x="40" y="50"/>
                    </a:lnTo>
                    <a:lnTo>
                      <a:pt x="42" y="54"/>
                    </a:lnTo>
                    <a:lnTo>
                      <a:pt x="46" y="54"/>
                    </a:lnTo>
                    <a:lnTo>
                      <a:pt x="46" y="52"/>
                    </a:lnTo>
                    <a:lnTo>
                      <a:pt x="48" y="54"/>
                    </a:lnTo>
                    <a:lnTo>
                      <a:pt x="50" y="56"/>
                    </a:lnTo>
                    <a:lnTo>
                      <a:pt x="50" y="54"/>
                    </a:lnTo>
                    <a:lnTo>
                      <a:pt x="50" y="48"/>
                    </a:lnTo>
                    <a:lnTo>
                      <a:pt x="52" y="47"/>
                    </a:lnTo>
                    <a:lnTo>
                      <a:pt x="50" y="45"/>
                    </a:lnTo>
                    <a:lnTo>
                      <a:pt x="48" y="43"/>
                    </a:lnTo>
                    <a:lnTo>
                      <a:pt x="46" y="43"/>
                    </a:lnTo>
                    <a:lnTo>
                      <a:pt x="48" y="37"/>
                    </a:lnTo>
                    <a:lnTo>
                      <a:pt x="50" y="29"/>
                    </a:lnTo>
                    <a:lnTo>
                      <a:pt x="52" y="29"/>
                    </a:lnTo>
                    <a:lnTo>
                      <a:pt x="52" y="27"/>
                    </a:lnTo>
                    <a:lnTo>
                      <a:pt x="54" y="27"/>
                    </a:lnTo>
                    <a:lnTo>
                      <a:pt x="54" y="25"/>
                    </a:lnTo>
                    <a:lnTo>
                      <a:pt x="56" y="27"/>
                    </a:lnTo>
                    <a:lnTo>
                      <a:pt x="58" y="27"/>
                    </a:lnTo>
                    <a:lnTo>
                      <a:pt x="58" y="29"/>
                    </a:lnTo>
                    <a:lnTo>
                      <a:pt x="59" y="29"/>
                    </a:lnTo>
                    <a:lnTo>
                      <a:pt x="59" y="27"/>
                    </a:lnTo>
                    <a:lnTo>
                      <a:pt x="61" y="27"/>
                    </a:lnTo>
                    <a:lnTo>
                      <a:pt x="61" y="29"/>
                    </a:lnTo>
                    <a:lnTo>
                      <a:pt x="61" y="33"/>
                    </a:lnTo>
                    <a:lnTo>
                      <a:pt x="63" y="33"/>
                    </a:lnTo>
                    <a:lnTo>
                      <a:pt x="67" y="33"/>
                    </a:lnTo>
                    <a:lnTo>
                      <a:pt x="69" y="33"/>
                    </a:lnTo>
                    <a:lnTo>
                      <a:pt x="69" y="31"/>
                    </a:lnTo>
                    <a:lnTo>
                      <a:pt x="69" y="29"/>
                    </a:lnTo>
                    <a:lnTo>
                      <a:pt x="69" y="23"/>
                    </a:lnTo>
                    <a:lnTo>
                      <a:pt x="71" y="20"/>
                    </a:lnTo>
                    <a:lnTo>
                      <a:pt x="73" y="20"/>
                    </a:lnTo>
                    <a:lnTo>
                      <a:pt x="73" y="18"/>
                    </a:lnTo>
                    <a:lnTo>
                      <a:pt x="75" y="16"/>
                    </a:lnTo>
                    <a:lnTo>
                      <a:pt x="77" y="14"/>
                    </a:lnTo>
                    <a:lnTo>
                      <a:pt x="77" y="12"/>
                    </a:lnTo>
                    <a:lnTo>
                      <a:pt x="79" y="8"/>
                    </a:lnTo>
                    <a:lnTo>
                      <a:pt x="81" y="4"/>
                    </a:lnTo>
                    <a:lnTo>
                      <a:pt x="82" y="2"/>
                    </a:lnTo>
                    <a:lnTo>
                      <a:pt x="84" y="2"/>
                    </a:lnTo>
                    <a:lnTo>
                      <a:pt x="84" y="4"/>
                    </a:lnTo>
                    <a:lnTo>
                      <a:pt x="86" y="4"/>
                    </a:lnTo>
                    <a:lnTo>
                      <a:pt x="88" y="4"/>
                    </a:lnTo>
                    <a:lnTo>
                      <a:pt x="88" y="2"/>
                    </a:lnTo>
                    <a:lnTo>
                      <a:pt x="88" y="0"/>
                    </a:lnTo>
                    <a:lnTo>
                      <a:pt x="90" y="0"/>
                    </a:lnTo>
                    <a:lnTo>
                      <a:pt x="90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" name="Freeform 7">
                <a:extLst>
                  <a:ext uri="{FF2B5EF4-FFF2-40B4-BE49-F238E27FC236}">
                    <a16:creationId xmlns="" xmlns:a16="http://schemas.microsoft.com/office/drawing/2014/main" id="{F3EF1144-FF3E-4926-8D6E-703EB5BC4F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16363" y="4430713"/>
                <a:ext cx="500063" cy="427038"/>
              </a:xfrm>
              <a:custGeom>
                <a:avLst/>
                <a:gdLst>
                  <a:gd name="T0" fmla="*/ 303 w 315"/>
                  <a:gd name="T1" fmla="*/ 141 h 269"/>
                  <a:gd name="T2" fmla="*/ 296 w 315"/>
                  <a:gd name="T3" fmla="*/ 156 h 269"/>
                  <a:gd name="T4" fmla="*/ 301 w 315"/>
                  <a:gd name="T5" fmla="*/ 169 h 269"/>
                  <a:gd name="T6" fmla="*/ 288 w 315"/>
                  <a:gd name="T7" fmla="*/ 175 h 269"/>
                  <a:gd name="T8" fmla="*/ 278 w 315"/>
                  <a:gd name="T9" fmla="*/ 183 h 269"/>
                  <a:gd name="T10" fmla="*/ 267 w 315"/>
                  <a:gd name="T11" fmla="*/ 175 h 269"/>
                  <a:gd name="T12" fmla="*/ 265 w 315"/>
                  <a:gd name="T13" fmla="*/ 181 h 269"/>
                  <a:gd name="T14" fmla="*/ 259 w 315"/>
                  <a:gd name="T15" fmla="*/ 194 h 269"/>
                  <a:gd name="T16" fmla="*/ 250 w 315"/>
                  <a:gd name="T17" fmla="*/ 206 h 269"/>
                  <a:gd name="T18" fmla="*/ 240 w 315"/>
                  <a:gd name="T19" fmla="*/ 210 h 269"/>
                  <a:gd name="T20" fmla="*/ 230 w 315"/>
                  <a:gd name="T21" fmla="*/ 214 h 269"/>
                  <a:gd name="T22" fmla="*/ 213 w 315"/>
                  <a:gd name="T23" fmla="*/ 223 h 269"/>
                  <a:gd name="T24" fmla="*/ 198 w 315"/>
                  <a:gd name="T25" fmla="*/ 233 h 269"/>
                  <a:gd name="T26" fmla="*/ 192 w 315"/>
                  <a:gd name="T27" fmla="*/ 235 h 269"/>
                  <a:gd name="T28" fmla="*/ 200 w 315"/>
                  <a:gd name="T29" fmla="*/ 244 h 269"/>
                  <a:gd name="T30" fmla="*/ 209 w 315"/>
                  <a:gd name="T31" fmla="*/ 250 h 269"/>
                  <a:gd name="T32" fmla="*/ 207 w 315"/>
                  <a:gd name="T33" fmla="*/ 262 h 269"/>
                  <a:gd name="T34" fmla="*/ 194 w 315"/>
                  <a:gd name="T35" fmla="*/ 267 h 269"/>
                  <a:gd name="T36" fmla="*/ 184 w 315"/>
                  <a:gd name="T37" fmla="*/ 254 h 269"/>
                  <a:gd name="T38" fmla="*/ 173 w 315"/>
                  <a:gd name="T39" fmla="*/ 244 h 269"/>
                  <a:gd name="T40" fmla="*/ 157 w 315"/>
                  <a:gd name="T41" fmla="*/ 244 h 269"/>
                  <a:gd name="T42" fmla="*/ 144 w 315"/>
                  <a:gd name="T43" fmla="*/ 248 h 269"/>
                  <a:gd name="T44" fmla="*/ 130 w 315"/>
                  <a:gd name="T45" fmla="*/ 252 h 269"/>
                  <a:gd name="T46" fmla="*/ 117 w 315"/>
                  <a:gd name="T47" fmla="*/ 250 h 269"/>
                  <a:gd name="T48" fmla="*/ 98 w 315"/>
                  <a:gd name="T49" fmla="*/ 250 h 269"/>
                  <a:gd name="T50" fmla="*/ 96 w 315"/>
                  <a:gd name="T51" fmla="*/ 233 h 269"/>
                  <a:gd name="T52" fmla="*/ 88 w 315"/>
                  <a:gd name="T53" fmla="*/ 227 h 269"/>
                  <a:gd name="T54" fmla="*/ 84 w 315"/>
                  <a:gd name="T55" fmla="*/ 212 h 269"/>
                  <a:gd name="T56" fmla="*/ 65 w 315"/>
                  <a:gd name="T57" fmla="*/ 216 h 269"/>
                  <a:gd name="T58" fmla="*/ 52 w 315"/>
                  <a:gd name="T59" fmla="*/ 237 h 269"/>
                  <a:gd name="T60" fmla="*/ 31 w 315"/>
                  <a:gd name="T61" fmla="*/ 167 h 269"/>
                  <a:gd name="T62" fmla="*/ 0 w 315"/>
                  <a:gd name="T63" fmla="*/ 60 h 269"/>
                  <a:gd name="T64" fmla="*/ 8 w 315"/>
                  <a:gd name="T65" fmla="*/ 48 h 269"/>
                  <a:gd name="T66" fmla="*/ 11 w 315"/>
                  <a:gd name="T67" fmla="*/ 39 h 269"/>
                  <a:gd name="T68" fmla="*/ 15 w 315"/>
                  <a:gd name="T69" fmla="*/ 44 h 269"/>
                  <a:gd name="T70" fmla="*/ 27 w 315"/>
                  <a:gd name="T71" fmla="*/ 46 h 269"/>
                  <a:gd name="T72" fmla="*/ 44 w 315"/>
                  <a:gd name="T73" fmla="*/ 37 h 269"/>
                  <a:gd name="T74" fmla="*/ 69 w 315"/>
                  <a:gd name="T75" fmla="*/ 31 h 269"/>
                  <a:gd name="T76" fmla="*/ 81 w 315"/>
                  <a:gd name="T77" fmla="*/ 17 h 269"/>
                  <a:gd name="T78" fmla="*/ 98 w 315"/>
                  <a:gd name="T79" fmla="*/ 12 h 269"/>
                  <a:gd name="T80" fmla="*/ 109 w 315"/>
                  <a:gd name="T81" fmla="*/ 0 h 269"/>
                  <a:gd name="T82" fmla="*/ 119 w 315"/>
                  <a:gd name="T83" fmla="*/ 17 h 269"/>
                  <a:gd name="T84" fmla="*/ 132 w 315"/>
                  <a:gd name="T85" fmla="*/ 29 h 269"/>
                  <a:gd name="T86" fmla="*/ 138 w 315"/>
                  <a:gd name="T87" fmla="*/ 31 h 269"/>
                  <a:gd name="T88" fmla="*/ 136 w 315"/>
                  <a:gd name="T89" fmla="*/ 44 h 269"/>
                  <a:gd name="T90" fmla="*/ 142 w 315"/>
                  <a:gd name="T91" fmla="*/ 48 h 269"/>
                  <a:gd name="T92" fmla="*/ 150 w 315"/>
                  <a:gd name="T93" fmla="*/ 56 h 269"/>
                  <a:gd name="T94" fmla="*/ 161 w 315"/>
                  <a:gd name="T95" fmla="*/ 66 h 269"/>
                  <a:gd name="T96" fmla="*/ 169 w 315"/>
                  <a:gd name="T97" fmla="*/ 48 h 269"/>
                  <a:gd name="T98" fmla="*/ 190 w 315"/>
                  <a:gd name="T99" fmla="*/ 31 h 269"/>
                  <a:gd name="T100" fmla="*/ 198 w 315"/>
                  <a:gd name="T101" fmla="*/ 37 h 269"/>
                  <a:gd name="T102" fmla="*/ 207 w 315"/>
                  <a:gd name="T103" fmla="*/ 29 h 269"/>
                  <a:gd name="T104" fmla="*/ 230 w 315"/>
                  <a:gd name="T105" fmla="*/ 29 h 269"/>
                  <a:gd name="T106" fmla="*/ 246 w 315"/>
                  <a:gd name="T107" fmla="*/ 17 h 269"/>
                  <a:gd name="T108" fmla="*/ 271 w 315"/>
                  <a:gd name="T109" fmla="*/ 29 h 269"/>
                  <a:gd name="T110" fmla="*/ 286 w 315"/>
                  <a:gd name="T111" fmla="*/ 48 h 269"/>
                  <a:gd name="T112" fmla="*/ 296 w 315"/>
                  <a:gd name="T113" fmla="*/ 73 h 269"/>
                  <a:gd name="T114" fmla="*/ 305 w 315"/>
                  <a:gd name="T115" fmla="*/ 85 h 269"/>
                  <a:gd name="T116" fmla="*/ 309 w 315"/>
                  <a:gd name="T117" fmla="*/ 91 h 269"/>
                  <a:gd name="T118" fmla="*/ 300 w 315"/>
                  <a:gd name="T119" fmla="*/ 98 h 269"/>
                  <a:gd name="T120" fmla="*/ 305 w 315"/>
                  <a:gd name="T121" fmla="*/ 108 h 269"/>
                  <a:gd name="T122" fmla="*/ 307 w 315"/>
                  <a:gd name="T123" fmla="*/ 125 h 269"/>
                  <a:gd name="T124" fmla="*/ 315 w 315"/>
                  <a:gd name="T125" fmla="*/ 137 h 2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15" h="269">
                    <a:moveTo>
                      <a:pt x="313" y="144"/>
                    </a:moveTo>
                    <a:lnTo>
                      <a:pt x="313" y="142"/>
                    </a:lnTo>
                    <a:lnTo>
                      <a:pt x="311" y="142"/>
                    </a:lnTo>
                    <a:lnTo>
                      <a:pt x="311" y="141"/>
                    </a:lnTo>
                    <a:lnTo>
                      <a:pt x="309" y="142"/>
                    </a:lnTo>
                    <a:lnTo>
                      <a:pt x="309" y="141"/>
                    </a:lnTo>
                    <a:lnTo>
                      <a:pt x="307" y="141"/>
                    </a:lnTo>
                    <a:lnTo>
                      <a:pt x="307" y="142"/>
                    </a:lnTo>
                    <a:lnTo>
                      <a:pt x="305" y="142"/>
                    </a:lnTo>
                    <a:lnTo>
                      <a:pt x="303" y="142"/>
                    </a:lnTo>
                    <a:lnTo>
                      <a:pt x="303" y="141"/>
                    </a:lnTo>
                    <a:lnTo>
                      <a:pt x="303" y="142"/>
                    </a:lnTo>
                    <a:lnTo>
                      <a:pt x="301" y="144"/>
                    </a:lnTo>
                    <a:lnTo>
                      <a:pt x="301" y="146"/>
                    </a:lnTo>
                    <a:lnTo>
                      <a:pt x="301" y="148"/>
                    </a:lnTo>
                    <a:lnTo>
                      <a:pt x="300" y="148"/>
                    </a:lnTo>
                    <a:lnTo>
                      <a:pt x="298" y="148"/>
                    </a:lnTo>
                    <a:lnTo>
                      <a:pt x="298" y="150"/>
                    </a:lnTo>
                    <a:lnTo>
                      <a:pt x="296" y="150"/>
                    </a:lnTo>
                    <a:lnTo>
                      <a:pt x="296" y="152"/>
                    </a:lnTo>
                    <a:lnTo>
                      <a:pt x="296" y="154"/>
                    </a:lnTo>
                    <a:lnTo>
                      <a:pt x="296" y="156"/>
                    </a:lnTo>
                    <a:lnTo>
                      <a:pt x="298" y="156"/>
                    </a:lnTo>
                    <a:lnTo>
                      <a:pt x="300" y="158"/>
                    </a:lnTo>
                    <a:lnTo>
                      <a:pt x="300" y="156"/>
                    </a:lnTo>
                    <a:lnTo>
                      <a:pt x="301" y="156"/>
                    </a:lnTo>
                    <a:lnTo>
                      <a:pt x="301" y="158"/>
                    </a:lnTo>
                    <a:lnTo>
                      <a:pt x="301" y="160"/>
                    </a:lnTo>
                    <a:lnTo>
                      <a:pt x="301" y="162"/>
                    </a:lnTo>
                    <a:lnTo>
                      <a:pt x="301" y="164"/>
                    </a:lnTo>
                    <a:lnTo>
                      <a:pt x="301" y="166"/>
                    </a:lnTo>
                    <a:lnTo>
                      <a:pt x="301" y="167"/>
                    </a:lnTo>
                    <a:lnTo>
                      <a:pt x="301" y="169"/>
                    </a:lnTo>
                    <a:lnTo>
                      <a:pt x="300" y="169"/>
                    </a:lnTo>
                    <a:lnTo>
                      <a:pt x="300" y="171"/>
                    </a:lnTo>
                    <a:lnTo>
                      <a:pt x="300" y="173"/>
                    </a:lnTo>
                    <a:lnTo>
                      <a:pt x="300" y="175"/>
                    </a:lnTo>
                    <a:lnTo>
                      <a:pt x="298" y="177"/>
                    </a:lnTo>
                    <a:lnTo>
                      <a:pt x="296" y="177"/>
                    </a:lnTo>
                    <a:lnTo>
                      <a:pt x="294" y="177"/>
                    </a:lnTo>
                    <a:lnTo>
                      <a:pt x="292" y="177"/>
                    </a:lnTo>
                    <a:lnTo>
                      <a:pt x="290" y="177"/>
                    </a:lnTo>
                    <a:lnTo>
                      <a:pt x="290" y="175"/>
                    </a:lnTo>
                    <a:lnTo>
                      <a:pt x="288" y="175"/>
                    </a:lnTo>
                    <a:lnTo>
                      <a:pt x="286" y="175"/>
                    </a:lnTo>
                    <a:lnTo>
                      <a:pt x="286" y="177"/>
                    </a:lnTo>
                    <a:lnTo>
                      <a:pt x="286" y="175"/>
                    </a:lnTo>
                    <a:lnTo>
                      <a:pt x="286" y="177"/>
                    </a:lnTo>
                    <a:lnTo>
                      <a:pt x="286" y="179"/>
                    </a:lnTo>
                    <a:lnTo>
                      <a:pt x="284" y="179"/>
                    </a:lnTo>
                    <a:lnTo>
                      <a:pt x="284" y="181"/>
                    </a:lnTo>
                    <a:lnTo>
                      <a:pt x="282" y="181"/>
                    </a:lnTo>
                    <a:lnTo>
                      <a:pt x="280" y="181"/>
                    </a:lnTo>
                    <a:lnTo>
                      <a:pt x="278" y="181"/>
                    </a:lnTo>
                    <a:lnTo>
                      <a:pt x="278" y="183"/>
                    </a:lnTo>
                    <a:lnTo>
                      <a:pt x="277" y="181"/>
                    </a:lnTo>
                    <a:lnTo>
                      <a:pt x="277" y="179"/>
                    </a:lnTo>
                    <a:lnTo>
                      <a:pt x="275" y="179"/>
                    </a:lnTo>
                    <a:lnTo>
                      <a:pt x="275" y="177"/>
                    </a:lnTo>
                    <a:lnTo>
                      <a:pt x="273" y="177"/>
                    </a:lnTo>
                    <a:lnTo>
                      <a:pt x="271" y="177"/>
                    </a:lnTo>
                    <a:lnTo>
                      <a:pt x="271" y="175"/>
                    </a:lnTo>
                    <a:lnTo>
                      <a:pt x="269" y="175"/>
                    </a:lnTo>
                    <a:lnTo>
                      <a:pt x="267" y="175"/>
                    </a:lnTo>
                    <a:lnTo>
                      <a:pt x="269" y="175"/>
                    </a:lnTo>
                    <a:lnTo>
                      <a:pt x="267" y="175"/>
                    </a:lnTo>
                    <a:lnTo>
                      <a:pt x="269" y="175"/>
                    </a:lnTo>
                    <a:lnTo>
                      <a:pt x="267" y="177"/>
                    </a:lnTo>
                    <a:lnTo>
                      <a:pt x="267" y="179"/>
                    </a:lnTo>
                    <a:lnTo>
                      <a:pt x="267" y="177"/>
                    </a:lnTo>
                    <a:lnTo>
                      <a:pt x="265" y="177"/>
                    </a:lnTo>
                    <a:lnTo>
                      <a:pt x="265" y="179"/>
                    </a:lnTo>
                    <a:lnTo>
                      <a:pt x="263" y="179"/>
                    </a:lnTo>
                    <a:lnTo>
                      <a:pt x="265" y="179"/>
                    </a:lnTo>
                    <a:lnTo>
                      <a:pt x="265" y="181"/>
                    </a:lnTo>
                    <a:lnTo>
                      <a:pt x="267" y="181"/>
                    </a:lnTo>
                    <a:lnTo>
                      <a:pt x="265" y="181"/>
                    </a:lnTo>
                    <a:lnTo>
                      <a:pt x="265" y="183"/>
                    </a:lnTo>
                    <a:lnTo>
                      <a:pt x="263" y="183"/>
                    </a:lnTo>
                    <a:lnTo>
                      <a:pt x="263" y="185"/>
                    </a:lnTo>
                    <a:lnTo>
                      <a:pt x="263" y="187"/>
                    </a:lnTo>
                    <a:lnTo>
                      <a:pt x="265" y="189"/>
                    </a:lnTo>
                    <a:lnTo>
                      <a:pt x="263" y="191"/>
                    </a:lnTo>
                    <a:lnTo>
                      <a:pt x="261" y="191"/>
                    </a:lnTo>
                    <a:lnTo>
                      <a:pt x="259" y="192"/>
                    </a:lnTo>
                    <a:lnTo>
                      <a:pt x="261" y="192"/>
                    </a:lnTo>
                    <a:lnTo>
                      <a:pt x="261" y="194"/>
                    </a:lnTo>
                    <a:lnTo>
                      <a:pt x="259" y="194"/>
                    </a:lnTo>
                    <a:lnTo>
                      <a:pt x="259" y="196"/>
                    </a:lnTo>
                    <a:lnTo>
                      <a:pt x="259" y="198"/>
                    </a:lnTo>
                    <a:lnTo>
                      <a:pt x="257" y="200"/>
                    </a:lnTo>
                    <a:lnTo>
                      <a:pt x="255" y="200"/>
                    </a:lnTo>
                    <a:lnTo>
                      <a:pt x="255" y="198"/>
                    </a:lnTo>
                    <a:lnTo>
                      <a:pt x="253" y="200"/>
                    </a:lnTo>
                    <a:lnTo>
                      <a:pt x="253" y="202"/>
                    </a:lnTo>
                    <a:lnTo>
                      <a:pt x="252" y="202"/>
                    </a:lnTo>
                    <a:lnTo>
                      <a:pt x="250" y="202"/>
                    </a:lnTo>
                    <a:lnTo>
                      <a:pt x="250" y="204"/>
                    </a:lnTo>
                    <a:lnTo>
                      <a:pt x="250" y="206"/>
                    </a:lnTo>
                    <a:lnTo>
                      <a:pt x="248" y="206"/>
                    </a:lnTo>
                    <a:lnTo>
                      <a:pt x="248" y="208"/>
                    </a:lnTo>
                    <a:lnTo>
                      <a:pt x="248" y="210"/>
                    </a:lnTo>
                    <a:lnTo>
                      <a:pt x="248" y="212"/>
                    </a:lnTo>
                    <a:lnTo>
                      <a:pt x="246" y="212"/>
                    </a:lnTo>
                    <a:lnTo>
                      <a:pt x="246" y="210"/>
                    </a:lnTo>
                    <a:lnTo>
                      <a:pt x="244" y="210"/>
                    </a:lnTo>
                    <a:lnTo>
                      <a:pt x="242" y="210"/>
                    </a:lnTo>
                    <a:lnTo>
                      <a:pt x="242" y="212"/>
                    </a:lnTo>
                    <a:lnTo>
                      <a:pt x="242" y="210"/>
                    </a:lnTo>
                    <a:lnTo>
                      <a:pt x="240" y="210"/>
                    </a:lnTo>
                    <a:lnTo>
                      <a:pt x="240" y="212"/>
                    </a:lnTo>
                    <a:lnTo>
                      <a:pt x="240" y="214"/>
                    </a:lnTo>
                    <a:lnTo>
                      <a:pt x="238" y="214"/>
                    </a:lnTo>
                    <a:lnTo>
                      <a:pt x="238" y="216"/>
                    </a:lnTo>
                    <a:lnTo>
                      <a:pt x="236" y="216"/>
                    </a:lnTo>
                    <a:lnTo>
                      <a:pt x="236" y="214"/>
                    </a:lnTo>
                    <a:lnTo>
                      <a:pt x="236" y="212"/>
                    </a:lnTo>
                    <a:lnTo>
                      <a:pt x="234" y="212"/>
                    </a:lnTo>
                    <a:lnTo>
                      <a:pt x="232" y="214"/>
                    </a:lnTo>
                    <a:lnTo>
                      <a:pt x="230" y="212"/>
                    </a:lnTo>
                    <a:lnTo>
                      <a:pt x="230" y="214"/>
                    </a:lnTo>
                    <a:lnTo>
                      <a:pt x="228" y="214"/>
                    </a:lnTo>
                    <a:lnTo>
                      <a:pt x="228" y="216"/>
                    </a:lnTo>
                    <a:lnTo>
                      <a:pt x="227" y="217"/>
                    </a:lnTo>
                    <a:lnTo>
                      <a:pt x="225" y="217"/>
                    </a:lnTo>
                    <a:lnTo>
                      <a:pt x="223" y="217"/>
                    </a:lnTo>
                    <a:lnTo>
                      <a:pt x="221" y="217"/>
                    </a:lnTo>
                    <a:lnTo>
                      <a:pt x="219" y="219"/>
                    </a:lnTo>
                    <a:lnTo>
                      <a:pt x="217" y="221"/>
                    </a:lnTo>
                    <a:lnTo>
                      <a:pt x="217" y="223"/>
                    </a:lnTo>
                    <a:lnTo>
                      <a:pt x="215" y="223"/>
                    </a:lnTo>
                    <a:lnTo>
                      <a:pt x="213" y="223"/>
                    </a:lnTo>
                    <a:lnTo>
                      <a:pt x="211" y="223"/>
                    </a:lnTo>
                    <a:lnTo>
                      <a:pt x="211" y="225"/>
                    </a:lnTo>
                    <a:lnTo>
                      <a:pt x="209" y="225"/>
                    </a:lnTo>
                    <a:lnTo>
                      <a:pt x="209" y="227"/>
                    </a:lnTo>
                    <a:lnTo>
                      <a:pt x="207" y="227"/>
                    </a:lnTo>
                    <a:lnTo>
                      <a:pt x="205" y="225"/>
                    </a:lnTo>
                    <a:lnTo>
                      <a:pt x="204" y="225"/>
                    </a:lnTo>
                    <a:lnTo>
                      <a:pt x="202" y="227"/>
                    </a:lnTo>
                    <a:lnTo>
                      <a:pt x="200" y="229"/>
                    </a:lnTo>
                    <a:lnTo>
                      <a:pt x="200" y="231"/>
                    </a:lnTo>
                    <a:lnTo>
                      <a:pt x="198" y="233"/>
                    </a:lnTo>
                    <a:lnTo>
                      <a:pt x="198" y="235"/>
                    </a:lnTo>
                    <a:lnTo>
                      <a:pt x="198" y="237"/>
                    </a:lnTo>
                    <a:lnTo>
                      <a:pt x="196" y="239"/>
                    </a:lnTo>
                    <a:lnTo>
                      <a:pt x="196" y="237"/>
                    </a:lnTo>
                    <a:lnTo>
                      <a:pt x="196" y="235"/>
                    </a:lnTo>
                    <a:lnTo>
                      <a:pt x="194" y="235"/>
                    </a:lnTo>
                    <a:lnTo>
                      <a:pt x="194" y="233"/>
                    </a:lnTo>
                    <a:lnTo>
                      <a:pt x="194" y="235"/>
                    </a:lnTo>
                    <a:lnTo>
                      <a:pt x="192" y="235"/>
                    </a:lnTo>
                    <a:lnTo>
                      <a:pt x="192" y="233"/>
                    </a:lnTo>
                    <a:lnTo>
                      <a:pt x="192" y="235"/>
                    </a:lnTo>
                    <a:lnTo>
                      <a:pt x="192" y="237"/>
                    </a:lnTo>
                    <a:lnTo>
                      <a:pt x="190" y="237"/>
                    </a:lnTo>
                    <a:lnTo>
                      <a:pt x="190" y="239"/>
                    </a:lnTo>
                    <a:lnTo>
                      <a:pt x="192" y="239"/>
                    </a:lnTo>
                    <a:lnTo>
                      <a:pt x="192" y="240"/>
                    </a:lnTo>
                    <a:lnTo>
                      <a:pt x="194" y="240"/>
                    </a:lnTo>
                    <a:lnTo>
                      <a:pt x="194" y="242"/>
                    </a:lnTo>
                    <a:lnTo>
                      <a:pt x="196" y="242"/>
                    </a:lnTo>
                    <a:lnTo>
                      <a:pt x="196" y="244"/>
                    </a:lnTo>
                    <a:lnTo>
                      <a:pt x="198" y="244"/>
                    </a:lnTo>
                    <a:lnTo>
                      <a:pt x="200" y="244"/>
                    </a:lnTo>
                    <a:lnTo>
                      <a:pt x="200" y="246"/>
                    </a:lnTo>
                    <a:lnTo>
                      <a:pt x="200" y="244"/>
                    </a:lnTo>
                    <a:lnTo>
                      <a:pt x="202" y="244"/>
                    </a:lnTo>
                    <a:lnTo>
                      <a:pt x="202" y="246"/>
                    </a:lnTo>
                    <a:lnTo>
                      <a:pt x="202" y="244"/>
                    </a:lnTo>
                    <a:lnTo>
                      <a:pt x="204" y="244"/>
                    </a:lnTo>
                    <a:lnTo>
                      <a:pt x="204" y="246"/>
                    </a:lnTo>
                    <a:lnTo>
                      <a:pt x="205" y="248"/>
                    </a:lnTo>
                    <a:lnTo>
                      <a:pt x="207" y="248"/>
                    </a:lnTo>
                    <a:lnTo>
                      <a:pt x="207" y="250"/>
                    </a:lnTo>
                    <a:lnTo>
                      <a:pt x="209" y="250"/>
                    </a:lnTo>
                    <a:lnTo>
                      <a:pt x="207" y="252"/>
                    </a:lnTo>
                    <a:lnTo>
                      <a:pt x="207" y="254"/>
                    </a:lnTo>
                    <a:lnTo>
                      <a:pt x="205" y="254"/>
                    </a:lnTo>
                    <a:lnTo>
                      <a:pt x="205" y="256"/>
                    </a:lnTo>
                    <a:lnTo>
                      <a:pt x="207" y="256"/>
                    </a:lnTo>
                    <a:lnTo>
                      <a:pt x="209" y="256"/>
                    </a:lnTo>
                    <a:lnTo>
                      <a:pt x="209" y="258"/>
                    </a:lnTo>
                    <a:lnTo>
                      <a:pt x="211" y="258"/>
                    </a:lnTo>
                    <a:lnTo>
                      <a:pt x="211" y="260"/>
                    </a:lnTo>
                    <a:lnTo>
                      <a:pt x="209" y="262"/>
                    </a:lnTo>
                    <a:lnTo>
                      <a:pt x="207" y="262"/>
                    </a:lnTo>
                    <a:lnTo>
                      <a:pt x="207" y="264"/>
                    </a:lnTo>
                    <a:lnTo>
                      <a:pt x="207" y="265"/>
                    </a:lnTo>
                    <a:lnTo>
                      <a:pt x="207" y="267"/>
                    </a:lnTo>
                    <a:lnTo>
                      <a:pt x="205" y="267"/>
                    </a:lnTo>
                    <a:lnTo>
                      <a:pt x="204" y="267"/>
                    </a:lnTo>
                    <a:lnTo>
                      <a:pt x="204" y="265"/>
                    </a:lnTo>
                    <a:lnTo>
                      <a:pt x="202" y="267"/>
                    </a:lnTo>
                    <a:lnTo>
                      <a:pt x="200" y="267"/>
                    </a:lnTo>
                    <a:lnTo>
                      <a:pt x="198" y="267"/>
                    </a:lnTo>
                    <a:lnTo>
                      <a:pt x="196" y="267"/>
                    </a:lnTo>
                    <a:lnTo>
                      <a:pt x="194" y="267"/>
                    </a:lnTo>
                    <a:lnTo>
                      <a:pt x="192" y="269"/>
                    </a:lnTo>
                    <a:lnTo>
                      <a:pt x="192" y="267"/>
                    </a:lnTo>
                    <a:lnTo>
                      <a:pt x="190" y="267"/>
                    </a:lnTo>
                    <a:lnTo>
                      <a:pt x="190" y="265"/>
                    </a:lnTo>
                    <a:lnTo>
                      <a:pt x="188" y="264"/>
                    </a:lnTo>
                    <a:lnTo>
                      <a:pt x="188" y="262"/>
                    </a:lnTo>
                    <a:lnTo>
                      <a:pt x="188" y="260"/>
                    </a:lnTo>
                    <a:lnTo>
                      <a:pt x="188" y="258"/>
                    </a:lnTo>
                    <a:lnTo>
                      <a:pt x="186" y="256"/>
                    </a:lnTo>
                    <a:lnTo>
                      <a:pt x="186" y="254"/>
                    </a:lnTo>
                    <a:lnTo>
                      <a:pt x="184" y="254"/>
                    </a:lnTo>
                    <a:lnTo>
                      <a:pt x="184" y="252"/>
                    </a:lnTo>
                    <a:lnTo>
                      <a:pt x="182" y="250"/>
                    </a:lnTo>
                    <a:lnTo>
                      <a:pt x="180" y="250"/>
                    </a:lnTo>
                    <a:lnTo>
                      <a:pt x="180" y="248"/>
                    </a:lnTo>
                    <a:lnTo>
                      <a:pt x="179" y="248"/>
                    </a:lnTo>
                    <a:lnTo>
                      <a:pt x="179" y="246"/>
                    </a:lnTo>
                    <a:lnTo>
                      <a:pt x="177" y="246"/>
                    </a:lnTo>
                    <a:lnTo>
                      <a:pt x="177" y="244"/>
                    </a:lnTo>
                    <a:lnTo>
                      <a:pt x="177" y="246"/>
                    </a:lnTo>
                    <a:lnTo>
                      <a:pt x="175" y="244"/>
                    </a:lnTo>
                    <a:lnTo>
                      <a:pt x="173" y="244"/>
                    </a:lnTo>
                    <a:lnTo>
                      <a:pt x="171" y="242"/>
                    </a:lnTo>
                    <a:lnTo>
                      <a:pt x="171" y="240"/>
                    </a:lnTo>
                    <a:lnTo>
                      <a:pt x="169" y="240"/>
                    </a:lnTo>
                    <a:lnTo>
                      <a:pt x="167" y="240"/>
                    </a:lnTo>
                    <a:lnTo>
                      <a:pt x="165" y="240"/>
                    </a:lnTo>
                    <a:lnTo>
                      <a:pt x="163" y="240"/>
                    </a:lnTo>
                    <a:lnTo>
                      <a:pt x="161" y="240"/>
                    </a:lnTo>
                    <a:lnTo>
                      <a:pt x="161" y="239"/>
                    </a:lnTo>
                    <a:lnTo>
                      <a:pt x="159" y="239"/>
                    </a:lnTo>
                    <a:lnTo>
                      <a:pt x="159" y="242"/>
                    </a:lnTo>
                    <a:lnTo>
                      <a:pt x="157" y="244"/>
                    </a:lnTo>
                    <a:lnTo>
                      <a:pt x="155" y="244"/>
                    </a:lnTo>
                    <a:lnTo>
                      <a:pt x="155" y="246"/>
                    </a:lnTo>
                    <a:lnTo>
                      <a:pt x="154" y="246"/>
                    </a:lnTo>
                    <a:lnTo>
                      <a:pt x="154" y="248"/>
                    </a:lnTo>
                    <a:lnTo>
                      <a:pt x="152" y="246"/>
                    </a:lnTo>
                    <a:lnTo>
                      <a:pt x="150" y="246"/>
                    </a:lnTo>
                    <a:lnTo>
                      <a:pt x="150" y="244"/>
                    </a:lnTo>
                    <a:lnTo>
                      <a:pt x="148" y="244"/>
                    </a:lnTo>
                    <a:lnTo>
                      <a:pt x="146" y="244"/>
                    </a:lnTo>
                    <a:lnTo>
                      <a:pt x="144" y="246"/>
                    </a:lnTo>
                    <a:lnTo>
                      <a:pt x="144" y="248"/>
                    </a:lnTo>
                    <a:lnTo>
                      <a:pt x="144" y="250"/>
                    </a:lnTo>
                    <a:lnTo>
                      <a:pt x="144" y="252"/>
                    </a:lnTo>
                    <a:lnTo>
                      <a:pt x="142" y="252"/>
                    </a:lnTo>
                    <a:lnTo>
                      <a:pt x="140" y="252"/>
                    </a:lnTo>
                    <a:lnTo>
                      <a:pt x="138" y="256"/>
                    </a:lnTo>
                    <a:lnTo>
                      <a:pt x="136" y="254"/>
                    </a:lnTo>
                    <a:lnTo>
                      <a:pt x="136" y="256"/>
                    </a:lnTo>
                    <a:lnTo>
                      <a:pt x="134" y="256"/>
                    </a:lnTo>
                    <a:lnTo>
                      <a:pt x="134" y="254"/>
                    </a:lnTo>
                    <a:lnTo>
                      <a:pt x="132" y="254"/>
                    </a:lnTo>
                    <a:lnTo>
                      <a:pt x="130" y="252"/>
                    </a:lnTo>
                    <a:lnTo>
                      <a:pt x="129" y="252"/>
                    </a:lnTo>
                    <a:lnTo>
                      <a:pt x="129" y="254"/>
                    </a:lnTo>
                    <a:lnTo>
                      <a:pt x="129" y="252"/>
                    </a:lnTo>
                    <a:lnTo>
                      <a:pt x="127" y="252"/>
                    </a:lnTo>
                    <a:lnTo>
                      <a:pt x="127" y="254"/>
                    </a:lnTo>
                    <a:lnTo>
                      <a:pt x="125" y="254"/>
                    </a:lnTo>
                    <a:lnTo>
                      <a:pt x="123" y="254"/>
                    </a:lnTo>
                    <a:lnTo>
                      <a:pt x="121" y="252"/>
                    </a:lnTo>
                    <a:lnTo>
                      <a:pt x="119" y="252"/>
                    </a:lnTo>
                    <a:lnTo>
                      <a:pt x="119" y="250"/>
                    </a:lnTo>
                    <a:lnTo>
                      <a:pt x="117" y="250"/>
                    </a:lnTo>
                    <a:lnTo>
                      <a:pt x="115" y="248"/>
                    </a:lnTo>
                    <a:lnTo>
                      <a:pt x="113" y="248"/>
                    </a:lnTo>
                    <a:lnTo>
                      <a:pt x="111" y="250"/>
                    </a:lnTo>
                    <a:lnTo>
                      <a:pt x="109" y="250"/>
                    </a:lnTo>
                    <a:lnTo>
                      <a:pt x="109" y="248"/>
                    </a:lnTo>
                    <a:lnTo>
                      <a:pt x="109" y="246"/>
                    </a:lnTo>
                    <a:lnTo>
                      <a:pt x="109" y="248"/>
                    </a:lnTo>
                    <a:lnTo>
                      <a:pt x="107" y="250"/>
                    </a:lnTo>
                    <a:lnTo>
                      <a:pt x="102" y="250"/>
                    </a:lnTo>
                    <a:lnTo>
                      <a:pt x="100" y="250"/>
                    </a:lnTo>
                    <a:lnTo>
                      <a:pt x="98" y="250"/>
                    </a:lnTo>
                    <a:lnTo>
                      <a:pt x="98" y="248"/>
                    </a:lnTo>
                    <a:lnTo>
                      <a:pt x="98" y="246"/>
                    </a:lnTo>
                    <a:lnTo>
                      <a:pt x="100" y="244"/>
                    </a:lnTo>
                    <a:lnTo>
                      <a:pt x="100" y="242"/>
                    </a:lnTo>
                    <a:lnTo>
                      <a:pt x="98" y="242"/>
                    </a:lnTo>
                    <a:lnTo>
                      <a:pt x="98" y="240"/>
                    </a:lnTo>
                    <a:lnTo>
                      <a:pt x="98" y="239"/>
                    </a:lnTo>
                    <a:lnTo>
                      <a:pt x="98" y="237"/>
                    </a:lnTo>
                    <a:lnTo>
                      <a:pt x="98" y="235"/>
                    </a:lnTo>
                    <a:lnTo>
                      <a:pt x="96" y="235"/>
                    </a:lnTo>
                    <a:lnTo>
                      <a:pt x="96" y="233"/>
                    </a:lnTo>
                    <a:lnTo>
                      <a:pt x="94" y="233"/>
                    </a:lnTo>
                    <a:lnTo>
                      <a:pt x="92" y="235"/>
                    </a:lnTo>
                    <a:lnTo>
                      <a:pt x="92" y="233"/>
                    </a:lnTo>
                    <a:lnTo>
                      <a:pt x="90" y="235"/>
                    </a:lnTo>
                    <a:lnTo>
                      <a:pt x="88" y="235"/>
                    </a:lnTo>
                    <a:lnTo>
                      <a:pt x="86" y="235"/>
                    </a:lnTo>
                    <a:lnTo>
                      <a:pt x="84" y="235"/>
                    </a:lnTo>
                    <a:lnTo>
                      <a:pt x="86" y="233"/>
                    </a:lnTo>
                    <a:lnTo>
                      <a:pt x="86" y="231"/>
                    </a:lnTo>
                    <a:lnTo>
                      <a:pt x="86" y="229"/>
                    </a:lnTo>
                    <a:lnTo>
                      <a:pt x="88" y="227"/>
                    </a:lnTo>
                    <a:lnTo>
                      <a:pt x="90" y="225"/>
                    </a:lnTo>
                    <a:lnTo>
                      <a:pt x="92" y="221"/>
                    </a:lnTo>
                    <a:lnTo>
                      <a:pt x="92" y="219"/>
                    </a:lnTo>
                    <a:lnTo>
                      <a:pt x="92" y="217"/>
                    </a:lnTo>
                    <a:lnTo>
                      <a:pt x="90" y="217"/>
                    </a:lnTo>
                    <a:lnTo>
                      <a:pt x="90" y="216"/>
                    </a:lnTo>
                    <a:lnTo>
                      <a:pt x="90" y="217"/>
                    </a:lnTo>
                    <a:lnTo>
                      <a:pt x="88" y="217"/>
                    </a:lnTo>
                    <a:lnTo>
                      <a:pt x="86" y="217"/>
                    </a:lnTo>
                    <a:lnTo>
                      <a:pt x="82" y="216"/>
                    </a:lnTo>
                    <a:lnTo>
                      <a:pt x="84" y="212"/>
                    </a:lnTo>
                    <a:lnTo>
                      <a:pt x="82" y="212"/>
                    </a:lnTo>
                    <a:lnTo>
                      <a:pt x="81" y="212"/>
                    </a:lnTo>
                    <a:lnTo>
                      <a:pt x="81" y="210"/>
                    </a:lnTo>
                    <a:lnTo>
                      <a:pt x="79" y="210"/>
                    </a:lnTo>
                    <a:lnTo>
                      <a:pt x="75" y="206"/>
                    </a:lnTo>
                    <a:lnTo>
                      <a:pt x="73" y="210"/>
                    </a:lnTo>
                    <a:lnTo>
                      <a:pt x="73" y="214"/>
                    </a:lnTo>
                    <a:lnTo>
                      <a:pt x="69" y="214"/>
                    </a:lnTo>
                    <a:lnTo>
                      <a:pt x="67" y="214"/>
                    </a:lnTo>
                    <a:lnTo>
                      <a:pt x="65" y="214"/>
                    </a:lnTo>
                    <a:lnTo>
                      <a:pt x="65" y="216"/>
                    </a:lnTo>
                    <a:lnTo>
                      <a:pt x="65" y="219"/>
                    </a:lnTo>
                    <a:lnTo>
                      <a:pt x="65" y="229"/>
                    </a:lnTo>
                    <a:lnTo>
                      <a:pt x="63" y="231"/>
                    </a:lnTo>
                    <a:lnTo>
                      <a:pt x="61" y="229"/>
                    </a:lnTo>
                    <a:lnTo>
                      <a:pt x="59" y="233"/>
                    </a:lnTo>
                    <a:lnTo>
                      <a:pt x="59" y="231"/>
                    </a:lnTo>
                    <a:lnTo>
                      <a:pt x="57" y="233"/>
                    </a:lnTo>
                    <a:lnTo>
                      <a:pt x="56" y="233"/>
                    </a:lnTo>
                    <a:lnTo>
                      <a:pt x="54" y="233"/>
                    </a:lnTo>
                    <a:lnTo>
                      <a:pt x="54" y="237"/>
                    </a:lnTo>
                    <a:lnTo>
                      <a:pt x="52" y="237"/>
                    </a:lnTo>
                    <a:lnTo>
                      <a:pt x="52" y="239"/>
                    </a:lnTo>
                    <a:lnTo>
                      <a:pt x="48" y="237"/>
                    </a:lnTo>
                    <a:lnTo>
                      <a:pt x="50" y="235"/>
                    </a:lnTo>
                    <a:lnTo>
                      <a:pt x="48" y="235"/>
                    </a:lnTo>
                    <a:lnTo>
                      <a:pt x="48" y="237"/>
                    </a:lnTo>
                    <a:lnTo>
                      <a:pt x="48" y="240"/>
                    </a:lnTo>
                    <a:lnTo>
                      <a:pt x="48" y="244"/>
                    </a:lnTo>
                    <a:lnTo>
                      <a:pt x="42" y="216"/>
                    </a:lnTo>
                    <a:lnTo>
                      <a:pt x="36" y="191"/>
                    </a:lnTo>
                    <a:lnTo>
                      <a:pt x="33" y="173"/>
                    </a:lnTo>
                    <a:lnTo>
                      <a:pt x="31" y="167"/>
                    </a:lnTo>
                    <a:lnTo>
                      <a:pt x="31" y="164"/>
                    </a:lnTo>
                    <a:lnTo>
                      <a:pt x="29" y="158"/>
                    </a:lnTo>
                    <a:lnTo>
                      <a:pt x="27" y="154"/>
                    </a:lnTo>
                    <a:lnTo>
                      <a:pt x="19" y="127"/>
                    </a:lnTo>
                    <a:lnTo>
                      <a:pt x="17" y="119"/>
                    </a:lnTo>
                    <a:lnTo>
                      <a:pt x="13" y="104"/>
                    </a:lnTo>
                    <a:lnTo>
                      <a:pt x="9" y="87"/>
                    </a:lnTo>
                    <a:lnTo>
                      <a:pt x="8" y="81"/>
                    </a:lnTo>
                    <a:lnTo>
                      <a:pt x="4" y="71"/>
                    </a:lnTo>
                    <a:lnTo>
                      <a:pt x="2" y="64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2" y="52"/>
                    </a:lnTo>
                    <a:lnTo>
                      <a:pt x="2" y="50"/>
                    </a:lnTo>
                    <a:lnTo>
                      <a:pt x="4" y="50"/>
                    </a:lnTo>
                    <a:lnTo>
                      <a:pt x="2" y="50"/>
                    </a:lnTo>
                    <a:lnTo>
                      <a:pt x="2" y="48"/>
                    </a:lnTo>
                    <a:lnTo>
                      <a:pt x="2" y="46"/>
                    </a:lnTo>
                    <a:lnTo>
                      <a:pt x="4" y="46"/>
                    </a:lnTo>
                    <a:lnTo>
                      <a:pt x="6" y="46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6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4" y="41"/>
                    </a:lnTo>
                    <a:lnTo>
                      <a:pt x="4" y="39"/>
                    </a:lnTo>
                    <a:lnTo>
                      <a:pt x="4" y="37"/>
                    </a:lnTo>
                    <a:lnTo>
                      <a:pt x="6" y="37"/>
                    </a:lnTo>
                    <a:lnTo>
                      <a:pt x="8" y="39"/>
                    </a:lnTo>
                    <a:lnTo>
                      <a:pt x="9" y="39"/>
                    </a:lnTo>
                    <a:lnTo>
                      <a:pt x="11" y="39"/>
                    </a:lnTo>
                    <a:lnTo>
                      <a:pt x="11" y="37"/>
                    </a:lnTo>
                    <a:lnTo>
                      <a:pt x="11" y="35"/>
                    </a:lnTo>
                    <a:lnTo>
                      <a:pt x="13" y="37"/>
                    </a:lnTo>
                    <a:lnTo>
                      <a:pt x="15" y="37"/>
                    </a:lnTo>
                    <a:lnTo>
                      <a:pt x="15" y="39"/>
                    </a:lnTo>
                    <a:lnTo>
                      <a:pt x="13" y="41"/>
                    </a:lnTo>
                    <a:lnTo>
                      <a:pt x="13" y="42"/>
                    </a:lnTo>
                    <a:lnTo>
                      <a:pt x="15" y="42"/>
                    </a:lnTo>
                    <a:lnTo>
                      <a:pt x="15" y="44"/>
                    </a:lnTo>
                    <a:lnTo>
                      <a:pt x="13" y="44"/>
                    </a:lnTo>
                    <a:lnTo>
                      <a:pt x="15" y="44"/>
                    </a:lnTo>
                    <a:lnTo>
                      <a:pt x="15" y="46"/>
                    </a:lnTo>
                    <a:lnTo>
                      <a:pt x="15" y="44"/>
                    </a:lnTo>
                    <a:lnTo>
                      <a:pt x="17" y="46"/>
                    </a:lnTo>
                    <a:lnTo>
                      <a:pt x="19" y="46"/>
                    </a:lnTo>
                    <a:lnTo>
                      <a:pt x="21" y="44"/>
                    </a:lnTo>
                    <a:lnTo>
                      <a:pt x="23" y="44"/>
                    </a:lnTo>
                    <a:lnTo>
                      <a:pt x="25" y="44"/>
                    </a:lnTo>
                    <a:lnTo>
                      <a:pt x="23" y="44"/>
                    </a:lnTo>
                    <a:lnTo>
                      <a:pt x="25" y="44"/>
                    </a:lnTo>
                    <a:lnTo>
                      <a:pt x="25" y="46"/>
                    </a:lnTo>
                    <a:lnTo>
                      <a:pt x="27" y="46"/>
                    </a:lnTo>
                    <a:lnTo>
                      <a:pt x="29" y="44"/>
                    </a:lnTo>
                    <a:lnTo>
                      <a:pt x="29" y="42"/>
                    </a:lnTo>
                    <a:lnTo>
                      <a:pt x="29" y="41"/>
                    </a:lnTo>
                    <a:lnTo>
                      <a:pt x="29" y="37"/>
                    </a:lnTo>
                    <a:lnTo>
                      <a:pt x="31" y="37"/>
                    </a:lnTo>
                    <a:lnTo>
                      <a:pt x="31" y="39"/>
                    </a:lnTo>
                    <a:lnTo>
                      <a:pt x="34" y="37"/>
                    </a:lnTo>
                    <a:lnTo>
                      <a:pt x="38" y="37"/>
                    </a:lnTo>
                    <a:lnTo>
                      <a:pt x="40" y="37"/>
                    </a:lnTo>
                    <a:lnTo>
                      <a:pt x="42" y="39"/>
                    </a:lnTo>
                    <a:lnTo>
                      <a:pt x="44" y="37"/>
                    </a:lnTo>
                    <a:lnTo>
                      <a:pt x="46" y="37"/>
                    </a:lnTo>
                    <a:lnTo>
                      <a:pt x="50" y="39"/>
                    </a:lnTo>
                    <a:lnTo>
                      <a:pt x="52" y="37"/>
                    </a:lnTo>
                    <a:lnTo>
                      <a:pt x="54" y="37"/>
                    </a:lnTo>
                    <a:lnTo>
                      <a:pt x="56" y="37"/>
                    </a:lnTo>
                    <a:lnTo>
                      <a:pt x="56" y="39"/>
                    </a:lnTo>
                    <a:lnTo>
                      <a:pt x="63" y="35"/>
                    </a:lnTo>
                    <a:lnTo>
                      <a:pt x="65" y="33"/>
                    </a:lnTo>
                    <a:lnTo>
                      <a:pt x="63" y="33"/>
                    </a:lnTo>
                    <a:lnTo>
                      <a:pt x="67" y="31"/>
                    </a:lnTo>
                    <a:lnTo>
                      <a:pt x="69" y="31"/>
                    </a:lnTo>
                    <a:lnTo>
                      <a:pt x="73" y="31"/>
                    </a:lnTo>
                    <a:lnTo>
                      <a:pt x="73" y="27"/>
                    </a:lnTo>
                    <a:lnTo>
                      <a:pt x="73" y="25"/>
                    </a:lnTo>
                    <a:lnTo>
                      <a:pt x="75" y="25"/>
                    </a:lnTo>
                    <a:lnTo>
                      <a:pt x="79" y="23"/>
                    </a:lnTo>
                    <a:lnTo>
                      <a:pt x="81" y="23"/>
                    </a:lnTo>
                    <a:lnTo>
                      <a:pt x="79" y="23"/>
                    </a:lnTo>
                    <a:lnTo>
                      <a:pt x="81" y="21"/>
                    </a:lnTo>
                    <a:lnTo>
                      <a:pt x="82" y="21"/>
                    </a:lnTo>
                    <a:lnTo>
                      <a:pt x="81" y="19"/>
                    </a:lnTo>
                    <a:lnTo>
                      <a:pt x="81" y="17"/>
                    </a:lnTo>
                    <a:lnTo>
                      <a:pt x="86" y="16"/>
                    </a:lnTo>
                    <a:lnTo>
                      <a:pt x="86" y="17"/>
                    </a:lnTo>
                    <a:lnTo>
                      <a:pt x="86" y="19"/>
                    </a:lnTo>
                    <a:lnTo>
                      <a:pt x="90" y="17"/>
                    </a:lnTo>
                    <a:lnTo>
                      <a:pt x="92" y="17"/>
                    </a:lnTo>
                    <a:lnTo>
                      <a:pt x="92" y="16"/>
                    </a:lnTo>
                    <a:lnTo>
                      <a:pt x="94" y="16"/>
                    </a:lnTo>
                    <a:lnTo>
                      <a:pt x="96" y="16"/>
                    </a:lnTo>
                    <a:lnTo>
                      <a:pt x="100" y="16"/>
                    </a:lnTo>
                    <a:lnTo>
                      <a:pt x="98" y="14"/>
                    </a:lnTo>
                    <a:lnTo>
                      <a:pt x="98" y="12"/>
                    </a:lnTo>
                    <a:lnTo>
                      <a:pt x="100" y="12"/>
                    </a:lnTo>
                    <a:lnTo>
                      <a:pt x="102" y="10"/>
                    </a:lnTo>
                    <a:lnTo>
                      <a:pt x="104" y="10"/>
                    </a:lnTo>
                    <a:lnTo>
                      <a:pt x="106" y="8"/>
                    </a:lnTo>
                    <a:lnTo>
                      <a:pt x="107" y="8"/>
                    </a:lnTo>
                    <a:lnTo>
                      <a:pt x="109" y="6"/>
                    </a:lnTo>
                    <a:lnTo>
                      <a:pt x="109" y="8"/>
                    </a:lnTo>
                    <a:lnTo>
                      <a:pt x="111" y="8"/>
                    </a:lnTo>
                    <a:lnTo>
                      <a:pt x="111" y="6"/>
                    </a:lnTo>
                    <a:lnTo>
                      <a:pt x="109" y="2"/>
                    </a:lnTo>
                    <a:lnTo>
                      <a:pt x="109" y="0"/>
                    </a:lnTo>
                    <a:lnTo>
                      <a:pt x="113" y="0"/>
                    </a:lnTo>
                    <a:lnTo>
                      <a:pt x="115" y="0"/>
                    </a:lnTo>
                    <a:lnTo>
                      <a:pt x="115" y="2"/>
                    </a:lnTo>
                    <a:lnTo>
                      <a:pt x="115" y="4"/>
                    </a:lnTo>
                    <a:lnTo>
                      <a:pt x="115" y="6"/>
                    </a:lnTo>
                    <a:lnTo>
                      <a:pt x="115" y="8"/>
                    </a:lnTo>
                    <a:lnTo>
                      <a:pt x="117" y="10"/>
                    </a:lnTo>
                    <a:lnTo>
                      <a:pt x="117" y="12"/>
                    </a:lnTo>
                    <a:lnTo>
                      <a:pt x="119" y="14"/>
                    </a:lnTo>
                    <a:lnTo>
                      <a:pt x="119" y="16"/>
                    </a:lnTo>
                    <a:lnTo>
                      <a:pt x="119" y="17"/>
                    </a:lnTo>
                    <a:lnTo>
                      <a:pt x="119" y="19"/>
                    </a:lnTo>
                    <a:lnTo>
                      <a:pt x="121" y="19"/>
                    </a:lnTo>
                    <a:lnTo>
                      <a:pt x="123" y="21"/>
                    </a:lnTo>
                    <a:lnTo>
                      <a:pt x="125" y="21"/>
                    </a:lnTo>
                    <a:lnTo>
                      <a:pt x="125" y="23"/>
                    </a:lnTo>
                    <a:lnTo>
                      <a:pt x="129" y="21"/>
                    </a:lnTo>
                    <a:lnTo>
                      <a:pt x="130" y="23"/>
                    </a:lnTo>
                    <a:lnTo>
                      <a:pt x="130" y="25"/>
                    </a:lnTo>
                    <a:lnTo>
                      <a:pt x="130" y="27"/>
                    </a:lnTo>
                    <a:lnTo>
                      <a:pt x="132" y="27"/>
                    </a:lnTo>
                    <a:lnTo>
                      <a:pt x="132" y="29"/>
                    </a:lnTo>
                    <a:lnTo>
                      <a:pt x="132" y="31"/>
                    </a:lnTo>
                    <a:lnTo>
                      <a:pt x="130" y="31"/>
                    </a:lnTo>
                    <a:lnTo>
                      <a:pt x="130" y="33"/>
                    </a:lnTo>
                    <a:lnTo>
                      <a:pt x="130" y="35"/>
                    </a:lnTo>
                    <a:lnTo>
                      <a:pt x="130" y="33"/>
                    </a:lnTo>
                    <a:lnTo>
                      <a:pt x="132" y="33"/>
                    </a:lnTo>
                    <a:lnTo>
                      <a:pt x="134" y="31"/>
                    </a:lnTo>
                    <a:lnTo>
                      <a:pt x="134" y="29"/>
                    </a:lnTo>
                    <a:lnTo>
                      <a:pt x="136" y="29"/>
                    </a:lnTo>
                    <a:lnTo>
                      <a:pt x="138" y="33"/>
                    </a:lnTo>
                    <a:lnTo>
                      <a:pt x="138" y="31"/>
                    </a:lnTo>
                    <a:lnTo>
                      <a:pt x="142" y="31"/>
                    </a:lnTo>
                    <a:lnTo>
                      <a:pt x="142" y="33"/>
                    </a:lnTo>
                    <a:lnTo>
                      <a:pt x="142" y="35"/>
                    </a:lnTo>
                    <a:lnTo>
                      <a:pt x="140" y="35"/>
                    </a:lnTo>
                    <a:lnTo>
                      <a:pt x="140" y="37"/>
                    </a:lnTo>
                    <a:lnTo>
                      <a:pt x="140" y="39"/>
                    </a:lnTo>
                    <a:lnTo>
                      <a:pt x="138" y="39"/>
                    </a:lnTo>
                    <a:lnTo>
                      <a:pt x="136" y="39"/>
                    </a:lnTo>
                    <a:lnTo>
                      <a:pt x="136" y="41"/>
                    </a:lnTo>
                    <a:lnTo>
                      <a:pt x="136" y="42"/>
                    </a:lnTo>
                    <a:lnTo>
                      <a:pt x="136" y="44"/>
                    </a:lnTo>
                    <a:lnTo>
                      <a:pt x="134" y="44"/>
                    </a:lnTo>
                    <a:lnTo>
                      <a:pt x="136" y="44"/>
                    </a:lnTo>
                    <a:lnTo>
                      <a:pt x="136" y="46"/>
                    </a:lnTo>
                    <a:lnTo>
                      <a:pt x="136" y="44"/>
                    </a:lnTo>
                    <a:lnTo>
                      <a:pt x="136" y="46"/>
                    </a:lnTo>
                    <a:lnTo>
                      <a:pt x="138" y="48"/>
                    </a:lnTo>
                    <a:lnTo>
                      <a:pt x="136" y="48"/>
                    </a:lnTo>
                    <a:lnTo>
                      <a:pt x="138" y="48"/>
                    </a:lnTo>
                    <a:lnTo>
                      <a:pt x="138" y="50"/>
                    </a:lnTo>
                    <a:lnTo>
                      <a:pt x="140" y="48"/>
                    </a:lnTo>
                    <a:lnTo>
                      <a:pt x="142" y="48"/>
                    </a:lnTo>
                    <a:lnTo>
                      <a:pt x="142" y="50"/>
                    </a:lnTo>
                    <a:lnTo>
                      <a:pt x="144" y="50"/>
                    </a:lnTo>
                    <a:lnTo>
                      <a:pt x="146" y="52"/>
                    </a:lnTo>
                    <a:lnTo>
                      <a:pt x="146" y="54"/>
                    </a:lnTo>
                    <a:lnTo>
                      <a:pt x="148" y="54"/>
                    </a:lnTo>
                    <a:lnTo>
                      <a:pt x="150" y="54"/>
                    </a:lnTo>
                    <a:lnTo>
                      <a:pt x="150" y="56"/>
                    </a:lnTo>
                    <a:lnTo>
                      <a:pt x="148" y="56"/>
                    </a:lnTo>
                    <a:lnTo>
                      <a:pt x="148" y="58"/>
                    </a:lnTo>
                    <a:lnTo>
                      <a:pt x="150" y="58"/>
                    </a:lnTo>
                    <a:lnTo>
                      <a:pt x="150" y="56"/>
                    </a:lnTo>
                    <a:lnTo>
                      <a:pt x="150" y="58"/>
                    </a:lnTo>
                    <a:lnTo>
                      <a:pt x="152" y="60"/>
                    </a:lnTo>
                    <a:lnTo>
                      <a:pt x="154" y="60"/>
                    </a:lnTo>
                    <a:lnTo>
                      <a:pt x="154" y="62"/>
                    </a:lnTo>
                    <a:lnTo>
                      <a:pt x="154" y="64"/>
                    </a:lnTo>
                    <a:lnTo>
                      <a:pt x="155" y="64"/>
                    </a:lnTo>
                    <a:lnTo>
                      <a:pt x="155" y="66"/>
                    </a:lnTo>
                    <a:lnTo>
                      <a:pt x="157" y="66"/>
                    </a:lnTo>
                    <a:lnTo>
                      <a:pt x="159" y="67"/>
                    </a:lnTo>
                    <a:lnTo>
                      <a:pt x="159" y="66"/>
                    </a:lnTo>
                    <a:lnTo>
                      <a:pt x="161" y="66"/>
                    </a:lnTo>
                    <a:lnTo>
                      <a:pt x="161" y="67"/>
                    </a:lnTo>
                    <a:lnTo>
                      <a:pt x="161" y="66"/>
                    </a:lnTo>
                    <a:lnTo>
                      <a:pt x="163" y="66"/>
                    </a:lnTo>
                    <a:lnTo>
                      <a:pt x="161" y="66"/>
                    </a:lnTo>
                    <a:lnTo>
                      <a:pt x="161" y="64"/>
                    </a:lnTo>
                    <a:lnTo>
                      <a:pt x="159" y="64"/>
                    </a:lnTo>
                    <a:lnTo>
                      <a:pt x="167" y="58"/>
                    </a:lnTo>
                    <a:lnTo>
                      <a:pt x="165" y="56"/>
                    </a:lnTo>
                    <a:lnTo>
                      <a:pt x="169" y="52"/>
                    </a:lnTo>
                    <a:lnTo>
                      <a:pt x="171" y="50"/>
                    </a:lnTo>
                    <a:lnTo>
                      <a:pt x="169" y="48"/>
                    </a:lnTo>
                    <a:lnTo>
                      <a:pt x="171" y="46"/>
                    </a:lnTo>
                    <a:lnTo>
                      <a:pt x="173" y="44"/>
                    </a:lnTo>
                    <a:lnTo>
                      <a:pt x="175" y="42"/>
                    </a:lnTo>
                    <a:lnTo>
                      <a:pt x="179" y="41"/>
                    </a:lnTo>
                    <a:lnTo>
                      <a:pt x="180" y="39"/>
                    </a:lnTo>
                    <a:lnTo>
                      <a:pt x="182" y="37"/>
                    </a:lnTo>
                    <a:lnTo>
                      <a:pt x="184" y="35"/>
                    </a:lnTo>
                    <a:lnTo>
                      <a:pt x="184" y="33"/>
                    </a:lnTo>
                    <a:lnTo>
                      <a:pt x="186" y="33"/>
                    </a:lnTo>
                    <a:lnTo>
                      <a:pt x="188" y="31"/>
                    </a:lnTo>
                    <a:lnTo>
                      <a:pt x="190" y="31"/>
                    </a:lnTo>
                    <a:lnTo>
                      <a:pt x="192" y="31"/>
                    </a:lnTo>
                    <a:lnTo>
                      <a:pt x="192" y="29"/>
                    </a:lnTo>
                    <a:lnTo>
                      <a:pt x="192" y="31"/>
                    </a:lnTo>
                    <a:lnTo>
                      <a:pt x="192" y="35"/>
                    </a:lnTo>
                    <a:lnTo>
                      <a:pt x="192" y="37"/>
                    </a:lnTo>
                    <a:lnTo>
                      <a:pt x="192" y="39"/>
                    </a:lnTo>
                    <a:lnTo>
                      <a:pt x="192" y="41"/>
                    </a:lnTo>
                    <a:lnTo>
                      <a:pt x="196" y="41"/>
                    </a:lnTo>
                    <a:lnTo>
                      <a:pt x="196" y="39"/>
                    </a:lnTo>
                    <a:lnTo>
                      <a:pt x="198" y="39"/>
                    </a:lnTo>
                    <a:lnTo>
                      <a:pt x="198" y="37"/>
                    </a:lnTo>
                    <a:lnTo>
                      <a:pt x="198" y="35"/>
                    </a:lnTo>
                    <a:lnTo>
                      <a:pt x="198" y="33"/>
                    </a:lnTo>
                    <a:lnTo>
                      <a:pt x="198" y="31"/>
                    </a:lnTo>
                    <a:lnTo>
                      <a:pt x="200" y="31"/>
                    </a:lnTo>
                    <a:lnTo>
                      <a:pt x="200" y="29"/>
                    </a:lnTo>
                    <a:lnTo>
                      <a:pt x="202" y="29"/>
                    </a:lnTo>
                    <a:lnTo>
                      <a:pt x="204" y="29"/>
                    </a:lnTo>
                    <a:lnTo>
                      <a:pt x="205" y="29"/>
                    </a:lnTo>
                    <a:lnTo>
                      <a:pt x="205" y="31"/>
                    </a:lnTo>
                    <a:lnTo>
                      <a:pt x="207" y="31"/>
                    </a:lnTo>
                    <a:lnTo>
                      <a:pt x="207" y="29"/>
                    </a:lnTo>
                    <a:lnTo>
                      <a:pt x="209" y="29"/>
                    </a:lnTo>
                    <a:lnTo>
                      <a:pt x="211" y="29"/>
                    </a:lnTo>
                    <a:lnTo>
                      <a:pt x="213" y="29"/>
                    </a:lnTo>
                    <a:lnTo>
                      <a:pt x="217" y="27"/>
                    </a:lnTo>
                    <a:lnTo>
                      <a:pt x="219" y="25"/>
                    </a:lnTo>
                    <a:lnTo>
                      <a:pt x="219" y="27"/>
                    </a:lnTo>
                    <a:lnTo>
                      <a:pt x="221" y="27"/>
                    </a:lnTo>
                    <a:lnTo>
                      <a:pt x="225" y="25"/>
                    </a:lnTo>
                    <a:lnTo>
                      <a:pt x="227" y="27"/>
                    </a:lnTo>
                    <a:lnTo>
                      <a:pt x="228" y="27"/>
                    </a:lnTo>
                    <a:lnTo>
                      <a:pt x="230" y="29"/>
                    </a:lnTo>
                    <a:lnTo>
                      <a:pt x="230" y="31"/>
                    </a:lnTo>
                    <a:lnTo>
                      <a:pt x="232" y="31"/>
                    </a:lnTo>
                    <a:lnTo>
                      <a:pt x="234" y="29"/>
                    </a:lnTo>
                    <a:lnTo>
                      <a:pt x="236" y="27"/>
                    </a:lnTo>
                    <a:lnTo>
                      <a:pt x="236" y="25"/>
                    </a:lnTo>
                    <a:lnTo>
                      <a:pt x="236" y="23"/>
                    </a:lnTo>
                    <a:lnTo>
                      <a:pt x="238" y="21"/>
                    </a:lnTo>
                    <a:lnTo>
                      <a:pt x="240" y="19"/>
                    </a:lnTo>
                    <a:lnTo>
                      <a:pt x="242" y="19"/>
                    </a:lnTo>
                    <a:lnTo>
                      <a:pt x="244" y="17"/>
                    </a:lnTo>
                    <a:lnTo>
                      <a:pt x="246" y="17"/>
                    </a:lnTo>
                    <a:lnTo>
                      <a:pt x="248" y="17"/>
                    </a:lnTo>
                    <a:lnTo>
                      <a:pt x="252" y="16"/>
                    </a:lnTo>
                    <a:lnTo>
                      <a:pt x="255" y="14"/>
                    </a:lnTo>
                    <a:lnTo>
                      <a:pt x="257" y="14"/>
                    </a:lnTo>
                    <a:lnTo>
                      <a:pt x="261" y="21"/>
                    </a:lnTo>
                    <a:lnTo>
                      <a:pt x="263" y="25"/>
                    </a:lnTo>
                    <a:lnTo>
                      <a:pt x="263" y="29"/>
                    </a:lnTo>
                    <a:lnTo>
                      <a:pt x="265" y="31"/>
                    </a:lnTo>
                    <a:lnTo>
                      <a:pt x="269" y="29"/>
                    </a:lnTo>
                    <a:lnTo>
                      <a:pt x="269" y="31"/>
                    </a:lnTo>
                    <a:lnTo>
                      <a:pt x="271" y="29"/>
                    </a:lnTo>
                    <a:lnTo>
                      <a:pt x="273" y="33"/>
                    </a:lnTo>
                    <a:lnTo>
                      <a:pt x="273" y="35"/>
                    </a:lnTo>
                    <a:lnTo>
                      <a:pt x="275" y="33"/>
                    </a:lnTo>
                    <a:lnTo>
                      <a:pt x="277" y="37"/>
                    </a:lnTo>
                    <a:lnTo>
                      <a:pt x="278" y="42"/>
                    </a:lnTo>
                    <a:lnTo>
                      <a:pt x="280" y="41"/>
                    </a:lnTo>
                    <a:lnTo>
                      <a:pt x="280" y="42"/>
                    </a:lnTo>
                    <a:lnTo>
                      <a:pt x="282" y="44"/>
                    </a:lnTo>
                    <a:lnTo>
                      <a:pt x="284" y="44"/>
                    </a:lnTo>
                    <a:lnTo>
                      <a:pt x="284" y="46"/>
                    </a:lnTo>
                    <a:lnTo>
                      <a:pt x="286" y="48"/>
                    </a:lnTo>
                    <a:lnTo>
                      <a:pt x="286" y="50"/>
                    </a:lnTo>
                    <a:lnTo>
                      <a:pt x="288" y="54"/>
                    </a:lnTo>
                    <a:lnTo>
                      <a:pt x="288" y="58"/>
                    </a:lnTo>
                    <a:lnTo>
                      <a:pt x="292" y="58"/>
                    </a:lnTo>
                    <a:lnTo>
                      <a:pt x="292" y="62"/>
                    </a:lnTo>
                    <a:lnTo>
                      <a:pt x="292" y="64"/>
                    </a:lnTo>
                    <a:lnTo>
                      <a:pt x="292" y="67"/>
                    </a:lnTo>
                    <a:lnTo>
                      <a:pt x="292" y="69"/>
                    </a:lnTo>
                    <a:lnTo>
                      <a:pt x="294" y="71"/>
                    </a:lnTo>
                    <a:lnTo>
                      <a:pt x="294" y="73"/>
                    </a:lnTo>
                    <a:lnTo>
                      <a:pt x="296" y="73"/>
                    </a:lnTo>
                    <a:lnTo>
                      <a:pt x="296" y="75"/>
                    </a:lnTo>
                    <a:lnTo>
                      <a:pt x="298" y="75"/>
                    </a:lnTo>
                    <a:lnTo>
                      <a:pt x="298" y="77"/>
                    </a:lnTo>
                    <a:lnTo>
                      <a:pt x="298" y="79"/>
                    </a:lnTo>
                    <a:lnTo>
                      <a:pt x="300" y="79"/>
                    </a:lnTo>
                    <a:lnTo>
                      <a:pt x="300" y="81"/>
                    </a:lnTo>
                    <a:lnTo>
                      <a:pt x="301" y="81"/>
                    </a:lnTo>
                    <a:lnTo>
                      <a:pt x="303" y="81"/>
                    </a:lnTo>
                    <a:lnTo>
                      <a:pt x="303" y="83"/>
                    </a:lnTo>
                    <a:lnTo>
                      <a:pt x="305" y="83"/>
                    </a:lnTo>
                    <a:lnTo>
                      <a:pt x="305" y="85"/>
                    </a:lnTo>
                    <a:lnTo>
                      <a:pt x="307" y="85"/>
                    </a:lnTo>
                    <a:lnTo>
                      <a:pt x="309" y="85"/>
                    </a:lnTo>
                    <a:lnTo>
                      <a:pt x="309" y="83"/>
                    </a:lnTo>
                    <a:lnTo>
                      <a:pt x="311" y="83"/>
                    </a:lnTo>
                    <a:lnTo>
                      <a:pt x="311" y="85"/>
                    </a:lnTo>
                    <a:lnTo>
                      <a:pt x="309" y="85"/>
                    </a:lnTo>
                    <a:lnTo>
                      <a:pt x="309" y="87"/>
                    </a:lnTo>
                    <a:lnTo>
                      <a:pt x="309" y="89"/>
                    </a:lnTo>
                    <a:lnTo>
                      <a:pt x="311" y="89"/>
                    </a:lnTo>
                    <a:lnTo>
                      <a:pt x="309" y="89"/>
                    </a:lnTo>
                    <a:lnTo>
                      <a:pt x="309" y="91"/>
                    </a:lnTo>
                    <a:lnTo>
                      <a:pt x="309" y="92"/>
                    </a:lnTo>
                    <a:lnTo>
                      <a:pt x="307" y="92"/>
                    </a:lnTo>
                    <a:lnTo>
                      <a:pt x="307" y="94"/>
                    </a:lnTo>
                    <a:lnTo>
                      <a:pt x="305" y="96"/>
                    </a:lnTo>
                    <a:lnTo>
                      <a:pt x="303" y="96"/>
                    </a:lnTo>
                    <a:lnTo>
                      <a:pt x="303" y="98"/>
                    </a:lnTo>
                    <a:lnTo>
                      <a:pt x="301" y="98"/>
                    </a:lnTo>
                    <a:lnTo>
                      <a:pt x="303" y="98"/>
                    </a:lnTo>
                    <a:lnTo>
                      <a:pt x="301" y="100"/>
                    </a:lnTo>
                    <a:lnTo>
                      <a:pt x="301" y="98"/>
                    </a:lnTo>
                    <a:lnTo>
                      <a:pt x="300" y="98"/>
                    </a:lnTo>
                    <a:lnTo>
                      <a:pt x="300" y="100"/>
                    </a:lnTo>
                    <a:lnTo>
                      <a:pt x="300" y="104"/>
                    </a:lnTo>
                    <a:lnTo>
                      <a:pt x="301" y="104"/>
                    </a:lnTo>
                    <a:lnTo>
                      <a:pt x="301" y="102"/>
                    </a:lnTo>
                    <a:lnTo>
                      <a:pt x="301" y="104"/>
                    </a:lnTo>
                    <a:lnTo>
                      <a:pt x="303" y="104"/>
                    </a:lnTo>
                    <a:lnTo>
                      <a:pt x="303" y="106"/>
                    </a:lnTo>
                    <a:lnTo>
                      <a:pt x="305" y="106"/>
                    </a:lnTo>
                    <a:lnTo>
                      <a:pt x="307" y="106"/>
                    </a:lnTo>
                    <a:lnTo>
                      <a:pt x="307" y="108"/>
                    </a:lnTo>
                    <a:lnTo>
                      <a:pt x="305" y="108"/>
                    </a:lnTo>
                    <a:lnTo>
                      <a:pt x="307" y="110"/>
                    </a:lnTo>
                    <a:lnTo>
                      <a:pt x="309" y="112"/>
                    </a:lnTo>
                    <a:lnTo>
                      <a:pt x="311" y="112"/>
                    </a:lnTo>
                    <a:lnTo>
                      <a:pt x="313" y="114"/>
                    </a:lnTo>
                    <a:lnTo>
                      <a:pt x="313" y="116"/>
                    </a:lnTo>
                    <a:lnTo>
                      <a:pt x="313" y="117"/>
                    </a:lnTo>
                    <a:lnTo>
                      <a:pt x="311" y="117"/>
                    </a:lnTo>
                    <a:lnTo>
                      <a:pt x="311" y="121"/>
                    </a:lnTo>
                    <a:lnTo>
                      <a:pt x="311" y="123"/>
                    </a:lnTo>
                    <a:lnTo>
                      <a:pt x="309" y="125"/>
                    </a:lnTo>
                    <a:lnTo>
                      <a:pt x="307" y="125"/>
                    </a:lnTo>
                    <a:lnTo>
                      <a:pt x="307" y="127"/>
                    </a:lnTo>
                    <a:lnTo>
                      <a:pt x="307" y="129"/>
                    </a:lnTo>
                    <a:lnTo>
                      <a:pt x="309" y="129"/>
                    </a:lnTo>
                    <a:lnTo>
                      <a:pt x="309" y="131"/>
                    </a:lnTo>
                    <a:lnTo>
                      <a:pt x="309" y="133"/>
                    </a:lnTo>
                    <a:lnTo>
                      <a:pt x="311" y="135"/>
                    </a:lnTo>
                    <a:lnTo>
                      <a:pt x="311" y="137"/>
                    </a:lnTo>
                    <a:lnTo>
                      <a:pt x="311" y="139"/>
                    </a:lnTo>
                    <a:lnTo>
                      <a:pt x="313" y="139"/>
                    </a:lnTo>
                    <a:lnTo>
                      <a:pt x="313" y="137"/>
                    </a:lnTo>
                    <a:lnTo>
                      <a:pt x="315" y="137"/>
                    </a:lnTo>
                    <a:lnTo>
                      <a:pt x="315" y="139"/>
                    </a:lnTo>
                    <a:lnTo>
                      <a:pt x="315" y="141"/>
                    </a:lnTo>
                    <a:lnTo>
                      <a:pt x="313" y="142"/>
                    </a:lnTo>
                    <a:lnTo>
                      <a:pt x="313" y="144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" name="Freeform 8">
                <a:extLst>
                  <a:ext uri="{FF2B5EF4-FFF2-40B4-BE49-F238E27FC236}">
                    <a16:creationId xmlns="" xmlns:a16="http://schemas.microsoft.com/office/drawing/2014/main" id="{03358B93-71CE-44EC-A312-8B5909CF57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02350" y="3967163"/>
                <a:ext cx="912813" cy="747713"/>
              </a:xfrm>
              <a:custGeom>
                <a:avLst/>
                <a:gdLst>
                  <a:gd name="T0" fmla="*/ 406 w 575"/>
                  <a:gd name="T1" fmla="*/ 8 h 471"/>
                  <a:gd name="T2" fmla="*/ 444 w 575"/>
                  <a:gd name="T3" fmla="*/ 13 h 471"/>
                  <a:gd name="T4" fmla="*/ 433 w 575"/>
                  <a:gd name="T5" fmla="*/ 36 h 471"/>
                  <a:gd name="T6" fmla="*/ 421 w 575"/>
                  <a:gd name="T7" fmla="*/ 67 h 471"/>
                  <a:gd name="T8" fmla="*/ 413 w 575"/>
                  <a:gd name="T9" fmla="*/ 108 h 471"/>
                  <a:gd name="T10" fmla="*/ 400 w 575"/>
                  <a:gd name="T11" fmla="*/ 136 h 471"/>
                  <a:gd name="T12" fmla="*/ 438 w 575"/>
                  <a:gd name="T13" fmla="*/ 140 h 471"/>
                  <a:gd name="T14" fmla="*/ 459 w 575"/>
                  <a:gd name="T15" fmla="*/ 167 h 471"/>
                  <a:gd name="T16" fmla="*/ 488 w 575"/>
                  <a:gd name="T17" fmla="*/ 158 h 471"/>
                  <a:gd name="T18" fmla="*/ 509 w 575"/>
                  <a:gd name="T19" fmla="*/ 127 h 471"/>
                  <a:gd name="T20" fmla="*/ 538 w 575"/>
                  <a:gd name="T21" fmla="*/ 108 h 471"/>
                  <a:gd name="T22" fmla="*/ 561 w 575"/>
                  <a:gd name="T23" fmla="*/ 129 h 471"/>
                  <a:gd name="T24" fmla="*/ 569 w 575"/>
                  <a:gd name="T25" fmla="*/ 161 h 471"/>
                  <a:gd name="T26" fmla="*/ 556 w 575"/>
                  <a:gd name="T27" fmla="*/ 185 h 471"/>
                  <a:gd name="T28" fmla="*/ 529 w 575"/>
                  <a:gd name="T29" fmla="*/ 196 h 471"/>
                  <a:gd name="T30" fmla="*/ 521 w 575"/>
                  <a:gd name="T31" fmla="*/ 221 h 471"/>
                  <a:gd name="T32" fmla="*/ 515 w 575"/>
                  <a:gd name="T33" fmla="*/ 244 h 471"/>
                  <a:gd name="T34" fmla="*/ 494 w 575"/>
                  <a:gd name="T35" fmla="*/ 271 h 471"/>
                  <a:gd name="T36" fmla="*/ 492 w 575"/>
                  <a:gd name="T37" fmla="*/ 300 h 471"/>
                  <a:gd name="T38" fmla="*/ 488 w 575"/>
                  <a:gd name="T39" fmla="*/ 331 h 471"/>
                  <a:gd name="T40" fmla="*/ 500 w 575"/>
                  <a:gd name="T41" fmla="*/ 358 h 471"/>
                  <a:gd name="T42" fmla="*/ 525 w 575"/>
                  <a:gd name="T43" fmla="*/ 365 h 471"/>
                  <a:gd name="T44" fmla="*/ 536 w 575"/>
                  <a:gd name="T45" fmla="*/ 398 h 471"/>
                  <a:gd name="T46" fmla="*/ 542 w 575"/>
                  <a:gd name="T47" fmla="*/ 433 h 471"/>
                  <a:gd name="T48" fmla="*/ 534 w 575"/>
                  <a:gd name="T49" fmla="*/ 458 h 471"/>
                  <a:gd name="T50" fmla="*/ 500 w 575"/>
                  <a:gd name="T51" fmla="*/ 459 h 471"/>
                  <a:gd name="T52" fmla="*/ 473 w 575"/>
                  <a:gd name="T53" fmla="*/ 450 h 471"/>
                  <a:gd name="T54" fmla="*/ 440 w 575"/>
                  <a:gd name="T55" fmla="*/ 444 h 471"/>
                  <a:gd name="T56" fmla="*/ 406 w 575"/>
                  <a:gd name="T57" fmla="*/ 448 h 471"/>
                  <a:gd name="T58" fmla="*/ 388 w 575"/>
                  <a:gd name="T59" fmla="*/ 413 h 471"/>
                  <a:gd name="T60" fmla="*/ 360 w 575"/>
                  <a:gd name="T61" fmla="*/ 375 h 471"/>
                  <a:gd name="T62" fmla="*/ 340 w 575"/>
                  <a:gd name="T63" fmla="*/ 350 h 471"/>
                  <a:gd name="T64" fmla="*/ 329 w 575"/>
                  <a:gd name="T65" fmla="*/ 327 h 471"/>
                  <a:gd name="T66" fmla="*/ 304 w 575"/>
                  <a:gd name="T67" fmla="*/ 296 h 471"/>
                  <a:gd name="T68" fmla="*/ 285 w 575"/>
                  <a:gd name="T69" fmla="*/ 277 h 471"/>
                  <a:gd name="T70" fmla="*/ 269 w 575"/>
                  <a:gd name="T71" fmla="*/ 263 h 471"/>
                  <a:gd name="T72" fmla="*/ 242 w 575"/>
                  <a:gd name="T73" fmla="*/ 248 h 471"/>
                  <a:gd name="T74" fmla="*/ 216 w 575"/>
                  <a:gd name="T75" fmla="*/ 248 h 471"/>
                  <a:gd name="T76" fmla="*/ 185 w 575"/>
                  <a:gd name="T77" fmla="*/ 240 h 471"/>
                  <a:gd name="T78" fmla="*/ 150 w 575"/>
                  <a:gd name="T79" fmla="*/ 258 h 471"/>
                  <a:gd name="T80" fmla="*/ 123 w 575"/>
                  <a:gd name="T81" fmla="*/ 235 h 471"/>
                  <a:gd name="T82" fmla="*/ 108 w 575"/>
                  <a:gd name="T83" fmla="*/ 200 h 471"/>
                  <a:gd name="T84" fmla="*/ 108 w 575"/>
                  <a:gd name="T85" fmla="*/ 173 h 471"/>
                  <a:gd name="T86" fmla="*/ 104 w 575"/>
                  <a:gd name="T87" fmla="*/ 148 h 471"/>
                  <a:gd name="T88" fmla="*/ 85 w 575"/>
                  <a:gd name="T89" fmla="*/ 125 h 471"/>
                  <a:gd name="T90" fmla="*/ 64 w 575"/>
                  <a:gd name="T91" fmla="*/ 102 h 471"/>
                  <a:gd name="T92" fmla="*/ 31 w 575"/>
                  <a:gd name="T93" fmla="*/ 117 h 471"/>
                  <a:gd name="T94" fmla="*/ 37 w 575"/>
                  <a:gd name="T95" fmla="*/ 90 h 471"/>
                  <a:gd name="T96" fmla="*/ 10 w 575"/>
                  <a:gd name="T97" fmla="*/ 73 h 471"/>
                  <a:gd name="T98" fmla="*/ 12 w 575"/>
                  <a:gd name="T99" fmla="*/ 46 h 471"/>
                  <a:gd name="T100" fmla="*/ 43 w 575"/>
                  <a:gd name="T101" fmla="*/ 35 h 471"/>
                  <a:gd name="T102" fmla="*/ 85 w 575"/>
                  <a:gd name="T103" fmla="*/ 48 h 471"/>
                  <a:gd name="T104" fmla="*/ 112 w 575"/>
                  <a:gd name="T105" fmla="*/ 52 h 471"/>
                  <a:gd name="T106" fmla="*/ 150 w 575"/>
                  <a:gd name="T107" fmla="*/ 58 h 471"/>
                  <a:gd name="T108" fmla="*/ 185 w 575"/>
                  <a:gd name="T109" fmla="*/ 75 h 471"/>
                  <a:gd name="T110" fmla="*/ 223 w 575"/>
                  <a:gd name="T111" fmla="*/ 73 h 471"/>
                  <a:gd name="T112" fmla="*/ 246 w 575"/>
                  <a:gd name="T113" fmla="*/ 73 h 471"/>
                  <a:gd name="T114" fmla="*/ 271 w 575"/>
                  <a:gd name="T115" fmla="*/ 60 h 471"/>
                  <a:gd name="T116" fmla="*/ 304 w 575"/>
                  <a:gd name="T117" fmla="*/ 56 h 471"/>
                  <a:gd name="T118" fmla="*/ 321 w 575"/>
                  <a:gd name="T119" fmla="*/ 38 h 471"/>
                  <a:gd name="T120" fmla="*/ 352 w 575"/>
                  <a:gd name="T121" fmla="*/ 27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75" h="471">
                    <a:moveTo>
                      <a:pt x="375" y="19"/>
                    </a:moveTo>
                    <a:lnTo>
                      <a:pt x="377" y="19"/>
                    </a:lnTo>
                    <a:lnTo>
                      <a:pt x="377" y="21"/>
                    </a:lnTo>
                    <a:lnTo>
                      <a:pt x="379" y="21"/>
                    </a:lnTo>
                    <a:lnTo>
                      <a:pt x="381" y="21"/>
                    </a:lnTo>
                    <a:lnTo>
                      <a:pt x="383" y="21"/>
                    </a:lnTo>
                    <a:lnTo>
                      <a:pt x="383" y="19"/>
                    </a:lnTo>
                    <a:lnTo>
                      <a:pt x="383" y="17"/>
                    </a:lnTo>
                    <a:lnTo>
                      <a:pt x="386" y="19"/>
                    </a:lnTo>
                    <a:lnTo>
                      <a:pt x="388" y="19"/>
                    </a:lnTo>
                    <a:lnTo>
                      <a:pt x="388" y="17"/>
                    </a:lnTo>
                    <a:lnTo>
                      <a:pt x="390" y="17"/>
                    </a:lnTo>
                    <a:lnTo>
                      <a:pt x="390" y="15"/>
                    </a:lnTo>
                    <a:lnTo>
                      <a:pt x="390" y="13"/>
                    </a:lnTo>
                    <a:lnTo>
                      <a:pt x="392" y="13"/>
                    </a:lnTo>
                    <a:lnTo>
                      <a:pt x="394" y="15"/>
                    </a:lnTo>
                    <a:lnTo>
                      <a:pt x="394" y="13"/>
                    </a:lnTo>
                    <a:lnTo>
                      <a:pt x="394" y="11"/>
                    </a:lnTo>
                    <a:lnTo>
                      <a:pt x="396" y="11"/>
                    </a:lnTo>
                    <a:lnTo>
                      <a:pt x="398" y="11"/>
                    </a:lnTo>
                    <a:lnTo>
                      <a:pt x="400" y="11"/>
                    </a:lnTo>
                    <a:lnTo>
                      <a:pt x="402" y="11"/>
                    </a:lnTo>
                    <a:lnTo>
                      <a:pt x="402" y="13"/>
                    </a:lnTo>
                    <a:lnTo>
                      <a:pt x="404" y="11"/>
                    </a:lnTo>
                    <a:lnTo>
                      <a:pt x="406" y="11"/>
                    </a:lnTo>
                    <a:lnTo>
                      <a:pt x="406" y="10"/>
                    </a:lnTo>
                    <a:lnTo>
                      <a:pt x="406" y="8"/>
                    </a:lnTo>
                    <a:lnTo>
                      <a:pt x="408" y="8"/>
                    </a:lnTo>
                    <a:lnTo>
                      <a:pt x="410" y="6"/>
                    </a:lnTo>
                    <a:lnTo>
                      <a:pt x="411" y="6"/>
                    </a:lnTo>
                    <a:lnTo>
                      <a:pt x="411" y="4"/>
                    </a:lnTo>
                    <a:lnTo>
                      <a:pt x="413" y="4"/>
                    </a:lnTo>
                    <a:lnTo>
                      <a:pt x="413" y="2"/>
                    </a:lnTo>
                    <a:lnTo>
                      <a:pt x="415" y="2"/>
                    </a:lnTo>
                    <a:lnTo>
                      <a:pt x="417" y="0"/>
                    </a:lnTo>
                    <a:lnTo>
                      <a:pt x="419" y="0"/>
                    </a:lnTo>
                    <a:lnTo>
                      <a:pt x="421" y="0"/>
                    </a:lnTo>
                    <a:lnTo>
                      <a:pt x="423" y="0"/>
                    </a:lnTo>
                    <a:lnTo>
                      <a:pt x="423" y="2"/>
                    </a:lnTo>
                    <a:lnTo>
                      <a:pt x="425" y="2"/>
                    </a:lnTo>
                    <a:lnTo>
                      <a:pt x="427" y="2"/>
                    </a:lnTo>
                    <a:lnTo>
                      <a:pt x="427" y="4"/>
                    </a:lnTo>
                    <a:lnTo>
                      <a:pt x="429" y="4"/>
                    </a:lnTo>
                    <a:lnTo>
                      <a:pt x="429" y="6"/>
                    </a:lnTo>
                    <a:lnTo>
                      <a:pt x="431" y="6"/>
                    </a:lnTo>
                    <a:lnTo>
                      <a:pt x="431" y="8"/>
                    </a:lnTo>
                    <a:lnTo>
                      <a:pt x="431" y="10"/>
                    </a:lnTo>
                    <a:lnTo>
                      <a:pt x="433" y="11"/>
                    </a:lnTo>
                    <a:lnTo>
                      <a:pt x="435" y="11"/>
                    </a:lnTo>
                    <a:lnTo>
                      <a:pt x="436" y="13"/>
                    </a:lnTo>
                    <a:lnTo>
                      <a:pt x="438" y="13"/>
                    </a:lnTo>
                    <a:lnTo>
                      <a:pt x="440" y="13"/>
                    </a:lnTo>
                    <a:lnTo>
                      <a:pt x="442" y="13"/>
                    </a:lnTo>
                    <a:lnTo>
                      <a:pt x="444" y="13"/>
                    </a:lnTo>
                    <a:lnTo>
                      <a:pt x="444" y="15"/>
                    </a:lnTo>
                    <a:lnTo>
                      <a:pt x="442" y="15"/>
                    </a:lnTo>
                    <a:lnTo>
                      <a:pt x="440" y="17"/>
                    </a:lnTo>
                    <a:lnTo>
                      <a:pt x="438" y="19"/>
                    </a:lnTo>
                    <a:lnTo>
                      <a:pt x="438" y="21"/>
                    </a:lnTo>
                    <a:lnTo>
                      <a:pt x="436" y="21"/>
                    </a:lnTo>
                    <a:lnTo>
                      <a:pt x="436" y="19"/>
                    </a:lnTo>
                    <a:lnTo>
                      <a:pt x="436" y="21"/>
                    </a:lnTo>
                    <a:lnTo>
                      <a:pt x="436" y="23"/>
                    </a:lnTo>
                    <a:lnTo>
                      <a:pt x="438" y="23"/>
                    </a:lnTo>
                    <a:lnTo>
                      <a:pt x="438" y="25"/>
                    </a:lnTo>
                    <a:lnTo>
                      <a:pt x="436" y="27"/>
                    </a:lnTo>
                    <a:lnTo>
                      <a:pt x="436" y="29"/>
                    </a:lnTo>
                    <a:lnTo>
                      <a:pt x="435" y="29"/>
                    </a:lnTo>
                    <a:lnTo>
                      <a:pt x="435" y="31"/>
                    </a:lnTo>
                    <a:lnTo>
                      <a:pt x="433" y="31"/>
                    </a:lnTo>
                    <a:lnTo>
                      <a:pt x="431" y="31"/>
                    </a:lnTo>
                    <a:lnTo>
                      <a:pt x="429" y="31"/>
                    </a:lnTo>
                    <a:lnTo>
                      <a:pt x="429" y="33"/>
                    </a:lnTo>
                    <a:lnTo>
                      <a:pt x="431" y="33"/>
                    </a:lnTo>
                    <a:lnTo>
                      <a:pt x="431" y="35"/>
                    </a:lnTo>
                    <a:lnTo>
                      <a:pt x="429" y="35"/>
                    </a:lnTo>
                    <a:lnTo>
                      <a:pt x="431" y="35"/>
                    </a:lnTo>
                    <a:lnTo>
                      <a:pt x="431" y="36"/>
                    </a:lnTo>
                    <a:lnTo>
                      <a:pt x="431" y="35"/>
                    </a:lnTo>
                    <a:lnTo>
                      <a:pt x="431" y="36"/>
                    </a:lnTo>
                    <a:lnTo>
                      <a:pt x="433" y="36"/>
                    </a:lnTo>
                    <a:lnTo>
                      <a:pt x="433" y="38"/>
                    </a:lnTo>
                    <a:lnTo>
                      <a:pt x="433" y="36"/>
                    </a:lnTo>
                    <a:lnTo>
                      <a:pt x="433" y="38"/>
                    </a:lnTo>
                    <a:lnTo>
                      <a:pt x="435" y="38"/>
                    </a:lnTo>
                    <a:lnTo>
                      <a:pt x="435" y="40"/>
                    </a:lnTo>
                    <a:lnTo>
                      <a:pt x="435" y="42"/>
                    </a:lnTo>
                    <a:lnTo>
                      <a:pt x="433" y="42"/>
                    </a:lnTo>
                    <a:lnTo>
                      <a:pt x="433" y="44"/>
                    </a:lnTo>
                    <a:lnTo>
                      <a:pt x="431" y="44"/>
                    </a:lnTo>
                    <a:lnTo>
                      <a:pt x="429" y="44"/>
                    </a:lnTo>
                    <a:lnTo>
                      <a:pt x="429" y="46"/>
                    </a:lnTo>
                    <a:lnTo>
                      <a:pt x="427" y="46"/>
                    </a:lnTo>
                    <a:lnTo>
                      <a:pt x="425" y="46"/>
                    </a:lnTo>
                    <a:lnTo>
                      <a:pt x="425" y="48"/>
                    </a:lnTo>
                    <a:lnTo>
                      <a:pt x="425" y="50"/>
                    </a:lnTo>
                    <a:lnTo>
                      <a:pt x="423" y="50"/>
                    </a:lnTo>
                    <a:lnTo>
                      <a:pt x="423" y="52"/>
                    </a:lnTo>
                    <a:lnTo>
                      <a:pt x="423" y="54"/>
                    </a:lnTo>
                    <a:lnTo>
                      <a:pt x="425" y="54"/>
                    </a:lnTo>
                    <a:lnTo>
                      <a:pt x="427" y="56"/>
                    </a:lnTo>
                    <a:lnTo>
                      <a:pt x="425" y="60"/>
                    </a:lnTo>
                    <a:lnTo>
                      <a:pt x="423" y="60"/>
                    </a:lnTo>
                    <a:lnTo>
                      <a:pt x="423" y="61"/>
                    </a:lnTo>
                    <a:lnTo>
                      <a:pt x="421" y="61"/>
                    </a:lnTo>
                    <a:lnTo>
                      <a:pt x="421" y="63"/>
                    </a:lnTo>
                    <a:lnTo>
                      <a:pt x="421" y="65"/>
                    </a:lnTo>
                    <a:lnTo>
                      <a:pt x="421" y="67"/>
                    </a:lnTo>
                    <a:lnTo>
                      <a:pt x="419" y="67"/>
                    </a:lnTo>
                    <a:lnTo>
                      <a:pt x="419" y="69"/>
                    </a:lnTo>
                    <a:lnTo>
                      <a:pt x="419" y="71"/>
                    </a:lnTo>
                    <a:lnTo>
                      <a:pt x="417" y="71"/>
                    </a:lnTo>
                    <a:lnTo>
                      <a:pt x="417" y="69"/>
                    </a:lnTo>
                    <a:lnTo>
                      <a:pt x="417" y="71"/>
                    </a:lnTo>
                    <a:lnTo>
                      <a:pt x="415" y="71"/>
                    </a:lnTo>
                    <a:lnTo>
                      <a:pt x="415" y="73"/>
                    </a:lnTo>
                    <a:lnTo>
                      <a:pt x="417" y="73"/>
                    </a:lnTo>
                    <a:lnTo>
                      <a:pt x="413" y="75"/>
                    </a:lnTo>
                    <a:lnTo>
                      <a:pt x="413" y="77"/>
                    </a:lnTo>
                    <a:lnTo>
                      <a:pt x="411" y="77"/>
                    </a:lnTo>
                    <a:lnTo>
                      <a:pt x="411" y="79"/>
                    </a:lnTo>
                    <a:lnTo>
                      <a:pt x="410" y="79"/>
                    </a:lnTo>
                    <a:lnTo>
                      <a:pt x="410" y="81"/>
                    </a:lnTo>
                    <a:lnTo>
                      <a:pt x="410" y="83"/>
                    </a:lnTo>
                    <a:lnTo>
                      <a:pt x="408" y="83"/>
                    </a:lnTo>
                    <a:lnTo>
                      <a:pt x="408" y="85"/>
                    </a:lnTo>
                    <a:lnTo>
                      <a:pt x="408" y="86"/>
                    </a:lnTo>
                    <a:lnTo>
                      <a:pt x="410" y="88"/>
                    </a:lnTo>
                    <a:lnTo>
                      <a:pt x="411" y="90"/>
                    </a:lnTo>
                    <a:lnTo>
                      <a:pt x="411" y="96"/>
                    </a:lnTo>
                    <a:lnTo>
                      <a:pt x="413" y="102"/>
                    </a:lnTo>
                    <a:lnTo>
                      <a:pt x="413" y="104"/>
                    </a:lnTo>
                    <a:lnTo>
                      <a:pt x="411" y="104"/>
                    </a:lnTo>
                    <a:lnTo>
                      <a:pt x="413" y="106"/>
                    </a:lnTo>
                    <a:lnTo>
                      <a:pt x="413" y="108"/>
                    </a:lnTo>
                    <a:lnTo>
                      <a:pt x="411" y="108"/>
                    </a:lnTo>
                    <a:lnTo>
                      <a:pt x="411" y="110"/>
                    </a:lnTo>
                    <a:lnTo>
                      <a:pt x="410" y="110"/>
                    </a:lnTo>
                    <a:lnTo>
                      <a:pt x="410" y="108"/>
                    </a:lnTo>
                    <a:lnTo>
                      <a:pt x="408" y="108"/>
                    </a:lnTo>
                    <a:lnTo>
                      <a:pt x="406" y="108"/>
                    </a:lnTo>
                    <a:lnTo>
                      <a:pt x="406" y="110"/>
                    </a:lnTo>
                    <a:lnTo>
                      <a:pt x="404" y="111"/>
                    </a:lnTo>
                    <a:lnTo>
                      <a:pt x="402" y="111"/>
                    </a:lnTo>
                    <a:lnTo>
                      <a:pt x="402" y="113"/>
                    </a:lnTo>
                    <a:lnTo>
                      <a:pt x="402" y="115"/>
                    </a:lnTo>
                    <a:lnTo>
                      <a:pt x="400" y="115"/>
                    </a:lnTo>
                    <a:lnTo>
                      <a:pt x="400" y="117"/>
                    </a:lnTo>
                    <a:lnTo>
                      <a:pt x="402" y="117"/>
                    </a:lnTo>
                    <a:lnTo>
                      <a:pt x="402" y="119"/>
                    </a:lnTo>
                    <a:lnTo>
                      <a:pt x="400" y="119"/>
                    </a:lnTo>
                    <a:lnTo>
                      <a:pt x="400" y="121"/>
                    </a:lnTo>
                    <a:lnTo>
                      <a:pt x="402" y="121"/>
                    </a:lnTo>
                    <a:lnTo>
                      <a:pt x="400" y="121"/>
                    </a:lnTo>
                    <a:lnTo>
                      <a:pt x="400" y="123"/>
                    </a:lnTo>
                    <a:lnTo>
                      <a:pt x="398" y="125"/>
                    </a:lnTo>
                    <a:lnTo>
                      <a:pt x="398" y="127"/>
                    </a:lnTo>
                    <a:lnTo>
                      <a:pt x="398" y="129"/>
                    </a:lnTo>
                    <a:lnTo>
                      <a:pt x="400" y="131"/>
                    </a:lnTo>
                    <a:lnTo>
                      <a:pt x="400" y="133"/>
                    </a:lnTo>
                    <a:lnTo>
                      <a:pt x="400" y="135"/>
                    </a:lnTo>
                    <a:lnTo>
                      <a:pt x="400" y="136"/>
                    </a:lnTo>
                    <a:lnTo>
                      <a:pt x="400" y="138"/>
                    </a:lnTo>
                    <a:lnTo>
                      <a:pt x="400" y="140"/>
                    </a:lnTo>
                    <a:lnTo>
                      <a:pt x="402" y="142"/>
                    </a:lnTo>
                    <a:lnTo>
                      <a:pt x="404" y="142"/>
                    </a:lnTo>
                    <a:lnTo>
                      <a:pt x="404" y="140"/>
                    </a:lnTo>
                    <a:lnTo>
                      <a:pt x="408" y="140"/>
                    </a:lnTo>
                    <a:lnTo>
                      <a:pt x="410" y="138"/>
                    </a:lnTo>
                    <a:lnTo>
                      <a:pt x="410" y="140"/>
                    </a:lnTo>
                    <a:lnTo>
                      <a:pt x="411" y="140"/>
                    </a:lnTo>
                    <a:lnTo>
                      <a:pt x="413" y="142"/>
                    </a:lnTo>
                    <a:lnTo>
                      <a:pt x="413" y="140"/>
                    </a:lnTo>
                    <a:lnTo>
                      <a:pt x="415" y="140"/>
                    </a:lnTo>
                    <a:lnTo>
                      <a:pt x="417" y="140"/>
                    </a:lnTo>
                    <a:lnTo>
                      <a:pt x="417" y="142"/>
                    </a:lnTo>
                    <a:lnTo>
                      <a:pt x="419" y="144"/>
                    </a:lnTo>
                    <a:lnTo>
                      <a:pt x="421" y="142"/>
                    </a:lnTo>
                    <a:lnTo>
                      <a:pt x="421" y="140"/>
                    </a:lnTo>
                    <a:lnTo>
                      <a:pt x="423" y="140"/>
                    </a:lnTo>
                    <a:lnTo>
                      <a:pt x="423" y="138"/>
                    </a:lnTo>
                    <a:lnTo>
                      <a:pt x="425" y="138"/>
                    </a:lnTo>
                    <a:lnTo>
                      <a:pt x="427" y="138"/>
                    </a:lnTo>
                    <a:lnTo>
                      <a:pt x="429" y="138"/>
                    </a:lnTo>
                    <a:lnTo>
                      <a:pt x="431" y="138"/>
                    </a:lnTo>
                    <a:lnTo>
                      <a:pt x="433" y="138"/>
                    </a:lnTo>
                    <a:lnTo>
                      <a:pt x="435" y="138"/>
                    </a:lnTo>
                    <a:lnTo>
                      <a:pt x="436" y="138"/>
                    </a:lnTo>
                    <a:lnTo>
                      <a:pt x="438" y="140"/>
                    </a:lnTo>
                    <a:lnTo>
                      <a:pt x="438" y="142"/>
                    </a:lnTo>
                    <a:lnTo>
                      <a:pt x="438" y="144"/>
                    </a:lnTo>
                    <a:lnTo>
                      <a:pt x="440" y="144"/>
                    </a:lnTo>
                    <a:lnTo>
                      <a:pt x="440" y="146"/>
                    </a:lnTo>
                    <a:lnTo>
                      <a:pt x="442" y="148"/>
                    </a:lnTo>
                    <a:lnTo>
                      <a:pt x="442" y="150"/>
                    </a:lnTo>
                    <a:lnTo>
                      <a:pt x="444" y="150"/>
                    </a:lnTo>
                    <a:lnTo>
                      <a:pt x="444" y="152"/>
                    </a:lnTo>
                    <a:lnTo>
                      <a:pt x="444" y="154"/>
                    </a:lnTo>
                    <a:lnTo>
                      <a:pt x="446" y="156"/>
                    </a:lnTo>
                    <a:lnTo>
                      <a:pt x="446" y="158"/>
                    </a:lnTo>
                    <a:lnTo>
                      <a:pt x="448" y="158"/>
                    </a:lnTo>
                    <a:lnTo>
                      <a:pt x="448" y="160"/>
                    </a:lnTo>
                    <a:lnTo>
                      <a:pt x="448" y="161"/>
                    </a:lnTo>
                    <a:lnTo>
                      <a:pt x="450" y="161"/>
                    </a:lnTo>
                    <a:lnTo>
                      <a:pt x="450" y="163"/>
                    </a:lnTo>
                    <a:lnTo>
                      <a:pt x="452" y="165"/>
                    </a:lnTo>
                    <a:lnTo>
                      <a:pt x="452" y="167"/>
                    </a:lnTo>
                    <a:lnTo>
                      <a:pt x="452" y="169"/>
                    </a:lnTo>
                    <a:lnTo>
                      <a:pt x="450" y="171"/>
                    </a:lnTo>
                    <a:lnTo>
                      <a:pt x="450" y="173"/>
                    </a:lnTo>
                    <a:lnTo>
                      <a:pt x="452" y="173"/>
                    </a:lnTo>
                    <a:lnTo>
                      <a:pt x="454" y="173"/>
                    </a:lnTo>
                    <a:lnTo>
                      <a:pt x="454" y="171"/>
                    </a:lnTo>
                    <a:lnTo>
                      <a:pt x="456" y="171"/>
                    </a:lnTo>
                    <a:lnTo>
                      <a:pt x="459" y="169"/>
                    </a:lnTo>
                    <a:lnTo>
                      <a:pt x="459" y="167"/>
                    </a:lnTo>
                    <a:lnTo>
                      <a:pt x="461" y="167"/>
                    </a:lnTo>
                    <a:lnTo>
                      <a:pt x="461" y="165"/>
                    </a:lnTo>
                    <a:lnTo>
                      <a:pt x="463" y="167"/>
                    </a:lnTo>
                    <a:lnTo>
                      <a:pt x="463" y="169"/>
                    </a:lnTo>
                    <a:lnTo>
                      <a:pt x="465" y="169"/>
                    </a:lnTo>
                    <a:lnTo>
                      <a:pt x="465" y="171"/>
                    </a:lnTo>
                    <a:lnTo>
                      <a:pt x="467" y="171"/>
                    </a:lnTo>
                    <a:lnTo>
                      <a:pt x="469" y="171"/>
                    </a:lnTo>
                    <a:lnTo>
                      <a:pt x="469" y="169"/>
                    </a:lnTo>
                    <a:lnTo>
                      <a:pt x="469" y="171"/>
                    </a:lnTo>
                    <a:lnTo>
                      <a:pt x="471" y="171"/>
                    </a:lnTo>
                    <a:lnTo>
                      <a:pt x="471" y="169"/>
                    </a:lnTo>
                    <a:lnTo>
                      <a:pt x="471" y="167"/>
                    </a:lnTo>
                    <a:lnTo>
                      <a:pt x="471" y="165"/>
                    </a:lnTo>
                    <a:lnTo>
                      <a:pt x="471" y="163"/>
                    </a:lnTo>
                    <a:lnTo>
                      <a:pt x="473" y="163"/>
                    </a:lnTo>
                    <a:lnTo>
                      <a:pt x="475" y="163"/>
                    </a:lnTo>
                    <a:lnTo>
                      <a:pt x="475" y="161"/>
                    </a:lnTo>
                    <a:lnTo>
                      <a:pt x="477" y="161"/>
                    </a:lnTo>
                    <a:lnTo>
                      <a:pt x="477" y="160"/>
                    </a:lnTo>
                    <a:lnTo>
                      <a:pt x="479" y="160"/>
                    </a:lnTo>
                    <a:lnTo>
                      <a:pt x="481" y="160"/>
                    </a:lnTo>
                    <a:lnTo>
                      <a:pt x="483" y="160"/>
                    </a:lnTo>
                    <a:lnTo>
                      <a:pt x="484" y="160"/>
                    </a:lnTo>
                    <a:lnTo>
                      <a:pt x="484" y="158"/>
                    </a:lnTo>
                    <a:lnTo>
                      <a:pt x="486" y="158"/>
                    </a:lnTo>
                    <a:lnTo>
                      <a:pt x="488" y="158"/>
                    </a:lnTo>
                    <a:lnTo>
                      <a:pt x="488" y="156"/>
                    </a:lnTo>
                    <a:lnTo>
                      <a:pt x="490" y="156"/>
                    </a:lnTo>
                    <a:lnTo>
                      <a:pt x="492" y="156"/>
                    </a:lnTo>
                    <a:lnTo>
                      <a:pt x="492" y="154"/>
                    </a:lnTo>
                    <a:lnTo>
                      <a:pt x="494" y="154"/>
                    </a:lnTo>
                    <a:lnTo>
                      <a:pt x="496" y="154"/>
                    </a:lnTo>
                    <a:lnTo>
                      <a:pt x="498" y="152"/>
                    </a:lnTo>
                    <a:lnTo>
                      <a:pt x="496" y="152"/>
                    </a:lnTo>
                    <a:lnTo>
                      <a:pt x="496" y="150"/>
                    </a:lnTo>
                    <a:lnTo>
                      <a:pt x="496" y="148"/>
                    </a:lnTo>
                    <a:lnTo>
                      <a:pt x="498" y="148"/>
                    </a:lnTo>
                    <a:lnTo>
                      <a:pt x="500" y="148"/>
                    </a:lnTo>
                    <a:lnTo>
                      <a:pt x="500" y="146"/>
                    </a:lnTo>
                    <a:lnTo>
                      <a:pt x="502" y="146"/>
                    </a:lnTo>
                    <a:lnTo>
                      <a:pt x="504" y="146"/>
                    </a:lnTo>
                    <a:lnTo>
                      <a:pt x="504" y="144"/>
                    </a:lnTo>
                    <a:lnTo>
                      <a:pt x="502" y="142"/>
                    </a:lnTo>
                    <a:lnTo>
                      <a:pt x="502" y="140"/>
                    </a:lnTo>
                    <a:lnTo>
                      <a:pt x="502" y="138"/>
                    </a:lnTo>
                    <a:lnTo>
                      <a:pt x="504" y="136"/>
                    </a:lnTo>
                    <a:lnTo>
                      <a:pt x="504" y="135"/>
                    </a:lnTo>
                    <a:lnTo>
                      <a:pt x="504" y="133"/>
                    </a:lnTo>
                    <a:lnTo>
                      <a:pt x="506" y="131"/>
                    </a:lnTo>
                    <a:lnTo>
                      <a:pt x="508" y="131"/>
                    </a:lnTo>
                    <a:lnTo>
                      <a:pt x="508" y="129"/>
                    </a:lnTo>
                    <a:lnTo>
                      <a:pt x="509" y="129"/>
                    </a:lnTo>
                    <a:lnTo>
                      <a:pt x="509" y="127"/>
                    </a:lnTo>
                    <a:lnTo>
                      <a:pt x="511" y="125"/>
                    </a:lnTo>
                    <a:lnTo>
                      <a:pt x="511" y="123"/>
                    </a:lnTo>
                    <a:lnTo>
                      <a:pt x="513" y="123"/>
                    </a:lnTo>
                    <a:lnTo>
                      <a:pt x="517" y="127"/>
                    </a:lnTo>
                    <a:lnTo>
                      <a:pt x="519" y="127"/>
                    </a:lnTo>
                    <a:lnTo>
                      <a:pt x="519" y="125"/>
                    </a:lnTo>
                    <a:lnTo>
                      <a:pt x="519" y="127"/>
                    </a:lnTo>
                    <a:lnTo>
                      <a:pt x="521" y="127"/>
                    </a:lnTo>
                    <a:lnTo>
                      <a:pt x="521" y="125"/>
                    </a:lnTo>
                    <a:lnTo>
                      <a:pt x="523" y="125"/>
                    </a:lnTo>
                    <a:lnTo>
                      <a:pt x="525" y="125"/>
                    </a:lnTo>
                    <a:lnTo>
                      <a:pt x="527" y="125"/>
                    </a:lnTo>
                    <a:lnTo>
                      <a:pt x="529" y="125"/>
                    </a:lnTo>
                    <a:lnTo>
                      <a:pt x="529" y="123"/>
                    </a:lnTo>
                    <a:lnTo>
                      <a:pt x="531" y="123"/>
                    </a:lnTo>
                    <a:lnTo>
                      <a:pt x="531" y="121"/>
                    </a:lnTo>
                    <a:lnTo>
                      <a:pt x="533" y="121"/>
                    </a:lnTo>
                    <a:lnTo>
                      <a:pt x="533" y="119"/>
                    </a:lnTo>
                    <a:lnTo>
                      <a:pt x="533" y="117"/>
                    </a:lnTo>
                    <a:lnTo>
                      <a:pt x="533" y="115"/>
                    </a:lnTo>
                    <a:lnTo>
                      <a:pt x="534" y="115"/>
                    </a:lnTo>
                    <a:lnTo>
                      <a:pt x="534" y="113"/>
                    </a:lnTo>
                    <a:lnTo>
                      <a:pt x="536" y="113"/>
                    </a:lnTo>
                    <a:lnTo>
                      <a:pt x="536" y="111"/>
                    </a:lnTo>
                    <a:lnTo>
                      <a:pt x="538" y="111"/>
                    </a:lnTo>
                    <a:lnTo>
                      <a:pt x="538" y="110"/>
                    </a:lnTo>
                    <a:lnTo>
                      <a:pt x="538" y="108"/>
                    </a:lnTo>
                    <a:lnTo>
                      <a:pt x="540" y="108"/>
                    </a:lnTo>
                    <a:lnTo>
                      <a:pt x="540" y="106"/>
                    </a:lnTo>
                    <a:lnTo>
                      <a:pt x="542" y="108"/>
                    </a:lnTo>
                    <a:lnTo>
                      <a:pt x="544" y="108"/>
                    </a:lnTo>
                    <a:lnTo>
                      <a:pt x="544" y="110"/>
                    </a:lnTo>
                    <a:lnTo>
                      <a:pt x="546" y="110"/>
                    </a:lnTo>
                    <a:lnTo>
                      <a:pt x="548" y="110"/>
                    </a:lnTo>
                    <a:lnTo>
                      <a:pt x="548" y="111"/>
                    </a:lnTo>
                    <a:lnTo>
                      <a:pt x="550" y="111"/>
                    </a:lnTo>
                    <a:lnTo>
                      <a:pt x="552" y="111"/>
                    </a:lnTo>
                    <a:lnTo>
                      <a:pt x="552" y="113"/>
                    </a:lnTo>
                    <a:lnTo>
                      <a:pt x="554" y="113"/>
                    </a:lnTo>
                    <a:lnTo>
                      <a:pt x="556" y="113"/>
                    </a:lnTo>
                    <a:lnTo>
                      <a:pt x="557" y="115"/>
                    </a:lnTo>
                    <a:lnTo>
                      <a:pt x="557" y="117"/>
                    </a:lnTo>
                    <a:lnTo>
                      <a:pt x="556" y="117"/>
                    </a:lnTo>
                    <a:lnTo>
                      <a:pt x="554" y="117"/>
                    </a:lnTo>
                    <a:lnTo>
                      <a:pt x="554" y="119"/>
                    </a:lnTo>
                    <a:lnTo>
                      <a:pt x="556" y="119"/>
                    </a:lnTo>
                    <a:lnTo>
                      <a:pt x="556" y="121"/>
                    </a:lnTo>
                    <a:lnTo>
                      <a:pt x="557" y="121"/>
                    </a:lnTo>
                    <a:lnTo>
                      <a:pt x="559" y="121"/>
                    </a:lnTo>
                    <a:lnTo>
                      <a:pt x="557" y="123"/>
                    </a:lnTo>
                    <a:lnTo>
                      <a:pt x="559" y="125"/>
                    </a:lnTo>
                    <a:lnTo>
                      <a:pt x="561" y="125"/>
                    </a:lnTo>
                    <a:lnTo>
                      <a:pt x="561" y="127"/>
                    </a:lnTo>
                    <a:lnTo>
                      <a:pt x="561" y="129"/>
                    </a:lnTo>
                    <a:lnTo>
                      <a:pt x="561" y="131"/>
                    </a:lnTo>
                    <a:lnTo>
                      <a:pt x="561" y="133"/>
                    </a:lnTo>
                    <a:lnTo>
                      <a:pt x="563" y="133"/>
                    </a:lnTo>
                    <a:lnTo>
                      <a:pt x="563" y="135"/>
                    </a:lnTo>
                    <a:lnTo>
                      <a:pt x="565" y="135"/>
                    </a:lnTo>
                    <a:lnTo>
                      <a:pt x="563" y="136"/>
                    </a:lnTo>
                    <a:lnTo>
                      <a:pt x="563" y="138"/>
                    </a:lnTo>
                    <a:lnTo>
                      <a:pt x="561" y="138"/>
                    </a:lnTo>
                    <a:lnTo>
                      <a:pt x="561" y="140"/>
                    </a:lnTo>
                    <a:lnTo>
                      <a:pt x="561" y="142"/>
                    </a:lnTo>
                    <a:lnTo>
                      <a:pt x="563" y="142"/>
                    </a:lnTo>
                    <a:lnTo>
                      <a:pt x="561" y="144"/>
                    </a:lnTo>
                    <a:lnTo>
                      <a:pt x="561" y="146"/>
                    </a:lnTo>
                    <a:lnTo>
                      <a:pt x="561" y="148"/>
                    </a:lnTo>
                    <a:lnTo>
                      <a:pt x="561" y="150"/>
                    </a:lnTo>
                    <a:lnTo>
                      <a:pt x="561" y="152"/>
                    </a:lnTo>
                    <a:lnTo>
                      <a:pt x="563" y="152"/>
                    </a:lnTo>
                    <a:lnTo>
                      <a:pt x="563" y="154"/>
                    </a:lnTo>
                    <a:lnTo>
                      <a:pt x="561" y="154"/>
                    </a:lnTo>
                    <a:lnTo>
                      <a:pt x="561" y="156"/>
                    </a:lnTo>
                    <a:lnTo>
                      <a:pt x="563" y="156"/>
                    </a:lnTo>
                    <a:lnTo>
                      <a:pt x="563" y="158"/>
                    </a:lnTo>
                    <a:lnTo>
                      <a:pt x="565" y="158"/>
                    </a:lnTo>
                    <a:lnTo>
                      <a:pt x="567" y="158"/>
                    </a:lnTo>
                    <a:lnTo>
                      <a:pt x="567" y="160"/>
                    </a:lnTo>
                    <a:lnTo>
                      <a:pt x="567" y="161"/>
                    </a:lnTo>
                    <a:lnTo>
                      <a:pt x="569" y="161"/>
                    </a:lnTo>
                    <a:lnTo>
                      <a:pt x="571" y="161"/>
                    </a:lnTo>
                    <a:lnTo>
                      <a:pt x="571" y="163"/>
                    </a:lnTo>
                    <a:lnTo>
                      <a:pt x="573" y="163"/>
                    </a:lnTo>
                    <a:lnTo>
                      <a:pt x="573" y="165"/>
                    </a:lnTo>
                    <a:lnTo>
                      <a:pt x="573" y="167"/>
                    </a:lnTo>
                    <a:lnTo>
                      <a:pt x="571" y="167"/>
                    </a:lnTo>
                    <a:lnTo>
                      <a:pt x="571" y="169"/>
                    </a:lnTo>
                    <a:lnTo>
                      <a:pt x="571" y="171"/>
                    </a:lnTo>
                    <a:lnTo>
                      <a:pt x="571" y="173"/>
                    </a:lnTo>
                    <a:lnTo>
                      <a:pt x="571" y="175"/>
                    </a:lnTo>
                    <a:lnTo>
                      <a:pt x="573" y="177"/>
                    </a:lnTo>
                    <a:lnTo>
                      <a:pt x="575" y="179"/>
                    </a:lnTo>
                    <a:lnTo>
                      <a:pt x="575" y="181"/>
                    </a:lnTo>
                    <a:lnTo>
                      <a:pt x="573" y="181"/>
                    </a:lnTo>
                    <a:lnTo>
                      <a:pt x="573" y="183"/>
                    </a:lnTo>
                    <a:lnTo>
                      <a:pt x="571" y="183"/>
                    </a:lnTo>
                    <a:lnTo>
                      <a:pt x="571" y="181"/>
                    </a:lnTo>
                    <a:lnTo>
                      <a:pt x="569" y="181"/>
                    </a:lnTo>
                    <a:lnTo>
                      <a:pt x="567" y="181"/>
                    </a:lnTo>
                    <a:lnTo>
                      <a:pt x="567" y="183"/>
                    </a:lnTo>
                    <a:lnTo>
                      <a:pt x="565" y="183"/>
                    </a:lnTo>
                    <a:lnTo>
                      <a:pt x="563" y="183"/>
                    </a:lnTo>
                    <a:lnTo>
                      <a:pt x="561" y="183"/>
                    </a:lnTo>
                    <a:lnTo>
                      <a:pt x="559" y="183"/>
                    </a:lnTo>
                    <a:lnTo>
                      <a:pt x="557" y="183"/>
                    </a:lnTo>
                    <a:lnTo>
                      <a:pt x="557" y="185"/>
                    </a:lnTo>
                    <a:lnTo>
                      <a:pt x="556" y="185"/>
                    </a:lnTo>
                    <a:lnTo>
                      <a:pt x="554" y="185"/>
                    </a:lnTo>
                    <a:lnTo>
                      <a:pt x="552" y="183"/>
                    </a:lnTo>
                    <a:lnTo>
                      <a:pt x="550" y="185"/>
                    </a:lnTo>
                    <a:lnTo>
                      <a:pt x="548" y="185"/>
                    </a:lnTo>
                    <a:lnTo>
                      <a:pt x="548" y="186"/>
                    </a:lnTo>
                    <a:lnTo>
                      <a:pt x="548" y="185"/>
                    </a:lnTo>
                    <a:lnTo>
                      <a:pt x="546" y="185"/>
                    </a:lnTo>
                    <a:lnTo>
                      <a:pt x="546" y="183"/>
                    </a:lnTo>
                    <a:lnTo>
                      <a:pt x="544" y="185"/>
                    </a:lnTo>
                    <a:lnTo>
                      <a:pt x="542" y="185"/>
                    </a:lnTo>
                    <a:lnTo>
                      <a:pt x="538" y="185"/>
                    </a:lnTo>
                    <a:lnTo>
                      <a:pt x="536" y="183"/>
                    </a:lnTo>
                    <a:lnTo>
                      <a:pt x="534" y="183"/>
                    </a:lnTo>
                    <a:lnTo>
                      <a:pt x="533" y="183"/>
                    </a:lnTo>
                    <a:lnTo>
                      <a:pt x="531" y="183"/>
                    </a:lnTo>
                    <a:lnTo>
                      <a:pt x="529" y="183"/>
                    </a:lnTo>
                    <a:lnTo>
                      <a:pt x="527" y="183"/>
                    </a:lnTo>
                    <a:lnTo>
                      <a:pt x="525" y="183"/>
                    </a:lnTo>
                    <a:lnTo>
                      <a:pt x="523" y="185"/>
                    </a:lnTo>
                    <a:lnTo>
                      <a:pt x="525" y="186"/>
                    </a:lnTo>
                    <a:lnTo>
                      <a:pt x="525" y="188"/>
                    </a:lnTo>
                    <a:lnTo>
                      <a:pt x="525" y="190"/>
                    </a:lnTo>
                    <a:lnTo>
                      <a:pt x="527" y="190"/>
                    </a:lnTo>
                    <a:lnTo>
                      <a:pt x="527" y="192"/>
                    </a:lnTo>
                    <a:lnTo>
                      <a:pt x="529" y="192"/>
                    </a:lnTo>
                    <a:lnTo>
                      <a:pt x="529" y="194"/>
                    </a:lnTo>
                    <a:lnTo>
                      <a:pt x="529" y="196"/>
                    </a:lnTo>
                    <a:lnTo>
                      <a:pt x="529" y="198"/>
                    </a:lnTo>
                    <a:lnTo>
                      <a:pt x="531" y="200"/>
                    </a:lnTo>
                    <a:lnTo>
                      <a:pt x="533" y="200"/>
                    </a:lnTo>
                    <a:lnTo>
                      <a:pt x="534" y="202"/>
                    </a:lnTo>
                    <a:lnTo>
                      <a:pt x="534" y="204"/>
                    </a:lnTo>
                    <a:lnTo>
                      <a:pt x="534" y="206"/>
                    </a:lnTo>
                    <a:lnTo>
                      <a:pt x="536" y="206"/>
                    </a:lnTo>
                    <a:lnTo>
                      <a:pt x="538" y="206"/>
                    </a:lnTo>
                    <a:lnTo>
                      <a:pt x="538" y="208"/>
                    </a:lnTo>
                    <a:lnTo>
                      <a:pt x="540" y="208"/>
                    </a:lnTo>
                    <a:lnTo>
                      <a:pt x="540" y="210"/>
                    </a:lnTo>
                    <a:lnTo>
                      <a:pt x="538" y="210"/>
                    </a:lnTo>
                    <a:lnTo>
                      <a:pt x="538" y="211"/>
                    </a:lnTo>
                    <a:lnTo>
                      <a:pt x="538" y="213"/>
                    </a:lnTo>
                    <a:lnTo>
                      <a:pt x="538" y="215"/>
                    </a:lnTo>
                    <a:lnTo>
                      <a:pt x="536" y="215"/>
                    </a:lnTo>
                    <a:lnTo>
                      <a:pt x="534" y="215"/>
                    </a:lnTo>
                    <a:lnTo>
                      <a:pt x="534" y="217"/>
                    </a:lnTo>
                    <a:lnTo>
                      <a:pt x="533" y="217"/>
                    </a:lnTo>
                    <a:lnTo>
                      <a:pt x="533" y="219"/>
                    </a:lnTo>
                    <a:lnTo>
                      <a:pt x="531" y="219"/>
                    </a:lnTo>
                    <a:lnTo>
                      <a:pt x="529" y="219"/>
                    </a:lnTo>
                    <a:lnTo>
                      <a:pt x="529" y="221"/>
                    </a:lnTo>
                    <a:lnTo>
                      <a:pt x="527" y="221"/>
                    </a:lnTo>
                    <a:lnTo>
                      <a:pt x="525" y="221"/>
                    </a:lnTo>
                    <a:lnTo>
                      <a:pt x="523" y="221"/>
                    </a:lnTo>
                    <a:lnTo>
                      <a:pt x="521" y="221"/>
                    </a:lnTo>
                    <a:lnTo>
                      <a:pt x="523" y="221"/>
                    </a:lnTo>
                    <a:lnTo>
                      <a:pt x="523" y="223"/>
                    </a:lnTo>
                    <a:lnTo>
                      <a:pt x="523" y="225"/>
                    </a:lnTo>
                    <a:lnTo>
                      <a:pt x="521" y="227"/>
                    </a:lnTo>
                    <a:lnTo>
                      <a:pt x="519" y="227"/>
                    </a:lnTo>
                    <a:lnTo>
                      <a:pt x="519" y="229"/>
                    </a:lnTo>
                    <a:lnTo>
                      <a:pt x="517" y="229"/>
                    </a:lnTo>
                    <a:lnTo>
                      <a:pt x="517" y="231"/>
                    </a:lnTo>
                    <a:lnTo>
                      <a:pt x="519" y="231"/>
                    </a:lnTo>
                    <a:lnTo>
                      <a:pt x="519" y="229"/>
                    </a:lnTo>
                    <a:lnTo>
                      <a:pt x="519" y="231"/>
                    </a:lnTo>
                    <a:lnTo>
                      <a:pt x="517" y="231"/>
                    </a:lnTo>
                    <a:lnTo>
                      <a:pt x="517" y="233"/>
                    </a:lnTo>
                    <a:lnTo>
                      <a:pt x="517" y="235"/>
                    </a:lnTo>
                    <a:lnTo>
                      <a:pt x="517" y="236"/>
                    </a:lnTo>
                    <a:lnTo>
                      <a:pt x="517" y="238"/>
                    </a:lnTo>
                    <a:lnTo>
                      <a:pt x="519" y="240"/>
                    </a:lnTo>
                    <a:lnTo>
                      <a:pt x="517" y="240"/>
                    </a:lnTo>
                    <a:lnTo>
                      <a:pt x="517" y="238"/>
                    </a:lnTo>
                    <a:lnTo>
                      <a:pt x="515" y="238"/>
                    </a:lnTo>
                    <a:lnTo>
                      <a:pt x="515" y="240"/>
                    </a:lnTo>
                    <a:lnTo>
                      <a:pt x="513" y="238"/>
                    </a:lnTo>
                    <a:lnTo>
                      <a:pt x="513" y="240"/>
                    </a:lnTo>
                    <a:lnTo>
                      <a:pt x="515" y="242"/>
                    </a:lnTo>
                    <a:lnTo>
                      <a:pt x="515" y="244"/>
                    </a:lnTo>
                    <a:lnTo>
                      <a:pt x="517" y="244"/>
                    </a:lnTo>
                    <a:lnTo>
                      <a:pt x="515" y="244"/>
                    </a:lnTo>
                    <a:lnTo>
                      <a:pt x="517" y="244"/>
                    </a:lnTo>
                    <a:lnTo>
                      <a:pt x="517" y="246"/>
                    </a:lnTo>
                    <a:lnTo>
                      <a:pt x="517" y="248"/>
                    </a:lnTo>
                    <a:lnTo>
                      <a:pt x="515" y="248"/>
                    </a:lnTo>
                    <a:lnTo>
                      <a:pt x="515" y="250"/>
                    </a:lnTo>
                    <a:lnTo>
                      <a:pt x="515" y="252"/>
                    </a:lnTo>
                    <a:lnTo>
                      <a:pt x="513" y="254"/>
                    </a:lnTo>
                    <a:lnTo>
                      <a:pt x="513" y="252"/>
                    </a:lnTo>
                    <a:lnTo>
                      <a:pt x="511" y="252"/>
                    </a:lnTo>
                    <a:lnTo>
                      <a:pt x="511" y="254"/>
                    </a:lnTo>
                    <a:lnTo>
                      <a:pt x="509" y="254"/>
                    </a:lnTo>
                    <a:lnTo>
                      <a:pt x="509" y="256"/>
                    </a:lnTo>
                    <a:lnTo>
                      <a:pt x="509" y="258"/>
                    </a:lnTo>
                    <a:lnTo>
                      <a:pt x="508" y="258"/>
                    </a:lnTo>
                    <a:lnTo>
                      <a:pt x="508" y="256"/>
                    </a:lnTo>
                    <a:lnTo>
                      <a:pt x="506" y="258"/>
                    </a:lnTo>
                    <a:lnTo>
                      <a:pt x="506" y="259"/>
                    </a:lnTo>
                    <a:lnTo>
                      <a:pt x="504" y="261"/>
                    </a:lnTo>
                    <a:lnTo>
                      <a:pt x="502" y="261"/>
                    </a:lnTo>
                    <a:lnTo>
                      <a:pt x="502" y="263"/>
                    </a:lnTo>
                    <a:lnTo>
                      <a:pt x="500" y="263"/>
                    </a:lnTo>
                    <a:lnTo>
                      <a:pt x="500" y="265"/>
                    </a:lnTo>
                    <a:lnTo>
                      <a:pt x="498" y="267"/>
                    </a:lnTo>
                    <a:lnTo>
                      <a:pt x="498" y="269"/>
                    </a:lnTo>
                    <a:lnTo>
                      <a:pt x="496" y="269"/>
                    </a:lnTo>
                    <a:lnTo>
                      <a:pt x="496" y="271"/>
                    </a:lnTo>
                    <a:lnTo>
                      <a:pt x="494" y="271"/>
                    </a:lnTo>
                    <a:lnTo>
                      <a:pt x="492" y="271"/>
                    </a:lnTo>
                    <a:lnTo>
                      <a:pt x="490" y="271"/>
                    </a:lnTo>
                    <a:lnTo>
                      <a:pt x="488" y="271"/>
                    </a:lnTo>
                    <a:lnTo>
                      <a:pt x="488" y="273"/>
                    </a:lnTo>
                    <a:lnTo>
                      <a:pt x="488" y="271"/>
                    </a:lnTo>
                    <a:lnTo>
                      <a:pt x="488" y="273"/>
                    </a:lnTo>
                    <a:lnTo>
                      <a:pt x="488" y="275"/>
                    </a:lnTo>
                    <a:lnTo>
                      <a:pt x="488" y="277"/>
                    </a:lnTo>
                    <a:lnTo>
                      <a:pt x="490" y="279"/>
                    </a:lnTo>
                    <a:lnTo>
                      <a:pt x="492" y="281"/>
                    </a:lnTo>
                    <a:lnTo>
                      <a:pt x="492" y="283"/>
                    </a:lnTo>
                    <a:lnTo>
                      <a:pt x="494" y="283"/>
                    </a:lnTo>
                    <a:lnTo>
                      <a:pt x="494" y="284"/>
                    </a:lnTo>
                    <a:lnTo>
                      <a:pt x="496" y="286"/>
                    </a:lnTo>
                    <a:lnTo>
                      <a:pt x="496" y="288"/>
                    </a:lnTo>
                    <a:lnTo>
                      <a:pt x="498" y="288"/>
                    </a:lnTo>
                    <a:lnTo>
                      <a:pt x="498" y="290"/>
                    </a:lnTo>
                    <a:lnTo>
                      <a:pt x="500" y="292"/>
                    </a:lnTo>
                    <a:lnTo>
                      <a:pt x="498" y="292"/>
                    </a:lnTo>
                    <a:lnTo>
                      <a:pt x="498" y="294"/>
                    </a:lnTo>
                    <a:lnTo>
                      <a:pt x="498" y="292"/>
                    </a:lnTo>
                    <a:lnTo>
                      <a:pt x="496" y="292"/>
                    </a:lnTo>
                    <a:lnTo>
                      <a:pt x="494" y="292"/>
                    </a:lnTo>
                    <a:lnTo>
                      <a:pt x="492" y="294"/>
                    </a:lnTo>
                    <a:lnTo>
                      <a:pt x="490" y="296"/>
                    </a:lnTo>
                    <a:lnTo>
                      <a:pt x="490" y="298"/>
                    </a:lnTo>
                    <a:lnTo>
                      <a:pt x="492" y="300"/>
                    </a:lnTo>
                    <a:lnTo>
                      <a:pt x="490" y="300"/>
                    </a:lnTo>
                    <a:lnTo>
                      <a:pt x="490" y="302"/>
                    </a:lnTo>
                    <a:lnTo>
                      <a:pt x="490" y="304"/>
                    </a:lnTo>
                    <a:lnTo>
                      <a:pt x="488" y="302"/>
                    </a:lnTo>
                    <a:lnTo>
                      <a:pt x="488" y="304"/>
                    </a:lnTo>
                    <a:lnTo>
                      <a:pt x="486" y="306"/>
                    </a:lnTo>
                    <a:lnTo>
                      <a:pt x="488" y="306"/>
                    </a:lnTo>
                    <a:lnTo>
                      <a:pt x="488" y="308"/>
                    </a:lnTo>
                    <a:lnTo>
                      <a:pt x="488" y="309"/>
                    </a:lnTo>
                    <a:lnTo>
                      <a:pt x="486" y="311"/>
                    </a:lnTo>
                    <a:lnTo>
                      <a:pt x="488" y="311"/>
                    </a:lnTo>
                    <a:lnTo>
                      <a:pt x="486" y="311"/>
                    </a:lnTo>
                    <a:lnTo>
                      <a:pt x="486" y="313"/>
                    </a:lnTo>
                    <a:lnTo>
                      <a:pt x="488" y="315"/>
                    </a:lnTo>
                    <a:lnTo>
                      <a:pt x="488" y="317"/>
                    </a:lnTo>
                    <a:lnTo>
                      <a:pt x="488" y="319"/>
                    </a:lnTo>
                    <a:lnTo>
                      <a:pt x="488" y="321"/>
                    </a:lnTo>
                    <a:lnTo>
                      <a:pt x="486" y="321"/>
                    </a:lnTo>
                    <a:lnTo>
                      <a:pt x="484" y="323"/>
                    </a:lnTo>
                    <a:lnTo>
                      <a:pt x="484" y="325"/>
                    </a:lnTo>
                    <a:lnTo>
                      <a:pt x="484" y="327"/>
                    </a:lnTo>
                    <a:lnTo>
                      <a:pt x="486" y="327"/>
                    </a:lnTo>
                    <a:lnTo>
                      <a:pt x="486" y="329"/>
                    </a:lnTo>
                    <a:lnTo>
                      <a:pt x="488" y="329"/>
                    </a:lnTo>
                    <a:lnTo>
                      <a:pt x="488" y="331"/>
                    </a:lnTo>
                    <a:lnTo>
                      <a:pt x="490" y="331"/>
                    </a:lnTo>
                    <a:lnTo>
                      <a:pt x="488" y="331"/>
                    </a:lnTo>
                    <a:lnTo>
                      <a:pt x="488" y="333"/>
                    </a:lnTo>
                    <a:lnTo>
                      <a:pt x="488" y="334"/>
                    </a:lnTo>
                    <a:lnTo>
                      <a:pt x="488" y="336"/>
                    </a:lnTo>
                    <a:lnTo>
                      <a:pt x="488" y="338"/>
                    </a:lnTo>
                    <a:lnTo>
                      <a:pt x="486" y="340"/>
                    </a:lnTo>
                    <a:lnTo>
                      <a:pt x="486" y="342"/>
                    </a:lnTo>
                    <a:lnTo>
                      <a:pt x="486" y="344"/>
                    </a:lnTo>
                    <a:lnTo>
                      <a:pt x="488" y="344"/>
                    </a:lnTo>
                    <a:lnTo>
                      <a:pt x="488" y="346"/>
                    </a:lnTo>
                    <a:lnTo>
                      <a:pt x="488" y="348"/>
                    </a:lnTo>
                    <a:lnTo>
                      <a:pt x="490" y="350"/>
                    </a:lnTo>
                    <a:lnTo>
                      <a:pt x="492" y="352"/>
                    </a:lnTo>
                    <a:lnTo>
                      <a:pt x="492" y="350"/>
                    </a:lnTo>
                    <a:lnTo>
                      <a:pt x="492" y="348"/>
                    </a:lnTo>
                    <a:lnTo>
                      <a:pt x="492" y="346"/>
                    </a:lnTo>
                    <a:lnTo>
                      <a:pt x="494" y="346"/>
                    </a:lnTo>
                    <a:lnTo>
                      <a:pt x="496" y="344"/>
                    </a:lnTo>
                    <a:lnTo>
                      <a:pt x="498" y="344"/>
                    </a:lnTo>
                    <a:lnTo>
                      <a:pt x="500" y="344"/>
                    </a:lnTo>
                    <a:lnTo>
                      <a:pt x="500" y="346"/>
                    </a:lnTo>
                    <a:lnTo>
                      <a:pt x="502" y="346"/>
                    </a:lnTo>
                    <a:lnTo>
                      <a:pt x="502" y="348"/>
                    </a:lnTo>
                    <a:lnTo>
                      <a:pt x="502" y="350"/>
                    </a:lnTo>
                    <a:lnTo>
                      <a:pt x="502" y="352"/>
                    </a:lnTo>
                    <a:lnTo>
                      <a:pt x="502" y="354"/>
                    </a:lnTo>
                    <a:lnTo>
                      <a:pt x="500" y="356"/>
                    </a:lnTo>
                    <a:lnTo>
                      <a:pt x="500" y="358"/>
                    </a:lnTo>
                    <a:lnTo>
                      <a:pt x="502" y="359"/>
                    </a:lnTo>
                    <a:lnTo>
                      <a:pt x="504" y="359"/>
                    </a:lnTo>
                    <a:lnTo>
                      <a:pt x="504" y="361"/>
                    </a:lnTo>
                    <a:lnTo>
                      <a:pt x="504" y="363"/>
                    </a:lnTo>
                    <a:lnTo>
                      <a:pt x="506" y="363"/>
                    </a:lnTo>
                    <a:lnTo>
                      <a:pt x="506" y="361"/>
                    </a:lnTo>
                    <a:lnTo>
                      <a:pt x="508" y="359"/>
                    </a:lnTo>
                    <a:lnTo>
                      <a:pt x="506" y="359"/>
                    </a:lnTo>
                    <a:lnTo>
                      <a:pt x="508" y="359"/>
                    </a:lnTo>
                    <a:lnTo>
                      <a:pt x="506" y="358"/>
                    </a:lnTo>
                    <a:lnTo>
                      <a:pt x="508" y="358"/>
                    </a:lnTo>
                    <a:lnTo>
                      <a:pt x="509" y="358"/>
                    </a:lnTo>
                    <a:lnTo>
                      <a:pt x="509" y="356"/>
                    </a:lnTo>
                    <a:lnTo>
                      <a:pt x="509" y="358"/>
                    </a:lnTo>
                    <a:lnTo>
                      <a:pt x="511" y="359"/>
                    </a:lnTo>
                    <a:lnTo>
                      <a:pt x="513" y="359"/>
                    </a:lnTo>
                    <a:lnTo>
                      <a:pt x="513" y="361"/>
                    </a:lnTo>
                    <a:lnTo>
                      <a:pt x="515" y="359"/>
                    </a:lnTo>
                    <a:lnTo>
                      <a:pt x="517" y="359"/>
                    </a:lnTo>
                    <a:lnTo>
                      <a:pt x="517" y="358"/>
                    </a:lnTo>
                    <a:lnTo>
                      <a:pt x="519" y="358"/>
                    </a:lnTo>
                    <a:lnTo>
                      <a:pt x="519" y="359"/>
                    </a:lnTo>
                    <a:lnTo>
                      <a:pt x="519" y="361"/>
                    </a:lnTo>
                    <a:lnTo>
                      <a:pt x="521" y="363"/>
                    </a:lnTo>
                    <a:lnTo>
                      <a:pt x="523" y="363"/>
                    </a:lnTo>
                    <a:lnTo>
                      <a:pt x="525" y="363"/>
                    </a:lnTo>
                    <a:lnTo>
                      <a:pt x="525" y="365"/>
                    </a:lnTo>
                    <a:lnTo>
                      <a:pt x="525" y="367"/>
                    </a:lnTo>
                    <a:lnTo>
                      <a:pt x="527" y="367"/>
                    </a:lnTo>
                    <a:lnTo>
                      <a:pt x="529" y="369"/>
                    </a:lnTo>
                    <a:lnTo>
                      <a:pt x="529" y="371"/>
                    </a:lnTo>
                    <a:lnTo>
                      <a:pt x="527" y="371"/>
                    </a:lnTo>
                    <a:lnTo>
                      <a:pt x="527" y="375"/>
                    </a:lnTo>
                    <a:lnTo>
                      <a:pt x="527" y="377"/>
                    </a:lnTo>
                    <a:lnTo>
                      <a:pt x="529" y="377"/>
                    </a:lnTo>
                    <a:lnTo>
                      <a:pt x="531" y="377"/>
                    </a:lnTo>
                    <a:lnTo>
                      <a:pt x="531" y="379"/>
                    </a:lnTo>
                    <a:lnTo>
                      <a:pt x="531" y="381"/>
                    </a:lnTo>
                    <a:lnTo>
                      <a:pt x="531" y="383"/>
                    </a:lnTo>
                    <a:lnTo>
                      <a:pt x="533" y="383"/>
                    </a:lnTo>
                    <a:lnTo>
                      <a:pt x="533" y="384"/>
                    </a:lnTo>
                    <a:lnTo>
                      <a:pt x="534" y="384"/>
                    </a:lnTo>
                    <a:lnTo>
                      <a:pt x="536" y="384"/>
                    </a:lnTo>
                    <a:lnTo>
                      <a:pt x="536" y="386"/>
                    </a:lnTo>
                    <a:lnTo>
                      <a:pt x="538" y="390"/>
                    </a:lnTo>
                    <a:lnTo>
                      <a:pt x="538" y="392"/>
                    </a:lnTo>
                    <a:lnTo>
                      <a:pt x="536" y="392"/>
                    </a:lnTo>
                    <a:lnTo>
                      <a:pt x="538" y="392"/>
                    </a:lnTo>
                    <a:lnTo>
                      <a:pt x="538" y="394"/>
                    </a:lnTo>
                    <a:lnTo>
                      <a:pt x="540" y="394"/>
                    </a:lnTo>
                    <a:lnTo>
                      <a:pt x="540" y="396"/>
                    </a:lnTo>
                    <a:lnTo>
                      <a:pt x="540" y="398"/>
                    </a:lnTo>
                    <a:lnTo>
                      <a:pt x="538" y="398"/>
                    </a:lnTo>
                    <a:lnTo>
                      <a:pt x="536" y="398"/>
                    </a:lnTo>
                    <a:lnTo>
                      <a:pt x="536" y="400"/>
                    </a:lnTo>
                    <a:lnTo>
                      <a:pt x="536" y="402"/>
                    </a:lnTo>
                    <a:lnTo>
                      <a:pt x="538" y="404"/>
                    </a:lnTo>
                    <a:lnTo>
                      <a:pt x="538" y="402"/>
                    </a:lnTo>
                    <a:lnTo>
                      <a:pt x="540" y="402"/>
                    </a:lnTo>
                    <a:lnTo>
                      <a:pt x="540" y="404"/>
                    </a:lnTo>
                    <a:lnTo>
                      <a:pt x="542" y="404"/>
                    </a:lnTo>
                    <a:lnTo>
                      <a:pt x="544" y="404"/>
                    </a:lnTo>
                    <a:lnTo>
                      <a:pt x="544" y="406"/>
                    </a:lnTo>
                    <a:lnTo>
                      <a:pt x="544" y="408"/>
                    </a:lnTo>
                    <a:lnTo>
                      <a:pt x="546" y="409"/>
                    </a:lnTo>
                    <a:lnTo>
                      <a:pt x="546" y="411"/>
                    </a:lnTo>
                    <a:lnTo>
                      <a:pt x="546" y="413"/>
                    </a:lnTo>
                    <a:lnTo>
                      <a:pt x="548" y="415"/>
                    </a:lnTo>
                    <a:lnTo>
                      <a:pt x="548" y="417"/>
                    </a:lnTo>
                    <a:lnTo>
                      <a:pt x="548" y="419"/>
                    </a:lnTo>
                    <a:lnTo>
                      <a:pt x="550" y="421"/>
                    </a:lnTo>
                    <a:lnTo>
                      <a:pt x="550" y="423"/>
                    </a:lnTo>
                    <a:lnTo>
                      <a:pt x="550" y="425"/>
                    </a:lnTo>
                    <a:lnTo>
                      <a:pt x="550" y="427"/>
                    </a:lnTo>
                    <a:lnTo>
                      <a:pt x="550" y="429"/>
                    </a:lnTo>
                    <a:lnTo>
                      <a:pt x="548" y="429"/>
                    </a:lnTo>
                    <a:lnTo>
                      <a:pt x="546" y="429"/>
                    </a:lnTo>
                    <a:lnTo>
                      <a:pt x="546" y="431"/>
                    </a:lnTo>
                    <a:lnTo>
                      <a:pt x="546" y="433"/>
                    </a:lnTo>
                    <a:lnTo>
                      <a:pt x="544" y="431"/>
                    </a:lnTo>
                    <a:lnTo>
                      <a:pt x="542" y="433"/>
                    </a:lnTo>
                    <a:lnTo>
                      <a:pt x="540" y="434"/>
                    </a:lnTo>
                    <a:lnTo>
                      <a:pt x="540" y="433"/>
                    </a:lnTo>
                    <a:lnTo>
                      <a:pt x="540" y="434"/>
                    </a:lnTo>
                    <a:lnTo>
                      <a:pt x="538" y="434"/>
                    </a:lnTo>
                    <a:lnTo>
                      <a:pt x="540" y="434"/>
                    </a:lnTo>
                    <a:lnTo>
                      <a:pt x="540" y="436"/>
                    </a:lnTo>
                    <a:lnTo>
                      <a:pt x="540" y="438"/>
                    </a:lnTo>
                    <a:lnTo>
                      <a:pt x="540" y="440"/>
                    </a:lnTo>
                    <a:lnTo>
                      <a:pt x="540" y="442"/>
                    </a:lnTo>
                    <a:lnTo>
                      <a:pt x="540" y="444"/>
                    </a:lnTo>
                    <a:lnTo>
                      <a:pt x="540" y="446"/>
                    </a:lnTo>
                    <a:lnTo>
                      <a:pt x="540" y="448"/>
                    </a:lnTo>
                    <a:lnTo>
                      <a:pt x="542" y="450"/>
                    </a:lnTo>
                    <a:lnTo>
                      <a:pt x="544" y="452"/>
                    </a:lnTo>
                    <a:lnTo>
                      <a:pt x="542" y="452"/>
                    </a:lnTo>
                    <a:lnTo>
                      <a:pt x="542" y="454"/>
                    </a:lnTo>
                    <a:lnTo>
                      <a:pt x="542" y="452"/>
                    </a:lnTo>
                    <a:lnTo>
                      <a:pt x="542" y="454"/>
                    </a:lnTo>
                    <a:lnTo>
                      <a:pt x="540" y="452"/>
                    </a:lnTo>
                    <a:lnTo>
                      <a:pt x="540" y="454"/>
                    </a:lnTo>
                    <a:lnTo>
                      <a:pt x="540" y="452"/>
                    </a:lnTo>
                    <a:lnTo>
                      <a:pt x="540" y="454"/>
                    </a:lnTo>
                    <a:lnTo>
                      <a:pt x="538" y="454"/>
                    </a:lnTo>
                    <a:lnTo>
                      <a:pt x="536" y="454"/>
                    </a:lnTo>
                    <a:lnTo>
                      <a:pt x="534" y="454"/>
                    </a:lnTo>
                    <a:lnTo>
                      <a:pt x="534" y="456"/>
                    </a:lnTo>
                    <a:lnTo>
                      <a:pt x="534" y="458"/>
                    </a:lnTo>
                    <a:lnTo>
                      <a:pt x="533" y="458"/>
                    </a:lnTo>
                    <a:lnTo>
                      <a:pt x="533" y="459"/>
                    </a:lnTo>
                    <a:lnTo>
                      <a:pt x="531" y="459"/>
                    </a:lnTo>
                    <a:lnTo>
                      <a:pt x="531" y="461"/>
                    </a:lnTo>
                    <a:lnTo>
                      <a:pt x="531" y="463"/>
                    </a:lnTo>
                    <a:lnTo>
                      <a:pt x="531" y="465"/>
                    </a:lnTo>
                    <a:lnTo>
                      <a:pt x="529" y="467"/>
                    </a:lnTo>
                    <a:lnTo>
                      <a:pt x="527" y="467"/>
                    </a:lnTo>
                    <a:lnTo>
                      <a:pt x="525" y="465"/>
                    </a:lnTo>
                    <a:lnTo>
                      <a:pt x="523" y="465"/>
                    </a:lnTo>
                    <a:lnTo>
                      <a:pt x="521" y="467"/>
                    </a:lnTo>
                    <a:lnTo>
                      <a:pt x="521" y="469"/>
                    </a:lnTo>
                    <a:lnTo>
                      <a:pt x="519" y="469"/>
                    </a:lnTo>
                    <a:lnTo>
                      <a:pt x="517" y="469"/>
                    </a:lnTo>
                    <a:lnTo>
                      <a:pt x="517" y="471"/>
                    </a:lnTo>
                    <a:lnTo>
                      <a:pt x="517" y="469"/>
                    </a:lnTo>
                    <a:lnTo>
                      <a:pt x="515" y="469"/>
                    </a:lnTo>
                    <a:lnTo>
                      <a:pt x="515" y="467"/>
                    </a:lnTo>
                    <a:lnTo>
                      <a:pt x="513" y="467"/>
                    </a:lnTo>
                    <a:lnTo>
                      <a:pt x="509" y="465"/>
                    </a:lnTo>
                    <a:lnTo>
                      <a:pt x="508" y="465"/>
                    </a:lnTo>
                    <a:lnTo>
                      <a:pt x="506" y="463"/>
                    </a:lnTo>
                    <a:lnTo>
                      <a:pt x="504" y="463"/>
                    </a:lnTo>
                    <a:lnTo>
                      <a:pt x="502" y="463"/>
                    </a:lnTo>
                    <a:lnTo>
                      <a:pt x="502" y="461"/>
                    </a:lnTo>
                    <a:lnTo>
                      <a:pt x="500" y="461"/>
                    </a:lnTo>
                    <a:lnTo>
                      <a:pt x="500" y="459"/>
                    </a:lnTo>
                    <a:lnTo>
                      <a:pt x="498" y="459"/>
                    </a:lnTo>
                    <a:lnTo>
                      <a:pt x="498" y="461"/>
                    </a:lnTo>
                    <a:lnTo>
                      <a:pt x="498" y="459"/>
                    </a:lnTo>
                    <a:lnTo>
                      <a:pt x="496" y="459"/>
                    </a:lnTo>
                    <a:lnTo>
                      <a:pt x="496" y="458"/>
                    </a:lnTo>
                    <a:lnTo>
                      <a:pt x="496" y="456"/>
                    </a:lnTo>
                    <a:lnTo>
                      <a:pt x="494" y="456"/>
                    </a:lnTo>
                    <a:lnTo>
                      <a:pt x="492" y="454"/>
                    </a:lnTo>
                    <a:lnTo>
                      <a:pt x="490" y="454"/>
                    </a:lnTo>
                    <a:lnTo>
                      <a:pt x="490" y="452"/>
                    </a:lnTo>
                    <a:lnTo>
                      <a:pt x="490" y="450"/>
                    </a:lnTo>
                    <a:lnTo>
                      <a:pt x="488" y="450"/>
                    </a:lnTo>
                    <a:lnTo>
                      <a:pt x="486" y="450"/>
                    </a:lnTo>
                    <a:lnTo>
                      <a:pt x="486" y="452"/>
                    </a:lnTo>
                    <a:lnTo>
                      <a:pt x="484" y="452"/>
                    </a:lnTo>
                    <a:lnTo>
                      <a:pt x="483" y="450"/>
                    </a:lnTo>
                    <a:lnTo>
                      <a:pt x="481" y="450"/>
                    </a:lnTo>
                    <a:lnTo>
                      <a:pt x="481" y="448"/>
                    </a:lnTo>
                    <a:lnTo>
                      <a:pt x="481" y="446"/>
                    </a:lnTo>
                    <a:lnTo>
                      <a:pt x="481" y="444"/>
                    </a:lnTo>
                    <a:lnTo>
                      <a:pt x="479" y="444"/>
                    </a:lnTo>
                    <a:lnTo>
                      <a:pt x="477" y="444"/>
                    </a:lnTo>
                    <a:lnTo>
                      <a:pt x="475" y="444"/>
                    </a:lnTo>
                    <a:lnTo>
                      <a:pt x="475" y="446"/>
                    </a:lnTo>
                    <a:lnTo>
                      <a:pt x="475" y="448"/>
                    </a:lnTo>
                    <a:lnTo>
                      <a:pt x="475" y="450"/>
                    </a:lnTo>
                    <a:lnTo>
                      <a:pt x="473" y="450"/>
                    </a:lnTo>
                    <a:lnTo>
                      <a:pt x="471" y="450"/>
                    </a:lnTo>
                    <a:lnTo>
                      <a:pt x="471" y="448"/>
                    </a:lnTo>
                    <a:lnTo>
                      <a:pt x="469" y="448"/>
                    </a:lnTo>
                    <a:lnTo>
                      <a:pt x="467" y="450"/>
                    </a:lnTo>
                    <a:lnTo>
                      <a:pt x="467" y="452"/>
                    </a:lnTo>
                    <a:lnTo>
                      <a:pt x="467" y="454"/>
                    </a:lnTo>
                    <a:lnTo>
                      <a:pt x="465" y="454"/>
                    </a:lnTo>
                    <a:lnTo>
                      <a:pt x="463" y="454"/>
                    </a:lnTo>
                    <a:lnTo>
                      <a:pt x="463" y="452"/>
                    </a:lnTo>
                    <a:lnTo>
                      <a:pt x="461" y="450"/>
                    </a:lnTo>
                    <a:lnTo>
                      <a:pt x="461" y="448"/>
                    </a:lnTo>
                    <a:lnTo>
                      <a:pt x="459" y="448"/>
                    </a:lnTo>
                    <a:lnTo>
                      <a:pt x="458" y="448"/>
                    </a:lnTo>
                    <a:lnTo>
                      <a:pt x="456" y="448"/>
                    </a:lnTo>
                    <a:lnTo>
                      <a:pt x="454" y="448"/>
                    </a:lnTo>
                    <a:lnTo>
                      <a:pt x="452" y="450"/>
                    </a:lnTo>
                    <a:lnTo>
                      <a:pt x="450" y="450"/>
                    </a:lnTo>
                    <a:lnTo>
                      <a:pt x="450" y="448"/>
                    </a:lnTo>
                    <a:lnTo>
                      <a:pt x="450" y="446"/>
                    </a:lnTo>
                    <a:lnTo>
                      <a:pt x="450" y="444"/>
                    </a:lnTo>
                    <a:lnTo>
                      <a:pt x="450" y="442"/>
                    </a:lnTo>
                    <a:lnTo>
                      <a:pt x="448" y="442"/>
                    </a:lnTo>
                    <a:lnTo>
                      <a:pt x="448" y="444"/>
                    </a:lnTo>
                    <a:lnTo>
                      <a:pt x="446" y="444"/>
                    </a:lnTo>
                    <a:lnTo>
                      <a:pt x="444" y="444"/>
                    </a:lnTo>
                    <a:lnTo>
                      <a:pt x="442" y="444"/>
                    </a:lnTo>
                    <a:lnTo>
                      <a:pt x="440" y="444"/>
                    </a:lnTo>
                    <a:lnTo>
                      <a:pt x="438" y="444"/>
                    </a:lnTo>
                    <a:lnTo>
                      <a:pt x="438" y="446"/>
                    </a:lnTo>
                    <a:lnTo>
                      <a:pt x="435" y="446"/>
                    </a:lnTo>
                    <a:lnTo>
                      <a:pt x="435" y="448"/>
                    </a:lnTo>
                    <a:lnTo>
                      <a:pt x="435" y="450"/>
                    </a:lnTo>
                    <a:lnTo>
                      <a:pt x="433" y="452"/>
                    </a:lnTo>
                    <a:lnTo>
                      <a:pt x="431" y="452"/>
                    </a:lnTo>
                    <a:lnTo>
                      <a:pt x="429" y="454"/>
                    </a:lnTo>
                    <a:lnTo>
                      <a:pt x="427" y="454"/>
                    </a:lnTo>
                    <a:lnTo>
                      <a:pt x="425" y="454"/>
                    </a:lnTo>
                    <a:lnTo>
                      <a:pt x="425" y="456"/>
                    </a:lnTo>
                    <a:lnTo>
                      <a:pt x="423" y="454"/>
                    </a:lnTo>
                    <a:lnTo>
                      <a:pt x="421" y="454"/>
                    </a:lnTo>
                    <a:lnTo>
                      <a:pt x="421" y="452"/>
                    </a:lnTo>
                    <a:lnTo>
                      <a:pt x="419" y="452"/>
                    </a:lnTo>
                    <a:lnTo>
                      <a:pt x="419" y="454"/>
                    </a:lnTo>
                    <a:lnTo>
                      <a:pt x="417" y="454"/>
                    </a:lnTo>
                    <a:lnTo>
                      <a:pt x="415" y="454"/>
                    </a:lnTo>
                    <a:lnTo>
                      <a:pt x="415" y="456"/>
                    </a:lnTo>
                    <a:lnTo>
                      <a:pt x="413" y="456"/>
                    </a:lnTo>
                    <a:lnTo>
                      <a:pt x="413" y="454"/>
                    </a:lnTo>
                    <a:lnTo>
                      <a:pt x="413" y="452"/>
                    </a:lnTo>
                    <a:lnTo>
                      <a:pt x="411" y="452"/>
                    </a:lnTo>
                    <a:lnTo>
                      <a:pt x="410" y="450"/>
                    </a:lnTo>
                    <a:lnTo>
                      <a:pt x="408" y="450"/>
                    </a:lnTo>
                    <a:lnTo>
                      <a:pt x="408" y="448"/>
                    </a:lnTo>
                    <a:lnTo>
                      <a:pt x="406" y="448"/>
                    </a:lnTo>
                    <a:lnTo>
                      <a:pt x="406" y="446"/>
                    </a:lnTo>
                    <a:lnTo>
                      <a:pt x="406" y="444"/>
                    </a:lnTo>
                    <a:lnTo>
                      <a:pt x="404" y="444"/>
                    </a:lnTo>
                    <a:lnTo>
                      <a:pt x="402" y="444"/>
                    </a:lnTo>
                    <a:lnTo>
                      <a:pt x="400" y="442"/>
                    </a:lnTo>
                    <a:lnTo>
                      <a:pt x="398" y="442"/>
                    </a:lnTo>
                    <a:lnTo>
                      <a:pt x="398" y="440"/>
                    </a:lnTo>
                    <a:lnTo>
                      <a:pt x="398" y="438"/>
                    </a:lnTo>
                    <a:lnTo>
                      <a:pt x="398" y="436"/>
                    </a:lnTo>
                    <a:lnTo>
                      <a:pt x="398" y="434"/>
                    </a:lnTo>
                    <a:lnTo>
                      <a:pt x="396" y="434"/>
                    </a:lnTo>
                    <a:lnTo>
                      <a:pt x="396" y="433"/>
                    </a:lnTo>
                    <a:lnTo>
                      <a:pt x="394" y="433"/>
                    </a:lnTo>
                    <a:lnTo>
                      <a:pt x="394" y="431"/>
                    </a:lnTo>
                    <a:lnTo>
                      <a:pt x="394" y="429"/>
                    </a:lnTo>
                    <a:lnTo>
                      <a:pt x="394" y="427"/>
                    </a:lnTo>
                    <a:lnTo>
                      <a:pt x="392" y="427"/>
                    </a:lnTo>
                    <a:lnTo>
                      <a:pt x="392" y="425"/>
                    </a:lnTo>
                    <a:lnTo>
                      <a:pt x="394" y="425"/>
                    </a:lnTo>
                    <a:lnTo>
                      <a:pt x="394" y="423"/>
                    </a:lnTo>
                    <a:lnTo>
                      <a:pt x="394" y="421"/>
                    </a:lnTo>
                    <a:lnTo>
                      <a:pt x="394" y="419"/>
                    </a:lnTo>
                    <a:lnTo>
                      <a:pt x="394" y="417"/>
                    </a:lnTo>
                    <a:lnTo>
                      <a:pt x="394" y="415"/>
                    </a:lnTo>
                    <a:lnTo>
                      <a:pt x="392" y="413"/>
                    </a:lnTo>
                    <a:lnTo>
                      <a:pt x="390" y="413"/>
                    </a:lnTo>
                    <a:lnTo>
                      <a:pt x="388" y="413"/>
                    </a:lnTo>
                    <a:lnTo>
                      <a:pt x="386" y="413"/>
                    </a:lnTo>
                    <a:lnTo>
                      <a:pt x="385" y="413"/>
                    </a:lnTo>
                    <a:lnTo>
                      <a:pt x="383" y="413"/>
                    </a:lnTo>
                    <a:lnTo>
                      <a:pt x="381" y="411"/>
                    </a:lnTo>
                    <a:lnTo>
                      <a:pt x="381" y="409"/>
                    </a:lnTo>
                    <a:lnTo>
                      <a:pt x="381" y="408"/>
                    </a:lnTo>
                    <a:lnTo>
                      <a:pt x="381" y="406"/>
                    </a:lnTo>
                    <a:lnTo>
                      <a:pt x="381" y="404"/>
                    </a:lnTo>
                    <a:lnTo>
                      <a:pt x="379" y="404"/>
                    </a:lnTo>
                    <a:lnTo>
                      <a:pt x="377" y="404"/>
                    </a:lnTo>
                    <a:lnTo>
                      <a:pt x="377" y="402"/>
                    </a:lnTo>
                    <a:lnTo>
                      <a:pt x="377" y="400"/>
                    </a:lnTo>
                    <a:lnTo>
                      <a:pt x="377" y="398"/>
                    </a:lnTo>
                    <a:lnTo>
                      <a:pt x="377" y="396"/>
                    </a:lnTo>
                    <a:lnTo>
                      <a:pt x="377" y="394"/>
                    </a:lnTo>
                    <a:lnTo>
                      <a:pt x="375" y="392"/>
                    </a:lnTo>
                    <a:lnTo>
                      <a:pt x="373" y="390"/>
                    </a:lnTo>
                    <a:lnTo>
                      <a:pt x="373" y="388"/>
                    </a:lnTo>
                    <a:lnTo>
                      <a:pt x="371" y="388"/>
                    </a:lnTo>
                    <a:lnTo>
                      <a:pt x="371" y="386"/>
                    </a:lnTo>
                    <a:lnTo>
                      <a:pt x="371" y="384"/>
                    </a:lnTo>
                    <a:lnTo>
                      <a:pt x="369" y="383"/>
                    </a:lnTo>
                    <a:lnTo>
                      <a:pt x="367" y="383"/>
                    </a:lnTo>
                    <a:lnTo>
                      <a:pt x="365" y="379"/>
                    </a:lnTo>
                    <a:lnTo>
                      <a:pt x="363" y="377"/>
                    </a:lnTo>
                    <a:lnTo>
                      <a:pt x="362" y="375"/>
                    </a:lnTo>
                    <a:lnTo>
                      <a:pt x="360" y="375"/>
                    </a:lnTo>
                    <a:lnTo>
                      <a:pt x="360" y="373"/>
                    </a:lnTo>
                    <a:lnTo>
                      <a:pt x="358" y="373"/>
                    </a:lnTo>
                    <a:lnTo>
                      <a:pt x="356" y="373"/>
                    </a:lnTo>
                    <a:lnTo>
                      <a:pt x="356" y="371"/>
                    </a:lnTo>
                    <a:lnTo>
                      <a:pt x="354" y="369"/>
                    </a:lnTo>
                    <a:lnTo>
                      <a:pt x="352" y="369"/>
                    </a:lnTo>
                    <a:lnTo>
                      <a:pt x="352" y="367"/>
                    </a:lnTo>
                    <a:lnTo>
                      <a:pt x="350" y="367"/>
                    </a:lnTo>
                    <a:lnTo>
                      <a:pt x="350" y="365"/>
                    </a:lnTo>
                    <a:lnTo>
                      <a:pt x="350" y="363"/>
                    </a:lnTo>
                    <a:lnTo>
                      <a:pt x="348" y="361"/>
                    </a:lnTo>
                    <a:lnTo>
                      <a:pt x="348" y="359"/>
                    </a:lnTo>
                    <a:lnTo>
                      <a:pt x="346" y="359"/>
                    </a:lnTo>
                    <a:lnTo>
                      <a:pt x="346" y="358"/>
                    </a:lnTo>
                    <a:lnTo>
                      <a:pt x="346" y="354"/>
                    </a:lnTo>
                    <a:lnTo>
                      <a:pt x="348" y="354"/>
                    </a:lnTo>
                    <a:lnTo>
                      <a:pt x="348" y="352"/>
                    </a:lnTo>
                    <a:lnTo>
                      <a:pt x="346" y="350"/>
                    </a:lnTo>
                    <a:lnTo>
                      <a:pt x="344" y="352"/>
                    </a:lnTo>
                    <a:lnTo>
                      <a:pt x="344" y="354"/>
                    </a:lnTo>
                    <a:lnTo>
                      <a:pt x="346" y="354"/>
                    </a:lnTo>
                    <a:lnTo>
                      <a:pt x="346" y="356"/>
                    </a:lnTo>
                    <a:lnTo>
                      <a:pt x="344" y="356"/>
                    </a:lnTo>
                    <a:lnTo>
                      <a:pt x="342" y="356"/>
                    </a:lnTo>
                    <a:lnTo>
                      <a:pt x="342" y="354"/>
                    </a:lnTo>
                    <a:lnTo>
                      <a:pt x="340" y="352"/>
                    </a:lnTo>
                    <a:lnTo>
                      <a:pt x="340" y="350"/>
                    </a:lnTo>
                    <a:lnTo>
                      <a:pt x="342" y="350"/>
                    </a:lnTo>
                    <a:lnTo>
                      <a:pt x="344" y="350"/>
                    </a:lnTo>
                    <a:lnTo>
                      <a:pt x="344" y="348"/>
                    </a:lnTo>
                    <a:lnTo>
                      <a:pt x="344" y="346"/>
                    </a:lnTo>
                    <a:lnTo>
                      <a:pt x="342" y="346"/>
                    </a:lnTo>
                    <a:lnTo>
                      <a:pt x="342" y="344"/>
                    </a:lnTo>
                    <a:lnTo>
                      <a:pt x="340" y="346"/>
                    </a:lnTo>
                    <a:lnTo>
                      <a:pt x="338" y="346"/>
                    </a:lnTo>
                    <a:lnTo>
                      <a:pt x="338" y="344"/>
                    </a:lnTo>
                    <a:lnTo>
                      <a:pt x="337" y="344"/>
                    </a:lnTo>
                    <a:lnTo>
                      <a:pt x="337" y="342"/>
                    </a:lnTo>
                    <a:lnTo>
                      <a:pt x="338" y="342"/>
                    </a:lnTo>
                    <a:lnTo>
                      <a:pt x="337" y="342"/>
                    </a:lnTo>
                    <a:lnTo>
                      <a:pt x="337" y="340"/>
                    </a:lnTo>
                    <a:lnTo>
                      <a:pt x="338" y="340"/>
                    </a:lnTo>
                    <a:lnTo>
                      <a:pt x="338" y="338"/>
                    </a:lnTo>
                    <a:lnTo>
                      <a:pt x="337" y="338"/>
                    </a:lnTo>
                    <a:lnTo>
                      <a:pt x="337" y="336"/>
                    </a:lnTo>
                    <a:lnTo>
                      <a:pt x="335" y="336"/>
                    </a:lnTo>
                    <a:lnTo>
                      <a:pt x="333" y="336"/>
                    </a:lnTo>
                    <a:lnTo>
                      <a:pt x="331" y="336"/>
                    </a:lnTo>
                    <a:lnTo>
                      <a:pt x="331" y="334"/>
                    </a:lnTo>
                    <a:lnTo>
                      <a:pt x="331" y="333"/>
                    </a:lnTo>
                    <a:lnTo>
                      <a:pt x="331" y="331"/>
                    </a:lnTo>
                    <a:lnTo>
                      <a:pt x="331" y="329"/>
                    </a:lnTo>
                    <a:lnTo>
                      <a:pt x="331" y="327"/>
                    </a:lnTo>
                    <a:lnTo>
                      <a:pt x="329" y="327"/>
                    </a:lnTo>
                    <a:lnTo>
                      <a:pt x="327" y="327"/>
                    </a:lnTo>
                    <a:lnTo>
                      <a:pt x="327" y="325"/>
                    </a:lnTo>
                    <a:lnTo>
                      <a:pt x="325" y="325"/>
                    </a:lnTo>
                    <a:lnTo>
                      <a:pt x="323" y="323"/>
                    </a:lnTo>
                    <a:lnTo>
                      <a:pt x="321" y="321"/>
                    </a:lnTo>
                    <a:lnTo>
                      <a:pt x="321" y="319"/>
                    </a:lnTo>
                    <a:lnTo>
                      <a:pt x="319" y="317"/>
                    </a:lnTo>
                    <a:lnTo>
                      <a:pt x="317" y="315"/>
                    </a:lnTo>
                    <a:lnTo>
                      <a:pt x="315" y="315"/>
                    </a:lnTo>
                    <a:lnTo>
                      <a:pt x="315" y="313"/>
                    </a:lnTo>
                    <a:lnTo>
                      <a:pt x="315" y="311"/>
                    </a:lnTo>
                    <a:lnTo>
                      <a:pt x="313" y="311"/>
                    </a:lnTo>
                    <a:lnTo>
                      <a:pt x="313" y="309"/>
                    </a:lnTo>
                    <a:lnTo>
                      <a:pt x="313" y="308"/>
                    </a:lnTo>
                    <a:lnTo>
                      <a:pt x="315" y="308"/>
                    </a:lnTo>
                    <a:lnTo>
                      <a:pt x="315" y="306"/>
                    </a:lnTo>
                    <a:lnTo>
                      <a:pt x="315" y="304"/>
                    </a:lnTo>
                    <a:lnTo>
                      <a:pt x="315" y="302"/>
                    </a:lnTo>
                    <a:lnTo>
                      <a:pt x="313" y="302"/>
                    </a:lnTo>
                    <a:lnTo>
                      <a:pt x="313" y="300"/>
                    </a:lnTo>
                    <a:lnTo>
                      <a:pt x="312" y="300"/>
                    </a:lnTo>
                    <a:lnTo>
                      <a:pt x="310" y="300"/>
                    </a:lnTo>
                    <a:lnTo>
                      <a:pt x="308" y="300"/>
                    </a:lnTo>
                    <a:lnTo>
                      <a:pt x="306" y="300"/>
                    </a:lnTo>
                    <a:lnTo>
                      <a:pt x="304" y="300"/>
                    </a:lnTo>
                    <a:lnTo>
                      <a:pt x="304" y="298"/>
                    </a:lnTo>
                    <a:lnTo>
                      <a:pt x="304" y="296"/>
                    </a:lnTo>
                    <a:lnTo>
                      <a:pt x="306" y="296"/>
                    </a:lnTo>
                    <a:lnTo>
                      <a:pt x="306" y="294"/>
                    </a:lnTo>
                    <a:lnTo>
                      <a:pt x="308" y="294"/>
                    </a:lnTo>
                    <a:lnTo>
                      <a:pt x="308" y="292"/>
                    </a:lnTo>
                    <a:lnTo>
                      <a:pt x="306" y="292"/>
                    </a:lnTo>
                    <a:lnTo>
                      <a:pt x="304" y="292"/>
                    </a:lnTo>
                    <a:lnTo>
                      <a:pt x="302" y="292"/>
                    </a:lnTo>
                    <a:lnTo>
                      <a:pt x="302" y="290"/>
                    </a:lnTo>
                    <a:lnTo>
                      <a:pt x="302" y="288"/>
                    </a:lnTo>
                    <a:lnTo>
                      <a:pt x="302" y="286"/>
                    </a:lnTo>
                    <a:lnTo>
                      <a:pt x="300" y="286"/>
                    </a:lnTo>
                    <a:lnTo>
                      <a:pt x="300" y="284"/>
                    </a:lnTo>
                    <a:lnTo>
                      <a:pt x="298" y="284"/>
                    </a:lnTo>
                    <a:lnTo>
                      <a:pt x="298" y="283"/>
                    </a:lnTo>
                    <a:lnTo>
                      <a:pt x="296" y="283"/>
                    </a:lnTo>
                    <a:lnTo>
                      <a:pt x="296" y="284"/>
                    </a:lnTo>
                    <a:lnTo>
                      <a:pt x="294" y="284"/>
                    </a:lnTo>
                    <a:lnTo>
                      <a:pt x="294" y="283"/>
                    </a:lnTo>
                    <a:lnTo>
                      <a:pt x="294" y="281"/>
                    </a:lnTo>
                    <a:lnTo>
                      <a:pt x="294" y="279"/>
                    </a:lnTo>
                    <a:lnTo>
                      <a:pt x="292" y="277"/>
                    </a:lnTo>
                    <a:lnTo>
                      <a:pt x="290" y="277"/>
                    </a:lnTo>
                    <a:lnTo>
                      <a:pt x="289" y="277"/>
                    </a:lnTo>
                    <a:lnTo>
                      <a:pt x="287" y="277"/>
                    </a:lnTo>
                    <a:lnTo>
                      <a:pt x="287" y="279"/>
                    </a:lnTo>
                    <a:lnTo>
                      <a:pt x="287" y="277"/>
                    </a:lnTo>
                    <a:lnTo>
                      <a:pt x="285" y="277"/>
                    </a:lnTo>
                    <a:lnTo>
                      <a:pt x="285" y="275"/>
                    </a:lnTo>
                    <a:lnTo>
                      <a:pt x="283" y="273"/>
                    </a:lnTo>
                    <a:lnTo>
                      <a:pt x="285" y="273"/>
                    </a:lnTo>
                    <a:lnTo>
                      <a:pt x="285" y="271"/>
                    </a:lnTo>
                    <a:lnTo>
                      <a:pt x="287" y="271"/>
                    </a:lnTo>
                    <a:lnTo>
                      <a:pt x="287" y="269"/>
                    </a:lnTo>
                    <a:lnTo>
                      <a:pt x="285" y="269"/>
                    </a:lnTo>
                    <a:lnTo>
                      <a:pt x="285" y="267"/>
                    </a:lnTo>
                    <a:lnTo>
                      <a:pt x="285" y="265"/>
                    </a:lnTo>
                    <a:lnTo>
                      <a:pt x="287" y="265"/>
                    </a:lnTo>
                    <a:lnTo>
                      <a:pt x="285" y="265"/>
                    </a:lnTo>
                    <a:lnTo>
                      <a:pt x="285" y="263"/>
                    </a:lnTo>
                    <a:lnTo>
                      <a:pt x="283" y="263"/>
                    </a:lnTo>
                    <a:lnTo>
                      <a:pt x="283" y="265"/>
                    </a:lnTo>
                    <a:lnTo>
                      <a:pt x="283" y="267"/>
                    </a:lnTo>
                    <a:lnTo>
                      <a:pt x="281" y="267"/>
                    </a:lnTo>
                    <a:lnTo>
                      <a:pt x="281" y="265"/>
                    </a:lnTo>
                    <a:lnTo>
                      <a:pt x="279" y="265"/>
                    </a:lnTo>
                    <a:lnTo>
                      <a:pt x="279" y="263"/>
                    </a:lnTo>
                    <a:lnTo>
                      <a:pt x="277" y="263"/>
                    </a:lnTo>
                    <a:lnTo>
                      <a:pt x="277" y="261"/>
                    </a:lnTo>
                    <a:lnTo>
                      <a:pt x="275" y="261"/>
                    </a:lnTo>
                    <a:lnTo>
                      <a:pt x="275" y="259"/>
                    </a:lnTo>
                    <a:lnTo>
                      <a:pt x="273" y="259"/>
                    </a:lnTo>
                    <a:lnTo>
                      <a:pt x="271" y="259"/>
                    </a:lnTo>
                    <a:lnTo>
                      <a:pt x="271" y="261"/>
                    </a:lnTo>
                    <a:lnTo>
                      <a:pt x="269" y="263"/>
                    </a:lnTo>
                    <a:lnTo>
                      <a:pt x="269" y="261"/>
                    </a:lnTo>
                    <a:lnTo>
                      <a:pt x="267" y="261"/>
                    </a:lnTo>
                    <a:lnTo>
                      <a:pt x="267" y="259"/>
                    </a:lnTo>
                    <a:lnTo>
                      <a:pt x="269" y="259"/>
                    </a:lnTo>
                    <a:lnTo>
                      <a:pt x="269" y="258"/>
                    </a:lnTo>
                    <a:lnTo>
                      <a:pt x="269" y="256"/>
                    </a:lnTo>
                    <a:lnTo>
                      <a:pt x="269" y="254"/>
                    </a:lnTo>
                    <a:lnTo>
                      <a:pt x="267" y="254"/>
                    </a:lnTo>
                    <a:lnTo>
                      <a:pt x="265" y="254"/>
                    </a:lnTo>
                    <a:lnTo>
                      <a:pt x="265" y="252"/>
                    </a:lnTo>
                    <a:lnTo>
                      <a:pt x="264" y="252"/>
                    </a:lnTo>
                    <a:lnTo>
                      <a:pt x="264" y="250"/>
                    </a:lnTo>
                    <a:lnTo>
                      <a:pt x="262" y="250"/>
                    </a:lnTo>
                    <a:lnTo>
                      <a:pt x="262" y="252"/>
                    </a:lnTo>
                    <a:lnTo>
                      <a:pt x="260" y="252"/>
                    </a:lnTo>
                    <a:lnTo>
                      <a:pt x="260" y="250"/>
                    </a:lnTo>
                    <a:lnTo>
                      <a:pt x="258" y="250"/>
                    </a:lnTo>
                    <a:lnTo>
                      <a:pt x="256" y="250"/>
                    </a:lnTo>
                    <a:lnTo>
                      <a:pt x="254" y="248"/>
                    </a:lnTo>
                    <a:lnTo>
                      <a:pt x="252" y="248"/>
                    </a:lnTo>
                    <a:lnTo>
                      <a:pt x="250" y="248"/>
                    </a:lnTo>
                    <a:lnTo>
                      <a:pt x="248" y="248"/>
                    </a:lnTo>
                    <a:lnTo>
                      <a:pt x="248" y="246"/>
                    </a:lnTo>
                    <a:lnTo>
                      <a:pt x="246" y="246"/>
                    </a:lnTo>
                    <a:lnTo>
                      <a:pt x="244" y="246"/>
                    </a:lnTo>
                    <a:lnTo>
                      <a:pt x="244" y="248"/>
                    </a:lnTo>
                    <a:lnTo>
                      <a:pt x="242" y="248"/>
                    </a:lnTo>
                    <a:lnTo>
                      <a:pt x="240" y="248"/>
                    </a:lnTo>
                    <a:lnTo>
                      <a:pt x="239" y="250"/>
                    </a:lnTo>
                    <a:lnTo>
                      <a:pt x="237" y="252"/>
                    </a:lnTo>
                    <a:lnTo>
                      <a:pt x="239" y="254"/>
                    </a:lnTo>
                    <a:lnTo>
                      <a:pt x="239" y="256"/>
                    </a:lnTo>
                    <a:lnTo>
                      <a:pt x="237" y="258"/>
                    </a:lnTo>
                    <a:lnTo>
                      <a:pt x="237" y="256"/>
                    </a:lnTo>
                    <a:lnTo>
                      <a:pt x="237" y="254"/>
                    </a:lnTo>
                    <a:lnTo>
                      <a:pt x="235" y="254"/>
                    </a:lnTo>
                    <a:lnTo>
                      <a:pt x="233" y="256"/>
                    </a:lnTo>
                    <a:lnTo>
                      <a:pt x="233" y="254"/>
                    </a:lnTo>
                    <a:lnTo>
                      <a:pt x="233" y="256"/>
                    </a:lnTo>
                    <a:lnTo>
                      <a:pt x="231" y="254"/>
                    </a:lnTo>
                    <a:lnTo>
                      <a:pt x="231" y="252"/>
                    </a:lnTo>
                    <a:lnTo>
                      <a:pt x="229" y="252"/>
                    </a:lnTo>
                    <a:lnTo>
                      <a:pt x="227" y="252"/>
                    </a:lnTo>
                    <a:lnTo>
                      <a:pt x="225" y="252"/>
                    </a:lnTo>
                    <a:lnTo>
                      <a:pt x="225" y="254"/>
                    </a:lnTo>
                    <a:lnTo>
                      <a:pt x="223" y="254"/>
                    </a:lnTo>
                    <a:lnTo>
                      <a:pt x="221" y="252"/>
                    </a:lnTo>
                    <a:lnTo>
                      <a:pt x="221" y="254"/>
                    </a:lnTo>
                    <a:lnTo>
                      <a:pt x="221" y="252"/>
                    </a:lnTo>
                    <a:lnTo>
                      <a:pt x="219" y="252"/>
                    </a:lnTo>
                    <a:lnTo>
                      <a:pt x="217" y="252"/>
                    </a:lnTo>
                    <a:lnTo>
                      <a:pt x="217" y="250"/>
                    </a:lnTo>
                    <a:lnTo>
                      <a:pt x="216" y="250"/>
                    </a:lnTo>
                    <a:lnTo>
                      <a:pt x="216" y="248"/>
                    </a:lnTo>
                    <a:lnTo>
                      <a:pt x="214" y="246"/>
                    </a:lnTo>
                    <a:lnTo>
                      <a:pt x="212" y="246"/>
                    </a:lnTo>
                    <a:lnTo>
                      <a:pt x="212" y="244"/>
                    </a:lnTo>
                    <a:lnTo>
                      <a:pt x="210" y="244"/>
                    </a:lnTo>
                    <a:lnTo>
                      <a:pt x="210" y="246"/>
                    </a:lnTo>
                    <a:lnTo>
                      <a:pt x="208" y="248"/>
                    </a:lnTo>
                    <a:lnTo>
                      <a:pt x="206" y="246"/>
                    </a:lnTo>
                    <a:lnTo>
                      <a:pt x="206" y="244"/>
                    </a:lnTo>
                    <a:lnTo>
                      <a:pt x="204" y="244"/>
                    </a:lnTo>
                    <a:lnTo>
                      <a:pt x="204" y="246"/>
                    </a:lnTo>
                    <a:lnTo>
                      <a:pt x="202" y="246"/>
                    </a:lnTo>
                    <a:lnTo>
                      <a:pt x="202" y="244"/>
                    </a:lnTo>
                    <a:lnTo>
                      <a:pt x="200" y="244"/>
                    </a:lnTo>
                    <a:lnTo>
                      <a:pt x="200" y="242"/>
                    </a:lnTo>
                    <a:lnTo>
                      <a:pt x="198" y="242"/>
                    </a:lnTo>
                    <a:lnTo>
                      <a:pt x="196" y="240"/>
                    </a:lnTo>
                    <a:lnTo>
                      <a:pt x="194" y="242"/>
                    </a:lnTo>
                    <a:lnTo>
                      <a:pt x="192" y="242"/>
                    </a:lnTo>
                    <a:lnTo>
                      <a:pt x="191" y="242"/>
                    </a:lnTo>
                    <a:lnTo>
                      <a:pt x="191" y="240"/>
                    </a:lnTo>
                    <a:lnTo>
                      <a:pt x="189" y="240"/>
                    </a:lnTo>
                    <a:lnTo>
                      <a:pt x="187" y="240"/>
                    </a:lnTo>
                    <a:lnTo>
                      <a:pt x="187" y="242"/>
                    </a:lnTo>
                    <a:lnTo>
                      <a:pt x="187" y="244"/>
                    </a:lnTo>
                    <a:lnTo>
                      <a:pt x="185" y="244"/>
                    </a:lnTo>
                    <a:lnTo>
                      <a:pt x="185" y="242"/>
                    </a:lnTo>
                    <a:lnTo>
                      <a:pt x="185" y="240"/>
                    </a:lnTo>
                    <a:lnTo>
                      <a:pt x="183" y="240"/>
                    </a:lnTo>
                    <a:lnTo>
                      <a:pt x="183" y="242"/>
                    </a:lnTo>
                    <a:lnTo>
                      <a:pt x="185" y="242"/>
                    </a:lnTo>
                    <a:lnTo>
                      <a:pt x="185" y="244"/>
                    </a:lnTo>
                    <a:lnTo>
                      <a:pt x="183" y="244"/>
                    </a:lnTo>
                    <a:lnTo>
                      <a:pt x="183" y="242"/>
                    </a:lnTo>
                    <a:lnTo>
                      <a:pt x="181" y="242"/>
                    </a:lnTo>
                    <a:lnTo>
                      <a:pt x="179" y="242"/>
                    </a:lnTo>
                    <a:lnTo>
                      <a:pt x="177" y="242"/>
                    </a:lnTo>
                    <a:lnTo>
                      <a:pt x="175" y="242"/>
                    </a:lnTo>
                    <a:lnTo>
                      <a:pt x="173" y="244"/>
                    </a:lnTo>
                    <a:lnTo>
                      <a:pt x="173" y="246"/>
                    </a:lnTo>
                    <a:lnTo>
                      <a:pt x="173" y="248"/>
                    </a:lnTo>
                    <a:lnTo>
                      <a:pt x="171" y="248"/>
                    </a:lnTo>
                    <a:lnTo>
                      <a:pt x="169" y="248"/>
                    </a:lnTo>
                    <a:lnTo>
                      <a:pt x="167" y="250"/>
                    </a:lnTo>
                    <a:lnTo>
                      <a:pt x="166" y="250"/>
                    </a:lnTo>
                    <a:lnTo>
                      <a:pt x="166" y="252"/>
                    </a:lnTo>
                    <a:lnTo>
                      <a:pt x="164" y="254"/>
                    </a:lnTo>
                    <a:lnTo>
                      <a:pt x="162" y="254"/>
                    </a:lnTo>
                    <a:lnTo>
                      <a:pt x="160" y="254"/>
                    </a:lnTo>
                    <a:lnTo>
                      <a:pt x="158" y="254"/>
                    </a:lnTo>
                    <a:lnTo>
                      <a:pt x="158" y="256"/>
                    </a:lnTo>
                    <a:lnTo>
                      <a:pt x="154" y="256"/>
                    </a:lnTo>
                    <a:lnTo>
                      <a:pt x="152" y="256"/>
                    </a:lnTo>
                    <a:lnTo>
                      <a:pt x="152" y="258"/>
                    </a:lnTo>
                    <a:lnTo>
                      <a:pt x="150" y="258"/>
                    </a:lnTo>
                    <a:lnTo>
                      <a:pt x="148" y="258"/>
                    </a:lnTo>
                    <a:lnTo>
                      <a:pt x="146" y="256"/>
                    </a:lnTo>
                    <a:lnTo>
                      <a:pt x="144" y="256"/>
                    </a:lnTo>
                    <a:lnTo>
                      <a:pt x="144" y="258"/>
                    </a:lnTo>
                    <a:lnTo>
                      <a:pt x="143" y="258"/>
                    </a:lnTo>
                    <a:lnTo>
                      <a:pt x="143" y="259"/>
                    </a:lnTo>
                    <a:lnTo>
                      <a:pt x="141" y="258"/>
                    </a:lnTo>
                    <a:lnTo>
                      <a:pt x="141" y="259"/>
                    </a:lnTo>
                    <a:lnTo>
                      <a:pt x="141" y="261"/>
                    </a:lnTo>
                    <a:lnTo>
                      <a:pt x="139" y="261"/>
                    </a:lnTo>
                    <a:lnTo>
                      <a:pt x="139" y="259"/>
                    </a:lnTo>
                    <a:lnTo>
                      <a:pt x="135" y="258"/>
                    </a:lnTo>
                    <a:lnTo>
                      <a:pt x="135" y="256"/>
                    </a:lnTo>
                    <a:lnTo>
                      <a:pt x="133" y="256"/>
                    </a:lnTo>
                    <a:lnTo>
                      <a:pt x="133" y="254"/>
                    </a:lnTo>
                    <a:lnTo>
                      <a:pt x="133" y="252"/>
                    </a:lnTo>
                    <a:lnTo>
                      <a:pt x="131" y="252"/>
                    </a:lnTo>
                    <a:lnTo>
                      <a:pt x="131" y="250"/>
                    </a:lnTo>
                    <a:lnTo>
                      <a:pt x="131" y="248"/>
                    </a:lnTo>
                    <a:lnTo>
                      <a:pt x="129" y="244"/>
                    </a:lnTo>
                    <a:lnTo>
                      <a:pt x="127" y="244"/>
                    </a:lnTo>
                    <a:lnTo>
                      <a:pt x="127" y="242"/>
                    </a:lnTo>
                    <a:lnTo>
                      <a:pt x="127" y="240"/>
                    </a:lnTo>
                    <a:lnTo>
                      <a:pt x="127" y="238"/>
                    </a:lnTo>
                    <a:lnTo>
                      <a:pt x="125" y="236"/>
                    </a:lnTo>
                    <a:lnTo>
                      <a:pt x="125" y="235"/>
                    </a:lnTo>
                    <a:lnTo>
                      <a:pt x="123" y="235"/>
                    </a:lnTo>
                    <a:lnTo>
                      <a:pt x="121" y="233"/>
                    </a:lnTo>
                    <a:lnTo>
                      <a:pt x="121" y="231"/>
                    </a:lnTo>
                    <a:lnTo>
                      <a:pt x="119" y="229"/>
                    </a:lnTo>
                    <a:lnTo>
                      <a:pt x="119" y="231"/>
                    </a:lnTo>
                    <a:lnTo>
                      <a:pt x="118" y="231"/>
                    </a:lnTo>
                    <a:lnTo>
                      <a:pt x="118" y="229"/>
                    </a:lnTo>
                    <a:lnTo>
                      <a:pt x="116" y="229"/>
                    </a:lnTo>
                    <a:lnTo>
                      <a:pt x="116" y="227"/>
                    </a:lnTo>
                    <a:lnTo>
                      <a:pt x="114" y="227"/>
                    </a:lnTo>
                    <a:lnTo>
                      <a:pt x="114" y="225"/>
                    </a:lnTo>
                    <a:lnTo>
                      <a:pt x="112" y="225"/>
                    </a:lnTo>
                    <a:lnTo>
                      <a:pt x="112" y="223"/>
                    </a:lnTo>
                    <a:lnTo>
                      <a:pt x="112" y="221"/>
                    </a:lnTo>
                    <a:lnTo>
                      <a:pt x="112" y="219"/>
                    </a:lnTo>
                    <a:lnTo>
                      <a:pt x="114" y="219"/>
                    </a:lnTo>
                    <a:lnTo>
                      <a:pt x="114" y="217"/>
                    </a:lnTo>
                    <a:lnTo>
                      <a:pt x="114" y="215"/>
                    </a:lnTo>
                    <a:lnTo>
                      <a:pt x="114" y="213"/>
                    </a:lnTo>
                    <a:lnTo>
                      <a:pt x="112" y="213"/>
                    </a:lnTo>
                    <a:lnTo>
                      <a:pt x="112" y="211"/>
                    </a:lnTo>
                    <a:lnTo>
                      <a:pt x="112" y="210"/>
                    </a:lnTo>
                    <a:lnTo>
                      <a:pt x="110" y="208"/>
                    </a:lnTo>
                    <a:lnTo>
                      <a:pt x="110" y="206"/>
                    </a:lnTo>
                    <a:lnTo>
                      <a:pt x="108" y="206"/>
                    </a:lnTo>
                    <a:lnTo>
                      <a:pt x="108" y="204"/>
                    </a:lnTo>
                    <a:lnTo>
                      <a:pt x="108" y="202"/>
                    </a:lnTo>
                    <a:lnTo>
                      <a:pt x="108" y="200"/>
                    </a:lnTo>
                    <a:lnTo>
                      <a:pt x="110" y="198"/>
                    </a:lnTo>
                    <a:lnTo>
                      <a:pt x="112" y="198"/>
                    </a:lnTo>
                    <a:lnTo>
                      <a:pt x="114" y="198"/>
                    </a:lnTo>
                    <a:lnTo>
                      <a:pt x="114" y="200"/>
                    </a:lnTo>
                    <a:lnTo>
                      <a:pt x="116" y="202"/>
                    </a:lnTo>
                    <a:lnTo>
                      <a:pt x="118" y="200"/>
                    </a:lnTo>
                    <a:lnTo>
                      <a:pt x="119" y="198"/>
                    </a:lnTo>
                    <a:lnTo>
                      <a:pt x="119" y="196"/>
                    </a:lnTo>
                    <a:lnTo>
                      <a:pt x="121" y="198"/>
                    </a:lnTo>
                    <a:lnTo>
                      <a:pt x="121" y="196"/>
                    </a:lnTo>
                    <a:lnTo>
                      <a:pt x="121" y="194"/>
                    </a:lnTo>
                    <a:lnTo>
                      <a:pt x="121" y="192"/>
                    </a:lnTo>
                    <a:lnTo>
                      <a:pt x="119" y="192"/>
                    </a:lnTo>
                    <a:lnTo>
                      <a:pt x="118" y="190"/>
                    </a:lnTo>
                    <a:lnTo>
                      <a:pt x="116" y="190"/>
                    </a:lnTo>
                    <a:lnTo>
                      <a:pt x="116" y="188"/>
                    </a:lnTo>
                    <a:lnTo>
                      <a:pt x="114" y="188"/>
                    </a:lnTo>
                    <a:lnTo>
                      <a:pt x="112" y="188"/>
                    </a:lnTo>
                    <a:lnTo>
                      <a:pt x="112" y="186"/>
                    </a:lnTo>
                    <a:lnTo>
                      <a:pt x="112" y="185"/>
                    </a:lnTo>
                    <a:lnTo>
                      <a:pt x="110" y="183"/>
                    </a:lnTo>
                    <a:lnTo>
                      <a:pt x="110" y="181"/>
                    </a:lnTo>
                    <a:lnTo>
                      <a:pt x="110" y="179"/>
                    </a:lnTo>
                    <a:lnTo>
                      <a:pt x="110" y="177"/>
                    </a:lnTo>
                    <a:lnTo>
                      <a:pt x="108" y="177"/>
                    </a:lnTo>
                    <a:lnTo>
                      <a:pt x="108" y="175"/>
                    </a:lnTo>
                    <a:lnTo>
                      <a:pt x="108" y="173"/>
                    </a:lnTo>
                    <a:lnTo>
                      <a:pt x="106" y="173"/>
                    </a:lnTo>
                    <a:lnTo>
                      <a:pt x="106" y="175"/>
                    </a:lnTo>
                    <a:lnTo>
                      <a:pt x="104" y="175"/>
                    </a:lnTo>
                    <a:lnTo>
                      <a:pt x="104" y="177"/>
                    </a:lnTo>
                    <a:lnTo>
                      <a:pt x="102" y="177"/>
                    </a:lnTo>
                    <a:lnTo>
                      <a:pt x="102" y="179"/>
                    </a:lnTo>
                    <a:lnTo>
                      <a:pt x="102" y="181"/>
                    </a:lnTo>
                    <a:lnTo>
                      <a:pt x="100" y="181"/>
                    </a:lnTo>
                    <a:lnTo>
                      <a:pt x="100" y="179"/>
                    </a:lnTo>
                    <a:lnTo>
                      <a:pt x="100" y="177"/>
                    </a:lnTo>
                    <a:lnTo>
                      <a:pt x="100" y="175"/>
                    </a:lnTo>
                    <a:lnTo>
                      <a:pt x="98" y="173"/>
                    </a:lnTo>
                    <a:lnTo>
                      <a:pt x="100" y="171"/>
                    </a:lnTo>
                    <a:lnTo>
                      <a:pt x="100" y="169"/>
                    </a:lnTo>
                    <a:lnTo>
                      <a:pt x="102" y="167"/>
                    </a:lnTo>
                    <a:lnTo>
                      <a:pt x="102" y="165"/>
                    </a:lnTo>
                    <a:lnTo>
                      <a:pt x="102" y="163"/>
                    </a:lnTo>
                    <a:lnTo>
                      <a:pt x="102" y="161"/>
                    </a:lnTo>
                    <a:lnTo>
                      <a:pt x="104" y="161"/>
                    </a:lnTo>
                    <a:lnTo>
                      <a:pt x="104" y="160"/>
                    </a:lnTo>
                    <a:lnTo>
                      <a:pt x="104" y="158"/>
                    </a:lnTo>
                    <a:lnTo>
                      <a:pt x="104" y="156"/>
                    </a:lnTo>
                    <a:lnTo>
                      <a:pt x="104" y="154"/>
                    </a:lnTo>
                    <a:lnTo>
                      <a:pt x="102" y="154"/>
                    </a:lnTo>
                    <a:lnTo>
                      <a:pt x="102" y="152"/>
                    </a:lnTo>
                    <a:lnTo>
                      <a:pt x="102" y="148"/>
                    </a:lnTo>
                    <a:lnTo>
                      <a:pt x="104" y="148"/>
                    </a:lnTo>
                    <a:lnTo>
                      <a:pt x="104" y="146"/>
                    </a:lnTo>
                    <a:lnTo>
                      <a:pt x="102" y="146"/>
                    </a:lnTo>
                    <a:lnTo>
                      <a:pt x="100" y="144"/>
                    </a:lnTo>
                    <a:lnTo>
                      <a:pt x="100" y="142"/>
                    </a:lnTo>
                    <a:lnTo>
                      <a:pt x="98" y="140"/>
                    </a:lnTo>
                    <a:lnTo>
                      <a:pt x="100" y="140"/>
                    </a:lnTo>
                    <a:lnTo>
                      <a:pt x="100" y="138"/>
                    </a:lnTo>
                    <a:lnTo>
                      <a:pt x="100" y="136"/>
                    </a:lnTo>
                    <a:lnTo>
                      <a:pt x="98" y="136"/>
                    </a:lnTo>
                    <a:lnTo>
                      <a:pt x="98" y="135"/>
                    </a:lnTo>
                    <a:lnTo>
                      <a:pt x="98" y="133"/>
                    </a:lnTo>
                    <a:lnTo>
                      <a:pt x="98" y="131"/>
                    </a:lnTo>
                    <a:lnTo>
                      <a:pt x="96" y="127"/>
                    </a:lnTo>
                    <a:lnTo>
                      <a:pt x="96" y="125"/>
                    </a:lnTo>
                    <a:lnTo>
                      <a:pt x="94" y="127"/>
                    </a:lnTo>
                    <a:lnTo>
                      <a:pt x="94" y="125"/>
                    </a:lnTo>
                    <a:lnTo>
                      <a:pt x="94" y="123"/>
                    </a:lnTo>
                    <a:lnTo>
                      <a:pt x="93" y="123"/>
                    </a:lnTo>
                    <a:lnTo>
                      <a:pt x="93" y="121"/>
                    </a:lnTo>
                    <a:lnTo>
                      <a:pt x="91" y="119"/>
                    </a:lnTo>
                    <a:lnTo>
                      <a:pt x="91" y="121"/>
                    </a:lnTo>
                    <a:lnTo>
                      <a:pt x="89" y="119"/>
                    </a:lnTo>
                    <a:lnTo>
                      <a:pt x="87" y="119"/>
                    </a:lnTo>
                    <a:lnTo>
                      <a:pt x="87" y="121"/>
                    </a:lnTo>
                    <a:lnTo>
                      <a:pt x="85" y="121"/>
                    </a:lnTo>
                    <a:lnTo>
                      <a:pt x="85" y="123"/>
                    </a:lnTo>
                    <a:lnTo>
                      <a:pt x="85" y="125"/>
                    </a:lnTo>
                    <a:lnTo>
                      <a:pt x="85" y="129"/>
                    </a:lnTo>
                    <a:lnTo>
                      <a:pt x="83" y="129"/>
                    </a:lnTo>
                    <a:lnTo>
                      <a:pt x="81" y="129"/>
                    </a:lnTo>
                    <a:lnTo>
                      <a:pt x="81" y="131"/>
                    </a:lnTo>
                    <a:lnTo>
                      <a:pt x="79" y="131"/>
                    </a:lnTo>
                    <a:lnTo>
                      <a:pt x="79" y="133"/>
                    </a:lnTo>
                    <a:lnTo>
                      <a:pt x="77" y="131"/>
                    </a:lnTo>
                    <a:lnTo>
                      <a:pt x="75" y="131"/>
                    </a:lnTo>
                    <a:lnTo>
                      <a:pt x="75" y="129"/>
                    </a:lnTo>
                    <a:lnTo>
                      <a:pt x="75" y="127"/>
                    </a:lnTo>
                    <a:lnTo>
                      <a:pt x="75" y="125"/>
                    </a:lnTo>
                    <a:lnTo>
                      <a:pt x="73" y="123"/>
                    </a:lnTo>
                    <a:lnTo>
                      <a:pt x="73" y="121"/>
                    </a:lnTo>
                    <a:lnTo>
                      <a:pt x="71" y="119"/>
                    </a:lnTo>
                    <a:lnTo>
                      <a:pt x="71" y="117"/>
                    </a:lnTo>
                    <a:lnTo>
                      <a:pt x="69" y="117"/>
                    </a:lnTo>
                    <a:lnTo>
                      <a:pt x="69" y="113"/>
                    </a:lnTo>
                    <a:lnTo>
                      <a:pt x="71" y="113"/>
                    </a:lnTo>
                    <a:lnTo>
                      <a:pt x="71" y="111"/>
                    </a:lnTo>
                    <a:lnTo>
                      <a:pt x="69" y="111"/>
                    </a:lnTo>
                    <a:lnTo>
                      <a:pt x="69" y="110"/>
                    </a:lnTo>
                    <a:lnTo>
                      <a:pt x="68" y="110"/>
                    </a:lnTo>
                    <a:lnTo>
                      <a:pt x="66" y="108"/>
                    </a:lnTo>
                    <a:lnTo>
                      <a:pt x="66" y="106"/>
                    </a:lnTo>
                    <a:lnTo>
                      <a:pt x="66" y="104"/>
                    </a:lnTo>
                    <a:lnTo>
                      <a:pt x="66" y="102"/>
                    </a:lnTo>
                    <a:lnTo>
                      <a:pt x="64" y="102"/>
                    </a:lnTo>
                    <a:lnTo>
                      <a:pt x="64" y="100"/>
                    </a:lnTo>
                    <a:lnTo>
                      <a:pt x="64" y="98"/>
                    </a:lnTo>
                    <a:lnTo>
                      <a:pt x="62" y="98"/>
                    </a:lnTo>
                    <a:lnTo>
                      <a:pt x="60" y="98"/>
                    </a:lnTo>
                    <a:lnTo>
                      <a:pt x="60" y="100"/>
                    </a:lnTo>
                    <a:lnTo>
                      <a:pt x="58" y="100"/>
                    </a:lnTo>
                    <a:lnTo>
                      <a:pt x="56" y="100"/>
                    </a:lnTo>
                    <a:lnTo>
                      <a:pt x="54" y="102"/>
                    </a:lnTo>
                    <a:lnTo>
                      <a:pt x="52" y="102"/>
                    </a:lnTo>
                    <a:lnTo>
                      <a:pt x="50" y="104"/>
                    </a:lnTo>
                    <a:lnTo>
                      <a:pt x="50" y="106"/>
                    </a:lnTo>
                    <a:lnTo>
                      <a:pt x="48" y="106"/>
                    </a:lnTo>
                    <a:lnTo>
                      <a:pt x="46" y="108"/>
                    </a:lnTo>
                    <a:lnTo>
                      <a:pt x="46" y="110"/>
                    </a:lnTo>
                    <a:lnTo>
                      <a:pt x="45" y="110"/>
                    </a:lnTo>
                    <a:lnTo>
                      <a:pt x="43" y="110"/>
                    </a:lnTo>
                    <a:lnTo>
                      <a:pt x="41" y="111"/>
                    </a:lnTo>
                    <a:lnTo>
                      <a:pt x="41" y="113"/>
                    </a:lnTo>
                    <a:lnTo>
                      <a:pt x="43" y="113"/>
                    </a:lnTo>
                    <a:lnTo>
                      <a:pt x="41" y="115"/>
                    </a:lnTo>
                    <a:lnTo>
                      <a:pt x="39" y="115"/>
                    </a:lnTo>
                    <a:lnTo>
                      <a:pt x="37" y="115"/>
                    </a:lnTo>
                    <a:lnTo>
                      <a:pt x="37" y="113"/>
                    </a:lnTo>
                    <a:lnTo>
                      <a:pt x="35" y="113"/>
                    </a:lnTo>
                    <a:lnTo>
                      <a:pt x="33" y="113"/>
                    </a:lnTo>
                    <a:lnTo>
                      <a:pt x="33" y="115"/>
                    </a:lnTo>
                    <a:lnTo>
                      <a:pt x="31" y="117"/>
                    </a:lnTo>
                    <a:lnTo>
                      <a:pt x="31" y="119"/>
                    </a:lnTo>
                    <a:lnTo>
                      <a:pt x="31" y="117"/>
                    </a:lnTo>
                    <a:lnTo>
                      <a:pt x="31" y="115"/>
                    </a:lnTo>
                    <a:lnTo>
                      <a:pt x="31" y="117"/>
                    </a:lnTo>
                    <a:lnTo>
                      <a:pt x="31" y="115"/>
                    </a:lnTo>
                    <a:lnTo>
                      <a:pt x="29" y="115"/>
                    </a:lnTo>
                    <a:lnTo>
                      <a:pt x="29" y="113"/>
                    </a:lnTo>
                    <a:lnTo>
                      <a:pt x="29" y="111"/>
                    </a:lnTo>
                    <a:lnTo>
                      <a:pt x="29" y="110"/>
                    </a:lnTo>
                    <a:lnTo>
                      <a:pt x="29" y="108"/>
                    </a:lnTo>
                    <a:lnTo>
                      <a:pt x="27" y="108"/>
                    </a:lnTo>
                    <a:lnTo>
                      <a:pt x="27" y="106"/>
                    </a:lnTo>
                    <a:lnTo>
                      <a:pt x="25" y="106"/>
                    </a:lnTo>
                    <a:lnTo>
                      <a:pt x="25" y="104"/>
                    </a:lnTo>
                    <a:lnTo>
                      <a:pt x="23" y="104"/>
                    </a:lnTo>
                    <a:lnTo>
                      <a:pt x="23" y="102"/>
                    </a:lnTo>
                    <a:lnTo>
                      <a:pt x="23" y="100"/>
                    </a:lnTo>
                    <a:lnTo>
                      <a:pt x="25" y="98"/>
                    </a:lnTo>
                    <a:lnTo>
                      <a:pt x="27" y="96"/>
                    </a:lnTo>
                    <a:lnTo>
                      <a:pt x="27" y="94"/>
                    </a:lnTo>
                    <a:lnTo>
                      <a:pt x="29" y="94"/>
                    </a:lnTo>
                    <a:lnTo>
                      <a:pt x="31" y="94"/>
                    </a:lnTo>
                    <a:lnTo>
                      <a:pt x="31" y="92"/>
                    </a:lnTo>
                    <a:lnTo>
                      <a:pt x="33" y="92"/>
                    </a:lnTo>
                    <a:lnTo>
                      <a:pt x="35" y="92"/>
                    </a:lnTo>
                    <a:lnTo>
                      <a:pt x="35" y="90"/>
                    </a:lnTo>
                    <a:lnTo>
                      <a:pt x="37" y="90"/>
                    </a:lnTo>
                    <a:lnTo>
                      <a:pt x="37" y="88"/>
                    </a:lnTo>
                    <a:lnTo>
                      <a:pt x="37" y="86"/>
                    </a:lnTo>
                    <a:lnTo>
                      <a:pt x="35" y="86"/>
                    </a:lnTo>
                    <a:lnTo>
                      <a:pt x="33" y="86"/>
                    </a:lnTo>
                    <a:lnTo>
                      <a:pt x="31" y="86"/>
                    </a:lnTo>
                    <a:lnTo>
                      <a:pt x="31" y="85"/>
                    </a:lnTo>
                    <a:lnTo>
                      <a:pt x="31" y="83"/>
                    </a:lnTo>
                    <a:lnTo>
                      <a:pt x="29" y="83"/>
                    </a:lnTo>
                    <a:lnTo>
                      <a:pt x="29" y="85"/>
                    </a:lnTo>
                    <a:lnTo>
                      <a:pt x="25" y="83"/>
                    </a:lnTo>
                    <a:lnTo>
                      <a:pt x="25" y="81"/>
                    </a:lnTo>
                    <a:lnTo>
                      <a:pt x="25" y="79"/>
                    </a:lnTo>
                    <a:lnTo>
                      <a:pt x="25" y="77"/>
                    </a:lnTo>
                    <a:lnTo>
                      <a:pt x="23" y="77"/>
                    </a:lnTo>
                    <a:lnTo>
                      <a:pt x="23" y="79"/>
                    </a:lnTo>
                    <a:lnTo>
                      <a:pt x="21" y="79"/>
                    </a:lnTo>
                    <a:lnTo>
                      <a:pt x="20" y="79"/>
                    </a:lnTo>
                    <a:lnTo>
                      <a:pt x="20" y="77"/>
                    </a:lnTo>
                    <a:lnTo>
                      <a:pt x="18" y="77"/>
                    </a:lnTo>
                    <a:lnTo>
                      <a:pt x="18" y="79"/>
                    </a:lnTo>
                    <a:lnTo>
                      <a:pt x="16" y="79"/>
                    </a:lnTo>
                    <a:lnTo>
                      <a:pt x="14" y="79"/>
                    </a:lnTo>
                    <a:lnTo>
                      <a:pt x="14" y="77"/>
                    </a:lnTo>
                    <a:lnTo>
                      <a:pt x="14" y="75"/>
                    </a:lnTo>
                    <a:lnTo>
                      <a:pt x="12" y="75"/>
                    </a:lnTo>
                    <a:lnTo>
                      <a:pt x="10" y="75"/>
                    </a:lnTo>
                    <a:lnTo>
                      <a:pt x="10" y="73"/>
                    </a:lnTo>
                    <a:lnTo>
                      <a:pt x="8" y="73"/>
                    </a:lnTo>
                    <a:lnTo>
                      <a:pt x="8" y="71"/>
                    </a:lnTo>
                    <a:lnTo>
                      <a:pt x="8" y="69"/>
                    </a:lnTo>
                    <a:lnTo>
                      <a:pt x="10" y="67"/>
                    </a:lnTo>
                    <a:lnTo>
                      <a:pt x="8" y="65"/>
                    </a:lnTo>
                    <a:lnTo>
                      <a:pt x="6" y="67"/>
                    </a:lnTo>
                    <a:lnTo>
                      <a:pt x="6" y="65"/>
                    </a:lnTo>
                    <a:lnTo>
                      <a:pt x="6" y="63"/>
                    </a:lnTo>
                    <a:lnTo>
                      <a:pt x="4" y="63"/>
                    </a:lnTo>
                    <a:lnTo>
                      <a:pt x="4" y="65"/>
                    </a:lnTo>
                    <a:lnTo>
                      <a:pt x="2" y="65"/>
                    </a:lnTo>
                    <a:lnTo>
                      <a:pt x="2" y="63"/>
                    </a:lnTo>
                    <a:lnTo>
                      <a:pt x="0" y="63"/>
                    </a:lnTo>
                    <a:lnTo>
                      <a:pt x="0" y="61"/>
                    </a:lnTo>
                    <a:lnTo>
                      <a:pt x="2" y="60"/>
                    </a:lnTo>
                    <a:lnTo>
                      <a:pt x="0" y="60"/>
                    </a:lnTo>
                    <a:lnTo>
                      <a:pt x="2" y="58"/>
                    </a:lnTo>
                    <a:lnTo>
                      <a:pt x="4" y="56"/>
                    </a:lnTo>
                    <a:lnTo>
                      <a:pt x="4" y="54"/>
                    </a:lnTo>
                    <a:lnTo>
                      <a:pt x="4" y="52"/>
                    </a:lnTo>
                    <a:lnTo>
                      <a:pt x="6" y="52"/>
                    </a:lnTo>
                    <a:lnTo>
                      <a:pt x="8" y="50"/>
                    </a:lnTo>
                    <a:lnTo>
                      <a:pt x="8" y="52"/>
                    </a:lnTo>
                    <a:lnTo>
                      <a:pt x="8" y="50"/>
                    </a:lnTo>
                    <a:lnTo>
                      <a:pt x="10" y="50"/>
                    </a:lnTo>
                    <a:lnTo>
                      <a:pt x="12" y="48"/>
                    </a:lnTo>
                    <a:lnTo>
                      <a:pt x="12" y="46"/>
                    </a:lnTo>
                    <a:lnTo>
                      <a:pt x="14" y="46"/>
                    </a:lnTo>
                    <a:lnTo>
                      <a:pt x="14" y="44"/>
                    </a:lnTo>
                    <a:lnTo>
                      <a:pt x="16" y="44"/>
                    </a:lnTo>
                    <a:lnTo>
                      <a:pt x="16" y="42"/>
                    </a:lnTo>
                    <a:lnTo>
                      <a:pt x="16" y="40"/>
                    </a:lnTo>
                    <a:lnTo>
                      <a:pt x="18" y="40"/>
                    </a:lnTo>
                    <a:lnTo>
                      <a:pt x="20" y="40"/>
                    </a:lnTo>
                    <a:lnTo>
                      <a:pt x="21" y="38"/>
                    </a:lnTo>
                    <a:lnTo>
                      <a:pt x="23" y="38"/>
                    </a:lnTo>
                    <a:lnTo>
                      <a:pt x="23" y="36"/>
                    </a:lnTo>
                    <a:lnTo>
                      <a:pt x="25" y="38"/>
                    </a:lnTo>
                    <a:lnTo>
                      <a:pt x="27" y="38"/>
                    </a:lnTo>
                    <a:lnTo>
                      <a:pt x="27" y="36"/>
                    </a:lnTo>
                    <a:lnTo>
                      <a:pt x="29" y="36"/>
                    </a:lnTo>
                    <a:lnTo>
                      <a:pt x="31" y="36"/>
                    </a:lnTo>
                    <a:lnTo>
                      <a:pt x="33" y="36"/>
                    </a:lnTo>
                    <a:lnTo>
                      <a:pt x="31" y="35"/>
                    </a:lnTo>
                    <a:lnTo>
                      <a:pt x="33" y="35"/>
                    </a:lnTo>
                    <a:lnTo>
                      <a:pt x="35" y="35"/>
                    </a:lnTo>
                    <a:lnTo>
                      <a:pt x="35" y="33"/>
                    </a:lnTo>
                    <a:lnTo>
                      <a:pt x="37" y="35"/>
                    </a:lnTo>
                    <a:lnTo>
                      <a:pt x="39" y="33"/>
                    </a:lnTo>
                    <a:lnTo>
                      <a:pt x="39" y="35"/>
                    </a:lnTo>
                    <a:lnTo>
                      <a:pt x="41" y="35"/>
                    </a:lnTo>
                    <a:lnTo>
                      <a:pt x="41" y="36"/>
                    </a:lnTo>
                    <a:lnTo>
                      <a:pt x="43" y="36"/>
                    </a:lnTo>
                    <a:lnTo>
                      <a:pt x="43" y="35"/>
                    </a:lnTo>
                    <a:lnTo>
                      <a:pt x="45" y="35"/>
                    </a:lnTo>
                    <a:lnTo>
                      <a:pt x="46" y="35"/>
                    </a:lnTo>
                    <a:lnTo>
                      <a:pt x="48" y="35"/>
                    </a:lnTo>
                    <a:lnTo>
                      <a:pt x="50" y="35"/>
                    </a:lnTo>
                    <a:lnTo>
                      <a:pt x="52" y="35"/>
                    </a:lnTo>
                    <a:lnTo>
                      <a:pt x="54" y="35"/>
                    </a:lnTo>
                    <a:lnTo>
                      <a:pt x="56" y="36"/>
                    </a:lnTo>
                    <a:lnTo>
                      <a:pt x="56" y="38"/>
                    </a:lnTo>
                    <a:lnTo>
                      <a:pt x="56" y="40"/>
                    </a:lnTo>
                    <a:lnTo>
                      <a:pt x="58" y="42"/>
                    </a:lnTo>
                    <a:lnTo>
                      <a:pt x="60" y="40"/>
                    </a:lnTo>
                    <a:lnTo>
                      <a:pt x="60" y="42"/>
                    </a:lnTo>
                    <a:lnTo>
                      <a:pt x="62" y="44"/>
                    </a:lnTo>
                    <a:lnTo>
                      <a:pt x="62" y="46"/>
                    </a:lnTo>
                    <a:lnTo>
                      <a:pt x="62" y="48"/>
                    </a:lnTo>
                    <a:lnTo>
                      <a:pt x="64" y="48"/>
                    </a:lnTo>
                    <a:lnTo>
                      <a:pt x="64" y="46"/>
                    </a:lnTo>
                    <a:lnTo>
                      <a:pt x="69" y="46"/>
                    </a:lnTo>
                    <a:lnTo>
                      <a:pt x="71" y="46"/>
                    </a:lnTo>
                    <a:lnTo>
                      <a:pt x="73" y="44"/>
                    </a:lnTo>
                    <a:lnTo>
                      <a:pt x="75" y="44"/>
                    </a:lnTo>
                    <a:lnTo>
                      <a:pt x="77" y="42"/>
                    </a:lnTo>
                    <a:lnTo>
                      <a:pt x="79" y="42"/>
                    </a:lnTo>
                    <a:lnTo>
                      <a:pt x="81" y="44"/>
                    </a:lnTo>
                    <a:lnTo>
                      <a:pt x="81" y="46"/>
                    </a:lnTo>
                    <a:lnTo>
                      <a:pt x="83" y="46"/>
                    </a:lnTo>
                    <a:lnTo>
                      <a:pt x="85" y="48"/>
                    </a:lnTo>
                    <a:lnTo>
                      <a:pt x="87" y="48"/>
                    </a:lnTo>
                    <a:lnTo>
                      <a:pt x="89" y="48"/>
                    </a:lnTo>
                    <a:lnTo>
                      <a:pt x="91" y="50"/>
                    </a:lnTo>
                    <a:lnTo>
                      <a:pt x="93" y="52"/>
                    </a:lnTo>
                    <a:lnTo>
                      <a:pt x="94" y="52"/>
                    </a:lnTo>
                    <a:lnTo>
                      <a:pt x="94" y="54"/>
                    </a:lnTo>
                    <a:lnTo>
                      <a:pt x="96" y="54"/>
                    </a:lnTo>
                    <a:lnTo>
                      <a:pt x="96" y="56"/>
                    </a:lnTo>
                    <a:lnTo>
                      <a:pt x="98" y="56"/>
                    </a:lnTo>
                    <a:lnTo>
                      <a:pt x="100" y="56"/>
                    </a:lnTo>
                    <a:lnTo>
                      <a:pt x="100" y="54"/>
                    </a:lnTo>
                    <a:lnTo>
                      <a:pt x="102" y="54"/>
                    </a:lnTo>
                    <a:lnTo>
                      <a:pt x="104" y="54"/>
                    </a:lnTo>
                    <a:lnTo>
                      <a:pt x="104" y="52"/>
                    </a:lnTo>
                    <a:lnTo>
                      <a:pt x="102" y="52"/>
                    </a:lnTo>
                    <a:lnTo>
                      <a:pt x="102" y="50"/>
                    </a:lnTo>
                    <a:lnTo>
                      <a:pt x="104" y="50"/>
                    </a:lnTo>
                    <a:lnTo>
                      <a:pt x="102" y="50"/>
                    </a:lnTo>
                    <a:lnTo>
                      <a:pt x="102" y="48"/>
                    </a:lnTo>
                    <a:lnTo>
                      <a:pt x="104" y="48"/>
                    </a:lnTo>
                    <a:lnTo>
                      <a:pt x="104" y="46"/>
                    </a:lnTo>
                    <a:lnTo>
                      <a:pt x="106" y="46"/>
                    </a:lnTo>
                    <a:lnTo>
                      <a:pt x="106" y="48"/>
                    </a:lnTo>
                    <a:lnTo>
                      <a:pt x="108" y="50"/>
                    </a:lnTo>
                    <a:lnTo>
                      <a:pt x="110" y="50"/>
                    </a:lnTo>
                    <a:lnTo>
                      <a:pt x="110" y="52"/>
                    </a:lnTo>
                    <a:lnTo>
                      <a:pt x="112" y="52"/>
                    </a:lnTo>
                    <a:lnTo>
                      <a:pt x="114" y="52"/>
                    </a:lnTo>
                    <a:lnTo>
                      <a:pt x="114" y="54"/>
                    </a:lnTo>
                    <a:lnTo>
                      <a:pt x="116" y="54"/>
                    </a:lnTo>
                    <a:lnTo>
                      <a:pt x="118" y="54"/>
                    </a:lnTo>
                    <a:lnTo>
                      <a:pt x="119" y="54"/>
                    </a:lnTo>
                    <a:lnTo>
                      <a:pt x="121" y="54"/>
                    </a:lnTo>
                    <a:lnTo>
                      <a:pt x="123" y="54"/>
                    </a:lnTo>
                    <a:lnTo>
                      <a:pt x="125" y="52"/>
                    </a:lnTo>
                    <a:lnTo>
                      <a:pt x="127" y="52"/>
                    </a:lnTo>
                    <a:lnTo>
                      <a:pt x="129" y="52"/>
                    </a:lnTo>
                    <a:lnTo>
                      <a:pt x="131" y="52"/>
                    </a:lnTo>
                    <a:lnTo>
                      <a:pt x="133" y="52"/>
                    </a:lnTo>
                    <a:lnTo>
                      <a:pt x="135" y="52"/>
                    </a:lnTo>
                    <a:lnTo>
                      <a:pt x="135" y="50"/>
                    </a:lnTo>
                    <a:lnTo>
                      <a:pt x="137" y="50"/>
                    </a:lnTo>
                    <a:lnTo>
                      <a:pt x="139" y="50"/>
                    </a:lnTo>
                    <a:lnTo>
                      <a:pt x="141" y="50"/>
                    </a:lnTo>
                    <a:lnTo>
                      <a:pt x="141" y="52"/>
                    </a:lnTo>
                    <a:lnTo>
                      <a:pt x="143" y="52"/>
                    </a:lnTo>
                    <a:lnTo>
                      <a:pt x="143" y="54"/>
                    </a:lnTo>
                    <a:lnTo>
                      <a:pt x="144" y="54"/>
                    </a:lnTo>
                    <a:lnTo>
                      <a:pt x="144" y="56"/>
                    </a:lnTo>
                    <a:lnTo>
                      <a:pt x="146" y="56"/>
                    </a:lnTo>
                    <a:lnTo>
                      <a:pt x="146" y="58"/>
                    </a:lnTo>
                    <a:lnTo>
                      <a:pt x="148" y="58"/>
                    </a:lnTo>
                    <a:lnTo>
                      <a:pt x="148" y="60"/>
                    </a:lnTo>
                    <a:lnTo>
                      <a:pt x="150" y="58"/>
                    </a:lnTo>
                    <a:lnTo>
                      <a:pt x="150" y="60"/>
                    </a:lnTo>
                    <a:lnTo>
                      <a:pt x="152" y="60"/>
                    </a:lnTo>
                    <a:lnTo>
                      <a:pt x="152" y="61"/>
                    </a:lnTo>
                    <a:lnTo>
                      <a:pt x="154" y="61"/>
                    </a:lnTo>
                    <a:lnTo>
                      <a:pt x="154" y="63"/>
                    </a:lnTo>
                    <a:lnTo>
                      <a:pt x="156" y="65"/>
                    </a:lnTo>
                    <a:lnTo>
                      <a:pt x="156" y="67"/>
                    </a:lnTo>
                    <a:lnTo>
                      <a:pt x="158" y="67"/>
                    </a:lnTo>
                    <a:lnTo>
                      <a:pt x="160" y="67"/>
                    </a:lnTo>
                    <a:lnTo>
                      <a:pt x="162" y="67"/>
                    </a:lnTo>
                    <a:lnTo>
                      <a:pt x="164" y="67"/>
                    </a:lnTo>
                    <a:lnTo>
                      <a:pt x="164" y="71"/>
                    </a:lnTo>
                    <a:lnTo>
                      <a:pt x="164" y="73"/>
                    </a:lnTo>
                    <a:lnTo>
                      <a:pt x="166" y="73"/>
                    </a:lnTo>
                    <a:lnTo>
                      <a:pt x="166" y="75"/>
                    </a:lnTo>
                    <a:lnTo>
                      <a:pt x="166" y="77"/>
                    </a:lnTo>
                    <a:lnTo>
                      <a:pt x="167" y="77"/>
                    </a:lnTo>
                    <a:lnTo>
                      <a:pt x="169" y="77"/>
                    </a:lnTo>
                    <a:lnTo>
                      <a:pt x="171" y="77"/>
                    </a:lnTo>
                    <a:lnTo>
                      <a:pt x="171" y="75"/>
                    </a:lnTo>
                    <a:lnTo>
                      <a:pt x="171" y="73"/>
                    </a:lnTo>
                    <a:lnTo>
                      <a:pt x="175" y="73"/>
                    </a:lnTo>
                    <a:lnTo>
                      <a:pt x="177" y="75"/>
                    </a:lnTo>
                    <a:lnTo>
                      <a:pt x="179" y="75"/>
                    </a:lnTo>
                    <a:lnTo>
                      <a:pt x="181" y="75"/>
                    </a:lnTo>
                    <a:lnTo>
                      <a:pt x="183" y="77"/>
                    </a:lnTo>
                    <a:lnTo>
                      <a:pt x="185" y="75"/>
                    </a:lnTo>
                    <a:lnTo>
                      <a:pt x="185" y="73"/>
                    </a:lnTo>
                    <a:lnTo>
                      <a:pt x="187" y="73"/>
                    </a:lnTo>
                    <a:lnTo>
                      <a:pt x="189" y="71"/>
                    </a:lnTo>
                    <a:lnTo>
                      <a:pt x="191" y="69"/>
                    </a:lnTo>
                    <a:lnTo>
                      <a:pt x="192" y="69"/>
                    </a:lnTo>
                    <a:lnTo>
                      <a:pt x="194" y="69"/>
                    </a:lnTo>
                    <a:lnTo>
                      <a:pt x="196" y="69"/>
                    </a:lnTo>
                    <a:lnTo>
                      <a:pt x="198" y="69"/>
                    </a:lnTo>
                    <a:lnTo>
                      <a:pt x="200" y="71"/>
                    </a:lnTo>
                    <a:lnTo>
                      <a:pt x="200" y="73"/>
                    </a:lnTo>
                    <a:lnTo>
                      <a:pt x="202" y="73"/>
                    </a:lnTo>
                    <a:lnTo>
                      <a:pt x="202" y="75"/>
                    </a:lnTo>
                    <a:lnTo>
                      <a:pt x="204" y="77"/>
                    </a:lnTo>
                    <a:lnTo>
                      <a:pt x="206" y="77"/>
                    </a:lnTo>
                    <a:lnTo>
                      <a:pt x="206" y="75"/>
                    </a:lnTo>
                    <a:lnTo>
                      <a:pt x="206" y="73"/>
                    </a:lnTo>
                    <a:lnTo>
                      <a:pt x="208" y="73"/>
                    </a:lnTo>
                    <a:lnTo>
                      <a:pt x="208" y="71"/>
                    </a:lnTo>
                    <a:lnTo>
                      <a:pt x="210" y="71"/>
                    </a:lnTo>
                    <a:lnTo>
                      <a:pt x="212" y="71"/>
                    </a:lnTo>
                    <a:lnTo>
                      <a:pt x="212" y="69"/>
                    </a:lnTo>
                    <a:lnTo>
                      <a:pt x="216" y="69"/>
                    </a:lnTo>
                    <a:lnTo>
                      <a:pt x="217" y="71"/>
                    </a:lnTo>
                    <a:lnTo>
                      <a:pt x="219" y="71"/>
                    </a:lnTo>
                    <a:lnTo>
                      <a:pt x="219" y="73"/>
                    </a:lnTo>
                    <a:lnTo>
                      <a:pt x="221" y="73"/>
                    </a:lnTo>
                    <a:lnTo>
                      <a:pt x="223" y="73"/>
                    </a:lnTo>
                    <a:lnTo>
                      <a:pt x="221" y="73"/>
                    </a:lnTo>
                    <a:lnTo>
                      <a:pt x="221" y="75"/>
                    </a:lnTo>
                    <a:lnTo>
                      <a:pt x="223" y="75"/>
                    </a:lnTo>
                    <a:lnTo>
                      <a:pt x="225" y="75"/>
                    </a:lnTo>
                    <a:lnTo>
                      <a:pt x="225" y="77"/>
                    </a:lnTo>
                    <a:lnTo>
                      <a:pt x="223" y="77"/>
                    </a:lnTo>
                    <a:lnTo>
                      <a:pt x="223" y="79"/>
                    </a:lnTo>
                    <a:lnTo>
                      <a:pt x="225" y="81"/>
                    </a:lnTo>
                    <a:lnTo>
                      <a:pt x="227" y="81"/>
                    </a:lnTo>
                    <a:lnTo>
                      <a:pt x="227" y="79"/>
                    </a:lnTo>
                    <a:lnTo>
                      <a:pt x="229" y="79"/>
                    </a:lnTo>
                    <a:lnTo>
                      <a:pt x="231" y="79"/>
                    </a:lnTo>
                    <a:lnTo>
                      <a:pt x="231" y="77"/>
                    </a:lnTo>
                    <a:lnTo>
                      <a:pt x="233" y="79"/>
                    </a:lnTo>
                    <a:lnTo>
                      <a:pt x="233" y="77"/>
                    </a:lnTo>
                    <a:lnTo>
                      <a:pt x="235" y="77"/>
                    </a:lnTo>
                    <a:lnTo>
                      <a:pt x="235" y="79"/>
                    </a:lnTo>
                    <a:lnTo>
                      <a:pt x="237" y="79"/>
                    </a:lnTo>
                    <a:lnTo>
                      <a:pt x="239" y="79"/>
                    </a:lnTo>
                    <a:lnTo>
                      <a:pt x="239" y="77"/>
                    </a:lnTo>
                    <a:lnTo>
                      <a:pt x="239" y="75"/>
                    </a:lnTo>
                    <a:lnTo>
                      <a:pt x="239" y="73"/>
                    </a:lnTo>
                    <a:lnTo>
                      <a:pt x="240" y="71"/>
                    </a:lnTo>
                    <a:lnTo>
                      <a:pt x="242" y="69"/>
                    </a:lnTo>
                    <a:lnTo>
                      <a:pt x="242" y="71"/>
                    </a:lnTo>
                    <a:lnTo>
                      <a:pt x="244" y="73"/>
                    </a:lnTo>
                    <a:lnTo>
                      <a:pt x="246" y="73"/>
                    </a:lnTo>
                    <a:lnTo>
                      <a:pt x="246" y="71"/>
                    </a:lnTo>
                    <a:lnTo>
                      <a:pt x="248" y="71"/>
                    </a:lnTo>
                    <a:lnTo>
                      <a:pt x="250" y="69"/>
                    </a:lnTo>
                    <a:lnTo>
                      <a:pt x="250" y="67"/>
                    </a:lnTo>
                    <a:lnTo>
                      <a:pt x="248" y="65"/>
                    </a:lnTo>
                    <a:lnTo>
                      <a:pt x="250" y="65"/>
                    </a:lnTo>
                    <a:lnTo>
                      <a:pt x="250" y="63"/>
                    </a:lnTo>
                    <a:lnTo>
                      <a:pt x="252" y="63"/>
                    </a:lnTo>
                    <a:lnTo>
                      <a:pt x="254" y="63"/>
                    </a:lnTo>
                    <a:lnTo>
                      <a:pt x="256" y="63"/>
                    </a:lnTo>
                    <a:lnTo>
                      <a:pt x="256" y="61"/>
                    </a:lnTo>
                    <a:lnTo>
                      <a:pt x="258" y="61"/>
                    </a:lnTo>
                    <a:lnTo>
                      <a:pt x="260" y="63"/>
                    </a:lnTo>
                    <a:lnTo>
                      <a:pt x="262" y="61"/>
                    </a:lnTo>
                    <a:lnTo>
                      <a:pt x="262" y="63"/>
                    </a:lnTo>
                    <a:lnTo>
                      <a:pt x="264" y="63"/>
                    </a:lnTo>
                    <a:lnTo>
                      <a:pt x="264" y="65"/>
                    </a:lnTo>
                    <a:lnTo>
                      <a:pt x="265" y="65"/>
                    </a:lnTo>
                    <a:lnTo>
                      <a:pt x="267" y="67"/>
                    </a:lnTo>
                    <a:lnTo>
                      <a:pt x="269" y="67"/>
                    </a:lnTo>
                    <a:lnTo>
                      <a:pt x="269" y="65"/>
                    </a:lnTo>
                    <a:lnTo>
                      <a:pt x="271" y="65"/>
                    </a:lnTo>
                    <a:lnTo>
                      <a:pt x="273" y="65"/>
                    </a:lnTo>
                    <a:lnTo>
                      <a:pt x="273" y="63"/>
                    </a:lnTo>
                    <a:lnTo>
                      <a:pt x="271" y="63"/>
                    </a:lnTo>
                    <a:lnTo>
                      <a:pt x="269" y="61"/>
                    </a:lnTo>
                    <a:lnTo>
                      <a:pt x="271" y="60"/>
                    </a:lnTo>
                    <a:lnTo>
                      <a:pt x="271" y="58"/>
                    </a:lnTo>
                    <a:lnTo>
                      <a:pt x="271" y="56"/>
                    </a:lnTo>
                    <a:lnTo>
                      <a:pt x="273" y="56"/>
                    </a:lnTo>
                    <a:lnTo>
                      <a:pt x="273" y="54"/>
                    </a:lnTo>
                    <a:lnTo>
                      <a:pt x="275" y="56"/>
                    </a:lnTo>
                    <a:lnTo>
                      <a:pt x="277" y="56"/>
                    </a:lnTo>
                    <a:lnTo>
                      <a:pt x="277" y="58"/>
                    </a:lnTo>
                    <a:lnTo>
                      <a:pt x="279" y="58"/>
                    </a:lnTo>
                    <a:lnTo>
                      <a:pt x="281" y="58"/>
                    </a:lnTo>
                    <a:lnTo>
                      <a:pt x="283" y="56"/>
                    </a:lnTo>
                    <a:lnTo>
                      <a:pt x="283" y="54"/>
                    </a:lnTo>
                    <a:lnTo>
                      <a:pt x="285" y="54"/>
                    </a:lnTo>
                    <a:lnTo>
                      <a:pt x="287" y="54"/>
                    </a:lnTo>
                    <a:lnTo>
                      <a:pt x="287" y="52"/>
                    </a:lnTo>
                    <a:lnTo>
                      <a:pt x="289" y="52"/>
                    </a:lnTo>
                    <a:lnTo>
                      <a:pt x="290" y="52"/>
                    </a:lnTo>
                    <a:lnTo>
                      <a:pt x="292" y="52"/>
                    </a:lnTo>
                    <a:lnTo>
                      <a:pt x="292" y="50"/>
                    </a:lnTo>
                    <a:lnTo>
                      <a:pt x="292" y="52"/>
                    </a:lnTo>
                    <a:lnTo>
                      <a:pt x="294" y="52"/>
                    </a:lnTo>
                    <a:lnTo>
                      <a:pt x="294" y="54"/>
                    </a:lnTo>
                    <a:lnTo>
                      <a:pt x="296" y="54"/>
                    </a:lnTo>
                    <a:lnTo>
                      <a:pt x="298" y="54"/>
                    </a:lnTo>
                    <a:lnTo>
                      <a:pt x="300" y="56"/>
                    </a:lnTo>
                    <a:lnTo>
                      <a:pt x="302" y="56"/>
                    </a:lnTo>
                    <a:lnTo>
                      <a:pt x="304" y="58"/>
                    </a:lnTo>
                    <a:lnTo>
                      <a:pt x="304" y="56"/>
                    </a:lnTo>
                    <a:lnTo>
                      <a:pt x="306" y="56"/>
                    </a:lnTo>
                    <a:lnTo>
                      <a:pt x="308" y="56"/>
                    </a:lnTo>
                    <a:lnTo>
                      <a:pt x="308" y="58"/>
                    </a:lnTo>
                    <a:lnTo>
                      <a:pt x="310" y="58"/>
                    </a:lnTo>
                    <a:lnTo>
                      <a:pt x="312" y="58"/>
                    </a:lnTo>
                    <a:lnTo>
                      <a:pt x="313" y="58"/>
                    </a:lnTo>
                    <a:lnTo>
                      <a:pt x="313" y="56"/>
                    </a:lnTo>
                    <a:lnTo>
                      <a:pt x="313" y="58"/>
                    </a:lnTo>
                    <a:lnTo>
                      <a:pt x="315" y="56"/>
                    </a:lnTo>
                    <a:lnTo>
                      <a:pt x="317" y="56"/>
                    </a:lnTo>
                    <a:lnTo>
                      <a:pt x="319" y="56"/>
                    </a:lnTo>
                    <a:lnTo>
                      <a:pt x="321" y="54"/>
                    </a:lnTo>
                    <a:lnTo>
                      <a:pt x="321" y="52"/>
                    </a:lnTo>
                    <a:lnTo>
                      <a:pt x="321" y="50"/>
                    </a:lnTo>
                    <a:lnTo>
                      <a:pt x="319" y="50"/>
                    </a:lnTo>
                    <a:lnTo>
                      <a:pt x="319" y="48"/>
                    </a:lnTo>
                    <a:lnTo>
                      <a:pt x="319" y="46"/>
                    </a:lnTo>
                    <a:lnTo>
                      <a:pt x="317" y="46"/>
                    </a:lnTo>
                    <a:lnTo>
                      <a:pt x="317" y="44"/>
                    </a:lnTo>
                    <a:lnTo>
                      <a:pt x="315" y="44"/>
                    </a:lnTo>
                    <a:lnTo>
                      <a:pt x="315" y="42"/>
                    </a:lnTo>
                    <a:lnTo>
                      <a:pt x="317" y="42"/>
                    </a:lnTo>
                    <a:lnTo>
                      <a:pt x="317" y="40"/>
                    </a:lnTo>
                    <a:lnTo>
                      <a:pt x="319" y="40"/>
                    </a:lnTo>
                    <a:lnTo>
                      <a:pt x="321" y="38"/>
                    </a:lnTo>
                    <a:lnTo>
                      <a:pt x="321" y="36"/>
                    </a:lnTo>
                    <a:lnTo>
                      <a:pt x="321" y="38"/>
                    </a:lnTo>
                    <a:lnTo>
                      <a:pt x="323" y="38"/>
                    </a:lnTo>
                    <a:lnTo>
                      <a:pt x="323" y="36"/>
                    </a:lnTo>
                    <a:lnTo>
                      <a:pt x="325" y="38"/>
                    </a:lnTo>
                    <a:lnTo>
                      <a:pt x="325" y="36"/>
                    </a:lnTo>
                    <a:lnTo>
                      <a:pt x="327" y="36"/>
                    </a:lnTo>
                    <a:lnTo>
                      <a:pt x="327" y="35"/>
                    </a:lnTo>
                    <a:lnTo>
                      <a:pt x="327" y="33"/>
                    </a:lnTo>
                    <a:lnTo>
                      <a:pt x="329" y="33"/>
                    </a:lnTo>
                    <a:lnTo>
                      <a:pt x="331" y="33"/>
                    </a:lnTo>
                    <a:lnTo>
                      <a:pt x="331" y="31"/>
                    </a:lnTo>
                    <a:lnTo>
                      <a:pt x="333" y="31"/>
                    </a:lnTo>
                    <a:lnTo>
                      <a:pt x="335" y="31"/>
                    </a:lnTo>
                    <a:lnTo>
                      <a:pt x="335" y="29"/>
                    </a:lnTo>
                    <a:lnTo>
                      <a:pt x="337" y="29"/>
                    </a:lnTo>
                    <a:lnTo>
                      <a:pt x="338" y="31"/>
                    </a:lnTo>
                    <a:lnTo>
                      <a:pt x="340" y="31"/>
                    </a:lnTo>
                    <a:lnTo>
                      <a:pt x="340" y="29"/>
                    </a:lnTo>
                    <a:lnTo>
                      <a:pt x="340" y="27"/>
                    </a:lnTo>
                    <a:lnTo>
                      <a:pt x="342" y="27"/>
                    </a:lnTo>
                    <a:lnTo>
                      <a:pt x="342" y="29"/>
                    </a:lnTo>
                    <a:lnTo>
                      <a:pt x="344" y="29"/>
                    </a:lnTo>
                    <a:lnTo>
                      <a:pt x="344" y="31"/>
                    </a:lnTo>
                    <a:lnTo>
                      <a:pt x="346" y="31"/>
                    </a:lnTo>
                    <a:lnTo>
                      <a:pt x="348" y="29"/>
                    </a:lnTo>
                    <a:lnTo>
                      <a:pt x="350" y="29"/>
                    </a:lnTo>
                    <a:lnTo>
                      <a:pt x="350" y="27"/>
                    </a:lnTo>
                    <a:lnTo>
                      <a:pt x="352" y="27"/>
                    </a:lnTo>
                    <a:lnTo>
                      <a:pt x="352" y="25"/>
                    </a:lnTo>
                    <a:lnTo>
                      <a:pt x="354" y="25"/>
                    </a:lnTo>
                    <a:lnTo>
                      <a:pt x="356" y="25"/>
                    </a:lnTo>
                    <a:lnTo>
                      <a:pt x="356" y="23"/>
                    </a:lnTo>
                    <a:lnTo>
                      <a:pt x="356" y="25"/>
                    </a:lnTo>
                    <a:lnTo>
                      <a:pt x="356" y="23"/>
                    </a:lnTo>
                    <a:lnTo>
                      <a:pt x="358" y="23"/>
                    </a:lnTo>
                    <a:lnTo>
                      <a:pt x="358" y="25"/>
                    </a:lnTo>
                    <a:lnTo>
                      <a:pt x="358" y="23"/>
                    </a:lnTo>
                    <a:lnTo>
                      <a:pt x="360" y="25"/>
                    </a:lnTo>
                    <a:lnTo>
                      <a:pt x="360" y="23"/>
                    </a:lnTo>
                    <a:lnTo>
                      <a:pt x="362" y="23"/>
                    </a:lnTo>
                    <a:lnTo>
                      <a:pt x="362" y="21"/>
                    </a:lnTo>
                    <a:lnTo>
                      <a:pt x="362" y="19"/>
                    </a:lnTo>
                    <a:lnTo>
                      <a:pt x="363" y="19"/>
                    </a:lnTo>
                    <a:lnTo>
                      <a:pt x="363" y="21"/>
                    </a:lnTo>
                    <a:lnTo>
                      <a:pt x="365" y="21"/>
                    </a:lnTo>
                    <a:lnTo>
                      <a:pt x="365" y="19"/>
                    </a:lnTo>
                    <a:lnTo>
                      <a:pt x="367" y="19"/>
                    </a:lnTo>
                    <a:lnTo>
                      <a:pt x="369" y="19"/>
                    </a:lnTo>
                    <a:lnTo>
                      <a:pt x="371" y="19"/>
                    </a:lnTo>
                    <a:lnTo>
                      <a:pt x="373" y="19"/>
                    </a:lnTo>
                    <a:lnTo>
                      <a:pt x="375" y="1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Freeform 9">
                <a:extLst>
                  <a:ext uri="{FF2B5EF4-FFF2-40B4-BE49-F238E27FC236}">
                    <a16:creationId xmlns="" xmlns:a16="http://schemas.microsoft.com/office/drawing/2014/main" id="{1B285AC9-D855-416F-9AFF-240523F94A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86150" y="1741488"/>
                <a:ext cx="519113" cy="184150"/>
              </a:xfrm>
              <a:custGeom>
                <a:avLst/>
                <a:gdLst>
                  <a:gd name="T0" fmla="*/ 269 w 327"/>
                  <a:gd name="T1" fmla="*/ 100 h 116"/>
                  <a:gd name="T2" fmla="*/ 265 w 327"/>
                  <a:gd name="T3" fmla="*/ 104 h 116"/>
                  <a:gd name="T4" fmla="*/ 254 w 327"/>
                  <a:gd name="T5" fmla="*/ 106 h 116"/>
                  <a:gd name="T6" fmla="*/ 238 w 327"/>
                  <a:gd name="T7" fmla="*/ 102 h 116"/>
                  <a:gd name="T8" fmla="*/ 231 w 327"/>
                  <a:gd name="T9" fmla="*/ 99 h 116"/>
                  <a:gd name="T10" fmla="*/ 217 w 327"/>
                  <a:gd name="T11" fmla="*/ 93 h 116"/>
                  <a:gd name="T12" fmla="*/ 219 w 327"/>
                  <a:gd name="T13" fmla="*/ 85 h 116"/>
                  <a:gd name="T14" fmla="*/ 227 w 327"/>
                  <a:gd name="T15" fmla="*/ 83 h 116"/>
                  <a:gd name="T16" fmla="*/ 231 w 327"/>
                  <a:gd name="T17" fmla="*/ 83 h 116"/>
                  <a:gd name="T18" fmla="*/ 232 w 327"/>
                  <a:gd name="T19" fmla="*/ 85 h 116"/>
                  <a:gd name="T20" fmla="*/ 244 w 327"/>
                  <a:gd name="T21" fmla="*/ 89 h 116"/>
                  <a:gd name="T22" fmla="*/ 257 w 327"/>
                  <a:gd name="T23" fmla="*/ 93 h 116"/>
                  <a:gd name="T24" fmla="*/ 77 w 327"/>
                  <a:gd name="T25" fmla="*/ 18 h 116"/>
                  <a:gd name="T26" fmla="*/ 67 w 327"/>
                  <a:gd name="T27" fmla="*/ 16 h 116"/>
                  <a:gd name="T28" fmla="*/ 71 w 327"/>
                  <a:gd name="T29" fmla="*/ 18 h 116"/>
                  <a:gd name="T30" fmla="*/ 81 w 327"/>
                  <a:gd name="T31" fmla="*/ 22 h 116"/>
                  <a:gd name="T32" fmla="*/ 88 w 327"/>
                  <a:gd name="T33" fmla="*/ 29 h 116"/>
                  <a:gd name="T34" fmla="*/ 77 w 327"/>
                  <a:gd name="T35" fmla="*/ 27 h 116"/>
                  <a:gd name="T36" fmla="*/ 63 w 327"/>
                  <a:gd name="T37" fmla="*/ 24 h 116"/>
                  <a:gd name="T38" fmla="*/ 52 w 327"/>
                  <a:gd name="T39" fmla="*/ 20 h 116"/>
                  <a:gd name="T40" fmla="*/ 50 w 327"/>
                  <a:gd name="T41" fmla="*/ 24 h 116"/>
                  <a:gd name="T42" fmla="*/ 40 w 327"/>
                  <a:gd name="T43" fmla="*/ 18 h 116"/>
                  <a:gd name="T44" fmla="*/ 33 w 327"/>
                  <a:gd name="T45" fmla="*/ 16 h 116"/>
                  <a:gd name="T46" fmla="*/ 35 w 327"/>
                  <a:gd name="T47" fmla="*/ 20 h 116"/>
                  <a:gd name="T48" fmla="*/ 35 w 327"/>
                  <a:gd name="T49" fmla="*/ 24 h 116"/>
                  <a:gd name="T50" fmla="*/ 33 w 327"/>
                  <a:gd name="T51" fmla="*/ 24 h 116"/>
                  <a:gd name="T52" fmla="*/ 25 w 327"/>
                  <a:gd name="T53" fmla="*/ 22 h 116"/>
                  <a:gd name="T54" fmla="*/ 13 w 327"/>
                  <a:gd name="T55" fmla="*/ 18 h 116"/>
                  <a:gd name="T56" fmla="*/ 19 w 327"/>
                  <a:gd name="T57" fmla="*/ 14 h 116"/>
                  <a:gd name="T58" fmla="*/ 17 w 327"/>
                  <a:gd name="T59" fmla="*/ 12 h 116"/>
                  <a:gd name="T60" fmla="*/ 11 w 327"/>
                  <a:gd name="T61" fmla="*/ 10 h 116"/>
                  <a:gd name="T62" fmla="*/ 2 w 327"/>
                  <a:gd name="T63" fmla="*/ 6 h 116"/>
                  <a:gd name="T64" fmla="*/ 0 w 327"/>
                  <a:gd name="T65" fmla="*/ 0 h 116"/>
                  <a:gd name="T66" fmla="*/ 11 w 327"/>
                  <a:gd name="T67" fmla="*/ 4 h 116"/>
                  <a:gd name="T68" fmla="*/ 17 w 327"/>
                  <a:gd name="T69" fmla="*/ 10 h 116"/>
                  <a:gd name="T70" fmla="*/ 23 w 327"/>
                  <a:gd name="T71" fmla="*/ 10 h 116"/>
                  <a:gd name="T72" fmla="*/ 19 w 327"/>
                  <a:gd name="T73" fmla="*/ 6 h 116"/>
                  <a:gd name="T74" fmla="*/ 23 w 327"/>
                  <a:gd name="T75" fmla="*/ 4 h 116"/>
                  <a:gd name="T76" fmla="*/ 17 w 327"/>
                  <a:gd name="T77" fmla="*/ 2 h 116"/>
                  <a:gd name="T78" fmla="*/ 33 w 327"/>
                  <a:gd name="T79" fmla="*/ 6 h 116"/>
                  <a:gd name="T80" fmla="*/ 36 w 327"/>
                  <a:gd name="T81" fmla="*/ 12 h 116"/>
                  <a:gd name="T82" fmla="*/ 44 w 327"/>
                  <a:gd name="T83" fmla="*/ 14 h 116"/>
                  <a:gd name="T84" fmla="*/ 52 w 327"/>
                  <a:gd name="T85" fmla="*/ 14 h 116"/>
                  <a:gd name="T86" fmla="*/ 50 w 327"/>
                  <a:gd name="T87" fmla="*/ 10 h 116"/>
                  <a:gd name="T88" fmla="*/ 44 w 327"/>
                  <a:gd name="T89" fmla="*/ 4 h 116"/>
                  <a:gd name="T90" fmla="*/ 54 w 327"/>
                  <a:gd name="T91" fmla="*/ 6 h 116"/>
                  <a:gd name="T92" fmla="*/ 61 w 327"/>
                  <a:gd name="T93" fmla="*/ 6 h 116"/>
                  <a:gd name="T94" fmla="*/ 69 w 327"/>
                  <a:gd name="T95" fmla="*/ 10 h 116"/>
                  <a:gd name="T96" fmla="*/ 63 w 327"/>
                  <a:gd name="T97" fmla="*/ 10 h 116"/>
                  <a:gd name="T98" fmla="*/ 71 w 327"/>
                  <a:gd name="T99" fmla="*/ 12 h 116"/>
                  <a:gd name="T100" fmla="*/ 317 w 327"/>
                  <a:gd name="T101" fmla="*/ 100 h 116"/>
                  <a:gd name="T102" fmla="*/ 327 w 327"/>
                  <a:gd name="T103" fmla="*/ 106 h 116"/>
                  <a:gd name="T104" fmla="*/ 325 w 327"/>
                  <a:gd name="T105" fmla="*/ 110 h 116"/>
                  <a:gd name="T106" fmla="*/ 317 w 327"/>
                  <a:gd name="T107" fmla="*/ 116 h 116"/>
                  <a:gd name="T108" fmla="*/ 304 w 327"/>
                  <a:gd name="T109" fmla="*/ 114 h 116"/>
                  <a:gd name="T110" fmla="*/ 292 w 327"/>
                  <a:gd name="T111" fmla="*/ 110 h 116"/>
                  <a:gd name="T112" fmla="*/ 279 w 327"/>
                  <a:gd name="T113" fmla="*/ 104 h 116"/>
                  <a:gd name="T114" fmla="*/ 284 w 327"/>
                  <a:gd name="T115" fmla="*/ 100 h 116"/>
                  <a:gd name="T116" fmla="*/ 292 w 327"/>
                  <a:gd name="T117" fmla="*/ 100 h 116"/>
                  <a:gd name="T118" fmla="*/ 305 w 327"/>
                  <a:gd name="T119" fmla="*/ 104 h 116"/>
                  <a:gd name="T120" fmla="*/ 313 w 327"/>
                  <a:gd name="T121" fmla="*/ 99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27" h="116">
                    <a:moveTo>
                      <a:pt x="263" y="95"/>
                    </a:moveTo>
                    <a:lnTo>
                      <a:pt x="265" y="95"/>
                    </a:lnTo>
                    <a:lnTo>
                      <a:pt x="267" y="95"/>
                    </a:lnTo>
                    <a:lnTo>
                      <a:pt x="267" y="97"/>
                    </a:lnTo>
                    <a:lnTo>
                      <a:pt x="269" y="97"/>
                    </a:lnTo>
                    <a:lnTo>
                      <a:pt x="269" y="99"/>
                    </a:lnTo>
                    <a:lnTo>
                      <a:pt x="269" y="100"/>
                    </a:lnTo>
                    <a:lnTo>
                      <a:pt x="269" y="102"/>
                    </a:lnTo>
                    <a:lnTo>
                      <a:pt x="267" y="102"/>
                    </a:lnTo>
                    <a:lnTo>
                      <a:pt x="265" y="102"/>
                    </a:lnTo>
                    <a:lnTo>
                      <a:pt x="263" y="104"/>
                    </a:lnTo>
                    <a:lnTo>
                      <a:pt x="265" y="104"/>
                    </a:lnTo>
                    <a:lnTo>
                      <a:pt x="263" y="104"/>
                    </a:lnTo>
                    <a:lnTo>
                      <a:pt x="265" y="104"/>
                    </a:lnTo>
                    <a:lnTo>
                      <a:pt x="263" y="104"/>
                    </a:lnTo>
                    <a:lnTo>
                      <a:pt x="261" y="104"/>
                    </a:lnTo>
                    <a:lnTo>
                      <a:pt x="259" y="104"/>
                    </a:lnTo>
                    <a:lnTo>
                      <a:pt x="257" y="104"/>
                    </a:lnTo>
                    <a:lnTo>
                      <a:pt x="255" y="104"/>
                    </a:lnTo>
                    <a:lnTo>
                      <a:pt x="255" y="106"/>
                    </a:lnTo>
                    <a:lnTo>
                      <a:pt x="254" y="106"/>
                    </a:lnTo>
                    <a:lnTo>
                      <a:pt x="252" y="106"/>
                    </a:lnTo>
                    <a:lnTo>
                      <a:pt x="250" y="106"/>
                    </a:lnTo>
                    <a:lnTo>
                      <a:pt x="248" y="106"/>
                    </a:lnTo>
                    <a:lnTo>
                      <a:pt x="246" y="106"/>
                    </a:lnTo>
                    <a:lnTo>
                      <a:pt x="244" y="106"/>
                    </a:lnTo>
                    <a:lnTo>
                      <a:pt x="242" y="104"/>
                    </a:lnTo>
                    <a:lnTo>
                      <a:pt x="238" y="102"/>
                    </a:lnTo>
                    <a:lnTo>
                      <a:pt x="236" y="102"/>
                    </a:lnTo>
                    <a:lnTo>
                      <a:pt x="236" y="100"/>
                    </a:lnTo>
                    <a:lnTo>
                      <a:pt x="234" y="100"/>
                    </a:lnTo>
                    <a:lnTo>
                      <a:pt x="232" y="99"/>
                    </a:lnTo>
                    <a:lnTo>
                      <a:pt x="231" y="99"/>
                    </a:lnTo>
                    <a:lnTo>
                      <a:pt x="229" y="99"/>
                    </a:lnTo>
                    <a:lnTo>
                      <a:pt x="231" y="99"/>
                    </a:lnTo>
                    <a:lnTo>
                      <a:pt x="229" y="99"/>
                    </a:lnTo>
                    <a:lnTo>
                      <a:pt x="227" y="99"/>
                    </a:lnTo>
                    <a:lnTo>
                      <a:pt x="225" y="99"/>
                    </a:lnTo>
                    <a:lnTo>
                      <a:pt x="223" y="97"/>
                    </a:lnTo>
                    <a:lnTo>
                      <a:pt x="221" y="97"/>
                    </a:lnTo>
                    <a:lnTo>
                      <a:pt x="219" y="95"/>
                    </a:lnTo>
                    <a:lnTo>
                      <a:pt x="217" y="93"/>
                    </a:lnTo>
                    <a:lnTo>
                      <a:pt x="217" y="91"/>
                    </a:lnTo>
                    <a:lnTo>
                      <a:pt x="219" y="91"/>
                    </a:lnTo>
                    <a:lnTo>
                      <a:pt x="217" y="89"/>
                    </a:lnTo>
                    <a:lnTo>
                      <a:pt x="219" y="87"/>
                    </a:lnTo>
                    <a:lnTo>
                      <a:pt x="217" y="87"/>
                    </a:lnTo>
                    <a:lnTo>
                      <a:pt x="219" y="87"/>
                    </a:lnTo>
                    <a:lnTo>
                      <a:pt x="219" y="85"/>
                    </a:lnTo>
                    <a:lnTo>
                      <a:pt x="221" y="85"/>
                    </a:lnTo>
                    <a:lnTo>
                      <a:pt x="223" y="85"/>
                    </a:lnTo>
                    <a:lnTo>
                      <a:pt x="225" y="85"/>
                    </a:lnTo>
                    <a:lnTo>
                      <a:pt x="225" y="83"/>
                    </a:lnTo>
                    <a:lnTo>
                      <a:pt x="223" y="83"/>
                    </a:lnTo>
                    <a:lnTo>
                      <a:pt x="225" y="83"/>
                    </a:lnTo>
                    <a:lnTo>
                      <a:pt x="227" y="83"/>
                    </a:lnTo>
                    <a:lnTo>
                      <a:pt x="229" y="83"/>
                    </a:lnTo>
                    <a:lnTo>
                      <a:pt x="229" y="85"/>
                    </a:lnTo>
                    <a:lnTo>
                      <a:pt x="231" y="85"/>
                    </a:lnTo>
                    <a:lnTo>
                      <a:pt x="229" y="83"/>
                    </a:lnTo>
                    <a:lnTo>
                      <a:pt x="227" y="83"/>
                    </a:lnTo>
                    <a:lnTo>
                      <a:pt x="229" y="83"/>
                    </a:lnTo>
                    <a:lnTo>
                      <a:pt x="231" y="83"/>
                    </a:lnTo>
                    <a:lnTo>
                      <a:pt x="232" y="83"/>
                    </a:lnTo>
                    <a:lnTo>
                      <a:pt x="232" y="85"/>
                    </a:lnTo>
                    <a:lnTo>
                      <a:pt x="234" y="85"/>
                    </a:lnTo>
                    <a:lnTo>
                      <a:pt x="236" y="85"/>
                    </a:lnTo>
                    <a:lnTo>
                      <a:pt x="236" y="87"/>
                    </a:lnTo>
                    <a:lnTo>
                      <a:pt x="234" y="87"/>
                    </a:lnTo>
                    <a:lnTo>
                      <a:pt x="232" y="85"/>
                    </a:lnTo>
                    <a:lnTo>
                      <a:pt x="234" y="87"/>
                    </a:lnTo>
                    <a:lnTo>
                      <a:pt x="236" y="87"/>
                    </a:lnTo>
                    <a:lnTo>
                      <a:pt x="236" y="89"/>
                    </a:lnTo>
                    <a:lnTo>
                      <a:pt x="238" y="89"/>
                    </a:lnTo>
                    <a:lnTo>
                      <a:pt x="240" y="89"/>
                    </a:lnTo>
                    <a:lnTo>
                      <a:pt x="242" y="89"/>
                    </a:lnTo>
                    <a:lnTo>
                      <a:pt x="244" y="89"/>
                    </a:lnTo>
                    <a:lnTo>
                      <a:pt x="246" y="91"/>
                    </a:lnTo>
                    <a:lnTo>
                      <a:pt x="248" y="91"/>
                    </a:lnTo>
                    <a:lnTo>
                      <a:pt x="250" y="91"/>
                    </a:lnTo>
                    <a:lnTo>
                      <a:pt x="252" y="91"/>
                    </a:lnTo>
                    <a:lnTo>
                      <a:pt x="254" y="93"/>
                    </a:lnTo>
                    <a:lnTo>
                      <a:pt x="255" y="93"/>
                    </a:lnTo>
                    <a:lnTo>
                      <a:pt x="257" y="93"/>
                    </a:lnTo>
                    <a:lnTo>
                      <a:pt x="259" y="93"/>
                    </a:lnTo>
                    <a:lnTo>
                      <a:pt x="261" y="93"/>
                    </a:lnTo>
                    <a:lnTo>
                      <a:pt x="263" y="95"/>
                    </a:lnTo>
                    <a:close/>
                    <a:moveTo>
                      <a:pt x="79" y="18"/>
                    </a:moveTo>
                    <a:lnTo>
                      <a:pt x="81" y="18"/>
                    </a:lnTo>
                    <a:lnTo>
                      <a:pt x="79" y="18"/>
                    </a:lnTo>
                    <a:lnTo>
                      <a:pt x="77" y="18"/>
                    </a:lnTo>
                    <a:lnTo>
                      <a:pt x="75" y="16"/>
                    </a:lnTo>
                    <a:lnTo>
                      <a:pt x="73" y="16"/>
                    </a:lnTo>
                    <a:lnTo>
                      <a:pt x="71" y="16"/>
                    </a:lnTo>
                    <a:lnTo>
                      <a:pt x="69" y="16"/>
                    </a:lnTo>
                    <a:lnTo>
                      <a:pt x="71" y="16"/>
                    </a:lnTo>
                    <a:lnTo>
                      <a:pt x="69" y="16"/>
                    </a:lnTo>
                    <a:lnTo>
                      <a:pt x="67" y="16"/>
                    </a:lnTo>
                    <a:lnTo>
                      <a:pt x="65" y="16"/>
                    </a:lnTo>
                    <a:lnTo>
                      <a:pt x="67" y="16"/>
                    </a:lnTo>
                    <a:lnTo>
                      <a:pt x="65" y="16"/>
                    </a:lnTo>
                    <a:lnTo>
                      <a:pt x="67" y="16"/>
                    </a:lnTo>
                    <a:lnTo>
                      <a:pt x="67" y="18"/>
                    </a:lnTo>
                    <a:lnTo>
                      <a:pt x="69" y="18"/>
                    </a:lnTo>
                    <a:lnTo>
                      <a:pt x="71" y="18"/>
                    </a:lnTo>
                    <a:lnTo>
                      <a:pt x="73" y="18"/>
                    </a:lnTo>
                    <a:lnTo>
                      <a:pt x="73" y="20"/>
                    </a:lnTo>
                    <a:lnTo>
                      <a:pt x="75" y="20"/>
                    </a:lnTo>
                    <a:lnTo>
                      <a:pt x="77" y="20"/>
                    </a:lnTo>
                    <a:lnTo>
                      <a:pt x="79" y="20"/>
                    </a:lnTo>
                    <a:lnTo>
                      <a:pt x="79" y="22"/>
                    </a:lnTo>
                    <a:lnTo>
                      <a:pt x="81" y="22"/>
                    </a:lnTo>
                    <a:lnTo>
                      <a:pt x="83" y="22"/>
                    </a:lnTo>
                    <a:lnTo>
                      <a:pt x="85" y="24"/>
                    </a:lnTo>
                    <a:lnTo>
                      <a:pt x="86" y="25"/>
                    </a:lnTo>
                    <a:lnTo>
                      <a:pt x="88" y="27"/>
                    </a:lnTo>
                    <a:lnTo>
                      <a:pt x="90" y="27"/>
                    </a:lnTo>
                    <a:lnTo>
                      <a:pt x="90" y="29"/>
                    </a:lnTo>
                    <a:lnTo>
                      <a:pt x="88" y="29"/>
                    </a:lnTo>
                    <a:lnTo>
                      <a:pt x="86" y="29"/>
                    </a:lnTo>
                    <a:lnTo>
                      <a:pt x="85" y="29"/>
                    </a:lnTo>
                    <a:lnTo>
                      <a:pt x="85" y="27"/>
                    </a:lnTo>
                    <a:lnTo>
                      <a:pt x="83" y="29"/>
                    </a:lnTo>
                    <a:lnTo>
                      <a:pt x="81" y="27"/>
                    </a:lnTo>
                    <a:lnTo>
                      <a:pt x="79" y="27"/>
                    </a:lnTo>
                    <a:lnTo>
                      <a:pt x="77" y="27"/>
                    </a:lnTo>
                    <a:lnTo>
                      <a:pt x="75" y="27"/>
                    </a:lnTo>
                    <a:lnTo>
                      <a:pt x="73" y="27"/>
                    </a:lnTo>
                    <a:lnTo>
                      <a:pt x="71" y="27"/>
                    </a:lnTo>
                    <a:lnTo>
                      <a:pt x="69" y="25"/>
                    </a:lnTo>
                    <a:lnTo>
                      <a:pt x="67" y="25"/>
                    </a:lnTo>
                    <a:lnTo>
                      <a:pt x="65" y="24"/>
                    </a:lnTo>
                    <a:lnTo>
                      <a:pt x="63" y="24"/>
                    </a:lnTo>
                    <a:lnTo>
                      <a:pt x="60" y="22"/>
                    </a:lnTo>
                    <a:lnTo>
                      <a:pt x="58" y="22"/>
                    </a:lnTo>
                    <a:lnTo>
                      <a:pt x="56" y="22"/>
                    </a:lnTo>
                    <a:lnTo>
                      <a:pt x="56" y="20"/>
                    </a:lnTo>
                    <a:lnTo>
                      <a:pt x="54" y="22"/>
                    </a:lnTo>
                    <a:lnTo>
                      <a:pt x="54" y="20"/>
                    </a:lnTo>
                    <a:lnTo>
                      <a:pt x="52" y="20"/>
                    </a:lnTo>
                    <a:lnTo>
                      <a:pt x="50" y="20"/>
                    </a:lnTo>
                    <a:lnTo>
                      <a:pt x="52" y="20"/>
                    </a:lnTo>
                    <a:lnTo>
                      <a:pt x="52" y="22"/>
                    </a:lnTo>
                    <a:lnTo>
                      <a:pt x="54" y="22"/>
                    </a:lnTo>
                    <a:lnTo>
                      <a:pt x="52" y="22"/>
                    </a:lnTo>
                    <a:lnTo>
                      <a:pt x="52" y="24"/>
                    </a:lnTo>
                    <a:lnTo>
                      <a:pt x="50" y="24"/>
                    </a:lnTo>
                    <a:lnTo>
                      <a:pt x="48" y="24"/>
                    </a:lnTo>
                    <a:lnTo>
                      <a:pt x="48" y="22"/>
                    </a:lnTo>
                    <a:lnTo>
                      <a:pt x="46" y="22"/>
                    </a:lnTo>
                    <a:lnTo>
                      <a:pt x="44" y="20"/>
                    </a:lnTo>
                    <a:lnTo>
                      <a:pt x="42" y="20"/>
                    </a:lnTo>
                    <a:lnTo>
                      <a:pt x="42" y="18"/>
                    </a:lnTo>
                    <a:lnTo>
                      <a:pt x="40" y="18"/>
                    </a:lnTo>
                    <a:lnTo>
                      <a:pt x="38" y="18"/>
                    </a:lnTo>
                    <a:lnTo>
                      <a:pt x="38" y="16"/>
                    </a:lnTo>
                    <a:lnTo>
                      <a:pt x="36" y="16"/>
                    </a:lnTo>
                    <a:lnTo>
                      <a:pt x="35" y="16"/>
                    </a:lnTo>
                    <a:lnTo>
                      <a:pt x="35" y="18"/>
                    </a:lnTo>
                    <a:lnTo>
                      <a:pt x="35" y="16"/>
                    </a:lnTo>
                    <a:lnTo>
                      <a:pt x="33" y="16"/>
                    </a:lnTo>
                    <a:lnTo>
                      <a:pt x="31" y="16"/>
                    </a:lnTo>
                    <a:lnTo>
                      <a:pt x="29" y="16"/>
                    </a:lnTo>
                    <a:lnTo>
                      <a:pt x="31" y="16"/>
                    </a:lnTo>
                    <a:lnTo>
                      <a:pt x="31" y="18"/>
                    </a:lnTo>
                    <a:lnTo>
                      <a:pt x="33" y="18"/>
                    </a:lnTo>
                    <a:lnTo>
                      <a:pt x="35" y="18"/>
                    </a:lnTo>
                    <a:lnTo>
                      <a:pt x="35" y="20"/>
                    </a:lnTo>
                    <a:lnTo>
                      <a:pt x="36" y="20"/>
                    </a:lnTo>
                    <a:lnTo>
                      <a:pt x="35" y="20"/>
                    </a:lnTo>
                    <a:lnTo>
                      <a:pt x="36" y="22"/>
                    </a:lnTo>
                    <a:lnTo>
                      <a:pt x="35" y="22"/>
                    </a:lnTo>
                    <a:lnTo>
                      <a:pt x="33" y="22"/>
                    </a:lnTo>
                    <a:lnTo>
                      <a:pt x="35" y="22"/>
                    </a:lnTo>
                    <a:lnTo>
                      <a:pt x="35" y="24"/>
                    </a:lnTo>
                    <a:lnTo>
                      <a:pt x="36" y="24"/>
                    </a:lnTo>
                    <a:lnTo>
                      <a:pt x="36" y="25"/>
                    </a:lnTo>
                    <a:lnTo>
                      <a:pt x="36" y="24"/>
                    </a:lnTo>
                    <a:lnTo>
                      <a:pt x="35" y="24"/>
                    </a:lnTo>
                    <a:lnTo>
                      <a:pt x="33" y="24"/>
                    </a:lnTo>
                    <a:lnTo>
                      <a:pt x="35" y="24"/>
                    </a:lnTo>
                    <a:lnTo>
                      <a:pt x="33" y="24"/>
                    </a:lnTo>
                    <a:lnTo>
                      <a:pt x="31" y="22"/>
                    </a:lnTo>
                    <a:lnTo>
                      <a:pt x="29" y="20"/>
                    </a:lnTo>
                    <a:lnTo>
                      <a:pt x="27" y="20"/>
                    </a:lnTo>
                    <a:lnTo>
                      <a:pt x="27" y="18"/>
                    </a:lnTo>
                    <a:lnTo>
                      <a:pt x="27" y="20"/>
                    </a:lnTo>
                    <a:lnTo>
                      <a:pt x="27" y="22"/>
                    </a:lnTo>
                    <a:lnTo>
                      <a:pt x="25" y="22"/>
                    </a:lnTo>
                    <a:lnTo>
                      <a:pt x="23" y="22"/>
                    </a:lnTo>
                    <a:lnTo>
                      <a:pt x="23" y="20"/>
                    </a:lnTo>
                    <a:lnTo>
                      <a:pt x="21" y="18"/>
                    </a:lnTo>
                    <a:lnTo>
                      <a:pt x="19" y="18"/>
                    </a:lnTo>
                    <a:lnTo>
                      <a:pt x="17" y="18"/>
                    </a:lnTo>
                    <a:lnTo>
                      <a:pt x="15" y="18"/>
                    </a:lnTo>
                    <a:lnTo>
                      <a:pt x="13" y="18"/>
                    </a:lnTo>
                    <a:lnTo>
                      <a:pt x="11" y="16"/>
                    </a:lnTo>
                    <a:lnTo>
                      <a:pt x="13" y="16"/>
                    </a:lnTo>
                    <a:lnTo>
                      <a:pt x="15" y="14"/>
                    </a:lnTo>
                    <a:lnTo>
                      <a:pt x="17" y="14"/>
                    </a:lnTo>
                    <a:lnTo>
                      <a:pt x="19" y="16"/>
                    </a:lnTo>
                    <a:lnTo>
                      <a:pt x="21" y="16"/>
                    </a:lnTo>
                    <a:lnTo>
                      <a:pt x="19" y="14"/>
                    </a:lnTo>
                    <a:lnTo>
                      <a:pt x="17" y="14"/>
                    </a:lnTo>
                    <a:lnTo>
                      <a:pt x="17" y="12"/>
                    </a:lnTo>
                    <a:lnTo>
                      <a:pt x="19" y="14"/>
                    </a:lnTo>
                    <a:lnTo>
                      <a:pt x="21" y="14"/>
                    </a:lnTo>
                    <a:lnTo>
                      <a:pt x="19" y="14"/>
                    </a:lnTo>
                    <a:lnTo>
                      <a:pt x="19" y="12"/>
                    </a:lnTo>
                    <a:lnTo>
                      <a:pt x="17" y="12"/>
                    </a:lnTo>
                    <a:lnTo>
                      <a:pt x="15" y="10"/>
                    </a:lnTo>
                    <a:lnTo>
                      <a:pt x="15" y="12"/>
                    </a:lnTo>
                    <a:lnTo>
                      <a:pt x="15" y="10"/>
                    </a:lnTo>
                    <a:lnTo>
                      <a:pt x="13" y="10"/>
                    </a:lnTo>
                    <a:lnTo>
                      <a:pt x="11" y="10"/>
                    </a:lnTo>
                    <a:lnTo>
                      <a:pt x="11" y="8"/>
                    </a:lnTo>
                    <a:lnTo>
                      <a:pt x="11" y="10"/>
                    </a:lnTo>
                    <a:lnTo>
                      <a:pt x="10" y="8"/>
                    </a:lnTo>
                    <a:lnTo>
                      <a:pt x="10" y="10"/>
                    </a:lnTo>
                    <a:lnTo>
                      <a:pt x="8" y="8"/>
                    </a:lnTo>
                    <a:lnTo>
                      <a:pt x="6" y="8"/>
                    </a:lnTo>
                    <a:lnTo>
                      <a:pt x="4" y="8"/>
                    </a:lnTo>
                    <a:lnTo>
                      <a:pt x="4" y="6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8" y="0"/>
                    </a:lnTo>
                    <a:lnTo>
                      <a:pt x="10" y="2"/>
                    </a:lnTo>
                    <a:lnTo>
                      <a:pt x="11" y="2"/>
                    </a:lnTo>
                    <a:lnTo>
                      <a:pt x="11" y="4"/>
                    </a:lnTo>
                    <a:lnTo>
                      <a:pt x="10" y="4"/>
                    </a:lnTo>
                    <a:lnTo>
                      <a:pt x="11" y="6"/>
                    </a:lnTo>
                    <a:lnTo>
                      <a:pt x="13" y="6"/>
                    </a:lnTo>
                    <a:lnTo>
                      <a:pt x="13" y="8"/>
                    </a:lnTo>
                    <a:lnTo>
                      <a:pt x="15" y="8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19" y="10"/>
                    </a:lnTo>
                    <a:lnTo>
                      <a:pt x="21" y="12"/>
                    </a:lnTo>
                    <a:lnTo>
                      <a:pt x="21" y="10"/>
                    </a:lnTo>
                    <a:lnTo>
                      <a:pt x="19" y="10"/>
                    </a:lnTo>
                    <a:lnTo>
                      <a:pt x="19" y="8"/>
                    </a:lnTo>
                    <a:lnTo>
                      <a:pt x="21" y="10"/>
                    </a:lnTo>
                    <a:lnTo>
                      <a:pt x="23" y="10"/>
                    </a:lnTo>
                    <a:lnTo>
                      <a:pt x="23" y="12"/>
                    </a:lnTo>
                    <a:lnTo>
                      <a:pt x="23" y="10"/>
                    </a:lnTo>
                    <a:lnTo>
                      <a:pt x="19" y="8"/>
                    </a:lnTo>
                    <a:lnTo>
                      <a:pt x="17" y="6"/>
                    </a:lnTo>
                    <a:lnTo>
                      <a:pt x="15" y="4"/>
                    </a:lnTo>
                    <a:lnTo>
                      <a:pt x="17" y="4"/>
                    </a:lnTo>
                    <a:lnTo>
                      <a:pt x="19" y="6"/>
                    </a:lnTo>
                    <a:lnTo>
                      <a:pt x="21" y="6"/>
                    </a:lnTo>
                    <a:lnTo>
                      <a:pt x="23" y="8"/>
                    </a:lnTo>
                    <a:lnTo>
                      <a:pt x="25" y="8"/>
                    </a:lnTo>
                    <a:lnTo>
                      <a:pt x="27" y="10"/>
                    </a:lnTo>
                    <a:lnTo>
                      <a:pt x="27" y="8"/>
                    </a:lnTo>
                    <a:lnTo>
                      <a:pt x="23" y="6"/>
                    </a:lnTo>
                    <a:lnTo>
                      <a:pt x="23" y="4"/>
                    </a:lnTo>
                    <a:lnTo>
                      <a:pt x="21" y="4"/>
                    </a:lnTo>
                    <a:lnTo>
                      <a:pt x="19" y="4"/>
                    </a:lnTo>
                    <a:lnTo>
                      <a:pt x="17" y="2"/>
                    </a:lnTo>
                    <a:lnTo>
                      <a:pt x="15" y="2"/>
                    </a:lnTo>
                    <a:lnTo>
                      <a:pt x="13" y="0"/>
                    </a:lnTo>
                    <a:lnTo>
                      <a:pt x="15" y="0"/>
                    </a:lnTo>
                    <a:lnTo>
                      <a:pt x="17" y="2"/>
                    </a:lnTo>
                    <a:lnTo>
                      <a:pt x="19" y="2"/>
                    </a:lnTo>
                    <a:lnTo>
                      <a:pt x="21" y="2"/>
                    </a:lnTo>
                    <a:lnTo>
                      <a:pt x="23" y="2"/>
                    </a:lnTo>
                    <a:lnTo>
                      <a:pt x="27" y="4"/>
                    </a:lnTo>
                    <a:lnTo>
                      <a:pt x="29" y="6"/>
                    </a:lnTo>
                    <a:lnTo>
                      <a:pt x="31" y="6"/>
                    </a:lnTo>
                    <a:lnTo>
                      <a:pt x="33" y="6"/>
                    </a:lnTo>
                    <a:lnTo>
                      <a:pt x="33" y="8"/>
                    </a:lnTo>
                    <a:lnTo>
                      <a:pt x="35" y="8"/>
                    </a:lnTo>
                    <a:lnTo>
                      <a:pt x="33" y="8"/>
                    </a:lnTo>
                    <a:lnTo>
                      <a:pt x="35" y="8"/>
                    </a:lnTo>
                    <a:lnTo>
                      <a:pt x="35" y="10"/>
                    </a:lnTo>
                    <a:lnTo>
                      <a:pt x="36" y="10"/>
                    </a:lnTo>
                    <a:lnTo>
                      <a:pt x="36" y="12"/>
                    </a:lnTo>
                    <a:lnTo>
                      <a:pt x="38" y="12"/>
                    </a:lnTo>
                    <a:lnTo>
                      <a:pt x="40" y="12"/>
                    </a:lnTo>
                    <a:lnTo>
                      <a:pt x="42" y="12"/>
                    </a:lnTo>
                    <a:lnTo>
                      <a:pt x="42" y="14"/>
                    </a:lnTo>
                    <a:lnTo>
                      <a:pt x="44" y="14"/>
                    </a:lnTo>
                    <a:lnTo>
                      <a:pt x="44" y="12"/>
                    </a:lnTo>
                    <a:lnTo>
                      <a:pt x="44" y="14"/>
                    </a:lnTo>
                    <a:lnTo>
                      <a:pt x="46" y="14"/>
                    </a:lnTo>
                    <a:lnTo>
                      <a:pt x="46" y="12"/>
                    </a:lnTo>
                    <a:lnTo>
                      <a:pt x="48" y="14"/>
                    </a:lnTo>
                    <a:lnTo>
                      <a:pt x="48" y="12"/>
                    </a:lnTo>
                    <a:lnTo>
                      <a:pt x="50" y="12"/>
                    </a:lnTo>
                    <a:lnTo>
                      <a:pt x="52" y="12"/>
                    </a:lnTo>
                    <a:lnTo>
                      <a:pt x="52" y="14"/>
                    </a:lnTo>
                    <a:lnTo>
                      <a:pt x="54" y="14"/>
                    </a:lnTo>
                    <a:lnTo>
                      <a:pt x="56" y="14"/>
                    </a:lnTo>
                    <a:lnTo>
                      <a:pt x="54" y="12"/>
                    </a:lnTo>
                    <a:lnTo>
                      <a:pt x="56" y="12"/>
                    </a:lnTo>
                    <a:lnTo>
                      <a:pt x="54" y="12"/>
                    </a:lnTo>
                    <a:lnTo>
                      <a:pt x="52" y="10"/>
                    </a:lnTo>
                    <a:lnTo>
                      <a:pt x="50" y="10"/>
                    </a:lnTo>
                    <a:lnTo>
                      <a:pt x="48" y="8"/>
                    </a:lnTo>
                    <a:lnTo>
                      <a:pt x="50" y="8"/>
                    </a:lnTo>
                    <a:lnTo>
                      <a:pt x="48" y="8"/>
                    </a:lnTo>
                    <a:lnTo>
                      <a:pt x="48" y="6"/>
                    </a:lnTo>
                    <a:lnTo>
                      <a:pt x="46" y="6"/>
                    </a:lnTo>
                    <a:lnTo>
                      <a:pt x="44" y="6"/>
                    </a:lnTo>
                    <a:lnTo>
                      <a:pt x="44" y="4"/>
                    </a:lnTo>
                    <a:lnTo>
                      <a:pt x="46" y="6"/>
                    </a:lnTo>
                    <a:lnTo>
                      <a:pt x="48" y="6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50" y="6"/>
                    </a:lnTo>
                    <a:lnTo>
                      <a:pt x="52" y="6"/>
                    </a:lnTo>
                    <a:lnTo>
                      <a:pt x="54" y="6"/>
                    </a:lnTo>
                    <a:lnTo>
                      <a:pt x="56" y="6"/>
                    </a:lnTo>
                    <a:lnTo>
                      <a:pt x="56" y="8"/>
                    </a:lnTo>
                    <a:lnTo>
                      <a:pt x="58" y="8"/>
                    </a:lnTo>
                    <a:lnTo>
                      <a:pt x="58" y="6"/>
                    </a:lnTo>
                    <a:lnTo>
                      <a:pt x="60" y="8"/>
                    </a:lnTo>
                    <a:lnTo>
                      <a:pt x="60" y="6"/>
                    </a:lnTo>
                    <a:lnTo>
                      <a:pt x="61" y="6"/>
                    </a:lnTo>
                    <a:lnTo>
                      <a:pt x="61" y="8"/>
                    </a:lnTo>
                    <a:lnTo>
                      <a:pt x="63" y="8"/>
                    </a:lnTo>
                    <a:lnTo>
                      <a:pt x="65" y="8"/>
                    </a:lnTo>
                    <a:lnTo>
                      <a:pt x="67" y="8"/>
                    </a:lnTo>
                    <a:lnTo>
                      <a:pt x="69" y="10"/>
                    </a:lnTo>
                    <a:lnTo>
                      <a:pt x="71" y="12"/>
                    </a:lnTo>
                    <a:lnTo>
                      <a:pt x="69" y="10"/>
                    </a:lnTo>
                    <a:lnTo>
                      <a:pt x="67" y="10"/>
                    </a:lnTo>
                    <a:lnTo>
                      <a:pt x="65" y="10"/>
                    </a:lnTo>
                    <a:lnTo>
                      <a:pt x="63" y="10"/>
                    </a:lnTo>
                    <a:lnTo>
                      <a:pt x="63" y="8"/>
                    </a:lnTo>
                    <a:lnTo>
                      <a:pt x="61" y="8"/>
                    </a:lnTo>
                    <a:lnTo>
                      <a:pt x="63" y="8"/>
                    </a:lnTo>
                    <a:lnTo>
                      <a:pt x="63" y="10"/>
                    </a:lnTo>
                    <a:lnTo>
                      <a:pt x="65" y="10"/>
                    </a:lnTo>
                    <a:lnTo>
                      <a:pt x="63" y="10"/>
                    </a:lnTo>
                    <a:lnTo>
                      <a:pt x="65" y="10"/>
                    </a:lnTo>
                    <a:lnTo>
                      <a:pt x="65" y="12"/>
                    </a:lnTo>
                    <a:lnTo>
                      <a:pt x="67" y="12"/>
                    </a:lnTo>
                    <a:lnTo>
                      <a:pt x="69" y="12"/>
                    </a:lnTo>
                    <a:lnTo>
                      <a:pt x="71" y="12"/>
                    </a:lnTo>
                    <a:lnTo>
                      <a:pt x="71" y="14"/>
                    </a:lnTo>
                    <a:lnTo>
                      <a:pt x="75" y="14"/>
                    </a:lnTo>
                    <a:lnTo>
                      <a:pt x="77" y="14"/>
                    </a:lnTo>
                    <a:lnTo>
                      <a:pt x="79" y="14"/>
                    </a:lnTo>
                    <a:lnTo>
                      <a:pt x="79" y="16"/>
                    </a:lnTo>
                    <a:lnTo>
                      <a:pt x="79" y="18"/>
                    </a:lnTo>
                    <a:close/>
                    <a:moveTo>
                      <a:pt x="317" y="100"/>
                    </a:moveTo>
                    <a:lnTo>
                      <a:pt x="319" y="100"/>
                    </a:lnTo>
                    <a:lnTo>
                      <a:pt x="321" y="102"/>
                    </a:lnTo>
                    <a:lnTo>
                      <a:pt x="323" y="102"/>
                    </a:lnTo>
                    <a:lnTo>
                      <a:pt x="323" y="104"/>
                    </a:lnTo>
                    <a:lnTo>
                      <a:pt x="325" y="104"/>
                    </a:lnTo>
                    <a:lnTo>
                      <a:pt x="327" y="104"/>
                    </a:lnTo>
                    <a:lnTo>
                      <a:pt x="327" y="106"/>
                    </a:lnTo>
                    <a:lnTo>
                      <a:pt x="325" y="106"/>
                    </a:lnTo>
                    <a:lnTo>
                      <a:pt x="327" y="106"/>
                    </a:lnTo>
                    <a:lnTo>
                      <a:pt x="327" y="108"/>
                    </a:lnTo>
                    <a:lnTo>
                      <a:pt x="327" y="110"/>
                    </a:lnTo>
                    <a:lnTo>
                      <a:pt x="325" y="110"/>
                    </a:lnTo>
                    <a:lnTo>
                      <a:pt x="323" y="110"/>
                    </a:lnTo>
                    <a:lnTo>
                      <a:pt x="325" y="110"/>
                    </a:lnTo>
                    <a:lnTo>
                      <a:pt x="327" y="110"/>
                    </a:lnTo>
                    <a:lnTo>
                      <a:pt x="327" y="112"/>
                    </a:lnTo>
                    <a:lnTo>
                      <a:pt x="325" y="114"/>
                    </a:lnTo>
                    <a:lnTo>
                      <a:pt x="323" y="114"/>
                    </a:lnTo>
                    <a:lnTo>
                      <a:pt x="321" y="114"/>
                    </a:lnTo>
                    <a:lnTo>
                      <a:pt x="319" y="114"/>
                    </a:lnTo>
                    <a:lnTo>
                      <a:pt x="317" y="116"/>
                    </a:lnTo>
                    <a:lnTo>
                      <a:pt x="315" y="116"/>
                    </a:lnTo>
                    <a:lnTo>
                      <a:pt x="313" y="114"/>
                    </a:lnTo>
                    <a:lnTo>
                      <a:pt x="311" y="114"/>
                    </a:lnTo>
                    <a:lnTo>
                      <a:pt x="309" y="114"/>
                    </a:lnTo>
                    <a:lnTo>
                      <a:pt x="307" y="114"/>
                    </a:lnTo>
                    <a:lnTo>
                      <a:pt x="305" y="114"/>
                    </a:lnTo>
                    <a:lnTo>
                      <a:pt x="304" y="114"/>
                    </a:lnTo>
                    <a:lnTo>
                      <a:pt x="302" y="114"/>
                    </a:lnTo>
                    <a:lnTo>
                      <a:pt x="300" y="112"/>
                    </a:lnTo>
                    <a:lnTo>
                      <a:pt x="298" y="112"/>
                    </a:lnTo>
                    <a:lnTo>
                      <a:pt x="296" y="112"/>
                    </a:lnTo>
                    <a:lnTo>
                      <a:pt x="294" y="112"/>
                    </a:lnTo>
                    <a:lnTo>
                      <a:pt x="294" y="110"/>
                    </a:lnTo>
                    <a:lnTo>
                      <a:pt x="292" y="110"/>
                    </a:lnTo>
                    <a:lnTo>
                      <a:pt x="288" y="110"/>
                    </a:lnTo>
                    <a:lnTo>
                      <a:pt x="286" y="110"/>
                    </a:lnTo>
                    <a:lnTo>
                      <a:pt x="284" y="110"/>
                    </a:lnTo>
                    <a:lnTo>
                      <a:pt x="282" y="110"/>
                    </a:lnTo>
                    <a:lnTo>
                      <a:pt x="282" y="108"/>
                    </a:lnTo>
                    <a:lnTo>
                      <a:pt x="280" y="106"/>
                    </a:lnTo>
                    <a:lnTo>
                      <a:pt x="279" y="104"/>
                    </a:lnTo>
                    <a:lnTo>
                      <a:pt x="277" y="102"/>
                    </a:lnTo>
                    <a:lnTo>
                      <a:pt x="275" y="102"/>
                    </a:lnTo>
                    <a:lnTo>
                      <a:pt x="275" y="100"/>
                    </a:lnTo>
                    <a:lnTo>
                      <a:pt x="279" y="100"/>
                    </a:lnTo>
                    <a:lnTo>
                      <a:pt x="280" y="100"/>
                    </a:lnTo>
                    <a:lnTo>
                      <a:pt x="282" y="100"/>
                    </a:lnTo>
                    <a:lnTo>
                      <a:pt x="284" y="100"/>
                    </a:lnTo>
                    <a:lnTo>
                      <a:pt x="286" y="100"/>
                    </a:lnTo>
                    <a:lnTo>
                      <a:pt x="286" y="99"/>
                    </a:lnTo>
                    <a:lnTo>
                      <a:pt x="288" y="99"/>
                    </a:lnTo>
                    <a:lnTo>
                      <a:pt x="288" y="100"/>
                    </a:lnTo>
                    <a:lnTo>
                      <a:pt x="288" y="99"/>
                    </a:lnTo>
                    <a:lnTo>
                      <a:pt x="290" y="100"/>
                    </a:lnTo>
                    <a:lnTo>
                      <a:pt x="292" y="100"/>
                    </a:lnTo>
                    <a:lnTo>
                      <a:pt x="294" y="100"/>
                    </a:lnTo>
                    <a:lnTo>
                      <a:pt x="296" y="102"/>
                    </a:lnTo>
                    <a:lnTo>
                      <a:pt x="298" y="102"/>
                    </a:lnTo>
                    <a:lnTo>
                      <a:pt x="300" y="102"/>
                    </a:lnTo>
                    <a:lnTo>
                      <a:pt x="302" y="104"/>
                    </a:lnTo>
                    <a:lnTo>
                      <a:pt x="304" y="104"/>
                    </a:lnTo>
                    <a:lnTo>
                      <a:pt x="305" y="104"/>
                    </a:lnTo>
                    <a:lnTo>
                      <a:pt x="305" y="102"/>
                    </a:lnTo>
                    <a:lnTo>
                      <a:pt x="305" y="100"/>
                    </a:lnTo>
                    <a:lnTo>
                      <a:pt x="307" y="100"/>
                    </a:lnTo>
                    <a:lnTo>
                      <a:pt x="307" y="99"/>
                    </a:lnTo>
                    <a:lnTo>
                      <a:pt x="309" y="99"/>
                    </a:lnTo>
                    <a:lnTo>
                      <a:pt x="311" y="99"/>
                    </a:lnTo>
                    <a:lnTo>
                      <a:pt x="313" y="99"/>
                    </a:lnTo>
                    <a:lnTo>
                      <a:pt x="315" y="99"/>
                    </a:lnTo>
                    <a:lnTo>
                      <a:pt x="315" y="100"/>
                    </a:lnTo>
                    <a:lnTo>
                      <a:pt x="317" y="10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10">
                <a:extLst>
                  <a:ext uri="{FF2B5EF4-FFF2-40B4-BE49-F238E27FC236}">
                    <a16:creationId xmlns="" xmlns:a16="http://schemas.microsoft.com/office/drawing/2014/main" id="{A0ED6C74-B3BC-4A2C-9F7D-1D52026514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46450" y="1701801"/>
                <a:ext cx="623888" cy="760413"/>
              </a:xfrm>
              <a:custGeom>
                <a:avLst/>
                <a:gdLst>
                  <a:gd name="T0" fmla="*/ 17 w 393"/>
                  <a:gd name="T1" fmla="*/ 473 h 479"/>
                  <a:gd name="T2" fmla="*/ 9 w 393"/>
                  <a:gd name="T3" fmla="*/ 475 h 479"/>
                  <a:gd name="T4" fmla="*/ 2 w 393"/>
                  <a:gd name="T5" fmla="*/ 462 h 479"/>
                  <a:gd name="T6" fmla="*/ 11 w 393"/>
                  <a:gd name="T7" fmla="*/ 458 h 479"/>
                  <a:gd name="T8" fmla="*/ 17 w 393"/>
                  <a:gd name="T9" fmla="*/ 464 h 479"/>
                  <a:gd name="T10" fmla="*/ 11 w 393"/>
                  <a:gd name="T11" fmla="*/ 462 h 479"/>
                  <a:gd name="T12" fmla="*/ 305 w 393"/>
                  <a:gd name="T13" fmla="*/ 131 h 479"/>
                  <a:gd name="T14" fmla="*/ 290 w 393"/>
                  <a:gd name="T15" fmla="*/ 131 h 479"/>
                  <a:gd name="T16" fmla="*/ 159 w 393"/>
                  <a:gd name="T17" fmla="*/ 77 h 479"/>
                  <a:gd name="T18" fmla="*/ 157 w 393"/>
                  <a:gd name="T19" fmla="*/ 70 h 479"/>
                  <a:gd name="T20" fmla="*/ 134 w 393"/>
                  <a:gd name="T21" fmla="*/ 58 h 479"/>
                  <a:gd name="T22" fmla="*/ 263 w 393"/>
                  <a:gd name="T23" fmla="*/ 108 h 479"/>
                  <a:gd name="T24" fmla="*/ 246 w 393"/>
                  <a:gd name="T25" fmla="*/ 108 h 479"/>
                  <a:gd name="T26" fmla="*/ 253 w 393"/>
                  <a:gd name="T27" fmla="*/ 102 h 479"/>
                  <a:gd name="T28" fmla="*/ 201 w 393"/>
                  <a:gd name="T29" fmla="*/ 81 h 479"/>
                  <a:gd name="T30" fmla="*/ 190 w 393"/>
                  <a:gd name="T31" fmla="*/ 81 h 479"/>
                  <a:gd name="T32" fmla="*/ 186 w 393"/>
                  <a:gd name="T33" fmla="*/ 75 h 479"/>
                  <a:gd name="T34" fmla="*/ 284 w 393"/>
                  <a:gd name="T35" fmla="*/ 110 h 479"/>
                  <a:gd name="T36" fmla="*/ 290 w 393"/>
                  <a:gd name="T37" fmla="*/ 118 h 479"/>
                  <a:gd name="T38" fmla="*/ 278 w 393"/>
                  <a:gd name="T39" fmla="*/ 120 h 479"/>
                  <a:gd name="T40" fmla="*/ 267 w 393"/>
                  <a:gd name="T41" fmla="*/ 108 h 479"/>
                  <a:gd name="T42" fmla="*/ 215 w 393"/>
                  <a:gd name="T43" fmla="*/ 75 h 479"/>
                  <a:gd name="T44" fmla="*/ 215 w 393"/>
                  <a:gd name="T45" fmla="*/ 81 h 479"/>
                  <a:gd name="T46" fmla="*/ 270 w 393"/>
                  <a:gd name="T47" fmla="*/ 100 h 479"/>
                  <a:gd name="T48" fmla="*/ 263 w 393"/>
                  <a:gd name="T49" fmla="*/ 91 h 479"/>
                  <a:gd name="T50" fmla="*/ 242 w 393"/>
                  <a:gd name="T51" fmla="*/ 85 h 479"/>
                  <a:gd name="T52" fmla="*/ 259 w 393"/>
                  <a:gd name="T53" fmla="*/ 89 h 479"/>
                  <a:gd name="T54" fmla="*/ 126 w 393"/>
                  <a:gd name="T55" fmla="*/ 29 h 479"/>
                  <a:gd name="T56" fmla="*/ 109 w 393"/>
                  <a:gd name="T57" fmla="*/ 18 h 479"/>
                  <a:gd name="T58" fmla="*/ 105 w 393"/>
                  <a:gd name="T59" fmla="*/ 22 h 479"/>
                  <a:gd name="T60" fmla="*/ 82 w 393"/>
                  <a:gd name="T61" fmla="*/ 16 h 479"/>
                  <a:gd name="T62" fmla="*/ 75 w 393"/>
                  <a:gd name="T63" fmla="*/ 4 h 479"/>
                  <a:gd name="T64" fmla="*/ 101 w 393"/>
                  <a:gd name="T65" fmla="*/ 12 h 479"/>
                  <a:gd name="T66" fmla="*/ 242 w 393"/>
                  <a:gd name="T67" fmla="*/ 77 h 479"/>
                  <a:gd name="T68" fmla="*/ 230 w 393"/>
                  <a:gd name="T69" fmla="*/ 77 h 479"/>
                  <a:gd name="T70" fmla="*/ 230 w 393"/>
                  <a:gd name="T71" fmla="*/ 72 h 479"/>
                  <a:gd name="T72" fmla="*/ 288 w 393"/>
                  <a:gd name="T73" fmla="*/ 100 h 479"/>
                  <a:gd name="T74" fmla="*/ 299 w 393"/>
                  <a:gd name="T75" fmla="*/ 93 h 479"/>
                  <a:gd name="T76" fmla="*/ 294 w 393"/>
                  <a:gd name="T77" fmla="*/ 89 h 479"/>
                  <a:gd name="T78" fmla="*/ 263 w 393"/>
                  <a:gd name="T79" fmla="*/ 81 h 479"/>
                  <a:gd name="T80" fmla="*/ 276 w 393"/>
                  <a:gd name="T81" fmla="*/ 97 h 479"/>
                  <a:gd name="T82" fmla="*/ 251 w 393"/>
                  <a:gd name="T83" fmla="*/ 83 h 479"/>
                  <a:gd name="T84" fmla="*/ 226 w 393"/>
                  <a:gd name="T85" fmla="*/ 64 h 479"/>
                  <a:gd name="T86" fmla="*/ 274 w 393"/>
                  <a:gd name="T87" fmla="*/ 83 h 479"/>
                  <a:gd name="T88" fmla="*/ 286 w 393"/>
                  <a:gd name="T89" fmla="*/ 95 h 479"/>
                  <a:gd name="T90" fmla="*/ 263 w 393"/>
                  <a:gd name="T91" fmla="*/ 79 h 479"/>
                  <a:gd name="T92" fmla="*/ 349 w 393"/>
                  <a:gd name="T93" fmla="*/ 112 h 479"/>
                  <a:gd name="T94" fmla="*/ 324 w 393"/>
                  <a:gd name="T95" fmla="*/ 104 h 479"/>
                  <a:gd name="T96" fmla="*/ 167 w 393"/>
                  <a:gd name="T97" fmla="*/ 35 h 479"/>
                  <a:gd name="T98" fmla="*/ 169 w 393"/>
                  <a:gd name="T99" fmla="*/ 31 h 479"/>
                  <a:gd name="T100" fmla="*/ 272 w 393"/>
                  <a:gd name="T101" fmla="*/ 79 h 479"/>
                  <a:gd name="T102" fmla="*/ 280 w 393"/>
                  <a:gd name="T103" fmla="*/ 74 h 479"/>
                  <a:gd name="T104" fmla="*/ 280 w 393"/>
                  <a:gd name="T105" fmla="*/ 77 h 479"/>
                  <a:gd name="T106" fmla="*/ 259 w 393"/>
                  <a:gd name="T107" fmla="*/ 72 h 479"/>
                  <a:gd name="T108" fmla="*/ 257 w 393"/>
                  <a:gd name="T109" fmla="*/ 66 h 479"/>
                  <a:gd name="T110" fmla="*/ 265 w 393"/>
                  <a:gd name="T111" fmla="*/ 66 h 479"/>
                  <a:gd name="T112" fmla="*/ 301 w 393"/>
                  <a:gd name="T113" fmla="*/ 85 h 479"/>
                  <a:gd name="T114" fmla="*/ 301 w 393"/>
                  <a:gd name="T115" fmla="*/ 81 h 479"/>
                  <a:gd name="T116" fmla="*/ 274 w 393"/>
                  <a:gd name="T117" fmla="*/ 68 h 479"/>
                  <a:gd name="T118" fmla="*/ 382 w 393"/>
                  <a:gd name="T119" fmla="*/ 104 h 479"/>
                  <a:gd name="T120" fmla="*/ 374 w 393"/>
                  <a:gd name="T121" fmla="*/ 99 h 479"/>
                  <a:gd name="T122" fmla="*/ 313 w 393"/>
                  <a:gd name="T123" fmla="*/ 75 h 479"/>
                  <a:gd name="T124" fmla="*/ 299 w 393"/>
                  <a:gd name="T125" fmla="*/ 66 h 4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93" h="479">
                    <a:moveTo>
                      <a:pt x="17" y="471"/>
                    </a:moveTo>
                    <a:lnTo>
                      <a:pt x="17" y="470"/>
                    </a:lnTo>
                    <a:lnTo>
                      <a:pt x="17" y="471"/>
                    </a:lnTo>
                    <a:lnTo>
                      <a:pt x="17" y="470"/>
                    </a:lnTo>
                    <a:lnTo>
                      <a:pt x="19" y="470"/>
                    </a:lnTo>
                    <a:lnTo>
                      <a:pt x="19" y="471"/>
                    </a:lnTo>
                    <a:lnTo>
                      <a:pt x="19" y="470"/>
                    </a:lnTo>
                    <a:lnTo>
                      <a:pt x="19" y="471"/>
                    </a:lnTo>
                    <a:lnTo>
                      <a:pt x="19" y="470"/>
                    </a:lnTo>
                    <a:lnTo>
                      <a:pt x="19" y="471"/>
                    </a:lnTo>
                    <a:lnTo>
                      <a:pt x="19" y="470"/>
                    </a:lnTo>
                    <a:lnTo>
                      <a:pt x="17" y="470"/>
                    </a:lnTo>
                    <a:lnTo>
                      <a:pt x="19" y="471"/>
                    </a:lnTo>
                    <a:lnTo>
                      <a:pt x="17" y="471"/>
                    </a:lnTo>
                    <a:lnTo>
                      <a:pt x="19" y="471"/>
                    </a:lnTo>
                    <a:lnTo>
                      <a:pt x="17" y="471"/>
                    </a:lnTo>
                    <a:lnTo>
                      <a:pt x="19" y="473"/>
                    </a:lnTo>
                    <a:lnTo>
                      <a:pt x="17" y="473"/>
                    </a:lnTo>
                    <a:lnTo>
                      <a:pt x="17" y="475"/>
                    </a:lnTo>
                    <a:lnTo>
                      <a:pt x="15" y="475"/>
                    </a:lnTo>
                    <a:lnTo>
                      <a:pt x="15" y="477"/>
                    </a:lnTo>
                    <a:lnTo>
                      <a:pt x="15" y="475"/>
                    </a:lnTo>
                    <a:lnTo>
                      <a:pt x="15" y="477"/>
                    </a:lnTo>
                    <a:lnTo>
                      <a:pt x="13" y="477"/>
                    </a:lnTo>
                    <a:lnTo>
                      <a:pt x="13" y="479"/>
                    </a:lnTo>
                    <a:lnTo>
                      <a:pt x="13" y="477"/>
                    </a:lnTo>
                    <a:lnTo>
                      <a:pt x="13" y="479"/>
                    </a:lnTo>
                    <a:lnTo>
                      <a:pt x="13" y="477"/>
                    </a:lnTo>
                    <a:lnTo>
                      <a:pt x="11" y="477"/>
                    </a:lnTo>
                    <a:lnTo>
                      <a:pt x="11" y="479"/>
                    </a:lnTo>
                    <a:lnTo>
                      <a:pt x="11" y="477"/>
                    </a:lnTo>
                    <a:lnTo>
                      <a:pt x="9" y="477"/>
                    </a:lnTo>
                    <a:lnTo>
                      <a:pt x="11" y="477"/>
                    </a:lnTo>
                    <a:lnTo>
                      <a:pt x="9" y="477"/>
                    </a:lnTo>
                    <a:lnTo>
                      <a:pt x="7" y="475"/>
                    </a:lnTo>
                    <a:lnTo>
                      <a:pt x="9" y="475"/>
                    </a:lnTo>
                    <a:lnTo>
                      <a:pt x="7" y="475"/>
                    </a:lnTo>
                    <a:lnTo>
                      <a:pt x="7" y="477"/>
                    </a:lnTo>
                    <a:lnTo>
                      <a:pt x="7" y="475"/>
                    </a:lnTo>
                    <a:lnTo>
                      <a:pt x="7" y="477"/>
                    </a:lnTo>
                    <a:lnTo>
                      <a:pt x="7" y="475"/>
                    </a:lnTo>
                    <a:lnTo>
                      <a:pt x="7" y="473"/>
                    </a:lnTo>
                    <a:lnTo>
                      <a:pt x="7" y="471"/>
                    </a:lnTo>
                    <a:lnTo>
                      <a:pt x="7" y="470"/>
                    </a:lnTo>
                    <a:lnTo>
                      <a:pt x="5" y="470"/>
                    </a:lnTo>
                    <a:lnTo>
                      <a:pt x="7" y="470"/>
                    </a:lnTo>
                    <a:lnTo>
                      <a:pt x="7" y="468"/>
                    </a:lnTo>
                    <a:lnTo>
                      <a:pt x="7" y="466"/>
                    </a:lnTo>
                    <a:lnTo>
                      <a:pt x="5" y="466"/>
                    </a:lnTo>
                    <a:lnTo>
                      <a:pt x="5" y="464"/>
                    </a:lnTo>
                    <a:lnTo>
                      <a:pt x="3" y="464"/>
                    </a:lnTo>
                    <a:lnTo>
                      <a:pt x="2" y="464"/>
                    </a:lnTo>
                    <a:lnTo>
                      <a:pt x="0" y="462"/>
                    </a:lnTo>
                    <a:lnTo>
                      <a:pt x="2" y="462"/>
                    </a:lnTo>
                    <a:lnTo>
                      <a:pt x="0" y="462"/>
                    </a:lnTo>
                    <a:lnTo>
                      <a:pt x="0" y="460"/>
                    </a:lnTo>
                    <a:lnTo>
                      <a:pt x="0" y="458"/>
                    </a:lnTo>
                    <a:lnTo>
                      <a:pt x="2" y="456"/>
                    </a:lnTo>
                    <a:lnTo>
                      <a:pt x="3" y="456"/>
                    </a:lnTo>
                    <a:lnTo>
                      <a:pt x="3" y="458"/>
                    </a:lnTo>
                    <a:lnTo>
                      <a:pt x="5" y="458"/>
                    </a:lnTo>
                    <a:lnTo>
                      <a:pt x="5" y="456"/>
                    </a:lnTo>
                    <a:lnTo>
                      <a:pt x="7" y="456"/>
                    </a:lnTo>
                    <a:lnTo>
                      <a:pt x="7" y="458"/>
                    </a:lnTo>
                    <a:lnTo>
                      <a:pt x="7" y="456"/>
                    </a:lnTo>
                    <a:lnTo>
                      <a:pt x="7" y="458"/>
                    </a:lnTo>
                    <a:lnTo>
                      <a:pt x="9" y="458"/>
                    </a:lnTo>
                    <a:lnTo>
                      <a:pt x="9" y="456"/>
                    </a:lnTo>
                    <a:lnTo>
                      <a:pt x="9" y="458"/>
                    </a:lnTo>
                    <a:lnTo>
                      <a:pt x="11" y="458"/>
                    </a:lnTo>
                    <a:lnTo>
                      <a:pt x="11" y="460"/>
                    </a:lnTo>
                    <a:lnTo>
                      <a:pt x="11" y="458"/>
                    </a:lnTo>
                    <a:lnTo>
                      <a:pt x="11" y="460"/>
                    </a:lnTo>
                    <a:lnTo>
                      <a:pt x="11" y="462"/>
                    </a:lnTo>
                    <a:lnTo>
                      <a:pt x="13" y="462"/>
                    </a:lnTo>
                    <a:lnTo>
                      <a:pt x="11" y="462"/>
                    </a:lnTo>
                    <a:lnTo>
                      <a:pt x="11" y="460"/>
                    </a:lnTo>
                    <a:lnTo>
                      <a:pt x="11" y="458"/>
                    </a:lnTo>
                    <a:lnTo>
                      <a:pt x="13" y="460"/>
                    </a:lnTo>
                    <a:lnTo>
                      <a:pt x="13" y="458"/>
                    </a:lnTo>
                    <a:lnTo>
                      <a:pt x="11" y="458"/>
                    </a:lnTo>
                    <a:lnTo>
                      <a:pt x="13" y="458"/>
                    </a:lnTo>
                    <a:lnTo>
                      <a:pt x="11" y="458"/>
                    </a:lnTo>
                    <a:lnTo>
                      <a:pt x="13" y="458"/>
                    </a:lnTo>
                    <a:lnTo>
                      <a:pt x="13" y="460"/>
                    </a:lnTo>
                    <a:lnTo>
                      <a:pt x="13" y="458"/>
                    </a:lnTo>
                    <a:lnTo>
                      <a:pt x="13" y="460"/>
                    </a:lnTo>
                    <a:lnTo>
                      <a:pt x="15" y="460"/>
                    </a:lnTo>
                    <a:lnTo>
                      <a:pt x="15" y="462"/>
                    </a:lnTo>
                    <a:lnTo>
                      <a:pt x="17" y="464"/>
                    </a:lnTo>
                    <a:lnTo>
                      <a:pt x="17" y="466"/>
                    </a:lnTo>
                    <a:lnTo>
                      <a:pt x="17" y="468"/>
                    </a:lnTo>
                    <a:lnTo>
                      <a:pt x="15" y="468"/>
                    </a:lnTo>
                    <a:lnTo>
                      <a:pt x="15" y="466"/>
                    </a:lnTo>
                    <a:lnTo>
                      <a:pt x="15" y="464"/>
                    </a:lnTo>
                    <a:lnTo>
                      <a:pt x="15" y="462"/>
                    </a:lnTo>
                    <a:lnTo>
                      <a:pt x="13" y="462"/>
                    </a:lnTo>
                    <a:lnTo>
                      <a:pt x="13" y="460"/>
                    </a:lnTo>
                    <a:lnTo>
                      <a:pt x="13" y="462"/>
                    </a:lnTo>
                    <a:lnTo>
                      <a:pt x="13" y="460"/>
                    </a:lnTo>
                    <a:lnTo>
                      <a:pt x="13" y="462"/>
                    </a:lnTo>
                    <a:lnTo>
                      <a:pt x="15" y="462"/>
                    </a:lnTo>
                    <a:lnTo>
                      <a:pt x="15" y="464"/>
                    </a:lnTo>
                    <a:lnTo>
                      <a:pt x="13" y="464"/>
                    </a:lnTo>
                    <a:lnTo>
                      <a:pt x="15" y="464"/>
                    </a:lnTo>
                    <a:lnTo>
                      <a:pt x="13" y="464"/>
                    </a:lnTo>
                    <a:lnTo>
                      <a:pt x="13" y="462"/>
                    </a:lnTo>
                    <a:lnTo>
                      <a:pt x="11" y="462"/>
                    </a:lnTo>
                    <a:lnTo>
                      <a:pt x="13" y="464"/>
                    </a:lnTo>
                    <a:lnTo>
                      <a:pt x="13" y="466"/>
                    </a:lnTo>
                    <a:lnTo>
                      <a:pt x="15" y="466"/>
                    </a:lnTo>
                    <a:lnTo>
                      <a:pt x="13" y="466"/>
                    </a:lnTo>
                    <a:lnTo>
                      <a:pt x="15" y="466"/>
                    </a:lnTo>
                    <a:lnTo>
                      <a:pt x="15" y="468"/>
                    </a:lnTo>
                    <a:lnTo>
                      <a:pt x="13" y="468"/>
                    </a:lnTo>
                    <a:lnTo>
                      <a:pt x="15" y="468"/>
                    </a:lnTo>
                    <a:lnTo>
                      <a:pt x="15" y="470"/>
                    </a:lnTo>
                    <a:lnTo>
                      <a:pt x="17" y="470"/>
                    </a:lnTo>
                    <a:lnTo>
                      <a:pt x="15" y="470"/>
                    </a:lnTo>
                    <a:lnTo>
                      <a:pt x="17" y="470"/>
                    </a:lnTo>
                    <a:lnTo>
                      <a:pt x="17" y="471"/>
                    </a:lnTo>
                    <a:lnTo>
                      <a:pt x="17" y="470"/>
                    </a:lnTo>
                    <a:lnTo>
                      <a:pt x="17" y="471"/>
                    </a:lnTo>
                    <a:close/>
                    <a:moveTo>
                      <a:pt x="301" y="131"/>
                    </a:moveTo>
                    <a:lnTo>
                      <a:pt x="303" y="131"/>
                    </a:lnTo>
                    <a:lnTo>
                      <a:pt x="305" y="131"/>
                    </a:lnTo>
                    <a:lnTo>
                      <a:pt x="305" y="133"/>
                    </a:lnTo>
                    <a:lnTo>
                      <a:pt x="307" y="133"/>
                    </a:lnTo>
                    <a:lnTo>
                      <a:pt x="307" y="135"/>
                    </a:lnTo>
                    <a:lnTo>
                      <a:pt x="307" y="137"/>
                    </a:lnTo>
                    <a:lnTo>
                      <a:pt x="305" y="137"/>
                    </a:lnTo>
                    <a:lnTo>
                      <a:pt x="303" y="137"/>
                    </a:lnTo>
                    <a:lnTo>
                      <a:pt x="301" y="137"/>
                    </a:lnTo>
                    <a:lnTo>
                      <a:pt x="299" y="137"/>
                    </a:lnTo>
                    <a:lnTo>
                      <a:pt x="299" y="135"/>
                    </a:lnTo>
                    <a:lnTo>
                      <a:pt x="297" y="135"/>
                    </a:lnTo>
                    <a:lnTo>
                      <a:pt x="295" y="135"/>
                    </a:lnTo>
                    <a:lnTo>
                      <a:pt x="294" y="135"/>
                    </a:lnTo>
                    <a:lnTo>
                      <a:pt x="295" y="135"/>
                    </a:lnTo>
                    <a:lnTo>
                      <a:pt x="295" y="133"/>
                    </a:lnTo>
                    <a:lnTo>
                      <a:pt x="294" y="133"/>
                    </a:lnTo>
                    <a:lnTo>
                      <a:pt x="292" y="133"/>
                    </a:lnTo>
                    <a:lnTo>
                      <a:pt x="292" y="131"/>
                    </a:lnTo>
                    <a:lnTo>
                      <a:pt x="290" y="131"/>
                    </a:lnTo>
                    <a:lnTo>
                      <a:pt x="290" y="129"/>
                    </a:lnTo>
                    <a:lnTo>
                      <a:pt x="288" y="129"/>
                    </a:lnTo>
                    <a:lnTo>
                      <a:pt x="290" y="129"/>
                    </a:lnTo>
                    <a:lnTo>
                      <a:pt x="292" y="129"/>
                    </a:lnTo>
                    <a:lnTo>
                      <a:pt x="294" y="129"/>
                    </a:lnTo>
                    <a:lnTo>
                      <a:pt x="295" y="129"/>
                    </a:lnTo>
                    <a:lnTo>
                      <a:pt x="297" y="129"/>
                    </a:lnTo>
                    <a:lnTo>
                      <a:pt x="299" y="129"/>
                    </a:lnTo>
                    <a:lnTo>
                      <a:pt x="301" y="129"/>
                    </a:lnTo>
                    <a:lnTo>
                      <a:pt x="301" y="131"/>
                    </a:lnTo>
                    <a:close/>
                    <a:moveTo>
                      <a:pt x="159" y="72"/>
                    </a:moveTo>
                    <a:lnTo>
                      <a:pt x="159" y="74"/>
                    </a:lnTo>
                    <a:lnTo>
                      <a:pt x="157" y="72"/>
                    </a:lnTo>
                    <a:lnTo>
                      <a:pt x="157" y="74"/>
                    </a:lnTo>
                    <a:lnTo>
                      <a:pt x="159" y="74"/>
                    </a:lnTo>
                    <a:lnTo>
                      <a:pt x="159" y="75"/>
                    </a:lnTo>
                    <a:lnTo>
                      <a:pt x="161" y="77"/>
                    </a:lnTo>
                    <a:lnTo>
                      <a:pt x="159" y="77"/>
                    </a:lnTo>
                    <a:lnTo>
                      <a:pt x="157" y="75"/>
                    </a:lnTo>
                    <a:lnTo>
                      <a:pt x="153" y="74"/>
                    </a:lnTo>
                    <a:lnTo>
                      <a:pt x="151" y="74"/>
                    </a:lnTo>
                    <a:lnTo>
                      <a:pt x="149" y="72"/>
                    </a:lnTo>
                    <a:lnTo>
                      <a:pt x="148" y="72"/>
                    </a:lnTo>
                    <a:lnTo>
                      <a:pt x="146" y="70"/>
                    </a:lnTo>
                    <a:lnTo>
                      <a:pt x="144" y="70"/>
                    </a:lnTo>
                    <a:lnTo>
                      <a:pt x="144" y="68"/>
                    </a:lnTo>
                    <a:lnTo>
                      <a:pt x="142" y="68"/>
                    </a:lnTo>
                    <a:lnTo>
                      <a:pt x="144" y="68"/>
                    </a:lnTo>
                    <a:lnTo>
                      <a:pt x="146" y="68"/>
                    </a:lnTo>
                    <a:lnTo>
                      <a:pt x="148" y="68"/>
                    </a:lnTo>
                    <a:lnTo>
                      <a:pt x="149" y="68"/>
                    </a:lnTo>
                    <a:lnTo>
                      <a:pt x="151" y="68"/>
                    </a:lnTo>
                    <a:lnTo>
                      <a:pt x="153" y="68"/>
                    </a:lnTo>
                    <a:lnTo>
                      <a:pt x="155" y="68"/>
                    </a:lnTo>
                    <a:lnTo>
                      <a:pt x="157" y="68"/>
                    </a:lnTo>
                    <a:lnTo>
                      <a:pt x="157" y="70"/>
                    </a:lnTo>
                    <a:lnTo>
                      <a:pt x="159" y="70"/>
                    </a:lnTo>
                    <a:lnTo>
                      <a:pt x="159" y="72"/>
                    </a:lnTo>
                    <a:close/>
                    <a:moveTo>
                      <a:pt x="146" y="60"/>
                    </a:moveTo>
                    <a:lnTo>
                      <a:pt x="146" y="62"/>
                    </a:lnTo>
                    <a:lnTo>
                      <a:pt x="144" y="60"/>
                    </a:lnTo>
                    <a:lnTo>
                      <a:pt x="142" y="60"/>
                    </a:lnTo>
                    <a:lnTo>
                      <a:pt x="140" y="60"/>
                    </a:lnTo>
                    <a:lnTo>
                      <a:pt x="142" y="60"/>
                    </a:lnTo>
                    <a:lnTo>
                      <a:pt x="140" y="60"/>
                    </a:lnTo>
                    <a:lnTo>
                      <a:pt x="142" y="62"/>
                    </a:lnTo>
                    <a:lnTo>
                      <a:pt x="140" y="62"/>
                    </a:lnTo>
                    <a:lnTo>
                      <a:pt x="142" y="62"/>
                    </a:lnTo>
                    <a:lnTo>
                      <a:pt x="140" y="62"/>
                    </a:lnTo>
                    <a:lnTo>
                      <a:pt x="138" y="62"/>
                    </a:lnTo>
                    <a:lnTo>
                      <a:pt x="138" y="60"/>
                    </a:lnTo>
                    <a:lnTo>
                      <a:pt x="136" y="60"/>
                    </a:lnTo>
                    <a:lnTo>
                      <a:pt x="136" y="58"/>
                    </a:lnTo>
                    <a:lnTo>
                      <a:pt x="134" y="58"/>
                    </a:lnTo>
                    <a:lnTo>
                      <a:pt x="134" y="56"/>
                    </a:lnTo>
                    <a:lnTo>
                      <a:pt x="132" y="54"/>
                    </a:lnTo>
                    <a:lnTo>
                      <a:pt x="134" y="54"/>
                    </a:lnTo>
                    <a:lnTo>
                      <a:pt x="136" y="54"/>
                    </a:lnTo>
                    <a:lnTo>
                      <a:pt x="138" y="54"/>
                    </a:lnTo>
                    <a:lnTo>
                      <a:pt x="140" y="54"/>
                    </a:lnTo>
                    <a:lnTo>
                      <a:pt x="140" y="56"/>
                    </a:lnTo>
                    <a:lnTo>
                      <a:pt x="142" y="56"/>
                    </a:lnTo>
                    <a:lnTo>
                      <a:pt x="144" y="56"/>
                    </a:lnTo>
                    <a:lnTo>
                      <a:pt x="144" y="58"/>
                    </a:lnTo>
                    <a:lnTo>
                      <a:pt x="146" y="58"/>
                    </a:lnTo>
                    <a:lnTo>
                      <a:pt x="146" y="60"/>
                    </a:lnTo>
                    <a:lnTo>
                      <a:pt x="148" y="60"/>
                    </a:lnTo>
                    <a:lnTo>
                      <a:pt x="146" y="60"/>
                    </a:lnTo>
                    <a:lnTo>
                      <a:pt x="144" y="60"/>
                    </a:lnTo>
                    <a:lnTo>
                      <a:pt x="146" y="60"/>
                    </a:lnTo>
                    <a:close/>
                    <a:moveTo>
                      <a:pt x="265" y="108"/>
                    </a:moveTo>
                    <a:lnTo>
                      <a:pt x="263" y="108"/>
                    </a:lnTo>
                    <a:lnTo>
                      <a:pt x="263" y="110"/>
                    </a:lnTo>
                    <a:lnTo>
                      <a:pt x="263" y="112"/>
                    </a:lnTo>
                    <a:lnTo>
                      <a:pt x="261" y="110"/>
                    </a:lnTo>
                    <a:lnTo>
                      <a:pt x="261" y="112"/>
                    </a:lnTo>
                    <a:lnTo>
                      <a:pt x="259" y="112"/>
                    </a:lnTo>
                    <a:lnTo>
                      <a:pt x="259" y="114"/>
                    </a:lnTo>
                    <a:lnTo>
                      <a:pt x="261" y="114"/>
                    </a:lnTo>
                    <a:lnTo>
                      <a:pt x="259" y="114"/>
                    </a:lnTo>
                    <a:lnTo>
                      <a:pt x="257" y="114"/>
                    </a:lnTo>
                    <a:lnTo>
                      <a:pt x="255" y="114"/>
                    </a:lnTo>
                    <a:lnTo>
                      <a:pt x="255" y="112"/>
                    </a:lnTo>
                    <a:lnTo>
                      <a:pt x="253" y="112"/>
                    </a:lnTo>
                    <a:lnTo>
                      <a:pt x="251" y="112"/>
                    </a:lnTo>
                    <a:lnTo>
                      <a:pt x="249" y="112"/>
                    </a:lnTo>
                    <a:lnTo>
                      <a:pt x="249" y="110"/>
                    </a:lnTo>
                    <a:lnTo>
                      <a:pt x="247" y="110"/>
                    </a:lnTo>
                    <a:lnTo>
                      <a:pt x="246" y="110"/>
                    </a:lnTo>
                    <a:lnTo>
                      <a:pt x="246" y="108"/>
                    </a:lnTo>
                    <a:lnTo>
                      <a:pt x="244" y="108"/>
                    </a:lnTo>
                    <a:lnTo>
                      <a:pt x="242" y="108"/>
                    </a:lnTo>
                    <a:lnTo>
                      <a:pt x="242" y="106"/>
                    </a:lnTo>
                    <a:lnTo>
                      <a:pt x="240" y="106"/>
                    </a:lnTo>
                    <a:lnTo>
                      <a:pt x="238" y="104"/>
                    </a:lnTo>
                    <a:lnTo>
                      <a:pt x="244" y="104"/>
                    </a:lnTo>
                    <a:lnTo>
                      <a:pt x="244" y="102"/>
                    </a:lnTo>
                    <a:lnTo>
                      <a:pt x="244" y="100"/>
                    </a:lnTo>
                    <a:lnTo>
                      <a:pt x="244" y="99"/>
                    </a:lnTo>
                    <a:lnTo>
                      <a:pt x="242" y="99"/>
                    </a:lnTo>
                    <a:lnTo>
                      <a:pt x="244" y="99"/>
                    </a:lnTo>
                    <a:lnTo>
                      <a:pt x="246" y="99"/>
                    </a:lnTo>
                    <a:lnTo>
                      <a:pt x="247" y="99"/>
                    </a:lnTo>
                    <a:lnTo>
                      <a:pt x="247" y="100"/>
                    </a:lnTo>
                    <a:lnTo>
                      <a:pt x="249" y="100"/>
                    </a:lnTo>
                    <a:lnTo>
                      <a:pt x="251" y="100"/>
                    </a:lnTo>
                    <a:lnTo>
                      <a:pt x="251" y="102"/>
                    </a:lnTo>
                    <a:lnTo>
                      <a:pt x="253" y="102"/>
                    </a:lnTo>
                    <a:lnTo>
                      <a:pt x="255" y="102"/>
                    </a:lnTo>
                    <a:lnTo>
                      <a:pt x="255" y="104"/>
                    </a:lnTo>
                    <a:lnTo>
                      <a:pt x="257" y="104"/>
                    </a:lnTo>
                    <a:lnTo>
                      <a:pt x="257" y="102"/>
                    </a:lnTo>
                    <a:lnTo>
                      <a:pt x="259" y="104"/>
                    </a:lnTo>
                    <a:lnTo>
                      <a:pt x="261" y="104"/>
                    </a:lnTo>
                    <a:lnTo>
                      <a:pt x="263" y="104"/>
                    </a:lnTo>
                    <a:lnTo>
                      <a:pt x="263" y="106"/>
                    </a:lnTo>
                    <a:lnTo>
                      <a:pt x="265" y="106"/>
                    </a:lnTo>
                    <a:lnTo>
                      <a:pt x="265" y="108"/>
                    </a:lnTo>
                    <a:close/>
                    <a:moveTo>
                      <a:pt x="196" y="75"/>
                    </a:moveTo>
                    <a:lnTo>
                      <a:pt x="197" y="75"/>
                    </a:lnTo>
                    <a:lnTo>
                      <a:pt x="199" y="75"/>
                    </a:lnTo>
                    <a:lnTo>
                      <a:pt x="199" y="77"/>
                    </a:lnTo>
                    <a:lnTo>
                      <a:pt x="201" y="77"/>
                    </a:lnTo>
                    <a:lnTo>
                      <a:pt x="199" y="77"/>
                    </a:lnTo>
                    <a:lnTo>
                      <a:pt x="201" y="79"/>
                    </a:lnTo>
                    <a:lnTo>
                      <a:pt x="201" y="81"/>
                    </a:lnTo>
                    <a:lnTo>
                      <a:pt x="203" y="81"/>
                    </a:lnTo>
                    <a:lnTo>
                      <a:pt x="203" y="83"/>
                    </a:lnTo>
                    <a:lnTo>
                      <a:pt x="205" y="83"/>
                    </a:lnTo>
                    <a:lnTo>
                      <a:pt x="205" y="85"/>
                    </a:lnTo>
                    <a:lnTo>
                      <a:pt x="207" y="85"/>
                    </a:lnTo>
                    <a:lnTo>
                      <a:pt x="207" y="87"/>
                    </a:lnTo>
                    <a:lnTo>
                      <a:pt x="205" y="87"/>
                    </a:lnTo>
                    <a:lnTo>
                      <a:pt x="203" y="85"/>
                    </a:lnTo>
                    <a:lnTo>
                      <a:pt x="201" y="85"/>
                    </a:lnTo>
                    <a:lnTo>
                      <a:pt x="199" y="85"/>
                    </a:lnTo>
                    <a:lnTo>
                      <a:pt x="199" y="87"/>
                    </a:lnTo>
                    <a:lnTo>
                      <a:pt x="197" y="85"/>
                    </a:lnTo>
                    <a:lnTo>
                      <a:pt x="196" y="85"/>
                    </a:lnTo>
                    <a:lnTo>
                      <a:pt x="196" y="83"/>
                    </a:lnTo>
                    <a:lnTo>
                      <a:pt x="194" y="83"/>
                    </a:lnTo>
                    <a:lnTo>
                      <a:pt x="192" y="83"/>
                    </a:lnTo>
                    <a:lnTo>
                      <a:pt x="192" y="81"/>
                    </a:lnTo>
                    <a:lnTo>
                      <a:pt x="190" y="81"/>
                    </a:lnTo>
                    <a:lnTo>
                      <a:pt x="188" y="81"/>
                    </a:lnTo>
                    <a:lnTo>
                      <a:pt x="188" y="79"/>
                    </a:lnTo>
                    <a:lnTo>
                      <a:pt x="186" y="79"/>
                    </a:lnTo>
                    <a:lnTo>
                      <a:pt x="184" y="79"/>
                    </a:lnTo>
                    <a:lnTo>
                      <a:pt x="184" y="77"/>
                    </a:lnTo>
                    <a:lnTo>
                      <a:pt x="182" y="77"/>
                    </a:lnTo>
                    <a:lnTo>
                      <a:pt x="182" y="75"/>
                    </a:lnTo>
                    <a:lnTo>
                      <a:pt x="180" y="75"/>
                    </a:lnTo>
                    <a:lnTo>
                      <a:pt x="180" y="74"/>
                    </a:lnTo>
                    <a:lnTo>
                      <a:pt x="178" y="74"/>
                    </a:lnTo>
                    <a:lnTo>
                      <a:pt x="180" y="74"/>
                    </a:lnTo>
                    <a:lnTo>
                      <a:pt x="178" y="74"/>
                    </a:lnTo>
                    <a:lnTo>
                      <a:pt x="178" y="72"/>
                    </a:lnTo>
                    <a:lnTo>
                      <a:pt x="180" y="72"/>
                    </a:lnTo>
                    <a:lnTo>
                      <a:pt x="180" y="74"/>
                    </a:lnTo>
                    <a:lnTo>
                      <a:pt x="182" y="74"/>
                    </a:lnTo>
                    <a:lnTo>
                      <a:pt x="184" y="74"/>
                    </a:lnTo>
                    <a:lnTo>
                      <a:pt x="186" y="75"/>
                    </a:lnTo>
                    <a:lnTo>
                      <a:pt x="188" y="75"/>
                    </a:lnTo>
                    <a:lnTo>
                      <a:pt x="186" y="75"/>
                    </a:lnTo>
                    <a:lnTo>
                      <a:pt x="188" y="75"/>
                    </a:lnTo>
                    <a:lnTo>
                      <a:pt x="190" y="75"/>
                    </a:lnTo>
                    <a:lnTo>
                      <a:pt x="192" y="75"/>
                    </a:lnTo>
                    <a:lnTo>
                      <a:pt x="190" y="75"/>
                    </a:lnTo>
                    <a:lnTo>
                      <a:pt x="192" y="75"/>
                    </a:lnTo>
                    <a:lnTo>
                      <a:pt x="190" y="74"/>
                    </a:lnTo>
                    <a:lnTo>
                      <a:pt x="192" y="74"/>
                    </a:lnTo>
                    <a:lnTo>
                      <a:pt x="194" y="74"/>
                    </a:lnTo>
                    <a:lnTo>
                      <a:pt x="196" y="74"/>
                    </a:lnTo>
                    <a:lnTo>
                      <a:pt x="196" y="75"/>
                    </a:lnTo>
                    <a:close/>
                    <a:moveTo>
                      <a:pt x="278" y="106"/>
                    </a:moveTo>
                    <a:lnTo>
                      <a:pt x="280" y="106"/>
                    </a:lnTo>
                    <a:lnTo>
                      <a:pt x="280" y="108"/>
                    </a:lnTo>
                    <a:lnTo>
                      <a:pt x="282" y="108"/>
                    </a:lnTo>
                    <a:lnTo>
                      <a:pt x="284" y="108"/>
                    </a:lnTo>
                    <a:lnTo>
                      <a:pt x="284" y="110"/>
                    </a:lnTo>
                    <a:lnTo>
                      <a:pt x="286" y="110"/>
                    </a:lnTo>
                    <a:lnTo>
                      <a:pt x="290" y="112"/>
                    </a:lnTo>
                    <a:lnTo>
                      <a:pt x="292" y="114"/>
                    </a:lnTo>
                    <a:lnTo>
                      <a:pt x="294" y="114"/>
                    </a:lnTo>
                    <a:lnTo>
                      <a:pt x="295" y="116"/>
                    </a:lnTo>
                    <a:lnTo>
                      <a:pt x="297" y="116"/>
                    </a:lnTo>
                    <a:lnTo>
                      <a:pt x="297" y="118"/>
                    </a:lnTo>
                    <a:lnTo>
                      <a:pt x="299" y="118"/>
                    </a:lnTo>
                    <a:lnTo>
                      <a:pt x="299" y="120"/>
                    </a:lnTo>
                    <a:lnTo>
                      <a:pt x="301" y="122"/>
                    </a:lnTo>
                    <a:lnTo>
                      <a:pt x="299" y="122"/>
                    </a:lnTo>
                    <a:lnTo>
                      <a:pt x="297" y="120"/>
                    </a:lnTo>
                    <a:lnTo>
                      <a:pt x="295" y="120"/>
                    </a:lnTo>
                    <a:lnTo>
                      <a:pt x="294" y="120"/>
                    </a:lnTo>
                    <a:lnTo>
                      <a:pt x="292" y="118"/>
                    </a:lnTo>
                    <a:lnTo>
                      <a:pt x="290" y="118"/>
                    </a:lnTo>
                    <a:lnTo>
                      <a:pt x="290" y="116"/>
                    </a:lnTo>
                    <a:lnTo>
                      <a:pt x="290" y="118"/>
                    </a:lnTo>
                    <a:lnTo>
                      <a:pt x="288" y="118"/>
                    </a:lnTo>
                    <a:lnTo>
                      <a:pt x="288" y="116"/>
                    </a:lnTo>
                    <a:lnTo>
                      <a:pt x="286" y="116"/>
                    </a:lnTo>
                    <a:lnTo>
                      <a:pt x="284" y="116"/>
                    </a:lnTo>
                    <a:lnTo>
                      <a:pt x="282" y="116"/>
                    </a:lnTo>
                    <a:lnTo>
                      <a:pt x="280" y="116"/>
                    </a:lnTo>
                    <a:lnTo>
                      <a:pt x="278" y="116"/>
                    </a:lnTo>
                    <a:lnTo>
                      <a:pt x="280" y="116"/>
                    </a:lnTo>
                    <a:lnTo>
                      <a:pt x="280" y="118"/>
                    </a:lnTo>
                    <a:lnTo>
                      <a:pt x="282" y="118"/>
                    </a:lnTo>
                    <a:lnTo>
                      <a:pt x="284" y="118"/>
                    </a:lnTo>
                    <a:lnTo>
                      <a:pt x="284" y="120"/>
                    </a:lnTo>
                    <a:lnTo>
                      <a:pt x="286" y="120"/>
                    </a:lnTo>
                    <a:lnTo>
                      <a:pt x="284" y="120"/>
                    </a:lnTo>
                    <a:lnTo>
                      <a:pt x="284" y="122"/>
                    </a:lnTo>
                    <a:lnTo>
                      <a:pt x="282" y="120"/>
                    </a:lnTo>
                    <a:lnTo>
                      <a:pt x="280" y="120"/>
                    </a:lnTo>
                    <a:lnTo>
                      <a:pt x="278" y="120"/>
                    </a:lnTo>
                    <a:lnTo>
                      <a:pt x="278" y="118"/>
                    </a:lnTo>
                    <a:lnTo>
                      <a:pt x="276" y="118"/>
                    </a:lnTo>
                    <a:lnTo>
                      <a:pt x="276" y="120"/>
                    </a:lnTo>
                    <a:lnTo>
                      <a:pt x="276" y="122"/>
                    </a:lnTo>
                    <a:lnTo>
                      <a:pt x="274" y="120"/>
                    </a:lnTo>
                    <a:lnTo>
                      <a:pt x="272" y="120"/>
                    </a:lnTo>
                    <a:lnTo>
                      <a:pt x="272" y="118"/>
                    </a:lnTo>
                    <a:lnTo>
                      <a:pt x="270" y="118"/>
                    </a:lnTo>
                    <a:lnTo>
                      <a:pt x="269" y="116"/>
                    </a:lnTo>
                    <a:lnTo>
                      <a:pt x="267" y="116"/>
                    </a:lnTo>
                    <a:lnTo>
                      <a:pt x="267" y="114"/>
                    </a:lnTo>
                    <a:lnTo>
                      <a:pt x="265" y="114"/>
                    </a:lnTo>
                    <a:lnTo>
                      <a:pt x="265" y="112"/>
                    </a:lnTo>
                    <a:lnTo>
                      <a:pt x="265" y="110"/>
                    </a:lnTo>
                    <a:lnTo>
                      <a:pt x="265" y="108"/>
                    </a:lnTo>
                    <a:lnTo>
                      <a:pt x="267" y="108"/>
                    </a:lnTo>
                    <a:lnTo>
                      <a:pt x="265" y="108"/>
                    </a:lnTo>
                    <a:lnTo>
                      <a:pt x="267" y="108"/>
                    </a:lnTo>
                    <a:lnTo>
                      <a:pt x="267" y="106"/>
                    </a:lnTo>
                    <a:lnTo>
                      <a:pt x="267" y="104"/>
                    </a:lnTo>
                    <a:lnTo>
                      <a:pt x="265" y="104"/>
                    </a:lnTo>
                    <a:lnTo>
                      <a:pt x="265" y="102"/>
                    </a:lnTo>
                    <a:lnTo>
                      <a:pt x="263" y="100"/>
                    </a:lnTo>
                    <a:lnTo>
                      <a:pt x="265" y="102"/>
                    </a:lnTo>
                    <a:lnTo>
                      <a:pt x="267" y="102"/>
                    </a:lnTo>
                    <a:lnTo>
                      <a:pt x="269" y="102"/>
                    </a:lnTo>
                    <a:lnTo>
                      <a:pt x="269" y="104"/>
                    </a:lnTo>
                    <a:lnTo>
                      <a:pt x="270" y="104"/>
                    </a:lnTo>
                    <a:lnTo>
                      <a:pt x="272" y="104"/>
                    </a:lnTo>
                    <a:lnTo>
                      <a:pt x="274" y="104"/>
                    </a:lnTo>
                    <a:lnTo>
                      <a:pt x="274" y="106"/>
                    </a:lnTo>
                    <a:lnTo>
                      <a:pt x="274" y="104"/>
                    </a:lnTo>
                    <a:lnTo>
                      <a:pt x="274" y="106"/>
                    </a:lnTo>
                    <a:lnTo>
                      <a:pt x="276" y="106"/>
                    </a:lnTo>
                    <a:lnTo>
                      <a:pt x="278" y="106"/>
                    </a:lnTo>
                    <a:close/>
                    <a:moveTo>
                      <a:pt x="215" y="75"/>
                    </a:moveTo>
                    <a:lnTo>
                      <a:pt x="217" y="75"/>
                    </a:lnTo>
                    <a:lnTo>
                      <a:pt x="219" y="77"/>
                    </a:lnTo>
                    <a:lnTo>
                      <a:pt x="217" y="77"/>
                    </a:lnTo>
                    <a:lnTo>
                      <a:pt x="215" y="77"/>
                    </a:lnTo>
                    <a:lnTo>
                      <a:pt x="217" y="77"/>
                    </a:lnTo>
                    <a:lnTo>
                      <a:pt x="217" y="79"/>
                    </a:lnTo>
                    <a:lnTo>
                      <a:pt x="219" y="79"/>
                    </a:lnTo>
                    <a:lnTo>
                      <a:pt x="221" y="79"/>
                    </a:lnTo>
                    <a:lnTo>
                      <a:pt x="219" y="79"/>
                    </a:lnTo>
                    <a:lnTo>
                      <a:pt x="219" y="81"/>
                    </a:lnTo>
                    <a:lnTo>
                      <a:pt x="219" y="79"/>
                    </a:lnTo>
                    <a:lnTo>
                      <a:pt x="219" y="81"/>
                    </a:lnTo>
                    <a:lnTo>
                      <a:pt x="221" y="81"/>
                    </a:lnTo>
                    <a:lnTo>
                      <a:pt x="221" y="83"/>
                    </a:lnTo>
                    <a:lnTo>
                      <a:pt x="219" y="83"/>
                    </a:lnTo>
                    <a:lnTo>
                      <a:pt x="217" y="83"/>
                    </a:lnTo>
                    <a:lnTo>
                      <a:pt x="215" y="83"/>
                    </a:lnTo>
                    <a:lnTo>
                      <a:pt x="215" y="81"/>
                    </a:lnTo>
                    <a:lnTo>
                      <a:pt x="213" y="81"/>
                    </a:lnTo>
                    <a:lnTo>
                      <a:pt x="213" y="79"/>
                    </a:lnTo>
                    <a:lnTo>
                      <a:pt x="211" y="79"/>
                    </a:lnTo>
                    <a:lnTo>
                      <a:pt x="209" y="77"/>
                    </a:lnTo>
                    <a:lnTo>
                      <a:pt x="211" y="77"/>
                    </a:lnTo>
                    <a:lnTo>
                      <a:pt x="213" y="77"/>
                    </a:lnTo>
                    <a:lnTo>
                      <a:pt x="211" y="75"/>
                    </a:lnTo>
                    <a:lnTo>
                      <a:pt x="211" y="74"/>
                    </a:lnTo>
                    <a:lnTo>
                      <a:pt x="213" y="74"/>
                    </a:lnTo>
                    <a:lnTo>
                      <a:pt x="215" y="75"/>
                    </a:lnTo>
                    <a:close/>
                    <a:moveTo>
                      <a:pt x="284" y="104"/>
                    </a:moveTo>
                    <a:lnTo>
                      <a:pt x="282" y="104"/>
                    </a:lnTo>
                    <a:lnTo>
                      <a:pt x="280" y="104"/>
                    </a:lnTo>
                    <a:lnTo>
                      <a:pt x="278" y="104"/>
                    </a:lnTo>
                    <a:lnTo>
                      <a:pt x="276" y="104"/>
                    </a:lnTo>
                    <a:lnTo>
                      <a:pt x="276" y="102"/>
                    </a:lnTo>
                    <a:lnTo>
                      <a:pt x="274" y="102"/>
                    </a:lnTo>
                    <a:lnTo>
                      <a:pt x="270" y="100"/>
                    </a:lnTo>
                    <a:lnTo>
                      <a:pt x="269" y="100"/>
                    </a:lnTo>
                    <a:lnTo>
                      <a:pt x="269" y="99"/>
                    </a:lnTo>
                    <a:lnTo>
                      <a:pt x="270" y="99"/>
                    </a:lnTo>
                    <a:lnTo>
                      <a:pt x="272" y="99"/>
                    </a:lnTo>
                    <a:lnTo>
                      <a:pt x="274" y="99"/>
                    </a:lnTo>
                    <a:lnTo>
                      <a:pt x="274" y="100"/>
                    </a:lnTo>
                    <a:lnTo>
                      <a:pt x="276" y="100"/>
                    </a:lnTo>
                    <a:lnTo>
                      <a:pt x="278" y="100"/>
                    </a:lnTo>
                    <a:lnTo>
                      <a:pt x="280" y="102"/>
                    </a:lnTo>
                    <a:lnTo>
                      <a:pt x="280" y="100"/>
                    </a:lnTo>
                    <a:lnTo>
                      <a:pt x="280" y="102"/>
                    </a:lnTo>
                    <a:lnTo>
                      <a:pt x="282" y="102"/>
                    </a:lnTo>
                    <a:lnTo>
                      <a:pt x="284" y="102"/>
                    </a:lnTo>
                    <a:lnTo>
                      <a:pt x="284" y="104"/>
                    </a:lnTo>
                    <a:close/>
                    <a:moveTo>
                      <a:pt x="259" y="89"/>
                    </a:moveTo>
                    <a:lnTo>
                      <a:pt x="261" y="89"/>
                    </a:lnTo>
                    <a:lnTo>
                      <a:pt x="261" y="91"/>
                    </a:lnTo>
                    <a:lnTo>
                      <a:pt x="263" y="91"/>
                    </a:lnTo>
                    <a:lnTo>
                      <a:pt x="265" y="93"/>
                    </a:lnTo>
                    <a:lnTo>
                      <a:pt x="267" y="95"/>
                    </a:lnTo>
                    <a:lnTo>
                      <a:pt x="265" y="95"/>
                    </a:lnTo>
                    <a:lnTo>
                      <a:pt x="263" y="95"/>
                    </a:lnTo>
                    <a:lnTo>
                      <a:pt x="261" y="95"/>
                    </a:lnTo>
                    <a:lnTo>
                      <a:pt x="259" y="95"/>
                    </a:lnTo>
                    <a:lnTo>
                      <a:pt x="259" y="93"/>
                    </a:lnTo>
                    <a:lnTo>
                      <a:pt x="257" y="93"/>
                    </a:lnTo>
                    <a:lnTo>
                      <a:pt x="255" y="93"/>
                    </a:lnTo>
                    <a:lnTo>
                      <a:pt x="253" y="93"/>
                    </a:lnTo>
                    <a:lnTo>
                      <a:pt x="253" y="91"/>
                    </a:lnTo>
                    <a:lnTo>
                      <a:pt x="251" y="91"/>
                    </a:lnTo>
                    <a:lnTo>
                      <a:pt x="249" y="89"/>
                    </a:lnTo>
                    <a:lnTo>
                      <a:pt x="247" y="89"/>
                    </a:lnTo>
                    <a:lnTo>
                      <a:pt x="246" y="89"/>
                    </a:lnTo>
                    <a:lnTo>
                      <a:pt x="244" y="87"/>
                    </a:lnTo>
                    <a:lnTo>
                      <a:pt x="242" y="87"/>
                    </a:lnTo>
                    <a:lnTo>
                      <a:pt x="242" y="85"/>
                    </a:lnTo>
                    <a:lnTo>
                      <a:pt x="240" y="85"/>
                    </a:lnTo>
                    <a:lnTo>
                      <a:pt x="242" y="85"/>
                    </a:lnTo>
                    <a:lnTo>
                      <a:pt x="244" y="85"/>
                    </a:lnTo>
                    <a:lnTo>
                      <a:pt x="244" y="83"/>
                    </a:lnTo>
                    <a:lnTo>
                      <a:pt x="242" y="83"/>
                    </a:lnTo>
                    <a:lnTo>
                      <a:pt x="238" y="81"/>
                    </a:lnTo>
                    <a:lnTo>
                      <a:pt x="240" y="81"/>
                    </a:lnTo>
                    <a:lnTo>
                      <a:pt x="242" y="81"/>
                    </a:lnTo>
                    <a:lnTo>
                      <a:pt x="242" y="83"/>
                    </a:lnTo>
                    <a:lnTo>
                      <a:pt x="244" y="83"/>
                    </a:lnTo>
                    <a:lnTo>
                      <a:pt x="246" y="83"/>
                    </a:lnTo>
                    <a:lnTo>
                      <a:pt x="247" y="83"/>
                    </a:lnTo>
                    <a:lnTo>
                      <a:pt x="249" y="85"/>
                    </a:lnTo>
                    <a:lnTo>
                      <a:pt x="251" y="85"/>
                    </a:lnTo>
                    <a:lnTo>
                      <a:pt x="253" y="85"/>
                    </a:lnTo>
                    <a:lnTo>
                      <a:pt x="253" y="87"/>
                    </a:lnTo>
                    <a:lnTo>
                      <a:pt x="257" y="87"/>
                    </a:lnTo>
                    <a:lnTo>
                      <a:pt x="259" y="89"/>
                    </a:lnTo>
                    <a:close/>
                    <a:moveTo>
                      <a:pt x="109" y="14"/>
                    </a:moveTo>
                    <a:lnTo>
                      <a:pt x="111" y="16"/>
                    </a:lnTo>
                    <a:lnTo>
                      <a:pt x="113" y="16"/>
                    </a:lnTo>
                    <a:lnTo>
                      <a:pt x="113" y="18"/>
                    </a:lnTo>
                    <a:lnTo>
                      <a:pt x="115" y="18"/>
                    </a:lnTo>
                    <a:lnTo>
                      <a:pt x="117" y="20"/>
                    </a:lnTo>
                    <a:lnTo>
                      <a:pt x="119" y="22"/>
                    </a:lnTo>
                    <a:lnTo>
                      <a:pt x="121" y="22"/>
                    </a:lnTo>
                    <a:lnTo>
                      <a:pt x="123" y="22"/>
                    </a:lnTo>
                    <a:lnTo>
                      <a:pt x="123" y="24"/>
                    </a:lnTo>
                    <a:lnTo>
                      <a:pt x="124" y="24"/>
                    </a:lnTo>
                    <a:lnTo>
                      <a:pt x="126" y="25"/>
                    </a:lnTo>
                    <a:lnTo>
                      <a:pt x="126" y="27"/>
                    </a:lnTo>
                    <a:lnTo>
                      <a:pt x="124" y="25"/>
                    </a:lnTo>
                    <a:lnTo>
                      <a:pt x="124" y="27"/>
                    </a:lnTo>
                    <a:lnTo>
                      <a:pt x="126" y="27"/>
                    </a:lnTo>
                    <a:lnTo>
                      <a:pt x="124" y="27"/>
                    </a:lnTo>
                    <a:lnTo>
                      <a:pt x="126" y="29"/>
                    </a:lnTo>
                    <a:lnTo>
                      <a:pt x="124" y="29"/>
                    </a:lnTo>
                    <a:lnTo>
                      <a:pt x="126" y="31"/>
                    </a:lnTo>
                    <a:lnTo>
                      <a:pt x="128" y="31"/>
                    </a:lnTo>
                    <a:lnTo>
                      <a:pt x="126" y="31"/>
                    </a:lnTo>
                    <a:lnTo>
                      <a:pt x="124" y="31"/>
                    </a:lnTo>
                    <a:lnTo>
                      <a:pt x="124" y="29"/>
                    </a:lnTo>
                    <a:lnTo>
                      <a:pt x="123" y="29"/>
                    </a:lnTo>
                    <a:lnTo>
                      <a:pt x="121" y="27"/>
                    </a:lnTo>
                    <a:lnTo>
                      <a:pt x="119" y="27"/>
                    </a:lnTo>
                    <a:lnTo>
                      <a:pt x="117" y="25"/>
                    </a:lnTo>
                    <a:lnTo>
                      <a:pt x="115" y="24"/>
                    </a:lnTo>
                    <a:lnTo>
                      <a:pt x="117" y="24"/>
                    </a:lnTo>
                    <a:lnTo>
                      <a:pt x="115" y="22"/>
                    </a:lnTo>
                    <a:lnTo>
                      <a:pt x="113" y="22"/>
                    </a:lnTo>
                    <a:lnTo>
                      <a:pt x="115" y="22"/>
                    </a:lnTo>
                    <a:lnTo>
                      <a:pt x="115" y="20"/>
                    </a:lnTo>
                    <a:lnTo>
                      <a:pt x="111" y="18"/>
                    </a:lnTo>
                    <a:lnTo>
                      <a:pt x="109" y="18"/>
                    </a:lnTo>
                    <a:lnTo>
                      <a:pt x="111" y="20"/>
                    </a:lnTo>
                    <a:lnTo>
                      <a:pt x="109" y="20"/>
                    </a:lnTo>
                    <a:lnTo>
                      <a:pt x="109" y="18"/>
                    </a:lnTo>
                    <a:lnTo>
                      <a:pt x="109" y="20"/>
                    </a:lnTo>
                    <a:lnTo>
                      <a:pt x="109" y="18"/>
                    </a:lnTo>
                    <a:lnTo>
                      <a:pt x="107" y="18"/>
                    </a:lnTo>
                    <a:lnTo>
                      <a:pt x="107" y="20"/>
                    </a:lnTo>
                    <a:lnTo>
                      <a:pt x="109" y="20"/>
                    </a:lnTo>
                    <a:lnTo>
                      <a:pt x="107" y="20"/>
                    </a:lnTo>
                    <a:lnTo>
                      <a:pt x="109" y="20"/>
                    </a:lnTo>
                    <a:lnTo>
                      <a:pt x="107" y="20"/>
                    </a:lnTo>
                    <a:lnTo>
                      <a:pt x="105" y="20"/>
                    </a:lnTo>
                    <a:lnTo>
                      <a:pt x="105" y="18"/>
                    </a:lnTo>
                    <a:lnTo>
                      <a:pt x="103" y="18"/>
                    </a:lnTo>
                    <a:lnTo>
                      <a:pt x="103" y="20"/>
                    </a:lnTo>
                    <a:lnTo>
                      <a:pt x="105" y="22"/>
                    </a:lnTo>
                    <a:lnTo>
                      <a:pt x="103" y="22"/>
                    </a:lnTo>
                    <a:lnTo>
                      <a:pt x="105" y="22"/>
                    </a:lnTo>
                    <a:lnTo>
                      <a:pt x="103" y="22"/>
                    </a:lnTo>
                    <a:lnTo>
                      <a:pt x="101" y="20"/>
                    </a:lnTo>
                    <a:lnTo>
                      <a:pt x="99" y="18"/>
                    </a:lnTo>
                    <a:lnTo>
                      <a:pt x="98" y="18"/>
                    </a:lnTo>
                    <a:lnTo>
                      <a:pt x="96" y="18"/>
                    </a:lnTo>
                    <a:lnTo>
                      <a:pt x="96" y="20"/>
                    </a:lnTo>
                    <a:lnTo>
                      <a:pt x="94" y="20"/>
                    </a:lnTo>
                    <a:lnTo>
                      <a:pt x="94" y="18"/>
                    </a:lnTo>
                    <a:lnTo>
                      <a:pt x="92" y="18"/>
                    </a:lnTo>
                    <a:lnTo>
                      <a:pt x="90" y="16"/>
                    </a:lnTo>
                    <a:lnTo>
                      <a:pt x="88" y="16"/>
                    </a:lnTo>
                    <a:lnTo>
                      <a:pt x="90" y="18"/>
                    </a:lnTo>
                    <a:lnTo>
                      <a:pt x="88" y="18"/>
                    </a:lnTo>
                    <a:lnTo>
                      <a:pt x="88" y="16"/>
                    </a:lnTo>
                    <a:lnTo>
                      <a:pt x="86" y="16"/>
                    </a:lnTo>
                    <a:lnTo>
                      <a:pt x="86" y="18"/>
                    </a:lnTo>
                    <a:lnTo>
                      <a:pt x="84" y="18"/>
                    </a:lnTo>
                    <a:lnTo>
                      <a:pt x="82" y="16"/>
                    </a:lnTo>
                    <a:lnTo>
                      <a:pt x="78" y="14"/>
                    </a:lnTo>
                    <a:lnTo>
                      <a:pt x="80" y="14"/>
                    </a:lnTo>
                    <a:lnTo>
                      <a:pt x="80" y="12"/>
                    </a:lnTo>
                    <a:lnTo>
                      <a:pt x="82" y="12"/>
                    </a:lnTo>
                    <a:lnTo>
                      <a:pt x="80" y="10"/>
                    </a:lnTo>
                    <a:lnTo>
                      <a:pt x="78" y="10"/>
                    </a:lnTo>
                    <a:lnTo>
                      <a:pt x="76" y="10"/>
                    </a:lnTo>
                    <a:lnTo>
                      <a:pt x="76" y="8"/>
                    </a:lnTo>
                    <a:lnTo>
                      <a:pt x="75" y="8"/>
                    </a:lnTo>
                    <a:lnTo>
                      <a:pt x="73" y="8"/>
                    </a:lnTo>
                    <a:lnTo>
                      <a:pt x="73" y="6"/>
                    </a:lnTo>
                    <a:lnTo>
                      <a:pt x="71" y="4"/>
                    </a:lnTo>
                    <a:lnTo>
                      <a:pt x="69" y="4"/>
                    </a:lnTo>
                    <a:lnTo>
                      <a:pt x="67" y="2"/>
                    </a:lnTo>
                    <a:lnTo>
                      <a:pt x="65" y="0"/>
                    </a:lnTo>
                    <a:lnTo>
                      <a:pt x="69" y="2"/>
                    </a:lnTo>
                    <a:lnTo>
                      <a:pt x="71" y="2"/>
                    </a:lnTo>
                    <a:lnTo>
                      <a:pt x="75" y="4"/>
                    </a:lnTo>
                    <a:lnTo>
                      <a:pt x="76" y="4"/>
                    </a:lnTo>
                    <a:lnTo>
                      <a:pt x="78" y="6"/>
                    </a:lnTo>
                    <a:lnTo>
                      <a:pt x="80" y="6"/>
                    </a:lnTo>
                    <a:lnTo>
                      <a:pt x="82" y="6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88" y="10"/>
                    </a:lnTo>
                    <a:lnTo>
                      <a:pt x="90" y="10"/>
                    </a:lnTo>
                    <a:lnTo>
                      <a:pt x="92" y="10"/>
                    </a:lnTo>
                    <a:lnTo>
                      <a:pt x="94" y="10"/>
                    </a:lnTo>
                    <a:lnTo>
                      <a:pt x="96" y="12"/>
                    </a:lnTo>
                    <a:lnTo>
                      <a:pt x="98" y="12"/>
                    </a:lnTo>
                    <a:lnTo>
                      <a:pt x="99" y="12"/>
                    </a:lnTo>
                    <a:lnTo>
                      <a:pt x="99" y="14"/>
                    </a:lnTo>
                    <a:lnTo>
                      <a:pt x="101" y="14"/>
                    </a:lnTo>
                    <a:lnTo>
                      <a:pt x="101" y="12"/>
                    </a:lnTo>
                    <a:lnTo>
                      <a:pt x="99" y="12"/>
                    </a:lnTo>
                    <a:lnTo>
                      <a:pt x="101" y="12"/>
                    </a:lnTo>
                    <a:lnTo>
                      <a:pt x="101" y="14"/>
                    </a:lnTo>
                    <a:lnTo>
                      <a:pt x="103" y="14"/>
                    </a:lnTo>
                    <a:lnTo>
                      <a:pt x="105" y="14"/>
                    </a:lnTo>
                    <a:lnTo>
                      <a:pt x="103" y="14"/>
                    </a:lnTo>
                    <a:lnTo>
                      <a:pt x="103" y="12"/>
                    </a:lnTo>
                    <a:lnTo>
                      <a:pt x="105" y="12"/>
                    </a:lnTo>
                    <a:lnTo>
                      <a:pt x="103" y="12"/>
                    </a:lnTo>
                    <a:lnTo>
                      <a:pt x="105" y="12"/>
                    </a:lnTo>
                    <a:lnTo>
                      <a:pt x="105" y="14"/>
                    </a:lnTo>
                    <a:lnTo>
                      <a:pt x="107" y="14"/>
                    </a:lnTo>
                    <a:lnTo>
                      <a:pt x="109" y="14"/>
                    </a:lnTo>
                    <a:close/>
                    <a:moveTo>
                      <a:pt x="234" y="74"/>
                    </a:moveTo>
                    <a:lnTo>
                      <a:pt x="236" y="74"/>
                    </a:lnTo>
                    <a:lnTo>
                      <a:pt x="238" y="74"/>
                    </a:lnTo>
                    <a:lnTo>
                      <a:pt x="238" y="75"/>
                    </a:lnTo>
                    <a:lnTo>
                      <a:pt x="240" y="75"/>
                    </a:lnTo>
                    <a:lnTo>
                      <a:pt x="240" y="77"/>
                    </a:lnTo>
                    <a:lnTo>
                      <a:pt x="242" y="77"/>
                    </a:lnTo>
                    <a:lnTo>
                      <a:pt x="244" y="79"/>
                    </a:lnTo>
                    <a:lnTo>
                      <a:pt x="246" y="79"/>
                    </a:lnTo>
                    <a:lnTo>
                      <a:pt x="246" y="81"/>
                    </a:lnTo>
                    <a:lnTo>
                      <a:pt x="244" y="79"/>
                    </a:lnTo>
                    <a:lnTo>
                      <a:pt x="244" y="81"/>
                    </a:lnTo>
                    <a:lnTo>
                      <a:pt x="246" y="81"/>
                    </a:lnTo>
                    <a:lnTo>
                      <a:pt x="247" y="81"/>
                    </a:lnTo>
                    <a:lnTo>
                      <a:pt x="247" y="83"/>
                    </a:lnTo>
                    <a:lnTo>
                      <a:pt x="246" y="83"/>
                    </a:lnTo>
                    <a:lnTo>
                      <a:pt x="246" y="81"/>
                    </a:lnTo>
                    <a:lnTo>
                      <a:pt x="244" y="81"/>
                    </a:lnTo>
                    <a:lnTo>
                      <a:pt x="242" y="81"/>
                    </a:lnTo>
                    <a:lnTo>
                      <a:pt x="240" y="81"/>
                    </a:lnTo>
                    <a:lnTo>
                      <a:pt x="238" y="79"/>
                    </a:lnTo>
                    <a:lnTo>
                      <a:pt x="236" y="79"/>
                    </a:lnTo>
                    <a:lnTo>
                      <a:pt x="234" y="77"/>
                    </a:lnTo>
                    <a:lnTo>
                      <a:pt x="232" y="77"/>
                    </a:lnTo>
                    <a:lnTo>
                      <a:pt x="230" y="77"/>
                    </a:lnTo>
                    <a:lnTo>
                      <a:pt x="230" y="75"/>
                    </a:lnTo>
                    <a:lnTo>
                      <a:pt x="228" y="75"/>
                    </a:lnTo>
                    <a:lnTo>
                      <a:pt x="228" y="74"/>
                    </a:lnTo>
                    <a:lnTo>
                      <a:pt x="226" y="74"/>
                    </a:lnTo>
                    <a:lnTo>
                      <a:pt x="224" y="72"/>
                    </a:lnTo>
                    <a:lnTo>
                      <a:pt x="222" y="72"/>
                    </a:lnTo>
                    <a:lnTo>
                      <a:pt x="221" y="72"/>
                    </a:lnTo>
                    <a:lnTo>
                      <a:pt x="221" y="70"/>
                    </a:lnTo>
                    <a:lnTo>
                      <a:pt x="219" y="70"/>
                    </a:lnTo>
                    <a:lnTo>
                      <a:pt x="217" y="68"/>
                    </a:lnTo>
                    <a:lnTo>
                      <a:pt x="219" y="68"/>
                    </a:lnTo>
                    <a:lnTo>
                      <a:pt x="217" y="68"/>
                    </a:lnTo>
                    <a:lnTo>
                      <a:pt x="221" y="68"/>
                    </a:lnTo>
                    <a:lnTo>
                      <a:pt x="222" y="68"/>
                    </a:lnTo>
                    <a:lnTo>
                      <a:pt x="224" y="70"/>
                    </a:lnTo>
                    <a:lnTo>
                      <a:pt x="226" y="70"/>
                    </a:lnTo>
                    <a:lnTo>
                      <a:pt x="228" y="72"/>
                    </a:lnTo>
                    <a:lnTo>
                      <a:pt x="230" y="72"/>
                    </a:lnTo>
                    <a:lnTo>
                      <a:pt x="232" y="72"/>
                    </a:lnTo>
                    <a:lnTo>
                      <a:pt x="230" y="72"/>
                    </a:lnTo>
                    <a:lnTo>
                      <a:pt x="230" y="74"/>
                    </a:lnTo>
                    <a:lnTo>
                      <a:pt x="232" y="74"/>
                    </a:lnTo>
                    <a:lnTo>
                      <a:pt x="234" y="74"/>
                    </a:lnTo>
                    <a:close/>
                    <a:moveTo>
                      <a:pt x="299" y="100"/>
                    </a:moveTo>
                    <a:lnTo>
                      <a:pt x="301" y="100"/>
                    </a:lnTo>
                    <a:lnTo>
                      <a:pt x="301" y="102"/>
                    </a:lnTo>
                    <a:lnTo>
                      <a:pt x="303" y="104"/>
                    </a:lnTo>
                    <a:lnTo>
                      <a:pt x="301" y="104"/>
                    </a:lnTo>
                    <a:lnTo>
                      <a:pt x="299" y="104"/>
                    </a:lnTo>
                    <a:lnTo>
                      <a:pt x="297" y="102"/>
                    </a:lnTo>
                    <a:lnTo>
                      <a:pt x="295" y="102"/>
                    </a:lnTo>
                    <a:lnTo>
                      <a:pt x="294" y="102"/>
                    </a:lnTo>
                    <a:lnTo>
                      <a:pt x="292" y="102"/>
                    </a:lnTo>
                    <a:lnTo>
                      <a:pt x="290" y="102"/>
                    </a:lnTo>
                    <a:lnTo>
                      <a:pt x="290" y="100"/>
                    </a:lnTo>
                    <a:lnTo>
                      <a:pt x="288" y="100"/>
                    </a:lnTo>
                    <a:lnTo>
                      <a:pt x="288" y="99"/>
                    </a:lnTo>
                    <a:lnTo>
                      <a:pt x="286" y="99"/>
                    </a:lnTo>
                    <a:lnTo>
                      <a:pt x="284" y="99"/>
                    </a:lnTo>
                    <a:lnTo>
                      <a:pt x="282" y="97"/>
                    </a:lnTo>
                    <a:lnTo>
                      <a:pt x="284" y="97"/>
                    </a:lnTo>
                    <a:lnTo>
                      <a:pt x="286" y="97"/>
                    </a:lnTo>
                    <a:lnTo>
                      <a:pt x="288" y="97"/>
                    </a:lnTo>
                    <a:lnTo>
                      <a:pt x="290" y="97"/>
                    </a:lnTo>
                    <a:lnTo>
                      <a:pt x="292" y="97"/>
                    </a:lnTo>
                    <a:lnTo>
                      <a:pt x="295" y="99"/>
                    </a:lnTo>
                    <a:lnTo>
                      <a:pt x="297" y="99"/>
                    </a:lnTo>
                    <a:lnTo>
                      <a:pt x="299" y="100"/>
                    </a:lnTo>
                    <a:close/>
                    <a:moveTo>
                      <a:pt x="294" y="89"/>
                    </a:moveTo>
                    <a:lnTo>
                      <a:pt x="294" y="91"/>
                    </a:lnTo>
                    <a:lnTo>
                      <a:pt x="295" y="91"/>
                    </a:lnTo>
                    <a:lnTo>
                      <a:pt x="295" y="93"/>
                    </a:lnTo>
                    <a:lnTo>
                      <a:pt x="297" y="93"/>
                    </a:lnTo>
                    <a:lnTo>
                      <a:pt x="299" y="93"/>
                    </a:lnTo>
                    <a:lnTo>
                      <a:pt x="299" y="95"/>
                    </a:lnTo>
                    <a:lnTo>
                      <a:pt x="297" y="95"/>
                    </a:lnTo>
                    <a:lnTo>
                      <a:pt x="297" y="97"/>
                    </a:lnTo>
                    <a:lnTo>
                      <a:pt x="295" y="97"/>
                    </a:lnTo>
                    <a:lnTo>
                      <a:pt x="295" y="95"/>
                    </a:lnTo>
                    <a:lnTo>
                      <a:pt x="294" y="95"/>
                    </a:lnTo>
                    <a:lnTo>
                      <a:pt x="292" y="95"/>
                    </a:lnTo>
                    <a:lnTo>
                      <a:pt x="292" y="93"/>
                    </a:lnTo>
                    <a:lnTo>
                      <a:pt x="290" y="93"/>
                    </a:lnTo>
                    <a:lnTo>
                      <a:pt x="290" y="91"/>
                    </a:lnTo>
                    <a:lnTo>
                      <a:pt x="288" y="91"/>
                    </a:lnTo>
                    <a:lnTo>
                      <a:pt x="288" y="89"/>
                    </a:lnTo>
                    <a:lnTo>
                      <a:pt x="286" y="89"/>
                    </a:lnTo>
                    <a:lnTo>
                      <a:pt x="286" y="87"/>
                    </a:lnTo>
                    <a:lnTo>
                      <a:pt x="288" y="89"/>
                    </a:lnTo>
                    <a:lnTo>
                      <a:pt x="290" y="89"/>
                    </a:lnTo>
                    <a:lnTo>
                      <a:pt x="292" y="89"/>
                    </a:lnTo>
                    <a:lnTo>
                      <a:pt x="294" y="89"/>
                    </a:lnTo>
                    <a:close/>
                    <a:moveTo>
                      <a:pt x="236" y="66"/>
                    </a:moveTo>
                    <a:lnTo>
                      <a:pt x="238" y="66"/>
                    </a:lnTo>
                    <a:lnTo>
                      <a:pt x="238" y="68"/>
                    </a:lnTo>
                    <a:lnTo>
                      <a:pt x="240" y="68"/>
                    </a:lnTo>
                    <a:lnTo>
                      <a:pt x="242" y="70"/>
                    </a:lnTo>
                    <a:lnTo>
                      <a:pt x="244" y="72"/>
                    </a:lnTo>
                    <a:lnTo>
                      <a:pt x="246" y="74"/>
                    </a:lnTo>
                    <a:lnTo>
                      <a:pt x="247" y="74"/>
                    </a:lnTo>
                    <a:lnTo>
                      <a:pt x="249" y="74"/>
                    </a:lnTo>
                    <a:lnTo>
                      <a:pt x="251" y="75"/>
                    </a:lnTo>
                    <a:lnTo>
                      <a:pt x="253" y="75"/>
                    </a:lnTo>
                    <a:lnTo>
                      <a:pt x="255" y="75"/>
                    </a:lnTo>
                    <a:lnTo>
                      <a:pt x="257" y="77"/>
                    </a:lnTo>
                    <a:lnTo>
                      <a:pt x="257" y="79"/>
                    </a:lnTo>
                    <a:lnTo>
                      <a:pt x="259" y="79"/>
                    </a:lnTo>
                    <a:lnTo>
                      <a:pt x="261" y="79"/>
                    </a:lnTo>
                    <a:lnTo>
                      <a:pt x="261" y="81"/>
                    </a:lnTo>
                    <a:lnTo>
                      <a:pt x="263" y="81"/>
                    </a:lnTo>
                    <a:lnTo>
                      <a:pt x="265" y="83"/>
                    </a:lnTo>
                    <a:lnTo>
                      <a:pt x="265" y="85"/>
                    </a:lnTo>
                    <a:lnTo>
                      <a:pt x="267" y="85"/>
                    </a:lnTo>
                    <a:lnTo>
                      <a:pt x="267" y="87"/>
                    </a:lnTo>
                    <a:lnTo>
                      <a:pt x="269" y="87"/>
                    </a:lnTo>
                    <a:lnTo>
                      <a:pt x="269" y="89"/>
                    </a:lnTo>
                    <a:lnTo>
                      <a:pt x="270" y="89"/>
                    </a:lnTo>
                    <a:lnTo>
                      <a:pt x="272" y="89"/>
                    </a:lnTo>
                    <a:lnTo>
                      <a:pt x="272" y="91"/>
                    </a:lnTo>
                    <a:lnTo>
                      <a:pt x="274" y="91"/>
                    </a:lnTo>
                    <a:lnTo>
                      <a:pt x="276" y="93"/>
                    </a:lnTo>
                    <a:lnTo>
                      <a:pt x="278" y="93"/>
                    </a:lnTo>
                    <a:lnTo>
                      <a:pt x="278" y="95"/>
                    </a:lnTo>
                    <a:lnTo>
                      <a:pt x="280" y="95"/>
                    </a:lnTo>
                    <a:lnTo>
                      <a:pt x="280" y="97"/>
                    </a:lnTo>
                    <a:lnTo>
                      <a:pt x="282" y="97"/>
                    </a:lnTo>
                    <a:lnTo>
                      <a:pt x="278" y="97"/>
                    </a:lnTo>
                    <a:lnTo>
                      <a:pt x="276" y="97"/>
                    </a:lnTo>
                    <a:lnTo>
                      <a:pt x="274" y="97"/>
                    </a:lnTo>
                    <a:lnTo>
                      <a:pt x="272" y="97"/>
                    </a:lnTo>
                    <a:lnTo>
                      <a:pt x="270" y="95"/>
                    </a:lnTo>
                    <a:lnTo>
                      <a:pt x="269" y="95"/>
                    </a:lnTo>
                    <a:lnTo>
                      <a:pt x="267" y="95"/>
                    </a:lnTo>
                    <a:lnTo>
                      <a:pt x="265" y="93"/>
                    </a:lnTo>
                    <a:lnTo>
                      <a:pt x="265" y="91"/>
                    </a:lnTo>
                    <a:lnTo>
                      <a:pt x="263" y="89"/>
                    </a:lnTo>
                    <a:lnTo>
                      <a:pt x="261" y="89"/>
                    </a:lnTo>
                    <a:lnTo>
                      <a:pt x="263" y="89"/>
                    </a:lnTo>
                    <a:lnTo>
                      <a:pt x="261" y="89"/>
                    </a:lnTo>
                    <a:lnTo>
                      <a:pt x="261" y="87"/>
                    </a:lnTo>
                    <a:lnTo>
                      <a:pt x="259" y="87"/>
                    </a:lnTo>
                    <a:lnTo>
                      <a:pt x="257" y="85"/>
                    </a:lnTo>
                    <a:lnTo>
                      <a:pt x="255" y="85"/>
                    </a:lnTo>
                    <a:lnTo>
                      <a:pt x="255" y="83"/>
                    </a:lnTo>
                    <a:lnTo>
                      <a:pt x="253" y="83"/>
                    </a:lnTo>
                    <a:lnTo>
                      <a:pt x="251" y="83"/>
                    </a:lnTo>
                    <a:lnTo>
                      <a:pt x="249" y="81"/>
                    </a:lnTo>
                    <a:lnTo>
                      <a:pt x="247" y="79"/>
                    </a:lnTo>
                    <a:lnTo>
                      <a:pt x="249" y="79"/>
                    </a:lnTo>
                    <a:lnTo>
                      <a:pt x="247" y="79"/>
                    </a:lnTo>
                    <a:lnTo>
                      <a:pt x="247" y="77"/>
                    </a:lnTo>
                    <a:lnTo>
                      <a:pt x="246" y="77"/>
                    </a:lnTo>
                    <a:lnTo>
                      <a:pt x="244" y="75"/>
                    </a:lnTo>
                    <a:lnTo>
                      <a:pt x="242" y="75"/>
                    </a:lnTo>
                    <a:lnTo>
                      <a:pt x="242" y="74"/>
                    </a:lnTo>
                    <a:lnTo>
                      <a:pt x="240" y="74"/>
                    </a:lnTo>
                    <a:lnTo>
                      <a:pt x="238" y="72"/>
                    </a:lnTo>
                    <a:lnTo>
                      <a:pt x="236" y="72"/>
                    </a:lnTo>
                    <a:lnTo>
                      <a:pt x="234" y="70"/>
                    </a:lnTo>
                    <a:lnTo>
                      <a:pt x="234" y="68"/>
                    </a:lnTo>
                    <a:lnTo>
                      <a:pt x="232" y="68"/>
                    </a:lnTo>
                    <a:lnTo>
                      <a:pt x="230" y="68"/>
                    </a:lnTo>
                    <a:lnTo>
                      <a:pt x="228" y="66"/>
                    </a:lnTo>
                    <a:lnTo>
                      <a:pt x="226" y="64"/>
                    </a:lnTo>
                    <a:lnTo>
                      <a:pt x="228" y="64"/>
                    </a:lnTo>
                    <a:lnTo>
                      <a:pt x="230" y="64"/>
                    </a:lnTo>
                    <a:lnTo>
                      <a:pt x="232" y="64"/>
                    </a:lnTo>
                    <a:lnTo>
                      <a:pt x="230" y="64"/>
                    </a:lnTo>
                    <a:lnTo>
                      <a:pt x="232" y="64"/>
                    </a:lnTo>
                    <a:lnTo>
                      <a:pt x="230" y="64"/>
                    </a:lnTo>
                    <a:lnTo>
                      <a:pt x="232" y="64"/>
                    </a:lnTo>
                    <a:lnTo>
                      <a:pt x="234" y="64"/>
                    </a:lnTo>
                    <a:lnTo>
                      <a:pt x="236" y="66"/>
                    </a:lnTo>
                    <a:close/>
                    <a:moveTo>
                      <a:pt x="261" y="77"/>
                    </a:moveTo>
                    <a:lnTo>
                      <a:pt x="263" y="77"/>
                    </a:lnTo>
                    <a:lnTo>
                      <a:pt x="265" y="77"/>
                    </a:lnTo>
                    <a:lnTo>
                      <a:pt x="267" y="79"/>
                    </a:lnTo>
                    <a:lnTo>
                      <a:pt x="269" y="79"/>
                    </a:lnTo>
                    <a:lnTo>
                      <a:pt x="269" y="81"/>
                    </a:lnTo>
                    <a:lnTo>
                      <a:pt x="270" y="81"/>
                    </a:lnTo>
                    <a:lnTo>
                      <a:pt x="272" y="83"/>
                    </a:lnTo>
                    <a:lnTo>
                      <a:pt x="274" y="83"/>
                    </a:lnTo>
                    <a:lnTo>
                      <a:pt x="276" y="83"/>
                    </a:lnTo>
                    <a:lnTo>
                      <a:pt x="276" y="85"/>
                    </a:lnTo>
                    <a:lnTo>
                      <a:pt x="278" y="85"/>
                    </a:lnTo>
                    <a:lnTo>
                      <a:pt x="280" y="85"/>
                    </a:lnTo>
                    <a:lnTo>
                      <a:pt x="280" y="87"/>
                    </a:lnTo>
                    <a:lnTo>
                      <a:pt x="282" y="87"/>
                    </a:lnTo>
                    <a:lnTo>
                      <a:pt x="282" y="89"/>
                    </a:lnTo>
                    <a:lnTo>
                      <a:pt x="284" y="89"/>
                    </a:lnTo>
                    <a:lnTo>
                      <a:pt x="284" y="91"/>
                    </a:lnTo>
                    <a:lnTo>
                      <a:pt x="286" y="91"/>
                    </a:lnTo>
                    <a:lnTo>
                      <a:pt x="286" y="93"/>
                    </a:lnTo>
                    <a:lnTo>
                      <a:pt x="288" y="93"/>
                    </a:lnTo>
                    <a:lnTo>
                      <a:pt x="290" y="93"/>
                    </a:lnTo>
                    <a:lnTo>
                      <a:pt x="290" y="95"/>
                    </a:lnTo>
                    <a:lnTo>
                      <a:pt x="292" y="95"/>
                    </a:lnTo>
                    <a:lnTo>
                      <a:pt x="290" y="95"/>
                    </a:lnTo>
                    <a:lnTo>
                      <a:pt x="288" y="95"/>
                    </a:lnTo>
                    <a:lnTo>
                      <a:pt x="286" y="95"/>
                    </a:lnTo>
                    <a:lnTo>
                      <a:pt x="282" y="95"/>
                    </a:lnTo>
                    <a:lnTo>
                      <a:pt x="280" y="95"/>
                    </a:lnTo>
                    <a:lnTo>
                      <a:pt x="278" y="93"/>
                    </a:lnTo>
                    <a:lnTo>
                      <a:pt x="276" y="93"/>
                    </a:lnTo>
                    <a:lnTo>
                      <a:pt x="276" y="91"/>
                    </a:lnTo>
                    <a:lnTo>
                      <a:pt x="274" y="91"/>
                    </a:lnTo>
                    <a:lnTo>
                      <a:pt x="274" y="89"/>
                    </a:lnTo>
                    <a:lnTo>
                      <a:pt x="272" y="89"/>
                    </a:lnTo>
                    <a:lnTo>
                      <a:pt x="274" y="89"/>
                    </a:lnTo>
                    <a:lnTo>
                      <a:pt x="274" y="87"/>
                    </a:lnTo>
                    <a:lnTo>
                      <a:pt x="272" y="87"/>
                    </a:lnTo>
                    <a:lnTo>
                      <a:pt x="270" y="85"/>
                    </a:lnTo>
                    <a:lnTo>
                      <a:pt x="269" y="85"/>
                    </a:lnTo>
                    <a:lnTo>
                      <a:pt x="269" y="83"/>
                    </a:lnTo>
                    <a:lnTo>
                      <a:pt x="267" y="81"/>
                    </a:lnTo>
                    <a:lnTo>
                      <a:pt x="265" y="81"/>
                    </a:lnTo>
                    <a:lnTo>
                      <a:pt x="265" y="79"/>
                    </a:lnTo>
                    <a:lnTo>
                      <a:pt x="263" y="79"/>
                    </a:lnTo>
                    <a:lnTo>
                      <a:pt x="263" y="77"/>
                    </a:lnTo>
                    <a:lnTo>
                      <a:pt x="263" y="79"/>
                    </a:lnTo>
                    <a:lnTo>
                      <a:pt x="261" y="77"/>
                    </a:lnTo>
                    <a:lnTo>
                      <a:pt x="259" y="77"/>
                    </a:lnTo>
                    <a:lnTo>
                      <a:pt x="259" y="75"/>
                    </a:lnTo>
                    <a:lnTo>
                      <a:pt x="257" y="75"/>
                    </a:lnTo>
                    <a:lnTo>
                      <a:pt x="257" y="74"/>
                    </a:lnTo>
                    <a:lnTo>
                      <a:pt x="259" y="75"/>
                    </a:lnTo>
                    <a:lnTo>
                      <a:pt x="261" y="75"/>
                    </a:lnTo>
                    <a:lnTo>
                      <a:pt x="261" y="77"/>
                    </a:lnTo>
                    <a:close/>
                    <a:moveTo>
                      <a:pt x="343" y="106"/>
                    </a:moveTo>
                    <a:lnTo>
                      <a:pt x="343" y="108"/>
                    </a:lnTo>
                    <a:lnTo>
                      <a:pt x="345" y="108"/>
                    </a:lnTo>
                    <a:lnTo>
                      <a:pt x="347" y="108"/>
                    </a:lnTo>
                    <a:lnTo>
                      <a:pt x="349" y="110"/>
                    </a:lnTo>
                    <a:lnTo>
                      <a:pt x="351" y="110"/>
                    </a:lnTo>
                    <a:lnTo>
                      <a:pt x="349" y="110"/>
                    </a:lnTo>
                    <a:lnTo>
                      <a:pt x="349" y="112"/>
                    </a:lnTo>
                    <a:lnTo>
                      <a:pt x="347" y="112"/>
                    </a:lnTo>
                    <a:lnTo>
                      <a:pt x="345" y="114"/>
                    </a:lnTo>
                    <a:lnTo>
                      <a:pt x="343" y="114"/>
                    </a:lnTo>
                    <a:lnTo>
                      <a:pt x="342" y="114"/>
                    </a:lnTo>
                    <a:lnTo>
                      <a:pt x="340" y="114"/>
                    </a:lnTo>
                    <a:lnTo>
                      <a:pt x="338" y="112"/>
                    </a:lnTo>
                    <a:lnTo>
                      <a:pt x="336" y="112"/>
                    </a:lnTo>
                    <a:lnTo>
                      <a:pt x="334" y="112"/>
                    </a:lnTo>
                    <a:lnTo>
                      <a:pt x="332" y="110"/>
                    </a:lnTo>
                    <a:lnTo>
                      <a:pt x="330" y="110"/>
                    </a:lnTo>
                    <a:lnTo>
                      <a:pt x="328" y="108"/>
                    </a:lnTo>
                    <a:lnTo>
                      <a:pt x="326" y="108"/>
                    </a:lnTo>
                    <a:lnTo>
                      <a:pt x="324" y="106"/>
                    </a:lnTo>
                    <a:lnTo>
                      <a:pt x="322" y="106"/>
                    </a:lnTo>
                    <a:lnTo>
                      <a:pt x="322" y="104"/>
                    </a:lnTo>
                    <a:lnTo>
                      <a:pt x="320" y="104"/>
                    </a:lnTo>
                    <a:lnTo>
                      <a:pt x="322" y="104"/>
                    </a:lnTo>
                    <a:lnTo>
                      <a:pt x="324" y="104"/>
                    </a:lnTo>
                    <a:lnTo>
                      <a:pt x="326" y="104"/>
                    </a:lnTo>
                    <a:lnTo>
                      <a:pt x="328" y="104"/>
                    </a:lnTo>
                    <a:lnTo>
                      <a:pt x="330" y="104"/>
                    </a:lnTo>
                    <a:lnTo>
                      <a:pt x="332" y="104"/>
                    </a:lnTo>
                    <a:lnTo>
                      <a:pt x="334" y="104"/>
                    </a:lnTo>
                    <a:lnTo>
                      <a:pt x="336" y="106"/>
                    </a:lnTo>
                    <a:lnTo>
                      <a:pt x="338" y="106"/>
                    </a:lnTo>
                    <a:lnTo>
                      <a:pt x="340" y="106"/>
                    </a:lnTo>
                    <a:lnTo>
                      <a:pt x="342" y="106"/>
                    </a:lnTo>
                    <a:lnTo>
                      <a:pt x="343" y="106"/>
                    </a:lnTo>
                    <a:close/>
                    <a:moveTo>
                      <a:pt x="169" y="31"/>
                    </a:moveTo>
                    <a:lnTo>
                      <a:pt x="171" y="33"/>
                    </a:lnTo>
                    <a:lnTo>
                      <a:pt x="173" y="33"/>
                    </a:lnTo>
                    <a:lnTo>
                      <a:pt x="173" y="35"/>
                    </a:lnTo>
                    <a:lnTo>
                      <a:pt x="171" y="35"/>
                    </a:lnTo>
                    <a:lnTo>
                      <a:pt x="169" y="35"/>
                    </a:lnTo>
                    <a:lnTo>
                      <a:pt x="167" y="33"/>
                    </a:lnTo>
                    <a:lnTo>
                      <a:pt x="167" y="35"/>
                    </a:lnTo>
                    <a:lnTo>
                      <a:pt x="165" y="35"/>
                    </a:lnTo>
                    <a:lnTo>
                      <a:pt x="165" y="33"/>
                    </a:lnTo>
                    <a:lnTo>
                      <a:pt x="163" y="33"/>
                    </a:lnTo>
                    <a:lnTo>
                      <a:pt x="161" y="33"/>
                    </a:lnTo>
                    <a:lnTo>
                      <a:pt x="159" y="33"/>
                    </a:lnTo>
                    <a:lnTo>
                      <a:pt x="161" y="33"/>
                    </a:lnTo>
                    <a:lnTo>
                      <a:pt x="163" y="33"/>
                    </a:lnTo>
                    <a:lnTo>
                      <a:pt x="163" y="31"/>
                    </a:lnTo>
                    <a:lnTo>
                      <a:pt x="161" y="31"/>
                    </a:lnTo>
                    <a:lnTo>
                      <a:pt x="163" y="31"/>
                    </a:lnTo>
                    <a:lnTo>
                      <a:pt x="161" y="29"/>
                    </a:lnTo>
                    <a:lnTo>
                      <a:pt x="163" y="29"/>
                    </a:lnTo>
                    <a:lnTo>
                      <a:pt x="165" y="29"/>
                    </a:lnTo>
                    <a:lnTo>
                      <a:pt x="163" y="29"/>
                    </a:lnTo>
                    <a:lnTo>
                      <a:pt x="165" y="29"/>
                    </a:lnTo>
                    <a:lnTo>
                      <a:pt x="167" y="29"/>
                    </a:lnTo>
                    <a:lnTo>
                      <a:pt x="167" y="31"/>
                    </a:lnTo>
                    <a:lnTo>
                      <a:pt x="169" y="31"/>
                    </a:lnTo>
                    <a:close/>
                    <a:moveTo>
                      <a:pt x="290" y="83"/>
                    </a:moveTo>
                    <a:lnTo>
                      <a:pt x="292" y="85"/>
                    </a:lnTo>
                    <a:lnTo>
                      <a:pt x="290" y="85"/>
                    </a:lnTo>
                    <a:lnTo>
                      <a:pt x="290" y="83"/>
                    </a:lnTo>
                    <a:lnTo>
                      <a:pt x="288" y="83"/>
                    </a:lnTo>
                    <a:lnTo>
                      <a:pt x="286" y="85"/>
                    </a:lnTo>
                    <a:lnTo>
                      <a:pt x="284" y="85"/>
                    </a:lnTo>
                    <a:lnTo>
                      <a:pt x="282" y="85"/>
                    </a:lnTo>
                    <a:lnTo>
                      <a:pt x="280" y="83"/>
                    </a:lnTo>
                    <a:lnTo>
                      <a:pt x="278" y="83"/>
                    </a:lnTo>
                    <a:lnTo>
                      <a:pt x="276" y="81"/>
                    </a:lnTo>
                    <a:lnTo>
                      <a:pt x="274" y="81"/>
                    </a:lnTo>
                    <a:lnTo>
                      <a:pt x="274" y="79"/>
                    </a:lnTo>
                    <a:lnTo>
                      <a:pt x="272" y="79"/>
                    </a:lnTo>
                    <a:lnTo>
                      <a:pt x="270" y="79"/>
                    </a:lnTo>
                    <a:lnTo>
                      <a:pt x="270" y="77"/>
                    </a:lnTo>
                    <a:lnTo>
                      <a:pt x="272" y="77"/>
                    </a:lnTo>
                    <a:lnTo>
                      <a:pt x="272" y="79"/>
                    </a:lnTo>
                    <a:lnTo>
                      <a:pt x="274" y="79"/>
                    </a:lnTo>
                    <a:lnTo>
                      <a:pt x="276" y="79"/>
                    </a:lnTo>
                    <a:lnTo>
                      <a:pt x="278" y="79"/>
                    </a:lnTo>
                    <a:lnTo>
                      <a:pt x="280" y="79"/>
                    </a:lnTo>
                    <a:lnTo>
                      <a:pt x="282" y="79"/>
                    </a:lnTo>
                    <a:lnTo>
                      <a:pt x="282" y="81"/>
                    </a:lnTo>
                    <a:lnTo>
                      <a:pt x="284" y="81"/>
                    </a:lnTo>
                    <a:lnTo>
                      <a:pt x="286" y="81"/>
                    </a:lnTo>
                    <a:lnTo>
                      <a:pt x="288" y="81"/>
                    </a:lnTo>
                    <a:lnTo>
                      <a:pt x="290" y="83"/>
                    </a:lnTo>
                    <a:close/>
                    <a:moveTo>
                      <a:pt x="269" y="68"/>
                    </a:moveTo>
                    <a:lnTo>
                      <a:pt x="270" y="68"/>
                    </a:lnTo>
                    <a:lnTo>
                      <a:pt x="270" y="70"/>
                    </a:lnTo>
                    <a:lnTo>
                      <a:pt x="272" y="70"/>
                    </a:lnTo>
                    <a:lnTo>
                      <a:pt x="274" y="72"/>
                    </a:lnTo>
                    <a:lnTo>
                      <a:pt x="276" y="72"/>
                    </a:lnTo>
                    <a:lnTo>
                      <a:pt x="278" y="74"/>
                    </a:lnTo>
                    <a:lnTo>
                      <a:pt x="280" y="74"/>
                    </a:lnTo>
                    <a:lnTo>
                      <a:pt x="280" y="75"/>
                    </a:lnTo>
                    <a:lnTo>
                      <a:pt x="282" y="75"/>
                    </a:lnTo>
                    <a:lnTo>
                      <a:pt x="280" y="75"/>
                    </a:lnTo>
                    <a:lnTo>
                      <a:pt x="282" y="75"/>
                    </a:lnTo>
                    <a:lnTo>
                      <a:pt x="282" y="77"/>
                    </a:lnTo>
                    <a:lnTo>
                      <a:pt x="284" y="77"/>
                    </a:lnTo>
                    <a:lnTo>
                      <a:pt x="286" y="77"/>
                    </a:lnTo>
                    <a:lnTo>
                      <a:pt x="284" y="77"/>
                    </a:lnTo>
                    <a:lnTo>
                      <a:pt x="286" y="77"/>
                    </a:lnTo>
                    <a:lnTo>
                      <a:pt x="286" y="79"/>
                    </a:lnTo>
                    <a:lnTo>
                      <a:pt x="288" y="79"/>
                    </a:lnTo>
                    <a:lnTo>
                      <a:pt x="290" y="81"/>
                    </a:lnTo>
                    <a:lnTo>
                      <a:pt x="290" y="79"/>
                    </a:lnTo>
                    <a:lnTo>
                      <a:pt x="288" y="79"/>
                    </a:lnTo>
                    <a:lnTo>
                      <a:pt x="286" y="79"/>
                    </a:lnTo>
                    <a:lnTo>
                      <a:pt x="284" y="79"/>
                    </a:lnTo>
                    <a:lnTo>
                      <a:pt x="282" y="77"/>
                    </a:lnTo>
                    <a:lnTo>
                      <a:pt x="280" y="77"/>
                    </a:lnTo>
                    <a:lnTo>
                      <a:pt x="278" y="77"/>
                    </a:lnTo>
                    <a:lnTo>
                      <a:pt x="276" y="77"/>
                    </a:lnTo>
                    <a:lnTo>
                      <a:pt x="274" y="75"/>
                    </a:lnTo>
                    <a:lnTo>
                      <a:pt x="272" y="75"/>
                    </a:lnTo>
                    <a:lnTo>
                      <a:pt x="270" y="75"/>
                    </a:lnTo>
                    <a:lnTo>
                      <a:pt x="269" y="75"/>
                    </a:lnTo>
                    <a:lnTo>
                      <a:pt x="267" y="75"/>
                    </a:lnTo>
                    <a:lnTo>
                      <a:pt x="265" y="75"/>
                    </a:lnTo>
                    <a:lnTo>
                      <a:pt x="263" y="75"/>
                    </a:lnTo>
                    <a:lnTo>
                      <a:pt x="263" y="74"/>
                    </a:lnTo>
                    <a:lnTo>
                      <a:pt x="261" y="74"/>
                    </a:lnTo>
                    <a:lnTo>
                      <a:pt x="263" y="74"/>
                    </a:lnTo>
                    <a:lnTo>
                      <a:pt x="261" y="74"/>
                    </a:lnTo>
                    <a:lnTo>
                      <a:pt x="263" y="74"/>
                    </a:lnTo>
                    <a:lnTo>
                      <a:pt x="261" y="72"/>
                    </a:lnTo>
                    <a:lnTo>
                      <a:pt x="259" y="72"/>
                    </a:lnTo>
                    <a:lnTo>
                      <a:pt x="261" y="72"/>
                    </a:lnTo>
                    <a:lnTo>
                      <a:pt x="259" y="72"/>
                    </a:lnTo>
                    <a:lnTo>
                      <a:pt x="257" y="72"/>
                    </a:lnTo>
                    <a:lnTo>
                      <a:pt x="257" y="70"/>
                    </a:lnTo>
                    <a:lnTo>
                      <a:pt x="255" y="70"/>
                    </a:lnTo>
                    <a:lnTo>
                      <a:pt x="253" y="70"/>
                    </a:lnTo>
                    <a:lnTo>
                      <a:pt x="251" y="68"/>
                    </a:lnTo>
                    <a:lnTo>
                      <a:pt x="249" y="68"/>
                    </a:lnTo>
                    <a:lnTo>
                      <a:pt x="247" y="66"/>
                    </a:lnTo>
                    <a:lnTo>
                      <a:pt x="249" y="66"/>
                    </a:lnTo>
                    <a:lnTo>
                      <a:pt x="249" y="64"/>
                    </a:lnTo>
                    <a:lnTo>
                      <a:pt x="247" y="64"/>
                    </a:lnTo>
                    <a:lnTo>
                      <a:pt x="249" y="64"/>
                    </a:lnTo>
                    <a:lnTo>
                      <a:pt x="247" y="62"/>
                    </a:lnTo>
                    <a:lnTo>
                      <a:pt x="249" y="62"/>
                    </a:lnTo>
                    <a:lnTo>
                      <a:pt x="251" y="64"/>
                    </a:lnTo>
                    <a:lnTo>
                      <a:pt x="253" y="64"/>
                    </a:lnTo>
                    <a:lnTo>
                      <a:pt x="253" y="66"/>
                    </a:lnTo>
                    <a:lnTo>
                      <a:pt x="255" y="66"/>
                    </a:lnTo>
                    <a:lnTo>
                      <a:pt x="257" y="66"/>
                    </a:lnTo>
                    <a:lnTo>
                      <a:pt x="255" y="66"/>
                    </a:lnTo>
                    <a:lnTo>
                      <a:pt x="257" y="66"/>
                    </a:lnTo>
                    <a:lnTo>
                      <a:pt x="257" y="68"/>
                    </a:lnTo>
                    <a:lnTo>
                      <a:pt x="259" y="68"/>
                    </a:lnTo>
                    <a:lnTo>
                      <a:pt x="261" y="70"/>
                    </a:lnTo>
                    <a:lnTo>
                      <a:pt x="263" y="70"/>
                    </a:lnTo>
                    <a:lnTo>
                      <a:pt x="263" y="72"/>
                    </a:lnTo>
                    <a:lnTo>
                      <a:pt x="265" y="72"/>
                    </a:lnTo>
                    <a:lnTo>
                      <a:pt x="267" y="72"/>
                    </a:lnTo>
                    <a:lnTo>
                      <a:pt x="267" y="74"/>
                    </a:lnTo>
                    <a:lnTo>
                      <a:pt x="267" y="72"/>
                    </a:lnTo>
                    <a:lnTo>
                      <a:pt x="265" y="72"/>
                    </a:lnTo>
                    <a:lnTo>
                      <a:pt x="267" y="72"/>
                    </a:lnTo>
                    <a:lnTo>
                      <a:pt x="265" y="72"/>
                    </a:lnTo>
                    <a:lnTo>
                      <a:pt x="265" y="70"/>
                    </a:lnTo>
                    <a:lnTo>
                      <a:pt x="267" y="70"/>
                    </a:lnTo>
                    <a:lnTo>
                      <a:pt x="265" y="68"/>
                    </a:lnTo>
                    <a:lnTo>
                      <a:pt x="265" y="66"/>
                    </a:lnTo>
                    <a:lnTo>
                      <a:pt x="267" y="68"/>
                    </a:lnTo>
                    <a:lnTo>
                      <a:pt x="269" y="68"/>
                    </a:lnTo>
                    <a:close/>
                    <a:moveTo>
                      <a:pt x="309" y="83"/>
                    </a:moveTo>
                    <a:lnTo>
                      <a:pt x="311" y="83"/>
                    </a:lnTo>
                    <a:lnTo>
                      <a:pt x="311" y="85"/>
                    </a:lnTo>
                    <a:lnTo>
                      <a:pt x="313" y="85"/>
                    </a:lnTo>
                    <a:lnTo>
                      <a:pt x="313" y="87"/>
                    </a:lnTo>
                    <a:lnTo>
                      <a:pt x="315" y="87"/>
                    </a:lnTo>
                    <a:lnTo>
                      <a:pt x="313" y="89"/>
                    </a:lnTo>
                    <a:lnTo>
                      <a:pt x="315" y="89"/>
                    </a:lnTo>
                    <a:lnTo>
                      <a:pt x="313" y="89"/>
                    </a:lnTo>
                    <a:lnTo>
                      <a:pt x="311" y="89"/>
                    </a:lnTo>
                    <a:lnTo>
                      <a:pt x="309" y="87"/>
                    </a:lnTo>
                    <a:lnTo>
                      <a:pt x="307" y="87"/>
                    </a:lnTo>
                    <a:lnTo>
                      <a:pt x="305" y="87"/>
                    </a:lnTo>
                    <a:lnTo>
                      <a:pt x="305" y="85"/>
                    </a:lnTo>
                    <a:lnTo>
                      <a:pt x="303" y="85"/>
                    </a:lnTo>
                    <a:lnTo>
                      <a:pt x="301" y="85"/>
                    </a:lnTo>
                    <a:lnTo>
                      <a:pt x="299" y="83"/>
                    </a:lnTo>
                    <a:lnTo>
                      <a:pt x="301" y="83"/>
                    </a:lnTo>
                    <a:lnTo>
                      <a:pt x="301" y="81"/>
                    </a:lnTo>
                    <a:lnTo>
                      <a:pt x="303" y="83"/>
                    </a:lnTo>
                    <a:lnTo>
                      <a:pt x="305" y="83"/>
                    </a:lnTo>
                    <a:lnTo>
                      <a:pt x="307" y="83"/>
                    </a:lnTo>
                    <a:lnTo>
                      <a:pt x="309" y="83"/>
                    </a:lnTo>
                    <a:close/>
                    <a:moveTo>
                      <a:pt x="288" y="70"/>
                    </a:moveTo>
                    <a:lnTo>
                      <a:pt x="290" y="72"/>
                    </a:lnTo>
                    <a:lnTo>
                      <a:pt x="292" y="72"/>
                    </a:lnTo>
                    <a:lnTo>
                      <a:pt x="290" y="72"/>
                    </a:lnTo>
                    <a:lnTo>
                      <a:pt x="292" y="74"/>
                    </a:lnTo>
                    <a:lnTo>
                      <a:pt x="294" y="75"/>
                    </a:lnTo>
                    <a:lnTo>
                      <a:pt x="295" y="75"/>
                    </a:lnTo>
                    <a:lnTo>
                      <a:pt x="299" y="77"/>
                    </a:lnTo>
                    <a:lnTo>
                      <a:pt x="299" y="79"/>
                    </a:lnTo>
                    <a:lnTo>
                      <a:pt x="301" y="79"/>
                    </a:lnTo>
                    <a:lnTo>
                      <a:pt x="301" y="81"/>
                    </a:lnTo>
                    <a:lnTo>
                      <a:pt x="299" y="81"/>
                    </a:lnTo>
                    <a:lnTo>
                      <a:pt x="297" y="81"/>
                    </a:lnTo>
                    <a:lnTo>
                      <a:pt x="295" y="79"/>
                    </a:lnTo>
                    <a:lnTo>
                      <a:pt x="294" y="79"/>
                    </a:lnTo>
                    <a:lnTo>
                      <a:pt x="292" y="77"/>
                    </a:lnTo>
                    <a:lnTo>
                      <a:pt x="290" y="77"/>
                    </a:lnTo>
                    <a:lnTo>
                      <a:pt x="286" y="75"/>
                    </a:lnTo>
                    <a:lnTo>
                      <a:pt x="284" y="75"/>
                    </a:lnTo>
                    <a:lnTo>
                      <a:pt x="286" y="75"/>
                    </a:lnTo>
                    <a:lnTo>
                      <a:pt x="284" y="74"/>
                    </a:lnTo>
                    <a:lnTo>
                      <a:pt x="282" y="72"/>
                    </a:lnTo>
                    <a:lnTo>
                      <a:pt x="280" y="72"/>
                    </a:lnTo>
                    <a:lnTo>
                      <a:pt x="278" y="72"/>
                    </a:lnTo>
                    <a:lnTo>
                      <a:pt x="278" y="70"/>
                    </a:lnTo>
                    <a:lnTo>
                      <a:pt x="276" y="70"/>
                    </a:lnTo>
                    <a:lnTo>
                      <a:pt x="274" y="70"/>
                    </a:lnTo>
                    <a:lnTo>
                      <a:pt x="272" y="68"/>
                    </a:lnTo>
                    <a:lnTo>
                      <a:pt x="274" y="68"/>
                    </a:lnTo>
                    <a:lnTo>
                      <a:pt x="276" y="68"/>
                    </a:lnTo>
                    <a:lnTo>
                      <a:pt x="274" y="68"/>
                    </a:lnTo>
                    <a:lnTo>
                      <a:pt x="276" y="68"/>
                    </a:lnTo>
                    <a:lnTo>
                      <a:pt x="276" y="66"/>
                    </a:lnTo>
                    <a:lnTo>
                      <a:pt x="278" y="68"/>
                    </a:lnTo>
                    <a:lnTo>
                      <a:pt x="280" y="68"/>
                    </a:lnTo>
                    <a:lnTo>
                      <a:pt x="282" y="70"/>
                    </a:lnTo>
                    <a:lnTo>
                      <a:pt x="284" y="70"/>
                    </a:lnTo>
                    <a:lnTo>
                      <a:pt x="286" y="70"/>
                    </a:lnTo>
                    <a:lnTo>
                      <a:pt x="288" y="70"/>
                    </a:lnTo>
                    <a:close/>
                    <a:moveTo>
                      <a:pt x="392" y="104"/>
                    </a:moveTo>
                    <a:lnTo>
                      <a:pt x="393" y="104"/>
                    </a:lnTo>
                    <a:lnTo>
                      <a:pt x="393" y="106"/>
                    </a:lnTo>
                    <a:lnTo>
                      <a:pt x="392" y="106"/>
                    </a:lnTo>
                    <a:lnTo>
                      <a:pt x="390" y="106"/>
                    </a:lnTo>
                    <a:lnTo>
                      <a:pt x="386" y="106"/>
                    </a:lnTo>
                    <a:lnTo>
                      <a:pt x="384" y="104"/>
                    </a:lnTo>
                    <a:lnTo>
                      <a:pt x="382" y="104"/>
                    </a:lnTo>
                    <a:lnTo>
                      <a:pt x="380" y="102"/>
                    </a:lnTo>
                    <a:lnTo>
                      <a:pt x="378" y="102"/>
                    </a:lnTo>
                    <a:lnTo>
                      <a:pt x="374" y="100"/>
                    </a:lnTo>
                    <a:lnTo>
                      <a:pt x="372" y="100"/>
                    </a:lnTo>
                    <a:lnTo>
                      <a:pt x="372" y="99"/>
                    </a:lnTo>
                    <a:lnTo>
                      <a:pt x="370" y="99"/>
                    </a:lnTo>
                    <a:lnTo>
                      <a:pt x="368" y="97"/>
                    </a:lnTo>
                    <a:lnTo>
                      <a:pt x="367" y="97"/>
                    </a:lnTo>
                    <a:lnTo>
                      <a:pt x="368" y="95"/>
                    </a:lnTo>
                    <a:lnTo>
                      <a:pt x="368" y="97"/>
                    </a:lnTo>
                    <a:lnTo>
                      <a:pt x="370" y="97"/>
                    </a:lnTo>
                    <a:lnTo>
                      <a:pt x="372" y="97"/>
                    </a:lnTo>
                    <a:lnTo>
                      <a:pt x="374" y="99"/>
                    </a:lnTo>
                    <a:lnTo>
                      <a:pt x="374" y="97"/>
                    </a:lnTo>
                    <a:lnTo>
                      <a:pt x="376" y="99"/>
                    </a:lnTo>
                    <a:lnTo>
                      <a:pt x="378" y="99"/>
                    </a:lnTo>
                    <a:lnTo>
                      <a:pt x="376" y="99"/>
                    </a:lnTo>
                    <a:lnTo>
                      <a:pt x="374" y="99"/>
                    </a:lnTo>
                    <a:lnTo>
                      <a:pt x="376" y="99"/>
                    </a:lnTo>
                    <a:lnTo>
                      <a:pt x="378" y="99"/>
                    </a:lnTo>
                    <a:lnTo>
                      <a:pt x="380" y="99"/>
                    </a:lnTo>
                    <a:lnTo>
                      <a:pt x="382" y="100"/>
                    </a:lnTo>
                    <a:lnTo>
                      <a:pt x="386" y="100"/>
                    </a:lnTo>
                    <a:lnTo>
                      <a:pt x="388" y="102"/>
                    </a:lnTo>
                    <a:lnTo>
                      <a:pt x="392" y="104"/>
                    </a:lnTo>
                    <a:close/>
                    <a:moveTo>
                      <a:pt x="313" y="70"/>
                    </a:moveTo>
                    <a:lnTo>
                      <a:pt x="315" y="72"/>
                    </a:lnTo>
                    <a:lnTo>
                      <a:pt x="317" y="72"/>
                    </a:lnTo>
                    <a:lnTo>
                      <a:pt x="319" y="72"/>
                    </a:lnTo>
                    <a:lnTo>
                      <a:pt x="319" y="74"/>
                    </a:lnTo>
                    <a:lnTo>
                      <a:pt x="320" y="74"/>
                    </a:lnTo>
                    <a:lnTo>
                      <a:pt x="319" y="74"/>
                    </a:lnTo>
                    <a:lnTo>
                      <a:pt x="319" y="75"/>
                    </a:lnTo>
                    <a:lnTo>
                      <a:pt x="317" y="75"/>
                    </a:lnTo>
                    <a:lnTo>
                      <a:pt x="315" y="75"/>
                    </a:lnTo>
                    <a:lnTo>
                      <a:pt x="313" y="75"/>
                    </a:lnTo>
                    <a:lnTo>
                      <a:pt x="311" y="74"/>
                    </a:lnTo>
                    <a:lnTo>
                      <a:pt x="309" y="74"/>
                    </a:lnTo>
                    <a:lnTo>
                      <a:pt x="309" y="72"/>
                    </a:lnTo>
                    <a:lnTo>
                      <a:pt x="307" y="72"/>
                    </a:lnTo>
                    <a:lnTo>
                      <a:pt x="305" y="72"/>
                    </a:lnTo>
                    <a:lnTo>
                      <a:pt x="303" y="72"/>
                    </a:lnTo>
                    <a:lnTo>
                      <a:pt x="301" y="70"/>
                    </a:lnTo>
                    <a:lnTo>
                      <a:pt x="299" y="70"/>
                    </a:lnTo>
                    <a:lnTo>
                      <a:pt x="297" y="70"/>
                    </a:lnTo>
                    <a:lnTo>
                      <a:pt x="295" y="68"/>
                    </a:lnTo>
                    <a:lnTo>
                      <a:pt x="295" y="66"/>
                    </a:lnTo>
                    <a:lnTo>
                      <a:pt x="297" y="68"/>
                    </a:lnTo>
                    <a:lnTo>
                      <a:pt x="297" y="66"/>
                    </a:lnTo>
                    <a:lnTo>
                      <a:pt x="295" y="66"/>
                    </a:lnTo>
                    <a:lnTo>
                      <a:pt x="295" y="64"/>
                    </a:lnTo>
                    <a:lnTo>
                      <a:pt x="297" y="64"/>
                    </a:lnTo>
                    <a:lnTo>
                      <a:pt x="297" y="66"/>
                    </a:lnTo>
                    <a:lnTo>
                      <a:pt x="299" y="66"/>
                    </a:lnTo>
                    <a:lnTo>
                      <a:pt x="301" y="66"/>
                    </a:lnTo>
                    <a:lnTo>
                      <a:pt x="303" y="66"/>
                    </a:lnTo>
                    <a:lnTo>
                      <a:pt x="303" y="68"/>
                    </a:lnTo>
                    <a:lnTo>
                      <a:pt x="305" y="68"/>
                    </a:lnTo>
                    <a:lnTo>
                      <a:pt x="307" y="68"/>
                    </a:lnTo>
                    <a:lnTo>
                      <a:pt x="309" y="68"/>
                    </a:lnTo>
                    <a:lnTo>
                      <a:pt x="311" y="70"/>
                    </a:lnTo>
                    <a:lnTo>
                      <a:pt x="313" y="7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11">
                <a:extLst>
                  <a:ext uri="{FF2B5EF4-FFF2-40B4-BE49-F238E27FC236}">
                    <a16:creationId xmlns="" xmlns:a16="http://schemas.microsoft.com/office/drawing/2014/main" id="{183D1627-D452-4FF8-A34E-BFA02AFB01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44738" y="2163763"/>
                <a:ext cx="1690688" cy="1119188"/>
              </a:xfrm>
              <a:custGeom>
                <a:avLst/>
                <a:gdLst>
                  <a:gd name="T0" fmla="*/ 183 w 1065"/>
                  <a:gd name="T1" fmla="*/ 371 h 705"/>
                  <a:gd name="T2" fmla="*/ 298 w 1065"/>
                  <a:gd name="T3" fmla="*/ 340 h 705"/>
                  <a:gd name="T4" fmla="*/ 317 w 1065"/>
                  <a:gd name="T5" fmla="*/ 421 h 705"/>
                  <a:gd name="T6" fmla="*/ 314 w 1065"/>
                  <a:gd name="T7" fmla="*/ 379 h 705"/>
                  <a:gd name="T8" fmla="*/ 362 w 1065"/>
                  <a:gd name="T9" fmla="*/ 382 h 705"/>
                  <a:gd name="T10" fmla="*/ 287 w 1065"/>
                  <a:gd name="T11" fmla="*/ 473 h 705"/>
                  <a:gd name="T12" fmla="*/ 344 w 1065"/>
                  <a:gd name="T13" fmla="*/ 605 h 705"/>
                  <a:gd name="T14" fmla="*/ 154 w 1065"/>
                  <a:gd name="T15" fmla="*/ 640 h 705"/>
                  <a:gd name="T16" fmla="*/ 83 w 1065"/>
                  <a:gd name="T17" fmla="*/ 603 h 705"/>
                  <a:gd name="T18" fmla="*/ 2 w 1065"/>
                  <a:gd name="T19" fmla="*/ 552 h 705"/>
                  <a:gd name="T20" fmla="*/ 35 w 1065"/>
                  <a:gd name="T21" fmla="*/ 436 h 705"/>
                  <a:gd name="T22" fmla="*/ 89 w 1065"/>
                  <a:gd name="T23" fmla="*/ 382 h 705"/>
                  <a:gd name="T24" fmla="*/ 97 w 1065"/>
                  <a:gd name="T25" fmla="*/ 484 h 705"/>
                  <a:gd name="T26" fmla="*/ 62 w 1065"/>
                  <a:gd name="T27" fmla="*/ 500 h 705"/>
                  <a:gd name="T28" fmla="*/ 104 w 1065"/>
                  <a:gd name="T29" fmla="*/ 438 h 705"/>
                  <a:gd name="T30" fmla="*/ 98 w 1065"/>
                  <a:gd name="T31" fmla="*/ 342 h 705"/>
                  <a:gd name="T32" fmla="*/ 129 w 1065"/>
                  <a:gd name="T33" fmla="*/ 340 h 705"/>
                  <a:gd name="T34" fmla="*/ 170 w 1065"/>
                  <a:gd name="T35" fmla="*/ 375 h 705"/>
                  <a:gd name="T36" fmla="*/ 193 w 1065"/>
                  <a:gd name="T37" fmla="*/ 432 h 705"/>
                  <a:gd name="T38" fmla="*/ 171 w 1065"/>
                  <a:gd name="T39" fmla="*/ 496 h 705"/>
                  <a:gd name="T40" fmla="*/ 166 w 1065"/>
                  <a:gd name="T41" fmla="*/ 548 h 705"/>
                  <a:gd name="T42" fmla="*/ 125 w 1065"/>
                  <a:gd name="T43" fmla="*/ 582 h 705"/>
                  <a:gd name="T44" fmla="*/ 123 w 1065"/>
                  <a:gd name="T45" fmla="*/ 590 h 705"/>
                  <a:gd name="T46" fmla="*/ 139 w 1065"/>
                  <a:gd name="T47" fmla="*/ 567 h 705"/>
                  <a:gd name="T48" fmla="*/ 166 w 1065"/>
                  <a:gd name="T49" fmla="*/ 538 h 705"/>
                  <a:gd name="T50" fmla="*/ 193 w 1065"/>
                  <a:gd name="T51" fmla="*/ 553 h 705"/>
                  <a:gd name="T52" fmla="*/ 179 w 1065"/>
                  <a:gd name="T53" fmla="*/ 513 h 705"/>
                  <a:gd name="T54" fmla="*/ 177 w 1065"/>
                  <a:gd name="T55" fmla="*/ 450 h 705"/>
                  <a:gd name="T56" fmla="*/ 262 w 1065"/>
                  <a:gd name="T57" fmla="*/ 430 h 705"/>
                  <a:gd name="T58" fmla="*/ 185 w 1065"/>
                  <a:gd name="T59" fmla="*/ 396 h 705"/>
                  <a:gd name="T60" fmla="*/ 198 w 1065"/>
                  <a:gd name="T61" fmla="*/ 321 h 705"/>
                  <a:gd name="T62" fmla="*/ 289 w 1065"/>
                  <a:gd name="T63" fmla="*/ 313 h 705"/>
                  <a:gd name="T64" fmla="*/ 652 w 1065"/>
                  <a:gd name="T65" fmla="*/ 173 h 705"/>
                  <a:gd name="T66" fmla="*/ 717 w 1065"/>
                  <a:gd name="T67" fmla="*/ 134 h 705"/>
                  <a:gd name="T68" fmla="*/ 711 w 1065"/>
                  <a:gd name="T69" fmla="*/ 205 h 705"/>
                  <a:gd name="T70" fmla="*/ 715 w 1065"/>
                  <a:gd name="T71" fmla="*/ 248 h 705"/>
                  <a:gd name="T72" fmla="*/ 706 w 1065"/>
                  <a:gd name="T73" fmla="*/ 246 h 705"/>
                  <a:gd name="T74" fmla="*/ 682 w 1065"/>
                  <a:gd name="T75" fmla="*/ 229 h 705"/>
                  <a:gd name="T76" fmla="*/ 654 w 1065"/>
                  <a:gd name="T77" fmla="*/ 209 h 705"/>
                  <a:gd name="T78" fmla="*/ 669 w 1065"/>
                  <a:gd name="T79" fmla="*/ 192 h 705"/>
                  <a:gd name="T80" fmla="*/ 654 w 1065"/>
                  <a:gd name="T81" fmla="*/ 167 h 705"/>
                  <a:gd name="T82" fmla="*/ 638 w 1065"/>
                  <a:gd name="T83" fmla="*/ 154 h 705"/>
                  <a:gd name="T84" fmla="*/ 654 w 1065"/>
                  <a:gd name="T85" fmla="*/ 129 h 705"/>
                  <a:gd name="T86" fmla="*/ 675 w 1065"/>
                  <a:gd name="T87" fmla="*/ 111 h 705"/>
                  <a:gd name="T88" fmla="*/ 694 w 1065"/>
                  <a:gd name="T89" fmla="*/ 100 h 705"/>
                  <a:gd name="T90" fmla="*/ 740 w 1065"/>
                  <a:gd name="T91" fmla="*/ 94 h 705"/>
                  <a:gd name="T92" fmla="*/ 736 w 1065"/>
                  <a:gd name="T93" fmla="*/ 115 h 705"/>
                  <a:gd name="T94" fmla="*/ 1023 w 1065"/>
                  <a:gd name="T95" fmla="*/ 48 h 705"/>
                  <a:gd name="T96" fmla="*/ 896 w 1065"/>
                  <a:gd name="T97" fmla="*/ 52 h 705"/>
                  <a:gd name="T98" fmla="*/ 853 w 1065"/>
                  <a:gd name="T99" fmla="*/ 63 h 705"/>
                  <a:gd name="T100" fmla="*/ 825 w 1065"/>
                  <a:gd name="T101" fmla="*/ 67 h 705"/>
                  <a:gd name="T102" fmla="*/ 796 w 1065"/>
                  <a:gd name="T103" fmla="*/ 77 h 705"/>
                  <a:gd name="T104" fmla="*/ 773 w 1065"/>
                  <a:gd name="T105" fmla="*/ 86 h 705"/>
                  <a:gd name="T106" fmla="*/ 738 w 1065"/>
                  <a:gd name="T107" fmla="*/ 92 h 705"/>
                  <a:gd name="T108" fmla="*/ 746 w 1065"/>
                  <a:gd name="T109" fmla="*/ 73 h 705"/>
                  <a:gd name="T110" fmla="*/ 752 w 1065"/>
                  <a:gd name="T111" fmla="*/ 54 h 705"/>
                  <a:gd name="T112" fmla="*/ 779 w 1065"/>
                  <a:gd name="T113" fmla="*/ 48 h 705"/>
                  <a:gd name="T114" fmla="*/ 792 w 1065"/>
                  <a:gd name="T115" fmla="*/ 42 h 705"/>
                  <a:gd name="T116" fmla="*/ 794 w 1065"/>
                  <a:gd name="T117" fmla="*/ 21 h 705"/>
                  <a:gd name="T118" fmla="*/ 842 w 1065"/>
                  <a:gd name="T119" fmla="*/ 9 h 705"/>
                  <a:gd name="T120" fmla="*/ 898 w 1065"/>
                  <a:gd name="T121" fmla="*/ 9 h 705"/>
                  <a:gd name="T122" fmla="*/ 955 w 1065"/>
                  <a:gd name="T123" fmla="*/ 17 h 705"/>
                  <a:gd name="T124" fmla="*/ 1021 w 1065"/>
                  <a:gd name="T125" fmla="*/ 11 h 7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65" h="705">
                    <a:moveTo>
                      <a:pt x="189" y="505"/>
                    </a:moveTo>
                    <a:lnTo>
                      <a:pt x="187" y="505"/>
                    </a:lnTo>
                    <a:lnTo>
                      <a:pt x="189" y="505"/>
                    </a:lnTo>
                    <a:close/>
                    <a:moveTo>
                      <a:pt x="177" y="375"/>
                    </a:moveTo>
                    <a:lnTo>
                      <a:pt x="177" y="377"/>
                    </a:lnTo>
                    <a:lnTo>
                      <a:pt x="177" y="375"/>
                    </a:lnTo>
                    <a:lnTo>
                      <a:pt x="179" y="375"/>
                    </a:lnTo>
                    <a:lnTo>
                      <a:pt x="179" y="377"/>
                    </a:lnTo>
                    <a:lnTo>
                      <a:pt x="177" y="377"/>
                    </a:lnTo>
                    <a:lnTo>
                      <a:pt x="179" y="377"/>
                    </a:lnTo>
                    <a:lnTo>
                      <a:pt x="177" y="377"/>
                    </a:lnTo>
                    <a:lnTo>
                      <a:pt x="177" y="375"/>
                    </a:lnTo>
                    <a:close/>
                    <a:moveTo>
                      <a:pt x="185" y="380"/>
                    </a:moveTo>
                    <a:lnTo>
                      <a:pt x="185" y="379"/>
                    </a:lnTo>
                    <a:lnTo>
                      <a:pt x="185" y="377"/>
                    </a:lnTo>
                    <a:lnTo>
                      <a:pt x="187" y="377"/>
                    </a:lnTo>
                    <a:lnTo>
                      <a:pt x="185" y="377"/>
                    </a:lnTo>
                    <a:lnTo>
                      <a:pt x="187" y="377"/>
                    </a:lnTo>
                    <a:lnTo>
                      <a:pt x="187" y="379"/>
                    </a:lnTo>
                    <a:lnTo>
                      <a:pt x="187" y="377"/>
                    </a:lnTo>
                    <a:lnTo>
                      <a:pt x="187" y="379"/>
                    </a:lnTo>
                    <a:lnTo>
                      <a:pt x="187" y="380"/>
                    </a:lnTo>
                    <a:lnTo>
                      <a:pt x="187" y="379"/>
                    </a:lnTo>
                    <a:lnTo>
                      <a:pt x="189" y="380"/>
                    </a:lnTo>
                    <a:lnTo>
                      <a:pt x="187" y="380"/>
                    </a:lnTo>
                    <a:lnTo>
                      <a:pt x="187" y="382"/>
                    </a:lnTo>
                    <a:lnTo>
                      <a:pt x="185" y="382"/>
                    </a:lnTo>
                    <a:lnTo>
                      <a:pt x="185" y="384"/>
                    </a:lnTo>
                    <a:lnTo>
                      <a:pt x="183" y="384"/>
                    </a:lnTo>
                    <a:lnTo>
                      <a:pt x="181" y="384"/>
                    </a:lnTo>
                    <a:lnTo>
                      <a:pt x="181" y="382"/>
                    </a:lnTo>
                    <a:lnTo>
                      <a:pt x="183" y="382"/>
                    </a:lnTo>
                    <a:lnTo>
                      <a:pt x="183" y="380"/>
                    </a:lnTo>
                    <a:lnTo>
                      <a:pt x="185" y="380"/>
                    </a:lnTo>
                    <a:close/>
                    <a:moveTo>
                      <a:pt x="185" y="377"/>
                    </a:moveTo>
                    <a:lnTo>
                      <a:pt x="185" y="375"/>
                    </a:lnTo>
                    <a:lnTo>
                      <a:pt x="185" y="373"/>
                    </a:lnTo>
                    <a:lnTo>
                      <a:pt x="185" y="375"/>
                    </a:lnTo>
                    <a:lnTo>
                      <a:pt x="185" y="373"/>
                    </a:lnTo>
                    <a:lnTo>
                      <a:pt x="185" y="375"/>
                    </a:lnTo>
                    <a:lnTo>
                      <a:pt x="185" y="373"/>
                    </a:lnTo>
                    <a:lnTo>
                      <a:pt x="187" y="373"/>
                    </a:lnTo>
                    <a:lnTo>
                      <a:pt x="185" y="373"/>
                    </a:lnTo>
                    <a:lnTo>
                      <a:pt x="187" y="373"/>
                    </a:lnTo>
                    <a:lnTo>
                      <a:pt x="187" y="375"/>
                    </a:lnTo>
                    <a:lnTo>
                      <a:pt x="187" y="377"/>
                    </a:lnTo>
                    <a:lnTo>
                      <a:pt x="187" y="375"/>
                    </a:lnTo>
                    <a:lnTo>
                      <a:pt x="187" y="377"/>
                    </a:lnTo>
                    <a:lnTo>
                      <a:pt x="185" y="377"/>
                    </a:lnTo>
                    <a:lnTo>
                      <a:pt x="185" y="379"/>
                    </a:lnTo>
                    <a:lnTo>
                      <a:pt x="185" y="377"/>
                    </a:lnTo>
                    <a:lnTo>
                      <a:pt x="185" y="379"/>
                    </a:lnTo>
                    <a:lnTo>
                      <a:pt x="183" y="379"/>
                    </a:lnTo>
                    <a:lnTo>
                      <a:pt x="185" y="379"/>
                    </a:lnTo>
                    <a:lnTo>
                      <a:pt x="185" y="380"/>
                    </a:lnTo>
                    <a:lnTo>
                      <a:pt x="183" y="380"/>
                    </a:lnTo>
                    <a:lnTo>
                      <a:pt x="181" y="380"/>
                    </a:lnTo>
                    <a:lnTo>
                      <a:pt x="183" y="380"/>
                    </a:lnTo>
                    <a:lnTo>
                      <a:pt x="181" y="380"/>
                    </a:lnTo>
                    <a:lnTo>
                      <a:pt x="181" y="382"/>
                    </a:lnTo>
                    <a:lnTo>
                      <a:pt x="181" y="380"/>
                    </a:lnTo>
                    <a:lnTo>
                      <a:pt x="181" y="379"/>
                    </a:lnTo>
                    <a:lnTo>
                      <a:pt x="183" y="379"/>
                    </a:lnTo>
                    <a:lnTo>
                      <a:pt x="183" y="377"/>
                    </a:lnTo>
                    <a:lnTo>
                      <a:pt x="183" y="379"/>
                    </a:lnTo>
                    <a:lnTo>
                      <a:pt x="183" y="377"/>
                    </a:lnTo>
                    <a:lnTo>
                      <a:pt x="183" y="375"/>
                    </a:lnTo>
                    <a:lnTo>
                      <a:pt x="185" y="375"/>
                    </a:lnTo>
                    <a:lnTo>
                      <a:pt x="185" y="377"/>
                    </a:lnTo>
                    <a:close/>
                    <a:moveTo>
                      <a:pt x="183" y="373"/>
                    </a:moveTo>
                    <a:lnTo>
                      <a:pt x="183" y="375"/>
                    </a:lnTo>
                    <a:lnTo>
                      <a:pt x="181" y="377"/>
                    </a:lnTo>
                    <a:lnTo>
                      <a:pt x="183" y="375"/>
                    </a:lnTo>
                    <a:lnTo>
                      <a:pt x="183" y="377"/>
                    </a:lnTo>
                    <a:lnTo>
                      <a:pt x="181" y="377"/>
                    </a:lnTo>
                    <a:lnTo>
                      <a:pt x="181" y="379"/>
                    </a:lnTo>
                    <a:lnTo>
                      <a:pt x="181" y="380"/>
                    </a:lnTo>
                    <a:lnTo>
                      <a:pt x="181" y="379"/>
                    </a:lnTo>
                    <a:lnTo>
                      <a:pt x="179" y="379"/>
                    </a:lnTo>
                    <a:lnTo>
                      <a:pt x="179" y="377"/>
                    </a:lnTo>
                    <a:lnTo>
                      <a:pt x="179" y="375"/>
                    </a:lnTo>
                    <a:lnTo>
                      <a:pt x="179" y="373"/>
                    </a:lnTo>
                    <a:lnTo>
                      <a:pt x="179" y="371"/>
                    </a:lnTo>
                    <a:lnTo>
                      <a:pt x="177" y="369"/>
                    </a:lnTo>
                    <a:lnTo>
                      <a:pt x="179" y="369"/>
                    </a:lnTo>
                    <a:lnTo>
                      <a:pt x="181" y="369"/>
                    </a:lnTo>
                    <a:lnTo>
                      <a:pt x="181" y="371"/>
                    </a:lnTo>
                    <a:lnTo>
                      <a:pt x="179" y="371"/>
                    </a:lnTo>
                    <a:lnTo>
                      <a:pt x="181" y="371"/>
                    </a:lnTo>
                    <a:lnTo>
                      <a:pt x="183" y="371"/>
                    </a:lnTo>
                    <a:lnTo>
                      <a:pt x="183" y="373"/>
                    </a:lnTo>
                    <a:lnTo>
                      <a:pt x="183" y="371"/>
                    </a:lnTo>
                    <a:lnTo>
                      <a:pt x="181" y="371"/>
                    </a:lnTo>
                    <a:lnTo>
                      <a:pt x="183" y="371"/>
                    </a:lnTo>
                    <a:lnTo>
                      <a:pt x="181" y="371"/>
                    </a:lnTo>
                    <a:lnTo>
                      <a:pt x="183" y="371"/>
                    </a:lnTo>
                    <a:lnTo>
                      <a:pt x="181" y="371"/>
                    </a:lnTo>
                    <a:lnTo>
                      <a:pt x="183" y="371"/>
                    </a:lnTo>
                    <a:lnTo>
                      <a:pt x="183" y="373"/>
                    </a:lnTo>
                    <a:close/>
                    <a:moveTo>
                      <a:pt x="294" y="340"/>
                    </a:moveTo>
                    <a:lnTo>
                      <a:pt x="294" y="342"/>
                    </a:lnTo>
                    <a:lnTo>
                      <a:pt x="292" y="342"/>
                    </a:lnTo>
                    <a:lnTo>
                      <a:pt x="294" y="342"/>
                    </a:lnTo>
                    <a:lnTo>
                      <a:pt x="292" y="342"/>
                    </a:lnTo>
                    <a:lnTo>
                      <a:pt x="292" y="344"/>
                    </a:lnTo>
                    <a:lnTo>
                      <a:pt x="294" y="344"/>
                    </a:lnTo>
                    <a:lnTo>
                      <a:pt x="296" y="344"/>
                    </a:lnTo>
                    <a:lnTo>
                      <a:pt x="294" y="348"/>
                    </a:lnTo>
                    <a:lnTo>
                      <a:pt x="294" y="350"/>
                    </a:lnTo>
                    <a:lnTo>
                      <a:pt x="294" y="348"/>
                    </a:lnTo>
                    <a:lnTo>
                      <a:pt x="294" y="350"/>
                    </a:lnTo>
                    <a:lnTo>
                      <a:pt x="292" y="350"/>
                    </a:lnTo>
                    <a:lnTo>
                      <a:pt x="292" y="352"/>
                    </a:lnTo>
                    <a:lnTo>
                      <a:pt x="292" y="354"/>
                    </a:lnTo>
                    <a:lnTo>
                      <a:pt x="291" y="354"/>
                    </a:lnTo>
                    <a:lnTo>
                      <a:pt x="289" y="355"/>
                    </a:lnTo>
                    <a:lnTo>
                      <a:pt x="287" y="355"/>
                    </a:lnTo>
                    <a:lnTo>
                      <a:pt x="287" y="357"/>
                    </a:lnTo>
                    <a:lnTo>
                      <a:pt x="285" y="357"/>
                    </a:lnTo>
                    <a:lnTo>
                      <a:pt x="287" y="357"/>
                    </a:lnTo>
                    <a:lnTo>
                      <a:pt x="285" y="357"/>
                    </a:lnTo>
                    <a:lnTo>
                      <a:pt x="285" y="359"/>
                    </a:lnTo>
                    <a:lnTo>
                      <a:pt x="285" y="357"/>
                    </a:lnTo>
                    <a:lnTo>
                      <a:pt x="287" y="357"/>
                    </a:lnTo>
                    <a:lnTo>
                      <a:pt x="285" y="357"/>
                    </a:lnTo>
                    <a:lnTo>
                      <a:pt x="287" y="357"/>
                    </a:lnTo>
                    <a:lnTo>
                      <a:pt x="287" y="355"/>
                    </a:lnTo>
                    <a:lnTo>
                      <a:pt x="289" y="355"/>
                    </a:lnTo>
                    <a:lnTo>
                      <a:pt x="291" y="354"/>
                    </a:lnTo>
                    <a:lnTo>
                      <a:pt x="292" y="355"/>
                    </a:lnTo>
                    <a:lnTo>
                      <a:pt x="292" y="357"/>
                    </a:lnTo>
                    <a:lnTo>
                      <a:pt x="291" y="359"/>
                    </a:lnTo>
                    <a:lnTo>
                      <a:pt x="289" y="359"/>
                    </a:lnTo>
                    <a:lnTo>
                      <a:pt x="289" y="361"/>
                    </a:lnTo>
                    <a:lnTo>
                      <a:pt x="289" y="363"/>
                    </a:lnTo>
                    <a:lnTo>
                      <a:pt x="287" y="363"/>
                    </a:lnTo>
                    <a:lnTo>
                      <a:pt x="287" y="365"/>
                    </a:lnTo>
                    <a:lnTo>
                      <a:pt x="287" y="367"/>
                    </a:lnTo>
                    <a:lnTo>
                      <a:pt x="285" y="367"/>
                    </a:lnTo>
                    <a:lnTo>
                      <a:pt x="287" y="367"/>
                    </a:lnTo>
                    <a:lnTo>
                      <a:pt x="287" y="369"/>
                    </a:lnTo>
                    <a:lnTo>
                      <a:pt x="285" y="371"/>
                    </a:lnTo>
                    <a:lnTo>
                      <a:pt x="285" y="373"/>
                    </a:lnTo>
                    <a:lnTo>
                      <a:pt x="285" y="375"/>
                    </a:lnTo>
                    <a:lnTo>
                      <a:pt x="285" y="377"/>
                    </a:lnTo>
                    <a:lnTo>
                      <a:pt x="285" y="379"/>
                    </a:lnTo>
                    <a:lnTo>
                      <a:pt x="283" y="379"/>
                    </a:lnTo>
                    <a:lnTo>
                      <a:pt x="285" y="379"/>
                    </a:lnTo>
                    <a:lnTo>
                      <a:pt x="283" y="379"/>
                    </a:lnTo>
                    <a:lnTo>
                      <a:pt x="285" y="380"/>
                    </a:lnTo>
                    <a:lnTo>
                      <a:pt x="285" y="379"/>
                    </a:lnTo>
                    <a:lnTo>
                      <a:pt x="283" y="379"/>
                    </a:lnTo>
                    <a:lnTo>
                      <a:pt x="285" y="379"/>
                    </a:lnTo>
                    <a:lnTo>
                      <a:pt x="283" y="379"/>
                    </a:lnTo>
                    <a:lnTo>
                      <a:pt x="285" y="379"/>
                    </a:lnTo>
                    <a:lnTo>
                      <a:pt x="285" y="377"/>
                    </a:lnTo>
                    <a:lnTo>
                      <a:pt x="285" y="375"/>
                    </a:lnTo>
                    <a:lnTo>
                      <a:pt x="285" y="373"/>
                    </a:lnTo>
                    <a:lnTo>
                      <a:pt x="285" y="371"/>
                    </a:lnTo>
                    <a:lnTo>
                      <a:pt x="287" y="371"/>
                    </a:lnTo>
                    <a:lnTo>
                      <a:pt x="287" y="369"/>
                    </a:lnTo>
                    <a:lnTo>
                      <a:pt x="287" y="367"/>
                    </a:lnTo>
                    <a:lnTo>
                      <a:pt x="287" y="365"/>
                    </a:lnTo>
                    <a:lnTo>
                      <a:pt x="287" y="363"/>
                    </a:lnTo>
                    <a:lnTo>
                      <a:pt x="289" y="363"/>
                    </a:lnTo>
                    <a:lnTo>
                      <a:pt x="289" y="361"/>
                    </a:lnTo>
                    <a:lnTo>
                      <a:pt x="289" y="359"/>
                    </a:lnTo>
                    <a:lnTo>
                      <a:pt x="291" y="359"/>
                    </a:lnTo>
                    <a:lnTo>
                      <a:pt x="292" y="359"/>
                    </a:lnTo>
                    <a:lnTo>
                      <a:pt x="292" y="357"/>
                    </a:lnTo>
                    <a:lnTo>
                      <a:pt x="292" y="355"/>
                    </a:lnTo>
                    <a:lnTo>
                      <a:pt x="291" y="354"/>
                    </a:lnTo>
                    <a:lnTo>
                      <a:pt x="292" y="354"/>
                    </a:lnTo>
                    <a:lnTo>
                      <a:pt x="292" y="352"/>
                    </a:lnTo>
                    <a:lnTo>
                      <a:pt x="292" y="350"/>
                    </a:lnTo>
                    <a:lnTo>
                      <a:pt x="294" y="350"/>
                    </a:lnTo>
                    <a:lnTo>
                      <a:pt x="294" y="348"/>
                    </a:lnTo>
                    <a:lnTo>
                      <a:pt x="296" y="346"/>
                    </a:lnTo>
                    <a:lnTo>
                      <a:pt x="296" y="344"/>
                    </a:lnTo>
                    <a:lnTo>
                      <a:pt x="294" y="344"/>
                    </a:lnTo>
                    <a:lnTo>
                      <a:pt x="294" y="342"/>
                    </a:lnTo>
                    <a:lnTo>
                      <a:pt x="296" y="342"/>
                    </a:lnTo>
                    <a:lnTo>
                      <a:pt x="296" y="340"/>
                    </a:lnTo>
                    <a:lnTo>
                      <a:pt x="298" y="340"/>
                    </a:lnTo>
                    <a:lnTo>
                      <a:pt x="300" y="340"/>
                    </a:lnTo>
                    <a:lnTo>
                      <a:pt x="302" y="340"/>
                    </a:lnTo>
                    <a:lnTo>
                      <a:pt x="304" y="340"/>
                    </a:lnTo>
                    <a:lnTo>
                      <a:pt x="306" y="340"/>
                    </a:lnTo>
                    <a:lnTo>
                      <a:pt x="308" y="340"/>
                    </a:lnTo>
                    <a:lnTo>
                      <a:pt x="306" y="340"/>
                    </a:lnTo>
                    <a:lnTo>
                      <a:pt x="308" y="340"/>
                    </a:lnTo>
                    <a:lnTo>
                      <a:pt x="308" y="342"/>
                    </a:lnTo>
                    <a:lnTo>
                      <a:pt x="310" y="342"/>
                    </a:lnTo>
                    <a:lnTo>
                      <a:pt x="310" y="344"/>
                    </a:lnTo>
                    <a:lnTo>
                      <a:pt x="310" y="342"/>
                    </a:lnTo>
                    <a:lnTo>
                      <a:pt x="310" y="344"/>
                    </a:lnTo>
                    <a:lnTo>
                      <a:pt x="310" y="346"/>
                    </a:lnTo>
                    <a:lnTo>
                      <a:pt x="310" y="348"/>
                    </a:lnTo>
                    <a:lnTo>
                      <a:pt x="310" y="350"/>
                    </a:lnTo>
                    <a:lnTo>
                      <a:pt x="310" y="352"/>
                    </a:lnTo>
                    <a:lnTo>
                      <a:pt x="308" y="354"/>
                    </a:lnTo>
                    <a:lnTo>
                      <a:pt x="308" y="355"/>
                    </a:lnTo>
                    <a:lnTo>
                      <a:pt x="306" y="355"/>
                    </a:lnTo>
                    <a:lnTo>
                      <a:pt x="308" y="355"/>
                    </a:lnTo>
                    <a:lnTo>
                      <a:pt x="306" y="357"/>
                    </a:lnTo>
                    <a:lnTo>
                      <a:pt x="308" y="357"/>
                    </a:lnTo>
                    <a:lnTo>
                      <a:pt x="308" y="359"/>
                    </a:lnTo>
                    <a:lnTo>
                      <a:pt x="306" y="361"/>
                    </a:lnTo>
                    <a:lnTo>
                      <a:pt x="306" y="363"/>
                    </a:lnTo>
                    <a:lnTo>
                      <a:pt x="306" y="365"/>
                    </a:lnTo>
                    <a:lnTo>
                      <a:pt x="306" y="367"/>
                    </a:lnTo>
                    <a:lnTo>
                      <a:pt x="304" y="369"/>
                    </a:lnTo>
                    <a:lnTo>
                      <a:pt x="304" y="371"/>
                    </a:lnTo>
                    <a:lnTo>
                      <a:pt x="304" y="373"/>
                    </a:lnTo>
                    <a:lnTo>
                      <a:pt x="304" y="375"/>
                    </a:lnTo>
                    <a:lnTo>
                      <a:pt x="304" y="377"/>
                    </a:lnTo>
                    <a:lnTo>
                      <a:pt x="304" y="379"/>
                    </a:lnTo>
                    <a:lnTo>
                      <a:pt x="304" y="380"/>
                    </a:lnTo>
                    <a:lnTo>
                      <a:pt x="304" y="379"/>
                    </a:lnTo>
                    <a:lnTo>
                      <a:pt x="304" y="380"/>
                    </a:lnTo>
                    <a:lnTo>
                      <a:pt x="306" y="380"/>
                    </a:lnTo>
                    <a:lnTo>
                      <a:pt x="304" y="382"/>
                    </a:lnTo>
                    <a:lnTo>
                      <a:pt x="306" y="382"/>
                    </a:lnTo>
                    <a:lnTo>
                      <a:pt x="304" y="382"/>
                    </a:lnTo>
                    <a:lnTo>
                      <a:pt x="304" y="380"/>
                    </a:lnTo>
                    <a:lnTo>
                      <a:pt x="304" y="382"/>
                    </a:lnTo>
                    <a:lnTo>
                      <a:pt x="306" y="382"/>
                    </a:lnTo>
                    <a:lnTo>
                      <a:pt x="306" y="384"/>
                    </a:lnTo>
                    <a:lnTo>
                      <a:pt x="306" y="382"/>
                    </a:lnTo>
                    <a:lnTo>
                      <a:pt x="306" y="384"/>
                    </a:lnTo>
                    <a:lnTo>
                      <a:pt x="306" y="382"/>
                    </a:lnTo>
                    <a:lnTo>
                      <a:pt x="308" y="382"/>
                    </a:lnTo>
                    <a:lnTo>
                      <a:pt x="308" y="384"/>
                    </a:lnTo>
                    <a:lnTo>
                      <a:pt x="306" y="384"/>
                    </a:lnTo>
                    <a:lnTo>
                      <a:pt x="308" y="384"/>
                    </a:lnTo>
                    <a:lnTo>
                      <a:pt x="308" y="386"/>
                    </a:lnTo>
                    <a:lnTo>
                      <a:pt x="308" y="388"/>
                    </a:lnTo>
                    <a:lnTo>
                      <a:pt x="308" y="390"/>
                    </a:lnTo>
                    <a:lnTo>
                      <a:pt x="310" y="390"/>
                    </a:lnTo>
                    <a:lnTo>
                      <a:pt x="310" y="392"/>
                    </a:lnTo>
                    <a:lnTo>
                      <a:pt x="310" y="390"/>
                    </a:lnTo>
                    <a:lnTo>
                      <a:pt x="310" y="392"/>
                    </a:lnTo>
                    <a:lnTo>
                      <a:pt x="312" y="392"/>
                    </a:lnTo>
                    <a:lnTo>
                      <a:pt x="312" y="394"/>
                    </a:lnTo>
                    <a:lnTo>
                      <a:pt x="312" y="392"/>
                    </a:lnTo>
                    <a:lnTo>
                      <a:pt x="312" y="394"/>
                    </a:lnTo>
                    <a:lnTo>
                      <a:pt x="312" y="396"/>
                    </a:lnTo>
                    <a:lnTo>
                      <a:pt x="312" y="398"/>
                    </a:lnTo>
                    <a:lnTo>
                      <a:pt x="312" y="400"/>
                    </a:lnTo>
                    <a:lnTo>
                      <a:pt x="312" y="398"/>
                    </a:lnTo>
                    <a:lnTo>
                      <a:pt x="314" y="398"/>
                    </a:lnTo>
                    <a:lnTo>
                      <a:pt x="314" y="400"/>
                    </a:lnTo>
                    <a:lnTo>
                      <a:pt x="312" y="400"/>
                    </a:lnTo>
                    <a:lnTo>
                      <a:pt x="312" y="402"/>
                    </a:lnTo>
                    <a:lnTo>
                      <a:pt x="312" y="403"/>
                    </a:lnTo>
                    <a:lnTo>
                      <a:pt x="310" y="403"/>
                    </a:lnTo>
                    <a:lnTo>
                      <a:pt x="312" y="405"/>
                    </a:lnTo>
                    <a:lnTo>
                      <a:pt x="312" y="407"/>
                    </a:lnTo>
                    <a:lnTo>
                      <a:pt x="312" y="409"/>
                    </a:lnTo>
                    <a:lnTo>
                      <a:pt x="312" y="411"/>
                    </a:lnTo>
                    <a:lnTo>
                      <a:pt x="312" y="413"/>
                    </a:lnTo>
                    <a:lnTo>
                      <a:pt x="312" y="415"/>
                    </a:lnTo>
                    <a:lnTo>
                      <a:pt x="314" y="415"/>
                    </a:lnTo>
                    <a:lnTo>
                      <a:pt x="314" y="417"/>
                    </a:lnTo>
                    <a:lnTo>
                      <a:pt x="316" y="417"/>
                    </a:lnTo>
                    <a:lnTo>
                      <a:pt x="314" y="417"/>
                    </a:lnTo>
                    <a:lnTo>
                      <a:pt x="316" y="417"/>
                    </a:lnTo>
                    <a:lnTo>
                      <a:pt x="316" y="419"/>
                    </a:lnTo>
                    <a:lnTo>
                      <a:pt x="316" y="417"/>
                    </a:lnTo>
                    <a:lnTo>
                      <a:pt x="316" y="419"/>
                    </a:lnTo>
                    <a:lnTo>
                      <a:pt x="317" y="419"/>
                    </a:lnTo>
                    <a:lnTo>
                      <a:pt x="316" y="419"/>
                    </a:lnTo>
                    <a:lnTo>
                      <a:pt x="316" y="421"/>
                    </a:lnTo>
                    <a:lnTo>
                      <a:pt x="316" y="419"/>
                    </a:lnTo>
                    <a:lnTo>
                      <a:pt x="316" y="421"/>
                    </a:lnTo>
                    <a:lnTo>
                      <a:pt x="317" y="421"/>
                    </a:lnTo>
                    <a:lnTo>
                      <a:pt x="317" y="423"/>
                    </a:lnTo>
                    <a:lnTo>
                      <a:pt x="317" y="421"/>
                    </a:lnTo>
                    <a:lnTo>
                      <a:pt x="317" y="423"/>
                    </a:lnTo>
                    <a:lnTo>
                      <a:pt x="317" y="425"/>
                    </a:lnTo>
                    <a:lnTo>
                      <a:pt x="316" y="425"/>
                    </a:lnTo>
                    <a:lnTo>
                      <a:pt x="316" y="427"/>
                    </a:lnTo>
                    <a:lnTo>
                      <a:pt x="316" y="428"/>
                    </a:lnTo>
                    <a:lnTo>
                      <a:pt x="316" y="430"/>
                    </a:lnTo>
                    <a:lnTo>
                      <a:pt x="314" y="430"/>
                    </a:lnTo>
                    <a:lnTo>
                      <a:pt x="316" y="430"/>
                    </a:lnTo>
                    <a:lnTo>
                      <a:pt x="316" y="428"/>
                    </a:lnTo>
                    <a:lnTo>
                      <a:pt x="316" y="427"/>
                    </a:lnTo>
                    <a:lnTo>
                      <a:pt x="317" y="427"/>
                    </a:lnTo>
                    <a:lnTo>
                      <a:pt x="317" y="425"/>
                    </a:lnTo>
                    <a:lnTo>
                      <a:pt x="317" y="423"/>
                    </a:lnTo>
                    <a:lnTo>
                      <a:pt x="317" y="425"/>
                    </a:lnTo>
                    <a:lnTo>
                      <a:pt x="317" y="423"/>
                    </a:lnTo>
                    <a:lnTo>
                      <a:pt x="317" y="421"/>
                    </a:lnTo>
                    <a:lnTo>
                      <a:pt x="317" y="419"/>
                    </a:lnTo>
                    <a:lnTo>
                      <a:pt x="316" y="419"/>
                    </a:lnTo>
                    <a:lnTo>
                      <a:pt x="316" y="417"/>
                    </a:lnTo>
                    <a:lnTo>
                      <a:pt x="316" y="415"/>
                    </a:lnTo>
                    <a:lnTo>
                      <a:pt x="314" y="415"/>
                    </a:lnTo>
                    <a:lnTo>
                      <a:pt x="312" y="413"/>
                    </a:lnTo>
                    <a:lnTo>
                      <a:pt x="312" y="411"/>
                    </a:lnTo>
                    <a:lnTo>
                      <a:pt x="312" y="409"/>
                    </a:lnTo>
                    <a:lnTo>
                      <a:pt x="314" y="407"/>
                    </a:lnTo>
                    <a:lnTo>
                      <a:pt x="314" y="405"/>
                    </a:lnTo>
                    <a:lnTo>
                      <a:pt x="314" y="407"/>
                    </a:lnTo>
                    <a:lnTo>
                      <a:pt x="314" y="405"/>
                    </a:lnTo>
                    <a:lnTo>
                      <a:pt x="312" y="405"/>
                    </a:lnTo>
                    <a:lnTo>
                      <a:pt x="312" y="403"/>
                    </a:lnTo>
                    <a:lnTo>
                      <a:pt x="312" y="402"/>
                    </a:lnTo>
                    <a:lnTo>
                      <a:pt x="314" y="402"/>
                    </a:lnTo>
                    <a:lnTo>
                      <a:pt x="314" y="400"/>
                    </a:lnTo>
                    <a:lnTo>
                      <a:pt x="314" y="398"/>
                    </a:lnTo>
                    <a:lnTo>
                      <a:pt x="314" y="396"/>
                    </a:lnTo>
                    <a:lnTo>
                      <a:pt x="314" y="394"/>
                    </a:lnTo>
                    <a:lnTo>
                      <a:pt x="314" y="396"/>
                    </a:lnTo>
                    <a:lnTo>
                      <a:pt x="314" y="394"/>
                    </a:lnTo>
                    <a:lnTo>
                      <a:pt x="314" y="392"/>
                    </a:lnTo>
                    <a:lnTo>
                      <a:pt x="312" y="392"/>
                    </a:lnTo>
                    <a:lnTo>
                      <a:pt x="312" y="390"/>
                    </a:lnTo>
                    <a:lnTo>
                      <a:pt x="310" y="390"/>
                    </a:lnTo>
                    <a:lnTo>
                      <a:pt x="310" y="388"/>
                    </a:lnTo>
                    <a:lnTo>
                      <a:pt x="308" y="388"/>
                    </a:lnTo>
                    <a:lnTo>
                      <a:pt x="308" y="386"/>
                    </a:lnTo>
                    <a:lnTo>
                      <a:pt x="310" y="384"/>
                    </a:lnTo>
                    <a:lnTo>
                      <a:pt x="308" y="384"/>
                    </a:lnTo>
                    <a:lnTo>
                      <a:pt x="310" y="384"/>
                    </a:lnTo>
                    <a:lnTo>
                      <a:pt x="310" y="382"/>
                    </a:lnTo>
                    <a:lnTo>
                      <a:pt x="310" y="380"/>
                    </a:lnTo>
                    <a:lnTo>
                      <a:pt x="312" y="382"/>
                    </a:lnTo>
                    <a:lnTo>
                      <a:pt x="314" y="382"/>
                    </a:lnTo>
                    <a:lnTo>
                      <a:pt x="312" y="380"/>
                    </a:lnTo>
                    <a:lnTo>
                      <a:pt x="314" y="380"/>
                    </a:lnTo>
                    <a:lnTo>
                      <a:pt x="314" y="382"/>
                    </a:lnTo>
                    <a:lnTo>
                      <a:pt x="316" y="382"/>
                    </a:lnTo>
                    <a:lnTo>
                      <a:pt x="316" y="380"/>
                    </a:lnTo>
                    <a:lnTo>
                      <a:pt x="314" y="380"/>
                    </a:lnTo>
                    <a:lnTo>
                      <a:pt x="314" y="379"/>
                    </a:lnTo>
                    <a:lnTo>
                      <a:pt x="316" y="379"/>
                    </a:lnTo>
                    <a:lnTo>
                      <a:pt x="316" y="377"/>
                    </a:lnTo>
                    <a:lnTo>
                      <a:pt x="317" y="377"/>
                    </a:lnTo>
                    <a:lnTo>
                      <a:pt x="317" y="375"/>
                    </a:lnTo>
                    <a:lnTo>
                      <a:pt x="317" y="377"/>
                    </a:lnTo>
                    <a:lnTo>
                      <a:pt x="317" y="379"/>
                    </a:lnTo>
                    <a:lnTo>
                      <a:pt x="319" y="379"/>
                    </a:lnTo>
                    <a:lnTo>
                      <a:pt x="319" y="377"/>
                    </a:lnTo>
                    <a:lnTo>
                      <a:pt x="321" y="377"/>
                    </a:lnTo>
                    <a:lnTo>
                      <a:pt x="319" y="379"/>
                    </a:lnTo>
                    <a:lnTo>
                      <a:pt x="321" y="379"/>
                    </a:lnTo>
                    <a:lnTo>
                      <a:pt x="321" y="380"/>
                    </a:lnTo>
                    <a:lnTo>
                      <a:pt x="321" y="379"/>
                    </a:lnTo>
                    <a:lnTo>
                      <a:pt x="323" y="379"/>
                    </a:lnTo>
                    <a:lnTo>
                      <a:pt x="321" y="379"/>
                    </a:lnTo>
                    <a:lnTo>
                      <a:pt x="321" y="380"/>
                    </a:lnTo>
                    <a:lnTo>
                      <a:pt x="321" y="379"/>
                    </a:lnTo>
                    <a:lnTo>
                      <a:pt x="319" y="379"/>
                    </a:lnTo>
                    <a:lnTo>
                      <a:pt x="321" y="379"/>
                    </a:lnTo>
                    <a:lnTo>
                      <a:pt x="321" y="377"/>
                    </a:lnTo>
                    <a:lnTo>
                      <a:pt x="319" y="377"/>
                    </a:lnTo>
                    <a:lnTo>
                      <a:pt x="319" y="379"/>
                    </a:lnTo>
                    <a:lnTo>
                      <a:pt x="317" y="379"/>
                    </a:lnTo>
                    <a:lnTo>
                      <a:pt x="317" y="377"/>
                    </a:lnTo>
                    <a:lnTo>
                      <a:pt x="317" y="379"/>
                    </a:lnTo>
                    <a:lnTo>
                      <a:pt x="317" y="377"/>
                    </a:lnTo>
                    <a:lnTo>
                      <a:pt x="317" y="375"/>
                    </a:lnTo>
                    <a:lnTo>
                      <a:pt x="317" y="377"/>
                    </a:lnTo>
                    <a:lnTo>
                      <a:pt x="316" y="377"/>
                    </a:lnTo>
                    <a:lnTo>
                      <a:pt x="316" y="379"/>
                    </a:lnTo>
                    <a:lnTo>
                      <a:pt x="314" y="379"/>
                    </a:lnTo>
                    <a:lnTo>
                      <a:pt x="314" y="380"/>
                    </a:lnTo>
                    <a:lnTo>
                      <a:pt x="316" y="380"/>
                    </a:lnTo>
                    <a:lnTo>
                      <a:pt x="316" y="382"/>
                    </a:lnTo>
                    <a:lnTo>
                      <a:pt x="314" y="382"/>
                    </a:lnTo>
                    <a:lnTo>
                      <a:pt x="314" y="380"/>
                    </a:lnTo>
                    <a:lnTo>
                      <a:pt x="312" y="380"/>
                    </a:lnTo>
                    <a:lnTo>
                      <a:pt x="312" y="382"/>
                    </a:lnTo>
                    <a:lnTo>
                      <a:pt x="310" y="380"/>
                    </a:lnTo>
                    <a:lnTo>
                      <a:pt x="310" y="382"/>
                    </a:lnTo>
                    <a:lnTo>
                      <a:pt x="310" y="384"/>
                    </a:lnTo>
                    <a:lnTo>
                      <a:pt x="310" y="382"/>
                    </a:lnTo>
                    <a:lnTo>
                      <a:pt x="308" y="384"/>
                    </a:lnTo>
                    <a:lnTo>
                      <a:pt x="308" y="382"/>
                    </a:lnTo>
                    <a:lnTo>
                      <a:pt x="306" y="382"/>
                    </a:lnTo>
                    <a:lnTo>
                      <a:pt x="306" y="380"/>
                    </a:lnTo>
                    <a:lnTo>
                      <a:pt x="306" y="379"/>
                    </a:lnTo>
                    <a:lnTo>
                      <a:pt x="304" y="379"/>
                    </a:lnTo>
                    <a:lnTo>
                      <a:pt x="304" y="377"/>
                    </a:lnTo>
                    <a:lnTo>
                      <a:pt x="306" y="377"/>
                    </a:lnTo>
                    <a:lnTo>
                      <a:pt x="304" y="377"/>
                    </a:lnTo>
                    <a:lnTo>
                      <a:pt x="304" y="375"/>
                    </a:lnTo>
                    <a:lnTo>
                      <a:pt x="304" y="373"/>
                    </a:lnTo>
                    <a:lnTo>
                      <a:pt x="304" y="371"/>
                    </a:lnTo>
                    <a:lnTo>
                      <a:pt x="304" y="373"/>
                    </a:lnTo>
                    <a:lnTo>
                      <a:pt x="304" y="371"/>
                    </a:lnTo>
                    <a:lnTo>
                      <a:pt x="306" y="371"/>
                    </a:lnTo>
                    <a:lnTo>
                      <a:pt x="306" y="373"/>
                    </a:lnTo>
                    <a:lnTo>
                      <a:pt x="306" y="371"/>
                    </a:lnTo>
                    <a:lnTo>
                      <a:pt x="306" y="369"/>
                    </a:lnTo>
                    <a:lnTo>
                      <a:pt x="306" y="367"/>
                    </a:lnTo>
                    <a:lnTo>
                      <a:pt x="306" y="369"/>
                    </a:lnTo>
                    <a:lnTo>
                      <a:pt x="306" y="367"/>
                    </a:lnTo>
                    <a:lnTo>
                      <a:pt x="306" y="369"/>
                    </a:lnTo>
                    <a:lnTo>
                      <a:pt x="306" y="367"/>
                    </a:lnTo>
                    <a:lnTo>
                      <a:pt x="306" y="365"/>
                    </a:lnTo>
                    <a:lnTo>
                      <a:pt x="306" y="363"/>
                    </a:lnTo>
                    <a:lnTo>
                      <a:pt x="308" y="363"/>
                    </a:lnTo>
                    <a:lnTo>
                      <a:pt x="308" y="365"/>
                    </a:lnTo>
                    <a:lnTo>
                      <a:pt x="308" y="363"/>
                    </a:lnTo>
                    <a:lnTo>
                      <a:pt x="308" y="361"/>
                    </a:lnTo>
                    <a:lnTo>
                      <a:pt x="308" y="363"/>
                    </a:lnTo>
                    <a:lnTo>
                      <a:pt x="308" y="361"/>
                    </a:lnTo>
                    <a:lnTo>
                      <a:pt x="308" y="359"/>
                    </a:lnTo>
                    <a:lnTo>
                      <a:pt x="308" y="357"/>
                    </a:lnTo>
                    <a:lnTo>
                      <a:pt x="308" y="355"/>
                    </a:lnTo>
                    <a:lnTo>
                      <a:pt x="310" y="355"/>
                    </a:lnTo>
                    <a:lnTo>
                      <a:pt x="312" y="354"/>
                    </a:lnTo>
                    <a:lnTo>
                      <a:pt x="312" y="352"/>
                    </a:lnTo>
                    <a:lnTo>
                      <a:pt x="312" y="350"/>
                    </a:lnTo>
                    <a:lnTo>
                      <a:pt x="314" y="350"/>
                    </a:lnTo>
                    <a:lnTo>
                      <a:pt x="312" y="350"/>
                    </a:lnTo>
                    <a:lnTo>
                      <a:pt x="314" y="350"/>
                    </a:lnTo>
                    <a:lnTo>
                      <a:pt x="312" y="350"/>
                    </a:lnTo>
                    <a:lnTo>
                      <a:pt x="314" y="352"/>
                    </a:lnTo>
                    <a:lnTo>
                      <a:pt x="312" y="352"/>
                    </a:lnTo>
                    <a:lnTo>
                      <a:pt x="314" y="350"/>
                    </a:lnTo>
                    <a:lnTo>
                      <a:pt x="314" y="348"/>
                    </a:lnTo>
                    <a:lnTo>
                      <a:pt x="314" y="346"/>
                    </a:lnTo>
                    <a:lnTo>
                      <a:pt x="314" y="344"/>
                    </a:lnTo>
                    <a:lnTo>
                      <a:pt x="314" y="346"/>
                    </a:lnTo>
                    <a:lnTo>
                      <a:pt x="314" y="344"/>
                    </a:lnTo>
                    <a:lnTo>
                      <a:pt x="316" y="344"/>
                    </a:lnTo>
                    <a:lnTo>
                      <a:pt x="314" y="344"/>
                    </a:lnTo>
                    <a:lnTo>
                      <a:pt x="316" y="344"/>
                    </a:lnTo>
                    <a:lnTo>
                      <a:pt x="316" y="342"/>
                    </a:lnTo>
                    <a:lnTo>
                      <a:pt x="317" y="342"/>
                    </a:lnTo>
                    <a:lnTo>
                      <a:pt x="317" y="340"/>
                    </a:lnTo>
                    <a:lnTo>
                      <a:pt x="319" y="340"/>
                    </a:lnTo>
                    <a:lnTo>
                      <a:pt x="319" y="338"/>
                    </a:lnTo>
                    <a:lnTo>
                      <a:pt x="321" y="338"/>
                    </a:lnTo>
                    <a:lnTo>
                      <a:pt x="321" y="336"/>
                    </a:lnTo>
                    <a:lnTo>
                      <a:pt x="323" y="336"/>
                    </a:lnTo>
                    <a:lnTo>
                      <a:pt x="323" y="334"/>
                    </a:lnTo>
                    <a:lnTo>
                      <a:pt x="325" y="334"/>
                    </a:lnTo>
                    <a:lnTo>
                      <a:pt x="329" y="340"/>
                    </a:lnTo>
                    <a:lnTo>
                      <a:pt x="329" y="346"/>
                    </a:lnTo>
                    <a:lnTo>
                      <a:pt x="333" y="352"/>
                    </a:lnTo>
                    <a:lnTo>
                      <a:pt x="337" y="355"/>
                    </a:lnTo>
                    <a:lnTo>
                      <a:pt x="340" y="359"/>
                    </a:lnTo>
                    <a:lnTo>
                      <a:pt x="342" y="361"/>
                    </a:lnTo>
                    <a:lnTo>
                      <a:pt x="344" y="367"/>
                    </a:lnTo>
                    <a:lnTo>
                      <a:pt x="346" y="369"/>
                    </a:lnTo>
                    <a:lnTo>
                      <a:pt x="348" y="371"/>
                    </a:lnTo>
                    <a:lnTo>
                      <a:pt x="348" y="373"/>
                    </a:lnTo>
                    <a:lnTo>
                      <a:pt x="352" y="373"/>
                    </a:lnTo>
                    <a:lnTo>
                      <a:pt x="354" y="375"/>
                    </a:lnTo>
                    <a:lnTo>
                      <a:pt x="354" y="377"/>
                    </a:lnTo>
                    <a:lnTo>
                      <a:pt x="356" y="377"/>
                    </a:lnTo>
                    <a:lnTo>
                      <a:pt x="356" y="379"/>
                    </a:lnTo>
                    <a:lnTo>
                      <a:pt x="358" y="379"/>
                    </a:lnTo>
                    <a:lnTo>
                      <a:pt x="360" y="380"/>
                    </a:lnTo>
                    <a:lnTo>
                      <a:pt x="362" y="382"/>
                    </a:lnTo>
                    <a:lnTo>
                      <a:pt x="364" y="384"/>
                    </a:lnTo>
                    <a:lnTo>
                      <a:pt x="365" y="388"/>
                    </a:lnTo>
                    <a:lnTo>
                      <a:pt x="367" y="392"/>
                    </a:lnTo>
                    <a:lnTo>
                      <a:pt x="371" y="398"/>
                    </a:lnTo>
                    <a:lnTo>
                      <a:pt x="373" y="403"/>
                    </a:lnTo>
                    <a:lnTo>
                      <a:pt x="381" y="407"/>
                    </a:lnTo>
                    <a:lnTo>
                      <a:pt x="387" y="411"/>
                    </a:lnTo>
                    <a:lnTo>
                      <a:pt x="390" y="409"/>
                    </a:lnTo>
                    <a:lnTo>
                      <a:pt x="390" y="405"/>
                    </a:lnTo>
                    <a:lnTo>
                      <a:pt x="394" y="403"/>
                    </a:lnTo>
                    <a:lnTo>
                      <a:pt x="396" y="402"/>
                    </a:lnTo>
                    <a:lnTo>
                      <a:pt x="398" y="402"/>
                    </a:lnTo>
                    <a:lnTo>
                      <a:pt x="400" y="403"/>
                    </a:lnTo>
                    <a:lnTo>
                      <a:pt x="402" y="402"/>
                    </a:lnTo>
                    <a:lnTo>
                      <a:pt x="404" y="398"/>
                    </a:lnTo>
                    <a:lnTo>
                      <a:pt x="410" y="402"/>
                    </a:lnTo>
                    <a:lnTo>
                      <a:pt x="414" y="403"/>
                    </a:lnTo>
                    <a:lnTo>
                      <a:pt x="415" y="403"/>
                    </a:lnTo>
                    <a:lnTo>
                      <a:pt x="419" y="405"/>
                    </a:lnTo>
                    <a:lnTo>
                      <a:pt x="423" y="407"/>
                    </a:lnTo>
                    <a:lnTo>
                      <a:pt x="425" y="409"/>
                    </a:lnTo>
                    <a:lnTo>
                      <a:pt x="423" y="415"/>
                    </a:lnTo>
                    <a:lnTo>
                      <a:pt x="421" y="419"/>
                    </a:lnTo>
                    <a:lnTo>
                      <a:pt x="419" y="423"/>
                    </a:lnTo>
                    <a:lnTo>
                      <a:pt x="417" y="427"/>
                    </a:lnTo>
                    <a:lnTo>
                      <a:pt x="412" y="440"/>
                    </a:lnTo>
                    <a:lnTo>
                      <a:pt x="410" y="444"/>
                    </a:lnTo>
                    <a:lnTo>
                      <a:pt x="402" y="459"/>
                    </a:lnTo>
                    <a:lnTo>
                      <a:pt x="404" y="461"/>
                    </a:lnTo>
                    <a:lnTo>
                      <a:pt x="406" y="461"/>
                    </a:lnTo>
                    <a:lnTo>
                      <a:pt x="414" y="463"/>
                    </a:lnTo>
                    <a:lnTo>
                      <a:pt x="415" y="463"/>
                    </a:lnTo>
                    <a:lnTo>
                      <a:pt x="417" y="463"/>
                    </a:lnTo>
                    <a:lnTo>
                      <a:pt x="417" y="471"/>
                    </a:lnTo>
                    <a:lnTo>
                      <a:pt x="417" y="475"/>
                    </a:lnTo>
                    <a:lnTo>
                      <a:pt x="417" y="477"/>
                    </a:lnTo>
                    <a:lnTo>
                      <a:pt x="417" y="484"/>
                    </a:lnTo>
                    <a:lnTo>
                      <a:pt x="417" y="486"/>
                    </a:lnTo>
                    <a:lnTo>
                      <a:pt x="417" y="490"/>
                    </a:lnTo>
                    <a:lnTo>
                      <a:pt x="419" y="496"/>
                    </a:lnTo>
                    <a:lnTo>
                      <a:pt x="421" y="500"/>
                    </a:lnTo>
                    <a:lnTo>
                      <a:pt x="423" y="502"/>
                    </a:lnTo>
                    <a:lnTo>
                      <a:pt x="421" y="505"/>
                    </a:lnTo>
                    <a:lnTo>
                      <a:pt x="419" y="505"/>
                    </a:lnTo>
                    <a:lnTo>
                      <a:pt x="415" y="513"/>
                    </a:lnTo>
                    <a:lnTo>
                      <a:pt x="414" y="515"/>
                    </a:lnTo>
                    <a:lnTo>
                      <a:pt x="414" y="517"/>
                    </a:lnTo>
                    <a:lnTo>
                      <a:pt x="404" y="509"/>
                    </a:lnTo>
                    <a:lnTo>
                      <a:pt x="402" y="509"/>
                    </a:lnTo>
                    <a:lnTo>
                      <a:pt x="394" y="503"/>
                    </a:lnTo>
                    <a:lnTo>
                      <a:pt x="392" y="505"/>
                    </a:lnTo>
                    <a:lnTo>
                      <a:pt x="392" y="507"/>
                    </a:lnTo>
                    <a:lnTo>
                      <a:pt x="390" y="509"/>
                    </a:lnTo>
                    <a:lnTo>
                      <a:pt x="389" y="511"/>
                    </a:lnTo>
                    <a:lnTo>
                      <a:pt x="387" y="509"/>
                    </a:lnTo>
                    <a:lnTo>
                      <a:pt x="383" y="505"/>
                    </a:lnTo>
                    <a:lnTo>
                      <a:pt x="379" y="502"/>
                    </a:lnTo>
                    <a:lnTo>
                      <a:pt x="377" y="502"/>
                    </a:lnTo>
                    <a:lnTo>
                      <a:pt x="375" y="503"/>
                    </a:lnTo>
                    <a:lnTo>
                      <a:pt x="373" y="507"/>
                    </a:lnTo>
                    <a:lnTo>
                      <a:pt x="371" y="507"/>
                    </a:lnTo>
                    <a:lnTo>
                      <a:pt x="371" y="509"/>
                    </a:lnTo>
                    <a:lnTo>
                      <a:pt x="369" y="507"/>
                    </a:lnTo>
                    <a:lnTo>
                      <a:pt x="367" y="505"/>
                    </a:lnTo>
                    <a:lnTo>
                      <a:pt x="364" y="502"/>
                    </a:lnTo>
                    <a:lnTo>
                      <a:pt x="364" y="503"/>
                    </a:lnTo>
                    <a:lnTo>
                      <a:pt x="362" y="505"/>
                    </a:lnTo>
                    <a:lnTo>
                      <a:pt x="358" y="509"/>
                    </a:lnTo>
                    <a:lnTo>
                      <a:pt x="356" y="509"/>
                    </a:lnTo>
                    <a:lnTo>
                      <a:pt x="354" y="507"/>
                    </a:lnTo>
                    <a:lnTo>
                      <a:pt x="352" y="505"/>
                    </a:lnTo>
                    <a:lnTo>
                      <a:pt x="352" y="503"/>
                    </a:lnTo>
                    <a:lnTo>
                      <a:pt x="352" y="502"/>
                    </a:lnTo>
                    <a:lnTo>
                      <a:pt x="354" y="500"/>
                    </a:lnTo>
                    <a:lnTo>
                      <a:pt x="352" y="498"/>
                    </a:lnTo>
                    <a:lnTo>
                      <a:pt x="348" y="496"/>
                    </a:lnTo>
                    <a:lnTo>
                      <a:pt x="335" y="488"/>
                    </a:lnTo>
                    <a:lnTo>
                      <a:pt x="333" y="486"/>
                    </a:lnTo>
                    <a:lnTo>
                      <a:pt x="321" y="482"/>
                    </a:lnTo>
                    <a:lnTo>
                      <a:pt x="319" y="482"/>
                    </a:lnTo>
                    <a:lnTo>
                      <a:pt x="317" y="480"/>
                    </a:lnTo>
                    <a:lnTo>
                      <a:pt x="316" y="480"/>
                    </a:lnTo>
                    <a:lnTo>
                      <a:pt x="314" y="480"/>
                    </a:lnTo>
                    <a:lnTo>
                      <a:pt x="310" y="480"/>
                    </a:lnTo>
                    <a:lnTo>
                      <a:pt x="308" y="480"/>
                    </a:lnTo>
                    <a:lnTo>
                      <a:pt x="302" y="477"/>
                    </a:lnTo>
                    <a:lnTo>
                      <a:pt x="298" y="473"/>
                    </a:lnTo>
                    <a:lnTo>
                      <a:pt x="296" y="473"/>
                    </a:lnTo>
                    <a:lnTo>
                      <a:pt x="294" y="473"/>
                    </a:lnTo>
                    <a:lnTo>
                      <a:pt x="291" y="473"/>
                    </a:lnTo>
                    <a:lnTo>
                      <a:pt x="289" y="473"/>
                    </a:lnTo>
                    <a:lnTo>
                      <a:pt x="287" y="473"/>
                    </a:lnTo>
                    <a:lnTo>
                      <a:pt x="283" y="473"/>
                    </a:lnTo>
                    <a:lnTo>
                      <a:pt x="283" y="475"/>
                    </a:lnTo>
                    <a:lnTo>
                      <a:pt x="283" y="477"/>
                    </a:lnTo>
                    <a:lnTo>
                      <a:pt x="283" y="478"/>
                    </a:lnTo>
                    <a:lnTo>
                      <a:pt x="285" y="480"/>
                    </a:lnTo>
                    <a:lnTo>
                      <a:pt x="285" y="482"/>
                    </a:lnTo>
                    <a:lnTo>
                      <a:pt x="285" y="484"/>
                    </a:lnTo>
                    <a:lnTo>
                      <a:pt x="287" y="486"/>
                    </a:lnTo>
                    <a:lnTo>
                      <a:pt x="287" y="488"/>
                    </a:lnTo>
                    <a:lnTo>
                      <a:pt x="289" y="492"/>
                    </a:lnTo>
                    <a:lnTo>
                      <a:pt x="291" y="494"/>
                    </a:lnTo>
                    <a:lnTo>
                      <a:pt x="292" y="494"/>
                    </a:lnTo>
                    <a:lnTo>
                      <a:pt x="292" y="496"/>
                    </a:lnTo>
                    <a:lnTo>
                      <a:pt x="294" y="496"/>
                    </a:lnTo>
                    <a:lnTo>
                      <a:pt x="294" y="498"/>
                    </a:lnTo>
                    <a:lnTo>
                      <a:pt x="296" y="500"/>
                    </a:lnTo>
                    <a:lnTo>
                      <a:pt x="298" y="502"/>
                    </a:lnTo>
                    <a:lnTo>
                      <a:pt x="300" y="503"/>
                    </a:lnTo>
                    <a:lnTo>
                      <a:pt x="302" y="507"/>
                    </a:lnTo>
                    <a:lnTo>
                      <a:pt x="302" y="511"/>
                    </a:lnTo>
                    <a:lnTo>
                      <a:pt x="304" y="515"/>
                    </a:lnTo>
                    <a:lnTo>
                      <a:pt x="304" y="519"/>
                    </a:lnTo>
                    <a:lnTo>
                      <a:pt x="304" y="525"/>
                    </a:lnTo>
                    <a:lnTo>
                      <a:pt x="304" y="527"/>
                    </a:lnTo>
                    <a:lnTo>
                      <a:pt x="304" y="528"/>
                    </a:lnTo>
                    <a:lnTo>
                      <a:pt x="302" y="528"/>
                    </a:lnTo>
                    <a:lnTo>
                      <a:pt x="302" y="532"/>
                    </a:lnTo>
                    <a:lnTo>
                      <a:pt x="300" y="532"/>
                    </a:lnTo>
                    <a:lnTo>
                      <a:pt x="298" y="532"/>
                    </a:lnTo>
                    <a:lnTo>
                      <a:pt x="298" y="534"/>
                    </a:lnTo>
                    <a:lnTo>
                      <a:pt x="296" y="540"/>
                    </a:lnTo>
                    <a:lnTo>
                      <a:pt x="294" y="540"/>
                    </a:lnTo>
                    <a:lnTo>
                      <a:pt x="294" y="542"/>
                    </a:lnTo>
                    <a:lnTo>
                      <a:pt x="296" y="542"/>
                    </a:lnTo>
                    <a:lnTo>
                      <a:pt x="294" y="542"/>
                    </a:lnTo>
                    <a:lnTo>
                      <a:pt x="296" y="542"/>
                    </a:lnTo>
                    <a:lnTo>
                      <a:pt x="296" y="544"/>
                    </a:lnTo>
                    <a:lnTo>
                      <a:pt x="296" y="546"/>
                    </a:lnTo>
                    <a:lnTo>
                      <a:pt x="294" y="546"/>
                    </a:lnTo>
                    <a:lnTo>
                      <a:pt x="296" y="548"/>
                    </a:lnTo>
                    <a:lnTo>
                      <a:pt x="298" y="552"/>
                    </a:lnTo>
                    <a:lnTo>
                      <a:pt x="300" y="553"/>
                    </a:lnTo>
                    <a:lnTo>
                      <a:pt x="300" y="557"/>
                    </a:lnTo>
                    <a:lnTo>
                      <a:pt x="304" y="559"/>
                    </a:lnTo>
                    <a:lnTo>
                      <a:pt x="304" y="561"/>
                    </a:lnTo>
                    <a:lnTo>
                      <a:pt x="302" y="561"/>
                    </a:lnTo>
                    <a:lnTo>
                      <a:pt x="302" y="563"/>
                    </a:lnTo>
                    <a:lnTo>
                      <a:pt x="300" y="565"/>
                    </a:lnTo>
                    <a:lnTo>
                      <a:pt x="298" y="565"/>
                    </a:lnTo>
                    <a:lnTo>
                      <a:pt x="294" y="567"/>
                    </a:lnTo>
                    <a:lnTo>
                      <a:pt x="296" y="569"/>
                    </a:lnTo>
                    <a:lnTo>
                      <a:pt x="294" y="569"/>
                    </a:lnTo>
                    <a:lnTo>
                      <a:pt x="291" y="571"/>
                    </a:lnTo>
                    <a:lnTo>
                      <a:pt x="287" y="571"/>
                    </a:lnTo>
                    <a:lnTo>
                      <a:pt x="285" y="571"/>
                    </a:lnTo>
                    <a:lnTo>
                      <a:pt x="283" y="571"/>
                    </a:lnTo>
                    <a:lnTo>
                      <a:pt x="283" y="575"/>
                    </a:lnTo>
                    <a:lnTo>
                      <a:pt x="281" y="578"/>
                    </a:lnTo>
                    <a:lnTo>
                      <a:pt x="281" y="582"/>
                    </a:lnTo>
                    <a:lnTo>
                      <a:pt x="281" y="584"/>
                    </a:lnTo>
                    <a:lnTo>
                      <a:pt x="279" y="588"/>
                    </a:lnTo>
                    <a:lnTo>
                      <a:pt x="279" y="590"/>
                    </a:lnTo>
                    <a:lnTo>
                      <a:pt x="277" y="590"/>
                    </a:lnTo>
                    <a:lnTo>
                      <a:pt x="275" y="596"/>
                    </a:lnTo>
                    <a:lnTo>
                      <a:pt x="271" y="602"/>
                    </a:lnTo>
                    <a:lnTo>
                      <a:pt x="275" y="603"/>
                    </a:lnTo>
                    <a:lnTo>
                      <a:pt x="273" y="609"/>
                    </a:lnTo>
                    <a:lnTo>
                      <a:pt x="271" y="613"/>
                    </a:lnTo>
                    <a:lnTo>
                      <a:pt x="273" y="615"/>
                    </a:lnTo>
                    <a:lnTo>
                      <a:pt x="277" y="617"/>
                    </a:lnTo>
                    <a:lnTo>
                      <a:pt x="283" y="607"/>
                    </a:lnTo>
                    <a:lnTo>
                      <a:pt x="289" y="611"/>
                    </a:lnTo>
                    <a:lnTo>
                      <a:pt x="298" y="617"/>
                    </a:lnTo>
                    <a:lnTo>
                      <a:pt x="298" y="619"/>
                    </a:lnTo>
                    <a:lnTo>
                      <a:pt x="300" y="615"/>
                    </a:lnTo>
                    <a:lnTo>
                      <a:pt x="302" y="611"/>
                    </a:lnTo>
                    <a:lnTo>
                      <a:pt x="300" y="607"/>
                    </a:lnTo>
                    <a:lnTo>
                      <a:pt x="304" y="603"/>
                    </a:lnTo>
                    <a:lnTo>
                      <a:pt x="306" y="602"/>
                    </a:lnTo>
                    <a:lnTo>
                      <a:pt x="306" y="600"/>
                    </a:lnTo>
                    <a:lnTo>
                      <a:pt x="312" y="594"/>
                    </a:lnTo>
                    <a:lnTo>
                      <a:pt x="316" y="598"/>
                    </a:lnTo>
                    <a:lnTo>
                      <a:pt x="319" y="600"/>
                    </a:lnTo>
                    <a:lnTo>
                      <a:pt x="321" y="598"/>
                    </a:lnTo>
                    <a:lnTo>
                      <a:pt x="321" y="596"/>
                    </a:lnTo>
                    <a:lnTo>
                      <a:pt x="323" y="594"/>
                    </a:lnTo>
                    <a:lnTo>
                      <a:pt x="325" y="592"/>
                    </a:lnTo>
                    <a:lnTo>
                      <a:pt x="327" y="594"/>
                    </a:lnTo>
                    <a:lnTo>
                      <a:pt x="331" y="596"/>
                    </a:lnTo>
                    <a:lnTo>
                      <a:pt x="335" y="600"/>
                    </a:lnTo>
                    <a:lnTo>
                      <a:pt x="337" y="602"/>
                    </a:lnTo>
                    <a:lnTo>
                      <a:pt x="344" y="605"/>
                    </a:lnTo>
                    <a:lnTo>
                      <a:pt x="344" y="607"/>
                    </a:lnTo>
                    <a:lnTo>
                      <a:pt x="346" y="607"/>
                    </a:lnTo>
                    <a:lnTo>
                      <a:pt x="344" y="609"/>
                    </a:lnTo>
                    <a:lnTo>
                      <a:pt x="342" y="611"/>
                    </a:lnTo>
                    <a:lnTo>
                      <a:pt x="339" y="615"/>
                    </a:lnTo>
                    <a:lnTo>
                      <a:pt x="339" y="617"/>
                    </a:lnTo>
                    <a:lnTo>
                      <a:pt x="335" y="621"/>
                    </a:lnTo>
                    <a:lnTo>
                      <a:pt x="331" y="627"/>
                    </a:lnTo>
                    <a:lnTo>
                      <a:pt x="329" y="628"/>
                    </a:lnTo>
                    <a:lnTo>
                      <a:pt x="327" y="632"/>
                    </a:lnTo>
                    <a:lnTo>
                      <a:pt x="323" y="636"/>
                    </a:lnTo>
                    <a:lnTo>
                      <a:pt x="319" y="642"/>
                    </a:lnTo>
                    <a:lnTo>
                      <a:pt x="317" y="640"/>
                    </a:lnTo>
                    <a:lnTo>
                      <a:pt x="317" y="642"/>
                    </a:lnTo>
                    <a:lnTo>
                      <a:pt x="316" y="642"/>
                    </a:lnTo>
                    <a:lnTo>
                      <a:pt x="312" y="646"/>
                    </a:lnTo>
                    <a:lnTo>
                      <a:pt x="310" y="650"/>
                    </a:lnTo>
                    <a:lnTo>
                      <a:pt x="300" y="663"/>
                    </a:lnTo>
                    <a:lnTo>
                      <a:pt x="298" y="665"/>
                    </a:lnTo>
                    <a:lnTo>
                      <a:pt x="296" y="665"/>
                    </a:lnTo>
                    <a:lnTo>
                      <a:pt x="298" y="667"/>
                    </a:lnTo>
                    <a:lnTo>
                      <a:pt x="302" y="671"/>
                    </a:lnTo>
                    <a:lnTo>
                      <a:pt x="304" y="671"/>
                    </a:lnTo>
                    <a:lnTo>
                      <a:pt x="308" y="675"/>
                    </a:lnTo>
                    <a:lnTo>
                      <a:pt x="292" y="694"/>
                    </a:lnTo>
                    <a:lnTo>
                      <a:pt x="291" y="698"/>
                    </a:lnTo>
                    <a:lnTo>
                      <a:pt x="285" y="694"/>
                    </a:lnTo>
                    <a:lnTo>
                      <a:pt x="279" y="696"/>
                    </a:lnTo>
                    <a:lnTo>
                      <a:pt x="279" y="694"/>
                    </a:lnTo>
                    <a:lnTo>
                      <a:pt x="277" y="694"/>
                    </a:lnTo>
                    <a:lnTo>
                      <a:pt x="275" y="694"/>
                    </a:lnTo>
                    <a:lnTo>
                      <a:pt x="266" y="694"/>
                    </a:lnTo>
                    <a:lnTo>
                      <a:pt x="264" y="694"/>
                    </a:lnTo>
                    <a:lnTo>
                      <a:pt x="258" y="701"/>
                    </a:lnTo>
                    <a:lnTo>
                      <a:pt x="256" y="705"/>
                    </a:lnTo>
                    <a:lnTo>
                      <a:pt x="252" y="701"/>
                    </a:lnTo>
                    <a:lnTo>
                      <a:pt x="246" y="696"/>
                    </a:lnTo>
                    <a:lnTo>
                      <a:pt x="246" y="694"/>
                    </a:lnTo>
                    <a:lnTo>
                      <a:pt x="248" y="694"/>
                    </a:lnTo>
                    <a:lnTo>
                      <a:pt x="250" y="690"/>
                    </a:lnTo>
                    <a:lnTo>
                      <a:pt x="248" y="688"/>
                    </a:lnTo>
                    <a:lnTo>
                      <a:pt x="246" y="688"/>
                    </a:lnTo>
                    <a:lnTo>
                      <a:pt x="246" y="686"/>
                    </a:lnTo>
                    <a:lnTo>
                      <a:pt x="244" y="684"/>
                    </a:lnTo>
                    <a:lnTo>
                      <a:pt x="243" y="684"/>
                    </a:lnTo>
                    <a:lnTo>
                      <a:pt x="243" y="682"/>
                    </a:lnTo>
                    <a:lnTo>
                      <a:pt x="243" y="680"/>
                    </a:lnTo>
                    <a:lnTo>
                      <a:pt x="239" y="680"/>
                    </a:lnTo>
                    <a:lnTo>
                      <a:pt x="237" y="680"/>
                    </a:lnTo>
                    <a:lnTo>
                      <a:pt x="237" y="678"/>
                    </a:lnTo>
                    <a:lnTo>
                      <a:pt x="231" y="675"/>
                    </a:lnTo>
                    <a:lnTo>
                      <a:pt x="231" y="676"/>
                    </a:lnTo>
                    <a:lnTo>
                      <a:pt x="231" y="678"/>
                    </a:lnTo>
                    <a:lnTo>
                      <a:pt x="229" y="678"/>
                    </a:lnTo>
                    <a:lnTo>
                      <a:pt x="227" y="678"/>
                    </a:lnTo>
                    <a:lnTo>
                      <a:pt x="227" y="680"/>
                    </a:lnTo>
                    <a:lnTo>
                      <a:pt x="225" y="680"/>
                    </a:lnTo>
                    <a:lnTo>
                      <a:pt x="221" y="686"/>
                    </a:lnTo>
                    <a:lnTo>
                      <a:pt x="218" y="684"/>
                    </a:lnTo>
                    <a:lnTo>
                      <a:pt x="218" y="682"/>
                    </a:lnTo>
                    <a:lnTo>
                      <a:pt x="216" y="680"/>
                    </a:lnTo>
                    <a:lnTo>
                      <a:pt x="218" y="676"/>
                    </a:lnTo>
                    <a:lnTo>
                      <a:pt x="218" y="675"/>
                    </a:lnTo>
                    <a:lnTo>
                      <a:pt x="216" y="675"/>
                    </a:lnTo>
                    <a:lnTo>
                      <a:pt x="216" y="673"/>
                    </a:lnTo>
                    <a:lnTo>
                      <a:pt x="214" y="673"/>
                    </a:lnTo>
                    <a:lnTo>
                      <a:pt x="214" y="671"/>
                    </a:lnTo>
                    <a:lnTo>
                      <a:pt x="212" y="671"/>
                    </a:lnTo>
                    <a:lnTo>
                      <a:pt x="212" y="669"/>
                    </a:lnTo>
                    <a:lnTo>
                      <a:pt x="214" y="669"/>
                    </a:lnTo>
                    <a:lnTo>
                      <a:pt x="214" y="667"/>
                    </a:lnTo>
                    <a:lnTo>
                      <a:pt x="212" y="667"/>
                    </a:lnTo>
                    <a:lnTo>
                      <a:pt x="212" y="669"/>
                    </a:lnTo>
                    <a:lnTo>
                      <a:pt x="210" y="669"/>
                    </a:lnTo>
                    <a:lnTo>
                      <a:pt x="210" y="667"/>
                    </a:lnTo>
                    <a:lnTo>
                      <a:pt x="208" y="667"/>
                    </a:lnTo>
                    <a:lnTo>
                      <a:pt x="206" y="667"/>
                    </a:lnTo>
                    <a:lnTo>
                      <a:pt x="206" y="669"/>
                    </a:lnTo>
                    <a:lnTo>
                      <a:pt x="193" y="659"/>
                    </a:lnTo>
                    <a:lnTo>
                      <a:pt x="196" y="655"/>
                    </a:lnTo>
                    <a:lnTo>
                      <a:pt x="198" y="650"/>
                    </a:lnTo>
                    <a:lnTo>
                      <a:pt x="194" y="648"/>
                    </a:lnTo>
                    <a:lnTo>
                      <a:pt x="193" y="646"/>
                    </a:lnTo>
                    <a:lnTo>
                      <a:pt x="191" y="644"/>
                    </a:lnTo>
                    <a:lnTo>
                      <a:pt x="189" y="642"/>
                    </a:lnTo>
                    <a:lnTo>
                      <a:pt x="187" y="642"/>
                    </a:lnTo>
                    <a:lnTo>
                      <a:pt x="175" y="657"/>
                    </a:lnTo>
                    <a:lnTo>
                      <a:pt x="173" y="655"/>
                    </a:lnTo>
                    <a:lnTo>
                      <a:pt x="171" y="653"/>
                    </a:lnTo>
                    <a:lnTo>
                      <a:pt x="164" y="650"/>
                    </a:lnTo>
                    <a:lnTo>
                      <a:pt x="162" y="648"/>
                    </a:lnTo>
                    <a:lnTo>
                      <a:pt x="154" y="640"/>
                    </a:lnTo>
                    <a:lnTo>
                      <a:pt x="150" y="638"/>
                    </a:lnTo>
                    <a:lnTo>
                      <a:pt x="152" y="636"/>
                    </a:lnTo>
                    <a:lnTo>
                      <a:pt x="154" y="632"/>
                    </a:lnTo>
                    <a:lnTo>
                      <a:pt x="152" y="632"/>
                    </a:lnTo>
                    <a:lnTo>
                      <a:pt x="150" y="630"/>
                    </a:lnTo>
                    <a:lnTo>
                      <a:pt x="148" y="630"/>
                    </a:lnTo>
                    <a:lnTo>
                      <a:pt x="146" y="630"/>
                    </a:lnTo>
                    <a:lnTo>
                      <a:pt x="145" y="630"/>
                    </a:lnTo>
                    <a:lnTo>
                      <a:pt x="145" y="628"/>
                    </a:lnTo>
                    <a:lnTo>
                      <a:pt x="143" y="628"/>
                    </a:lnTo>
                    <a:lnTo>
                      <a:pt x="139" y="632"/>
                    </a:lnTo>
                    <a:lnTo>
                      <a:pt x="139" y="634"/>
                    </a:lnTo>
                    <a:lnTo>
                      <a:pt x="137" y="634"/>
                    </a:lnTo>
                    <a:lnTo>
                      <a:pt x="139" y="636"/>
                    </a:lnTo>
                    <a:lnTo>
                      <a:pt x="137" y="636"/>
                    </a:lnTo>
                    <a:lnTo>
                      <a:pt x="135" y="634"/>
                    </a:lnTo>
                    <a:lnTo>
                      <a:pt x="135" y="636"/>
                    </a:lnTo>
                    <a:lnTo>
                      <a:pt x="133" y="636"/>
                    </a:lnTo>
                    <a:lnTo>
                      <a:pt x="131" y="636"/>
                    </a:lnTo>
                    <a:lnTo>
                      <a:pt x="129" y="636"/>
                    </a:lnTo>
                    <a:lnTo>
                      <a:pt x="127" y="640"/>
                    </a:lnTo>
                    <a:lnTo>
                      <a:pt x="125" y="638"/>
                    </a:lnTo>
                    <a:lnTo>
                      <a:pt x="123" y="638"/>
                    </a:lnTo>
                    <a:lnTo>
                      <a:pt x="123" y="636"/>
                    </a:lnTo>
                    <a:lnTo>
                      <a:pt x="121" y="634"/>
                    </a:lnTo>
                    <a:lnTo>
                      <a:pt x="120" y="634"/>
                    </a:lnTo>
                    <a:lnTo>
                      <a:pt x="121" y="634"/>
                    </a:lnTo>
                    <a:lnTo>
                      <a:pt x="121" y="632"/>
                    </a:lnTo>
                    <a:lnTo>
                      <a:pt x="120" y="632"/>
                    </a:lnTo>
                    <a:lnTo>
                      <a:pt x="120" y="634"/>
                    </a:lnTo>
                    <a:lnTo>
                      <a:pt x="120" y="632"/>
                    </a:lnTo>
                    <a:lnTo>
                      <a:pt x="118" y="632"/>
                    </a:lnTo>
                    <a:lnTo>
                      <a:pt x="116" y="634"/>
                    </a:lnTo>
                    <a:lnTo>
                      <a:pt x="114" y="634"/>
                    </a:lnTo>
                    <a:lnTo>
                      <a:pt x="112" y="634"/>
                    </a:lnTo>
                    <a:lnTo>
                      <a:pt x="114" y="632"/>
                    </a:lnTo>
                    <a:lnTo>
                      <a:pt x="114" y="630"/>
                    </a:lnTo>
                    <a:lnTo>
                      <a:pt x="112" y="630"/>
                    </a:lnTo>
                    <a:lnTo>
                      <a:pt x="114" y="628"/>
                    </a:lnTo>
                    <a:lnTo>
                      <a:pt x="114" y="627"/>
                    </a:lnTo>
                    <a:lnTo>
                      <a:pt x="112" y="625"/>
                    </a:lnTo>
                    <a:lnTo>
                      <a:pt x="112" y="623"/>
                    </a:lnTo>
                    <a:lnTo>
                      <a:pt x="110" y="621"/>
                    </a:lnTo>
                    <a:lnTo>
                      <a:pt x="108" y="621"/>
                    </a:lnTo>
                    <a:lnTo>
                      <a:pt x="106" y="621"/>
                    </a:lnTo>
                    <a:lnTo>
                      <a:pt x="106" y="623"/>
                    </a:lnTo>
                    <a:lnTo>
                      <a:pt x="106" y="621"/>
                    </a:lnTo>
                    <a:lnTo>
                      <a:pt x="106" y="623"/>
                    </a:lnTo>
                    <a:lnTo>
                      <a:pt x="106" y="621"/>
                    </a:lnTo>
                    <a:lnTo>
                      <a:pt x="104" y="623"/>
                    </a:lnTo>
                    <a:lnTo>
                      <a:pt x="102" y="625"/>
                    </a:lnTo>
                    <a:lnTo>
                      <a:pt x="104" y="625"/>
                    </a:lnTo>
                    <a:lnTo>
                      <a:pt x="104" y="623"/>
                    </a:lnTo>
                    <a:lnTo>
                      <a:pt x="104" y="625"/>
                    </a:lnTo>
                    <a:lnTo>
                      <a:pt x="102" y="625"/>
                    </a:lnTo>
                    <a:lnTo>
                      <a:pt x="104" y="623"/>
                    </a:lnTo>
                    <a:lnTo>
                      <a:pt x="102" y="623"/>
                    </a:lnTo>
                    <a:lnTo>
                      <a:pt x="102" y="625"/>
                    </a:lnTo>
                    <a:lnTo>
                      <a:pt x="102" y="623"/>
                    </a:lnTo>
                    <a:lnTo>
                      <a:pt x="100" y="623"/>
                    </a:lnTo>
                    <a:lnTo>
                      <a:pt x="100" y="625"/>
                    </a:lnTo>
                    <a:lnTo>
                      <a:pt x="100" y="623"/>
                    </a:lnTo>
                    <a:lnTo>
                      <a:pt x="98" y="623"/>
                    </a:lnTo>
                    <a:lnTo>
                      <a:pt x="97" y="621"/>
                    </a:lnTo>
                    <a:lnTo>
                      <a:pt x="95" y="619"/>
                    </a:lnTo>
                    <a:lnTo>
                      <a:pt x="93" y="619"/>
                    </a:lnTo>
                    <a:lnTo>
                      <a:pt x="95" y="617"/>
                    </a:lnTo>
                    <a:lnTo>
                      <a:pt x="93" y="615"/>
                    </a:lnTo>
                    <a:lnTo>
                      <a:pt x="95" y="615"/>
                    </a:lnTo>
                    <a:lnTo>
                      <a:pt x="93" y="615"/>
                    </a:lnTo>
                    <a:lnTo>
                      <a:pt x="93" y="613"/>
                    </a:lnTo>
                    <a:lnTo>
                      <a:pt x="91" y="613"/>
                    </a:lnTo>
                    <a:lnTo>
                      <a:pt x="91" y="615"/>
                    </a:lnTo>
                    <a:lnTo>
                      <a:pt x="89" y="613"/>
                    </a:lnTo>
                    <a:lnTo>
                      <a:pt x="91" y="613"/>
                    </a:lnTo>
                    <a:lnTo>
                      <a:pt x="89" y="611"/>
                    </a:lnTo>
                    <a:lnTo>
                      <a:pt x="91" y="611"/>
                    </a:lnTo>
                    <a:lnTo>
                      <a:pt x="93" y="609"/>
                    </a:lnTo>
                    <a:lnTo>
                      <a:pt x="93" y="607"/>
                    </a:lnTo>
                    <a:lnTo>
                      <a:pt x="91" y="609"/>
                    </a:lnTo>
                    <a:lnTo>
                      <a:pt x="91" y="607"/>
                    </a:lnTo>
                    <a:lnTo>
                      <a:pt x="89" y="605"/>
                    </a:lnTo>
                    <a:lnTo>
                      <a:pt x="89" y="607"/>
                    </a:lnTo>
                    <a:lnTo>
                      <a:pt x="87" y="607"/>
                    </a:lnTo>
                    <a:lnTo>
                      <a:pt x="85" y="607"/>
                    </a:lnTo>
                    <a:lnTo>
                      <a:pt x="83" y="607"/>
                    </a:lnTo>
                    <a:lnTo>
                      <a:pt x="83" y="605"/>
                    </a:lnTo>
                    <a:lnTo>
                      <a:pt x="85" y="605"/>
                    </a:lnTo>
                    <a:lnTo>
                      <a:pt x="83" y="605"/>
                    </a:lnTo>
                    <a:lnTo>
                      <a:pt x="83" y="603"/>
                    </a:lnTo>
                    <a:lnTo>
                      <a:pt x="81" y="603"/>
                    </a:lnTo>
                    <a:lnTo>
                      <a:pt x="83" y="603"/>
                    </a:lnTo>
                    <a:lnTo>
                      <a:pt x="81" y="602"/>
                    </a:lnTo>
                    <a:lnTo>
                      <a:pt x="77" y="602"/>
                    </a:lnTo>
                    <a:lnTo>
                      <a:pt x="77" y="603"/>
                    </a:lnTo>
                    <a:lnTo>
                      <a:pt x="75" y="603"/>
                    </a:lnTo>
                    <a:lnTo>
                      <a:pt x="75" y="605"/>
                    </a:lnTo>
                    <a:lnTo>
                      <a:pt x="73" y="607"/>
                    </a:lnTo>
                    <a:lnTo>
                      <a:pt x="72" y="609"/>
                    </a:lnTo>
                    <a:lnTo>
                      <a:pt x="70" y="611"/>
                    </a:lnTo>
                    <a:lnTo>
                      <a:pt x="70" y="613"/>
                    </a:lnTo>
                    <a:lnTo>
                      <a:pt x="68" y="615"/>
                    </a:lnTo>
                    <a:lnTo>
                      <a:pt x="68" y="613"/>
                    </a:lnTo>
                    <a:lnTo>
                      <a:pt x="66" y="611"/>
                    </a:lnTo>
                    <a:lnTo>
                      <a:pt x="66" y="613"/>
                    </a:lnTo>
                    <a:lnTo>
                      <a:pt x="66" y="611"/>
                    </a:lnTo>
                    <a:lnTo>
                      <a:pt x="64" y="611"/>
                    </a:lnTo>
                    <a:lnTo>
                      <a:pt x="62" y="607"/>
                    </a:lnTo>
                    <a:lnTo>
                      <a:pt x="58" y="605"/>
                    </a:lnTo>
                    <a:lnTo>
                      <a:pt x="58" y="603"/>
                    </a:lnTo>
                    <a:lnTo>
                      <a:pt x="56" y="603"/>
                    </a:lnTo>
                    <a:lnTo>
                      <a:pt x="56" y="602"/>
                    </a:lnTo>
                    <a:lnTo>
                      <a:pt x="56" y="600"/>
                    </a:lnTo>
                    <a:lnTo>
                      <a:pt x="58" y="598"/>
                    </a:lnTo>
                    <a:lnTo>
                      <a:pt x="56" y="596"/>
                    </a:lnTo>
                    <a:lnTo>
                      <a:pt x="56" y="598"/>
                    </a:lnTo>
                    <a:lnTo>
                      <a:pt x="54" y="598"/>
                    </a:lnTo>
                    <a:lnTo>
                      <a:pt x="52" y="598"/>
                    </a:lnTo>
                    <a:lnTo>
                      <a:pt x="50" y="598"/>
                    </a:lnTo>
                    <a:lnTo>
                      <a:pt x="50" y="596"/>
                    </a:lnTo>
                    <a:lnTo>
                      <a:pt x="50" y="594"/>
                    </a:lnTo>
                    <a:lnTo>
                      <a:pt x="50" y="592"/>
                    </a:lnTo>
                    <a:lnTo>
                      <a:pt x="48" y="592"/>
                    </a:lnTo>
                    <a:lnTo>
                      <a:pt x="47" y="594"/>
                    </a:lnTo>
                    <a:lnTo>
                      <a:pt x="45" y="596"/>
                    </a:lnTo>
                    <a:lnTo>
                      <a:pt x="43" y="596"/>
                    </a:lnTo>
                    <a:lnTo>
                      <a:pt x="41" y="596"/>
                    </a:lnTo>
                    <a:lnTo>
                      <a:pt x="41" y="594"/>
                    </a:lnTo>
                    <a:lnTo>
                      <a:pt x="39" y="594"/>
                    </a:lnTo>
                    <a:lnTo>
                      <a:pt x="37" y="592"/>
                    </a:lnTo>
                    <a:lnTo>
                      <a:pt x="35" y="592"/>
                    </a:lnTo>
                    <a:lnTo>
                      <a:pt x="35" y="594"/>
                    </a:lnTo>
                    <a:lnTo>
                      <a:pt x="31" y="590"/>
                    </a:lnTo>
                    <a:lnTo>
                      <a:pt x="31" y="588"/>
                    </a:lnTo>
                    <a:lnTo>
                      <a:pt x="31" y="586"/>
                    </a:lnTo>
                    <a:lnTo>
                      <a:pt x="31" y="584"/>
                    </a:lnTo>
                    <a:lnTo>
                      <a:pt x="29" y="584"/>
                    </a:lnTo>
                    <a:lnTo>
                      <a:pt x="29" y="582"/>
                    </a:lnTo>
                    <a:lnTo>
                      <a:pt x="27" y="584"/>
                    </a:lnTo>
                    <a:lnTo>
                      <a:pt x="27" y="582"/>
                    </a:lnTo>
                    <a:lnTo>
                      <a:pt x="29" y="582"/>
                    </a:lnTo>
                    <a:lnTo>
                      <a:pt x="25" y="582"/>
                    </a:lnTo>
                    <a:lnTo>
                      <a:pt x="24" y="582"/>
                    </a:lnTo>
                    <a:lnTo>
                      <a:pt x="22" y="582"/>
                    </a:lnTo>
                    <a:lnTo>
                      <a:pt x="22" y="580"/>
                    </a:lnTo>
                    <a:lnTo>
                      <a:pt x="20" y="580"/>
                    </a:lnTo>
                    <a:lnTo>
                      <a:pt x="18" y="580"/>
                    </a:lnTo>
                    <a:lnTo>
                      <a:pt x="18" y="578"/>
                    </a:lnTo>
                    <a:lnTo>
                      <a:pt x="18" y="577"/>
                    </a:lnTo>
                    <a:lnTo>
                      <a:pt x="16" y="577"/>
                    </a:lnTo>
                    <a:lnTo>
                      <a:pt x="18" y="577"/>
                    </a:lnTo>
                    <a:lnTo>
                      <a:pt x="16" y="577"/>
                    </a:lnTo>
                    <a:lnTo>
                      <a:pt x="14" y="577"/>
                    </a:lnTo>
                    <a:lnTo>
                      <a:pt x="14" y="578"/>
                    </a:lnTo>
                    <a:lnTo>
                      <a:pt x="14" y="580"/>
                    </a:lnTo>
                    <a:lnTo>
                      <a:pt x="14" y="578"/>
                    </a:lnTo>
                    <a:lnTo>
                      <a:pt x="14" y="577"/>
                    </a:lnTo>
                    <a:lnTo>
                      <a:pt x="14" y="575"/>
                    </a:lnTo>
                    <a:lnTo>
                      <a:pt x="12" y="575"/>
                    </a:lnTo>
                    <a:lnTo>
                      <a:pt x="12" y="573"/>
                    </a:lnTo>
                    <a:lnTo>
                      <a:pt x="12" y="571"/>
                    </a:lnTo>
                    <a:lnTo>
                      <a:pt x="12" y="569"/>
                    </a:lnTo>
                    <a:lnTo>
                      <a:pt x="10" y="569"/>
                    </a:lnTo>
                    <a:lnTo>
                      <a:pt x="8" y="569"/>
                    </a:lnTo>
                    <a:lnTo>
                      <a:pt x="6" y="571"/>
                    </a:lnTo>
                    <a:lnTo>
                      <a:pt x="4" y="569"/>
                    </a:lnTo>
                    <a:lnTo>
                      <a:pt x="2" y="569"/>
                    </a:lnTo>
                    <a:lnTo>
                      <a:pt x="2" y="567"/>
                    </a:lnTo>
                    <a:lnTo>
                      <a:pt x="2" y="565"/>
                    </a:lnTo>
                    <a:lnTo>
                      <a:pt x="2" y="563"/>
                    </a:lnTo>
                    <a:lnTo>
                      <a:pt x="4" y="563"/>
                    </a:lnTo>
                    <a:lnTo>
                      <a:pt x="4" y="561"/>
                    </a:lnTo>
                    <a:lnTo>
                      <a:pt x="0" y="559"/>
                    </a:lnTo>
                    <a:lnTo>
                      <a:pt x="0" y="557"/>
                    </a:lnTo>
                    <a:lnTo>
                      <a:pt x="0" y="555"/>
                    </a:lnTo>
                    <a:lnTo>
                      <a:pt x="2" y="555"/>
                    </a:lnTo>
                    <a:lnTo>
                      <a:pt x="2" y="553"/>
                    </a:lnTo>
                    <a:lnTo>
                      <a:pt x="2" y="552"/>
                    </a:lnTo>
                    <a:lnTo>
                      <a:pt x="4" y="552"/>
                    </a:lnTo>
                    <a:lnTo>
                      <a:pt x="4" y="550"/>
                    </a:lnTo>
                    <a:lnTo>
                      <a:pt x="2" y="550"/>
                    </a:lnTo>
                    <a:lnTo>
                      <a:pt x="2" y="552"/>
                    </a:lnTo>
                    <a:lnTo>
                      <a:pt x="0" y="552"/>
                    </a:lnTo>
                    <a:lnTo>
                      <a:pt x="2" y="552"/>
                    </a:lnTo>
                    <a:lnTo>
                      <a:pt x="0" y="550"/>
                    </a:lnTo>
                    <a:lnTo>
                      <a:pt x="0" y="548"/>
                    </a:lnTo>
                    <a:lnTo>
                      <a:pt x="0" y="546"/>
                    </a:lnTo>
                    <a:lnTo>
                      <a:pt x="2" y="546"/>
                    </a:lnTo>
                    <a:lnTo>
                      <a:pt x="2" y="544"/>
                    </a:lnTo>
                    <a:lnTo>
                      <a:pt x="2" y="542"/>
                    </a:lnTo>
                    <a:lnTo>
                      <a:pt x="6" y="542"/>
                    </a:lnTo>
                    <a:lnTo>
                      <a:pt x="4" y="542"/>
                    </a:lnTo>
                    <a:lnTo>
                      <a:pt x="4" y="538"/>
                    </a:lnTo>
                    <a:lnTo>
                      <a:pt x="6" y="538"/>
                    </a:lnTo>
                    <a:lnTo>
                      <a:pt x="4" y="534"/>
                    </a:lnTo>
                    <a:lnTo>
                      <a:pt x="2" y="534"/>
                    </a:lnTo>
                    <a:lnTo>
                      <a:pt x="2" y="532"/>
                    </a:lnTo>
                    <a:lnTo>
                      <a:pt x="4" y="530"/>
                    </a:lnTo>
                    <a:lnTo>
                      <a:pt x="4" y="528"/>
                    </a:lnTo>
                    <a:lnTo>
                      <a:pt x="4" y="527"/>
                    </a:lnTo>
                    <a:lnTo>
                      <a:pt x="4" y="525"/>
                    </a:lnTo>
                    <a:lnTo>
                      <a:pt x="4" y="523"/>
                    </a:lnTo>
                    <a:lnTo>
                      <a:pt x="6" y="521"/>
                    </a:lnTo>
                    <a:lnTo>
                      <a:pt x="6" y="519"/>
                    </a:lnTo>
                    <a:lnTo>
                      <a:pt x="6" y="517"/>
                    </a:lnTo>
                    <a:lnTo>
                      <a:pt x="8" y="515"/>
                    </a:lnTo>
                    <a:lnTo>
                      <a:pt x="8" y="513"/>
                    </a:lnTo>
                    <a:lnTo>
                      <a:pt x="10" y="511"/>
                    </a:lnTo>
                    <a:lnTo>
                      <a:pt x="10" y="509"/>
                    </a:lnTo>
                    <a:lnTo>
                      <a:pt x="10" y="507"/>
                    </a:lnTo>
                    <a:lnTo>
                      <a:pt x="12" y="507"/>
                    </a:lnTo>
                    <a:lnTo>
                      <a:pt x="12" y="505"/>
                    </a:lnTo>
                    <a:lnTo>
                      <a:pt x="14" y="503"/>
                    </a:lnTo>
                    <a:lnTo>
                      <a:pt x="14" y="502"/>
                    </a:lnTo>
                    <a:lnTo>
                      <a:pt x="16" y="502"/>
                    </a:lnTo>
                    <a:lnTo>
                      <a:pt x="18" y="500"/>
                    </a:lnTo>
                    <a:lnTo>
                      <a:pt x="18" y="502"/>
                    </a:lnTo>
                    <a:lnTo>
                      <a:pt x="18" y="500"/>
                    </a:lnTo>
                    <a:lnTo>
                      <a:pt x="20" y="500"/>
                    </a:lnTo>
                    <a:lnTo>
                      <a:pt x="22" y="498"/>
                    </a:lnTo>
                    <a:lnTo>
                      <a:pt x="22" y="496"/>
                    </a:lnTo>
                    <a:lnTo>
                      <a:pt x="24" y="496"/>
                    </a:lnTo>
                    <a:lnTo>
                      <a:pt x="24" y="494"/>
                    </a:lnTo>
                    <a:lnTo>
                      <a:pt x="25" y="494"/>
                    </a:lnTo>
                    <a:lnTo>
                      <a:pt x="25" y="492"/>
                    </a:lnTo>
                    <a:lnTo>
                      <a:pt x="27" y="492"/>
                    </a:lnTo>
                    <a:lnTo>
                      <a:pt x="27" y="490"/>
                    </a:lnTo>
                    <a:lnTo>
                      <a:pt x="29" y="490"/>
                    </a:lnTo>
                    <a:lnTo>
                      <a:pt x="29" y="488"/>
                    </a:lnTo>
                    <a:lnTo>
                      <a:pt x="31" y="486"/>
                    </a:lnTo>
                    <a:lnTo>
                      <a:pt x="29" y="486"/>
                    </a:lnTo>
                    <a:lnTo>
                      <a:pt x="27" y="484"/>
                    </a:lnTo>
                    <a:lnTo>
                      <a:pt x="27" y="482"/>
                    </a:lnTo>
                    <a:lnTo>
                      <a:pt x="29" y="482"/>
                    </a:lnTo>
                    <a:lnTo>
                      <a:pt x="29" y="480"/>
                    </a:lnTo>
                    <a:lnTo>
                      <a:pt x="31" y="478"/>
                    </a:lnTo>
                    <a:lnTo>
                      <a:pt x="31" y="477"/>
                    </a:lnTo>
                    <a:lnTo>
                      <a:pt x="31" y="475"/>
                    </a:lnTo>
                    <a:lnTo>
                      <a:pt x="33" y="475"/>
                    </a:lnTo>
                    <a:lnTo>
                      <a:pt x="33" y="473"/>
                    </a:lnTo>
                    <a:lnTo>
                      <a:pt x="33" y="471"/>
                    </a:lnTo>
                    <a:lnTo>
                      <a:pt x="33" y="469"/>
                    </a:lnTo>
                    <a:lnTo>
                      <a:pt x="31" y="469"/>
                    </a:lnTo>
                    <a:lnTo>
                      <a:pt x="31" y="467"/>
                    </a:lnTo>
                    <a:lnTo>
                      <a:pt x="31" y="469"/>
                    </a:lnTo>
                    <a:lnTo>
                      <a:pt x="31" y="467"/>
                    </a:lnTo>
                    <a:lnTo>
                      <a:pt x="29" y="469"/>
                    </a:lnTo>
                    <a:lnTo>
                      <a:pt x="29" y="467"/>
                    </a:lnTo>
                    <a:lnTo>
                      <a:pt x="27" y="467"/>
                    </a:lnTo>
                    <a:lnTo>
                      <a:pt x="27" y="465"/>
                    </a:lnTo>
                    <a:lnTo>
                      <a:pt x="29" y="465"/>
                    </a:lnTo>
                    <a:lnTo>
                      <a:pt x="29" y="463"/>
                    </a:lnTo>
                    <a:lnTo>
                      <a:pt x="31" y="463"/>
                    </a:lnTo>
                    <a:lnTo>
                      <a:pt x="33" y="463"/>
                    </a:lnTo>
                    <a:lnTo>
                      <a:pt x="33" y="461"/>
                    </a:lnTo>
                    <a:lnTo>
                      <a:pt x="35" y="461"/>
                    </a:lnTo>
                    <a:lnTo>
                      <a:pt x="37" y="461"/>
                    </a:lnTo>
                    <a:lnTo>
                      <a:pt x="37" y="459"/>
                    </a:lnTo>
                    <a:lnTo>
                      <a:pt x="37" y="457"/>
                    </a:lnTo>
                    <a:lnTo>
                      <a:pt x="39" y="457"/>
                    </a:lnTo>
                    <a:lnTo>
                      <a:pt x="39" y="455"/>
                    </a:lnTo>
                    <a:lnTo>
                      <a:pt x="41" y="455"/>
                    </a:lnTo>
                    <a:lnTo>
                      <a:pt x="41" y="453"/>
                    </a:lnTo>
                    <a:lnTo>
                      <a:pt x="41" y="452"/>
                    </a:lnTo>
                    <a:lnTo>
                      <a:pt x="43" y="452"/>
                    </a:lnTo>
                    <a:lnTo>
                      <a:pt x="43" y="450"/>
                    </a:lnTo>
                    <a:lnTo>
                      <a:pt x="43" y="448"/>
                    </a:lnTo>
                    <a:lnTo>
                      <a:pt x="43" y="446"/>
                    </a:lnTo>
                    <a:lnTo>
                      <a:pt x="45" y="446"/>
                    </a:lnTo>
                    <a:lnTo>
                      <a:pt x="45" y="444"/>
                    </a:lnTo>
                    <a:lnTo>
                      <a:pt x="45" y="442"/>
                    </a:lnTo>
                    <a:lnTo>
                      <a:pt x="43" y="440"/>
                    </a:lnTo>
                    <a:lnTo>
                      <a:pt x="41" y="438"/>
                    </a:lnTo>
                    <a:lnTo>
                      <a:pt x="39" y="438"/>
                    </a:lnTo>
                    <a:lnTo>
                      <a:pt x="37" y="438"/>
                    </a:lnTo>
                    <a:lnTo>
                      <a:pt x="35" y="436"/>
                    </a:lnTo>
                    <a:lnTo>
                      <a:pt x="33" y="436"/>
                    </a:lnTo>
                    <a:lnTo>
                      <a:pt x="33" y="434"/>
                    </a:lnTo>
                    <a:lnTo>
                      <a:pt x="33" y="432"/>
                    </a:lnTo>
                    <a:lnTo>
                      <a:pt x="31" y="432"/>
                    </a:lnTo>
                    <a:lnTo>
                      <a:pt x="31" y="430"/>
                    </a:lnTo>
                    <a:lnTo>
                      <a:pt x="29" y="430"/>
                    </a:lnTo>
                    <a:lnTo>
                      <a:pt x="27" y="423"/>
                    </a:lnTo>
                    <a:lnTo>
                      <a:pt x="27" y="421"/>
                    </a:lnTo>
                    <a:lnTo>
                      <a:pt x="27" y="417"/>
                    </a:lnTo>
                    <a:lnTo>
                      <a:pt x="27" y="411"/>
                    </a:lnTo>
                    <a:lnTo>
                      <a:pt x="27" y="409"/>
                    </a:lnTo>
                    <a:lnTo>
                      <a:pt x="27" y="405"/>
                    </a:lnTo>
                    <a:lnTo>
                      <a:pt x="27" y="403"/>
                    </a:lnTo>
                    <a:lnTo>
                      <a:pt x="29" y="402"/>
                    </a:lnTo>
                    <a:lnTo>
                      <a:pt x="33" y="400"/>
                    </a:lnTo>
                    <a:lnTo>
                      <a:pt x="35" y="398"/>
                    </a:lnTo>
                    <a:lnTo>
                      <a:pt x="37" y="398"/>
                    </a:lnTo>
                    <a:lnTo>
                      <a:pt x="39" y="396"/>
                    </a:lnTo>
                    <a:lnTo>
                      <a:pt x="39" y="394"/>
                    </a:lnTo>
                    <a:lnTo>
                      <a:pt x="37" y="394"/>
                    </a:lnTo>
                    <a:lnTo>
                      <a:pt x="35" y="394"/>
                    </a:lnTo>
                    <a:lnTo>
                      <a:pt x="37" y="392"/>
                    </a:lnTo>
                    <a:lnTo>
                      <a:pt x="37" y="390"/>
                    </a:lnTo>
                    <a:lnTo>
                      <a:pt x="39" y="390"/>
                    </a:lnTo>
                    <a:lnTo>
                      <a:pt x="39" y="388"/>
                    </a:lnTo>
                    <a:lnTo>
                      <a:pt x="41" y="384"/>
                    </a:lnTo>
                    <a:lnTo>
                      <a:pt x="43" y="380"/>
                    </a:lnTo>
                    <a:lnTo>
                      <a:pt x="41" y="379"/>
                    </a:lnTo>
                    <a:lnTo>
                      <a:pt x="41" y="377"/>
                    </a:lnTo>
                    <a:lnTo>
                      <a:pt x="39" y="377"/>
                    </a:lnTo>
                    <a:lnTo>
                      <a:pt x="41" y="375"/>
                    </a:lnTo>
                    <a:lnTo>
                      <a:pt x="41" y="373"/>
                    </a:lnTo>
                    <a:lnTo>
                      <a:pt x="41" y="371"/>
                    </a:lnTo>
                    <a:lnTo>
                      <a:pt x="41" y="369"/>
                    </a:lnTo>
                    <a:lnTo>
                      <a:pt x="41" y="367"/>
                    </a:lnTo>
                    <a:lnTo>
                      <a:pt x="43" y="367"/>
                    </a:lnTo>
                    <a:lnTo>
                      <a:pt x="45" y="369"/>
                    </a:lnTo>
                    <a:lnTo>
                      <a:pt x="48" y="371"/>
                    </a:lnTo>
                    <a:lnTo>
                      <a:pt x="50" y="371"/>
                    </a:lnTo>
                    <a:lnTo>
                      <a:pt x="50" y="373"/>
                    </a:lnTo>
                    <a:lnTo>
                      <a:pt x="52" y="373"/>
                    </a:lnTo>
                    <a:lnTo>
                      <a:pt x="54" y="375"/>
                    </a:lnTo>
                    <a:lnTo>
                      <a:pt x="56" y="375"/>
                    </a:lnTo>
                    <a:lnTo>
                      <a:pt x="58" y="373"/>
                    </a:lnTo>
                    <a:lnTo>
                      <a:pt x="60" y="371"/>
                    </a:lnTo>
                    <a:lnTo>
                      <a:pt x="62" y="371"/>
                    </a:lnTo>
                    <a:lnTo>
                      <a:pt x="64" y="369"/>
                    </a:lnTo>
                    <a:lnTo>
                      <a:pt x="64" y="367"/>
                    </a:lnTo>
                    <a:lnTo>
                      <a:pt x="64" y="365"/>
                    </a:lnTo>
                    <a:lnTo>
                      <a:pt x="66" y="365"/>
                    </a:lnTo>
                    <a:lnTo>
                      <a:pt x="66" y="363"/>
                    </a:lnTo>
                    <a:lnTo>
                      <a:pt x="68" y="361"/>
                    </a:lnTo>
                    <a:lnTo>
                      <a:pt x="68" y="359"/>
                    </a:lnTo>
                    <a:lnTo>
                      <a:pt x="70" y="359"/>
                    </a:lnTo>
                    <a:lnTo>
                      <a:pt x="70" y="361"/>
                    </a:lnTo>
                    <a:lnTo>
                      <a:pt x="72" y="361"/>
                    </a:lnTo>
                    <a:lnTo>
                      <a:pt x="70" y="361"/>
                    </a:lnTo>
                    <a:lnTo>
                      <a:pt x="70" y="363"/>
                    </a:lnTo>
                    <a:lnTo>
                      <a:pt x="72" y="363"/>
                    </a:lnTo>
                    <a:lnTo>
                      <a:pt x="72" y="365"/>
                    </a:lnTo>
                    <a:lnTo>
                      <a:pt x="73" y="365"/>
                    </a:lnTo>
                    <a:lnTo>
                      <a:pt x="73" y="363"/>
                    </a:lnTo>
                    <a:lnTo>
                      <a:pt x="73" y="365"/>
                    </a:lnTo>
                    <a:lnTo>
                      <a:pt x="73" y="367"/>
                    </a:lnTo>
                    <a:lnTo>
                      <a:pt x="75" y="367"/>
                    </a:lnTo>
                    <a:lnTo>
                      <a:pt x="77" y="367"/>
                    </a:lnTo>
                    <a:lnTo>
                      <a:pt x="75" y="367"/>
                    </a:lnTo>
                    <a:lnTo>
                      <a:pt x="77" y="367"/>
                    </a:lnTo>
                    <a:lnTo>
                      <a:pt x="75" y="367"/>
                    </a:lnTo>
                    <a:lnTo>
                      <a:pt x="77" y="367"/>
                    </a:lnTo>
                    <a:lnTo>
                      <a:pt x="75" y="369"/>
                    </a:lnTo>
                    <a:lnTo>
                      <a:pt x="77" y="369"/>
                    </a:lnTo>
                    <a:lnTo>
                      <a:pt x="79" y="371"/>
                    </a:lnTo>
                    <a:lnTo>
                      <a:pt x="81" y="371"/>
                    </a:lnTo>
                    <a:lnTo>
                      <a:pt x="81" y="373"/>
                    </a:lnTo>
                    <a:lnTo>
                      <a:pt x="81" y="375"/>
                    </a:lnTo>
                    <a:lnTo>
                      <a:pt x="81" y="377"/>
                    </a:lnTo>
                    <a:lnTo>
                      <a:pt x="79" y="375"/>
                    </a:lnTo>
                    <a:lnTo>
                      <a:pt x="79" y="377"/>
                    </a:lnTo>
                    <a:lnTo>
                      <a:pt x="81" y="377"/>
                    </a:lnTo>
                    <a:lnTo>
                      <a:pt x="79" y="377"/>
                    </a:lnTo>
                    <a:lnTo>
                      <a:pt x="81" y="377"/>
                    </a:lnTo>
                    <a:lnTo>
                      <a:pt x="81" y="379"/>
                    </a:lnTo>
                    <a:lnTo>
                      <a:pt x="81" y="380"/>
                    </a:lnTo>
                    <a:lnTo>
                      <a:pt x="83" y="380"/>
                    </a:lnTo>
                    <a:lnTo>
                      <a:pt x="81" y="380"/>
                    </a:lnTo>
                    <a:lnTo>
                      <a:pt x="81" y="382"/>
                    </a:lnTo>
                    <a:lnTo>
                      <a:pt x="83" y="380"/>
                    </a:lnTo>
                    <a:lnTo>
                      <a:pt x="85" y="380"/>
                    </a:lnTo>
                    <a:lnTo>
                      <a:pt x="85" y="382"/>
                    </a:lnTo>
                    <a:lnTo>
                      <a:pt x="87" y="382"/>
                    </a:lnTo>
                    <a:lnTo>
                      <a:pt x="89" y="382"/>
                    </a:lnTo>
                    <a:lnTo>
                      <a:pt x="89" y="380"/>
                    </a:lnTo>
                    <a:lnTo>
                      <a:pt x="91" y="380"/>
                    </a:lnTo>
                    <a:lnTo>
                      <a:pt x="91" y="379"/>
                    </a:lnTo>
                    <a:lnTo>
                      <a:pt x="93" y="379"/>
                    </a:lnTo>
                    <a:lnTo>
                      <a:pt x="95" y="379"/>
                    </a:lnTo>
                    <a:lnTo>
                      <a:pt x="95" y="380"/>
                    </a:lnTo>
                    <a:lnTo>
                      <a:pt x="97" y="380"/>
                    </a:lnTo>
                    <a:lnTo>
                      <a:pt x="97" y="382"/>
                    </a:lnTo>
                    <a:lnTo>
                      <a:pt x="98" y="382"/>
                    </a:lnTo>
                    <a:lnTo>
                      <a:pt x="100" y="382"/>
                    </a:lnTo>
                    <a:lnTo>
                      <a:pt x="102" y="382"/>
                    </a:lnTo>
                    <a:lnTo>
                      <a:pt x="102" y="384"/>
                    </a:lnTo>
                    <a:lnTo>
                      <a:pt x="102" y="386"/>
                    </a:lnTo>
                    <a:lnTo>
                      <a:pt x="104" y="388"/>
                    </a:lnTo>
                    <a:lnTo>
                      <a:pt x="104" y="390"/>
                    </a:lnTo>
                    <a:lnTo>
                      <a:pt x="104" y="392"/>
                    </a:lnTo>
                    <a:lnTo>
                      <a:pt x="104" y="394"/>
                    </a:lnTo>
                    <a:lnTo>
                      <a:pt x="106" y="394"/>
                    </a:lnTo>
                    <a:lnTo>
                      <a:pt x="108" y="394"/>
                    </a:lnTo>
                    <a:lnTo>
                      <a:pt x="108" y="396"/>
                    </a:lnTo>
                    <a:lnTo>
                      <a:pt x="108" y="398"/>
                    </a:lnTo>
                    <a:lnTo>
                      <a:pt x="108" y="400"/>
                    </a:lnTo>
                    <a:lnTo>
                      <a:pt x="108" y="402"/>
                    </a:lnTo>
                    <a:lnTo>
                      <a:pt x="106" y="402"/>
                    </a:lnTo>
                    <a:lnTo>
                      <a:pt x="106" y="403"/>
                    </a:lnTo>
                    <a:lnTo>
                      <a:pt x="106" y="405"/>
                    </a:lnTo>
                    <a:lnTo>
                      <a:pt x="108" y="405"/>
                    </a:lnTo>
                    <a:lnTo>
                      <a:pt x="108" y="407"/>
                    </a:lnTo>
                    <a:lnTo>
                      <a:pt x="108" y="409"/>
                    </a:lnTo>
                    <a:lnTo>
                      <a:pt x="106" y="409"/>
                    </a:lnTo>
                    <a:lnTo>
                      <a:pt x="108" y="409"/>
                    </a:lnTo>
                    <a:lnTo>
                      <a:pt x="108" y="411"/>
                    </a:lnTo>
                    <a:lnTo>
                      <a:pt x="110" y="411"/>
                    </a:lnTo>
                    <a:lnTo>
                      <a:pt x="110" y="413"/>
                    </a:lnTo>
                    <a:lnTo>
                      <a:pt x="110" y="415"/>
                    </a:lnTo>
                    <a:lnTo>
                      <a:pt x="112" y="415"/>
                    </a:lnTo>
                    <a:lnTo>
                      <a:pt x="112" y="417"/>
                    </a:lnTo>
                    <a:lnTo>
                      <a:pt x="110" y="417"/>
                    </a:lnTo>
                    <a:lnTo>
                      <a:pt x="110" y="419"/>
                    </a:lnTo>
                    <a:lnTo>
                      <a:pt x="110" y="421"/>
                    </a:lnTo>
                    <a:lnTo>
                      <a:pt x="110" y="423"/>
                    </a:lnTo>
                    <a:lnTo>
                      <a:pt x="108" y="423"/>
                    </a:lnTo>
                    <a:lnTo>
                      <a:pt x="108" y="425"/>
                    </a:lnTo>
                    <a:lnTo>
                      <a:pt x="108" y="427"/>
                    </a:lnTo>
                    <a:lnTo>
                      <a:pt x="108" y="428"/>
                    </a:lnTo>
                    <a:lnTo>
                      <a:pt x="106" y="428"/>
                    </a:lnTo>
                    <a:lnTo>
                      <a:pt x="106" y="430"/>
                    </a:lnTo>
                    <a:lnTo>
                      <a:pt x="106" y="432"/>
                    </a:lnTo>
                    <a:lnTo>
                      <a:pt x="104" y="432"/>
                    </a:lnTo>
                    <a:lnTo>
                      <a:pt x="104" y="434"/>
                    </a:lnTo>
                    <a:lnTo>
                      <a:pt x="104" y="436"/>
                    </a:lnTo>
                    <a:lnTo>
                      <a:pt x="104" y="438"/>
                    </a:lnTo>
                    <a:lnTo>
                      <a:pt x="104" y="440"/>
                    </a:lnTo>
                    <a:lnTo>
                      <a:pt x="102" y="440"/>
                    </a:lnTo>
                    <a:lnTo>
                      <a:pt x="102" y="442"/>
                    </a:lnTo>
                    <a:lnTo>
                      <a:pt x="102" y="444"/>
                    </a:lnTo>
                    <a:lnTo>
                      <a:pt x="102" y="446"/>
                    </a:lnTo>
                    <a:lnTo>
                      <a:pt x="102" y="448"/>
                    </a:lnTo>
                    <a:lnTo>
                      <a:pt x="100" y="448"/>
                    </a:lnTo>
                    <a:lnTo>
                      <a:pt x="100" y="450"/>
                    </a:lnTo>
                    <a:lnTo>
                      <a:pt x="98" y="450"/>
                    </a:lnTo>
                    <a:lnTo>
                      <a:pt x="98" y="452"/>
                    </a:lnTo>
                    <a:lnTo>
                      <a:pt x="98" y="453"/>
                    </a:lnTo>
                    <a:lnTo>
                      <a:pt x="98" y="455"/>
                    </a:lnTo>
                    <a:lnTo>
                      <a:pt x="100" y="455"/>
                    </a:lnTo>
                    <a:lnTo>
                      <a:pt x="102" y="455"/>
                    </a:lnTo>
                    <a:lnTo>
                      <a:pt x="102" y="457"/>
                    </a:lnTo>
                    <a:lnTo>
                      <a:pt x="102" y="459"/>
                    </a:lnTo>
                    <a:lnTo>
                      <a:pt x="104" y="459"/>
                    </a:lnTo>
                    <a:lnTo>
                      <a:pt x="104" y="461"/>
                    </a:lnTo>
                    <a:lnTo>
                      <a:pt x="102" y="461"/>
                    </a:lnTo>
                    <a:lnTo>
                      <a:pt x="104" y="461"/>
                    </a:lnTo>
                    <a:lnTo>
                      <a:pt x="104" y="463"/>
                    </a:lnTo>
                    <a:lnTo>
                      <a:pt x="104" y="465"/>
                    </a:lnTo>
                    <a:lnTo>
                      <a:pt x="106" y="465"/>
                    </a:lnTo>
                    <a:lnTo>
                      <a:pt x="106" y="467"/>
                    </a:lnTo>
                    <a:lnTo>
                      <a:pt x="104" y="467"/>
                    </a:lnTo>
                    <a:lnTo>
                      <a:pt x="104" y="469"/>
                    </a:lnTo>
                    <a:lnTo>
                      <a:pt x="106" y="469"/>
                    </a:lnTo>
                    <a:lnTo>
                      <a:pt x="106" y="471"/>
                    </a:lnTo>
                    <a:lnTo>
                      <a:pt x="106" y="473"/>
                    </a:lnTo>
                    <a:lnTo>
                      <a:pt x="104" y="473"/>
                    </a:lnTo>
                    <a:lnTo>
                      <a:pt x="104" y="475"/>
                    </a:lnTo>
                    <a:lnTo>
                      <a:pt x="104" y="477"/>
                    </a:lnTo>
                    <a:lnTo>
                      <a:pt x="104" y="478"/>
                    </a:lnTo>
                    <a:lnTo>
                      <a:pt x="102" y="478"/>
                    </a:lnTo>
                    <a:lnTo>
                      <a:pt x="102" y="480"/>
                    </a:lnTo>
                    <a:lnTo>
                      <a:pt x="100" y="480"/>
                    </a:lnTo>
                    <a:lnTo>
                      <a:pt x="100" y="482"/>
                    </a:lnTo>
                    <a:lnTo>
                      <a:pt x="98" y="482"/>
                    </a:lnTo>
                    <a:lnTo>
                      <a:pt x="97" y="482"/>
                    </a:lnTo>
                    <a:lnTo>
                      <a:pt x="97" y="484"/>
                    </a:lnTo>
                    <a:lnTo>
                      <a:pt x="95" y="484"/>
                    </a:lnTo>
                    <a:lnTo>
                      <a:pt x="95" y="486"/>
                    </a:lnTo>
                    <a:lnTo>
                      <a:pt x="93" y="486"/>
                    </a:lnTo>
                    <a:lnTo>
                      <a:pt x="93" y="488"/>
                    </a:lnTo>
                    <a:lnTo>
                      <a:pt x="93" y="490"/>
                    </a:lnTo>
                    <a:lnTo>
                      <a:pt x="91" y="492"/>
                    </a:lnTo>
                    <a:lnTo>
                      <a:pt x="91" y="490"/>
                    </a:lnTo>
                    <a:lnTo>
                      <a:pt x="91" y="492"/>
                    </a:lnTo>
                    <a:lnTo>
                      <a:pt x="91" y="490"/>
                    </a:lnTo>
                    <a:lnTo>
                      <a:pt x="89" y="490"/>
                    </a:lnTo>
                    <a:lnTo>
                      <a:pt x="87" y="490"/>
                    </a:lnTo>
                    <a:lnTo>
                      <a:pt x="87" y="492"/>
                    </a:lnTo>
                    <a:lnTo>
                      <a:pt x="85" y="492"/>
                    </a:lnTo>
                    <a:lnTo>
                      <a:pt x="83" y="492"/>
                    </a:lnTo>
                    <a:lnTo>
                      <a:pt x="81" y="492"/>
                    </a:lnTo>
                    <a:lnTo>
                      <a:pt x="81" y="494"/>
                    </a:lnTo>
                    <a:lnTo>
                      <a:pt x="79" y="494"/>
                    </a:lnTo>
                    <a:lnTo>
                      <a:pt x="77" y="494"/>
                    </a:lnTo>
                    <a:lnTo>
                      <a:pt x="77" y="496"/>
                    </a:lnTo>
                    <a:lnTo>
                      <a:pt x="75" y="496"/>
                    </a:lnTo>
                    <a:lnTo>
                      <a:pt x="73" y="496"/>
                    </a:lnTo>
                    <a:lnTo>
                      <a:pt x="73" y="498"/>
                    </a:lnTo>
                    <a:lnTo>
                      <a:pt x="72" y="498"/>
                    </a:lnTo>
                    <a:lnTo>
                      <a:pt x="72" y="500"/>
                    </a:lnTo>
                    <a:lnTo>
                      <a:pt x="70" y="500"/>
                    </a:lnTo>
                    <a:lnTo>
                      <a:pt x="68" y="500"/>
                    </a:lnTo>
                    <a:lnTo>
                      <a:pt x="66" y="500"/>
                    </a:lnTo>
                    <a:lnTo>
                      <a:pt x="66" y="498"/>
                    </a:lnTo>
                    <a:lnTo>
                      <a:pt x="64" y="498"/>
                    </a:lnTo>
                    <a:lnTo>
                      <a:pt x="64" y="496"/>
                    </a:lnTo>
                    <a:lnTo>
                      <a:pt x="62" y="498"/>
                    </a:lnTo>
                    <a:lnTo>
                      <a:pt x="60" y="496"/>
                    </a:lnTo>
                    <a:lnTo>
                      <a:pt x="62" y="498"/>
                    </a:lnTo>
                    <a:lnTo>
                      <a:pt x="62" y="500"/>
                    </a:lnTo>
                    <a:lnTo>
                      <a:pt x="60" y="500"/>
                    </a:lnTo>
                    <a:lnTo>
                      <a:pt x="60" y="498"/>
                    </a:lnTo>
                    <a:lnTo>
                      <a:pt x="58" y="498"/>
                    </a:lnTo>
                    <a:lnTo>
                      <a:pt x="58" y="500"/>
                    </a:lnTo>
                    <a:lnTo>
                      <a:pt x="56" y="500"/>
                    </a:lnTo>
                    <a:lnTo>
                      <a:pt x="56" y="502"/>
                    </a:lnTo>
                    <a:lnTo>
                      <a:pt x="56" y="503"/>
                    </a:lnTo>
                    <a:lnTo>
                      <a:pt x="56" y="505"/>
                    </a:lnTo>
                    <a:lnTo>
                      <a:pt x="54" y="505"/>
                    </a:lnTo>
                    <a:lnTo>
                      <a:pt x="56" y="505"/>
                    </a:lnTo>
                    <a:lnTo>
                      <a:pt x="56" y="507"/>
                    </a:lnTo>
                    <a:lnTo>
                      <a:pt x="58" y="507"/>
                    </a:lnTo>
                    <a:lnTo>
                      <a:pt x="56" y="509"/>
                    </a:lnTo>
                    <a:lnTo>
                      <a:pt x="56" y="511"/>
                    </a:lnTo>
                    <a:lnTo>
                      <a:pt x="54" y="511"/>
                    </a:lnTo>
                    <a:lnTo>
                      <a:pt x="54" y="513"/>
                    </a:lnTo>
                    <a:lnTo>
                      <a:pt x="54" y="515"/>
                    </a:lnTo>
                    <a:lnTo>
                      <a:pt x="54" y="517"/>
                    </a:lnTo>
                    <a:lnTo>
                      <a:pt x="54" y="519"/>
                    </a:lnTo>
                    <a:lnTo>
                      <a:pt x="52" y="519"/>
                    </a:lnTo>
                    <a:lnTo>
                      <a:pt x="54" y="519"/>
                    </a:lnTo>
                    <a:lnTo>
                      <a:pt x="54" y="521"/>
                    </a:lnTo>
                    <a:lnTo>
                      <a:pt x="52" y="521"/>
                    </a:lnTo>
                    <a:lnTo>
                      <a:pt x="54" y="521"/>
                    </a:lnTo>
                    <a:lnTo>
                      <a:pt x="52" y="521"/>
                    </a:lnTo>
                    <a:lnTo>
                      <a:pt x="52" y="523"/>
                    </a:lnTo>
                    <a:lnTo>
                      <a:pt x="50" y="523"/>
                    </a:lnTo>
                    <a:lnTo>
                      <a:pt x="52" y="523"/>
                    </a:lnTo>
                    <a:lnTo>
                      <a:pt x="52" y="525"/>
                    </a:lnTo>
                    <a:lnTo>
                      <a:pt x="54" y="525"/>
                    </a:lnTo>
                    <a:lnTo>
                      <a:pt x="56" y="525"/>
                    </a:lnTo>
                    <a:lnTo>
                      <a:pt x="56" y="527"/>
                    </a:lnTo>
                    <a:lnTo>
                      <a:pt x="56" y="525"/>
                    </a:lnTo>
                    <a:lnTo>
                      <a:pt x="54" y="525"/>
                    </a:lnTo>
                    <a:lnTo>
                      <a:pt x="52" y="525"/>
                    </a:lnTo>
                    <a:lnTo>
                      <a:pt x="52" y="523"/>
                    </a:lnTo>
                    <a:lnTo>
                      <a:pt x="52" y="521"/>
                    </a:lnTo>
                    <a:lnTo>
                      <a:pt x="54" y="521"/>
                    </a:lnTo>
                    <a:lnTo>
                      <a:pt x="54" y="519"/>
                    </a:lnTo>
                    <a:lnTo>
                      <a:pt x="54" y="517"/>
                    </a:lnTo>
                    <a:lnTo>
                      <a:pt x="54" y="515"/>
                    </a:lnTo>
                    <a:lnTo>
                      <a:pt x="54" y="513"/>
                    </a:lnTo>
                    <a:lnTo>
                      <a:pt x="54" y="511"/>
                    </a:lnTo>
                    <a:lnTo>
                      <a:pt x="56" y="511"/>
                    </a:lnTo>
                    <a:lnTo>
                      <a:pt x="56" y="509"/>
                    </a:lnTo>
                    <a:lnTo>
                      <a:pt x="58" y="507"/>
                    </a:lnTo>
                    <a:lnTo>
                      <a:pt x="56" y="507"/>
                    </a:lnTo>
                    <a:lnTo>
                      <a:pt x="56" y="505"/>
                    </a:lnTo>
                    <a:lnTo>
                      <a:pt x="54" y="505"/>
                    </a:lnTo>
                    <a:lnTo>
                      <a:pt x="56" y="505"/>
                    </a:lnTo>
                    <a:lnTo>
                      <a:pt x="56" y="503"/>
                    </a:lnTo>
                    <a:lnTo>
                      <a:pt x="56" y="502"/>
                    </a:lnTo>
                    <a:lnTo>
                      <a:pt x="56" y="500"/>
                    </a:lnTo>
                    <a:lnTo>
                      <a:pt x="58" y="500"/>
                    </a:lnTo>
                    <a:lnTo>
                      <a:pt x="58" y="498"/>
                    </a:lnTo>
                    <a:lnTo>
                      <a:pt x="60" y="498"/>
                    </a:lnTo>
                    <a:lnTo>
                      <a:pt x="60" y="500"/>
                    </a:lnTo>
                    <a:lnTo>
                      <a:pt x="62" y="500"/>
                    </a:lnTo>
                    <a:lnTo>
                      <a:pt x="62" y="498"/>
                    </a:lnTo>
                    <a:lnTo>
                      <a:pt x="64" y="496"/>
                    </a:lnTo>
                    <a:lnTo>
                      <a:pt x="64" y="498"/>
                    </a:lnTo>
                    <a:lnTo>
                      <a:pt x="66" y="498"/>
                    </a:lnTo>
                    <a:lnTo>
                      <a:pt x="66" y="500"/>
                    </a:lnTo>
                    <a:lnTo>
                      <a:pt x="68" y="500"/>
                    </a:lnTo>
                    <a:lnTo>
                      <a:pt x="70" y="500"/>
                    </a:lnTo>
                    <a:lnTo>
                      <a:pt x="72" y="498"/>
                    </a:lnTo>
                    <a:lnTo>
                      <a:pt x="73" y="498"/>
                    </a:lnTo>
                    <a:lnTo>
                      <a:pt x="73" y="496"/>
                    </a:lnTo>
                    <a:lnTo>
                      <a:pt x="75" y="496"/>
                    </a:lnTo>
                    <a:lnTo>
                      <a:pt x="77" y="496"/>
                    </a:lnTo>
                    <a:lnTo>
                      <a:pt x="77" y="494"/>
                    </a:lnTo>
                    <a:lnTo>
                      <a:pt x="79" y="494"/>
                    </a:lnTo>
                    <a:lnTo>
                      <a:pt x="81" y="494"/>
                    </a:lnTo>
                    <a:lnTo>
                      <a:pt x="81" y="492"/>
                    </a:lnTo>
                    <a:lnTo>
                      <a:pt x="83" y="492"/>
                    </a:lnTo>
                    <a:lnTo>
                      <a:pt x="85" y="492"/>
                    </a:lnTo>
                    <a:lnTo>
                      <a:pt x="87" y="492"/>
                    </a:lnTo>
                    <a:lnTo>
                      <a:pt x="89" y="490"/>
                    </a:lnTo>
                    <a:lnTo>
                      <a:pt x="89" y="492"/>
                    </a:lnTo>
                    <a:lnTo>
                      <a:pt x="89" y="490"/>
                    </a:lnTo>
                    <a:lnTo>
                      <a:pt x="89" y="492"/>
                    </a:lnTo>
                    <a:lnTo>
                      <a:pt x="89" y="490"/>
                    </a:lnTo>
                    <a:lnTo>
                      <a:pt x="91" y="490"/>
                    </a:lnTo>
                    <a:lnTo>
                      <a:pt x="91" y="492"/>
                    </a:lnTo>
                    <a:lnTo>
                      <a:pt x="89" y="492"/>
                    </a:lnTo>
                    <a:lnTo>
                      <a:pt x="91" y="492"/>
                    </a:lnTo>
                    <a:lnTo>
                      <a:pt x="91" y="494"/>
                    </a:lnTo>
                    <a:lnTo>
                      <a:pt x="91" y="496"/>
                    </a:lnTo>
                    <a:lnTo>
                      <a:pt x="93" y="496"/>
                    </a:lnTo>
                    <a:lnTo>
                      <a:pt x="93" y="498"/>
                    </a:lnTo>
                    <a:lnTo>
                      <a:pt x="95" y="500"/>
                    </a:lnTo>
                    <a:lnTo>
                      <a:pt x="97" y="500"/>
                    </a:lnTo>
                    <a:lnTo>
                      <a:pt x="97" y="498"/>
                    </a:lnTo>
                    <a:lnTo>
                      <a:pt x="97" y="500"/>
                    </a:lnTo>
                    <a:lnTo>
                      <a:pt x="95" y="500"/>
                    </a:lnTo>
                    <a:lnTo>
                      <a:pt x="93" y="498"/>
                    </a:lnTo>
                    <a:lnTo>
                      <a:pt x="93" y="496"/>
                    </a:lnTo>
                    <a:lnTo>
                      <a:pt x="91" y="496"/>
                    </a:lnTo>
                    <a:lnTo>
                      <a:pt x="91" y="494"/>
                    </a:lnTo>
                    <a:lnTo>
                      <a:pt x="91" y="492"/>
                    </a:lnTo>
                    <a:lnTo>
                      <a:pt x="91" y="490"/>
                    </a:lnTo>
                    <a:lnTo>
                      <a:pt x="91" y="492"/>
                    </a:lnTo>
                    <a:lnTo>
                      <a:pt x="93" y="492"/>
                    </a:lnTo>
                    <a:lnTo>
                      <a:pt x="93" y="490"/>
                    </a:lnTo>
                    <a:lnTo>
                      <a:pt x="93" y="488"/>
                    </a:lnTo>
                    <a:lnTo>
                      <a:pt x="93" y="486"/>
                    </a:lnTo>
                    <a:lnTo>
                      <a:pt x="95" y="486"/>
                    </a:lnTo>
                    <a:lnTo>
                      <a:pt x="97" y="484"/>
                    </a:lnTo>
                    <a:lnTo>
                      <a:pt x="97" y="482"/>
                    </a:lnTo>
                    <a:lnTo>
                      <a:pt x="98" y="482"/>
                    </a:lnTo>
                    <a:lnTo>
                      <a:pt x="100" y="482"/>
                    </a:lnTo>
                    <a:lnTo>
                      <a:pt x="100" y="480"/>
                    </a:lnTo>
                    <a:lnTo>
                      <a:pt x="102" y="480"/>
                    </a:lnTo>
                    <a:lnTo>
                      <a:pt x="102" y="478"/>
                    </a:lnTo>
                    <a:lnTo>
                      <a:pt x="104" y="478"/>
                    </a:lnTo>
                    <a:lnTo>
                      <a:pt x="104" y="477"/>
                    </a:lnTo>
                    <a:lnTo>
                      <a:pt x="104" y="475"/>
                    </a:lnTo>
                    <a:lnTo>
                      <a:pt x="104" y="473"/>
                    </a:lnTo>
                    <a:lnTo>
                      <a:pt x="106" y="473"/>
                    </a:lnTo>
                    <a:lnTo>
                      <a:pt x="106" y="471"/>
                    </a:lnTo>
                    <a:lnTo>
                      <a:pt x="106" y="469"/>
                    </a:lnTo>
                    <a:lnTo>
                      <a:pt x="104" y="469"/>
                    </a:lnTo>
                    <a:lnTo>
                      <a:pt x="104" y="467"/>
                    </a:lnTo>
                    <a:lnTo>
                      <a:pt x="106" y="467"/>
                    </a:lnTo>
                    <a:lnTo>
                      <a:pt x="106" y="465"/>
                    </a:lnTo>
                    <a:lnTo>
                      <a:pt x="104" y="465"/>
                    </a:lnTo>
                    <a:lnTo>
                      <a:pt x="104" y="463"/>
                    </a:lnTo>
                    <a:lnTo>
                      <a:pt x="104" y="461"/>
                    </a:lnTo>
                    <a:lnTo>
                      <a:pt x="102" y="461"/>
                    </a:lnTo>
                    <a:lnTo>
                      <a:pt x="104" y="461"/>
                    </a:lnTo>
                    <a:lnTo>
                      <a:pt x="104" y="459"/>
                    </a:lnTo>
                    <a:lnTo>
                      <a:pt x="102" y="459"/>
                    </a:lnTo>
                    <a:lnTo>
                      <a:pt x="102" y="457"/>
                    </a:lnTo>
                    <a:lnTo>
                      <a:pt x="102" y="455"/>
                    </a:lnTo>
                    <a:lnTo>
                      <a:pt x="100" y="455"/>
                    </a:lnTo>
                    <a:lnTo>
                      <a:pt x="98" y="455"/>
                    </a:lnTo>
                    <a:lnTo>
                      <a:pt x="98" y="453"/>
                    </a:lnTo>
                    <a:lnTo>
                      <a:pt x="100" y="453"/>
                    </a:lnTo>
                    <a:lnTo>
                      <a:pt x="100" y="452"/>
                    </a:lnTo>
                    <a:lnTo>
                      <a:pt x="100" y="450"/>
                    </a:lnTo>
                    <a:lnTo>
                      <a:pt x="100" y="448"/>
                    </a:lnTo>
                    <a:lnTo>
                      <a:pt x="102" y="448"/>
                    </a:lnTo>
                    <a:lnTo>
                      <a:pt x="102" y="446"/>
                    </a:lnTo>
                    <a:lnTo>
                      <a:pt x="102" y="444"/>
                    </a:lnTo>
                    <a:lnTo>
                      <a:pt x="102" y="442"/>
                    </a:lnTo>
                    <a:lnTo>
                      <a:pt x="102" y="440"/>
                    </a:lnTo>
                    <a:lnTo>
                      <a:pt x="102" y="442"/>
                    </a:lnTo>
                    <a:lnTo>
                      <a:pt x="102" y="440"/>
                    </a:lnTo>
                    <a:lnTo>
                      <a:pt x="104" y="440"/>
                    </a:lnTo>
                    <a:lnTo>
                      <a:pt x="104" y="438"/>
                    </a:lnTo>
                    <a:lnTo>
                      <a:pt x="104" y="436"/>
                    </a:lnTo>
                    <a:lnTo>
                      <a:pt x="104" y="434"/>
                    </a:lnTo>
                    <a:lnTo>
                      <a:pt x="106" y="432"/>
                    </a:lnTo>
                    <a:lnTo>
                      <a:pt x="106" y="430"/>
                    </a:lnTo>
                    <a:lnTo>
                      <a:pt x="106" y="428"/>
                    </a:lnTo>
                    <a:lnTo>
                      <a:pt x="108" y="428"/>
                    </a:lnTo>
                    <a:lnTo>
                      <a:pt x="108" y="427"/>
                    </a:lnTo>
                    <a:lnTo>
                      <a:pt x="108" y="425"/>
                    </a:lnTo>
                    <a:lnTo>
                      <a:pt x="108" y="423"/>
                    </a:lnTo>
                    <a:lnTo>
                      <a:pt x="110" y="423"/>
                    </a:lnTo>
                    <a:lnTo>
                      <a:pt x="110" y="421"/>
                    </a:lnTo>
                    <a:lnTo>
                      <a:pt x="110" y="419"/>
                    </a:lnTo>
                    <a:lnTo>
                      <a:pt x="110" y="417"/>
                    </a:lnTo>
                    <a:lnTo>
                      <a:pt x="112" y="417"/>
                    </a:lnTo>
                    <a:lnTo>
                      <a:pt x="110" y="417"/>
                    </a:lnTo>
                    <a:lnTo>
                      <a:pt x="112" y="417"/>
                    </a:lnTo>
                    <a:lnTo>
                      <a:pt x="112" y="415"/>
                    </a:lnTo>
                    <a:lnTo>
                      <a:pt x="114" y="415"/>
                    </a:lnTo>
                    <a:lnTo>
                      <a:pt x="116" y="413"/>
                    </a:lnTo>
                    <a:lnTo>
                      <a:pt x="114" y="413"/>
                    </a:lnTo>
                    <a:lnTo>
                      <a:pt x="114" y="411"/>
                    </a:lnTo>
                    <a:lnTo>
                      <a:pt x="114" y="409"/>
                    </a:lnTo>
                    <a:lnTo>
                      <a:pt x="114" y="407"/>
                    </a:lnTo>
                    <a:lnTo>
                      <a:pt x="114" y="405"/>
                    </a:lnTo>
                    <a:lnTo>
                      <a:pt x="112" y="405"/>
                    </a:lnTo>
                    <a:lnTo>
                      <a:pt x="110" y="407"/>
                    </a:lnTo>
                    <a:lnTo>
                      <a:pt x="108" y="407"/>
                    </a:lnTo>
                    <a:lnTo>
                      <a:pt x="108" y="405"/>
                    </a:lnTo>
                    <a:lnTo>
                      <a:pt x="106" y="403"/>
                    </a:lnTo>
                    <a:lnTo>
                      <a:pt x="106" y="402"/>
                    </a:lnTo>
                    <a:lnTo>
                      <a:pt x="108" y="402"/>
                    </a:lnTo>
                    <a:lnTo>
                      <a:pt x="108" y="400"/>
                    </a:lnTo>
                    <a:lnTo>
                      <a:pt x="108" y="398"/>
                    </a:lnTo>
                    <a:lnTo>
                      <a:pt x="108" y="396"/>
                    </a:lnTo>
                    <a:lnTo>
                      <a:pt x="110" y="396"/>
                    </a:lnTo>
                    <a:lnTo>
                      <a:pt x="108" y="396"/>
                    </a:lnTo>
                    <a:lnTo>
                      <a:pt x="108" y="394"/>
                    </a:lnTo>
                    <a:lnTo>
                      <a:pt x="106" y="394"/>
                    </a:lnTo>
                    <a:lnTo>
                      <a:pt x="106" y="392"/>
                    </a:lnTo>
                    <a:lnTo>
                      <a:pt x="104" y="392"/>
                    </a:lnTo>
                    <a:lnTo>
                      <a:pt x="106" y="392"/>
                    </a:lnTo>
                    <a:lnTo>
                      <a:pt x="104" y="392"/>
                    </a:lnTo>
                    <a:lnTo>
                      <a:pt x="104" y="390"/>
                    </a:lnTo>
                    <a:lnTo>
                      <a:pt x="104" y="388"/>
                    </a:lnTo>
                    <a:lnTo>
                      <a:pt x="104" y="386"/>
                    </a:lnTo>
                    <a:lnTo>
                      <a:pt x="102" y="384"/>
                    </a:lnTo>
                    <a:lnTo>
                      <a:pt x="102" y="382"/>
                    </a:lnTo>
                    <a:lnTo>
                      <a:pt x="102" y="380"/>
                    </a:lnTo>
                    <a:lnTo>
                      <a:pt x="104" y="380"/>
                    </a:lnTo>
                    <a:lnTo>
                      <a:pt x="104" y="379"/>
                    </a:lnTo>
                    <a:lnTo>
                      <a:pt x="104" y="380"/>
                    </a:lnTo>
                    <a:lnTo>
                      <a:pt x="106" y="379"/>
                    </a:lnTo>
                    <a:lnTo>
                      <a:pt x="106" y="377"/>
                    </a:lnTo>
                    <a:lnTo>
                      <a:pt x="108" y="377"/>
                    </a:lnTo>
                    <a:lnTo>
                      <a:pt x="108" y="375"/>
                    </a:lnTo>
                    <a:lnTo>
                      <a:pt x="108" y="373"/>
                    </a:lnTo>
                    <a:lnTo>
                      <a:pt x="108" y="371"/>
                    </a:lnTo>
                    <a:lnTo>
                      <a:pt x="110" y="371"/>
                    </a:lnTo>
                    <a:lnTo>
                      <a:pt x="108" y="371"/>
                    </a:lnTo>
                    <a:lnTo>
                      <a:pt x="108" y="369"/>
                    </a:lnTo>
                    <a:lnTo>
                      <a:pt x="108" y="367"/>
                    </a:lnTo>
                    <a:lnTo>
                      <a:pt x="108" y="365"/>
                    </a:lnTo>
                    <a:lnTo>
                      <a:pt x="110" y="365"/>
                    </a:lnTo>
                    <a:lnTo>
                      <a:pt x="110" y="363"/>
                    </a:lnTo>
                    <a:lnTo>
                      <a:pt x="112" y="363"/>
                    </a:lnTo>
                    <a:lnTo>
                      <a:pt x="114" y="363"/>
                    </a:lnTo>
                    <a:lnTo>
                      <a:pt x="114" y="361"/>
                    </a:lnTo>
                    <a:lnTo>
                      <a:pt x="112" y="361"/>
                    </a:lnTo>
                    <a:lnTo>
                      <a:pt x="112" y="359"/>
                    </a:lnTo>
                    <a:lnTo>
                      <a:pt x="114" y="359"/>
                    </a:lnTo>
                    <a:lnTo>
                      <a:pt x="114" y="357"/>
                    </a:lnTo>
                    <a:lnTo>
                      <a:pt x="112" y="357"/>
                    </a:lnTo>
                    <a:lnTo>
                      <a:pt x="112" y="355"/>
                    </a:lnTo>
                    <a:lnTo>
                      <a:pt x="112" y="354"/>
                    </a:lnTo>
                    <a:lnTo>
                      <a:pt x="114" y="352"/>
                    </a:lnTo>
                    <a:lnTo>
                      <a:pt x="114" y="350"/>
                    </a:lnTo>
                    <a:lnTo>
                      <a:pt x="112" y="350"/>
                    </a:lnTo>
                    <a:lnTo>
                      <a:pt x="110" y="350"/>
                    </a:lnTo>
                    <a:lnTo>
                      <a:pt x="110" y="352"/>
                    </a:lnTo>
                    <a:lnTo>
                      <a:pt x="108" y="352"/>
                    </a:lnTo>
                    <a:lnTo>
                      <a:pt x="108" y="354"/>
                    </a:lnTo>
                    <a:lnTo>
                      <a:pt x="106" y="352"/>
                    </a:lnTo>
                    <a:lnTo>
                      <a:pt x="108" y="352"/>
                    </a:lnTo>
                    <a:lnTo>
                      <a:pt x="106" y="352"/>
                    </a:lnTo>
                    <a:lnTo>
                      <a:pt x="106" y="350"/>
                    </a:lnTo>
                    <a:lnTo>
                      <a:pt x="104" y="350"/>
                    </a:lnTo>
                    <a:lnTo>
                      <a:pt x="102" y="350"/>
                    </a:lnTo>
                    <a:lnTo>
                      <a:pt x="100" y="350"/>
                    </a:lnTo>
                    <a:lnTo>
                      <a:pt x="100" y="348"/>
                    </a:lnTo>
                    <a:lnTo>
                      <a:pt x="98" y="346"/>
                    </a:lnTo>
                    <a:lnTo>
                      <a:pt x="98" y="344"/>
                    </a:lnTo>
                    <a:lnTo>
                      <a:pt x="98" y="342"/>
                    </a:lnTo>
                    <a:lnTo>
                      <a:pt x="98" y="340"/>
                    </a:lnTo>
                    <a:lnTo>
                      <a:pt x="98" y="338"/>
                    </a:lnTo>
                    <a:lnTo>
                      <a:pt x="98" y="336"/>
                    </a:lnTo>
                    <a:lnTo>
                      <a:pt x="98" y="334"/>
                    </a:lnTo>
                    <a:lnTo>
                      <a:pt x="98" y="332"/>
                    </a:lnTo>
                    <a:lnTo>
                      <a:pt x="98" y="330"/>
                    </a:lnTo>
                    <a:lnTo>
                      <a:pt x="98" y="329"/>
                    </a:lnTo>
                    <a:lnTo>
                      <a:pt x="98" y="327"/>
                    </a:lnTo>
                    <a:lnTo>
                      <a:pt x="98" y="325"/>
                    </a:lnTo>
                    <a:lnTo>
                      <a:pt x="100" y="323"/>
                    </a:lnTo>
                    <a:lnTo>
                      <a:pt x="98" y="323"/>
                    </a:lnTo>
                    <a:lnTo>
                      <a:pt x="98" y="321"/>
                    </a:lnTo>
                    <a:lnTo>
                      <a:pt x="100" y="321"/>
                    </a:lnTo>
                    <a:lnTo>
                      <a:pt x="98" y="321"/>
                    </a:lnTo>
                    <a:lnTo>
                      <a:pt x="98" y="319"/>
                    </a:lnTo>
                    <a:lnTo>
                      <a:pt x="97" y="319"/>
                    </a:lnTo>
                    <a:lnTo>
                      <a:pt x="97" y="317"/>
                    </a:lnTo>
                    <a:lnTo>
                      <a:pt x="97" y="315"/>
                    </a:lnTo>
                    <a:lnTo>
                      <a:pt x="98" y="315"/>
                    </a:lnTo>
                    <a:lnTo>
                      <a:pt x="98" y="313"/>
                    </a:lnTo>
                    <a:lnTo>
                      <a:pt x="98" y="311"/>
                    </a:lnTo>
                    <a:lnTo>
                      <a:pt x="100" y="313"/>
                    </a:lnTo>
                    <a:lnTo>
                      <a:pt x="100" y="311"/>
                    </a:lnTo>
                    <a:lnTo>
                      <a:pt x="100" y="309"/>
                    </a:lnTo>
                    <a:lnTo>
                      <a:pt x="100" y="307"/>
                    </a:lnTo>
                    <a:lnTo>
                      <a:pt x="100" y="305"/>
                    </a:lnTo>
                    <a:lnTo>
                      <a:pt x="102" y="305"/>
                    </a:lnTo>
                    <a:lnTo>
                      <a:pt x="100" y="305"/>
                    </a:lnTo>
                    <a:lnTo>
                      <a:pt x="102" y="305"/>
                    </a:lnTo>
                    <a:lnTo>
                      <a:pt x="104" y="305"/>
                    </a:lnTo>
                    <a:lnTo>
                      <a:pt x="104" y="307"/>
                    </a:lnTo>
                    <a:lnTo>
                      <a:pt x="102" y="307"/>
                    </a:lnTo>
                    <a:lnTo>
                      <a:pt x="104" y="309"/>
                    </a:lnTo>
                    <a:lnTo>
                      <a:pt x="102" y="309"/>
                    </a:lnTo>
                    <a:lnTo>
                      <a:pt x="104" y="309"/>
                    </a:lnTo>
                    <a:lnTo>
                      <a:pt x="106" y="309"/>
                    </a:lnTo>
                    <a:lnTo>
                      <a:pt x="108" y="309"/>
                    </a:lnTo>
                    <a:lnTo>
                      <a:pt x="110" y="309"/>
                    </a:lnTo>
                    <a:lnTo>
                      <a:pt x="112" y="309"/>
                    </a:lnTo>
                    <a:lnTo>
                      <a:pt x="112" y="307"/>
                    </a:lnTo>
                    <a:lnTo>
                      <a:pt x="114" y="307"/>
                    </a:lnTo>
                    <a:lnTo>
                      <a:pt x="114" y="305"/>
                    </a:lnTo>
                    <a:lnTo>
                      <a:pt x="116" y="305"/>
                    </a:lnTo>
                    <a:lnTo>
                      <a:pt x="116" y="304"/>
                    </a:lnTo>
                    <a:lnTo>
                      <a:pt x="118" y="304"/>
                    </a:lnTo>
                    <a:lnTo>
                      <a:pt x="118" y="302"/>
                    </a:lnTo>
                    <a:lnTo>
                      <a:pt x="118" y="300"/>
                    </a:lnTo>
                    <a:lnTo>
                      <a:pt x="120" y="300"/>
                    </a:lnTo>
                    <a:lnTo>
                      <a:pt x="120" y="302"/>
                    </a:lnTo>
                    <a:lnTo>
                      <a:pt x="121" y="302"/>
                    </a:lnTo>
                    <a:lnTo>
                      <a:pt x="123" y="302"/>
                    </a:lnTo>
                    <a:lnTo>
                      <a:pt x="123" y="304"/>
                    </a:lnTo>
                    <a:lnTo>
                      <a:pt x="125" y="304"/>
                    </a:lnTo>
                    <a:lnTo>
                      <a:pt x="125" y="305"/>
                    </a:lnTo>
                    <a:lnTo>
                      <a:pt x="127" y="305"/>
                    </a:lnTo>
                    <a:lnTo>
                      <a:pt x="127" y="307"/>
                    </a:lnTo>
                    <a:lnTo>
                      <a:pt x="127" y="309"/>
                    </a:lnTo>
                    <a:lnTo>
                      <a:pt x="129" y="309"/>
                    </a:lnTo>
                    <a:lnTo>
                      <a:pt x="129" y="311"/>
                    </a:lnTo>
                    <a:lnTo>
                      <a:pt x="129" y="313"/>
                    </a:lnTo>
                    <a:lnTo>
                      <a:pt x="129" y="315"/>
                    </a:lnTo>
                    <a:lnTo>
                      <a:pt x="131" y="315"/>
                    </a:lnTo>
                    <a:lnTo>
                      <a:pt x="131" y="317"/>
                    </a:lnTo>
                    <a:lnTo>
                      <a:pt x="133" y="317"/>
                    </a:lnTo>
                    <a:lnTo>
                      <a:pt x="133" y="319"/>
                    </a:lnTo>
                    <a:lnTo>
                      <a:pt x="133" y="321"/>
                    </a:lnTo>
                    <a:lnTo>
                      <a:pt x="131" y="321"/>
                    </a:lnTo>
                    <a:lnTo>
                      <a:pt x="131" y="323"/>
                    </a:lnTo>
                    <a:lnTo>
                      <a:pt x="131" y="325"/>
                    </a:lnTo>
                    <a:lnTo>
                      <a:pt x="131" y="327"/>
                    </a:lnTo>
                    <a:lnTo>
                      <a:pt x="133" y="329"/>
                    </a:lnTo>
                    <a:lnTo>
                      <a:pt x="133" y="330"/>
                    </a:lnTo>
                    <a:lnTo>
                      <a:pt x="135" y="330"/>
                    </a:lnTo>
                    <a:lnTo>
                      <a:pt x="135" y="332"/>
                    </a:lnTo>
                    <a:lnTo>
                      <a:pt x="135" y="334"/>
                    </a:lnTo>
                    <a:lnTo>
                      <a:pt x="137" y="334"/>
                    </a:lnTo>
                    <a:lnTo>
                      <a:pt x="137" y="336"/>
                    </a:lnTo>
                    <a:lnTo>
                      <a:pt x="139" y="336"/>
                    </a:lnTo>
                    <a:lnTo>
                      <a:pt x="141" y="338"/>
                    </a:lnTo>
                    <a:lnTo>
                      <a:pt x="141" y="340"/>
                    </a:lnTo>
                    <a:lnTo>
                      <a:pt x="139" y="340"/>
                    </a:lnTo>
                    <a:lnTo>
                      <a:pt x="139" y="342"/>
                    </a:lnTo>
                    <a:lnTo>
                      <a:pt x="139" y="340"/>
                    </a:lnTo>
                    <a:lnTo>
                      <a:pt x="137" y="340"/>
                    </a:lnTo>
                    <a:lnTo>
                      <a:pt x="135" y="340"/>
                    </a:lnTo>
                    <a:lnTo>
                      <a:pt x="135" y="338"/>
                    </a:lnTo>
                    <a:lnTo>
                      <a:pt x="133" y="338"/>
                    </a:lnTo>
                    <a:lnTo>
                      <a:pt x="131" y="338"/>
                    </a:lnTo>
                    <a:lnTo>
                      <a:pt x="129" y="338"/>
                    </a:lnTo>
                    <a:lnTo>
                      <a:pt x="129" y="340"/>
                    </a:lnTo>
                    <a:lnTo>
                      <a:pt x="129" y="342"/>
                    </a:lnTo>
                    <a:lnTo>
                      <a:pt x="129" y="340"/>
                    </a:lnTo>
                    <a:lnTo>
                      <a:pt x="131" y="342"/>
                    </a:lnTo>
                    <a:lnTo>
                      <a:pt x="129" y="342"/>
                    </a:lnTo>
                    <a:lnTo>
                      <a:pt x="131" y="342"/>
                    </a:lnTo>
                    <a:lnTo>
                      <a:pt x="129" y="342"/>
                    </a:lnTo>
                    <a:lnTo>
                      <a:pt x="131" y="342"/>
                    </a:lnTo>
                    <a:lnTo>
                      <a:pt x="129" y="342"/>
                    </a:lnTo>
                    <a:lnTo>
                      <a:pt x="131" y="342"/>
                    </a:lnTo>
                    <a:lnTo>
                      <a:pt x="131" y="344"/>
                    </a:lnTo>
                    <a:lnTo>
                      <a:pt x="129" y="344"/>
                    </a:lnTo>
                    <a:lnTo>
                      <a:pt x="127" y="344"/>
                    </a:lnTo>
                    <a:lnTo>
                      <a:pt x="127" y="346"/>
                    </a:lnTo>
                    <a:lnTo>
                      <a:pt x="125" y="346"/>
                    </a:lnTo>
                    <a:lnTo>
                      <a:pt x="123" y="346"/>
                    </a:lnTo>
                    <a:lnTo>
                      <a:pt x="125" y="346"/>
                    </a:lnTo>
                    <a:lnTo>
                      <a:pt x="125" y="348"/>
                    </a:lnTo>
                    <a:lnTo>
                      <a:pt x="125" y="346"/>
                    </a:lnTo>
                    <a:lnTo>
                      <a:pt x="127" y="346"/>
                    </a:lnTo>
                    <a:lnTo>
                      <a:pt x="127" y="344"/>
                    </a:lnTo>
                    <a:lnTo>
                      <a:pt x="129" y="344"/>
                    </a:lnTo>
                    <a:lnTo>
                      <a:pt x="129" y="346"/>
                    </a:lnTo>
                    <a:lnTo>
                      <a:pt x="129" y="344"/>
                    </a:lnTo>
                    <a:lnTo>
                      <a:pt x="129" y="346"/>
                    </a:lnTo>
                    <a:lnTo>
                      <a:pt x="131" y="346"/>
                    </a:lnTo>
                    <a:lnTo>
                      <a:pt x="131" y="344"/>
                    </a:lnTo>
                    <a:lnTo>
                      <a:pt x="131" y="342"/>
                    </a:lnTo>
                    <a:lnTo>
                      <a:pt x="133" y="342"/>
                    </a:lnTo>
                    <a:lnTo>
                      <a:pt x="133" y="344"/>
                    </a:lnTo>
                    <a:lnTo>
                      <a:pt x="135" y="344"/>
                    </a:lnTo>
                    <a:lnTo>
                      <a:pt x="137" y="344"/>
                    </a:lnTo>
                    <a:lnTo>
                      <a:pt x="139" y="344"/>
                    </a:lnTo>
                    <a:lnTo>
                      <a:pt x="139" y="346"/>
                    </a:lnTo>
                    <a:lnTo>
                      <a:pt x="141" y="346"/>
                    </a:lnTo>
                    <a:lnTo>
                      <a:pt x="141" y="344"/>
                    </a:lnTo>
                    <a:lnTo>
                      <a:pt x="141" y="342"/>
                    </a:lnTo>
                    <a:lnTo>
                      <a:pt x="141" y="340"/>
                    </a:lnTo>
                    <a:lnTo>
                      <a:pt x="141" y="342"/>
                    </a:lnTo>
                    <a:lnTo>
                      <a:pt x="143" y="342"/>
                    </a:lnTo>
                    <a:lnTo>
                      <a:pt x="143" y="344"/>
                    </a:lnTo>
                    <a:lnTo>
                      <a:pt x="145" y="346"/>
                    </a:lnTo>
                    <a:lnTo>
                      <a:pt x="146" y="348"/>
                    </a:lnTo>
                    <a:lnTo>
                      <a:pt x="146" y="350"/>
                    </a:lnTo>
                    <a:lnTo>
                      <a:pt x="148" y="350"/>
                    </a:lnTo>
                    <a:lnTo>
                      <a:pt x="148" y="352"/>
                    </a:lnTo>
                    <a:lnTo>
                      <a:pt x="150" y="352"/>
                    </a:lnTo>
                    <a:lnTo>
                      <a:pt x="150" y="354"/>
                    </a:lnTo>
                    <a:lnTo>
                      <a:pt x="152" y="355"/>
                    </a:lnTo>
                    <a:lnTo>
                      <a:pt x="150" y="355"/>
                    </a:lnTo>
                    <a:lnTo>
                      <a:pt x="150" y="354"/>
                    </a:lnTo>
                    <a:lnTo>
                      <a:pt x="150" y="355"/>
                    </a:lnTo>
                    <a:lnTo>
                      <a:pt x="152" y="355"/>
                    </a:lnTo>
                    <a:lnTo>
                      <a:pt x="152" y="357"/>
                    </a:lnTo>
                    <a:lnTo>
                      <a:pt x="152" y="359"/>
                    </a:lnTo>
                    <a:lnTo>
                      <a:pt x="154" y="361"/>
                    </a:lnTo>
                    <a:lnTo>
                      <a:pt x="156" y="363"/>
                    </a:lnTo>
                    <a:lnTo>
                      <a:pt x="156" y="365"/>
                    </a:lnTo>
                    <a:lnTo>
                      <a:pt x="156" y="367"/>
                    </a:lnTo>
                    <a:lnTo>
                      <a:pt x="158" y="369"/>
                    </a:lnTo>
                    <a:lnTo>
                      <a:pt x="158" y="371"/>
                    </a:lnTo>
                    <a:lnTo>
                      <a:pt x="158" y="373"/>
                    </a:lnTo>
                    <a:lnTo>
                      <a:pt x="158" y="371"/>
                    </a:lnTo>
                    <a:lnTo>
                      <a:pt x="158" y="373"/>
                    </a:lnTo>
                    <a:lnTo>
                      <a:pt x="156" y="373"/>
                    </a:lnTo>
                    <a:lnTo>
                      <a:pt x="158" y="373"/>
                    </a:lnTo>
                    <a:lnTo>
                      <a:pt x="158" y="371"/>
                    </a:lnTo>
                    <a:lnTo>
                      <a:pt x="158" y="373"/>
                    </a:lnTo>
                    <a:lnTo>
                      <a:pt x="160" y="373"/>
                    </a:lnTo>
                    <a:lnTo>
                      <a:pt x="158" y="373"/>
                    </a:lnTo>
                    <a:lnTo>
                      <a:pt x="160" y="373"/>
                    </a:lnTo>
                    <a:lnTo>
                      <a:pt x="158" y="373"/>
                    </a:lnTo>
                    <a:lnTo>
                      <a:pt x="160" y="373"/>
                    </a:lnTo>
                    <a:lnTo>
                      <a:pt x="162" y="373"/>
                    </a:lnTo>
                    <a:lnTo>
                      <a:pt x="162" y="375"/>
                    </a:lnTo>
                    <a:lnTo>
                      <a:pt x="162" y="373"/>
                    </a:lnTo>
                    <a:lnTo>
                      <a:pt x="162" y="375"/>
                    </a:lnTo>
                    <a:lnTo>
                      <a:pt x="164" y="375"/>
                    </a:lnTo>
                    <a:lnTo>
                      <a:pt x="162" y="375"/>
                    </a:lnTo>
                    <a:lnTo>
                      <a:pt x="162" y="377"/>
                    </a:lnTo>
                    <a:lnTo>
                      <a:pt x="162" y="375"/>
                    </a:lnTo>
                    <a:lnTo>
                      <a:pt x="164" y="375"/>
                    </a:lnTo>
                    <a:lnTo>
                      <a:pt x="162" y="375"/>
                    </a:lnTo>
                    <a:lnTo>
                      <a:pt x="164" y="375"/>
                    </a:lnTo>
                    <a:lnTo>
                      <a:pt x="164" y="373"/>
                    </a:lnTo>
                    <a:lnTo>
                      <a:pt x="166" y="373"/>
                    </a:lnTo>
                    <a:lnTo>
                      <a:pt x="166" y="375"/>
                    </a:lnTo>
                    <a:lnTo>
                      <a:pt x="166" y="373"/>
                    </a:lnTo>
                    <a:lnTo>
                      <a:pt x="168" y="373"/>
                    </a:lnTo>
                    <a:lnTo>
                      <a:pt x="168" y="375"/>
                    </a:lnTo>
                    <a:lnTo>
                      <a:pt x="170" y="375"/>
                    </a:lnTo>
                    <a:lnTo>
                      <a:pt x="168" y="375"/>
                    </a:lnTo>
                    <a:lnTo>
                      <a:pt x="170" y="375"/>
                    </a:lnTo>
                    <a:lnTo>
                      <a:pt x="168" y="375"/>
                    </a:lnTo>
                    <a:lnTo>
                      <a:pt x="170" y="375"/>
                    </a:lnTo>
                    <a:lnTo>
                      <a:pt x="168" y="375"/>
                    </a:lnTo>
                    <a:lnTo>
                      <a:pt x="170" y="375"/>
                    </a:lnTo>
                    <a:lnTo>
                      <a:pt x="168" y="375"/>
                    </a:lnTo>
                    <a:lnTo>
                      <a:pt x="168" y="373"/>
                    </a:lnTo>
                    <a:lnTo>
                      <a:pt x="170" y="373"/>
                    </a:lnTo>
                    <a:lnTo>
                      <a:pt x="170" y="375"/>
                    </a:lnTo>
                    <a:lnTo>
                      <a:pt x="171" y="375"/>
                    </a:lnTo>
                    <a:lnTo>
                      <a:pt x="173" y="377"/>
                    </a:lnTo>
                    <a:lnTo>
                      <a:pt x="171" y="375"/>
                    </a:lnTo>
                    <a:lnTo>
                      <a:pt x="173" y="377"/>
                    </a:lnTo>
                    <a:lnTo>
                      <a:pt x="171" y="377"/>
                    </a:lnTo>
                    <a:lnTo>
                      <a:pt x="173" y="377"/>
                    </a:lnTo>
                    <a:lnTo>
                      <a:pt x="171" y="377"/>
                    </a:lnTo>
                    <a:lnTo>
                      <a:pt x="173" y="377"/>
                    </a:lnTo>
                    <a:lnTo>
                      <a:pt x="171" y="377"/>
                    </a:lnTo>
                    <a:lnTo>
                      <a:pt x="171" y="379"/>
                    </a:lnTo>
                    <a:lnTo>
                      <a:pt x="171" y="380"/>
                    </a:lnTo>
                    <a:lnTo>
                      <a:pt x="173" y="380"/>
                    </a:lnTo>
                    <a:lnTo>
                      <a:pt x="173" y="382"/>
                    </a:lnTo>
                    <a:lnTo>
                      <a:pt x="175" y="382"/>
                    </a:lnTo>
                    <a:lnTo>
                      <a:pt x="173" y="382"/>
                    </a:lnTo>
                    <a:lnTo>
                      <a:pt x="173" y="384"/>
                    </a:lnTo>
                    <a:lnTo>
                      <a:pt x="171" y="384"/>
                    </a:lnTo>
                    <a:lnTo>
                      <a:pt x="171" y="386"/>
                    </a:lnTo>
                    <a:lnTo>
                      <a:pt x="171" y="384"/>
                    </a:lnTo>
                    <a:lnTo>
                      <a:pt x="173" y="384"/>
                    </a:lnTo>
                    <a:lnTo>
                      <a:pt x="173" y="382"/>
                    </a:lnTo>
                    <a:lnTo>
                      <a:pt x="175" y="382"/>
                    </a:lnTo>
                    <a:lnTo>
                      <a:pt x="177" y="382"/>
                    </a:lnTo>
                    <a:lnTo>
                      <a:pt x="177" y="384"/>
                    </a:lnTo>
                    <a:lnTo>
                      <a:pt x="175" y="384"/>
                    </a:lnTo>
                    <a:lnTo>
                      <a:pt x="177" y="386"/>
                    </a:lnTo>
                    <a:lnTo>
                      <a:pt x="175" y="388"/>
                    </a:lnTo>
                    <a:lnTo>
                      <a:pt x="177" y="388"/>
                    </a:lnTo>
                    <a:lnTo>
                      <a:pt x="177" y="390"/>
                    </a:lnTo>
                    <a:lnTo>
                      <a:pt x="177" y="388"/>
                    </a:lnTo>
                    <a:lnTo>
                      <a:pt x="175" y="388"/>
                    </a:lnTo>
                    <a:lnTo>
                      <a:pt x="177" y="386"/>
                    </a:lnTo>
                    <a:lnTo>
                      <a:pt x="177" y="384"/>
                    </a:lnTo>
                    <a:lnTo>
                      <a:pt x="177" y="386"/>
                    </a:lnTo>
                    <a:lnTo>
                      <a:pt x="179" y="386"/>
                    </a:lnTo>
                    <a:lnTo>
                      <a:pt x="181" y="388"/>
                    </a:lnTo>
                    <a:lnTo>
                      <a:pt x="181" y="390"/>
                    </a:lnTo>
                    <a:lnTo>
                      <a:pt x="181" y="392"/>
                    </a:lnTo>
                    <a:lnTo>
                      <a:pt x="179" y="392"/>
                    </a:lnTo>
                    <a:lnTo>
                      <a:pt x="181" y="392"/>
                    </a:lnTo>
                    <a:lnTo>
                      <a:pt x="183" y="392"/>
                    </a:lnTo>
                    <a:lnTo>
                      <a:pt x="183" y="394"/>
                    </a:lnTo>
                    <a:lnTo>
                      <a:pt x="185" y="396"/>
                    </a:lnTo>
                    <a:lnTo>
                      <a:pt x="183" y="396"/>
                    </a:lnTo>
                    <a:lnTo>
                      <a:pt x="183" y="398"/>
                    </a:lnTo>
                    <a:lnTo>
                      <a:pt x="183" y="400"/>
                    </a:lnTo>
                    <a:lnTo>
                      <a:pt x="183" y="402"/>
                    </a:lnTo>
                    <a:lnTo>
                      <a:pt x="185" y="403"/>
                    </a:lnTo>
                    <a:lnTo>
                      <a:pt x="185" y="402"/>
                    </a:lnTo>
                    <a:lnTo>
                      <a:pt x="185" y="403"/>
                    </a:lnTo>
                    <a:lnTo>
                      <a:pt x="187" y="403"/>
                    </a:lnTo>
                    <a:lnTo>
                      <a:pt x="187" y="405"/>
                    </a:lnTo>
                    <a:lnTo>
                      <a:pt x="189" y="407"/>
                    </a:lnTo>
                    <a:lnTo>
                      <a:pt x="189" y="409"/>
                    </a:lnTo>
                    <a:lnTo>
                      <a:pt x="189" y="407"/>
                    </a:lnTo>
                    <a:lnTo>
                      <a:pt x="191" y="407"/>
                    </a:lnTo>
                    <a:lnTo>
                      <a:pt x="191" y="409"/>
                    </a:lnTo>
                    <a:lnTo>
                      <a:pt x="193" y="409"/>
                    </a:lnTo>
                    <a:lnTo>
                      <a:pt x="193" y="411"/>
                    </a:lnTo>
                    <a:lnTo>
                      <a:pt x="194" y="411"/>
                    </a:lnTo>
                    <a:lnTo>
                      <a:pt x="194" y="413"/>
                    </a:lnTo>
                    <a:lnTo>
                      <a:pt x="194" y="415"/>
                    </a:lnTo>
                    <a:lnTo>
                      <a:pt x="194" y="417"/>
                    </a:lnTo>
                    <a:lnTo>
                      <a:pt x="196" y="419"/>
                    </a:lnTo>
                    <a:lnTo>
                      <a:pt x="196" y="417"/>
                    </a:lnTo>
                    <a:lnTo>
                      <a:pt x="196" y="419"/>
                    </a:lnTo>
                    <a:lnTo>
                      <a:pt x="196" y="421"/>
                    </a:lnTo>
                    <a:lnTo>
                      <a:pt x="194" y="421"/>
                    </a:lnTo>
                    <a:lnTo>
                      <a:pt x="196" y="423"/>
                    </a:lnTo>
                    <a:lnTo>
                      <a:pt x="196" y="421"/>
                    </a:lnTo>
                    <a:lnTo>
                      <a:pt x="194" y="421"/>
                    </a:lnTo>
                    <a:lnTo>
                      <a:pt x="196" y="421"/>
                    </a:lnTo>
                    <a:lnTo>
                      <a:pt x="196" y="423"/>
                    </a:lnTo>
                    <a:lnTo>
                      <a:pt x="198" y="423"/>
                    </a:lnTo>
                    <a:lnTo>
                      <a:pt x="200" y="423"/>
                    </a:lnTo>
                    <a:lnTo>
                      <a:pt x="200" y="425"/>
                    </a:lnTo>
                    <a:lnTo>
                      <a:pt x="200" y="427"/>
                    </a:lnTo>
                    <a:lnTo>
                      <a:pt x="198" y="427"/>
                    </a:lnTo>
                    <a:lnTo>
                      <a:pt x="196" y="427"/>
                    </a:lnTo>
                    <a:lnTo>
                      <a:pt x="196" y="425"/>
                    </a:lnTo>
                    <a:lnTo>
                      <a:pt x="194" y="425"/>
                    </a:lnTo>
                    <a:lnTo>
                      <a:pt x="194" y="427"/>
                    </a:lnTo>
                    <a:lnTo>
                      <a:pt x="193" y="427"/>
                    </a:lnTo>
                    <a:lnTo>
                      <a:pt x="193" y="428"/>
                    </a:lnTo>
                    <a:lnTo>
                      <a:pt x="191" y="430"/>
                    </a:lnTo>
                    <a:lnTo>
                      <a:pt x="193" y="432"/>
                    </a:lnTo>
                    <a:lnTo>
                      <a:pt x="191" y="432"/>
                    </a:lnTo>
                    <a:lnTo>
                      <a:pt x="191" y="434"/>
                    </a:lnTo>
                    <a:lnTo>
                      <a:pt x="189" y="434"/>
                    </a:lnTo>
                    <a:lnTo>
                      <a:pt x="187" y="436"/>
                    </a:lnTo>
                    <a:lnTo>
                      <a:pt x="185" y="436"/>
                    </a:lnTo>
                    <a:lnTo>
                      <a:pt x="185" y="438"/>
                    </a:lnTo>
                    <a:lnTo>
                      <a:pt x="183" y="438"/>
                    </a:lnTo>
                    <a:lnTo>
                      <a:pt x="183" y="440"/>
                    </a:lnTo>
                    <a:lnTo>
                      <a:pt x="181" y="440"/>
                    </a:lnTo>
                    <a:lnTo>
                      <a:pt x="179" y="440"/>
                    </a:lnTo>
                    <a:lnTo>
                      <a:pt x="177" y="440"/>
                    </a:lnTo>
                    <a:lnTo>
                      <a:pt x="175" y="442"/>
                    </a:lnTo>
                    <a:lnTo>
                      <a:pt x="175" y="444"/>
                    </a:lnTo>
                    <a:lnTo>
                      <a:pt x="175" y="446"/>
                    </a:lnTo>
                    <a:lnTo>
                      <a:pt x="173" y="448"/>
                    </a:lnTo>
                    <a:lnTo>
                      <a:pt x="173" y="450"/>
                    </a:lnTo>
                    <a:lnTo>
                      <a:pt x="175" y="450"/>
                    </a:lnTo>
                    <a:lnTo>
                      <a:pt x="175" y="452"/>
                    </a:lnTo>
                    <a:lnTo>
                      <a:pt x="177" y="452"/>
                    </a:lnTo>
                    <a:lnTo>
                      <a:pt x="179" y="452"/>
                    </a:lnTo>
                    <a:lnTo>
                      <a:pt x="179" y="453"/>
                    </a:lnTo>
                    <a:lnTo>
                      <a:pt x="177" y="455"/>
                    </a:lnTo>
                    <a:lnTo>
                      <a:pt x="179" y="455"/>
                    </a:lnTo>
                    <a:lnTo>
                      <a:pt x="179" y="457"/>
                    </a:lnTo>
                    <a:lnTo>
                      <a:pt x="179" y="459"/>
                    </a:lnTo>
                    <a:lnTo>
                      <a:pt x="177" y="459"/>
                    </a:lnTo>
                    <a:lnTo>
                      <a:pt x="177" y="461"/>
                    </a:lnTo>
                    <a:lnTo>
                      <a:pt x="175" y="461"/>
                    </a:lnTo>
                    <a:lnTo>
                      <a:pt x="175" y="463"/>
                    </a:lnTo>
                    <a:lnTo>
                      <a:pt x="173" y="463"/>
                    </a:lnTo>
                    <a:lnTo>
                      <a:pt x="173" y="461"/>
                    </a:lnTo>
                    <a:lnTo>
                      <a:pt x="173" y="463"/>
                    </a:lnTo>
                    <a:lnTo>
                      <a:pt x="173" y="461"/>
                    </a:lnTo>
                    <a:lnTo>
                      <a:pt x="171" y="461"/>
                    </a:lnTo>
                    <a:lnTo>
                      <a:pt x="170" y="461"/>
                    </a:lnTo>
                    <a:lnTo>
                      <a:pt x="171" y="459"/>
                    </a:lnTo>
                    <a:lnTo>
                      <a:pt x="170" y="459"/>
                    </a:lnTo>
                    <a:lnTo>
                      <a:pt x="171" y="459"/>
                    </a:lnTo>
                    <a:lnTo>
                      <a:pt x="170" y="461"/>
                    </a:lnTo>
                    <a:lnTo>
                      <a:pt x="171" y="461"/>
                    </a:lnTo>
                    <a:lnTo>
                      <a:pt x="173" y="461"/>
                    </a:lnTo>
                    <a:lnTo>
                      <a:pt x="173" y="463"/>
                    </a:lnTo>
                    <a:lnTo>
                      <a:pt x="171" y="461"/>
                    </a:lnTo>
                    <a:lnTo>
                      <a:pt x="173" y="463"/>
                    </a:lnTo>
                    <a:lnTo>
                      <a:pt x="171" y="463"/>
                    </a:lnTo>
                    <a:lnTo>
                      <a:pt x="171" y="461"/>
                    </a:lnTo>
                    <a:lnTo>
                      <a:pt x="171" y="463"/>
                    </a:lnTo>
                    <a:lnTo>
                      <a:pt x="173" y="463"/>
                    </a:lnTo>
                    <a:lnTo>
                      <a:pt x="175" y="463"/>
                    </a:lnTo>
                    <a:lnTo>
                      <a:pt x="175" y="461"/>
                    </a:lnTo>
                    <a:lnTo>
                      <a:pt x="177" y="461"/>
                    </a:lnTo>
                    <a:lnTo>
                      <a:pt x="179" y="461"/>
                    </a:lnTo>
                    <a:lnTo>
                      <a:pt x="179" y="459"/>
                    </a:lnTo>
                    <a:lnTo>
                      <a:pt x="179" y="461"/>
                    </a:lnTo>
                    <a:lnTo>
                      <a:pt x="177" y="461"/>
                    </a:lnTo>
                    <a:lnTo>
                      <a:pt x="175" y="463"/>
                    </a:lnTo>
                    <a:lnTo>
                      <a:pt x="175" y="465"/>
                    </a:lnTo>
                    <a:lnTo>
                      <a:pt x="173" y="465"/>
                    </a:lnTo>
                    <a:lnTo>
                      <a:pt x="173" y="467"/>
                    </a:lnTo>
                    <a:lnTo>
                      <a:pt x="173" y="469"/>
                    </a:lnTo>
                    <a:lnTo>
                      <a:pt x="173" y="471"/>
                    </a:lnTo>
                    <a:lnTo>
                      <a:pt x="175" y="471"/>
                    </a:lnTo>
                    <a:lnTo>
                      <a:pt x="173" y="471"/>
                    </a:lnTo>
                    <a:lnTo>
                      <a:pt x="175" y="473"/>
                    </a:lnTo>
                    <a:lnTo>
                      <a:pt x="173" y="473"/>
                    </a:lnTo>
                    <a:lnTo>
                      <a:pt x="175" y="473"/>
                    </a:lnTo>
                    <a:lnTo>
                      <a:pt x="175" y="475"/>
                    </a:lnTo>
                    <a:lnTo>
                      <a:pt x="175" y="473"/>
                    </a:lnTo>
                    <a:lnTo>
                      <a:pt x="175" y="475"/>
                    </a:lnTo>
                    <a:lnTo>
                      <a:pt x="175" y="477"/>
                    </a:lnTo>
                    <a:lnTo>
                      <a:pt x="173" y="477"/>
                    </a:lnTo>
                    <a:lnTo>
                      <a:pt x="173" y="478"/>
                    </a:lnTo>
                    <a:lnTo>
                      <a:pt x="171" y="478"/>
                    </a:lnTo>
                    <a:lnTo>
                      <a:pt x="170" y="480"/>
                    </a:lnTo>
                    <a:lnTo>
                      <a:pt x="170" y="482"/>
                    </a:lnTo>
                    <a:lnTo>
                      <a:pt x="170" y="484"/>
                    </a:lnTo>
                    <a:lnTo>
                      <a:pt x="168" y="484"/>
                    </a:lnTo>
                    <a:lnTo>
                      <a:pt x="168" y="486"/>
                    </a:lnTo>
                    <a:lnTo>
                      <a:pt x="168" y="488"/>
                    </a:lnTo>
                    <a:lnTo>
                      <a:pt x="166" y="488"/>
                    </a:lnTo>
                    <a:lnTo>
                      <a:pt x="168" y="488"/>
                    </a:lnTo>
                    <a:lnTo>
                      <a:pt x="170" y="490"/>
                    </a:lnTo>
                    <a:lnTo>
                      <a:pt x="168" y="490"/>
                    </a:lnTo>
                    <a:lnTo>
                      <a:pt x="170" y="490"/>
                    </a:lnTo>
                    <a:lnTo>
                      <a:pt x="170" y="492"/>
                    </a:lnTo>
                    <a:lnTo>
                      <a:pt x="170" y="490"/>
                    </a:lnTo>
                    <a:lnTo>
                      <a:pt x="170" y="492"/>
                    </a:lnTo>
                    <a:lnTo>
                      <a:pt x="170" y="490"/>
                    </a:lnTo>
                    <a:lnTo>
                      <a:pt x="170" y="492"/>
                    </a:lnTo>
                    <a:lnTo>
                      <a:pt x="171" y="492"/>
                    </a:lnTo>
                    <a:lnTo>
                      <a:pt x="171" y="494"/>
                    </a:lnTo>
                    <a:lnTo>
                      <a:pt x="171" y="496"/>
                    </a:lnTo>
                    <a:lnTo>
                      <a:pt x="171" y="494"/>
                    </a:lnTo>
                    <a:lnTo>
                      <a:pt x="171" y="496"/>
                    </a:lnTo>
                    <a:lnTo>
                      <a:pt x="171" y="494"/>
                    </a:lnTo>
                    <a:lnTo>
                      <a:pt x="171" y="496"/>
                    </a:lnTo>
                    <a:lnTo>
                      <a:pt x="171" y="494"/>
                    </a:lnTo>
                    <a:lnTo>
                      <a:pt x="171" y="496"/>
                    </a:lnTo>
                    <a:lnTo>
                      <a:pt x="171" y="494"/>
                    </a:lnTo>
                    <a:lnTo>
                      <a:pt x="170" y="496"/>
                    </a:lnTo>
                    <a:lnTo>
                      <a:pt x="171" y="496"/>
                    </a:lnTo>
                    <a:lnTo>
                      <a:pt x="171" y="494"/>
                    </a:lnTo>
                    <a:lnTo>
                      <a:pt x="171" y="496"/>
                    </a:lnTo>
                    <a:lnTo>
                      <a:pt x="171" y="494"/>
                    </a:lnTo>
                    <a:lnTo>
                      <a:pt x="173" y="494"/>
                    </a:lnTo>
                    <a:lnTo>
                      <a:pt x="173" y="496"/>
                    </a:lnTo>
                    <a:lnTo>
                      <a:pt x="173" y="494"/>
                    </a:lnTo>
                    <a:lnTo>
                      <a:pt x="175" y="496"/>
                    </a:lnTo>
                    <a:lnTo>
                      <a:pt x="177" y="496"/>
                    </a:lnTo>
                    <a:lnTo>
                      <a:pt x="177" y="498"/>
                    </a:lnTo>
                    <a:lnTo>
                      <a:pt x="177" y="500"/>
                    </a:lnTo>
                    <a:lnTo>
                      <a:pt x="177" y="502"/>
                    </a:lnTo>
                    <a:lnTo>
                      <a:pt x="177" y="503"/>
                    </a:lnTo>
                    <a:lnTo>
                      <a:pt x="175" y="503"/>
                    </a:lnTo>
                    <a:lnTo>
                      <a:pt x="173" y="503"/>
                    </a:lnTo>
                    <a:lnTo>
                      <a:pt x="175" y="503"/>
                    </a:lnTo>
                    <a:lnTo>
                      <a:pt x="175" y="505"/>
                    </a:lnTo>
                    <a:lnTo>
                      <a:pt x="175" y="503"/>
                    </a:lnTo>
                    <a:lnTo>
                      <a:pt x="175" y="505"/>
                    </a:lnTo>
                    <a:lnTo>
                      <a:pt x="173" y="505"/>
                    </a:lnTo>
                    <a:lnTo>
                      <a:pt x="173" y="507"/>
                    </a:lnTo>
                    <a:lnTo>
                      <a:pt x="173" y="509"/>
                    </a:lnTo>
                    <a:lnTo>
                      <a:pt x="173" y="507"/>
                    </a:lnTo>
                    <a:lnTo>
                      <a:pt x="175" y="507"/>
                    </a:lnTo>
                    <a:lnTo>
                      <a:pt x="175" y="505"/>
                    </a:lnTo>
                    <a:lnTo>
                      <a:pt x="175" y="503"/>
                    </a:lnTo>
                    <a:lnTo>
                      <a:pt x="175" y="505"/>
                    </a:lnTo>
                    <a:lnTo>
                      <a:pt x="175" y="507"/>
                    </a:lnTo>
                    <a:lnTo>
                      <a:pt x="175" y="505"/>
                    </a:lnTo>
                    <a:lnTo>
                      <a:pt x="175" y="507"/>
                    </a:lnTo>
                    <a:lnTo>
                      <a:pt x="175" y="509"/>
                    </a:lnTo>
                    <a:lnTo>
                      <a:pt x="177" y="509"/>
                    </a:lnTo>
                    <a:lnTo>
                      <a:pt x="177" y="511"/>
                    </a:lnTo>
                    <a:lnTo>
                      <a:pt x="177" y="513"/>
                    </a:lnTo>
                    <a:lnTo>
                      <a:pt x="177" y="511"/>
                    </a:lnTo>
                    <a:lnTo>
                      <a:pt x="179" y="513"/>
                    </a:lnTo>
                    <a:lnTo>
                      <a:pt x="177" y="513"/>
                    </a:lnTo>
                    <a:lnTo>
                      <a:pt x="179" y="513"/>
                    </a:lnTo>
                    <a:lnTo>
                      <a:pt x="179" y="515"/>
                    </a:lnTo>
                    <a:lnTo>
                      <a:pt x="177" y="515"/>
                    </a:lnTo>
                    <a:lnTo>
                      <a:pt x="175" y="515"/>
                    </a:lnTo>
                    <a:lnTo>
                      <a:pt x="175" y="517"/>
                    </a:lnTo>
                    <a:lnTo>
                      <a:pt x="175" y="515"/>
                    </a:lnTo>
                    <a:lnTo>
                      <a:pt x="175" y="517"/>
                    </a:lnTo>
                    <a:lnTo>
                      <a:pt x="175" y="515"/>
                    </a:lnTo>
                    <a:lnTo>
                      <a:pt x="175" y="517"/>
                    </a:lnTo>
                    <a:lnTo>
                      <a:pt x="175" y="519"/>
                    </a:lnTo>
                    <a:lnTo>
                      <a:pt x="175" y="521"/>
                    </a:lnTo>
                    <a:lnTo>
                      <a:pt x="175" y="523"/>
                    </a:lnTo>
                    <a:lnTo>
                      <a:pt x="173" y="523"/>
                    </a:lnTo>
                    <a:lnTo>
                      <a:pt x="175" y="525"/>
                    </a:lnTo>
                    <a:lnTo>
                      <a:pt x="175" y="527"/>
                    </a:lnTo>
                    <a:lnTo>
                      <a:pt x="173" y="527"/>
                    </a:lnTo>
                    <a:lnTo>
                      <a:pt x="173" y="528"/>
                    </a:lnTo>
                    <a:lnTo>
                      <a:pt x="171" y="528"/>
                    </a:lnTo>
                    <a:lnTo>
                      <a:pt x="171" y="530"/>
                    </a:lnTo>
                    <a:lnTo>
                      <a:pt x="170" y="530"/>
                    </a:lnTo>
                    <a:lnTo>
                      <a:pt x="170" y="528"/>
                    </a:lnTo>
                    <a:lnTo>
                      <a:pt x="168" y="528"/>
                    </a:lnTo>
                    <a:lnTo>
                      <a:pt x="166" y="530"/>
                    </a:lnTo>
                    <a:lnTo>
                      <a:pt x="168" y="532"/>
                    </a:lnTo>
                    <a:lnTo>
                      <a:pt x="168" y="534"/>
                    </a:lnTo>
                    <a:lnTo>
                      <a:pt x="168" y="532"/>
                    </a:lnTo>
                    <a:lnTo>
                      <a:pt x="168" y="534"/>
                    </a:lnTo>
                    <a:lnTo>
                      <a:pt x="170" y="534"/>
                    </a:lnTo>
                    <a:lnTo>
                      <a:pt x="168" y="534"/>
                    </a:lnTo>
                    <a:lnTo>
                      <a:pt x="166" y="534"/>
                    </a:lnTo>
                    <a:lnTo>
                      <a:pt x="166" y="536"/>
                    </a:lnTo>
                    <a:lnTo>
                      <a:pt x="166" y="538"/>
                    </a:lnTo>
                    <a:lnTo>
                      <a:pt x="166" y="540"/>
                    </a:lnTo>
                    <a:lnTo>
                      <a:pt x="168" y="540"/>
                    </a:lnTo>
                    <a:lnTo>
                      <a:pt x="166" y="540"/>
                    </a:lnTo>
                    <a:lnTo>
                      <a:pt x="166" y="542"/>
                    </a:lnTo>
                    <a:lnTo>
                      <a:pt x="166" y="544"/>
                    </a:lnTo>
                    <a:lnTo>
                      <a:pt x="164" y="544"/>
                    </a:lnTo>
                    <a:lnTo>
                      <a:pt x="162" y="544"/>
                    </a:lnTo>
                    <a:lnTo>
                      <a:pt x="164" y="544"/>
                    </a:lnTo>
                    <a:lnTo>
                      <a:pt x="162" y="544"/>
                    </a:lnTo>
                    <a:lnTo>
                      <a:pt x="164" y="544"/>
                    </a:lnTo>
                    <a:lnTo>
                      <a:pt x="164" y="546"/>
                    </a:lnTo>
                    <a:lnTo>
                      <a:pt x="164" y="544"/>
                    </a:lnTo>
                    <a:lnTo>
                      <a:pt x="166" y="544"/>
                    </a:lnTo>
                    <a:lnTo>
                      <a:pt x="166" y="546"/>
                    </a:lnTo>
                    <a:lnTo>
                      <a:pt x="166" y="548"/>
                    </a:lnTo>
                    <a:lnTo>
                      <a:pt x="166" y="550"/>
                    </a:lnTo>
                    <a:lnTo>
                      <a:pt x="166" y="548"/>
                    </a:lnTo>
                    <a:lnTo>
                      <a:pt x="166" y="550"/>
                    </a:lnTo>
                    <a:lnTo>
                      <a:pt x="166" y="548"/>
                    </a:lnTo>
                    <a:lnTo>
                      <a:pt x="166" y="550"/>
                    </a:lnTo>
                    <a:lnTo>
                      <a:pt x="164" y="550"/>
                    </a:lnTo>
                    <a:lnTo>
                      <a:pt x="162" y="550"/>
                    </a:lnTo>
                    <a:lnTo>
                      <a:pt x="162" y="548"/>
                    </a:lnTo>
                    <a:lnTo>
                      <a:pt x="162" y="546"/>
                    </a:lnTo>
                    <a:lnTo>
                      <a:pt x="160" y="546"/>
                    </a:lnTo>
                    <a:lnTo>
                      <a:pt x="160" y="548"/>
                    </a:lnTo>
                    <a:lnTo>
                      <a:pt x="158" y="548"/>
                    </a:lnTo>
                    <a:lnTo>
                      <a:pt x="160" y="548"/>
                    </a:lnTo>
                    <a:lnTo>
                      <a:pt x="158" y="548"/>
                    </a:lnTo>
                    <a:lnTo>
                      <a:pt x="160" y="550"/>
                    </a:lnTo>
                    <a:lnTo>
                      <a:pt x="160" y="552"/>
                    </a:lnTo>
                    <a:lnTo>
                      <a:pt x="160" y="553"/>
                    </a:lnTo>
                    <a:lnTo>
                      <a:pt x="158" y="553"/>
                    </a:lnTo>
                    <a:lnTo>
                      <a:pt x="156" y="553"/>
                    </a:lnTo>
                    <a:lnTo>
                      <a:pt x="156" y="552"/>
                    </a:lnTo>
                    <a:lnTo>
                      <a:pt x="154" y="553"/>
                    </a:lnTo>
                    <a:lnTo>
                      <a:pt x="154" y="552"/>
                    </a:lnTo>
                    <a:lnTo>
                      <a:pt x="154" y="553"/>
                    </a:lnTo>
                    <a:lnTo>
                      <a:pt x="154" y="555"/>
                    </a:lnTo>
                    <a:lnTo>
                      <a:pt x="156" y="555"/>
                    </a:lnTo>
                    <a:lnTo>
                      <a:pt x="154" y="553"/>
                    </a:lnTo>
                    <a:lnTo>
                      <a:pt x="156" y="555"/>
                    </a:lnTo>
                    <a:lnTo>
                      <a:pt x="156" y="553"/>
                    </a:lnTo>
                    <a:lnTo>
                      <a:pt x="156" y="555"/>
                    </a:lnTo>
                    <a:lnTo>
                      <a:pt x="156" y="553"/>
                    </a:lnTo>
                    <a:lnTo>
                      <a:pt x="156" y="555"/>
                    </a:lnTo>
                    <a:lnTo>
                      <a:pt x="154" y="555"/>
                    </a:lnTo>
                    <a:lnTo>
                      <a:pt x="154" y="557"/>
                    </a:lnTo>
                    <a:lnTo>
                      <a:pt x="154" y="555"/>
                    </a:lnTo>
                    <a:lnTo>
                      <a:pt x="152" y="555"/>
                    </a:lnTo>
                    <a:lnTo>
                      <a:pt x="152" y="557"/>
                    </a:lnTo>
                    <a:lnTo>
                      <a:pt x="152" y="555"/>
                    </a:lnTo>
                    <a:lnTo>
                      <a:pt x="152" y="557"/>
                    </a:lnTo>
                    <a:lnTo>
                      <a:pt x="150" y="557"/>
                    </a:lnTo>
                    <a:lnTo>
                      <a:pt x="152" y="557"/>
                    </a:lnTo>
                    <a:lnTo>
                      <a:pt x="150" y="557"/>
                    </a:lnTo>
                    <a:lnTo>
                      <a:pt x="150" y="559"/>
                    </a:lnTo>
                    <a:lnTo>
                      <a:pt x="150" y="557"/>
                    </a:lnTo>
                    <a:lnTo>
                      <a:pt x="148" y="559"/>
                    </a:lnTo>
                    <a:lnTo>
                      <a:pt x="150" y="559"/>
                    </a:lnTo>
                    <a:lnTo>
                      <a:pt x="148" y="559"/>
                    </a:lnTo>
                    <a:lnTo>
                      <a:pt x="146" y="561"/>
                    </a:lnTo>
                    <a:lnTo>
                      <a:pt x="145" y="561"/>
                    </a:lnTo>
                    <a:lnTo>
                      <a:pt x="143" y="563"/>
                    </a:lnTo>
                    <a:lnTo>
                      <a:pt x="141" y="565"/>
                    </a:lnTo>
                    <a:lnTo>
                      <a:pt x="141" y="567"/>
                    </a:lnTo>
                    <a:lnTo>
                      <a:pt x="139" y="567"/>
                    </a:lnTo>
                    <a:lnTo>
                      <a:pt x="139" y="569"/>
                    </a:lnTo>
                    <a:lnTo>
                      <a:pt x="137" y="569"/>
                    </a:lnTo>
                    <a:lnTo>
                      <a:pt x="135" y="569"/>
                    </a:lnTo>
                    <a:lnTo>
                      <a:pt x="135" y="571"/>
                    </a:lnTo>
                    <a:lnTo>
                      <a:pt x="133" y="571"/>
                    </a:lnTo>
                    <a:lnTo>
                      <a:pt x="135" y="571"/>
                    </a:lnTo>
                    <a:lnTo>
                      <a:pt x="133" y="571"/>
                    </a:lnTo>
                    <a:lnTo>
                      <a:pt x="135" y="571"/>
                    </a:lnTo>
                    <a:lnTo>
                      <a:pt x="133" y="571"/>
                    </a:lnTo>
                    <a:lnTo>
                      <a:pt x="135" y="571"/>
                    </a:lnTo>
                    <a:lnTo>
                      <a:pt x="135" y="573"/>
                    </a:lnTo>
                    <a:lnTo>
                      <a:pt x="135" y="575"/>
                    </a:lnTo>
                    <a:lnTo>
                      <a:pt x="133" y="575"/>
                    </a:lnTo>
                    <a:lnTo>
                      <a:pt x="133" y="573"/>
                    </a:lnTo>
                    <a:lnTo>
                      <a:pt x="131" y="573"/>
                    </a:lnTo>
                    <a:lnTo>
                      <a:pt x="131" y="575"/>
                    </a:lnTo>
                    <a:lnTo>
                      <a:pt x="131" y="573"/>
                    </a:lnTo>
                    <a:lnTo>
                      <a:pt x="133" y="573"/>
                    </a:lnTo>
                    <a:lnTo>
                      <a:pt x="131" y="575"/>
                    </a:lnTo>
                    <a:lnTo>
                      <a:pt x="133" y="573"/>
                    </a:lnTo>
                    <a:lnTo>
                      <a:pt x="133" y="575"/>
                    </a:lnTo>
                    <a:lnTo>
                      <a:pt x="131" y="575"/>
                    </a:lnTo>
                    <a:lnTo>
                      <a:pt x="133" y="577"/>
                    </a:lnTo>
                    <a:lnTo>
                      <a:pt x="133" y="578"/>
                    </a:lnTo>
                    <a:lnTo>
                      <a:pt x="133" y="580"/>
                    </a:lnTo>
                    <a:lnTo>
                      <a:pt x="131" y="580"/>
                    </a:lnTo>
                    <a:lnTo>
                      <a:pt x="133" y="580"/>
                    </a:lnTo>
                    <a:lnTo>
                      <a:pt x="131" y="580"/>
                    </a:lnTo>
                    <a:lnTo>
                      <a:pt x="131" y="578"/>
                    </a:lnTo>
                    <a:lnTo>
                      <a:pt x="129" y="578"/>
                    </a:lnTo>
                    <a:lnTo>
                      <a:pt x="129" y="580"/>
                    </a:lnTo>
                    <a:lnTo>
                      <a:pt x="129" y="578"/>
                    </a:lnTo>
                    <a:lnTo>
                      <a:pt x="129" y="580"/>
                    </a:lnTo>
                    <a:lnTo>
                      <a:pt x="131" y="582"/>
                    </a:lnTo>
                    <a:lnTo>
                      <a:pt x="129" y="582"/>
                    </a:lnTo>
                    <a:lnTo>
                      <a:pt x="131" y="582"/>
                    </a:lnTo>
                    <a:lnTo>
                      <a:pt x="129" y="582"/>
                    </a:lnTo>
                    <a:lnTo>
                      <a:pt x="127" y="582"/>
                    </a:lnTo>
                    <a:lnTo>
                      <a:pt x="127" y="584"/>
                    </a:lnTo>
                    <a:lnTo>
                      <a:pt x="125" y="582"/>
                    </a:lnTo>
                    <a:lnTo>
                      <a:pt x="125" y="584"/>
                    </a:lnTo>
                    <a:lnTo>
                      <a:pt x="123" y="584"/>
                    </a:lnTo>
                    <a:lnTo>
                      <a:pt x="121" y="584"/>
                    </a:lnTo>
                    <a:lnTo>
                      <a:pt x="121" y="586"/>
                    </a:lnTo>
                    <a:lnTo>
                      <a:pt x="123" y="586"/>
                    </a:lnTo>
                    <a:lnTo>
                      <a:pt x="123" y="588"/>
                    </a:lnTo>
                    <a:lnTo>
                      <a:pt x="121" y="588"/>
                    </a:lnTo>
                    <a:lnTo>
                      <a:pt x="121" y="590"/>
                    </a:lnTo>
                    <a:lnTo>
                      <a:pt x="123" y="590"/>
                    </a:lnTo>
                    <a:lnTo>
                      <a:pt x="121" y="590"/>
                    </a:lnTo>
                    <a:lnTo>
                      <a:pt x="121" y="592"/>
                    </a:lnTo>
                    <a:lnTo>
                      <a:pt x="121" y="590"/>
                    </a:lnTo>
                    <a:lnTo>
                      <a:pt x="120" y="590"/>
                    </a:lnTo>
                    <a:lnTo>
                      <a:pt x="120" y="592"/>
                    </a:lnTo>
                    <a:lnTo>
                      <a:pt x="118" y="592"/>
                    </a:lnTo>
                    <a:lnTo>
                      <a:pt x="116" y="592"/>
                    </a:lnTo>
                    <a:lnTo>
                      <a:pt x="118" y="592"/>
                    </a:lnTo>
                    <a:lnTo>
                      <a:pt x="118" y="594"/>
                    </a:lnTo>
                    <a:lnTo>
                      <a:pt x="118" y="592"/>
                    </a:lnTo>
                    <a:lnTo>
                      <a:pt x="118" y="594"/>
                    </a:lnTo>
                    <a:lnTo>
                      <a:pt x="116" y="592"/>
                    </a:lnTo>
                    <a:lnTo>
                      <a:pt x="116" y="594"/>
                    </a:lnTo>
                    <a:lnTo>
                      <a:pt x="116" y="596"/>
                    </a:lnTo>
                    <a:lnTo>
                      <a:pt x="116" y="594"/>
                    </a:lnTo>
                    <a:lnTo>
                      <a:pt x="116" y="596"/>
                    </a:lnTo>
                    <a:lnTo>
                      <a:pt x="114" y="596"/>
                    </a:lnTo>
                    <a:lnTo>
                      <a:pt x="114" y="598"/>
                    </a:lnTo>
                    <a:lnTo>
                      <a:pt x="112" y="598"/>
                    </a:lnTo>
                    <a:lnTo>
                      <a:pt x="114" y="598"/>
                    </a:lnTo>
                    <a:lnTo>
                      <a:pt x="112" y="600"/>
                    </a:lnTo>
                    <a:lnTo>
                      <a:pt x="110" y="600"/>
                    </a:lnTo>
                    <a:lnTo>
                      <a:pt x="108" y="600"/>
                    </a:lnTo>
                    <a:lnTo>
                      <a:pt x="108" y="598"/>
                    </a:lnTo>
                    <a:lnTo>
                      <a:pt x="106" y="598"/>
                    </a:lnTo>
                    <a:lnTo>
                      <a:pt x="106" y="600"/>
                    </a:lnTo>
                    <a:lnTo>
                      <a:pt x="104" y="600"/>
                    </a:lnTo>
                    <a:lnTo>
                      <a:pt x="104" y="602"/>
                    </a:lnTo>
                    <a:lnTo>
                      <a:pt x="102" y="602"/>
                    </a:lnTo>
                    <a:lnTo>
                      <a:pt x="102" y="600"/>
                    </a:lnTo>
                    <a:lnTo>
                      <a:pt x="102" y="602"/>
                    </a:lnTo>
                    <a:lnTo>
                      <a:pt x="100" y="602"/>
                    </a:lnTo>
                    <a:lnTo>
                      <a:pt x="100" y="600"/>
                    </a:lnTo>
                    <a:lnTo>
                      <a:pt x="98" y="600"/>
                    </a:lnTo>
                    <a:lnTo>
                      <a:pt x="98" y="598"/>
                    </a:lnTo>
                    <a:lnTo>
                      <a:pt x="100" y="598"/>
                    </a:lnTo>
                    <a:lnTo>
                      <a:pt x="100" y="596"/>
                    </a:lnTo>
                    <a:lnTo>
                      <a:pt x="100" y="598"/>
                    </a:lnTo>
                    <a:lnTo>
                      <a:pt x="98" y="598"/>
                    </a:lnTo>
                    <a:lnTo>
                      <a:pt x="98" y="600"/>
                    </a:lnTo>
                    <a:lnTo>
                      <a:pt x="100" y="600"/>
                    </a:lnTo>
                    <a:lnTo>
                      <a:pt x="100" y="602"/>
                    </a:lnTo>
                    <a:lnTo>
                      <a:pt x="102" y="602"/>
                    </a:lnTo>
                    <a:lnTo>
                      <a:pt x="102" y="603"/>
                    </a:lnTo>
                    <a:lnTo>
                      <a:pt x="102" y="605"/>
                    </a:lnTo>
                    <a:lnTo>
                      <a:pt x="100" y="605"/>
                    </a:lnTo>
                    <a:lnTo>
                      <a:pt x="102" y="605"/>
                    </a:lnTo>
                    <a:lnTo>
                      <a:pt x="102" y="607"/>
                    </a:lnTo>
                    <a:lnTo>
                      <a:pt x="100" y="607"/>
                    </a:lnTo>
                    <a:lnTo>
                      <a:pt x="100" y="609"/>
                    </a:lnTo>
                    <a:lnTo>
                      <a:pt x="98" y="609"/>
                    </a:lnTo>
                    <a:lnTo>
                      <a:pt x="100" y="609"/>
                    </a:lnTo>
                    <a:lnTo>
                      <a:pt x="100" y="607"/>
                    </a:lnTo>
                    <a:lnTo>
                      <a:pt x="102" y="607"/>
                    </a:lnTo>
                    <a:lnTo>
                      <a:pt x="102" y="605"/>
                    </a:lnTo>
                    <a:lnTo>
                      <a:pt x="102" y="603"/>
                    </a:lnTo>
                    <a:lnTo>
                      <a:pt x="102" y="602"/>
                    </a:lnTo>
                    <a:lnTo>
                      <a:pt x="104" y="602"/>
                    </a:lnTo>
                    <a:lnTo>
                      <a:pt x="104" y="600"/>
                    </a:lnTo>
                    <a:lnTo>
                      <a:pt x="104" y="602"/>
                    </a:lnTo>
                    <a:lnTo>
                      <a:pt x="104" y="600"/>
                    </a:lnTo>
                    <a:lnTo>
                      <a:pt x="106" y="600"/>
                    </a:lnTo>
                    <a:lnTo>
                      <a:pt x="108" y="598"/>
                    </a:lnTo>
                    <a:lnTo>
                      <a:pt x="108" y="600"/>
                    </a:lnTo>
                    <a:lnTo>
                      <a:pt x="110" y="600"/>
                    </a:lnTo>
                    <a:lnTo>
                      <a:pt x="112" y="600"/>
                    </a:lnTo>
                    <a:lnTo>
                      <a:pt x="114" y="600"/>
                    </a:lnTo>
                    <a:lnTo>
                      <a:pt x="114" y="598"/>
                    </a:lnTo>
                    <a:lnTo>
                      <a:pt x="112" y="598"/>
                    </a:lnTo>
                    <a:lnTo>
                      <a:pt x="114" y="598"/>
                    </a:lnTo>
                    <a:lnTo>
                      <a:pt x="114" y="596"/>
                    </a:lnTo>
                    <a:lnTo>
                      <a:pt x="116" y="596"/>
                    </a:lnTo>
                    <a:lnTo>
                      <a:pt x="116" y="594"/>
                    </a:lnTo>
                    <a:lnTo>
                      <a:pt x="116" y="596"/>
                    </a:lnTo>
                    <a:lnTo>
                      <a:pt x="116" y="594"/>
                    </a:lnTo>
                    <a:lnTo>
                      <a:pt x="118" y="594"/>
                    </a:lnTo>
                    <a:lnTo>
                      <a:pt x="118" y="592"/>
                    </a:lnTo>
                    <a:lnTo>
                      <a:pt x="120" y="592"/>
                    </a:lnTo>
                    <a:lnTo>
                      <a:pt x="120" y="590"/>
                    </a:lnTo>
                    <a:lnTo>
                      <a:pt x="121" y="590"/>
                    </a:lnTo>
                    <a:lnTo>
                      <a:pt x="121" y="592"/>
                    </a:lnTo>
                    <a:lnTo>
                      <a:pt x="121" y="590"/>
                    </a:lnTo>
                    <a:lnTo>
                      <a:pt x="123" y="590"/>
                    </a:lnTo>
                    <a:lnTo>
                      <a:pt x="121" y="590"/>
                    </a:lnTo>
                    <a:lnTo>
                      <a:pt x="121" y="588"/>
                    </a:lnTo>
                    <a:lnTo>
                      <a:pt x="123" y="588"/>
                    </a:lnTo>
                    <a:lnTo>
                      <a:pt x="123" y="586"/>
                    </a:lnTo>
                    <a:lnTo>
                      <a:pt x="121" y="586"/>
                    </a:lnTo>
                    <a:lnTo>
                      <a:pt x="121" y="584"/>
                    </a:lnTo>
                    <a:lnTo>
                      <a:pt x="123" y="584"/>
                    </a:lnTo>
                    <a:lnTo>
                      <a:pt x="125" y="584"/>
                    </a:lnTo>
                    <a:lnTo>
                      <a:pt x="127" y="584"/>
                    </a:lnTo>
                    <a:lnTo>
                      <a:pt x="127" y="582"/>
                    </a:lnTo>
                    <a:lnTo>
                      <a:pt x="129" y="582"/>
                    </a:lnTo>
                    <a:lnTo>
                      <a:pt x="129" y="584"/>
                    </a:lnTo>
                    <a:lnTo>
                      <a:pt x="129" y="586"/>
                    </a:lnTo>
                    <a:lnTo>
                      <a:pt x="127" y="586"/>
                    </a:lnTo>
                    <a:lnTo>
                      <a:pt x="125" y="586"/>
                    </a:lnTo>
                    <a:lnTo>
                      <a:pt x="125" y="588"/>
                    </a:lnTo>
                    <a:lnTo>
                      <a:pt x="127" y="588"/>
                    </a:lnTo>
                    <a:lnTo>
                      <a:pt x="125" y="588"/>
                    </a:lnTo>
                    <a:lnTo>
                      <a:pt x="127" y="588"/>
                    </a:lnTo>
                    <a:lnTo>
                      <a:pt x="127" y="590"/>
                    </a:lnTo>
                    <a:lnTo>
                      <a:pt x="125" y="590"/>
                    </a:lnTo>
                    <a:lnTo>
                      <a:pt x="125" y="588"/>
                    </a:lnTo>
                    <a:lnTo>
                      <a:pt x="125" y="590"/>
                    </a:lnTo>
                    <a:lnTo>
                      <a:pt x="125" y="588"/>
                    </a:lnTo>
                    <a:lnTo>
                      <a:pt x="123" y="588"/>
                    </a:lnTo>
                    <a:lnTo>
                      <a:pt x="123" y="590"/>
                    </a:lnTo>
                    <a:lnTo>
                      <a:pt x="123" y="592"/>
                    </a:lnTo>
                    <a:lnTo>
                      <a:pt x="121" y="592"/>
                    </a:lnTo>
                    <a:lnTo>
                      <a:pt x="121" y="594"/>
                    </a:lnTo>
                    <a:lnTo>
                      <a:pt x="121" y="596"/>
                    </a:lnTo>
                    <a:lnTo>
                      <a:pt x="121" y="598"/>
                    </a:lnTo>
                    <a:lnTo>
                      <a:pt x="120" y="598"/>
                    </a:lnTo>
                    <a:lnTo>
                      <a:pt x="121" y="598"/>
                    </a:lnTo>
                    <a:lnTo>
                      <a:pt x="120" y="598"/>
                    </a:lnTo>
                    <a:lnTo>
                      <a:pt x="121" y="598"/>
                    </a:lnTo>
                    <a:lnTo>
                      <a:pt x="121" y="596"/>
                    </a:lnTo>
                    <a:lnTo>
                      <a:pt x="121" y="594"/>
                    </a:lnTo>
                    <a:lnTo>
                      <a:pt x="121" y="592"/>
                    </a:lnTo>
                    <a:lnTo>
                      <a:pt x="123" y="592"/>
                    </a:lnTo>
                    <a:lnTo>
                      <a:pt x="123" y="590"/>
                    </a:lnTo>
                    <a:lnTo>
                      <a:pt x="123" y="588"/>
                    </a:lnTo>
                    <a:lnTo>
                      <a:pt x="125" y="588"/>
                    </a:lnTo>
                    <a:lnTo>
                      <a:pt x="125" y="590"/>
                    </a:lnTo>
                    <a:lnTo>
                      <a:pt x="127" y="590"/>
                    </a:lnTo>
                    <a:lnTo>
                      <a:pt x="127" y="588"/>
                    </a:lnTo>
                    <a:lnTo>
                      <a:pt x="127" y="590"/>
                    </a:lnTo>
                    <a:lnTo>
                      <a:pt x="127" y="592"/>
                    </a:lnTo>
                    <a:lnTo>
                      <a:pt x="127" y="594"/>
                    </a:lnTo>
                    <a:lnTo>
                      <a:pt x="127" y="596"/>
                    </a:lnTo>
                    <a:lnTo>
                      <a:pt x="127" y="598"/>
                    </a:lnTo>
                    <a:lnTo>
                      <a:pt x="125" y="598"/>
                    </a:lnTo>
                    <a:lnTo>
                      <a:pt x="127" y="598"/>
                    </a:lnTo>
                    <a:lnTo>
                      <a:pt x="127" y="600"/>
                    </a:lnTo>
                    <a:lnTo>
                      <a:pt x="127" y="602"/>
                    </a:lnTo>
                    <a:lnTo>
                      <a:pt x="125" y="602"/>
                    </a:lnTo>
                    <a:lnTo>
                      <a:pt x="125" y="603"/>
                    </a:lnTo>
                    <a:lnTo>
                      <a:pt x="127" y="603"/>
                    </a:lnTo>
                    <a:lnTo>
                      <a:pt x="127" y="605"/>
                    </a:lnTo>
                    <a:lnTo>
                      <a:pt x="127" y="603"/>
                    </a:lnTo>
                    <a:lnTo>
                      <a:pt x="125" y="603"/>
                    </a:lnTo>
                    <a:lnTo>
                      <a:pt x="127" y="602"/>
                    </a:lnTo>
                    <a:lnTo>
                      <a:pt x="127" y="600"/>
                    </a:lnTo>
                    <a:lnTo>
                      <a:pt x="127" y="598"/>
                    </a:lnTo>
                    <a:lnTo>
                      <a:pt x="125" y="598"/>
                    </a:lnTo>
                    <a:lnTo>
                      <a:pt x="127" y="598"/>
                    </a:lnTo>
                    <a:lnTo>
                      <a:pt x="127" y="596"/>
                    </a:lnTo>
                    <a:lnTo>
                      <a:pt x="127" y="594"/>
                    </a:lnTo>
                    <a:lnTo>
                      <a:pt x="127" y="592"/>
                    </a:lnTo>
                    <a:lnTo>
                      <a:pt x="127" y="590"/>
                    </a:lnTo>
                    <a:lnTo>
                      <a:pt x="127" y="588"/>
                    </a:lnTo>
                    <a:lnTo>
                      <a:pt x="125" y="586"/>
                    </a:lnTo>
                    <a:lnTo>
                      <a:pt x="127" y="586"/>
                    </a:lnTo>
                    <a:lnTo>
                      <a:pt x="129" y="586"/>
                    </a:lnTo>
                    <a:lnTo>
                      <a:pt x="129" y="584"/>
                    </a:lnTo>
                    <a:lnTo>
                      <a:pt x="129" y="582"/>
                    </a:lnTo>
                    <a:lnTo>
                      <a:pt x="131" y="582"/>
                    </a:lnTo>
                    <a:lnTo>
                      <a:pt x="131" y="580"/>
                    </a:lnTo>
                    <a:lnTo>
                      <a:pt x="129" y="580"/>
                    </a:lnTo>
                    <a:lnTo>
                      <a:pt x="131" y="580"/>
                    </a:lnTo>
                    <a:lnTo>
                      <a:pt x="133" y="580"/>
                    </a:lnTo>
                    <a:lnTo>
                      <a:pt x="135" y="580"/>
                    </a:lnTo>
                    <a:lnTo>
                      <a:pt x="133" y="580"/>
                    </a:lnTo>
                    <a:lnTo>
                      <a:pt x="133" y="578"/>
                    </a:lnTo>
                    <a:lnTo>
                      <a:pt x="133" y="577"/>
                    </a:lnTo>
                    <a:lnTo>
                      <a:pt x="133" y="575"/>
                    </a:lnTo>
                    <a:lnTo>
                      <a:pt x="135" y="575"/>
                    </a:lnTo>
                    <a:lnTo>
                      <a:pt x="135" y="573"/>
                    </a:lnTo>
                    <a:lnTo>
                      <a:pt x="135" y="571"/>
                    </a:lnTo>
                    <a:lnTo>
                      <a:pt x="135" y="569"/>
                    </a:lnTo>
                    <a:lnTo>
                      <a:pt x="137" y="569"/>
                    </a:lnTo>
                    <a:lnTo>
                      <a:pt x="139" y="569"/>
                    </a:lnTo>
                    <a:lnTo>
                      <a:pt x="139" y="567"/>
                    </a:lnTo>
                    <a:lnTo>
                      <a:pt x="141" y="567"/>
                    </a:lnTo>
                    <a:lnTo>
                      <a:pt x="139" y="567"/>
                    </a:lnTo>
                    <a:lnTo>
                      <a:pt x="141" y="567"/>
                    </a:lnTo>
                    <a:lnTo>
                      <a:pt x="139" y="567"/>
                    </a:lnTo>
                    <a:lnTo>
                      <a:pt x="141" y="567"/>
                    </a:lnTo>
                    <a:lnTo>
                      <a:pt x="141" y="565"/>
                    </a:lnTo>
                    <a:lnTo>
                      <a:pt x="143" y="563"/>
                    </a:lnTo>
                    <a:lnTo>
                      <a:pt x="145" y="563"/>
                    </a:lnTo>
                    <a:lnTo>
                      <a:pt x="145" y="561"/>
                    </a:lnTo>
                    <a:lnTo>
                      <a:pt x="146" y="561"/>
                    </a:lnTo>
                    <a:lnTo>
                      <a:pt x="148" y="561"/>
                    </a:lnTo>
                    <a:lnTo>
                      <a:pt x="148" y="559"/>
                    </a:lnTo>
                    <a:lnTo>
                      <a:pt x="150" y="559"/>
                    </a:lnTo>
                    <a:lnTo>
                      <a:pt x="150" y="557"/>
                    </a:lnTo>
                    <a:lnTo>
                      <a:pt x="150" y="559"/>
                    </a:lnTo>
                    <a:lnTo>
                      <a:pt x="150" y="557"/>
                    </a:lnTo>
                    <a:lnTo>
                      <a:pt x="152" y="557"/>
                    </a:lnTo>
                    <a:lnTo>
                      <a:pt x="152" y="555"/>
                    </a:lnTo>
                    <a:lnTo>
                      <a:pt x="154" y="557"/>
                    </a:lnTo>
                    <a:lnTo>
                      <a:pt x="152" y="557"/>
                    </a:lnTo>
                    <a:lnTo>
                      <a:pt x="154" y="557"/>
                    </a:lnTo>
                    <a:lnTo>
                      <a:pt x="156" y="557"/>
                    </a:lnTo>
                    <a:lnTo>
                      <a:pt x="154" y="557"/>
                    </a:lnTo>
                    <a:lnTo>
                      <a:pt x="154" y="559"/>
                    </a:lnTo>
                    <a:lnTo>
                      <a:pt x="156" y="559"/>
                    </a:lnTo>
                    <a:lnTo>
                      <a:pt x="156" y="557"/>
                    </a:lnTo>
                    <a:lnTo>
                      <a:pt x="156" y="555"/>
                    </a:lnTo>
                    <a:lnTo>
                      <a:pt x="156" y="553"/>
                    </a:lnTo>
                    <a:lnTo>
                      <a:pt x="158" y="553"/>
                    </a:lnTo>
                    <a:lnTo>
                      <a:pt x="156" y="553"/>
                    </a:lnTo>
                    <a:lnTo>
                      <a:pt x="158" y="553"/>
                    </a:lnTo>
                    <a:lnTo>
                      <a:pt x="158" y="555"/>
                    </a:lnTo>
                    <a:lnTo>
                      <a:pt x="160" y="555"/>
                    </a:lnTo>
                    <a:lnTo>
                      <a:pt x="160" y="553"/>
                    </a:lnTo>
                    <a:lnTo>
                      <a:pt x="162" y="553"/>
                    </a:lnTo>
                    <a:lnTo>
                      <a:pt x="162" y="552"/>
                    </a:lnTo>
                    <a:lnTo>
                      <a:pt x="160" y="552"/>
                    </a:lnTo>
                    <a:lnTo>
                      <a:pt x="160" y="550"/>
                    </a:lnTo>
                    <a:lnTo>
                      <a:pt x="160" y="548"/>
                    </a:lnTo>
                    <a:lnTo>
                      <a:pt x="160" y="546"/>
                    </a:lnTo>
                    <a:lnTo>
                      <a:pt x="162" y="546"/>
                    </a:lnTo>
                    <a:lnTo>
                      <a:pt x="162" y="548"/>
                    </a:lnTo>
                    <a:lnTo>
                      <a:pt x="162" y="546"/>
                    </a:lnTo>
                    <a:lnTo>
                      <a:pt x="162" y="548"/>
                    </a:lnTo>
                    <a:lnTo>
                      <a:pt x="160" y="548"/>
                    </a:lnTo>
                    <a:lnTo>
                      <a:pt x="162" y="548"/>
                    </a:lnTo>
                    <a:lnTo>
                      <a:pt x="162" y="550"/>
                    </a:lnTo>
                    <a:lnTo>
                      <a:pt x="164" y="550"/>
                    </a:lnTo>
                    <a:lnTo>
                      <a:pt x="164" y="552"/>
                    </a:lnTo>
                    <a:lnTo>
                      <a:pt x="166" y="552"/>
                    </a:lnTo>
                    <a:lnTo>
                      <a:pt x="166" y="550"/>
                    </a:lnTo>
                    <a:lnTo>
                      <a:pt x="166" y="548"/>
                    </a:lnTo>
                    <a:lnTo>
                      <a:pt x="166" y="546"/>
                    </a:lnTo>
                    <a:lnTo>
                      <a:pt x="166" y="548"/>
                    </a:lnTo>
                    <a:lnTo>
                      <a:pt x="166" y="546"/>
                    </a:lnTo>
                    <a:lnTo>
                      <a:pt x="166" y="548"/>
                    </a:lnTo>
                    <a:lnTo>
                      <a:pt x="166" y="546"/>
                    </a:lnTo>
                    <a:lnTo>
                      <a:pt x="168" y="546"/>
                    </a:lnTo>
                    <a:lnTo>
                      <a:pt x="168" y="544"/>
                    </a:lnTo>
                    <a:lnTo>
                      <a:pt x="166" y="544"/>
                    </a:lnTo>
                    <a:lnTo>
                      <a:pt x="166" y="542"/>
                    </a:lnTo>
                    <a:lnTo>
                      <a:pt x="166" y="544"/>
                    </a:lnTo>
                    <a:lnTo>
                      <a:pt x="168" y="544"/>
                    </a:lnTo>
                    <a:lnTo>
                      <a:pt x="168" y="542"/>
                    </a:lnTo>
                    <a:lnTo>
                      <a:pt x="166" y="542"/>
                    </a:lnTo>
                    <a:lnTo>
                      <a:pt x="168" y="542"/>
                    </a:lnTo>
                    <a:lnTo>
                      <a:pt x="168" y="544"/>
                    </a:lnTo>
                    <a:lnTo>
                      <a:pt x="168" y="542"/>
                    </a:lnTo>
                    <a:lnTo>
                      <a:pt x="168" y="544"/>
                    </a:lnTo>
                    <a:lnTo>
                      <a:pt x="170" y="544"/>
                    </a:lnTo>
                    <a:lnTo>
                      <a:pt x="170" y="542"/>
                    </a:lnTo>
                    <a:lnTo>
                      <a:pt x="168" y="542"/>
                    </a:lnTo>
                    <a:lnTo>
                      <a:pt x="170" y="542"/>
                    </a:lnTo>
                    <a:lnTo>
                      <a:pt x="168" y="542"/>
                    </a:lnTo>
                    <a:lnTo>
                      <a:pt x="170" y="542"/>
                    </a:lnTo>
                    <a:lnTo>
                      <a:pt x="168" y="542"/>
                    </a:lnTo>
                    <a:lnTo>
                      <a:pt x="170" y="542"/>
                    </a:lnTo>
                    <a:lnTo>
                      <a:pt x="168" y="542"/>
                    </a:lnTo>
                    <a:lnTo>
                      <a:pt x="168" y="540"/>
                    </a:lnTo>
                    <a:lnTo>
                      <a:pt x="170" y="540"/>
                    </a:lnTo>
                    <a:lnTo>
                      <a:pt x="170" y="542"/>
                    </a:lnTo>
                    <a:lnTo>
                      <a:pt x="170" y="540"/>
                    </a:lnTo>
                    <a:lnTo>
                      <a:pt x="170" y="542"/>
                    </a:lnTo>
                    <a:lnTo>
                      <a:pt x="171" y="542"/>
                    </a:lnTo>
                    <a:lnTo>
                      <a:pt x="170" y="542"/>
                    </a:lnTo>
                    <a:lnTo>
                      <a:pt x="170" y="540"/>
                    </a:lnTo>
                    <a:lnTo>
                      <a:pt x="168" y="538"/>
                    </a:lnTo>
                    <a:lnTo>
                      <a:pt x="168" y="540"/>
                    </a:lnTo>
                    <a:lnTo>
                      <a:pt x="166" y="540"/>
                    </a:lnTo>
                    <a:lnTo>
                      <a:pt x="166" y="538"/>
                    </a:lnTo>
                    <a:lnTo>
                      <a:pt x="166" y="540"/>
                    </a:lnTo>
                    <a:lnTo>
                      <a:pt x="166" y="538"/>
                    </a:lnTo>
                    <a:lnTo>
                      <a:pt x="166" y="536"/>
                    </a:lnTo>
                    <a:lnTo>
                      <a:pt x="168" y="536"/>
                    </a:lnTo>
                    <a:lnTo>
                      <a:pt x="166" y="536"/>
                    </a:lnTo>
                    <a:lnTo>
                      <a:pt x="168" y="534"/>
                    </a:lnTo>
                    <a:lnTo>
                      <a:pt x="170" y="534"/>
                    </a:lnTo>
                    <a:lnTo>
                      <a:pt x="168" y="532"/>
                    </a:lnTo>
                    <a:lnTo>
                      <a:pt x="168" y="530"/>
                    </a:lnTo>
                    <a:lnTo>
                      <a:pt x="168" y="528"/>
                    </a:lnTo>
                    <a:lnTo>
                      <a:pt x="170" y="528"/>
                    </a:lnTo>
                    <a:lnTo>
                      <a:pt x="170" y="530"/>
                    </a:lnTo>
                    <a:lnTo>
                      <a:pt x="170" y="532"/>
                    </a:lnTo>
                    <a:lnTo>
                      <a:pt x="171" y="530"/>
                    </a:lnTo>
                    <a:lnTo>
                      <a:pt x="171" y="528"/>
                    </a:lnTo>
                    <a:lnTo>
                      <a:pt x="173" y="528"/>
                    </a:lnTo>
                    <a:lnTo>
                      <a:pt x="173" y="530"/>
                    </a:lnTo>
                    <a:lnTo>
                      <a:pt x="173" y="528"/>
                    </a:lnTo>
                    <a:lnTo>
                      <a:pt x="175" y="528"/>
                    </a:lnTo>
                    <a:lnTo>
                      <a:pt x="175" y="527"/>
                    </a:lnTo>
                    <a:lnTo>
                      <a:pt x="173" y="527"/>
                    </a:lnTo>
                    <a:lnTo>
                      <a:pt x="175" y="527"/>
                    </a:lnTo>
                    <a:lnTo>
                      <a:pt x="173" y="527"/>
                    </a:lnTo>
                    <a:lnTo>
                      <a:pt x="175" y="527"/>
                    </a:lnTo>
                    <a:lnTo>
                      <a:pt x="175" y="525"/>
                    </a:lnTo>
                    <a:lnTo>
                      <a:pt x="175" y="527"/>
                    </a:lnTo>
                    <a:lnTo>
                      <a:pt x="175" y="525"/>
                    </a:lnTo>
                    <a:lnTo>
                      <a:pt x="175" y="523"/>
                    </a:lnTo>
                    <a:lnTo>
                      <a:pt x="175" y="521"/>
                    </a:lnTo>
                    <a:lnTo>
                      <a:pt x="175" y="519"/>
                    </a:lnTo>
                    <a:lnTo>
                      <a:pt x="175" y="517"/>
                    </a:lnTo>
                    <a:lnTo>
                      <a:pt x="177" y="517"/>
                    </a:lnTo>
                    <a:lnTo>
                      <a:pt x="179" y="515"/>
                    </a:lnTo>
                    <a:lnTo>
                      <a:pt x="179" y="517"/>
                    </a:lnTo>
                    <a:lnTo>
                      <a:pt x="179" y="515"/>
                    </a:lnTo>
                    <a:lnTo>
                      <a:pt x="179" y="517"/>
                    </a:lnTo>
                    <a:lnTo>
                      <a:pt x="179" y="515"/>
                    </a:lnTo>
                    <a:lnTo>
                      <a:pt x="179" y="517"/>
                    </a:lnTo>
                    <a:lnTo>
                      <a:pt x="179" y="515"/>
                    </a:lnTo>
                    <a:lnTo>
                      <a:pt x="179" y="517"/>
                    </a:lnTo>
                    <a:lnTo>
                      <a:pt x="181" y="517"/>
                    </a:lnTo>
                    <a:lnTo>
                      <a:pt x="181" y="519"/>
                    </a:lnTo>
                    <a:lnTo>
                      <a:pt x="181" y="521"/>
                    </a:lnTo>
                    <a:lnTo>
                      <a:pt x="181" y="523"/>
                    </a:lnTo>
                    <a:lnTo>
                      <a:pt x="183" y="523"/>
                    </a:lnTo>
                    <a:lnTo>
                      <a:pt x="183" y="525"/>
                    </a:lnTo>
                    <a:lnTo>
                      <a:pt x="185" y="527"/>
                    </a:lnTo>
                    <a:lnTo>
                      <a:pt x="183" y="527"/>
                    </a:lnTo>
                    <a:lnTo>
                      <a:pt x="185" y="527"/>
                    </a:lnTo>
                    <a:lnTo>
                      <a:pt x="183" y="527"/>
                    </a:lnTo>
                    <a:lnTo>
                      <a:pt x="185" y="528"/>
                    </a:lnTo>
                    <a:lnTo>
                      <a:pt x="183" y="528"/>
                    </a:lnTo>
                    <a:lnTo>
                      <a:pt x="185" y="528"/>
                    </a:lnTo>
                    <a:lnTo>
                      <a:pt x="185" y="530"/>
                    </a:lnTo>
                    <a:lnTo>
                      <a:pt x="187" y="530"/>
                    </a:lnTo>
                    <a:lnTo>
                      <a:pt x="187" y="532"/>
                    </a:lnTo>
                    <a:lnTo>
                      <a:pt x="187" y="534"/>
                    </a:lnTo>
                    <a:lnTo>
                      <a:pt x="187" y="536"/>
                    </a:lnTo>
                    <a:lnTo>
                      <a:pt x="187" y="538"/>
                    </a:lnTo>
                    <a:lnTo>
                      <a:pt x="189" y="538"/>
                    </a:lnTo>
                    <a:lnTo>
                      <a:pt x="189" y="540"/>
                    </a:lnTo>
                    <a:lnTo>
                      <a:pt x="189" y="542"/>
                    </a:lnTo>
                    <a:lnTo>
                      <a:pt x="189" y="544"/>
                    </a:lnTo>
                    <a:lnTo>
                      <a:pt x="189" y="542"/>
                    </a:lnTo>
                    <a:lnTo>
                      <a:pt x="187" y="542"/>
                    </a:lnTo>
                    <a:lnTo>
                      <a:pt x="189" y="542"/>
                    </a:lnTo>
                    <a:lnTo>
                      <a:pt x="187" y="542"/>
                    </a:lnTo>
                    <a:lnTo>
                      <a:pt x="187" y="544"/>
                    </a:lnTo>
                    <a:lnTo>
                      <a:pt x="187" y="542"/>
                    </a:lnTo>
                    <a:lnTo>
                      <a:pt x="187" y="544"/>
                    </a:lnTo>
                    <a:lnTo>
                      <a:pt x="189" y="544"/>
                    </a:lnTo>
                    <a:lnTo>
                      <a:pt x="189" y="542"/>
                    </a:lnTo>
                    <a:lnTo>
                      <a:pt x="191" y="544"/>
                    </a:lnTo>
                    <a:lnTo>
                      <a:pt x="191" y="546"/>
                    </a:lnTo>
                    <a:lnTo>
                      <a:pt x="189" y="546"/>
                    </a:lnTo>
                    <a:lnTo>
                      <a:pt x="191" y="546"/>
                    </a:lnTo>
                    <a:lnTo>
                      <a:pt x="189" y="544"/>
                    </a:lnTo>
                    <a:lnTo>
                      <a:pt x="189" y="546"/>
                    </a:lnTo>
                    <a:lnTo>
                      <a:pt x="191" y="546"/>
                    </a:lnTo>
                    <a:lnTo>
                      <a:pt x="191" y="548"/>
                    </a:lnTo>
                    <a:lnTo>
                      <a:pt x="191" y="550"/>
                    </a:lnTo>
                    <a:lnTo>
                      <a:pt x="191" y="552"/>
                    </a:lnTo>
                    <a:lnTo>
                      <a:pt x="191" y="553"/>
                    </a:lnTo>
                    <a:lnTo>
                      <a:pt x="189" y="553"/>
                    </a:lnTo>
                    <a:lnTo>
                      <a:pt x="191" y="553"/>
                    </a:lnTo>
                    <a:lnTo>
                      <a:pt x="191" y="552"/>
                    </a:lnTo>
                    <a:lnTo>
                      <a:pt x="191" y="553"/>
                    </a:lnTo>
                    <a:lnTo>
                      <a:pt x="193" y="555"/>
                    </a:lnTo>
                    <a:lnTo>
                      <a:pt x="191" y="553"/>
                    </a:lnTo>
                    <a:lnTo>
                      <a:pt x="193" y="553"/>
                    </a:lnTo>
                    <a:lnTo>
                      <a:pt x="191" y="553"/>
                    </a:lnTo>
                    <a:lnTo>
                      <a:pt x="193" y="553"/>
                    </a:lnTo>
                    <a:lnTo>
                      <a:pt x="193" y="555"/>
                    </a:lnTo>
                    <a:lnTo>
                      <a:pt x="193" y="553"/>
                    </a:lnTo>
                    <a:lnTo>
                      <a:pt x="193" y="555"/>
                    </a:lnTo>
                    <a:lnTo>
                      <a:pt x="194" y="555"/>
                    </a:lnTo>
                    <a:lnTo>
                      <a:pt x="194" y="557"/>
                    </a:lnTo>
                    <a:lnTo>
                      <a:pt x="194" y="555"/>
                    </a:lnTo>
                    <a:lnTo>
                      <a:pt x="196" y="557"/>
                    </a:lnTo>
                    <a:lnTo>
                      <a:pt x="196" y="559"/>
                    </a:lnTo>
                    <a:lnTo>
                      <a:pt x="198" y="559"/>
                    </a:lnTo>
                    <a:lnTo>
                      <a:pt x="198" y="561"/>
                    </a:lnTo>
                    <a:lnTo>
                      <a:pt x="200" y="563"/>
                    </a:lnTo>
                    <a:lnTo>
                      <a:pt x="202" y="565"/>
                    </a:lnTo>
                    <a:lnTo>
                      <a:pt x="204" y="565"/>
                    </a:lnTo>
                    <a:lnTo>
                      <a:pt x="206" y="565"/>
                    </a:lnTo>
                    <a:lnTo>
                      <a:pt x="204" y="565"/>
                    </a:lnTo>
                    <a:lnTo>
                      <a:pt x="206" y="565"/>
                    </a:lnTo>
                    <a:lnTo>
                      <a:pt x="208" y="567"/>
                    </a:lnTo>
                    <a:lnTo>
                      <a:pt x="208" y="569"/>
                    </a:lnTo>
                    <a:lnTo>
                      <a:pt x="210" y="569"/>
                    </a:lnTo>
                    <a:lnTo>
                      <a:pt x="210" y="571"/>
                    </a:lnTo>
                    <a:lnTo>
                      <a:pt x="208" y="571"/>
                    </a:lnTo>
                    <a:lnTo>
                      <a:pt x="208" y="573"/>
                    </a:lnTo>
                    <a:lnTo>
                      <a:pt x="210" y="571"/>
                    </a:lnTo>
                    <a:lnTo>
                      <a:pt x="210" y="573"/>
                    </a:lnTo>
                    <a:lnTo>
                      <a:pt x="210" y="571"/>
                    </a:lnTo>
                    <a:lnTo>
                      <a:pt x="208" y="571"/>
                    </a:lnTo>
                    <a:lnTo>
                      <a:pt x="210" y="571"/>
                    </a:lnTo>
                    <a:lnTo>
                      <a:pt x="210" y="569"/>
                    </a:lnTo>
                    <a:lnTo>
                      <a:pt x="208" y="569"/>
                    </a:lnTo>
                    <a:lnTo>
                      <a:pt x="210" y="569"/>
                    </a:lnTo>
                    <a:lnTo>
                      <a:pt x="210" y="567"/>
                    </a:lnTo>
                    <a:lnTo>
                      <a:pt x="208" y="567"/>
                    </a:lnTo>
                    <a:lnTo>
                      <a:pt x="208" y="565"/>
                    </a:lnTo>
                    <a:lnTo>
                      <a:pt x="206" y="565"/>
                    </a:lnTo>
                    <a:lnTo>
                      <a:pt x="204" y="563"/>
                    </a:lnTo>
                    <a:lnTo>
                      <a:pt x="202" y="563"/>
                    </a:lnTo>
                    <a:lnTo>
                      <a:pt x="200" y="563"/>
                    </a:lnTo>
                    <a:lnTo>
                      <a:pt x="200" y="561"/>
                    </a:lnTo>
                    <a:lnTo>
                      <a:pt x="198" y="561"/>
                    </a:lnTo>
                    <a:lnTo>
                      <a:pt x="198" y="559"/>
                    </a:lnTo>
                    <a:lnTo>
                      <a:pt x="196" y="559"/>
                    </a:lnTo>
                    <a:lnTo>
                      <a:pt x="196" y="557"/>
                    </a:lnTo>
                    <a:lnTo>
                      <a:pt x="194" y="555"/>
                    </a:lnTo>
                    <a:lnTo>
                      <a:pt x="193" y="553"/>
                    </a:lnTo>
                    <a:lnTo>
                      <a:pt x="193" y="552"/>
                    </a:lnTo>
                    <a:lnTo>
                      <a:pt x="193" y="550"/>
                    </a:lnTo>
                    <a:lnTo>
                      <a:pt x="193" y="548"/>
                    </a:lnTo>
                    <a:lnTo>
                      <a:pt x="191" y="546"/>
                    </a:lnTo>
                    <a:lnTo>
                      <a:pt x="193" y="546"/>
                    </a:lnTo>
                    <a:lnTo>
                      <a:pt x="191" y="546"/>
                    </a:lnTo>
                    <a:lnTo>
                      <a:pt x="193" y="546"/>
                    </a:lnTo>
                    <a:lnTo>
                      <a:pt x="193" y="548"/>
                    </a:lnTo>
                    <a:lnTo>
                      <a:pt x="193" y="550"/>
                    </a:lnTo>
                    <a:lnTo>
                      <a:pt x="193" y="548"/>
                    </a:lnTo>
                    <a:lnTo>
                      <a:pt x="193" y="546"/>
                    </a:lnTo>
                    <a:lnTo>
                      <a:pt x="193" y="548"/>
                    </a:lnTo>
                    <a:lnTo>
                      <a:pt x="193" y="546"/>
                    </a:lnTo>
                    <a:lnTo>
                      <a:pt x="191" y="546"/>
                    </a:lnTo>
                    <a:lnTo>
                      <a:pt x="191" y="544"/>
                    </a:lnTo>
                    <a:lnTo>
                      <a:pt x="191" y="542"/>
                    </a:lnTo>
                    <a:lnTo>
                      <a:pt x="191" y="540"/>
                    </a:lnTo>
                    <a:lnTo>
                      <a:pt x="191" y="538"/>
                    </a:lnTo>
                    <a:lnTo>
                      <a:pt x="189" y="538"/>
                    </a:lnTo>
                    <a:lnTo>
                      <a:pt x="191" y="536"/>
                    </a:lnTo>
                    <a:lnTo>
                      <a:pt x="189" y="536"/>
                    </a:lnTo>
                    <a:lnTo>
                      <a:pt x="191" y="536"/>
                    </a:lnTo>
                    <a:lnTo>
                      <a:pt x="189" y="536"/>
                    </a:lnTo>
                    <a:lnTo>
                      <a:pt x="191" y="536"/>
                    </a:lnTo>
                    <a:lnTo>
                      <a:pt x="189" y="536"/>
                    </a:lnTo>
                    <a:lnTo>
                      <a:pt x="191" y="536"/>
                    </a:lnTo>
                    <a:lnTo>
                      <a:pt x="191" y="534"/>
                    </a:lnTo>
                    <a:lnTo>
                      <a:pt x="189" y="534"/>
                    </a:lnTo>
                    <a:lnTo>
                      <a:pt x="189" y="532"/>
                    </a:lnTo>
                    <a:lnTo>
                      <a:pt x="189" y="534"/>
                    </a:lnTo>
                    <a:lnTo>
                      <a:pt x="189" y="532"/>
                    </a:lnTo>
                    <a:lnTo>
                      <a:pt x="189" y="534"/>
                    </a:lnTo>
                    <a:lnTo>
                      <a:pt x="189" y="532"/>
                    </a:lnTo>
                    <a:lnTo>
                      <a:pt x="187" y="530"/>
                    </a:lnTo>
                    <a:lnTo>
                      <a:pt x="187" y="528"/>
                    </a:lnTo>
                    <a:lnTo>
                      <a:pt x="185" y="528"/>
                    </a:lnTo>
                    <a:lnTo>
                      <a:pt x="185" y="527"/>
                    </a:lnTo>
                    <a:lnTo>
                      <a:pt x="187" y="527"/>
                    </a:lnTo>
                    <a:lnTo>
                      <a:pt x="185" y="527"/>
                    </a:lnTo>
                    <a:lnTo>
                      <a:pt x="185" y="525"/>
                    </a:lnTo>
                    <a:lnTo>
                      <a:pt x="187" y="525"/>
                    </a:lnTo>
                    <a:lnTo>
                      <a:pt x="187" y="523"/>
                    </a:lnTo>
                    <a:lnTo>
                      <a:pt x="187" y="525"/>
                    </a:lnTo>
                    <a:lnTo>
                      <a:pt x="185" y="525"/>
                    </a:lnTo>
                    <a:lnTo>
                      <a:pt x="185" y="523"/>
                    </a:lnTo>
                    <a:lnTo>
                      <a:pt x="185" y="521"/>
                    </a:lnTo>
                    <a:lnTo>
                      <a:pt x="183" y="519"/>
                    </a:lnTo>
                    <a:lnTo>
                      <a:pt x="183" y="517"/>
                    </a:lnTo>
                    <a:lnTo>
                      <a:pt x="181" y="515"/>
                    </a:lnTo>
                    <a:lnTo>
                      <a:pt x="179" y="513"/>
                    </a:lnTo>
                    <a:lnTo>
                      <a:pt x="179" y="511"/>
                    </a:lnTo>
                    <a:lnTo>
                      <a:pt x="177" y="511"/>
                    </a:lnTo>
                    <a:lnTo>
                      <a:pt x="177" y="509"/>
                    </a:lnTo>
                    <a:lnTo>
                      <a:pt x="177" y="507"/>
                    </a:lnTo>
                    <a:lnTo>
                      <a:pt x="175" y="507"/>
                    </a:lnTo>
                    <a:lnTo>
                      <a:pt x="175" y="505"/>
                    </a:lnTo>
                    <a:lnTo>
                      <a:pt x="175" y="507"/>
                    </a:lnTo>
                    <a:lnTo>
                      <a:pt x="177" y="507"/>
                    </a:lnTo>
                    <a:lnTo>
                      <a:pt x="177" y="505"/>
                    </a:lnTo>
                    <a:lnTo>
                      <a:pt x="177" y="503"/>
                    </a:lnTo>
                    <a:lnTo>
                      <a:pt x="179" y="502"/>
                    </a:lnTo>
                    <a:lnTo>
                      <a:pt x="179" y="503"/>
                    </a:lnTo>
                    <a:lnTo>
                      <a:pt x="181" y="503"/>
                    </a:lnTo>
                    <a:lnTo>
                      <a:pt x="183" y="503"/>
                    </a:lnTo>
                    <a:lnTo>
                      <a:pt x="183" y="505"/>
                    </a:lnTo>
                    <a:lnTo>
                      <a:pt x="183" y="507"/>
                    </a:lnTo>
                    <a:lnTo>
                      <a:pt x="183" y="505"/>
                    </a:lnTo>
                    <a:lnTo>
                      <a:pt x="183" y="507"/>
                    </a:lnTo>
                    <a:lnTo>
                      <a:pt x="183" y="509"/>
                    </a:lnTo>
                    <a:lnTo>
                      <a:pt x="185" y="509"/>
                    </a:lnTo>
                    <a:lnTo>
                      <a:pt x="183" y="509"/>
                    </a:lnTo>
                    <a:lnTo>
                      <a:pt x="185" y="509"/>
                    </a:lnTo>
                    <a:lnTo>
                      <a:pt x="185" y="511"/>
                    </a:lnTo>
                    <a:lnTo>
                      <a:pt x="185" y="513"/>
                    </a:lnTo>
                    <a:lnTo>
                      <a:pt x="187" y="511"/>
                    </a:lnTo>
                    <a:lnTo>
                      <a:pt x="187" y="513"/>
                    </a:lnTo>
                    <a:lnTo>
                      <a:pt x="187" y="511"/>
                    </a:lnTo>
                    <a:lnTo>
                      <a:pt x="185" y="513"/>
                    </a:lnTo>
                    <a:lnTo>
                      <a:pt x="185" y="511"/>
                    </a:lnTo>
                    <a:lnTo>
                      <a:pt x="185" y="509"/>
                    </a:lnTo>
                    <a:lnTo>
                      <a:pt x="183" y="509"/>
                    </a:lnTo>
                    <a:lnTo>
                      <a:pt x="185" y="509"/>
                    </a:lnTo>
                    <a:lnTo>
                      <a:pt x="185" y="507"/>
                    </a:lnTo>
                    <a:lnTo>
                      <a:pt x="185" y="509"/>
                    </a:lnTo>
                    <a:lnTo>
                      <a:pt x="183" y="509"/>
                    </a:lnTo>
                    <a:lnTo>
                      <a:pt x="183" y="507"/>
                    </a:lnTo>
                    <a:lnTo>
                      <a:pt x="185" y="507"/>
                    </a:lnTo>
                    <a:lnTo>
                      <a:pt x="183" y="507"/>
                    </a:lnTo>
                    <a:lnTo>
                      <a:pt x="183" y="505"/>
                    </a:lnTo>
                    <a:lnTo>
                      <a:pt x="183" y="503"/>
                    </a:lnTo>
                    <a:lnTo>
                      <a:pt x="181" y="503"/>
                    </a:lnTo>
                    <a:lnTo>
                      <a:pt x="181" y="502"/>
                    </a:lnTo>
                    <a:lnTo>
                      <a:pt x="181" y="503"/>
                    </a:lnTo>
                    <a:lnTo>
                      <a:pt x="179" y="502"/>
                    </a:lnTo>
                    <a:lnTo>
                      <a:pt x="179" y="500"/>
                    </a:lnTo>
                    <a:lnTo>
                      <a:pt x="179" y="498"/>
                    </a:lnTo>
                    <a:lnTo>
                      <a:pt x="177" y="498"/>
                    </a:lnTo>
                    <a:lnTo>
                      <a:pt x="177" y="496"/>
                    </a:lnTo>
                    <a:lnTo>
                      <a:pt x="175" y="496"/>
                    </a:lnTo>
                    <a:lnTo>
                      <a:pt x="175" y="494"/>
                    </a:lnTo>
                    <a:lnTo>
                      <a:pt x="173" y="494"/>
                    </a:lnTo>
                    <a:lnTo>
                      <a:pt x="173" y="492"/>
                    </a:lnTo>
                    <a:lnTo>
                      <a:pt x="171" y="492"/>
                    </a:lnTo>
                    <a:lnTo>
                      <a:pt x="173" y="492"/>
                    </a:lnTo>
                    <a:lnTo>
                      <a:pt x="173" y="490"/>
                    </a:lnTo>
                    <a:lnTo>
                      <a:pt x="173" y="492"/>
                    </a:lnTo>
                    <a:lnTo>
                      <a:pt x="171" y="492"/>
                    </a:lnTo>
                    <a:lnTo>
                      <a:pt x="171" y="490"/>
                    </a:lnTo>
                    <a:lnTo>
                      <a:pt x="170" y="488"/>
                    </a:lnTo>
                    <a:lnTo>
                      <a:pt x="170" y="486"/>
                    </a:lnTo>
                    <a:lnTo>
                      <a:pt x="170" y="484"/>
                    </a:lnTo>
                    <a:lnTo>
                      <a:pt x="171" y="482"/>
                    </a:lnTo>
                    <a:lnTo>
                      <a:pt x="171" y="480"/>
                    </a:lnTo>
                    <a:lnTo>
                      <a:pt x="171" y="478"/>
                    </a:lnTo>
                    <a:lnTo>
                      <a:pt x="173" y="478"/>
                    </a:lnTo>
                    <a:lnTo>
                      <a:pt x="175" y="478"/>
                    </a:lnTo>
                    <a:lnTo>
                      <a:pt x="173" y="478"/>
                    </a:lnTo>
                    <a:lnTo>
                      <a:pt x="175" y="478"/>
                    </a:lnTo>
                    <a:lnTo>
                      <a:pt x="175" y="477"/>
                    </a:lnTo>
                    <a:lnTo>
                      <a:pt x="175" y="475"/>
                    </a:lnTo>
                    <a:lnTo>
                      <a:pt x="175" y="473"/>
                    </a:lnTo>
                    <a:lnTo>
                      <a:pt x="175" y="471"/>
                    </a:lnTo>
                    <a:lnTo>
                      <a:pt x="175" y="469"/>
                    </a:lnTo>
                    <a:lnTo>
                      <a:pt x="175" y="467"/>
                    </a:lnTo>
                    <a:lnTo>
                      <a:pt x="175" y="465"/>
                    </a:lnTo>
                    <a:lnTo>
                      <a:pt x="177" y="463"/>
                    </a:lnTo>
                    <a:lnTo>
                      <a:pt x="177" y="461"/>
                    </a:lnTo>
                    <a:lnTo>
                      <a:pt x="177" y="463"/>
                    </a:lnTo>
                    <a:lnTo>
                      <a:pt x="179" y="461"/>
                    </a:lnTo>
                    <a:lnTo>
                      <a:pt x="181" y="459"/>
                    </a:lnTo>
                    <a:lnTo>
                      <a:pt x="181" y="461"/>
                    </a:lnTo>
                    <a:lnTo>
                      <a:pt x="179" y="461"/>
                    </a:lnTo>
                    <a:lnTo>
                      <a:pt x="179" y="463"/>
                    </a:lnTo>
                    <a:lnTo>
                      <a:pt x="179" y="461"/>
                    </a:lnTo>
                    <a:lnTo>
                      <a:pt x="181" y="461"/>
                    </a:lnTo>
                    <a:lnTo>
                      <a:pt x="181" y="459"/>
                    </a:lnTo>
                    <a:lnTo>
                      <a:pt x="181" y="457"/>
                    </a:lnTo>
                    <a:lnTo>
                      <a:pt x="181" y="455"/>
                    </a:lnTo>
                    <a:lnTo>
                      <a:pt x="179" y="455"/>
                    </a:lnTo>
                    <a:lnTo>
                      <a:pt x="179" y="453"/>
                    </a:lnTo>
                    <a:lnTo>
                      <a:pt x="179" y="452"/>
                    </a:lnTo>
                    <a:lnTo>
                      <a:pt x="177" y="450"/>
                    </a:lnTo>
                    <a:lnTo>
                      <a:pt x="175" y="450"/>
                    </a:lnTo>
                    <a:lnTo>
                      <a:pt x="175" y="448"/>
                    </a:lnTo>
                    <a:lnTo>
                      <a:pt x="175" y="446"/>
                    </a:lnTo>
                    <a:lnTo>
                      <a:pt x="175" y="444"/>
                    </a:lnTo>
                    <a:lnTo>
                      <a:pt x="175" y="442"/>
                    </a:lnTo>
                    <a:lnTo>
                      <a:pt x="177" y="440"/>
                    </a:lnTo>
                    <a:lnTo>
                      <a:pt x="179" y="440"/>
                    </a:lnTo>
                    <a:lnTo>
                      <a:pt x="181" y="440"/>
                    </a:lnTo>
                    <a:lnTo>
                      <a:pt x="183" y="440"/>
                    </a:lnTo>
                    <a:lnTo>
                      <a:pt x="185" y="438"/>
                    </a:lnTo>
                    <a:lnTo>
                      <a:pt x="185" y="436"/>
                    </a:lnTo>
                    <a:lnTo>
                      <a:pt x="187" y="436"/>
                    </a:lnTo>
                    <a:lnTo>
                      <a:pt x="189" y="434"/>
                    </a:lnTo>
                    <a:lnTo>
                      <a:pt x="191" y="434"/>
                    </a:lnTo>
                    <a:lnTo>
                      <a:pt x="193" y="434"/>
                    </a:lnTo>
                    <a:lnTo>
                      <a:pt x="193" y="432"/>
                    </a:lnTo>
                    <a:lnTo>
                      <a:pt x="191" y="430"/>
                    </a:lnTo>
                    <a:lnTo>
                      <a:pt x="193" y="428"/>
                    </a:lnTo>
                    <a:lnTo>
                      <a:pt x="194" y="427"/>
                    </a:lnTo>
                    <a:lnTo>
                      <a:pt x="196" y="427"/>
                    </a:lnTo>
                    <a:lnTo>
                      <a:pt x="198" y="427"/>
                    </a:lnTo>
                    <a:lnTo>
                      <a:pt x="198" y="428"/>
                    </a:lnTo>
                    <a:lnTo>
                      <a:pt x="200" y="428"/>
                    </a:lnTo>
                    <a:lnTo>
                      <a:pt x="202" y="428"/>
                    </a:lnTo>
                    <a:lnTo>
                      <a:pt x="202" y="430"/>
                    </a:lnTo>
                    <a:lnTo>
                      <a:pt x="204" y="430"/>
                    </a:lnTo>
                    <a:lnTo>
                      <a:pt x="204" y="432"/>
                    </a:lnTo>
                    <a:lnTo>
                      <a:pt x="206" y="432"/>
                    </a:lnTo>
                    <a:lnTo>
                      <a:pt x="208" y="432"/>
                    </a:lnTo>
                    <a:lnTo>
                      <a:pt x="210" y="432"/>
                    </a:lnTo>
                    <a:lnTo>
                      <a:pt x="210" y="430"/>
                    </a:lnTo>
                    <a:lnTo>
                      <a:pt x="212" y="430"/>
                    </a:lnTo>
                    <a:lnTo>
                      <a:pt x="214" y="430"/>
                    </a:lnTo>
                    <a:lnTo>
                      <a:pt x="214" y="432"/>
                    </a:lnTo>
                    <a:lnTo>
                      <a:pt x="216" y="432"/>
                    </a:lnTo>
                    <a:lnTo>
                      <a:pt x="218" y="432"/>
                    </a:lnTo>
                    <a:lnTo>
                      <a:pt x="219" y="432"/>
                    </a:lnTo>
                    <a:lnTo>
                      <a:pt x="221" y="434"/>
                    </a:lnTo>
                    <a:lnTo>
                      <a:pt x="223" y="434"/>
                    </a:lnTo>
                    <a:lnTo>
                      <a:pt x="225" y="434"/>
                    </a:lnTo>
                    <a:lnTo>
                      <a:pt x="227" y="434"/>
                    </a:lnTo>
                    <a:lnTo>
                      <a:pt x="229" y="434"/>
                    </a:lnTo>
                    <a:lnTo>
                      <a:pt x="231" y="434"/>
                    </a:lnTo>
                    <a:lnTo>
                      <a:pt x="233" y="434"/>
                    </a:lnTo>
                    <a:lnTo>
                      <a:pt x="233" y="432"/>
                    </a:lnTo>
                    <a:lnTo>
                      <a:pt x="235" y="432"/>
                    </a:lnTo>
                    <a:lnTo>
                      <a:pt x="237" y="432"/>
                    </a:lnTo>
                    <a:lnTo>
                      <a:pt x="239" y="430"/>
                    </a:lnTo>
                    <a:lnTo>
                      <a:pt x="239" y="428"/>
                    </a:lnTo>
                    <a:lnTo>
                      <a:pt x="241" y="428"/>
                    </a:lnTo>
                    <a:lnTo>
                      <a:pt x="243" y="427"/>
                    </a:lnTo>
                    <a:lnTo>
                      <a:pt x="243" y="425"/>
                    </a:lnTo>
                    <a:lnTo>
                      <a:pt x="244" y="425"/>
                    </a:lnTo>
                    <a:lnTo>
                      <a:pt x="243" y="425"/>
                    </a:lnTo>
                    <a:lnTo>
                      <a:pt x="244" y="425"/>
                    </a:lnTo>
                    <a:lnTo>
                      <a:pt x="244" y="423"/>
                    </a:lnTo>
                    <a:lnTo>
                      <a:pt x="246" y="423"/>
                    </a:lnTo>
                    <a:lnTo>
                      <a:pt x="248" y="423"/>
                    </a:lnTo>
                    <a:lnTo>
                      <a:pt x="250" y="421"/>
                    </a:lnTo>
                    <a:lnTo>
                      <a:pt x="252" y="421"/>
                    </a:lnTo>
                    <a:lnTo>
                      <a:pt x="252" y="419"/>
                    </a:lnTo>
                    <a:lnTo>
                      <a:pt x="254" y="417"/>
                    </a:lnTo>
                    <a:lnTo>
                      <a:pt x="256" y="419"/>
                    </a:lnTo>
                    <a:lnTo>
                      <a:pt x="258" y="419"/>
                    </a:lnTo>
                    <a:lnTo>
                      <a:pt x="258" y="421"/>
                    </a:lnTo>
                    <a:lnTo>
                      <a:pt x="258" y="419"/>
                    </a:lnTo>
                    <a:lnTo>
                      <a:pt x="258" y="421"/>
                    </a:lnTo>
                    <a:lnTo>
                      <a:pt x="260" y="421"/>
                    </a:lnTo>
                    <a:lnTo>
                      <a:pt x="262" y="423"/>
                    </a:lnTo>
                    <a:lnTo>
                      <a:pt x="262" y="425"/>
                    </a:lnTo>
                    <a:lnTo>
                      <a:pt x="262" y="427"/>
                    </a:lnTo>
                    <a:lnTo>
                      <a:pt x="262" y="428"/>
                    </a:lnTo>
                    <a:lnTo>
                      <a:pt x="262" y="430"/>
                    </a:lnTo>
                    <a:lnTo>
                      <a:pt x="260" y="432"/>
                    </a:lnTo>
                    <a:lnTo>
                      <a:pt x="260" y="434"/>
                    </a:lnTo>
                    <a:lnTo>
                      <a:pt x="260" y="432"/>
                    </a:lnTo>
                    <a:lnTo>
                      <a:pt x="262" y="434"/>
                    </a:lnTo>
                    <a:lnTo>
                      <a:pt x="264" y="434"/>
                    </a:lnTo>
                    <a:lnTo>
                      <a:pt x="264" y="436"/>
                    </a:lnTo>
                    <a:lnTo>
                      <a:pt x="262" y="436"/>
                    </a:lnTo>
                    <a:lnTo>
                      <a:pt x="264" y="436"/>
                    </a:lnTo>
                    <a:lnTo>
                      <a:pt x="262" y="438"/>
                    </a:lnTo>
                    <a:lnTo>
                      <a:pt x="264" y="440"/>
                    </a:lnTo>
                    <a:lnTo>
                      <a:pt x="264" y="438"/>
                    </a:lnTo>
                    <a:lnTo>
                      <a:pt x="262" y="438"/>
                    </a:lnTo>
                    <a:lnTo>
                      <a:pt x="264" y="436"/>
                    </a:lnTo>
                    <a:lnTo>
                      <a:pt x="264" y="434"/>
                    </a:lnTo>
                    <a:lnTo>
                      <a:pt x="262" y="434"/>
                    </a:lnTo>
                    <a:lnTo>
                      <a:pt x="260" y="432"/>
                    </a:lnTo>
                    <a:lnTo>
                      <a:pt x="262" y="430"/>
                    </a:lnTo>
                    <a:lnTo>
                      <a:pt x="262" y="432"/>
                    </a:lnTo>
                    <a:lnTo>
                      <a:pt x="262" y="430"/>
                    </a:lnTo>
                    <a:lnTo>
                      <a:pt x="262" y="428"/>
                    </a:lnTo>
                    <a:lnTo>
                      <a:pt x="262" y="427"/>
                    </a:lnTo>
                    <a:lnTo>
                      <a:pt x="262" y="425"/>
                    </a:lnTo>
                    <a:lnTo>
                      <a:pt x="264" y="425"/>
                    </a:lnTo>
                    <a:lnTo>
                      <a:pt x="262" y="425"/>
                    </a:lnTo>
                    <a:lnTo>
                      <a:pt x="264" y="425"/>
                    </a:lnTo>
                    <a:lnTo>
                      <a:pt x="262" y="425"/>
                    </a:lnTo>
                    <a:lnTo>
                      <a:pt x="262" y="423"/>
                    </a:lnTo>
                    <a:lnTo>
                      <a:pt x="260" y="421"/>
                    </a:lnTo>
                    <a:lnTo>
                      <a:pt x="262" y="421"/>
                    </a:lnTo>
                    <a:lnTo>
                      <a:pt x="262" y="423"/>
                    </a:lnTo>
                    <a:lnTo>
                      <a:pt x="260" y="421"/>
                    </a:lnTo>
                    <a:lnTo>
                      <a:pt x="258" y="421"/>
                    </a:lnTo>
                    <a:lnTo>
                      <a:pt x="260" y="421"/>
                    </a:lnTo>
                    <a:lnTo>
                      <a:pt x="258" y="421"/>
                    </a:lnTo>
                    <a:lnTo>
                      <a:pt x="258" y="419"/>
                    </a:lnTo>
                    <a:lnTo>
                      <a:pt x="256" y="419"/>
                    </a:lnTo>
                    <a:lnTo>
                      <a:pt x="256" y="417"/>
                    </a:lnTo>
                    <a:lnTo>
                      <a:pt x="254" y="417"/>
                    </a:lnTo>
                    <a:lnTo>
                      <a:pt x="252" y="417"/>
                    </a:lnTo>
                    <a:lnTo>
                      <a:pt x="252" y="419"/>
                    </a:lnTo>
                    <a:lnTo>
                      <a:pt x="250" y="419"/>
                    </a:lnTo>
                    <a:lnTo>
                      <a:pt x="250" y="421"/>
                    </a:lnTo>
                    <a:lnTo>
                      <a:pt x="248" y="421"/>
                    </a:lnTo>
                    <a:lnTo>
                      <a:pt x="248" y="423"/>
                    </a:lnTo>
                    <a:lnTo>
                      <a:pt x="246" y="423"/>
                    </a:lnTo>
                    <a:lnTo>
                      <a:pt x="244" y="423"/>
                    </a:lnTo>
                    <a:lnTo>
                      <a:pt x="243" y="425"/>
                    </a:lnTo>
                    <a:lnTo>
                      <a:pt x="243" y="427"/>
                    </a:lnTo>
                    <a:lnTo>
                      <a:pt x="241" y="427"/>
                    </a:lnTo>
                    <a:lnTo>
                      <a:pt x="241" y="428"/>
                    </a:lnTo>
                    <a:lnTo>
                      <a:pt x="239" y="428"/>
                    </a:lnTo>
                    <a:lnTo>
                      <a:pt x="237" y="430"/>
                    </a:lnTo>
                    <a:lnTo>
                      <a:pt x="239" y="430"/>
                    </a:lnTo>
                    <a:lnTo>
                      <a:pt x="237" y="430"/>
                    </a:lnTo>
                    <a:lnTo>
                      <a:pt x="237" y="432"/>
                    </a:lnTo>
                    <a:lnTo>
                      <a:pt x="235" y="432"/>
                    </a:lnTo>
                    <a:lnTo>
                      <a:pt x="233" y="432"/>
                    </a:lnTo>
                    <a:lnTo>
                      <a:pt x="231" y="434"/>
                    </a:lnTo>
                    <a:lnTo>
                      <a:pt x="229" y="434"/>
                    </a:lnTo>
                    <a:lnTo>
                      <a:pt x="227" y="434"/>
                    </a:lnTo>
                    <a:lnTo>
                      <a:pt x="225" y="434"/>
                    </a:lnTo>
                    <a:lnTo>
                      <a:pt x="223" y="434"/>
                    </a:lnTo>
                    <a:lnTo>
                      <a:pt x="221" y="434"/>
                    </a:lnTo>
                    <a:lnTo>
                      <a:pt x="221" y="432"/>
                    </a:lnTo>
                    <a:lnTo>
                      <a:pt x="221" y="434"/>
                    </a:lnTo>
                    <a:lnTo>
                      <a:pt x="221" y="432"/>
                    </a:lnTo>
                    <a:lnTo>
                      <a:pt x="219" y="432"/>
                    </a:lnTo>
                    <a:lnTo>
                      <a:pt x="218" y="432"/>
                    </a:lnTo>
                    <a:lnTo>
                      <a:pt x="219" y="432"/>
                    </a:lnTo>
                    <a:lnTo>
                      <a:pt x="218" y="432"/>
                    </a:lnTo>
                    <a:lnTo>
                      <a:pt x="216" y="432"/>
                    </a:lnTo>
                    <a:lnTo>
                      <a:pt x="216" y="430"/>
                    </a:lnTo>
                    <a:lnTo>
                      <a:pt x="214" y="430"/>
                    </a:lnTo>
                    <a:lnTo>
                      <a:pt x="214" y="432"/>
                    </a:lnTo>
                    <a:lnTo>
                      <a:pt x="214" y="430"/>
                    </a:lnTo>
                    <a:lnTo>
                      <a:pt x="212" y="430"/>
                    </a:lnTo>
                    <a:lnTo>
                      <a:pt x="210" y="430"/>
                    </a:lnTo>
                    <a:lnTo>
                      <a:pt x="210" y="432"/>
                    </a:lnTo>
                    <a:lnTo>
                      <a:pt x="208" y="432"/>
                    </a:lnTo>
                    <a:lnTo>
                      <a:pt x="206" y="432"/>
                    </a:lnTo>
                    <a:lnTo>
                      <a:pt x="204" y="432"/>
                    </a:lnTo>
                    <a:lnTo>
                      <a:pt x="204" y="430"/>
                    </a:lnTo>
                    <a:lnTo>
                      <a:pt x="202" y="430"/>
                    </a:lnTo>
                    <a:lnTo>
                      <a:pt x="202" y="428"/>
                    </a:lnTo>
                    <a:lnTo>
                      <a:pt x="200" y="428"/>
                    </a:lnTo>
                    <a:lnTo>
                      <a:pt x="198" y="428"/>
                    </a:lnTo>
                    <a:lnTo>
                      <a:pt x="198" y="427"/>
                    </a:lnTo>
                    <a:lnTo>
                      <a:pt x="200" y="427"/>
                    </a:lnTo>
                    <a:lnTo>
                      <a:pt x="200" y="425"/>
                    </a:lnTo>
                    <a:lnTo>
                      <a:pt x="202" y="425"/>
                    </a:lnTo>
                    <a:lnTo>
                      <a:pt x="202" y="423"/>
                    </a:lnTo>
                    <a:lnTo>
                      <a:pt x="202" y="421"/>
                    </a:lnTo>
                    <a:lnTo>
                      <a:pt x="202" y="419"/>
                    </a:lnTo>
                    <a:lnTo>
                      <a:pt x="202" y="417"/>
                    </a:lnTo>
                    <a:lnTo>
                      <a:pt x="202" y="415"/>
                    </a:lnTo>
                    <a:lnTo>
                      <a:pt x="200" y="415"/>
                    </a:lnTo>
                    <a:lnTo>
                      <a:pt x="198" y="415"/>
                    </a:lnTo>
                    <a:lnTo>
                      <a:pt x="198" y="413"/>
                    </a:lnTo>
                    <a:lnTo>
                      <a:pt x="196" y="411"/>
                    </a:lnTo>
                    <a:lnTo>
                      <a:pt x="194" y="411"/>
                    </a:lnTo>
                    <a:lnTo>
                      <a:pt x="194" y="409"/>
                    </a:lnTo>
                    <a:lnTo>
                      <a:pt x="193" y="409"/>
                    </a:lnTo>
                    <a:lnTo>
                      <a:pt x="193" y="407"/>
                    </a:lnTo>
                    <a:lnTo>
                      <a:pt x="191" y="407"/>
                    </a:lnTo>
                    <a:lnTo>
                      <a:pt x="191" y="405"/>
                    </a:lnTo>
                    <a:lnTo>
                      <a:pt x="189" y="405"/>
                    </a:lnTo>
                    <a:lnTo>
                      <a:pt x="187" y="403"/>
                    </a:lnTo>
                    <a:lnTo>
                      <a:pt x="187" y="402"/>
                    </a:lnTo>
                    <a:lnTo>
                      <a:pt x="187" y="400"/>
                    </a:lnTo>
                    <a:lnTo>
                      <a:pt x="187" y="398"/>
                    </a:lnTo>
                    <a:lnTo>
                      <a:pt x="185" y="396"/>
                    </a:lnTo>
                    <a:lnTo>
                      <a:pt x="185" y="394"/>
                    </a:lnTo>
                    <a:lnTo>
                      <a:pt x="187" y="396"/>
                    </a:lnTo>
                    <a:lnTo>
                      <a:pt x="187" y="394"/>
                    </a:lnTo>
                    <a:lnTo>
                      <a:pt x="185" y="394"/>
                    </a:lnTo>
                    <a:lnTo>
                      <a:pt x="185" y="392"/>
                    </a:lnTo>
                    <a:lnTo>
                      <a:pt x="183" y="392"/>
                    </a:lnTo>
                    <a:lnTo>
                      <a:pt x="183" y="390"/>
                    </a:lnTo>
                    <a:lnTo>
                      <a:pt x="183" y="388"/>
                    </a:lnTo>
                    <a:lnTo>
                      <a:pt x="181" y="388"/>
                    </a:lnTo>
                    <a:lnTo>
                      <a:pt x="181" y="386"/>
                    </a:lnTo>
                    <a:lnTo>
                      <a:pt x="179" y="386"/>
                    </a:lnTo>
                    <a:lnTo>
                      <a:pt x="181" y="386"/>
                    </a:lnTo>
                    <a:lnTo>
                      <a:pt x="181" y="384"/>
                    </a:lnTo>
                    <a:lnTo>
                      <a:pt x="183" y="384"/>
                    </a:lnTo>
                    <a:lnTo>
                      <a:pt x="185" y="384"/>
                    </a:lnTo>
                    <a:lnTo>
                      <a:pt x="185" y="386"/>
                    </a:lnTo>
                    <a:lnTo>
                      <a:pt x="185" y="384"/>
                    </a:lnTo>
                    <a:lnTo>
                      <a:pt x="185" y="382"/>
                    </a:lnTo>
                    <a:lnTo>
                      <a:pt x="187" y="382"/>
                    </a:lnTo>
                    <a:lnTo>
                      <a:pt x="189" y="380"/>
                    </a:lnTo>
                    <a:lnTo>
                      <a:pt x="191" y="380"/>
                    </a:lnTo>
                    <a:lnTo>
                      <a:pt x="191" y="382"/>
                    </a:lnTo>
                    <a:lnTo>
                      <a:pt x="191" y="384"/>
                    </a:lnTo>
                    <a:lnTo>
                      <a:pt x="191" y="382"/>
                    </a:lnTo>
                    <a:lnTo>
                      <a:pt x="191" y="384"/>
                    </a:lnTo>
                    <a:lnTo>
                      <a:pt x="191" y="386"/>
                    </a:lnTo>
                    <a:lnTo>
                      <a:pt x="193" y="386"/>
                    </a:lnTo>
                    <a:lnTo>
                      <a:pt x="191" y="386"/>
                    </a:lnTo>
                    <a:lnTo>
                      <a:pt x="193" y="386"/>
                    </a:lnTo>
                    <a:lnTo>
                      <a:pt x="191" y="386"/>
                    </a:lnTo>
                    <a:lnTo>
                      <a:pt x="191" y="384"/>
                    </a:lnTo>
                    <a:lnTo>
                      <a:pt x="191" y="382"/>
                    </a:lnTo>
                    <a:lnTo>
                      <a:pt x="191" y="380"/>
                    </a:lnTo>
                    <a:lnTo>
                      <a:pt x="189" y="380"/>
                    </a:lnTo>
                    <a:lnTo>
                      <a:pt x="191" y="380"/>
                    </a:lnTo>
                    <a:lnTo>
                      <a:pt x="189" y="380"/>
                    </a:lnTo>
                    <a:lnTo>
                      <a:pt x="189" y="379"/>
                    </a:lnTo>
                    <a:lnTo>
                      <a:pt x="187" y="379"/>
                    </a:lnTo>
                    <a:lnTo>
                      <a:pt x="187" y="377"/>
                    </a:lnTo>
                    <a:lnTo>
                      <a:pt x="187" y="375"/>
                    </a:lnTo>
                    <a:lnTo>
                      <a:pt x="187" y="377"/>
                    </a:lnTo>
                    <a:lnTo>
                      <a:pt x="187" y="375"/>
                    </a:lnTo>
                    <a:lnTo>
                      <a:pt x="187" y="373"/>
                    </a:lnTo>
                    <a:lnTo>
                      <a:pt x="189" y="373"/>
                    </a:lnTo>
                    <a:lnTo>
                      <a:pt x="187" y="373"/>
                    </a:lnTo>
                    <a:lnTo>
                      <a:pt x="187" y="371"/>
                    </a:lnTo>
                    <a:lnTo>
                      <a:pt x="187" y="373"/>
                    </a:lnTo>
                    <a:lnTo>
                      <a:pt x="187" y="371"/>
                    </a:lnTo>
                    <a:lnTo>
                      <a:pt x="187" y="369"/>
                    </a:lnTo>
                    <a:lnTo>
                      <a:pt x="185" y="369"/>
                    </a:lnTo>
                    <a:lnTo>
                      <a:pt x="187" y="369"/>
                    </a:lnTo>
                    <a:lnTo>
                      <a:pt x="189" y="369"/>
                    </a:lnTo>
                    <a:lnTo>
                      <a:pt x="189" y="367"/>
                    </a:lnTo>
                    <a:lnTo>
                      <a:pt x="189" y="365"/>
                    </a:lnTo>
                    <a:lnTo>
                      <a:pt x="191" y="365"/>
                    </a:lnTo>
                    <a:lnTo>
                      <a:pt x="189" y="365"/>
                    </a:lnTo>
                    <a:lnTo>
                      <a:pt x="191" y="365"/>
                    </a:lnTo>
                    <a:lnTo>
                      <a:pt x="191" y="363"/>
                    </a:lnTo>
                    <a:lnTo>
                      <a:pt x="189" y="363"/>
                    </a:lnTo>
                    <a:lnTo>
                      <a:pt x="189" y="361"/>
                    </a:lnTo>
                    <a:lnTo>
                      <a:pt x="189" y="363"/>
                    </a:lnTo>
                    <a:lnTo>
                      <a:pt x="189" y="361"/>
                    </a:lnTo>
                    <a:lnTo>
                      <a:pt x="189" y="359"/>
                    </a:lnTo>
                    <a:lnTo>
                      <a:pt x="191" y="359"/>
                    </a:lnTo>
                    <a:lnTo>
                      <a:pt x="191" y="357"/>
                    </a:lnTo>
                    <a:lnTo>
                      <a:pt x="191" y="355"/>
                    </a:lnTo>
                    <a:lnTo>
                      <a:pt x="191" y="354"/>
                    </a:lnTo>
                    <a:lnTo>
                      <a:pt x="189" y="354"/>
                    </a:lnTo>
                    <a:lnTo>
                      <a:pt x="189" y="355"/>
                    </a:lnTo>
                    <a:lnTo>
                      <a:pt x="189" y="354"/>
                    </a:lnTo>
                    <a:lnTo>
                      <a:pt x="189" y="355"/>
                    </a:lnTo>
                    <a:lnTo>
                      <a:pt x="189" y="354"/>
                    </a:lnTo>
                    <a:lnTo>
                      <a:pt x="189" y="352"/>
                    </a:lnTo>
                    <a:lnTo>
                      <a:pt x="189" y="350"/>
                    </a:lnTo>
                    <a:lnTo>
                      <a:pt x="189" y="348"/>
                    </a:lnTo>
                    <a:lnTo>
                      <a:pt x="189" y="346"/>
                    </a:lnTo>
                    <a:lnTo>
                      <a:pt x="191" y="344"/>
                    </a:lnTo>
                    <a:lnTo>
                      <a:pt x="189" y="344"/>
                    </a:lnTo>
                    <a:lnTo>
                      <a:pt x="189" y="342"/>
                    </a:lnTo>
                    <a:lnTo>
                      <a:pt x="189" y="340"/>
                    </a:lnTo>
                    <a:lnTo>
                      <a:pt x="189" y="338"/>
                    </a:lnTo>
                    <a:lnTo>
                      <a:pt x="189" y="336"/>
                    </a:lnTo>
                    <a:lnTo>
                      <a:pt x="189" y="334"/>
                    </a:lnTo>
                    <a:lnTo>
                      <a:pt x="189" y="332"/>
                    </a:lnTo>
                    <a:lnTo>
                      <a:pt x="191" y="330"/>
                    </a:lnTo>
                    <a:lnTo>
                      <a:pt x="191" y="329"/>
                    </a:lnTo>
                    <a:lnTo>
                      <a:pt x="191" y="327"/>
                    </a:lnTo>
                    <a:lnTo>
                      <a:pt x="193" y="327"/>
                    </a:lnTo>
                    <a:lnTo>
                      <a:pt x="193" y="325"/>
                    </a:lnTo>
                    <a:lnTo>
                      <a:pt x="194" y="323"/>
                    </a:lnTo>
                    <a:lnTo>
                      <a:pt x="196" y="321"/>
                    </a:lnTo>
                    <a:lnTo>
                      <a:pt x="198" y="321"/>
                    </a:lnTo>
                    <a:lnTo>
                      <a:pt x="198" y="319"/>
                    </a:lnTo>
                    <a:lnTo>
                      <a:pt x="200" y="319"/>
                    </a:lnTo>
                    <a:lnTo>
                      <a:pt x="202" y="319"/>
                    </a:lnTo>
                    <a:lnTo>
                      <a:pt x="204" y="319"/>
                    </a:lnTo>
                    <a:lnTo>
                      <a:pt x="206" y="319"/>
                    </a:lnTo>
                    <a:lnTo>
                      <a:pt x="208" y="319"/>
                    </a:lnTo>
                    <a:lnTo>
                      <a:pt x="210" y="319"/>
                    </a:lnTo>
                    <a:lnTo>
                      <a:pt x="212" y="319"/>
                    </a:lnTo>
                    <a:lnTo>
                      <a:pt x="212" y="321"/>
                    </a:lnTo>
                    <a:lnTo>
                      <a:pt x="212" y="319"/>
                    </a:lnTo>
                    <a:lnTo>
                      <a:pt x="212" y="321"/>
                    </a:lnTo>
                    <a:lnTo>
                      <a:pt x="212" y="319"/>
                    </a:lnTo>
                    <a:lnTo>
                      <a:pt x="212" y="321"/>
                    </a:lnTo>
                    <a:lnTo>
                      <a:pt x="214" y="321"/>
                    </a:lnTo>
                    <a:lnTo>
                      <a:pt x="214" y="323"/>
                    </a:lnTo>
                    <a:lnTo>
                      <a:pt x="216" y="323"/>
                    </a:lnTo>
                    <a:lnTo>
                      <a:pt x="214" y="323"/>
                    </a:lnTo>
                    <a:lnTo>
                      <a:pt x="214" y="321"/>
                    </a:lnTo>
                    <a:lnTo>
                      <a:pt x="212" y="321"/>
                    </a:lnTo>
                    <a:lnTo>
                      <a:pt x="212" y="319"/>
                    </a:lnTo>
                    <a:lnTo>
                      <a:pt x="214" y="319"/>
                    </a:lnTo>
                    <a:lnTo>
                      <a:pt x="214" y="317"/>
                    </a:lnTo>
                    <a:lnTo>
                      <a:pt x="216" y="317"/>
                    </a:lnTo>
                    <a:lnTo>
                      <a:pt x="218" y="317"/>
                    </a:lnTo>
                    <a:lnTo>
                      <a:pt x="219" y="317"/>
                    </a:lnTo>
                    <a:lnTo>
                      <a:pt x="221" y="317"/>
                    </a:lnTo>
                    <a:lnTo>
                      <a:pt x="223" y="317"/>
                    </a:lnTo>
                    <a:lnTo>
                      <a:pt x="225" y="315"/>
                    </a:lnTo>
                    <a:lnTo>
                      <a:pt x="227" y="315"/>
                    </a:lnTo>
                    <a:lnTo>
                      <a:pt x="227" y="313"/>
                    </a:lnTo>
                    <a:lnTo>
                      <a:pt x="229" y="313"/>
                    </a:lnTo>
                    <a:lnTo>
                      <a:pt x="231" y="313"/>
                    </a:lnTo>
                    <a:lnTo>
                      <a:pt x="231" y="311"/>
                    </a:lnTo>
                    <a:lnTo>
                      <a:pt x="233" y="311"/>
                    </a:lnTo>
                    <a:lnTo>
                      <a:pt x="235" y="311"/>
                    </a:lnTo>
                    <a:lnTo>
                      <a:pt x="237" y="311"/>
                    </a:lnTo>
                    <a:lnTo>
                      <a:pt x="237" y="313"/>
                    </a:lnTo>
                    <a:lnTo>
                      <a:pt x="239" y="313"/>
                    </a:lnTo>
                    <a:lnTo>
                      <a:pt x="241" y="313"/>
                    </a:lnTo>
                    <a:lnTo>
                      <a:pt x="244" y="315"/>
                    </a:lnTo>
                    <a:lnTo>
                      <a:pt x="246" y="315"/>
                    </a:lnTo>
                    <a:lnTo>
                      <a:pt x="244" y="315"/>
                    </a:lnTo>
                    <a:lnTo>
                      <a:pt x="246" y="315"/>
                    </a:lnTo>
                    <a:lnTo>
                      <a:pt x="248" y="315"/>
                    </a:lnTo>
                    <a:lnTo>
                      <a:pt x="250" y="315"/>
                    </a:lnTo>
                    <a:lnTo>
                      <a:pt x="252" y="315"/>
                    </a:lnTo>
                    <a:lnTo>
                      <a:pt x="254" y="315"/>
                    </a:lnTo>
                    <a:lnTo>
                      <a:pt x="256" y="315"/>
                    </a:lnTo>
                    <a:lnTo>
                      <a:pt x="256" y="313"/>
                    </a:lnTo>
                    <a:lnTo>
                      <a:pt x="258" y="313"/>
                    </a:lnTo>
                    <a:lnTo>
                      <a:pt x="258" y="315"/>
                    </a:lnTo>
                    <a:lnTo>
                      <a:pt x="258" y="317"/>
                    </a:lnTo>
                    <a:lnTo>
                      <a:pt x="260" y="317"/>
                    </a:lnTo>
                    <a:lnTo>
                      <a:pt x="260" y="319"/>
                    </a:lnTo>
                    <a:lnTo>
                      <a:pt x="258" y="319"/>
                    </a:lnTo>
                    <a:lnTo>
                      <a:pt x="260" y="319"/>
                    </a:lnTo>
                    <a:lnTo>
                      <a:pt x="258" y="319"/>
                    </a:lnTo>
                    <a:lnTo>
                      <a:pt x="260" y="319"/>
                    </a:lnTo>
                    <a:lnTo>
                      <a:pt x="260" y="317"/>
                    </a:lnTo>
                    <a:lnTo>
                      <a:pt x="258" y="317"/>
                    </a:lnTo>
                    <a:lnTo>
                      <a:pt x="258" y="315"/>
                    </a:lnTo>
                    <a:lnTo>
                      <a:pt x="260" y="315"/>
                    </a:lnTo>
                    <a:lnTo>
                      <a:pt x="258" y="313"/>
                    </a:lnTo>
                    <a:lnTo>
                      <a:pt x="260" y="313"/>
                    </a:lnTo>
                    <a:lnTo>
                      <a:pt x="262" y="313"/>
                    </a:lnTo>
                    <a:lnTo>
                      <a:pt x="264" y="311"/>
                    </a:lnTo>
                    <a:lnTo>
                      <a:pt x="266" y="311"/>
                    </a:lnTo>
                    <a:lnTo>
                      <a:pt x="267" y="309"/>
                    </a:lnTo>
                    <a:lnTo>
                      <a:pt x="269" y="309"/>
                    </a:lnTo>
                    <a:lnTo>
                      <a:pt x="271" y="309"/>
                    </a:lnTo>
                    <a:lnTo>
                      <a:pt x="271" y="311"/>
                    </a:lnTo>
                    <a:lnTo>
                      <a:pt x="271" y="309"/>
                    </a:lnTo>
                    <a:lnTo>
                      <a:pt x="269" y="309"/>
                    </a:lnTo>
                    <a:lnTo>
                      <a:pt x="271" y="309"/>
                    </a:lnTo>
                    <a:lnTo>
                      <a:pt x="273" y="307"/>
                    </a:lnTo>
                    <a:lnTo>
                      <a:pt x="275" y="307"/>
                    </a:lnTo>
                    <a:lnTo>
                      <a:pt x="275" y="305"/>
                    </a:lnTo>
                    <a:lnTo>
                      <a:pt x="277" y="305"/>
                    </a:lnTo>
                    <a:lnTo>
                      <a:pt x="277" y="304"/>
                    </a:lnTo>
                    <a:lnTo>
                      <a:pt x="279" y="304"/>
                    </a:lnTo>
                    <a:lnTo>
                      <a:pt x="281" y="304"/>
                    </a:lnTo>
                    <a:lnTo>
                      <a:pt x="283" y="304"/>
                    </a:lnTo>
                    <a:lnTo>
                      <a:pt x="285" y="304"/>
                    </a:lnTo>
                    <a:lnTo>
                      <a:pt x="285" y="305"/>
                    </a:lnTo>
                    <a:lnTo>
                      <a:pt x="287" y="307"/>
                    </a:lnTo>
                    <a:lnTo>
                      <a:pt x="287" y="309"/>
                    </a:lnTo>
                    <a:lnTo>
                      <a:pt x="289" y="311"/>
                    </a:lnTo>
                    <a:lnTo>
                      <a:pt x="289" y="313"/>
                    </a:lnTo>
                    <a:lnTo>
                      <a:pt x="289" y="315"/>
                    </a:lnTo>
                    <a:lnTo>
                      <a:pt x="289" y="313"/>
                    </a:lnTo>
                    <a:lnTo>
                      <a:pt x="289" y="315"/>
                    </a:lnTo>
                    <a:lnTo>
                      <a:pt x="289" y="313"/>
                    </a:lnTo>
                    <a:lnTo>
                      <a:pt x="287" y="313"/>
                    </a:lnTo>
                    <a:lnTo>
                      <a:pt x="287" y="315"/>
                    </a:lnTo>
                    <a:lnTo>
                      <a:pt x="285" y="315"/>
                    </a:lnTo>
                    <a:lnTo>
                      <a:pt x="283" y="315"/>
                    </a:lnTo>
                    <a:lnTo>
                      <a:pt x="285" y="315"/>
                    </a:lnTo>
                    <a:lnTo>
                      <a:pt x="287" y="315"/>
                    </a:lnTo>
                    <a:lnTo>
                      <a:pt x="289" y="315"/>
                    </a:lnTo>
                    <a:lnTo>
                      <a:pt x="287" y="315"/>
                    </a:lnTo>
                    <a:lnTo>
                      <a:pt x="289" y="315"/>
                    </a:lnTo>
                    <a:lnTo>
                      <a:pt x="291" y="315"/>
                    </a:lnTo>
                    <a:lnTo>
                      <a:pt x="291" y="317"/>
                    </a:lnTo>
                    <a:lnTo>
                      <a:pt x="292" y="317"/>
                    </a:lnTo>
                    <a:lnTo>
                      <a:pt x="294" y="319"/>
                    </a:lnTo>
                    <a:lnTo>
                      <a:pt x="296" y="319"/>
                    </a:lnTo>
                    <a:lnTo>
                      <a:pt x="298" y="319"/>
                    </a:lnTo>
                    <a:lnTo>
                      <a:pt x="298" y="321"/>
                    </a:lnTo>
                    <a:lnTo>
                      <a:pt x="300" y="321"/>
                    </a:lnTo>
                    <a:lnTo>
                      <a:pt x="302" y="321"/>
                    </a:lnTo>
                    <a:lnTo>
                      <a:pt x="300" y="321"/>
                    </a:lnTo>
                    <a:lnTo>
                      <a:pt x="302" y="321"/>
                    </a:lnTo>
                    <a:lnTo>
                      <a:pt x="302" y="323"/>
                    </a:lnTo>
                    <a:lnTo>
                      <a:pt x="304" y="323"/>
                    </a:lnTo>
                    <a:lnTo>
                      <a:pt x="304" y="325"/>
                    </a:lnTo>
                    <a:lnTo>
                      <a:pt x="304" y="327"/>
                    </a:lnTo>
                    <a:lnTo>
                      <a:pt x="302" y="327"/>
                    </a:lnTo>
                    <a:lnTo>
                      <a:pt x="304" y="327"/>
                    </a:lnTo>
                    <a:lnTo>
                      <a:pt x="302" y="327"/>
                    </a:lnTo>
                    <a:lnTo>
                      <a:pt x="302" y="329"/>
                    </a:lnTo>
                    <a:lnTo>
                      <a:pt x="304" y="329"/>
                    </a:lnTo>
                    <a:lnTo>
                      <a:pt x="304" y="330"/>
                    </a:lnTo>
                    <a:lnTo>
                      <a:pt x="306" y="330"/>
                    </a:lnTo>
                    <a:lnTo>
                      <a:pt x="306" y="332"/>
                    </a:lnTo>
                    <a:lnTo>
                      <a:pt x="308" y="332"/>
                    </a:lnTo>
                    <a:lnTo>
                      <a:pt x="308" y="334"/>
                    </a:lnTo>
                    <a:lnTo>
                      <a:pt x="308" y="336"/>
                    </a:lnTo>
                    <a:lnTo>
                      <a:pt x="308" y="338"/>
                    </a:lnTo>
                    <a:lnTo>
                      <a:pt x="306" y="338"/>
                    </a:lnTo>
                    <a:lnTo>
                      <a:pt x="304" y="338"/>
                    </a:lnTo>
                    <a:lnTo>
                      <a:pt x="302" y="338"/>
                    </a:lnTo>
                    <a:lnTo>
                      <a:pt x="300" y="338"/>
                    </a:lnTo>
                    <a:lnTo>
                      <a:pt x="298" y="338"/>
                    </a:lnTo>
                    <a:lnTo>
                      <a:pt x="296" y="340"/>
                    </a:lnTo>
                    <a:lnTo>
                      <a:pt x="294" y="340"/>
                    </a:lnTo>
                    <a:close/>
                    <a:moveTo>
                      <a:pt x="189" y="503"/>
                    </a:moveTo>
                    <a:lnTo>
                      <a:pt x="189" y="505"/>
                    </a:lnTo>
                    <a:lnTo>
                      <a:pt x="187" y="505"/>
                    </a:lnTo>
                    <a:lnTo>
                      <a:pt x="189" y="505"/>
                    </a:lnTo>
                    <a:lnTo>
                      <a:pt x="189" y="503"/>
                    </a:lnTo>
                    <a:close/>
                    <a:moveTo>
                      <a:pt x="187" y="503"/>
                    </a:moveTo>
                    <a:lnTo>
                      <a:pt x="189" y="503"/>
                    </a:lnTo>
                    <a:lnTo>
                      <a:pt x="187" y="503"/>
                    </a:lnTo>
                    <a:close/>
                    <a:moveTo>
                      <a:pt x="187" y="509"/>
                    </a:moveTo>
                    <a:lnTo>
                      <a:pt x="187" y="507"/>
                    </a:lnTo>
                    <a:lnTo>
                      <a:pt x="187" y="505"/>
                    </a:lnTo>
                    <a:lnTo>
                      <a:pt x="187" y="507"/>
                    </a:lnTo>
                    <a:lnTo>
                      <a:pt x="187" y="509"/>
                    </a:lnTo>
                    <a:close/>
                    <a:moveTo>
                      <a:pt x="187" y="509"/>
                    </a:moveTo>
                    <a:lnTo>
                      <a:pt x="187" y="511"/>
                    </a:lnTo>
                    <a:lnTo>
                      <a:pt x="187" y="509"/>
                    </a:lnTo>
                    <a:lnTo>
                      <a:pt x="189" y="511"/>
                    </a:lnTo>
                    <a:lnTo>
                      <a:pt x="189" y="509"/>
                    </a:lnTo>
                    <a:lnTo>
                      <a:pt x="187" y="509"/>
                    </a:lnTo>
                    <a:close/>
                    <a:moveTo>
                      <a:pt x="189" y="511"/>
                    </a:moveTo>
                    <a:lnTo>
                      <a:pt x="187" y="511"/>
                    </a:lnTo>
                    <a:lnTo>
                      <a:pt x="187" y="513"/>
                    </a:lnTo>
                    <a:lnTo>
                      <a:pt x="187" y="511"/>
                    </a:lnTo>
                    <a:lnTo>
                      <a:pt x="189" y="511"/>
                    </a:lnTo>
                    <a:lnTo>
                      <a:pt x="187" y="511"/>
                    </a:lnTo>
                    <a:lnTo>
                      <a:pt x="189" y="511"/>
                    </a:lnTo>
                    <a:close/>
                    <a:moveTo>
                      <a:pt x="170" y="463"/>
                    </a:moveTo>
                    <a:lnTo>
                      <a:pt x="170" y="461"/>
                    </a:lnTo>
                    <a:lnTo>
                      <a:pt x="171" y="461"/>
                    </a:lnTo>
                    <a:lnTo>
                      <a:pt x="170" y="461"/>
                    </a:lnTo>
                    <a:lnTo>
                      <a:pt x="170" y="463"/>
                    </a:lnTo>
                    <a:close/>
                    <a:moveTo>
                      <a:pt x="114" y="363"/>
                    </a:moveTo>
                    <a:lnTo>
                      <a:pt x="116" y="363"/>
                    </a:lnTo>
                    <a:lnTo>
                      <a:pt x="114" y="363"/>
                    </a:lnTo>
                    <a:close/>
                    <a:moveTo>
                      <a:pt x="677" y="223"/>
                    </a:moveTo>
                    <a:lnTo>
                      <a:pt x="677" y="221"/>
                    </a:lnTo>
                    <a:lnTo>
                      <a:pt x="677" y="223"/>
                    </a:lnTo>
                    <a:close/>
                    <a:moveTo>
                      <a:pt x="679" y="223"/>
                    </a:moveTo>
                    <a:lnTo>
                      <a:pt x="679" y="221"/>
                    </a:lnTo>
                    <a:lnTo>
                      <a:pt x="679" y="223"/>
                    </a:lnTo>
                    <a:lnTo>
                      <a:pt x="679" y="221"/>
                    </a:lnTo>
                    <a:lnTo>
                      <a:pt x="679" y="223"/>
                    </a:lnTo>
                    <a:lnTo>
                      <a:pt x="677" y="223"/>
                    </a:lnTo>
                    <a:lnTo>
                      <a:pt x="679" y="221"/>
                    </a:lnTo>
                    <a:lnTo>
                      <a:pt x="679" y="223"/>
                    </a:lnTo>
                    <a:close/>
                    <a:moveTo>
                      <a:pt x="652" y="173"/>
                    </a:moveTo>
                    <a:lnTo>
                      <a:pt x="652" y="175"/>
                    </a:lnTo>
                    <a:lnTo>
                      <a:pt x="654" y="175"/>
                    </a:lnTo>
                    <a:lnTo>
                      <a:pt x="652" y="173"/>
                    </a:lnTo>
                    <a:lnTo>
                      <a:pt x="654" y="173"/>
                    </a:lnTo>
                    <a:lnTo>
                      <a:pt x="654" y="175"/>
                    </a:lnTo>
                    <a:lnTo>
                      <a:pt x="654" y="173"/>
                    </a:lnTo>
                    <a:lnTo>
                      <a:pt x="654" y="175"/>
                    </a:lnTo>
                    <a:lnTo>
                      <a:pt x="654" y="177"/>
                    </a:lnTo>
                    <a:lnTo>
                      <a:pt x="654" y="179"/>
                    </a:lnTo>
                    <a:lnTo>
                      <a:pt x="652" y="179"/>
                    </a:lnTo>
                    <a:lnTo>
                      <a:pt x="652" y="177"/>
                    </a:lnTo>
                    <a:lnTo>
                      <a:pt x="654" y="177"/>
                    </a:lnTo>
                    <a:lnTo>
                      <a:pt x="652" y="177"/>
                    </a:lnTo>
                    <a:lnTo>
                      <a:pt x="652" y="175"/>
                    </a:lnTo>
                    <a:lnTo>
                      <a:pt x="652" y="173"/>
                    </a:lnTo>
                    <a:close/>
                    <a:moveTo>
                      <a:pt x="654" y="169"/>
                    </a:moveTo>
                    <a:lnTo>
                      <a:pt x="656" y="169"/>
                    </a:lnTo>
                    <a:lnTo>
                      <a:pt x="654" y="169"/>
                    </a:lnTo>
                    <a:lnTo>
                      <a:pt x="656" y="169"/>
                    </a:lnTo>
                    <a:lnTo>
                      <a:pt x="656" y="171"/>
                    </a:lnTo>
                    <a:lnTo>
                      <a:pt x="654" y="171"/>
                    </a:lnTo>
                    <a:lnTo>
                      <a:pt x="656" y="171"/>
                    </a:lnTo>
                    <a:lnTo>
                      <a:pt x="654" y="171"/>
                    </a:lnTo>
                    <a:lnTo>
                      <a:pt x="654" y="169"/>
                    </a:lnTo>
                    <a:close/>
                    <a:moveTo>
                      <a:pt x="738" y="125"/>
                    </a:moveTo>
                    <a:lnTo>
                      <a:pt x="740" y="125"/>
                    </a:lnTo>
                    <a:lnTo>
                      <a:pt x="738" y="125"/>
                    </a:lnTo>
                    <a:lnTo>
                      <a:pt x="736" y="125"/>
                    </a:lnTo>
                    <a:lnTo>
                      <a:pt x="734" y="125"/>
                    </a:lnTo>
                    <a:lnTo>
                      <a:pt x="734" y="123"/>
                    </a:lnTo>
                    <a:lnTo>
                      <a:pt x="732" y="123"/>
                    </a:lnTo>
                    <a:lnTo>
                      <a:pt x="732" y="121"/>
                    </a:lnTo>
                    <a:lnTo>
                      <a:pt x="732" y="123"/>
                    </a:lnTo>
                    <a:lnTo>
                      <a:pt x="730" y="123"/>
                    </a:lnTo>
                    <a:lnTo>
                      <a:pt x="732" y="125"/>
                    </a:lnTo>
                    <a:lnTo>
                      <a:pt x="734" y="127"/>
                    </a:lnTo>
                    <a:lnTo>
                      <a:pt x="736" y="127"/>
                    </a:lnTo>
                    <a:lnTo>
                      <a:pt x="736" y="129"/>
                    </a:lnTo>
                    <a:lnTo>
                      <a:pt x="738" y="129"/>
                    </a:lnTo>
                    <a:lnTo>
                      <a:pt x="736" y="129"/>
                    </a:lnTo>
                    <a:lnTo>
                      <a:pt x="738" y="131"/>
                    </a:lnTo>
                    <a:lnTo>
                      <a:pt x="736" y="131"/>
                    </a:lnTo>
                    <a:lnTo>
                      <a:pt x="736" y="132"/>
                    </a:lnTo>
                    <a:lnTo>
                      <a:pt x="734" y="132"/>
                    </a:lnTo>
                    <a:lnTo>
                      <a:pt x="734" y="131"/>
                    </a:lnTo>
                    <a:lnTo>
                      <a:pt x="732" y="131"/>
                    </a:lnTo>
                    <a:lnTo>
                      <a:pt x="730" y="131"/>
                    </a:lnTo>
                    <a:lnTo>
                      <a:pt x="732" y="131"/>
                    </a:lnTo>
                    <a:lnTo>
                      <a:pt x="730" y="131"/>
                    </a:lnTo>
                    <a:lnTo>
                      <a:pt x="732" y="131"/>
                    </a:lnTo>
                    <a:lnTo>
                      <a:pt x="732" y="132"/>
                    </a:lnTo>
                    <a:lnTo>
                      <a:pt x="730" y="132"/>
                    </a:lnTo>
                    <a:lnTo>
                      <a:pt x="729" y="132"/>
                    </a:lnTo>
                    <a:lnTo>
                      <a:pt x="729" y="134"/>
                    </a:lnTo>
                    <a:lnTo>
                      <a:pt x="729" y="136"/>
                    </a:lnTo>
                    <a:lnTo>
                      <a:pt x="729" y="134"/>
                    </a:lnTo>
                    <a:lnTo>
                      <a:pt x="729" y="136"/>
                    </a:lnTo>
                    <a:lnTo>
                      <a:pt x="727" y="136"/>
                    </a:lnTo>
                    <a:lnTo>
                      <a:pt x="727" y="134"/>
                    </a:lnTo>
                    <a:lnTo>
                      <a:pt x="727" y="136"/>
                    </a:lnTo>
                    <a:lnTo>
                      <a:pt x="727" y="134"/>
                    </a:lnTo>
                    <a:lnTo>
                      <a:pt x="727" y="132"/>
                    </a:lnTo>
                    <a:lnTo>
                      <a:pt x="725" y="132"/>
                    </a:lnTo>
                    <a:lnTo>
                      <a:pt x="723" y="132"/>
                    </a:lnTo>
                    <a:lnTo>
                      <a:pt x="723" y="131"/>
                    </a:lnTo>
                    <a:lnTo>
                      <a:pt x="721" y="131"/>
                    </a:lnTo>
                    <a:lnTo>
                      <a:pt x="721" y="129"/>
                    </a:lnTo>
                    <a:lnTo>
                      <a:pt x="721" y="131"/>
                    </a:lnTo>
                    <a:lnTo>
                      <a:pt x="721" y="129"/>
                    </a:lnTo>
                    <a:lnTo>
                      <a:pt x="721" y="131"/>
                    </a:lnTo>
                    <a:lnTo>
                      <a:pt x="723" y="131"/>
                    </a:lnTo>
                    <a:lnTo>
                      <a:pt x="723" y="132"/>
                    </a:lnTo>
                    <a:lnTo>
                      <a:pt x="723" y="131"/>
                    </a:lnTo>
                    <a:lnTo>
                      <a:pt x="723" y="132"/>
                    </a:lnTo>
                    <a:lnTo>
                      <a:pt x="725" y="132"/>
                    </a:lnTo>
                    <a:lnTo>
                      <a:pt x="725" y="134"/>
                    </a:lnTo>
                    <a:lnTo>
                      <a:pt x="725" y="132"/>
                    </a:lnTo>
                    <a:lnTo>
                      <a:pt x="725" y="134"/>
                    </a:lnTo>
                    <a:lnTo>
                      <a:pt x="727" y="136"/>
                    </a:lnTo>
                    <a:lnTo>
                      <a:pt x="727" y="138"/>
                    </a:lnTo>
                    <a:lnTo>
                      <a:pt x="725" y="138"/>
                    </a:lnTo>
                    <a:lnTo>
                      <a:pt x="727" y="138"/>
                    </a:lnTo>
                    <a:lnTo>
                      <a:pt x="725" y="138"/>
                    </a:lnTo>
                    <a:lnTo>
                      <a:pt x="723" y="138"/>
                    </a:lnTo>
                    <a:lnTo>
                      <a:pt x="721" y="138"/>
                    </a:lnTo>
                    <a:lnTo>
                      <a:pt x="721" y="136"/>
                    </a:lnTo>
                    <a:lnTo>
                      <a:pt x="721" y="138"/>
                    </a:lnTo>
                    <a:lnTo>
                      <a:pt x="721" y="136"/>
                    </a:lnTo>
                    <a:lnTo>
                      <a:pt x="721" y="138"/>
                    </a:lnTo>
                    <a:lnTo>
                      <a:pt x="719" y="138"/>
                    </a:lnTo>
                    <a:lnTo>
                      <a:pt x="721" y="138"/>
                    </a:lnTo>
                    <a:lnTo>
                      <a:pt x="719" y="138"/>
                    </a:lnTo>
                    <a:lnTo>
                      <a:pt x="719" y="136"/>
                    </a:lnTo>
                    <a:lnTo>
                      <a:pt x="717" y="136"/>
                    </a:lnTo>
                    <a:lnTo>
                      <a:pt x="717" y="134"/>
                    </a:lnTo>
                    <a:lnTo>
                      <a:pt x="715" y="134"/>
                    </a:lnTo>
                    <a:lnTo>
                      <a:pt x="713" y="134"/>
                    </a:lnTo>
                    <a:lnTo>
                      <a:pt x="715" y="134"/>
                    </a:lnTo>
                    <a:lnTo>
                      <a:pt x="717" y="136"/>
                    </a:lnTo>
                    <a:lnTo>
                      <a:pt x="719" y="136"/>
                    </a:lnTo>
                    <a:lnTo>
                      <a:pt x="719" y="138"/>
                    </a:lnTo>
                    <a:lnTo>
                      <a:pt x="721" y="138"/>
                    </a:lnTo>
                    <a:lnTo>
                      <a:pt x="721" y="140"/>
                    </a:lnTo>
                    <a:lnTo>
                      <a:pt x="723" y="140"/>
                    </a:lnTo>
                    <a:lnTo>
                      <a:pt x="723" y="138"/>
                    </a:lnTo>
                    <a:lnTo>
                      <a:pt x="723" y="140"/>
                    </a:lnTo>
                    <a:lnTo>
                      <a:pt x="723" y="142"/>
                    </a:lnTo>
                    <a:lnTo>
                      <a:pt x="723" y="144"/>
                    </a:lnTo>
                    <a:lnTo>
                      <a:pt x="721" y="144"/>
                    </a:lnTo>
                    <a:lnTo>
                      <a:pt x="719" y="144"/>
                    </a:lnTo>
                    <a:lnTo>
                      <a:pt x="719" y="146"/>
                    </a:lnTo>
                    <a:lnTo>
                      <a:pt x="717" y="146"/>
                    </a:lnTo>
                    <a:lnTo>
                      <a:pt x="719" y="146"/>
                    </a:lnTo>
                    <a:lnTo>
                      <a:pt x="719" y="148"/>
                    </a:lnTo>
                    <a:lnTo>
                      <a:pt x="717" y="146"/>
                    </a:lnTo>
                    <a:lnTo>
                      <a:pt x="717" y="148"/>
                    </a:lnTo>
                    <a:lnTo>
                      <a:pt x="719" y="148"/>
                    </a:lnTo>
                    <a:lnTo>
                      <a:pt x="719" y="150"/>
                    </a:lnTo>
                    <a:lnTo>
                      <a:pt x="721" y="150"/>
                    </a:lnTo>
                    <a:lnTo>
                      <a:pt x="719" y="150"/>
                    </a:lnTo>
                    <a:lnTo>
                      <a:pt x="719" y="152"/>
                    </a:lnTo>
                    <a:lnTo>
                      <a:pt x="719" y="154"/>
                    </a:lnTo>
                    <a:lnTo>
                      <a:pt x="717" y="154"/>
                    </a:lnTo>
                    <a:lnTo>
                      <a:pt x="717" y="155"/>
                    </a:lnTo>
                    <a:lnTo>
                      <a:pt x="717" y="154"/>
                    </a:lnTo>
                    <a:lnTo>
                      <a:pt x="717" y="155"/>
                    </a:lnTo>
                    <a:lnTo>
                      <a:pt x="715" y="155"/>
                    </a:lnTo>
                    <a:lnTo>
                      <a:pt x="715" y="157"/>
                    </a:lnTo>
                    <a:lnTo>
                      <a:pt x="713" y="159"/>
                    </a:lnTo>
                    <a:lnTo>
                      <a:pt x="711" y="161"/>
                    </a:lnTo>
                    <a:lnTo>
                      <a:pt x="711" y="163"/>
                    </a:lnTo>
                    <a:lnTo>
                      <a:pt x="711" y="165"/>
                    </a:lnTo>
                    <a:lnTo>
                      <a:pt x="711" y="163"/>
                    </a:lnTo>
                    <a:lnTo>
                      <a:pt x="709" y="163"/>
                    </a:lnTo>
                    <a:lnTo>
                      <a:pt x="709" y="161"/>
                    </a:lnTo>
                    <a:lnTo>
                      <a:pt x="709" y="163"/>
                    </a:lnTo>
                    <a:lnTo>
                      <a:pt x="707" y="163"/>
                    </a:lnTo>
                    <a:lnTo>
                      <a:pt x="706" y="163"/>
                    </a:lnTo>
                    <a:lnTo>
                      <a:pt x="704" y="161"/>
                    </a:lnTo>
                    <a:lnTo>
                      <a:pt x="704" y="163"/>
                    </a:lnTo>
                    <a:lnTo>
                      <a:pt x="706" y="163"/>
                    </a:lnTo>
                    <a:lnTo>
                      <a:pt x="707" y="163"/>
                    </a:lnTo>
                    <a:lnTo>
                      <a:pt x="709" y="163"/>
                    </a:lnTo>
                    <a:lnTo>
                      <a:pt x="709" y="165"/>
                    </a:lnTo>
                    <a:lnTo>
                      <a:pt x="711" y="165"/>
                    </a:lnTo>
                    <a:lnTo>
                      <a:pt x="713" y="167"/>
                    </a:lnTo>
                    <a:lnTo>
                      <a:pt x="711" y="167"/>
                    </a:lnTo>
                    <a:lnTo>
                      <a:pt x="711" y="165"/>
                    </a:lnTo>
                    <a:lnTo>
                      <a:pt x="711" y="167"/>
                    </a:lnTo>
                    <a:lnTo>
                      <a:pt x="711" y="169"/>
                    </a:lnTo>
                    <a:lnTo>
                      <a:pt x="711" y="171"/>
                    </a:lnTo>
                    <a:lnTo>
                      <a:pt x="711" y="173"/>
                    </a:lnTo>
                    <a:lnTo>
                      <a:pt x="711" y="175"/>
                    </a:lnTo>
                    <a:lnTo>
                      <a:pt x="709" y="175"/>
                    </a:lnTo>
                    <a:lnTo>
                      <a:pt x="711" y="175"/>
                    </a:lnTo>
                    <a:lnTo>
                      <a:pt x="709" y="175"/>
                    </a:lnTo>
                    <a:lnTo>
                      <a:pt x="711" y="175"/>
                    </a:lnTo>
                    <a:lnTo>
                      <a:pt x="711" y="177"/>
                    </a:lnTo>
                    <a:lnTo>
                      <a:pt x="709" y="177"/>
                    </a:lnTo>
                    <a:lnTo>
                      <a:pt x="709" y="179"/>
                    </a:lnTo>
                    <a:lnTo>
                      <a:pt x="711" y="179"/>
                    </a:lnTo>
                    <a:lnTo>
                      <a:pt x="709" y="179"/>
                    </a:lnTo>
                    <a:lnTo>
                      <a:pt x="709" y="180"/>
                    </a:lnTo>
                    <a:lnTo>
                      <a:pt x="709" y="179"/>
                    </a:lnTo>
                    <a:lnTo>
                      <a:pt x="709" y="180"/>
                    </a:lnTo>
                    <a:lnTo>
                      <a:pt x="709" y="182"/>
                    </a:lnTo>
                    <a:lnTo>
                      <a:pt x="709" y="184"/>
                    </a:lnTo>
                    <a:lnTo>
                      <a:pt x="709" y="186"/>
                    </a:lnTo>
                    <a:lnTo>
                      <a:pt x="709" y="188"/>
                    </a:lnTo>
                    <a:lnTo>
                      <a:pt x="711" y="188"/>
                    </a:lnTo>
                    <a:lnTo>
                      <a:pt x="711" y="190"/>
                    </a:lnTo>
                    <a:lnTo>
                      <a:pt x="709" y="190"/>
                    </a:lnTo>
                    <a:lnTo>
                      <a:pt x="709" y="192"/>
                    </a:lnTo>
                    <a:lnTo>
                      <a:pt x="711" y="192"/>
                    </a:lnTo>
                    <a:lnTo>
                      <a:pt x="709" y="192"/>
                    </a:lnTo>
                    <a:lnTo>
                      <a:pt x="709" y="194"/>
                    </a:lnTo>
                    <a:lnTo>
                      <a:pt x="711" y="194"/>
                    </a:lnTo>
                    <a:lnTo>
                      <a:pt x="709" y="194"/>
                    </a:lnTo>
                    <a:lnTo>
                      <a:pt x="711" y="194"/>
                    </a:lnTo>
                    <a:lnTo>
                      <a:pt x="711" y="196"/>
                    </a:lnTo>
                    <a:lnTo>
                      <a:pt x="711" y="198"/>
                    </a:lnTo>
                    <a:lnTo>
                      <a:pt x="711" y="200"/>
                    </a:lnTo>
                    <a:lnTo>
                      <a:pt x="711" y="202"/>
                    </a:lnTo>
                    <a:lnTo>
                      <a:pt x="711" y="204"/>
                    </a:lnTo>
                    <a:lnTo>
                      <a:pt x="711" y="205"/>
                    </a:lnTo>
                    <a:lnTo>
                      <a:pt x="711" y="207"/>
                    </a:lnTo>
                    <a:lnTo>
                      <a:pt x="711" y="205"/>
                    </a:lnTo>
                    <a:lnTo>
                      <a:pt x="711" y="207"/>
                    </a:lnTo>
                    <a:lnTo>
                      <a:pt x="711" y="209"/>
                    </a:lnTo>
                    <a:lnTo>
                      <a:pt x="713" y="211"/>
                    </a:lnTo>
                    <a:lnTo>
                      <a:pt x="713" y="213"/>
                    </a:lnTo>
                    <a:lnTo>
                      <a:pt x="715" y="213"/>
                    </a:lnTo>
                    <a:lnTo>
                      <a:pt x="715" y="215"/>
                    </a:lnTo>
                    <a:lnTo>
                      <a:pt x="715" y="217"/>
                    </a:lnTo>
                    <a:lnTo>
                      <a:pt x="715" y="219"/>
                    </a:lnTo>
                    <a:lnTo>
                      <a:pt x="717" y="219"/>
                    </a:lnTo>
                    <a:lnTo>
                      <a:pt x="717" y="221"/>
                    </a:lnTo>
                    <a:lnTo>
                      <a:pt x="717" y="223"/>
                    </a:lnTo>
                    <a:lnTo>
                      <a:pt x="719" y="225"/>
                    </a:lnTo>
                    <a:lnTo>
                      <a:pt x="719" y="227"/>
                    </a:lnTo>
                    <a:lnTo>
                      <a:pt x="721" y="229"/>
                    </a:lnTo>
                    <a:lnTo>
                      <a:pt x="721" y="230"/>
                    </a:lnTo>
                    <a:lnTo>
                      <a:pt x="723" y="234"/>
                    </a:lnTo>
                    <a:lnTo>
                      <a:pt x="725" y="236"/>
                    </a:lnTo>
                    <a:lnTo>
                      <a:pt x="725" y="238"/>
                    </a:lnTo>
                    <a:lnTo>
                      <a:pt x="725" y="236"/>
                    </a:lnTo>
                    <a:lnTo>
                      <a:pt x="727" y="238"/>
                    </a:lnTo>
                    <a:lnTo>
                      <a:pt x="727" y="240"/>
                    </a:lnTo>
                    <a:lnTo>
                      <a:pt x="729" y="240"/>
                    </a:lnTo>
                    <a:lnTo>
                      <a:pt x="730" y="240"/>
                    </a:lnTo>
                    <a:lnTo>
                      <a:pt x="730" y="242"/>
                    </a:lnTo>
                    <a:lnTo>
                      <a:pt x="730" y="244"/>
                    </a:lnTo>
                    <a:lnTo>
                      <a:pt x="730" y="246"/>
                    </a:lnTo>
                    <a:lnTo>
                      <a:pt x="732" y="246"/>
                    </a:lnTo>
                    <a:lnTo>
                      <a:pt x="730" y="248"/>
                    </a:lnTo>
                    <a:lnTo>
                      <a:pt x="730" y="246"/>
                    </a:lnTo>
                    <a:lnTo>
                      <a:pt x="729" y="246"/>
                    </a:lnTo>
                    <a:lnTo>
                      <a:pt x="729" y="244"/>
                    </a:lnTo>
                    <a:lnTo>
                      <a:pt x="729" y="246"/>
                    </a:lnTo>
                    <a:lnTo>
                      <a:pt x="729" y="244"/>
                    </a:lnTo>
                    <a:lnTo>
                      <a:pt x="729" y="246"/>
                    </a:lnTo>
                    <a:lnTo>
                      <a:pt x="729" y="248"/>
                    </a:lnTo>
                    <a:lnTo>
                      <a:pt x="727" y="248"/>
                    </a:lnTo>
                    <a:lnTo>
                      <a:pt x="727" y="250"/>
                    </a:lnTo>
                    <a:lnTo>
                      <a:pt x="727" y="252"/>
                    </a:lnTo>
                    <a:lnTo>
                      <a:pt x="725" y="252"/>
                    </a:lnTo>
                    <a:lnTo>
                      <a:pt x="727" y="252"/>
                    </a:lnTo>
                    <a:lnTo>
                      <a:pt x="725" y="252"/>
                    </a:lnTo>
                    <a:lnTo>
                      <a:pt x="725" y="250"/>
                    </a:lnTo>
                    <a:lnTo>
                      <a:pt x="725" y="252"/>
                    </a:lnTo>
                    <a:lnTo>
                      <a:pt x="723" y="250"/>
                    </a:lnTo>
                    <a:lnTo>
                      <a:pt x="721" y="248"/>
                    </a:lnTo>
                    <a:lnTo>
                      <a:pt x="721" y="246"/>
                    </a:lnTo>
                    <a:lnTo>
                      <a:pt x="719" y="246"/>
                    </a:lnTo>
                    <a:lnTo>
                      <a:pt x="719" y="244"/>
                    </a:lnTo>
                    <a:lnTo>
                      <a:pt x="717" y="244"/>
                    </a:lnTo>
                    <a:lnTo>
                      <a:pt x="717" y="246"/>
                    </a:lnTo>
                    <a:lnTo>
                      <a:pt x="717" y="244"/>
                    </a:lnTo>
                    <a:lnTo>
                      <a:pt x="715" y="244"/>
                    </a:lnTo>
                    <a:lnTo>
                      <a:pt x="717" y="244"/>
                    </a:lnTo>
                    <a:lnTo>
                      <a:pt x="717" y="246"/>
                    </a:lnTo>
                    <a:lnTo>
                      <a:pt x="715" y="244"/>
                    </a:lnTo>
                    <a:lnTo>
                      <a:pt x="713" y="244"/>
                    </a:lnTo>
                    <a:lnTo>
                      <a:pt x="713" y="242"/>
                    </a:lnTo>
                    <a:lnTo>
                      <a:pt x="713" y="240"/>
                    </a:lnTo>
                    <a:lnTo>
                      <a:pt x="711" y="240"/>
                    </a:lnTo>
                    <a:lnTo>
                      <a:pt x="713" y="242"/>
                    </a:lnTo>
                    <a:lnTo>
                      <a:pt x="713" y="244"/>
                    </a:lnTo>
                    <a:lnTo>
                      <a:pt x="715" y="246"/>
                    </a:lnTo>
                    <a:lnTo>
                      <a:pt x="717" y="248"/>
                    </a:lnTo>
                    <a:lnTo>
                      <a:pt x="719" y="248"/>
                    </a:lnTo>
                    <a:lnTo>
                      <a:pt x="719" y="246"/>
                    </a:lnTo>
                    <a:lnTo>
                      <a:pt x="719" y="248"/>
                    </a:lnTo>
                    <a:lnTo>
                      <a:pt x="721" y="248"/>
                    </a:lnTo>
                    <a:lnTo>
                      <a:pt x="719" y="248"/>
                    </a:lnTo>
                    <a:lnTo>
                      <a:pt x="719" y="250"/>
                    </a:lnTo>
                    <a:lnTo>
                      <a:pt x="721" y="250"/>
                    </a:lnTo>
                    <a:lnTo>
                      <a:pt x="721" y="252"/>
                    </a:lnTo>
                    <a:lnTo>
                      <a:pt x="723" y="252"/>
                    </a:lnTo>
                    <a:lnTo>
                      <a:pt x="721" y="252"/>
                    </a:lnTo>
                    <a:lnTo>
                      <a:pt x="723" y="252"/>
                    </a:lnTo>
                    <a:lnTo>
                      <a:pt x="721" y="252"/>
                    </a:lnTo>
                    <a:lnTo>
                      <a:pt x="721" y="254"/>
                    </a:lnTo>
                    <a:lnTo>
                      <a:pt x="721" y="252"/>
                    </a:lnTo>
                    <a:lnTo>
                      <a:pt x="719" y="252"/>
                    </a:lnTo>
                    <a:lnTo>
                      <a:pt x="717" y="252"/>
                    </a:lnTo>
                    <a:lnTo>
                      <a:pt x="717" y="250"/>
                    </a:lnTo>
                    <a:lnTo>
                      <a:pt x="717" y="252"/>
                    </a:lnTo>
                    <a:lnTo>
                      <a:pt x="719" y="252"/>
                    </a:lnTo>
                    <a:lnTo>
                      <a:pt x="719" y="250"/>
                    </a:lnTo>
                    <a:lnTo>
                      <a:pt x="717" y="250"/>
                    </a:lnTo>
                    <a:lnTo>
                      <a:pt x="715" y="250"/>
                    </a:lnTo>
                    <a:lnTo>
                      <a:pt x="715" y="248"/>
                    </a:lnTo>
                    <a:lnTo>
                      <a:pt x="715" y="250"/>
                    </a:lnTo>
                    <a:lnTo>
                      <a:pt x="715" y="248"/>
                    </a:lnTo>
                    <a:lnTo>
                      <a:pt x="715" y="250"/>
                    </a:lnTo>
                    <a:lnTo>
                      <a:pt x="715" y="248"/>
                    </a:lnTo>
                    <a:lnTo>
                      <a:pt x="713" y="248"/>
                    </a:lnTo>
                    <a:lnTo>
                      <a:pt x="715" y="248"/>
                    </a:lnTo>
                    <a:lnTo>
                      <a:pt x="713" y="248"/>
                    </a:lnTo>
                    <a:lnTo>
                      <a:pt x="715" y="250"/>
                    </a:lnTo>
                    <a:lnTo>
                      <a:pt x="715" y="252"/>
                    </a:lnTo>
                    <a:lnTo>
                      <a:pt x="717" y="252"/>
                    </a:lnTo>
                    <a:lnTo>
                      <a:pt x="715" y="252"/>
                    </a:lnTo>
                    <a:lnTo>
                      <a:pt x="717" y="252"/>
                    </a:lnTo>
                    <a:lnTo>
                      <a:pt x="719" y="254"/>
                    </a:lnTo>
                    <a:lnTo>
                      <a:pt x="717" y="254"/>
                    </a:lnTo>
                    <a:lnTo>
                      <a:pt x="719" y="255"/>
                    </a:lnTo>
                    <a:lnTo>
                      <a:pt x="717" y="255"/>
                    </a:lnTo>
                    <a:lnTo>
                      <a:pt x="717" y="254"/>
                    </a:lnTo>
                    <a:lnTo>
                      <a:pt x="715" y="254"/>
                    </a:lnTo>
                    <a:lnTo>
                      <a:pt x="715" y="252"/>
                    </a:lnTo>
                    <a:lnTo>
                      <a:pt x="715" y="254"/>
                    </a:lnTo>
                    <a:lnTo>
                      <a:pt x="717" y="255"/>
                    </a:lnTo>
                    <a:lnTo>
                      <a:pt x="715" y="255"/>
                    </a:lnTo>
                    <a:lnTo>
                      <a:pt x="715" y="254"/>
                    </a:lnTo>
                    <a:lnTo>
                      <a:pt x="715" y="255"/>
                    </a:lnTo>
                    <a:lnTo>
                      <a:pt x="715" y="254"/>
                    </a:lnTo>
                    <a:lnTo>
                      <a:pt x="713" y="254"/>
                    </a:lnTo>
                    <a:lnTo>
                      <a:pt x="713" y="252"/>
                    </a:lnTo>
                    <a:lnTo>
                      <a:pt x="711" y="252"/>
                    </a:lnTo>
                    <a:lnTo>
                      <a:pt x="711" y="250"/>
                    </a:lnTo>
                    <a:lnTo>
                      <a:pt x="713" y="250"/>
                    </a:lnTo>
                    <a:lnTo>
                      <a:pt x="711" y="250"/>
                    </a:lnTo>
                    <a:lnTo>
                      <a:pt x="713" y="250"/>
                    </a:lnTo>
                    <a:lnTo>
                      <a:pt x="713" y="248"/>
                    </a:lnTo>
                    <a:lnTo>
                      <a:pt x="713" y="250"/>
                    </a:lnTo>
                    <a:lnTo>
                      <a:pt x="713" y="248"/>
                    </a:lnTo>
                    <a:lnTo>
                      <a:pt x="711" y="248"/>
                    </a:lnTo>
                    <a:lnTo>
                      <a:pt x="711" y="246"/>
                    </a:lnTo>
                    <a:lnTo>
                      <a:pt x="713" y="248"/>
                    </a:lnTo>
                    <a:lnTo>
                      <a:pt x="713" y="246"/>
                    </a:lnTo>
                    <a:lnTo>
                      <a:pt x="711" y="246"/>
                    </a:lnTo>
                    <a:lnTo>
                      <a:pt x="711" y="244"/>
                    </a:lnTo>
                    <a:lnTo>
                      <a:pt x="709" y="244"/>
                    </a:lnTo>
                    <a:lnTo>
                      <a:pt x="709" y="242"/>
                    </a:lnTo>
                    <a:lnTo>
                      <a:pt x="709" y="240"/>
                    </a:lnTo>
                    <a:lnTo>
                      <a:pt x="707" y="240"/>
                    </a:lnTo>
                    <a:lnTo>
                      <a:pt x="707" y="242"/>
                    </a:lnTo>
                    <a:lnTo>
                      <a:pt x="709" y="242"/>
                    </a:lnTo>
                    <a:lnTo>
                      <a:pt x="707" y="242"/>
                    </a:lnTo>
                    <a:lnTo>
                      <a:pt x="709" y="242"/>
                    </a:lnTo>
                    <a:lnTo>
                      <a:pt x="709" y="244"/>
                    </a:lnTo>
                    <a:lnTo>
                      <a:pt x="709" y="242"/>
                    </a:lnTo>
                    <a:lnTo>
                      <a:pt x="709" y="244"/>
                    </a:lnTo>
                    <a:lnTo>
                      <a:pt x="707" y="244"/>
                    </a:lnTo>
                    <a:lnTo>
                      <a:pt x="707" y="242"/>
                    </a:lnTo>
                    <a:lnTo>
                      <a:pt x="707" y="240"/>
                    </a:lnTo>
                    <a:lnTo>
                      <a:pt x="707" y="238"/>
                    </a:lnTo>
                    <a:lnTo>
                      <a:pt x="707" y="236"/>
                    </a:lnTo>
                    <a:lnTo>
                      <a:pt x="709" y="236"/>
                    </a:lnTo>
                    <a:lnTo>
                      <a:pt x="707" y="236"/>
                    </a:lnTo>
                    <a:lnTo>
                      <a:pt x="709" y="238"/>
                    </a:lnTo>
                    <a:lnTo>
                      <a:pt x="711" y="238"/>
                    </a:lnTo>
                    <a:lnTo>
                      <a:pt x="709" y="238"/>
                    </a:lnTo>
                    <a:lnTo>
                      <a:pt x="709" y="236"/>
                    </a:lnTo>
                    <a:lnTo>
                      <a:pt x="707" y="236"/>
                    </a:lnTo>
                    <a:lnTo>
                      <a:pt x="706" y="236"/>
                    </a:lnTo>
                    <a:lnTo>
                      <a:pt x="704" y="236"/>
                    </a:lnTo>
                    <a:lnTo>
                      <a:pt x="704" y="234"/>
                    </a:lnTo>
                    <a:lnTo>
                      <a:pt x="704" y="232"/>
                    </a:lnTo>
                    <a:lnTo>
                      <a:pt x="702" y="232"/>
                    </a:lnTo>
                    <a:lnTo>
                      <a:pt x="702" y="234"/>
                    </a:lnTo>
                    <a:lnTo>
                      <a:pt x="704" y="236"/>
                    </a:lnTo>
                    <a:lnTo>
                      <a:pt x="702" y="236"/>
                    </a:lnTo>
                    <a:lnTo>
                      <a:pt x="702" y="234"/>
                    </a:lnTo>
                    <a:lnTo>
                      <a:pt x="700" y="234"/>
                    </a:lnTo>
                    <a:lnTo>
                      <a:pt x="700" y="236"/>
                    </a:lnTo>
                    <a:lnTo>
                      <a:pt x="702" y="236"/>
                    </a:lnTo>
                    <a:lnTo>
                      <a:pt x="702" y="238"/>
                    </a:lnTo>
                    <a:lnTo>
                      <a:pt x="700" y="238"/>
                    </a:lnTo>
                    <a:lnTo>
                      <a:pt x="702" y="240"/>
                    </a:lnTo>
                    <a:lnTo>
                      <a:pt x="704" y="240"/>
                    </a:lnTo>
                    <a:lnTo>
                      <a:pt x="706" y="240"/>
                    </a:lnTo>
                    <a:lnTo>
                      <a:pt x="704" y="240"/>
                    </a:lnTo>
                    <a:lnTo>
                      <a:pt x="704" y="238"/>
                    </a:lnTo>
                    <a:lnTo>
                      <a:pt x="704" y="240"/>
                    </a:lnTo>
                    <a:lnTo>
                      <a:pt x="704" y="238"/>
                    </a:lnTo>
                    <a:lnTo>
                      <a:pt x="706" y="238"/>
                    </a:lnTo>
                    <a:lnTo>
                      <a:pt x="706" y="240"/>
                    </a:lnTo>
                    <a:lnTo>
                      <a:pt x="706" y="242"/>
                    </a:lnTo>
                    <a:lnTo>
                      <a:pt x="704" y="242"/>
                    </a:lnTo>
                    <a:lnTo>
                      <a:pt x="706" y="242"/>
                    </a:lnTo>
                    <a:lnTo>
                      <a:pt x="704" y="242"/>
                    </a:lnTo>
                    <a:lnTo>
                      <a:pt x="706" y="242"/>
                    </a:lnTo>
                    <a:lnTo>
                      <a:pt x="706" y="244"/>
                    </a:lnTo>
                    <a:lnTo>
                      <a:pt x="706" y="242"/>
                    </a:lnTo>
                    <a:lnTo>
                      <a:pt x="706" y="244"/>
                    </a:lnTo>
                    <a:lnTo>
                      <a:pt x="707" y="244"/>
                    </a:lnTo>
                    <a:lnTo>
                      <a:pt x="707" y="246"/>
                    </a:lnTo>
                    <a:lnTo>
                      <a:pt x="706" y="246"/>
                    </a:lnTo>
                    <a:lnTo>
                      <a:pt x="706" y="244"/>
                    </a:lnTo>
                    <a:lnTo>
                      <a:pt x="704" y="244"/>
                    </a:lnTo>
                    <a:lnTo>
                      <a:pt x="702" y="244"/>
                    </a:lnTo>
                    <a:lnTo>
                      <a:pt x="702" y="242"/>
                    </a:lnTo>
                    <a:lnTo>
                      <a:pt x="702" y="244"/>
                    </a:lnTo>
                    <a:lnTo>
                      <a:pt x="702" y="242"/>
                    </a:lnTo>
                    <a:lnTo>
                      <a:pt x="700" y="242"/>
                    </a:lnTo>
                    <a:lnTo>
                      <a:pt x="700" y="240"/>
                    </a:lnTo>
                    <a:lnTo>
                      <a:pt x="700" y="238"/>
                    </a:lnTo>
                    <a:lnTo>
                      <a:pt x="698" y="238"/>
                    </a:lnTo>
                    <a:lnTo>
                      <a:pt x="700" y="238"/>
                    </a:lnTo>
                    <a:lnTo>
                      <a:pt x="698" y="238"/>
                    </a:lnTo>
                    <a:lnTo>
                      <a:pt x="698" y="236"/>
                    </a:lnTo>
                    <a:lnTo>
                      <a:pt x="696" y="236"/>
                    </a:lnTo>
                    <a:lnTo>
                      <a:pt x="696" y="234"/>
                    </a:lnTo>
                    <a:lnTo>
                      <a:pt x="696" y="236"/>
                    </a:lnTo>
                    <a:lnTo>
                      <a:pt x="696" y="238"/>
                    </a:lnTo>
                    <a:lnTo>
                      <a:pt x="698" y="238"/>
                    </a:lnTo>
                    <a:lnTo>
                      <a:pt x="698" y="240"/>
                    </a:lnTo>
                    <a:lnTo>
                      <a:pt x="696" y="240"/>
                    </a:lnTo>
                    <a:lnTo>
                      <a:pt x="696" y="238"/>
                    </a:lnTo>
                    <a:lnTo>
                      <a:pt x="696" y="236"/>
                    </a:lnTo>
                    <a:lnTo>
                      <a:pt x="694" y="236"/>
                    </a:lnTo>
                    <a:lnTo>
                      <a:pt x="694" y="234"/>
                    </a:lnTo>
                    <a:lnTo>
                      <a:pt x="692" y="234"/>
                    </a:lnTo>
                    <a:lnTo>
                      <a:pt x="692" y="232"/>
                    </a:lnTo>
                    <a:lnTo>
                      <a:pt x="692" y="234"/>
                    </a:lnTo>
                    <a:lnTo>
                      <a:pt x="692" y="236"/>
                    </a:lnTo>
                    <a:lnTo>
                      <a:pt x="694" y="238"/>
                    </a:lnTo>
                    <a:lnTo>
                      <a:pt x="694" y="240"/>
                    </a:lnTo>
                    <a:lnTo>
                      <a:pt x="694" y="238"/>
                    </a:lnTo>
                    <a:lnTo>
                      <a:pt x="694" y="240"/>
                    </a:lnTo>
                    <a:lnTo>
                      <a:pt x="692" y="240"/>
                    </a:lnTo>
                    <a:lnTo>
                      <a:pt x="692" y="238"/>
                    </a:lnTo>
                    <a:lnTo>
                      <a:pt x="690" y="238"/>
                    </a:lnTo>
                    <a:lnTo>
                      <a:pt x="690" y="236"/>
                    </a:lnTo>
                    <a:lnTo>
                      <a:pt x="688" y="236"/>
                    </a:lnTo>
                    <a:lnTo>
                      <a:pt x="688" y="234"/>
                    </a:lnTo>
                    <a:lnTo>
                      <a:pt x="686" y="234"/>
                    </a:lnTo>
                    <a:lnTo>
                      <a:pt x="686" y="232"/>
                    </a:lnTo>
                    <a:lnTo>
                      <a:pt x="688" y="232"/>
                    </a:lnTo>
                    <a:lnTo>
                      <a:pt x="686" y="232"/>
                    </a:lnTo>
                    <a:lnTo>
                      <a:pt x="688" y="234"/>
                    </a:lnTo>
                    <a:lnTo>
                      <a:pt x="688" y="236"/>
                    </a:lnTo>
                    <a:lnTo>
                      <a:pt x="688" y="234"/>
                    </a:lnTo>
                    <a:lnTo>
                      <a:pt x="688" y="232"/>
                    </a:lnTo>
                    <a:lnTo>
                      <a:pt x="686" y="230"/>
                    </a:lnTo>
                    <a:lnTo>
                      <a:pt x="686" y="229"/>
                    </a:lnTo>
                    <a:lnTo>
                      <a:pt x="684" y="229"/>
                    </a:lnTo>
                    <a:lnTo>
                      <a:pt x="686" y="229"/>
                    </a:lnTo>
                    <a:lnTo>
                      <a:pt x="686" y="227"/>
                    </a:lnTo>
                    <a:lnTo>
                      <a:pt x="684" y="227"/>
                    </a:lnTo>
                    <a:lnTo>
                      <a:pt x="684" y="225"/>
                    </a:lnTo>
                    <a:lnTo>
                      <a:pt x="684" y="227"/>
                    </a:lnTo>
                    <a:lnTo>
                      <a:pt x="682" y="227"/>
                    </a:lnTo>
                    <a:lnTo>
                      <a:pt x="682" y="229"/>
                    </a:lnTo>
                    <a:lnTo>
                      <a:pt x="682" y="227"/>
                    </a:lnTo>
                    <a:lnTo>
                      <a:pt x="681" y="227"/>
                    </a:lnTo>
                    <a:lnTo>
                      <a:pt x="681" y="225"/>
                    </a:lnTo>
                    <a:lnTo>
                      <a:pt x="679" y="223"/>
                    </a:lnTo>
                    <a:lnTo>
                      <a:pt x="679" y="221"/>
                    </a:lnTo>
                    <a:lnTo>
                      <a:pt x="681" y="221"/>
                    </a:lnTo>
                    <a:lnTo>
                      <a:pt x="679" y="221"/>
                    </a:lnTo>
                    <a:lnTo>
                      <a:pt x="681" y="221"/>
                    </a:lnTo>
                    <a:lnTo>
                      <a:pt x="679" y="221"/>
                    </a:lnTo>
                    <a:lnTo>
                      <a:pt x="681" y="221"/>
                    </a:lnTo>
                    <a:lnTo>
                      <a:pt x="679" y="221"/>
                    </a:lnTo>
                    <a:lnTo>
                      <a:pt x="677" y="221"/>
                    </a:lnTo>
                    <a:lnTo>
                      <a:pt x="675" y="221"/>
                    </a:lnTo>
                    <a:lnTo>
                      <a:pt x="675" y="219"/>
                    </a:lnTo>
                    <a:lnTo>
                      <a:pt x="675" y="221"/>
                    </a:lnTo>
                    <a:lnTo>
                      <a:pt x="677" y="221"/>
                    </a:lnTo>
                    <a:lnTo>
                      <a:pt x="677" y="223"/>
                    </a:lnTo>
                    <a:lnTo>
                      <a:pt x="679" y="223"/>
                    </a:lnTo>
                    <a:lnTo>
                      <a:pt x="679" y="225"/>
                    </a:lnTo>
                    <a:lnTo>
                      <a:pt x="681" y="225"/>
                    </a:lnTo>
                    <a:lnTo>
                      <a:pt x="679" y="227"/>
                    </a:lnTo>
                    <a:lnTo>
                      <a:pt x="679" y="225"/>
                    </a:lnTo>
                    <a:lnTo>
                      <a:pt x="679" y="227"/>
                    </a:lnTo>
                    <a:lnTo>
                      <a:pt x="681" y="227"/>
                    </a:lnTo>
                    <a:lnTo>
                      <a:pt x="681" y="225"/>
                    </a:lnTo>
                    <a:lnTo>
                      <a:pt x="681" y="227"/>
                    </a:lnTo>
                    <a:lnTo>
                      <a:pt x="682" y="227"/>
                    </a:lnTo>
                    <a:lnTo>
                      <a:pt x="682" y="229"/>
                    </a:lnTo>
                    <a:lnTo>
                      <a:pt x="684" y="229"/>
                    </a:lnTo>
                    <a:lnTo>
                      <a:pt x="684" y="230"/>
                    </a:lnTo>
                    <a:lnTo>
                      <a:pt x="684" y="232"/>
                    </a:lnTo>
                    <a:lnTo>
                      <a:pt x="684" y="230"/>
                    </a:lnTo>
                    <a:lnTo>
                      <a:pt x="682" y="230"/>
                    </a:lnTo>
                    <a:lnTo>
                      <a:pt x="684" y="230"/>
                    </a:lnTo>
                    <a:lnTo>
                      <a:pt x="682" y="230"/>
                    </a:lnTo>
                    <a:lnTo>
                      <a:pt x="682" y="229"/>
                    </a:lnTo>
                    <a:lnTo>
                      <a:pt x="682" y="230"/>
                    </a:lnTo>
                    <a:lnTo>
                      <a:pt x="682" y="229"/>
                    </a:lnTo>
                    <a:lnTo>
                      <a:pt x="682" y="230"/>
                    </a:lnTo>
                    <a:lnTo>
                      <a:pt x="684" y="232"/>
                    </a:lnTo>
                    <a:lnTo>
                      <a:pt x="682" y="232"/>
                    </a:lnTo>
                    <a:lnTo>
                      <a:pt x="682" y="230"/>
                    </a:lnTo>
                    <a:lnTo>
                      <a:pt x="682" y="229"/>
                    </a:lnTo>
                    <a:lnTo>
                      <a:pt x="681" y="229"/>
                    </a:lnTo>
                    <a:lnTo>
                      <a:pt x="682" y="229"/>
                    </a:lnTo>
                    <a:lnTo>
                      <a:pt x="681" y="227"/>
                    </a:lnTo>
                    <a:lnTo>
                      <a:pt x="681" y="229"/>
                    </a:lnTo>
                    <a:lnTo>
                      <a:pt x="679" y="229"/>
                    </a:lnTo>
                    <a:lnTo>
                      <a:pt x="679" y="230"/>
                    </a:lnTo>
                    <a:lnTo>
                      <a:pt x="681" y="232"/>
                    </a:lnTo>
                    <a:lnTo>
                      <a:pt x="679" y="232"/>
                    </a:lnTo>
                    <a:lnTo>
                      <a:pt x="679" y="234"/>
                    </a:lnTo>
                    <a:lnTo>
                      <a:pt x="679" y="232"/>
                    </a:lnTo>
                    <a:lnTo>
                      <a:pt x="677" y="232"/>
                    </a:lnTo>
                    <a:lnTo>
                      <a:pt x="677" y="234"/>
                    </a:lnTo>
                    <a:lnTo>
                      <a:pt x="675" y="234"/>
                    </a:lnTo>
                    <a:lnTo>
                      <a:pt x="675" y="232"/>
                    </a:lnTo>
                    <a:lnTo>
                      <a:pt x="675" y="230"/>
                    </a:lnTo>
                    <a:lnTo>
                      <a:pt x="673" y="230"/>
                    </a:lnTo>
                    <a:lnTo>
                      <a:pt x="673" y="229"/>
                    </a:lnTo>
                    <a:lnTo>
                      <a:pt x="673" y="227"/>
                    </a:lnTo>
                    <a:lnTo>
                      <a:pt x="671" y="227"/>
                    </a:lnTo>
                    <a:lnTo>
                      <a:pt x="671" y="225"/>
                    </a:lnTo>
                    <a:lnTo>
                      <a:pt x="669" y="225"/>
                    </a:lnTo>
                    <a:lnTo>
                      <a:pt x="669" y="223"/>
                    </a:lnTo>
                    <a:lnTo>
                      <a:pt x="669" y="221"/>
                    </a:lnTo>
                    <a:lnTo>
                      <a:pt x="669" y="219"/>
                    </a:lnTo>
                    <a:lnTo>
                      <a:pt x="669" y="221"/>
                    </a:lnTo>
                    <a:lnTo>
                      <a:pt x="669" y="219"/>
                    </a:lnTo>
                    <a:lnTo>
                      <a:pt x="669" y="221"/>
                    </a:lnTo>
                    <a:lnTo>
                      <a:pt x="671" y="221"/>
                    </a:lnTo>
                    <a:lnTo>
                      <a:pt x="671" y="219"/>
                    </a:lnTo>
                    <a:lnTo>
                      <a:pt x="669" y="219"/>
                    </a:lnTo>
                    <a:lnTo>
                      <a:pt x="669" y="217"/>
                    </a:lnTo>
                    <a:lnTo>
                      <a:pt x="667" y="217"/>
                    </a:lnTo>
                    <a:lnTo>
                      <a:pt x="667" y="215"/>
                    </a:lnTo>
                    <a:lnTo>
                      <a:pt x="667" y="213"/>
                    </a:lnTo>
                    <a:lnTo>
                      <a:pt x="669" y="213"/>
                    </a:lnTo>
                    <a:lnTo>
                      <a:pt x="667" y="213"/>
                    </a:lnTo>
                    <a:lnTo>
                      <a:pt x="669" y="213"/>
                    </a:lnTo>
                    <a:lnTo>
                      <a:pt x="667" y="213"/>
                    </a:lnTo>
                    <a:lnTo>
                      <a:pt x="667" y="215"/>
                    </a:lnTo>
                    <a:lnTo>
                      <a:pt x="667" y="217"/>
                    </a:lnTo>
                    <a:lnTo>
                      <a:pt x="667" y="215"/>
                    </a:lnTo>
                    <a:lnTo>
                      <a:pt x="665" y="215"/>
                    </a:lnTo>
                    <a:lnTo>
                      <a:pt x="665" y="217"/>
                    </a:lnTo>
                    <a:lnTo>
                      <a:pt x="663" y="217"/>
                    </a:lnTo>
                    <a:lnTo>
                      <a:pt x="665" y="217"/>
                    </a:lnTo>
                    <a:lnTo>
                      <a:pt x="663" y="217"/>
                    </a:lnTo>
                    <a:lnTo>
                      <a:pt x="663" y="219"/>
                    </a:lnTo>
                    <a:lnTo>
                      <a:pt x="665" y="219"/>
                    </a:lnTo>
                    <a:lnTo>
                      <a:pt x="665" y="217"/>
                    </a:lnTo>
                    <a:lnTo>
                      <a:pt x="665" y="219"/>
                    </a:lnTo>
                    <a:lnTo>
                      <a:pt x="665" y="221"/>
                    </a:lnTo>
                    <a:lnTo>
                      <a:pt x="667" y="221"/>
                    </a:lnTo>
                    <a:lnTo>
                      <a:pt x="667" y="223"/>
                    </a:lnTo>
                    <a:lnTo>
                      <a:pt x="667" y="221"/>
                    </a:lnTo>
                    <a:lnTo>
                      <a:pt x="665" y="221"/>
                    </a:lnTo>
                    <a:lnTo>
                      <a:pt x="665" y="219"/>
                    </a:lnTo>
                    <a:lnTo>
                      <a:pt x="663" y="219"/>
                    </a:lnTo>
                    <a:lnTo>
                      <a:pt x="663" y="217"/>
                    </a:lnTo>
                    <a:lnTo>
                      <a:pt x="661" y="215"/>
                    </a:lnTo>
                    <a:lnTo>
                      <a:pt x="663" y="215"/>
                    </a:lnTo>
                    <a:lnTo>
                      <a:pt x="661" y="215"/>
                    </a:lnTo>
                    <a:lnTo>
                      <a:pt x="661" y="213"/>
                    </a:lnTo>
                    <a:lnTo>
                      <a:pt x="659" y="213"/>
                    </a:lnTo>
                    <a:lnTo>
                      <a:pt x="661" y="213"/>
                    </a:lnTo>
                    <a:lnTo>
                      <a:pt x="661" y="215"/>
                    </a:lnTo>
                    <a:lnTo>
                      <a:pt x="661" y="217"/>
                    </a:lnTo>
                    <a:lnTo>
                      <a:pt x="661" y="215"/>
                    </a:lnTo>
                    <a:lnTo>
                      <a:pt x="659" y="215"/>
                    </a:lnTo>
                    <a:lnTo>
                      <a:pt x="657" y="215"/>
                    </a:lnTo>
                    <a:lnTo>
                      <a:pt x="657" y="213"/>
                    </a:lnTo>
                    <a:lnTo>
                      <a:pt x="656" y="213"/>
                    </a:lnTo>
                    <a:lnTo>
                      <a:pt x="657" y="213"/>
                    </a:lnTo>
                    <a:lnTo>
                      <a:pt x="657" y="215"/>
                    </a:lnTo>
                    <a:lnTo>
                      <a:pt x="656" y="213"/>
                    </a:lnTo>
                    <a:lnTo>
                      <a:pt x="654" y="213"/>
                    </a:lnTo>
                    <a:lnTo>
                      <a:pt x="656" y="213"/>
                    </a:lnTo>
                    <a:lnTo>
                      <a:pt x="656" y="211"/>
                    </a:lnTo>
                    <a:lnTo>
                      <a:pt x="654" y="211"/>
                    </a:lnTo>
                    <a:lnTo>
                      <a:pt x="654" y="209"/>
                    </a:lnTo>
                    <a:lnTo>
                      <a:pt x="654" y="207"/>
                    </a:lnTo>
                    <a:lnTo>
                      <a:pt x="654" y="209"/>
                    </a:lnTo>
                    <a:lnTo>
                      <a:pt x="654" y="211"/>
                    </a:lnTo>
                    <a:lnTo>
                      <a:pt x="654" y="209"/>
                    </a:lnTo>
                    <a:lnTo>
                      <a:pt x="652" y="209"/>
                    </a:lnTo>
                    <a:lnTo>
                      <a:pt x="654" y="209"/>
                    </a:lnTo>
                    <a:lnTo>
                      <a:pt x="652" y="209"/>
                    </a:lnTo>
                    <a:lnTo>
                      <a:pt x="652" y="207"/>
                    </a:lnTo>
                    <a:lnTo>
                      <a:pt x="652" y="209"/>
                    </a:lnTo>
                    <a:lnTo>
                      <a:pt x="650" y="207"/>
                    </a:lnTo>
                    <a:lnTo>
                      <a:pt x="652" y="209"/>
                    </a:lnTo>
                    <a:lnTo>
                      <a:pt x="652" y="207"/>
                    </a:lnTo>
                    <a:lnTo>
                      <a:pt x="650" y="207"/>
                    </a:lnTo>
                    <a:lnTo>
                      <a:pt x="650" y="205"/>
                    </a:lnTo>
                    <a:lnTo>
                      <a:pt x="650" y="204"/>
                    </a:lnTo>
                    <a:lnTo>
                      <a:pt x="648" y="204"/>
                    </a:lnTo>
                    <a:lnTo>
                      <a:pt x="648" y="202"/>
                    </a:lnTo>
                    <a:lnTo>
                      <a:pt x="650" y="202"/>
                    </a:lnTo>
                    <a:lnTo>
                      <a:pt x="650" y="204"/>
                    </a:lnTo>
                    <a:lnTo>
                      <a:pt x="650" y="202"/>
                    </a:lnTo>
                    <a:lnTo>
                      <a:pt x="650" y="204"/>
                    </a:lnTo>
                    <a:lnTo>
                      <a:pt x="650" y="205"/>
                    </a:lnTo>
                    <a:lnTo>
                      <a:pt x="652" y="205"/>
                    </a:lnTo>
                    <a:lnTo>
                      <a:pt x="652" y="207"/>
                    </a:lnTo>
                    <a:lnTo>
                      <a:pt x="652" y="205"/>
                    </a:lnTo>
                    <a:lnTo>
                      <a:pt x="652" y="204"/>
                    </a:lnTo>
                    <a:lnTo>
                      <a:pt x="652" y="202"/>
                    </a:lnTo>
                    <a:lnTo>
                      <a:pt x="654" y="202"/>
                    </a:lnTo>
                    <a:lnTo>
                      <a:pt x="654" y="200"/>
                    </a:lnTo>
                    <a:lnTo>
                      <a:pt x="654" y="198"/>
                    </a:lnTo>
                    <a:lnTo>
                      <a:pt x="654" y="196"/>
                    </a:lnTo>
                    <a:lnTo>
                      <a:pt x="654" y="194"/>
                    </a:lnTo>
                    <a:lnTo>
                      <a:pt x="652" y="194"/>
                    </a:lnTo>
                    <a:lnTo>
                      <a:pt x="652" y="192"/>
                    </a:lnTo>
                    <a:lnTo>
                      <a:pt x="654" y="192"/>
                    </a:lnTo>
                    <a:lnTo>
                      <a:pt x="652" y="192"/>
                    </a:lnTo>
                    <a:lnTo>
                      <a:pt x="654" y="192"/>
                    </a:lnTo>
                    <a:lnTo>
                      <a:pt x="654" y="190"/>
                    </a:lnTo>
                    <a:lnTo>
                      <a:pt x="654" y="192"/>
                    </a:lnTo>
                    <a:lnTo>
                      <a:pt x="654" y="194"/>
                    </a:lnTo>
                    <a:lnTo>
                      <a:pt x="654" y="192"/>
                    </a:lnTo>
                    <a:lnTo>
                      <a:pt x="656" y="192"/>
                    </a:lnTo>
                    <a:lnTo>
                      <a:pt x="656" y="194"/>
                    </a:lnTo>
                    <a:lnTo>
                      <a:pt x="657" y="194"/>
                    </a:lnTo>
                    <a:lnTo>
                      <a:pt x="656" y="192"/>
                    </a:lnTo>
                    <a:lnTo>
                      <a:pt x="657" y="192"/>
                    </a:lnTo>
                    <a:lnTo>
                      <a:pt x="657" y="194"/>
                    </a:lnTo>
                    <a:lnTo>
                      <a:pt x="657" y="192"/>
                    </a:lnTo>
                    <a:lnTo>
                      <a:pt x="657" y="194"/>
                    </a:lnTo>
                    <a:lnTo>
                      <a:pt x="659" y="196"/>
                    </a:lnTo>
                    <a:lnTo>
                      <a:pt x="659" y="198"/>
                    </a:lnTo>
                    <a:lnTo>
                      <a:pt x="661" y="198"/>
                    </a:lnTo>
                    <a:lnTo>
                      <a:pt x="659" y="198"/>
                    </a:lnTo>
                    <a:lnTo>
                      <a:pt x="661" y="198"/>
                    </a:lnTo>
                    <a:lnTo>
                      <a:pt x="661" y="196"/>
                    </a:lnTo>
                    <a:lnTo>
                      <a:pt x="659" y="196"/>
                    </a:lnTo>
                    <a:lnTo>
                      <a:pt x="661" y="194"/>
                    </a:lnTo>
                    <a:lnTo>
                      <a:pt x="661" y="196"/>
                    </a:lnTo>
                    <a:lnTo>
                      <a:pt x="661" y="194"/>
                    </a:lnTo>
                    <a:lnTo>
                      <a:pt x="661" y="196"/>
                    </a:lnTo>
                    <a:lnTo>
                      <a:pt x="663" y="196"/>
                    </a:lnTo>
                    <a:lnTo>
                      <a:pt x="665" y="196"/>
                    </a:lnTo>
                    <a:lnTo>
                      <a:pt x="665" y="198"/>
                    </a:lnTo>
                    <a:lnTo>
                      <a:pt x="667" y="198"/>
                    </a:lnTo>
                    <a:lnTo>
                      <a:pt x="667" y="196"/>
                    </a:lnTo>
                    <a:lnTo>
                      <a:pt x="669" y="196"/>
                    </a:lnTo>
                    <a:lnTo>
                      <a:pt x="669" y="198"/>
                    </a:lnTo>
                    <a:lnTo>
                      <a:pt x="669" y="196"/>
                    </a:lnTo>
                    <a:lnTo>
                      <a:pt x="667" y="196"/>
                    </a:lnTo>
                    <a:lnTo>
                      <a:pt x="665" y="196"/>
                    </a:lnTo>
                    <a:lnTo>
                      <a:pt x="665" y="194"/>
                    </a:lnTo>
                    <a:lnTo>
                      <a:pt x="665" y="192"/>
                    </a:lnTo>
                    <a:lnTo>
                      <a:pt x="663" y="192"/>
                    </a:lnTo>
                    <a:lnTo>
                      <a:pt x="665" y="192"/>
                    </a:lnTo>
                    <a:lnTo>
                      <a:pt x="667" y="190"/>
                    </a:lnTo>
                    <a:lnTo>
                      <a:pt x="667" y="192"/>
                    </a:lnTo>
                    <a:lnTo>
                      <a:pt x="669" y="194"/>
                    </a:lnTo>
                    <a:lnTo>
                      <a:pt x="669" y="196"/>
                    </a:lnTo>
                    <a:lnTo>
                      <a:pt x="671" y="196"/>
                    </a:lnTo>
                    <a:lnTo>
                      <a:pt x="669" y="196"/>
                    </a:lnTo>
                    <a:lnTo>
                      <a:pt x="671" y="196"/>
                    </a:lnTo>
                    <a:lnTo>
                      <a:pt x="671" y="198"/>
                    </a:lnTo>
                    <a:lnTo>
                      <a:pt x="671" y="196"/>
                    </a:lnTo>
                    <a:lnTo>
                      <a:pt x="671" y="198"/>
                    </a:lnTo>
                    <a:lnTo>
                      <a:pt x="673" y="198"/>
                    </a:lnTo>
                    <a:lnTo>
                      <a:pt x="673" y="200"/>
                    </a:lnTo>
                    <a:lnTo>
                      <a:pt x="673" y="198"/>
                    </a:lnTo>
                    <a:lnTo>
                      <a:pt x="671" y="198"/>
                    </a:lnTo>
                    <a:lnTo>
                      <a:pt x="671" y="196"/>
                    </a:lnTo>
                    <a:lnTo>
                      <a:pt x="673" y="196"/>
                    </a:lnTo>
                    <a:lnTo>
                      <a:pt x="671" y="196"/>
                    </a:lnTo>
                    <a:lnTo>
                      <a:pt x="669" y="196"/>
                    </a:lnTo>
                    <a:lnTo>
                      <a:pt x="669" y="194"/>
                    </a:lnTo>
                    <a:lnTo>
                      <a:pt x="669" y="192"/>
                    </a:lnTo>
                    <a:lnTo>
                      <a:pt x="667" y="192"/>
                    </a:lnTo>
                    <a:lnTo>
                      <a:pt x="667" y="190"/>
                    </a:lnTo>
                    <a:lnTo>
                      <a:pt x="669" y="190"/>
                    </a:lnTo>
                    <a:lnTo>
                      <a:pt x="669" y="192"/>
                    </a:lnTo>
                    <a:lnTo>
                      <a:pt x="669" y="190"/>
                    </a:lnTo>
                    <a:lnTo>
                      <a:pt x="667" y="190"/>
                    </a:lnTo>
                    <a:lnTo>
                      <a:pt x="669" y="190"/>
                    </a:lnTo>
                    <a:lnTo>
                      <a:pt x="667" y="190"/>
                    </a:lnTo>
                    <a:lnTo>
                      <a:pt x="667" y="188"/>
                    </a:lnTo>
                    <a:lnTo>
                      <a:pt x="667" y="190"/>
                    </a:lnTo>
                    <a:lnTo>
                      <a:pt x="665" y="190"/>
                    </a:lnTo>
                    <a:lnTo>
                      <a:pt x="663" y="190"/>
                    </a:lnTo>
                    <a:lnTo>
                      <a:pt x="661" y="188"/>
                    </a:lnTo>
                    <a:lnTo>
                      <a:pt x="663" y="188"/>
                    </a:lnTo>
                    <a:lnTo>
                      <a:pt x="661" y="188"/>
                    </a:lnTo>
                    <a:lnTo>
                      <a:pt x="661" y="186"/>
                    </a:lnTo>
                    <a:lnTo>
                      <a:pt x="661" y="188"/>
                    </a:lnTo>
                    <a:lnTo>
                      <a:pt x="661" y="190"/>
                    </a:lnTo>
                    <a:lnTo>
                      <a:pt x="659" y="190"/>
                    </a:lnTo>
                    <a:lnTo>
                      <a:pt x="659" y="188"/>
                    </a:lnTo>
                    <a:lnTo>
                      <a:pt x="659" y="186"/>
                    </a:lnTo>
                    <a:lnTo>
                      <a:pt x="657" y="186"/>
                    </a:lnTo>
                    <a:lnTo>
                      <a:pt x="657" y="184"/>
                    </a:lnTo>
                    <a:lnTo>
                      <a:pt x="657" y="186"/>
                    </a:lnTo>
                    <a:lnTo>
                      <a:pt x="657" y="184"/>
                    </a:lnTo>
                    <a:lnTo>
                      <a:pt x="657" y="186"/>
                    </a:lnTo>
                    <a:lnTo>
                      <a:pt x="656" y="186"/>
                    </a:lnTo>
                    <a:lnTo>
                      <a:pt x="656" y="184"/>
                    </a:lnTo>
                    <a:lnTo>
                      <a:pt x="656" y="182"/>
                    </a:lnTo>
                    <a:lnTo>
                      <a:pt x="656" y="184"/>
                    </a:lnTo>
                    <a:lnTo>
                      <a:pt x="656" y="182"/>
                    </a:lnTo>
                    <a:lnTo>
                      <a:pt x="656" y="180"/>
                    </a:lnTo>
                    <a:lnTo>
                      <a:pt x="657" y="180"/>
                    </a:lnTo>
                    <a:lnTo>
                      <a:pt x="657" y="182"/>
                    </a:lnTo>
                    <a:lnTo>
                      <a:pt x="657" y="180"/>
                    </a:lnTo>
                    <a:lnTo>
                      <a:pt x="656" y="180"/>
                    </a:lnTo>
                    <a:lnTo>
                      <a:pt x="656" y="179"/>
                    </a:lnTo>
                    <a:lnTo>
                      <a:pt x="656" y="180"/>
                    </a:lnTo>
                    <a:lnTo>
                      <a:pt x="656" y="179"/>
                    </a:lnTo>
                    <a:lnTo>
                      <a:pt x="656" y="180"/>
                    </a:lnTo>
                    <a:lnTo>
                      <a:pt x="656" y="179"/>
                    </a:lnTo>
                    <a:lnTo>
                      <a:pt x="656" y="177"/>
                    </a:lnTo>
                    <a:lnTo>
                      <a:pt x="654" y="177"/>
                    </a:lnTo>
                    <a:lnTo>
                      <a:pt x="654" y="175"/>
                    </a:lnTo>
                    <a:lnTo>
                      <a:pt x="656" y="177"/>
                    </a:lnTo>
                    <a:lnTo>
                      <a:pt x="656" y="175"/>
                    </a:lnTo>
                    <a:lnTo>
                      <a:pt x="656" y="173"/>
                    </a:lnTo>
                    <a:lnTo>
                      <a:pt x="656" y="171"/>
                    </a:lnTo>
                    <a:lnTo>
                      <a:pt x="656" y="173"/>
                    </a:lnTo>
                    <a:lnTo>
                      <a:pt x="656" y="171"/>
                    </a:lnTo>
                    <a:lnTo>
                      <a:pt x="657" y="171"/>
                    </a:lnTo>
                    <a:lnTo>
                      <a:pt x="657" y="169"/>
                    </a:lnTo>
                    <a:lnTo>
                      <a:pt x="657" y="171"/>
                    </a:lnTo>
                    <a:lnTo>
                      <a:pt x="657" y="169"/>
                    </a:lnTo>
                    <a:lnTo>
                      <a:pt x="657" y="171"/>
                    </a:lnTo>
                    <a:lnTo>
                      <a:pt x="657" y="169"/>
                    </a:lnTo>
                    <a:lnTo>
                      <a:pt x="657" y="171"/>
                    </a:lnTo>
                    <a:lnTo>
                      <a:pt x="657" y="169"/>
                    </a:lnTo>
                    <a:lnTo>
                      <a:pt x="657" y="171"/>
                    </a:lnTo>
                    <a:lnTo>
                      <a:pt x="657" y="169"/>
                    </a:lnTo>
                    <a:lnTo>
                      <a:pt x="659" y="169"/>
                    </a:lnTo>
                    <a:lnTo>
                      <a:pt x="659" y="167"/>
                    </a:lnTo>
                    <a:lnTo>
                      <a:pt x="659" y="169"/>
                    </a:lnTo>
                    <a:lnTo>
                      <a:pt x="659" y="167"/>
                    </a:lnTo>
                    <a:lnTo>
                      <a:pt x="659" y="169"/>
                    </a:lnTo>
                    <a:lnTo>
                      <a:pt x="659" y="167"/>
                    </a:lnTo>
                    <a:lnTo>
                      <a:pt x="659" y="169"/>
                    </a:lnTo>
                    <a:lnTo>
                      <a:pt x="659" y="167"/>
                    </a:lnTo>
                    <a:lnTo>
                      <a:pt x="661" y="167"/>
                    </a:lnTo>
                    <a:lnTo>
                      <a:pt x="663" y="167"/>
                    </a:lnTo>
                    <a:lnTo>
                      <a:pt x="661" y="167"/>
                    </a:lnTo>
                    <a:lnTo>
                      <a:pt x="661" y="165"/>
                    </a:lnTo>
                    <a:lnTo>
                      <a:pt x="661" y="167"/>
                    </a:lnTo>
                    <a:lnTo>
                      <a:pt x="661" y="165"/>
                    </a:lnTo>
                    <a:lnTo>
                      <a:pt x="661" y="167"/>
                    </a:lnTo>
                    <a:lnTo>
                      <a:pt x="661" y="165"/>
                    </a:lnTo>
                    <a:lnTo>
                      <a:pt x="663" y="165"/>
                    </a:lnTo>
                    <a:lnTo>
                      <a:pt x="661" y="165"/>
                    </a:lnTo>
                    <a:lnTo>
                      <a:pt x="659" y="165"/>
                    </a:lnTo>
                    <a:lnTo>
                      <a:pt x="657" y="165"/>
                    </a:lnTo>
                    <a:lnTo>
                      <a:pt x="657" y="167"/>
                    </a:lnTo>
                    <a:lnTo>
                      <a:pt x="656" y="167"/>
                    </a:lnTo>
                    <a:lnTo>
                      <a:pt x="656" y="165"/>
                    </a:lnTo>
                    <a:lnTo>
                      <a:pt x="656" y="167"/>
                    </a:lnTo>
                    <a:lnTo>
                      <a:pt x="656" y="169"/>
                    </a:lnTo>
                    <a:lnTo>
                      <a:pt x="656" y="167"/>
                    </a:lnTo>
                    <a:lnTo>
                      <a:pt x="656" y="169"/>
                    </a:lnTo>
                    <a:lnTo>
                      <a:pt x="656" y="167"/>
                    </a:lnTo>
                    <a:lnTo>
                      <a:pt x="654" y="167"/>
                    </a:lnTo>
                    <a:lnTo>
                      <a:pt x="654" y="169"/>
                    </a:lnTo>
                    <a:lnTo>
                      <a:pt x="652" y="169"/>
                    </a:lnTo>
                    <a:lnTo>
                      <a:pt x="654" y="171"/>
                    </a:lnTo>
                    <a:lnTo>
                      <a:pt x="652" y="171"/>
                    </a:lnTo>
                    <a:lnTo>
                      <a:pt x="652" y="169"/>
                    </a:lnTo>
                    <a:lnTo>
                      <a:pt x="652" y="167"/>
                    </a:lnTo>
                    <a:lnTo>
                      <a:pt x="654" y="167"/>
                    </a:lnTo>
                    <a:lnTo>
                      <a:pt x="652" y="167"/>
                    </a:lnTo>
                    <a:lnTo>
                      <a:pt x="652" y="165"/>
                    </a:lnTo>
                    <a:lnTo>
                      <a:pt x="654" y="165"/>
                    </a:lnTo>
                    <a:lnTo>
                      <a:pt x="652" y="165"/>
                    </a:lnTo>
                    <a:lnTo>
                      <a:pt x="652" y="163"/>
                    </a:lnTo>
                    <a:lnTo>
                      <a:pt x="652" y="165"/>
                    </a:lnTo>
                    <a:lnTo>
                      <a:pt x="652" y="163"/>
                    </a:lnTo>
                    <a:lnTo>
                      <a:pt x="652" y="165"/>
                    </a:lnTo>
                    <a:lnTo>
                      <a:pt x="652" y="163"/>
                    </a:lnTo>
                    <a:lnTo>
                      <a:pt x="652" y="165"/>
                    </a:lnTo>
                    <a:lnTo>
                      <a:pt x="652" y="167"/>
                    </a:lnTo>
                    <a:lnTo>
                      <a:pt x="652" y="165"/>
                    </a:lnTo>
                    <a:lnTo>
                      <a:pt x="650" y="167"/>
                    </a:lnTo>
                    <a:lnTo>
                      <a:pt x="650" y="165"/>
                    </a:lnTo>
                    <a:lnTo>
                      <a:pt x="650" y="167"/>
                    </a:lnTo>
                    <a:lnTo>
                      <a:pt x="650" y="165"/>
                    </a:lnTo>
                    <a:lnTo>
                      <a:pt x="648" y="165"/>
                    </a:lnTo>
                    <a:lnTo>
                      <a:pt x="650" y="167"/>
                    </a:lnTo>
                    <a:lnTo>
                      <a:pt x="648" y="167"/>
                    </a:lnTo>
                    <a:lnTo>
                      <a:pt x="650" y="167"/>
                    </a:lnTo>
                    <a:lnTo>
                      <a:pt x="648" y="167"/>
                    </a:lnTo>
                    <a:lnTo>
                      <a:pt x="650" y="167"/>
                    </a:lnTo>
                    <a:lnTo>
                      <a:pt x="650" y="169"/>
                    </a:lnTo>
                    <a:lnTo>
                      <a:pt x="648" y="169"/>
                    </a:lnTo>
                    <a:lnTo>
                      <a:pt x="648" y="167"/>
                    </a:lnTo>
                    <a:lnTo>
                      <a:pt x="648" y="169"/>
                    </a:lnTo>
                    <a:lnTo>
                      <a:pt x="648" y="171"/>
                    </a:lnTo>
                    <a:lnTo>
                      <a:pt x="648" y="169"/>
                    </a:lnTo>
                    <a:lnTo>
                      <a:pt x="648" y="167"/>
                    </a:lnTo>
                    <a:lnTo>
                      <a:pt x="648" y="165"/>
                    </a:lnTo>
                    <a:lnTo>
                      <a:pt x="648" y="163"/>
                    </a:lnTo>
                    <a:lnTo>
                      <a:pt x="648" y="165"/>
                    </a:lnTo>
                    <a:lnTo>
                      <a:pt x="646" y="165"/>
                    </a:lnTo>
                    <a:lnTo>
                      <a:pt x="648" y="163"/>
                    </a:lnTo>
                    <a:lnTo>
                      <a:pt x="646" y="165"/>
                    </a:lnTo>
                    <a:lnTo>
                      <a:pt x="648" y="165"/>
                    </a:lnTo>
                    <a:lnTo>
                      <a:pt x="646" y="165"/>
                    </a:lnTo>
                    <a:lnTo>
                      <a:pt x="646" y="163"/>
                    </a:lnTo>
                    <a:lnTo>
                      <a:pt x="646" y="165"/>
                    </a:lnTo>
                    <a:lnTo>
                      <a:pt x="646" y="167"/>
                    </a:lnTo>
                    <a:lnTo>
                      <a:pt x="646" y="165"/>
                    </a:lnTo>
                    <a:lnTo>
                      <a:pt x="644" y="165"/>
                    </a:lnTo>
                    <a:lnTo>
                      <a:pt x="646" y="165"/>
                    </a:lnTo>
                    <a:lnTo>
                      <a:pt x="646" y="163"/>
                    </a:lnTo>
                    <a:lnTo>
                      <a:pt x="644" y="163"/>
                    </a:lnTo>
                    <a:lnTo>
                      <a:pt x="644" y="161"/>
                    </a:lnTo>
                    <a:lnTo>
                      <a:pt x="646" y="161"/>
                    </a:lnTo>
                    <a:lnTo>
                      <a:pt x="646" y="159"/>
                    </a:lnTo>
                    <a:lnTo>
                      <a:pt x="646" y="161"/>
                    </a:lnTo>
                    <a:lnTo>
                      <a:pt x="646" y="159"/>
                    </a:lnTo>
                    <a:lnTo>
                      <a:pt x="646" y="157"/>
                    </a:lnTo>
                    <a:lnTo>
                      <a:pt x="646" y="159"/>
                    </a:lnTo>
                    <a:lnTo>
                      <a:pt x="646" y="157"/>
                    </a:lnTo>
                    <a:lnTo>
                      <a:pt x="644" y="157"/>
                    </a:lnTo>
                    <a:lnTo>
                      <a:pt x="646" y="157"/>
                    </a:lnTo>
                    <a:lnTo>
                      <a:pt x="644" y="157"/>
                    </a:lnTo>
                    <a:lnTo>
                      <a:pt x="646" y="157"/>
                    </a:lnTo>
                    <a:lnTo>
                      <a:pt x="644" y="157"/>
                    </a:lnTo>
                    <a:lnTo>
                      <a:pt x="644" y="155"/>
                    </a:lnTo>
                    <a:lnTo>
                      <a:pt x="646" y="155"/>
                    </a:lnTo>
                    <a:lnTo>
                      <a:pt x="646" y="154"/>
                    </a:lnTo>
                    <a:lnTo>
                      <a:pt x="646" y="152"/>
                    </a:lnTo>
                    <a:lnTo>
                      <a:pt x="646" y="150"/>
                    </a:lnTo>
                    <a:lnTo>
                      <a:pt x="648" y="150"/>
                    </a:lnTo>
                    <a:lnTo>
                      <a:pt x="646" y="150"/>
                    </a:lnTo>
                    <a:lnTo>
                      <a:pt x="648" y="150"/>
                    </a:lnTo>
                    <a:lnTo>
                      <a:pt x="648" y="148"/>
                    </a:lnTo>
                    <a:lnTo>
                      <a:pt x="648" y="146"/>
                    </a:lnTo>
                    <a:lnTo>
                      <a:pt x="648" y="148"/>
                    </a:lnTo>
                    <a:lnTo>
                      <a:pt x="646" y="148"/>
                    </a:lnTo>
                    <a:lnTo>
                      <a:pt x="646" y="150"/>
                    </a:lnTo>
                    <a:lnTo>
                      <a:pt x="646" y="152"/>
                    </a:lnTo>
                    <a:lnTo>
                      <a:pt x="644" y="152"/>
                    </a:lnTo>
                    <a:lnTo>
                      <a:pt x="644" y="154"/>
                    </a:lnTo>
                    <a:lnTo>
                      <a:pt x="644" y="155"/>
                    </a:lnTo>
                    <a:lnTo>
                      <a:pt x="644" y="154"/>
                    </a:lnTo>
                    <a:lnTo>
                      <a:pt x="644" y="155"/>
                    </a:lnTo>
                    <a:lnTo>
                      <a:pt x="642" y="157"/>
                    </a:lnTo>
                    <a:lnTo>
                      <a:pt x="642" y="155"/>
                    </a:lnTo>
                    <a:lnTo>
                      <a:pt x="642" y="157"/>
                    </a:lnTo>
                    <a:lnTo>
                      <a:pt x="640" y="157"/>
                    </a:lnTo>
                    <a:lnTo>
                      <a:pt x="640" y="155"/>
                    </a:lnTo>
                    <a:lnTo>
                      <a:pt x="642" y="155"/>
                    </a:lnTo>
                    <a:lnTo>
                      <a:pt x="640" y="155"/>
                    </a:lnTo>
                    <a:lnTo>
                      <a:pt x="640" y="157"/>
                    </a:lnTo>
                    <a:lnTo>
                      <a:pt x="638" y="157"/>
                    </a:lnTo>
                    <a:lnTo>
                      <a:pt x="638" y="155"/>
                    </a:lnTo>
                    <a:lnTo>
                      <a:pt x="638" y="154"/>
                    </a:lnTo>
                    <a:lnTo>
                      <a:pt x="638" y="152"/>
                    </a:lnTo>
                    <a:lnTo>
                      <a:pt x="638" y="150"/>
                    </a:lnTo>
                    <a:lnTo>
                      <a:pt x="638" y="152"/>
                    </a:lnTo>
                    <a:lnTo>
                      <a:pt x="638" y="154"/>
                    </a:lnTo>
                    <a:lnTo>
                      <a:pt x="636" y="154"/>
                    </a:lnTo>
                    <a:lnTo>
                      <a:pt x="636" y="152"/>
                    </a:lnTo>
                    <a:lnTo>
                      <a:pt x="636" y="154"/>
                    </a:lnTo>
                    <a:lnTo>
                      <a:pt x="638" y="154"/>
                    </a:lnTo>
                    <a:lnTo>
                      <a:pt x="636" y="154"/>
                    </a:lnTo>
                    <a:lnTo>
                      <a:pt x="636" y="155"/>
                    </a:lnTo>
                    <a:lnTo>
                      <a:pt x="634" y="155"/>
                    </a:lnTo>
                    <a:lnTo>
                      <a:pt x="636" y="155"/>
                    </a:lnTo>
                    <a:lnTo>
                      <a:pt x="636" y="157"/>
                    </a:lnTo>
                    <a:lnTo>
                      <a:pt x="636" y="159"/>
                    </a:lnTo>
                    <a:lnTo>
                      <a:pt x="634" y="159"/>
                    </a:lnTo>
                    <a:lnTo>
                      <a:pt x="634" y="157"/>
                    </a:lnTo>
                    <a:lnTo>
                      <a:pt x="633" y="157"/>
                    </a:lnTo>
                    <a:lnTo>
                      <a:pt x="631" y="157"/>
                    </a:lnTo>
                    <a:lnTo>
                      <a:pt x="631" y="155"/>
                    </a:lnTo>
                    <a:lnTo>
                      <a:pt x="629" y="155"/>
                    </a:lnTo>
                    <a:lnTo>
                      <a:pt x="627" y="155"/>
                    </a:lnTo>
                    <a:lnTo>
                      <a:pt x="627" y="154"/>
                    </a:lnTo>
                    <a:lnTo>
                      <a:pt x="627" y="152"/>
                    </a:lnTo>
                    <a:lnTo>
                      <a:pt x="625" y="152"/>
                    </a:lnTo>
                    <a:lnTo>
                      <a:pt x="625" y="150"/>
                    </a:lnTo>
                    <a:lnTo>
                      <a:pt x="623" y="150"/>
                    </a:lnTo>
                    <a:lnTo>
                      <a:pt x="625" y="148"/>
                    </a:lnTo>
                    <a:lnTo>
                      <a:pt x="623" y="148"/>
                    </a:lnTo>
                    <a:lnTo>
                      <a:pt x="625" y="148"/>
                    </a:lnTo>
                    <a:lnTo>
                      <a:pt x="623" y="148"/>
                    </a:lnTo>
                    <a:lnTo>
                      <a:pt x="623" y="146"/>
                    </a:lnTo>
                    <a:lnTo>
                      <a:pt x="625" y="146"/>
                    </a:lnTo>
                    <a:lnTo>
                      <a:pt x="625" y="144"/>
                    </a:lnTo>
                    <a:lnTo>
                      <a:pt x="625" y="142"/>
                    </a:lnTo>
                    <a:lnTo>
                      <a:pt x="625" y="140"/>
                    </a:lnTo>
                    <a:lnTo>
                      <a:pt x="627" y="140"/>
                    </a:lnTo>
                    <a:lnTo>
                      <a:pt x="627" y="138"/>
                    </a:lnTo>
                    <a:lnTo>
                      <a:pt x="625" y="138"/>
                    </a:lnTo>
                    <a:lnTo>
                      <a:pt x="625" y="136"/>
                    </a:lnTo>
                    <a:lnTo>
                      <a:pt x="627" y="136"/>
                    </a:lnTo>
                    <a:lnTo>
                      <a:pt x="625" y="134"/>
                    </a:lnTo>
                    <a:lnTo>
                      <a:pt x="627" y="134"/>
                    </a:lnTo>
                    <a:lnTo>
                      <a:pt x="627" y="132"/>
                    </a:lnTo>
                    <a:lnTo>
                      <a:pt x="627" y="131"/>
                    </a:lnTo>
                    <a:lnTo>
                      <a:pt x="629" y="131"/>
                    </a:lnTo>
                    <a:lnTo>
                      <a:pt x="631" y="129"/>
                    </a:lnTo>
                    <a:lnTo>
                      <a:pt x="631" y="127"/>
                    </a:lnTo>
                    <a:lnTo>
                      <a:pt x="633" y="127"/>
                    </a:lnTo>
                    <a:lnTo>
                      <a:pt x="633" y="125"/>
                    </a:lnTo>
                    <a:lnTo>
                      <a:pt x="634" y="125"/>
                    </a:lnTo>
                    <a:lnTo>
                      <a:pt x="634" y="123"/>
                    </a:lnTo>
                    <a:lnTo>
                      <a:pt x="636" y="123"/>
                    </a:lnTo>
                    <a:lnTo>
                      <a:pt x="636" y="121"/>
                    </a:lnTo>
                    <a:lnTo>
                      <a:pt x="638" y="121"/>
                    </a:lnTo>
                    <a:lnTo>
                      <a:pt x="640" y="121"/>
                    </a:lnTo>
                    <a:lnTo>
                      <a:pt x="642" y="121"/>
                    </a:lnTo>
                    <a:lnTo>
                      <a:pt x="644" y="121"/>
                    </a:lnTo>
                    <a:lnTo>
                      <a:pt x="644" y="123"/>
                    </a:lnTo>
                    <a:lnTo>
                      <a:pt x="642" y="123"/>
                    </a:lnTo>
                    <a:lnTo>
                      <a:pt x="644" y="123"/>
                    </a:lnTo>
                    <a:lnTo>
                      <a:pt x="644" y="125"/>
                    </a:lnTo>
                    <a:lnTo>
                      <a:pt x="642" y="125"/>
                    </a:lnTo>
                    <a:lnTo>
                      <a:pt x="644" y="125"/>
                    </a:lnTo>
                    <a:lnTo>
                      <a:pt x="644" y="123"/>
                    </a:lnTo>
                    <a:lnTo>
                      <a:pt x="644" y="125"/>
                    </a:lnTo>
                    <a:lnTo>
                      <a:pt x="646" y="125"/>
                    </a:lnTo>
                    <a:lnTo>
                      <a:pt x="644" y="125"/>
                    </a:lnTo>
                    <a:lnTo>
                      <a:pt x="644" y="127"/>
                    </a:lnTo>
                    <a:lnTo>
                      <a:pt x="646" y="127"/>
                    </a:lnTo>
                    <a:lnTo>
                      <a:pt x="644" y="127"/>
                    </a:lnTo>
                    <a:lnTo>
                      <a:pt x="646" y="127"/>
                    </a:lnTo>
                    <a:lnTo>
                      <a:pt x="648" y="127"/>
                    </a:lnTo>
                    <a:lnTo>
                      <a:pt x="648" y="125"/>
                    </a:lnTo>
                    <a:lnTo>
                      <a:pt x="650" y="125"/>
                    </a:lnTo>
                    <a:lnTo>
                      <a:pt x="650" y="127"/>
                    </a:lnTo>
                    <a:lnTo>
                      <a:pt x="648" y="127"/>
                    </a:lnTo>
                    <a:lnTo>
                      <a:pt x="648" y="129"/>
                    </a:lnTo>
                    <a:lnTo>
                      <a:pt x="648" y="127"/>
                    </a:lnTo>
                    <a:lnTo>
                      <a:pt x="650" y="127"/>
                    </a:lnTo>
                    <a:lnTo>
                      <a:pt x="650" y="129"/>
                    </a:lnTo>
                    <a:lnTo>
                      <a:pt x="650" y="127"/>
                    </a:lnTo>
                    <a:lnTo>
                      <a:pt x="650" y="129"/>
                    </a:lnTo>
                    <a:lnTo>
                      <a:pt x="650" y="131"/>
                    </a:lnTo>
                    <a:lnTo>
                      <a:pt x="652" y="131"/>
                    </a:lnTo>
                    <a:lnTo>
                      <a:pt x="650" y="131"/>
                    </a:lnTo>
                    <a:lnTo>
                      <a:pt x="652" y="131"/>
                    </a:lnTo>
                    <a:lnTo>
                      <a:pt x="654" y="131"/>
                    </a:lnTo>
                    <a:lnTo>
                      <a:pt x="652" y="131"/>
                    </a:lnTo>
                    <a:lnTo>
                      <a:pt x="654" y="131"/>
                    </a:lnTo>
                    <a:lnTo>
                      <a:pt x="652" y="131"/>
                    </a:lnTo>
                    <a:lnTo>
                      <a:pt x="654" y="131"/>
                    </a:lnTo>
                    <a:lnTo>
                      <a:pt x="654" y="132"/>
                    </a:lnTo>
                    <a:lnTo>
                      <a:pt x="652" y="132"/>
                    </a:lnTo>
                    <a:lnTo>
                      <a:pt x="654" y="132"/>
                    </a:lnTo>
                    <a:lnTo>
                      <a:pt x="654" y="131"/>
                    </a:lnTo>
                    <a:lnTo>
                      <a:pt x="654" y="129"/>
                    </a:lnTo>
                    <a:lnTo>
                      <a:pt x="654" y="127"/>
                    </a:lnTo>
                    <a:lnTo>
                      <a:pt x="656" y="127"/>
                    </a:lnTo>
                    <a:lnTo>
                      <a:pt x="656" y="125"/>
                    </a:lnTo>
                    <a:lnTo>
                      <a:pt x="656" y="127"/>
                    </a:lnTo>
                    <a:lnTo>
                      <a:pt x="656" y="125"/>
                    </a:lnTo>
                    <a:lnTo>
                      <a:pt x="656" y="127"/>
                    </a:lnTo>
                    <a:lnTo>
                      <a:pt x="656" y="129"/>
                    </a:lnTo>
                    <a:lnTo>
                      <a:pt x="656" y="127"/>
                    </a:lnTo>
                    <a:lnTo>
                      <a:pt x="656" y="129"/>
                    </a:lnTo>
                    <a:lnTo>
                      <a:pt x="656" y="127"/>
                    </a:lnTo>
                    <a:lnTo>
                      <a:pt x="656" y="129"/>
                    </a:lnTo>
                    <a:lnTo>
                      <a:pt x="656" y="127"/>
                    </a:lnTo>
                    <a:lnTo>
                      <a:pt x="657" y="127"/>
                    </a:lnTo>
                    <a:lnTo>
                      <a:pt x="657" y="129"/>
                    </a:lnTo>
                    <a:lnTo>
                      <a:pt x="656" y="129"/>
                    </a:lnTo>
                    <a:lnTo>
                      <a:pt x="657" y="129"/>
                    </a:lnTo>
                    <a:lnTo>
                      <a:pt x="656" y="129"/>
                    </a:lnTo>
                    <a:lnTo>
                      <a:pt x="657" y="129"/>
                    </a:lnTo>
                    <a:lnTo>
                      <a:pt x="657" y="127"/>
                    </a:lnTo>
                    <a:lnTo>
                      <a:pt x="656" y="127"/>
                    </a:lnTo>
                    <a:lnTo>
                      <a:pt x="657" y="127"/>
                    </a:lnTo>
                    <a:lnTo>
                      <a:pt x="656" y="127"/>
                    </a:lnTo>
                    <a:lnTo>
                      <a:pt x="657" y="127"/>
                    </a:lnTo>
                    <a:lnTo>
                      <a:pt x="657" y="125"/>
                    </a:lnTo>
                    <a:lnTo>
                      <a:pt x="656" y="125"/>
                    </a:lnTo>
                    <a:lnTo>
                      <a:pt x="656" y="123"/>
                    </a:lnTo>
                    <a:lnTo>
                      <a:pt x="657" y="123"/>
                    </a:lnTo>
                    <a:lnTo>
                      <a:pt x="657" y="125"/>
                    </a:lnTo>
                    <a:lnTo>
                      <a:pt x="657" y="123"/>
                    </a:lnTo>
                    <a:lnTo>
                      <a:pt x="657" y="125"/>
                    </a:lnTo>
                    <a:lnTo>
                      <a:pt x="657" y="123"/>
                    </a:lnTo>
                    <a:lnTo>
                      <a:pt x="659" y="123"/>
                    </a:lnTo>
                    <a:lnTo>
                      <a:pt x="657" y="123"/>
                    </a:lnTo>
                    <a:lnTo>
                      <a:pt x="659" y="123"/>
                    </a:lnTo>
                    <a:lnTo>
                      <a:pt x="657" y="123"/>
                    </a:lnTo>
                    <a:lnTo>
                      <a:pt x="659" y="123"/>
                    </a:lnTo>
                    <a:lnTo>
                      <a:pt x="659" y="121"/>
                    </a:lnTo>
                    <a:lnTo>
                      <a:pt x="659" y="123"/>
                    </a:lnTo>
                    <a:lnTo>
                      <a:pt x="659" y="121"/>
                    </a:lnTo>
                    <a:lnTo>
                      <a:pt x="657" y="121"/>
                    </a:lnTo>
                    <a:lnTo>
                      <a:pt x="657" y="119"/>
                    </a:lnTo>
                    <a:lnTo>
                      <a:pt x="659" y="121"/>
                    </a:lnTo>
                    <a:lnTo>
                      <a:pt x="657" y="121"/>
                    </a:lnTo>
                    <a:lnTo>
                      <a:pt x="659" y="121"/>
                    </a:lnTo>
                    <a:lnTo>
                      <a:pt x="659" y="123"/>
                    </a:lnTo>
                    <a:lnTo>
                      <a:pt x="661" y="123"/>
                    </a:lnTo>
                    <a:lnTo>
                      <a:pt x="661" y="121"/>
                    </a:lnTo>
                    <a:lnTo>
                      <a:pt x="663" y="121"/>
                    </a:lnTo>
                    <a:lnTo>
                      <a:pt x="665" y="121"/>
                    </a:lnTo>
                    <a:lnTo>
                      <a:pt x="665" y="119"/>
                    </a:lnTo>
                    <a:lnTo>
                      <a:pt x="663" y="119"/>
                    </a:lnTo>
                    <a:lnTo>
                      <a:pt x="663" y="117"/>
                    </a:lnTo>
                    <a:lnTo>
                      <a:pt x="663" y="119"/>
                    </a:lnTo>
                    <a:lnTo>
                      <a:pt x="663" y="117"/>
                    </a:lnTo>
                    <a:lnTo>
                      <a:pt x="663" y="119"/>
                    </a:lnTo>
                    <a:lnTo>
                      <a:pt x="663" y="117"/>
                    </a:lnTo>
                    <a:lnTo>
                      <a:pt x="665" y="117"/>
                    </a:lnTo>
                    <a:lnTo>
                      <a:pt x="663" y="119"/>
                    </a:lnTo>
                    <a:lnTo>
                      <a:pt x="665" y="119"/>
                    </a:lnTo>
                    <a:lnTo>
                      <a:pt x="665" y="121"/>
                    </a:lnTo>
                    <a:lnTo>
                      <a:pt x="665" y="119"/>
                    </a:lnTo>
                    <a:lnTo>
                      <a:pt x="665" y="121"/>
                    </a:lnTo>
                    <a:lnTo>
                      <a:pt x="665" y="119"/>
                    </a:lnTo>
                    <a:lnTo>
                      <a:pt x="665" y="121"/>
                    </a:lnTo>
                    <a:lnTo>
                      <a:pt x="667" y="121"/>
                    </a:lnTo>
                    <a:lnTo>
                      <a:pt x="669" y="121"/>
                    </a:lnTo>
                    <a:lnTo>
                      <a:pt x="667" y="121"/>
                    </a:lnTo>
                    <a:lnTo>
                      <a:pt x="667" y="119"/>
                    </a:lnTo>
                    <a:lnTo>
                      <a:pt x="665" y="121"/>
                    </a:lnTo>
                    <a:lnTo>
                      <a:pt x="665" y="119"/>
                    </a:lnTo>
                    <a:lnTo>
                      <a:pt x="665" y="117"/>
                    </a:lnTo>
                    <a:lnTo>
                      <a:pt x="667" y="117"/>
                    </a:lnTo>
                    <a:lnTo>
                      <a:pt x="667" y="115"/>
                    </a:lnTo>
                    <a:lnTo>
                      <a:pt x="669" y="115"/>
                    </a:lnTo>
                    <a:lnTo>
                      <a:pt x="667" y="115"/>
                    </a:lnTo>
                    <a:lnTo>
                      <a:pt x="669" y="115"/>
                    </a:lnTo>
                    <a:lnTo>
                      <a:pt x="669" y="113"/>
                    </a:lnTo>
                    <a:lnTo>
                      <a:pt x="667" y="115"/>
                    </a:lnTo>
                    <a:lnTo>
                      <a:pt x="667" y="113"/>
                    </a:lnTo>
                    <a:lnTo>
                      <a:pt x="669" y="113"/>
                    </a:lnTo>
                    <a:lnTo>
                      <a:pt x="667" y="113"/>
                    </a:lnTo>
                    <a:lnTo>
                      <a:pt x="669" y="113"/>
                    </a:lnTo>
                    <a:lnTo>
                      <a:pt x="669" y="111"/>
                    </a:lnTo>
                    <a:lnTo>
                      <a:pt x="669" y="113"/>
                    </a:lnTo>
                    <a:lnTo>
                      <a:pt x="671" y="113"/>
                    </a:lnTo>
                    <a:lnTo>
                      <a:pt x="669" y="113"/>
                    </a:lnTo>
                    <a:lnTo>
                      <a:pt x="671" y="113"/>
                    </a:lnTo>
                    <a:lnTo>
                      <a:pt x="673" y="113"/>
                    </a:lnTo>
                    <a:lnTo>
                      <a:pt x="671" y="113"/>
                    </a:lnTo>
                    <a:lnTo>
                      <a:pt x="671" y="111"/>
                    </a:lnTo>
                    <a:lnTo>
                      <a:pt x="673" y="111"/>
                    </a:lnTo>
                    <a:lnTo>
                      <a:pt x="675" y="111"/>
                    </a:lnTo>
                    <a:lnTo>
                      <a:pt x="673" y="109"/>
                    </a:lnTo>
                    <a:lnTo>
                      <a:pt x="675" y="109"/>
                    </a:lnTo>
                    <a:lnTo>
                      <a:pt x="675" y="111"/>
                    </a:lnTo>
                    <a:lnTo>
                      <a:pt x="675" y="109"/>
                    </a:lnTo>
                    <a:lnTo>
                      <a:pt x="675" y="111"/>
                    </a:lnTo>
                    <a:lnTo>
                      <a:pt x="675" y="109"/>
                    </a:lnTo>
                    <a:lnTo>
                      <a:pt x="675" y="111"/>
                    </a:lnTo>
                    <a:lnTo>
                      <a:pt x="675" y="109"/>
                    </a:lnTo>
                    <a:lnTo>
                      <a:pt x="677" y="109"/>
                    </a:lnTo>
                    <a:lnTo>
                      <a:pt x="677" y="111"/>
                    </a:lnTo>
                    <a:lnTo>
                      <a:pt x="679" y="111"/>
                    </a:lnTo>
                    <a:lnTo>
                      <a:pt x="679" y="113"/>
                    </a:lnTo>
                    <a:lnTo>
                      <a:pt x="681" y="113"/>
                    </a:lnTo>
                    <a:lnTo>
                      <a:pt x="682" y="115"/>
                    </a:lnTo>
                    <a:lnTo>
                      <a:pt x="682" y="113"/>
                    </a:lnTo>
                    <a:lnTo>
                      <a:pt x="682" y="115"/>
                    </a:lnTo>
                    <a:lnTo>
                      <a:pt x="682" y="113"/>
                    </a:lnTo>
                    <a:lnTo>
                      <a:pt x="681" y="113"/>
                    </a:lnTo>
                    <a:lnTo>
                      <a:pt x="681" y="111"/>
                    </a:lnTo>
                    <a:lnTo>
                      <a:pt x="679" y="111"/>
                    </a:lnTo>
                    <a:lnTo>
                      <a:pt x="679" y="109"/>
                    </a:lnTo>
                    <a:lnTo>
                      <a:pt x="677" y="109"/>
                    </a:lnTo>
                    <a:lnTo>
                      <a:pt x="675" y="109"/>
                    </a:lnTo>
                    <a:lnTo>
                      <a:pt x="673" y="109"/>
                    </a:lnTo>
                    <a:lnTo>
                      <a:pt x="671" y="109"/>
                    </a:lnTo>
                    <a:lnTo>
                      <a:pt x="669" y="109"/>
                    </a:lnTo>
                    <a:lnTo>
                      <a:pt x="671" y="109"/>
                    </a:lnTo>
                    <a:lnTo>
                      <a:pt x="671" y="107"/>
                    </a:lnTo>
                    <a:lnTo>
                      <a:pt x="673" y="107"/>
                    </a:lnTo>
                    <a:lnTo>
                      <a:pt x="673" y="106"/>
                    </a:lnTo>
                    <a:lnTo>
                      <a:pt x="673" y="107"/>
                    </a:lnTo>
                    <a:lnTo>
                      <a:pt x="673" y="106"/>
                    </a:lnTo>
                    <a:lnTo>
                      <a:pt x="671" y="106"/>
                    </a:lnTo>
                    <a:lnTo>
                      <a:pt x="671" y="107"/>
                    </a:lnTo>
                    <a:lnTo>
                      <a:pt x="671" y="106"/>
                    </a:lnTo>
                    <a:lnTo>
                      <a:pt x="673" y="106"/>
                    </a:lnTo>
                    <a:lnTo>
                      <a:pt x="675" y="106"/>
                    </a:lnTo>
                    <a:lnTo>
                      <a:pt x="677" y="106"/>
                    </a:lnTo>
                    <a:lnTo>
                      <a:pt x="679" y="106"/>
                    </a:lnTo>
                    <a:lnTo>
                      <a:pt x="679" y="107"/>
                    </a:lnTo>
                    <a:lnTo>
                      <a:pt x="679" y="106"/>
                    </a:lnTo>
                    <a:lnTo>
                      <a:pt x="679" y="107"/>
                    </a:lnTo>
                    <a:lnTo>
                      <a:pt x="681" y="107"/>
                    </a:lnTo>
                    <a:lnTo>
                      <a:pt x="681" y="109"/>
                    </a:lnTo>
                    <a:lnTo>
                      <a:pt x="682" y="109"/>
                    </a:lnTo>
                    <a:lnTo>
                      <a:pt x="681" y="109"/>
                    </a:lnTo>
                    <a:lnTo>
                      <a:pt x="682" y="109"/>
                    </a:lnTo>
                    <a:lnTo>
                      <a:pt x="681" y="107"/>
                    </a:lnTo>
                    <a:lnTo>
                      <a:pt x="681" y="106"/>
                    </a:lnTo>
                    <a:lnTo>
                      <a:pt x="679" y="106"/>
                    </a:lnTo>
                    <a:lnTo>
                      <a:pt x="677" y="106"/>
                    </a:lnTo>
                    <a:lnTo>
                      <a:pt x="675" y="106"/>
                    </a:lnTo>
                    <a:lnTo>
                      <a:pt x="675" y="104"/>
                    </a:lnTo>
                    <a:lnTo>
                      <a:pt x="675" y="106"/>
                    </a:lnTo>
                    <a:lnTo>
                      <a:pt x="673" y="106"/>
                    </a:lnTo>
                    <a:lnTo>
                      <a:pt x="673" y="104"/>
                    </a:lnTo>
                    <a:lnTo>
                      <a:pt x="671" y="104"/>
                    </a:lnTo>
                    <a:lnTo>
                      <a:pt x="671" y="102"/>
                    </a:lnTo>
                    <a:lnTo>
                      <a:pt x="671" y="104"/>
                    </a:lnTo>
                    <a:lnTo>
                      <a:pt x="671" y="102"/>
                    </a:lnTo>
                    <a:lnTo>
                      <a:pt x="669" y="102"/>
                    </a:lnTo>
                    <a:lnTo>
                      <a:pt x="669" y="100"/>
                    </a:lnTo>
                    <a:lnTo>
                      <a:pt x="669" y="98"/>
                    </a:lnTo>
                    <a:lnTo>
                      <a:pt x="667" y="98"/>
                    </a:lnTo>
                    <a:lnTo>
                      <a:pt x="669" y="98"/>
                    </a:lnTo>
                    <a:lnTo>
                      <a:pt x="667" y="98"/>
                    </a:lnTo>
                    <a:lnTo>
                      <a:pt x="669" y="98"/>
                    </a:lnTo>
                    <a:lnTo>
                      <a:pt x="669" y="96"/>
                    </a:lnTo>
                    <a:lnTo>
                      <a:pt x="671" y="96"/>
                    </a:lnTo>
                    <a:lnTo>
                      <a:pt x="671" y="94"/>
                    </a:lnTo>
                    <a:lnTo>
                      <a:pt x="673" y="94"/>
                    </a:lnTo>
                    <a:lnTo>
                      <a:pt x="675" y="94"/>
                    </a:lnTo>
                    <a:lnTo>
                      <a:pt x="677" y="94"/>
                    </a:lnTo>
                    <a:lnTo>
                      <a:pt x="677" y="92"/>
                    </a:lnTo>
                    <a:lnTo>
                      <a:pt x="677" y="94"/>
                    </a:lnTo>
                    <a:lnTo>
                      <a:pt x="679" y="94"/>
                    </a:lnTo>
                    <a:lnTo>
                      <a:pt x="681" y="94"/>
                    </a:lnTo>
                    <a:lnTo>
                      <a:pt x="682" y="94"/>
                    </a:lnTo>
                    <a:lnTo>
                      <a:pt x="684" y="94"/>
                    </a:lnTo>
                    <a:lnTo>
                      <a:pt x="684" y="96"/>
                    </a:lnTo>
                    <a:lnTo>
                      <a:pt x="686" y="96"/>
                    </a:lnTo>
                    <a:lnTo>
                      <a:pt x="686" y="98"/>
                    </a:lnTo>
                    <a:lnTo>
                      <a:pt x="688" y="98"/>
                    </a:lnTo>
                    <a:lnTo>
                      <a:pt x="690" y="100"/>
                    </a:lnTo>
                    <a:lnTo>
                      <a:pt x="692" y="100"/>
                    </a:lnTo>
                    <a:lnTo>
                      <a:pt x="692" y="102"/>
                    </a:lnTo>
                    <a:lnTo>
                      <a:pt x="692" y="100"/>
                    </a:lnTo>
                    <a:lnTo>
                      <a:pt x="692" y="102"/>
                    </a:lnTo>
                    <a:lnTo>
                      <a:pt x="692" y="100"/>
                    </a:lnTo>
                    <a:lnTo>
                      <a:pt x="694" y="100"/>
                    </a:lnTo>
                    <a:lnTo>
                      <a:pt x="696" y="100"/>
                    </a:lnTo>
                    <a:lnTo>
                      <a:pt x="694" y="100"/>
                    </a:lnTo>
                    <a:lnTo>
                      <a:pt x="692" y="100"/>
                    </a:lnTo>
                    <a:lnTo>
                      <a:pt x="690" y="98"/>
                    </a:lnTo>
                    <a:lnTo>
                      <a:pt x="692" y="98"/>
                    </a:lnTo>
                    <a:lnTo>
                      <a:pt x="692" y="96"/>
                    </a:lnTo>
                    <a:lnTo>
                      <a:pt x="690" y="96"/>
                    </a:lnTo>
                    <a:lnTo>
                      <a:pt x="688" y="96"/>
                    </a:lnTo>
                    <a:lnTo>
                      <a:pt x="686" y="96"/>
                    </a:lnTo>
                    <a:lnTo>
                      <a:pt x="686" y="94"/>
                    </a:lnTo>
                    <a:lnTo>
                      <a:pt x="686" y="92"/>
                    </a:lnTo>
                    <a:lnTo>
                      <a:pt x="688" y="90"/>
                    </a:lnTo>
                    <a:lnTo>
                      <a:pt x="688" y="92"/>
                    </a:lnTo>
                    <a:lnTo>
                      <a:pt x="688" y="90"/>
                    </a:lnTo>
                    <a:lnTo>
                      <a:pt x="690" y="92"/>
                    </a:lnTo>
                    <a:lnTo>
                      <a:pt x="690" y="90"/>
                    </a:lnTo>
                    <a:lnTo>
                      <a:pt x="690" y="92"/>
                    </a:lnTo>
                    <a:lnTo>
                      <a:pt x="692" y="92"/>
                    </a:lnTo>
                    <a:lnTo>
                      <a:pt x="692" y="94"/>
                    </a:lnTo>
                    <a:lnTo>
                      <a:pt x="694" y="94"/>
                    </a:lnTo>
                    <a:lnTo>
                      <a:pt x="694" y="92"/>
                    </a:lnTo>
                    <a:lnTo>
                      <a:pt x="694" y="94"/>
                    </a:lnTo>
                    <a:lnTo>
                      <a:pt x="694" y="92"/>
                    </a:lnTo>
                    <a:lnTo>
                      <a:pt x="692" y="92"/>
                    </a:lnTo>
                    <a:lnTo>
                      <a:pt x="692" y="90"/>
                    </a:lnTo>
                    <a:lnTo>
                      <a:pt x="692" y="88"/>
                    </a:lnTo>
                    <a:lnTo>
                      <a:pt x="690" y="88"/>
                    </a:lnTo>
                    <a:lnTo>
                      <a:pt x="692" y="86"/>
                    </a:lnTo>
                    <a:lnTo>
                      <a:pt x="690" y="86"/>
                    </a:lnTo>
                    <a:lnTo>
                      <a:pt x="692" y="86"/>
                    </a:lnTo>
                    <a:lnTo>
                      <a:pt x="692" y="84"/>
                    </a:lnTo>
                    <a:lnTo>
                      <a:pt x="694" y="84"/>
                    </a:lnTo>
                    <a:lnTo>
                      <a:pt x="696" y="84"/>
                    </a:lnTo>
                    <a:lnTo>
                      <a:pt x="696" y="82"/>
                    </a:lnTo>
                    <a:lnTo>
                      <a:pt x="696" y="84"/>
                    </a:lnTo>
                    <a:lnTo>
                      <a:pt x="696" y="82"/>
                    </a:lnTo>
                    <a:lnTo>
                      <a:pt x="696" y="84"/>
                    </a:lnTo>
                    <a:lnTo>
                      <a:pt x="696" y="82"/>
                    </a:lnTo>
                    <a:lnTo>
                      <a:pt x="696" y="84"/>
                    </a:lnTo>
                    <a:lnTo>
                      <a:pt x="696" y="82"/>
                    </a:lnTo>
                    <a:lnTo>
                      <a:pt x="698" y="82"/>
                    </a:lnTo>
                    <a:lnTo>
                      <a:pt x="700" y="82"/>
                    </a:lnTo>
                    <a:lnTo>
                      <a:pt x="702" y="82"/>
                    </a:lnTo>
                    <a:lnTo>
                      <a:pt x="700" y="82"/>
                    </a:lnTo>
                    <a:lnTo>
                      <a:pt x="702" y="82"/>
                    </a:lnTo>
                    <a:lnTo>
                      <a:pt x="702" y="84"/>
                    </a:lnTo>
                    <a:lnTo>
                      <a:pt x="704" y="84"/>
                    </a:lnTo>
                    <a:lnTo>
                      <a:pt x="706" y="82"/>
                    </a:lnTo>
                    <a:lnTo>
                      <a:pt x="707" y="82"/>
                    </a:lnTo>
                    <a:lnTo>
                      <a:pt x="709" y="82"/>
                    </a:lnTo>
                    <a:lnTo>
                      <a:pt x="709" y="84"/>
                    </a:lnTo>
                    <a:lnTo>
                      <a:pt x="711" y="84"/>
                    </a:lnTo>
                    <a:lnTo>
                      <a:pt x="709" y="84"/>
                    </a:lnTo>
                    <a:lnTo>
                      <a:pt x="711" y="84"/>
                    </a:lnTo>
                    <a:lnTo>
                      <a:pt x="713" y="84"/>
                    </a:lnTo>
                    <a:lnTo>
                      <a:pt x="711" y="84"/>
                    </a:lnTo>
                    <a:lnTo>
                      <a:pt x="711" y="86"/>
                    </a:lnTo>
                    <a:lnTo>
                      <a:pt x="713" y="86"/>
                    </a:lnTo>
                    <a:lnTo>
                      <a:pt x="715" y="86"/>
                    </a:lnTo>
                    <a:lnTo>
                      <a:pt x="715" y="88"/>
                    </a:lnTo>
                    <a:lnTo>
                      <a:pt x="717" y="88"/>
                    </a:lnTo>
                    <a:lnTo>
                      <a:pt x="719" y="88"/>
                    </a:lnTo>
                    <a:lnTo>
                      <a:pt x="719" y="86"/>
                    </a:lnTo>
                    <a:lnTo>
                      <a:pt x="719" y="88"/>
                    </a:lnTo>
                    <a:lnTo>
                      <a:pt x="721" y="88"/>
                    </a:lnTo>
                    <a:lnTo>
                      <a:pt x="719" y="88"/>
                    </a:lnTo>
                    <a:lnTo>
                      <a:pt x="721" y="88"/>
                    </a:lnTo>
                    <a:lnTo>
                      <a:pt x="721" y="90"/>
                    </a:lnTo>
                    <a:lnTo>
                      <a:pt x="721" y="88"/>
                    </a:lnTo>
                    <a:lnTo>
                      <a:pt x="721" y="90"/>
                    </a:lnTo>
                    <a:lnTo>
                      <a:pt x="723" y="90"/>
                    </a:lnTo>
                    <a:lnTo>
                      <a:pt x="721" y="90"/>
                    </a:lnTo>
                    <a:lnTo>
                      <a:pt x="721" y="88"/>
                    </a:lnTo>
                    <a:lnTo>
                      <a:pt x="721" y="86"/>
                    </a:lnTo>
                    <a:lnTo>
                      <a:pt x="721" y="88"/>
                    </a:lnTo>
                    <a:lnTo>
                      <a:pt x="721" y="86"/>
                    </a:lnTo>
                    <a:lnTo>
                      <a:pt x="723" y="86"/>
                    </a:lnTo>
                    <a:lnTo>
                      <a:pt x="725" y="86"/>
                    </a:lnTo>
                    <a:lnTo>
                      <a:pt x="727" y="86"/>
                    </a:lnTo>
                    <a:lnTo>
                      <a:pt x="729" y="86"/>
                    </a:lnTo>
                    <a:lnTo>
                      <a:pt x="729" y="88"/>
                    </a:lnTo>
                    <a:lnTo>
                      <a:pt x="729" y="86"/>
                    </a:lnTo>
                    <a:lnTo>
                      <a:pt x="727" y="86"/>
                    </a:lnTo>
                    <a:lnTo>
                      <a:pt x="729" y="86"/>
                    </a:lnTo>
                    <a:lnTo>
                      <a:pt x="730" y="86"/>
                    </a:lnTo>
                    <a:lnTo>
                      <a:pt x="732" y="86"/>
                    </a:lnTo>
                    <a:lnTo>
                      <a:pt x="734" y="86"/>
                    </a:lnTo>
                    <a:lnTo>
                      <a:pt x="734" y="88"/>
                    </a:lnTo>
                    <a:lnTo>
                      <a:pt x="736" y="88"/>
                    </a:lnTo>
                    <a:lnTo>
                      <a:pt x="736" y="90"/>
                    </a:lnTo>
                    <a:lnTo>
                      <a:pt x="738" y="90"/>
                    </a:lnTo>
                    <a:lnTo>
                      <a:pt x="738" y="92"/>
                    </a:lnTo>
                    <a:lnTo>
                      <a:pt x="738" y="94"/>
                    </a:lnTo>
                    <a:lnTo>
                      <a:pt x="740" y="94"/>
                    </a:lnTo>
                    <a:lnTo>
                      <a:pt x="740" y="96"/>
                    </a:lnTo>
                    <a:lnTo>
                      <a:pt x="742" y="96"/>
                    </a:lnTo>
                    <a:lnTo>
                      <a:pt x="744" y="96"/>
                    </a:lnTo>
                    <a:lnTo>
                      <a:pt x="744" y="98"/>
                    </a:lnTo>
                    <a:lnTo>
                      <a:pt x="746" y="98"/>
                    </a:lnTo>
                    <a:lnTo>
                      <a:pt x="748" y="98"/>
                    </a:lnTo>
                    <a:lnTo>
                      <a:pt x="748" y="100"/>
                    </a:lnTo>
                    <a:lnTo>
                      <a:pt x="748" y="102"/>
                    </a:lnTo>
                    <a:lnTo>
                      <a:pt x="750" y="102"/>
                    </a:lnTo>
                    <a:lnTo>
                      <a:pt x="752" y="102"/>
                    </a:lnTo>
                    <a:lnTo>
                      <a:pt x="750" y="102"/>
                    </a:lnTo>
                    <a:lnTo>
                      <a:pt x="752" y="102"/>
                    </a:lnTo>
                    <a:lnTo>
                      <a:pt x="752" y="104"/>
                    </a:lnTo>
                    <a:lnTo>
                      <a:pt x="750" y="104"/>
                    </a:lnTo>
                    <a:lnTo>
                      <a:pt x="752" y="104"/>
                    </a:lnTo>
                    <a:lnTo>
                      <a:pt x="754" y="106"/>
                    </a:lnTo>
                    <a:lnTo>
                      <a:pt x="755" y="106"/>
                    </a:lnTo>
                    <a:lnTo>
                      <a:pt x="755" y="107"/>
                    </a:lnTo>
                    <a:lnTo>
                      <a:pt x="757" y="107"/>
                    </a:lnTo>
                    <a:lnTo>
                      <a:pt x="759" y="109"/>
                    </a:lnTo>
                    <a:lnTo>
                      <a:pt x="759" y="111"/>
                    </a:lnTo>
                    <a:lnTo>
                      <a:pt x="759" y="113"/>
                    </a:lnTo>
                    <a:lnTo>
                      <a:pt x="759" y="115"/>
                    </a:lnTo>
                    <a:lnTo>
                      <a:pt x="757" y="115"/>
                    </a:lnTo>
                    <a:lnTo>
                      <a:pt x="755" y="115"/>
                    </a:lnTo>
                    <a:lnTo>
                      <a:pt x="755" y="113"/>
                    </a:lnTo>
                    <a:lnTo>
                      <a:pt x="755" y="115"/>
                    </a:lnTo>
                    <a:lnTo>
                      <a:pt x="755" y="113"/>
                    </a:lnTo>
                    <a:lnTo>
                      <a:pt x="755" y="115"/>
                    </a:lnTo>
                    <a:lnTo>
                      <a:pt x="755" y="113"/>
                    </a:lnTo>
                    <a:lnTo>
                      <a:pt x="754" y="115"/>
                    </a:lnTo>
                    <a:lnTo>
                      <a:pt x="754" y="113"/>
                    </a:lnTo>
                    <a:lnTo>
                      <a:pt x="754" y="115"/>
                    </a:lnTo>
                    <a:lnTo>
                      <a:pt x="754" y="113"/>
                    </a:lnTo>
                    <a:lnTo>
                      <a:pt x="754" y="115"/>
                    </a:lnTo>
                    <a:lnTo>
                      <a:pt x="754" y="113"/>
                    </a:lnTo>
                    <a:lnTo>
                      <a:pt x="752" y="113"/>
                    </a:lnTo>
                    <a:lnTo>
                      <a:pt x="750" y="113"/>
                    </a:lnTo>
                    <a:lnTo>
                      <a:pt x="752" y="113"/>
                    </a:lnTo>
                    <a:lnTo>
                      <a:pt x="750" y="113"/>
                    </a:lnTo>
                    <a:lnTo>
                      <a:pt x="752" y="113"/>
                    </a:lnTo>
                    <a:lnTo>
                      <a:pt x="750" y="113"/>
                    </a:lnTo>
                    <a:lnTo>
                      <a:pt x="748" y="113"/>
                    </a:lnTo>
                    <a:lnTo>
                      <a:pt x="746" y="113"/>
                    </a:lnTo>
                    <a:lnTo>
                      <a:pt x="746" y="111"/>
                    </a:lnTo>
                    <a:lnTo>
                      <a:pt x="746" y="113"/>
                    </a:lnTo>
                    <a:lnTo>
                      <a:pt x="746" y="111"/>
                    </a:lnTo>
                    <a:lnTo>
                      <a:pt x="746" y="113"/>
                    </a:lnTo>
                    <a:lnTo>
                      <a:pt x="746" y="111"/>
                    </a:lnTo>
                    <a:lnTo>
                      <a:pt x="746" y="113"/>
                    </a:lnTo>
                    <a:lnTo>
                      <a:pt x="746" y="111"/>
                    </a:lnTo>
                    <a:lnTo>
                      <a:pt x="744" y="111"/>
                    </a:lnTo>
                    <a:lnTo>
                      <a:pt x="744" y="113"/>
                    </a:lnTo>
                    <a:lnTo>
                      <a:pt x="744" y="111"/>
                    </a:lnTo>
                    <a:lnTo>
                      <a:pt x="744" y="113"/>
                    </a:lnTo>
                    <a:lnTo>
                      <a:pt x="744" y="111"/>
                    </a:lnTo>
                    <a:lnTo>
                      <a:pt x="744" y="113"/>
                    </a:lnTo>
                    <a:lnTo>
                      <a:pt x="744" y="111"/>
                    </a:lnTo>
                    <a:lnTo>
                      <a:pt x="744" y="113"/>
                    </a:lnTo>
                    <a:lnTo>
                      <a:pt x="744" y="111"/>
                    </a:lnTo>
                    <a:lnTo>
                      <a:pt x="744" y="113"/>
                    </a:lnTo>
                    <a:lnTo>
                      <a:pt x="744" y="111"/>
                    </a:lnTo>
                    <a:lnTo>
                      <a:pt x="744" y="113"/>
                    </a:lnTo>
                    <a:lnTo>
                      <a:pt x="744" y="111"/>
                    </a:lnTo>
                    <a:lnTo>
                      <a:pt x="744" y="113"/>
                    </a:lnTo>
                    <a:lnTo>
                      <a:pt x="746" y="113"/>
                    </a:lnTo>
                    <a:lnTo>
                      <a:pt x="748" y="113"/>
                    </a:lnTo>
                    <a:lnTo>
                      <a:pt x="750" y="115"/>
                    </a:lnTo>
                    <a:lnTo>
                      <a:pt x="752" y="115"/>
                    </a:lnTo>
                    <a:lnTo>
                      <a:pt x="754" y="115"/>
                    </a:lnTo>
                    <a:lnTo>
                      <a:pt x="754" y="117"/>
                    </a:lnTo>
                    <a:lnTo>
                      <a:pt x="755" y="117"/>
                    </a:lnTo>
                    <a:lnTo>
                      <a:pt x="755" y="119"/>
                    </a:lnTo>
                    <a:lnTo>
                      <a:pt x="754" y="119"/>
                    </a:lnTo>
                    <a:lnTo>
                      <a:pt x="752" y="119"/>
                    </a:lnTo>
                    <a:lnTo>
                      <a:pt x="750" y="119"/>
                    </a:lnTo>
                    <a:lnTo>
                      <a:pt x="750" y="117"/>
                    </a:lnTo>
                    <a:lnTo>
                      <a:pt x="750" y="119"/>
                    </a:lnTo>
                    <a:lnTo>
                      <a:pt x="750" y="117"/>
                    </a:lnTo>
                    <a:lnTo>
                      <a:pt x="748" y="117"/>
                    </a:lnTo>
                    <a:lnTo>
                      <a:pt x="746" y="117"/>
                    </a:lnTo>
                    <a:lnTo>
                      <a:pt x="744" y="117"/>
                    </a:lnTo>
                    <a:lnTo>
                      <a:pt x="742" y="117"/>
                    </a:lnTo>
                    <a:lnTo>
                      <a:pt x="740" y="115"/>
                    </a:lnTo>
                    <a:lnTo>
                      <a:pt x="740" y="117"/>
                    </a:lnTo>
                    <a:lnTo>
                      <a:pt x="740" y="115"/>
                    </a:lnTo>
                    <a:lnTo>
                      <a:pt x="738" y="115"/>
                    </a:lnTo>
                    <a:lnTo>
                      <a:pt x="736" y="115"/>
                    </a:lnTo>
                    <a:lnTo>
                      <a:pt x="738" y="115"/>
                    </a:lnTo>
                    <a:lnTo>
                      <a:pt x="736" y="115"/>
                    </a:lnTo>
                    <a:lnTo>
                      <a:pt x="738" y="115"/>
                    </a:lnTo>
                    <a:lnTo>
                      <a:pt x="736" y="115"/>
                    </a:lnTo>
                    <a:lnTo>
                      <a:pt x="738" y="115"/>
                    </a:lnTo>
                    <a:lnTo>
                      <a:pt x="736" y="115"/>
                    </a:lnTo>
                    <a:lnTo>
                      <a:pt x="738" y="115"/>
                    </a:lnTo>
                    <a:lnTo>
                      <a:pt x="738" y="117"/>
                    </a:lnTo>
                    <a:lnTo>
                      <a:pt x="738" y="115"/>
                    </a:lnTo>
                    <a:lnTo>
                      <a:pt x="738" y="117"/>
                    </a:lnTo>
                    <a:lnTo>
                      <a:pt x="740" y="117"/>
                    </a:lnTo>
                    <a:lnTo>
                      <a:pt x="742" y="117"/>
                    </a:lnTo>
                    <a:lnTo>
                      <a:pt x="742" y="119"/>
                    </a:lnTo>
                    <a:lnTo>
                      <a:pt x="742" y="117"/>
                    </a:lnTo>
                    <a:lnTo>
                      <a:pt x="742" y="119"/>
                    </a:lnTo>
                    <a:lnTo>
                      <a:pt x="744" y="119"/>
                    </a:lnTo>
                    <a:lnTo>
                      <a:pt x="746" y="119"/>
                    </a:lnTo>
                    <a:lnTo>
                      <a:pt x="748" y="119"/>
                    </a:lnTo>
                    <a:lnTo>
                      <a:pt x="750" y="119"/>
                    </a:lnTo>
                    <a:lnTo>
                      <a:pt x="750" y="121"/>
                    </a:lnTo>
                    <a:lnTo>
                      <a:pt x="750" y="123"/>
                    </a:lnTo>
                    <a:lnTo>
                      <a:pt x="748" y="123"/>
                    </a:lnTo>
                    <a:lnTo>
                      <a:pt x="748" y="125"/>
                    </a:lnTo>
                    <a:lnTo>
                      <a:pt x="746" y="127"/>
                    </a:lnTo>
                    <a:lnTo>
                      <a:pt x="744" y="127"/>
                    </a:lnTo>
                    <a:lnTo>
                      <a:pt x="744" y="129"/>
                    </a:lnTo>
                    <a:lnTo>
                      <a:pt x="744" y="127"/>
                    </a:lnTo>
                    <a:lnTo>
                      <a:pt x="742" y="127"/>
                    </a:lnTo>
                    <a:lnTo>
                      <a:pt x="740" y="127"/>
                    </a:lnTo>
                    <a:lnTo>
                      <a:pt x="738" y="125"/>
                    </a:lnTo>
                    <a:close/>
                    <a:moveTo>
                      <a:pt x="775" y="88"/>
                    </a:moveTo>
                    <a:lnTo>
                      <a:pt x="773" y="88"/>
                    </a:lnTo>
                    <a:lnTo>
                      <a:pt x="775" y="88"/>
                    </a:lnTo>
                    <a:lnTo>
                      <a:pt x="773" y="88"/>
                    </a:lnTo>
                    <a:lnTo>
                      <a:pt x="775" y="88"/>
                    </a:lnTo>
                    <a:close/>
                    <a:moveTo>
                      <a:pt x="825" y="69"/>
                    </a:moveTo>
                    <a:lnTo>
                      <a:pt x="827" y="69"/>
                    </a:lnTo>
                    <a:lnTo>
                      <a:pt x="825" y="69"/>
                    </a:lnTo>
                    <a:close/>
                    <a:moveTo>
                      <a:pt x="1065" y="27"/>
                    </a:moveTo>
                    <a:lnTo>
                      <a:pt x="1063" y="27"/>
                    </a:lnTo>
                    <a:lnTo>
                      <a:pt x="1063" y="29"/>
                    </a:lnTo>
                    <a:lnTo>
                      <a:pt x="1063" y="31"/>
                    </a:lnTo>
                    <a:lnTo>
                      <a:pt x="1065" y="31"/>
                    </a:lnTo>
                    <a:lnTo>
                      <a:pt x="1063" y="31"/>
                    </a:lnTo>
                    <a:lnTo>
                      <a:pt x="1063" y="32"/>
                    </a:lnTo>
                    <a:lnTo>
                      <a:pt x="1061" y="32"/>
                    </a:lnTo>
                    <a:lnTo>
                      <a:pt x="1059" y="32"/>
                    </a:lnTo>
                    <a:lnTo>
                      <a:pt x="1059" y="34"/>
                    </a:lnTo>
                    <a:lnTo>
                      <a:pt x="1059" y="32"/>
                    </a:lnTo>
                    <a:lnTo>
                      <a:pt x="1059" y="34"/>
                    </a:lnTo>
                    <a:lnTo>
                      <a:pt x="1059" y="32"/>
                    </a:lnTo>
                    <a:lnTo>
                      <a:pt x="1059" y="34"/>
                    </a:lnTo>
                    <a:lnTo>
                      <a:pt x="1059" y="36"/>
                    </a:lnTo>
                    <a:lnTo>
                      <a:pt x="1057" y="36"/>
                    </a:lnTo>
                    <a:lnTo>
                      <a:pt x="1059" y="36"/>
                    </a:lnTo>
                    <a:lnTo>
                      <a:pt x="1061" y="36"/>
                    </a:lnTo>
                    <a:lnTo>
                      <a:pt x="1059" y="36"/>
                    </a:lnTo>
                    <a:lnTo>
                      <a:pt x="1061" y="36"/>
                    </a:lnTo>
                    <a:lnTo>
                      <a:pt x="1061" y="38"/>
                    </a:lnTo>
                    <a:lnTo>
                      <a:pt x="1059" y="38"/>
                    </a:lnTo>
                    <a:lnTo>
                      <a:pt x="1057" y="38"/>
                    </a:lnTo>
                    <a:lnTo>
                      <a:pt x="1055" y="38"/>
                    </a:lnTo>
                    <a:lnTo>
                      <a:pt x="1055" y="40"/>
                    </a:lnTo>
                    <a:lnTo>
                      <a:pt x="1053" y="40"/>
                    </a:lnTo>
                    <a:lnTo>
                      <a:pt x="1055" y="40"/>
                    </a:lnTo>
                    <a:lnTo>
                      <a:pt x="1053" y="40"/>
                    </a:lnTo>
                    <a:lnTo>
                      <a:pt x="1053" y="42"/>
                    </a:lnTo>
                    <a:lnTo>
                      <a:pt x="1051" y="40"/>
                    </a:lnTo>
                    <a:lnTo>
                      <a:pt x="1049" y="40"/>
                    </a:lnTo>
                    <a:lnTo>
                      <a:pt x="1049" y="42"/>
                    </a:lnTo>
                    <a:lnTo>
                      <a:pt x="1049" y="40"/>
                    </a:lnTo>
                    <a:lnTo>
                      <a:pt x="1049" y="42"/>
                    </a:lnTo>
                    <a:lnTo>
                      <a:pt x="1049" y="44"/>
                    </a:lnTo>
                    <a:lnTo>
                      <a:pt x="1047" y="44"/>
                    </a:lnTo>
                    <a:lnTo>
                      <a:pt x="1047" y="42"/>
                    </a:lnTo>
                    <a:lnTo>
                      <a:pt x="1047" y="44"/>
                    </a:lnTo>
                    <a:lnTo>
                      <a:pt x="1046" y="42"/>
                    </a:lnTo>
                    <a:lnTo>
                      <a:pt x="1046" y="44"/>
                    </a:lnTo>
                    <a:lnTo>
                      <a:pt x="1047" y="44"/>
                    </a:lnTo>
                    <a:lnTo>
                      <a:pt x="1046" y="44"/>
                    </a:lnTo>
                    <a:lnTo>
                      <a:pt x="1044" y="44"/>
                    </a:lnTo>
                    <a:lnTo>
                      <a:pt x="1044" y="46"/>
                    </a:lnTo>
                    <a:lnTo>
                      <a:pt x="1046" y="46"/>
                    </a:lnTo>
                    <a:lnTo>
                      <a:pt x="1044" y="46"/>
                    </a:lnTo>
                    <a:lnTo>
                      <a:pt x="1042" y="46"/>
                    </a:lnTo>
                    <a:lnTo>
                      <a:pt x="1040" y="46"/>
                    </a:lnTo>
                    <a:lnTo>
                      <a:pt x="1038" y="46"/>
                    </a:lnTo>
                    <a:lnTo>
                      <a:pt x="1036" y="46"/>
                    </a:lnTo>
                    <a:lnTo>
                      <a:pt x="1034" y="46"/>
                    </a:lnTo>
                    <a:lnTo>
                      <a:pt x="1032" y="46"/>
                    </a:lnTo>
                    <a:lnTo>
                      <a:pt x="1030" y="46"/>
                    </a:lnTo>
                    <a:lnTo>
                      <a:pt x="1028" y="46"/>
                    </a:lnTo>
                    <a:lnTo>
                      <a:pt x="1026" y="46"/>
                    </a:lnTo>
                    <a:lnTo>
                      <a:pt x="1024" y="46"/>
                    </a:lnTo>
                    <a:lnTo>
                      <a:pt x="1024" y="48"/>
                    </a:lnTo>
                    <a:lnTo>
                      <a:pt x="1023" y="48"/>
                    </a:lnTo>
                    <a:lnTo>
                      <a:pt x="1021" y="48"/>
                    </a:lnTo>
                    <a:lnTo>
                      <a:pt x="1019" y="48"/>
                    </a:lnTo>
                    <a:lnTo>
                      <a:pt x="1017" y="48"/>
                    </a:lnTo>
                    <a:lnTo>
                      <a:pt x="1015" y="48"/>
                    </a:lnTo>
                    <a:lnTo>
                      <a:pt x="1013" y="48"/>
                    </a:lnTo>
                    <a:lnTo>
                      <a:pt x="1011" y="48"/>
                    </a:lnTo>
                    <a:lnTo>
                      <a:pt x="1009" y="48"/>
                    </a:lnTo>
                    <a:lnTo>
                      <a:pt x="1007" y="48"/>
                    </a:lnTo>
                    <a:lnTo>
                      <a:pt x="1005" y="48"/>
                    </a:lnTo>
                    <a:lnTo>
                      <a:pt x="1003" y="48"/>
                    </a:lnTo>
                    <a:lnTo>
                      <a:pt x="1001" y="46"/>
                    </a:lnTo>
                    <a:lnTo>
                      <a:pt x="1001" y="48"/>
                    </a:lnTo>
                    <a:lnTo>
                      <a:pt x="999" y="48"/>
                    </a:lnTo>
                    <a:lnTo>
                      <a:pt x="998" y="48"/>
                    </a:lnTo>
                    <a:lnTo>
                      <a:pt x="996" y="48"/>
                    </a:lnTo>
                    <a:lnTo>
                      <a:pt x="994" y="48"/>
                    </a:lnTo>
                    <a:lnTo>
                      <a:pt x="992" y="48"/>
                    </a:lnTo>
                    <a:lnTo>
                      <a:pt x="990" y="48"/>
                    </a:lnTo>
                    <a:lnTo>
                      <a:pt x="988" y="48"/>
                    </a:lnTo>
                    <a:lnTo>
                      <a:pt x="986" y="48"/>
                    </a:lnTo>
                    <a:lnTo>
                      <a:pt x="984" y="48"/>
                    </a:lnTo>
                    <a:lnTo>
                      <a:pt x="982" y="48"/>
                    </a:lnTo>
                    <a:lnTo>
                      <a:pt x="980" y="48"/>
                    </a:lnTo>
                    <a:lnTo>
                      <a:pt x="978" y="48"/>
                    </a:lnTo>
                    <a:lnTo>
                      <a:pt x="976" y="48"/>
                    </a:lnTo>
                    <a:lnTo>
                      <a:pt x="976" y="50"/>
                    </a:lnTo>
                    <a:lnTo>
                      <a:pt x="976" y="48"/>
                    </a:lnTo>
                    <a:lnTo>
                      <a:pt x="974" y="50"/>
                    </a:lnTo>
                    <a:lnTo>
                      <a:pt x="973" y="50"/>
                    </a:lnTo>
                    <a:lnTo>
                      <a:pt x="971" y="48"/>
                    </a:lnTo>
                    <a:lnTo>
                      <a:pt x="969" y="48"/>
                    </a:lnTo>
                    <a:lnTo>
                      <a:pt x="967" y="48"/>
                    </a:lnTo>
                    <a:lnTo>
                      <a:pt x="965" y="48"/>
                    </a:lnTo>
                    <a:lnTo>
                      <a:pt x="963" y="48"/>
                    </a:lnTo>
                    <a:lnTo>
                      <a:pt x="961" y="48"/>
                    </a:lnTo>
                    <a:lnTo>
                      <a:pt x="959" y="48"/>
                    </a:lnTo>
                    <a:lnTo>
                      <a:pt x="957" y="48"/>
                    </a:lnTo>
                    <a:lnTo>
                      <a:pt x="955" y="48"/>
                    </a:lnTo>
                    <a:lnTo>
                      <a:pt x="953" y="48"/>
                    </a:lnTo>
                    <a:lnTo>
                      <a:pt x="951" y="48"/>
                    </a:lnTo>
                    <a:lnTo>
                      <a:pt x="953" y="48"/>
                    </a:lnTo>
                    <a:lnTo>
                      <a:pt x="951" y="48"/>
                    </a:lnTo>
                    <a:lnTo>
                      <a:pt x="950" y="48"/>
                    </a:lnTo>
                    <a:lnTo>
                      <a:pt x="948" y="50"/>
                    </a:lnTo>
                    <a:lnTo>
                      <a:pt x="948" y="48"/>
                    </a:lnTo>
                    <a:lnTo>
                      <a:pt x="950" y="48"/>
                    </a:lnTo>
                    <a:lnTo>
                      <a:pt x="948" y="48"/>
                    </a:lnTo>
                    <a:lnTo>
                      <a:pt x="948" y="46"/>
                    </a:lnTo>
                    <a:lnTo>
                      <a:pt x="948" y="44"/>
                    </a:lnTo>
                    <a:lnTo>
                      <a:pt x="946" y="44"/>
                    </a:lnTo>
                    <a:lnTo>
                      <a:pt x="948" y="44"/>
                    </a:lnTo>
                    <a:lnTo>
                      <a:pt x="946" y="46"/>
                    </a:lnTo>
                    <a:lnTo>
                      <a:pt x="944" y="46"/>
                    </a:lnTo>
                    <a:lnTo>
                      <a:pt x="946" y="46"/>
                    </a:lnTo>
                    <a:lnTo>
                      <a:pt x="944" y="46"/>
                    </a:lnTo>
                    <a:lnTo>
                      <a:pt x="942" y="46"/>
                    </a:lnTo>
                    <a:lnTo>
                      <a:pt x="942" y="48"/>
                    </a:lnTo>
                    <a:lnTo>
                      <a:pt x="940" y="48"/>
                    </a:lnTo>
                    <a:lnTo>
                      <a:pt x="938" y="48"/>
                    </a:lnTo>
                    <a:lnTo>
                      <a:pt x="936" y="48"/>
                    </a:lnTo>
                    <a:lnTo>
                      <a:pt x="934" y="48"/>
                    </a:lnTo>
                    <a:lnTo>
                      <a:pt x="934" y="46"/>
                    </a:lnTo>
                    <a:lnTo>
                      <a:pt x="932" y="46"/>
                    </a:lnTo>
                    <a:lnTo>
                      <a:pt x="930" y="46"/>
                    </a:lnTo>
                    <a:lnTo>
                      <a:pt x="928" y="46"/>
                    </a:lnTo>
                    <a:lnTo>
                      <a:pt x="928" y="48"/>
                    </a:lnTo>
                    <a:lnTo>
                      <a:pt x="926" y="48"/>
                    </a:lnTo>
                    <a:lnTo>
                      <a:pt x="925" y="48"/>
                    </a:lnTo>
                    <a:lnTo>
                      <a:pt x="923" y="48"/>
                    </a:lnTo>
                    <a:lnTo>
                      <a:pt x="925" y="48"/>
                    </a:lnTo>
                    <a:lnTo>
                      <a:pt x="923" y="48"/>
                    </a:lnTo>
                    <a:lnTo>
                      <a:pt x="921" y="48"/>
                    </a:lnTo>
                    <a:lnTo>
                      <a:pt x="919" y="48"/>
                    </a:lnTo>
                    <a:lnTo>
                      <a:pt x="917" y="48"/>
                    </a:lnTo>
                    <a:lnTo>
                      <a:pt x="915" y="48"/>
                    </a:lnTo>
                    <a:lnTo>
                      <a:pt x="913" y="46"/>
                    </a:lnTo>
                    <a:lnTo>
                      <a:pt x="911" y="46"/>
                    </a:lnTo>
                    <a:lnTo>
                      <a:pt x="909" y="46"/>
                    </a:lnTo>
                    <a:lnTo>
                      <a:pt x="907" y="46"/>
                    </a:lnTo>
                    <a:lnTo>
                      <a:pt x="907" y="48"/>
                    </a:lnTo>
                    <a:lnTo>
                      <a:pt x="905" y="48"/>
                    </a:lnTo>
                    <a:lnTo>
                      <a:pt x="903" y="48"/>
                    </a:lnTo>
                    <a:lnTo>
                      <a:pt x="905" y="48"/>
                    </a:lnTo>
                    <a:lnTo>
                      <a:pt x="903" y="48"/>
                    </a:lnTo>
                    <a:lnTo>
                      <a:pt x="903" y="46"/>
                    </a:lnTo>
                    <a:lnTo>
                      <a:pt x="903" y="48"/>
                    </a:lnTo>
                    <a:lnTo>
                      <a:pt x="901" y="48"/>
                    </a:lnTo>
                    <a:lnTo>
                      <a:pt x="901" y="50"/>
                    </a:lnTo>
                    <a:lnTo>
                      <a:pt x="900" y="50"/>
                    </a:lnTo>
                    <a:lnTo>
                      <a:pt x="900" y="52"/>
                    </a:lnTo>
                    <a:lnTo>
                      <a:pt x="898" y="52"/>
                    </a:lnTo>
                    <a:lnTo>
                      <a:pt x="896" y="52"/>
                    </a:lnTo>
                    <a:lnTo>
                      <a:pt x="894" y="52"/>
                    </a:lnTo>
                    <a:lnTo>
                      <a:pt x="894" y="50"/>
                    </a:lnTo>
                    <a:lnTo>
                      <a:pt x="894" y="52"/>
                    </a:lnTo>
                    <a:lnTo>
                      <a:pt x="894" y="50"/>
                    </a:lnTo>
                    <a:lnTo>
                      <a:pt x="896" y="50"/>
                    </a:lnTo>
                    <a:lnTo>
                      <a:pt x="896" y="48"/>
                    </a:lnTo>
                    <a:lnTo>
                      <a:pt x="896" y="46"/>
                    </a:lnTo>
                    <a:lnTo>
                      <a:pt x="896" y="48"/>
                    </a:lnTo>
                    <a:lnTo>
                      <a:pt x="896" y="46"/>
                    </a:lnTo>
                    <a:lnTo>
                      <a:pt x="894" y="46"/>
                    </a:lnTo>
                    <a:lnTo>
                      <a:pt x="894" y="48"/>
                    </a:lnTo>
                    <a:lnTo>
                      <a:pt x="892" y="48"/>
                    </a:lnTo>
                    <a:lnTo>
                      <a:pt x="890" y="48"/>
                    </a:lnTo>
                    <a:lnTo>
                      <a:pt x="892" y="48"/>
                    </a:lnTo>
                    <a:lnTo>
                      <a:pt x="892" y="50"/>
                    </a:lnTo>
                    <a:lnTo>
                      <a:pt x="890" y="50"/>
                    </a:lnTo>
                    <a:lnTo>
                      <a:pt x="888" y="50"/>
                    </a:lnTo>
                    <a:lnTo>
                      <a:pt x="888" y="52"/>
                    </a:lnTo>
                    <a:lnTo>
                      <a:pt x="886" y="52"/>
                    </a:lnTo>
                    <a:lnTo>
                      <a:pt x="886" y="50"/>
                    </a:lnTo>
                    <a:lnTo>
                      <a:pt x="884" y="52"/>
                    </a:lnTo>
                    <a:lnTo>
                      <a:pt x="882" y="50"/>
                    </a:lnTo>
                    <a:lnTo>
                      <a:pt x="880" y="52"/>
                    </a:lnTo>
                    <a:lnTo>
                      <a:pt x="880" y="54"/>
                    </a:lnTo>
                    <a:lnTo>
                      <a:pt x="880" y="52"/>
                    </a:lnTo>
                    <a:lnTo>
                      <a:pt x="880" y="54"/>
                    </a:lnTo>
                    <a:lnTo>
                      <a:pt x="880" y="56"/>
                    </a:lnTo>
                    <a:lnTo>
                      <a:pt x="878" y="56"/>
                    </a:lnTo>
                    <a:lnTo>
                      <a:pt x="877" y="56"/>
                    </a:lnTo>
                    <a:lnTo>
                      <a:pt x="877" y="54"/>
                    </a:lnTo>
                    <a:lnTo>
                      <a:pt x="875" y="54"/>
                    </a:lnTo>
                    <a:lnTo>
                      <a:pt x="877" y="54"/>
                    </a:lnTo>
                    <a:lnTo>
                      <a:pt x="877" y="52"/>
                    </a:lnTo>
                    <a:lnTo>
                      <a:pt x="878" y="52"/>
                    </a:lnTo>
                    <a:lnTo>
                      <a:pt x="877" y="52"/>
                    </a:lnTo>
                    <a:lnTo>
                      <a:pt x="878" y="52"/>
                    </a:lnTo>
                    <a:lnTo>
                      <a:pt x="877" y="52"/>
                    </a:lnTo>
                    <a:lnTo>
                      <a:pt x="875" y="50"/>
                    </a:lnTo>
                    <a:lnTo>
                      <a:pt x="875" y="52"/>
                    </a:lnTo>
                    <a:lnTo>
                      <a:pt x="873" y="52"/>
                    </a:lnTo>
                    <a:lnTo>
                      <a:pt x="871" y="50"/>
                    </a:lnTo>
                    <a:lnTo>
                      <a:pt x="871" y="52"/>
                    </a:lnTo>
                    <a:lnTo>
                      <a:pt x="873" y="52"/>
                    </a:lnTo>
                    <a:lnTo>
                      <a:pt x="875" y="52"/>
                    </a:lnTo>
                    <a:lnTo>
                      <a:pt x="875" y="54"/>
                    </a:lnTo>
                    <a:lnTo>
                      <a:pt x="873" y="52"/>
                    </a:lnTo>
                    <a:lnTo>
                      <a:pt x="871" y="52"/>
                    </a:lnTo>
                    <a:lnTo>
                      <a:pt x="873" y="54"/>
                    </a:lnTo>
                    <a:lnTo>
                      <a:pt x="871" y="54"/>
                    </a:lnTo>
                    <a:lnTo>
                      <a:pt x="869" y="54"/>
                    </a:lnTo>
                    <a:lnTo>
                      <a:pt x="867" y="54"/>
                    </a:lnTo>
                    <a:lnTo>
                      <a:pt x="867" y="52"/>
                    </a:lnTo>
                    <a:lnTo>
                      <a:pt x="867" y="54"/>
                    </a:lnTo>
                    <a:lnTo>
                      <a:pt x="865" y="54"/>
                    </a:lnTo>
                    <a:lnTo>
                      <a:pt x="863" y="52"/>
                    </a:lnTo>
                    <a:lnTo>
                      <a:pt x="863" y="54"/>
                    </a:lnTo>
                    <a:lnTo>
                      <a:pt x="865" y="54"/>
                    </a:lnTo>
                    <a:lnTo>
                      <a:pt x="865" y="56"/>
                    </a:lnTo>
                    <a:lnTo>
                      <a:pt x="867" y="56"/>
                    </a:lnTo>
                    <a:lnTo>
                      <a:pt x="869" y="56"/>
                    </a:lnTo>
                    <a:lnTo>
                      <a:pt x="867" y="56"/>
                    </a:lnTo>
                    <a:lnTo>
                      <a:pt x="869" y="56"/>
                    </a:lnTo>
                    <a:lnTo>
                      <a:pt x="871" y="57"/>
                    </a:lnTo>
                    <a:lnTo>
                      <a:pt x="873" y="57"/>
                    </a:lnTo>
                    <a:lnTo>
                      <a:pt x="875" y="59"/>
                    </a:lnTo>
                    <a:lnTo>
                      <a:pt x="875" y="61"/>
                    </a:lnTo>
                    <a:lnTo>
                      <a:pt x="873" y="61"/>
                    </a:lnTo>
                    <a:lnTo>
                      <a:pt x="873" y="63"/>
                    </a:lnTo>
                    <a:lnTo>
                      <a:pt x="871" y="63"/>
                    </a:lnTo>
                    <a:lnTo>
                      <a:pt x="871" y="61"/>
                    </a:lnTo>
                    <a:lnTo>
                      <a:pt x="869" y="61"/>
                    </a:lnTo>
                    <a:lnTo>
                      <a:pt x="867" y="61"/>
                    </a:lnTo>
                    <a:lnTo>
                      <a:pt x="865" y="61"/>
                    </a:lnTo>
                    <a:lnTo>
                      <a:pt x="865" y="59"/>
                    </a:lnTo>
                    <a:lnTo>
                      <a:pt x="863" y="59"/>
                    </a:lnTo>
                    <a:lnTo>
                      <a:pt x="865" y="61"/>
                    </a:lnTo>
                    <a:lnTo>
                      <a:pt x="863" y="61"/>
                    </a:lnTo>
                    <a:lnTo>
                      <a:pt x="863" y="63"/>
                    </a:lnTo>
                    <a:lnTo>
                      <a:pt x="865" y="63"/>
                    </a:lnTo>
                    <a:lnTo>
                      <a:pt x="865" y="65"/>
                    </a:lnTo>
                    <a:lnTo>
                      <a:pt x="863" y="65"/>
                    </a:lnTo>
                    <a:lnTo>
                      <a:pt x="861" y="65"/>
                    </a:lnTo>
                    <a:lnTo>
                      <a:pt x="859" y="65"/>
                    </a:lnTo>
                    <a:lnTo>
                      <a:pt x="857" y="65"/>
                    </a:lnTo>
                    <a:lnTo>
                      <a:pt x="855" y="63"/>
                    </a:lnTo>
                    <a:lnTo>
                      <a:pt x="853" y="63"/>
                    </a:lnTo>
                    <a:lnTo>
                      <a:pt x="853" y="61"/>
                    </a:lnTo>
                    <a:lnTo>
                      <a:pt x="855" y="61"/>
                    </a:lnTo>
                    <a:lnTo>
                      <a:pt x="853" y="61"/>
                    </a:lnTo>
                    <a:lnTo>
                      <a:pt x="853" y="63"/>
                    </a:lnTo>
                    <a:lnTo>
                      <a:pt x="853" y="61"/>
                    </a:lnTo>
                    <a:lnTo>
                      <a:pt x="853" y="63"/>
                    </a:lnTo>
                    <a:lnTo>
                      <a:pt x="853" y="61"/>
                    </a:lnTo>
                    <a:lnTo>
                      <a:pt x="852" y="61"/>
                    </a:lnTo>
                    <a:lnTo>
                      <a:pt x="852" y="59"/>
                    </a:lnTo>
                    <a:lnTo>
                      <a:pt x="850" y="59"/>
                    </a:lnTo>
                    <a:lnTo>
                      <a:pt x="850" y="57"/>
                    </a:lnTo>
                    <a:lnTo>
                      <a:pt x="848" y="56"/>
                    </a:lnTo>
                    <a:lnTo>
                      <a:pt x="848" y="57"/>
                    </a:lnTo>
                    <a:lnTo>
                      <a:pt x="850" y="57"/>
                    </a:lnTo>
                    <a:lnTo>
                      <a:pt x="850" y="59"/>
                    </a:lnTo>
                    <a:lnTo>
                      <a:pt x="852" y="59"/>
                    </a:lnTo>
                    <a:lnTo>
                      <a:pt x="852" y="61"/>
                    </a:lnTo>
                    <a:lnTo>
                      <a:pt x="850" y="61"/>
                    </a:lnTo>
                    <a:lnTo>
                      <a:pt x="852" y="61"/>
                    </a:lnTo>
                    <a:lnTo>
                      <a:pt x="850" y="61"/>
                    </a:lnTo>
                    <a:lnTo>
                      <a:pt x="852" y="61"/>
                    </a:lnTo>
                    <a:lnTo>
                      <a:pt x="850" y="61"/>
                    </a:lnTo>
                    <a:lnTo>
                      <a:pt x="848" y="59"/>
                    </a:lnTo>
                    <a:lnTo>
                      <a:pt x="848" y="61"/>
                    </a:lnTo>
                    <a:lnTo>
                      <a:pt x="850" y="61"/>
                    </a:lnTo>
                    <a:lnTo>
                      <a:pt x="852" y="61"/>
                    </a:lnTo>
                    <a:lnTo>
                      <a:pt x="852" y="63"/>
                    </a:lnTo>
                    <a:lnTo>
                      <a:pt x="853" y="63"/>
                    </a:lnTo>
                    <a:lnTo>
                      <a:pt x="853" y="65"/>
                    </a:lnTo>
                    <a:lnTo>
                      <a:pt x="853" y="67"/>
                    </a:lnTo>
                    <a:lnTo>
                      <a:pt x="853" y="69"/>
                    </a:lnTo>
                    <a:lnTo>
                      <a:pt x="852" y="69"/>
                    </a:lnTo>
                    <a:lnTo>
                      <a:pt x="850" y="69"/>
                    </a:lnTo>
                    <a:lnTo>
                      <a:pt x="848" y="69"/>
                    </a:lnTo>
                    <a:lnTo>
                      <a:pt x="848" y="67"/>
                    </a:lnTo>
                    <a:lnTo>
                      <a:pt x="846" y="67"/>
                    </a:lnTo>
                    <a:lnTo>
                      <a:pt x="846" y="65"/>
                    </a:lnTo>
                    <a:lnTo>
                      <a:pt x="846" y="63"/>
                    </a:lnTo>
                    <a:lnTo>
                      <a:pt x="844" y="63"/>
                    </a:lnTo>
                    <a:lnTo>
                      <a:pt x="844" y="61"/>
                    </a:lnTo>
                    <a:lnTo>
                      <a:pt x="842" y="61"/>
                    </a:lnTo>
                    <a:lnTo>
                      <a:pt x="842" y="59"/>
                    </a:lnTo>
                    <a:lnTo>
                      <a:pt x="842" y="57"/>
                    </a:lnTo>
                    <a:lnTo>
                      <a:pt x="840" y="57"/>
                    </a:lnTo>
                    <a:lnTo>
                      <a:pt x="840" y="59"/>
                    </a:lnTo>
                    <a:lnTo>
                      <a:pt x="840" y="61"/>
                    </a:lnTo>
                    <a:lnTo>
                      <a:pt x="842" y="61"/>
                    </a:lnTo>
                    <a:lnTo>
                      <a:pt x="842" y="63"/>
                    </a:lnTo>
                    <a:lnTo>
                      <a:pt x="840" y="63"/>
                    </a:lnTo>
                    <a:lnTo>
                      <a:pt x="840" y="61"/>
                    </a:lnTo>
                    <a:lnTo>
                      <a:pt x="840" y="63"/>
                    </a:lnTo>
                    <a:lnTo>
                      <a:pt x="840" y="61"/>
                    </a:lnTo>
                    <a:lnTo>
                      <a:pt x="838" y="61"/>
                    </a:lnTo>
                    <a:lnTo>
                      <a:pt x="838" y="59"/>
                    </a:lnTo>
                    <a:lnTo>
                      <a:pt x="836" y="59"/>
                    </a:lnTo>
                    <a:lnTo>
                      <a:pt x="836" y="61"/>
                    </a:lnTo>
                    <a:lnTo>
                      <a:pt x="838" y="61"/>
                    </a:lnTo>
                    <a:lnTo>
                      <a:pt x="838" y="63"/>
                    </a:lnTo>
                    <a:lnTo>
                      <a:pt x="840" y="63"/>
                    </a:lnTo>
                    <a:lnTo>
                      <a:pt x="840" y="65"/>
                    </a:lnTo>
                    <a:lnTo>
                      <a:pt x="838" y="65"/>
                    </a:lnTo>
                    <a:lnTo>
                      <a:pt x="838" y="67"/>
                    </a:lnTo>
                    <a:lnTo>
                      <a:pt x="838" y="69"/>
                    </a:lnTo>
                    <a:lnTo>
                      <a:pt x="836" y="69"/>
                    </a:lnTo>
                    <a:lnTo>
                      <a:pt x="836" y="71"/>
                    </a:lnTo>
                    <a:lnTo>
                      <a:pt x="836" y="73"/>
                    </a:lnTo>
                    <a:lnTo>
                      <a:pt x="836" y="71"/>
                    </a:lnTo>
                    <a:lnTo>
                      <a:pt x="834" y="71"/>
                    </a:lnTo>
                    <a:lnTo>
                      <a:pt x="832" y="71"/>
                    </a:lnTo>
                    <a:lnTo>
                      <a:pt x="832" y="69"/>
                    </a:lnTo>
                    <a:lnTo>
                      <a:pt x="830" y="69"/>
                    </a:lnTo>
                    <a:lnTo>
                      <a:pt x="830" y="67"/>
                    </a:lnTo>
                    <a:lnTo>
                      <a:pt x="828" y="67"/>
                    </a:lnTo>
                    <a:lnTo>
                      <a:pt x="828" y="65"/>
                    </a:lnTo>
                    <a:lnTo>
                      <a:pt x="827" y="65"/>
                    </a:lnTo>
                    <a:lnTo>
                      <a:pt x="827" y="63"/>
                    </a:lnTo>
                    <a:lnTo>
                      <a:pt x="825" y="63"/>
                    </a:lnTo>
                    <a:lnTo>
                      <a:pt x="825" y="61"/>
                    </a:lnTo>
                    <a:lnTo>
                      <a:pt x="823" y="61"/>
                    </a:lnTo>
                    <a:lnTo>
                      <a:pt x="823" y="59"/>
                    </a:lnTo>
                    <a:lnTo>
                      <a:pt x="821" y="59"/>
                    </a:lnTo>
                    <a:lnTo>
                      <a:pt x="819" y="59"/>
                    </a:lnTo>
                    <a:lnTo>
                      <a:pt x="821" y="59"/>
                    </a:lnTo>
                    <a:lnTo>
                      <a:pt x="819" y="59"/>
                    </a:lnTo>
                    <a:lnTo>
                      <a:pt x="821" y="59"/>
                    </a:lnTo>
                    <a:lnTo>
                      <a:pt x="819" y="59"/>
                    </a:lnTo>
                    <a:lnTo>
                      <a:pt x="821" y="59"/>
                    </a:lnTo>
                    <a:lnTo>
                      <a:pt x="821" y="61"/>
                    </a:lnTo>
                    <a:lnTo>
                      <a:pt x="823" y="61"/>
                    </a:lnTo>
                    <a:lnTo>
                      <a:pt x="823" y="63"/>
                    </a:lnTo>
                    <a:lnTo>
                      <a:pt x="825" y="63"/>
                    </a:lnTo>
                    <a:lnTo>
                      <a:pt x="825" y="65"/>
                    </a:lnTo>
                    <a:lnTo>
                      <a:pt x="825" y="67"/>
                    </a:lnTo>
                    <a:lnTo>
                      <a:pt x="825" y="65"/>
                    </a:lnTo>
                    <a:lnTo>
                      <a:pt x="827" y="67"/>
                    </a:lnTo>
                    <a:lnTo>
                      <a:pt x="825" y="67"/>
                    </a:lnTo>
                    <a:lnTo>
                      <a:pt x="825" y="69"/>
                    </a:lnTo>
                    <a:lnTo>
                      <a:pt x="825" y="67"/>
                    </a:lnTo>
                    <a:lnTo>
                      <a:pt x="823" y="67"/>
                    </a:lnTo>
                    <a:lnTo>
                      <a:pt x="825" y="67"/>
                    </a:lnTo>
                    <a:lnTo>
                      <a:pt x="823" y="67"/>
                    </a:lnTo>
                    <a:lnTo>
                      <a:pt x="823" y="65"/>
                    </a:lnTo>
                    <a:lnTo>
                      <a:pt x="821" y="65"/>
                    </a:lnTo>
                    <a:lnTo>
                      <a:pt x="823" y="65"/>
                    </a:lnTo>
                    <a:lnTo>
                      <a:pt x="823" y="67"/>
                    </a:lnTo>
                    <a:lnTo>
                      <a:pt x="823" y="69"/>
                    </a:lnTo>
                    <a:lnTo>
                      <a:pt x="825" y="69"/>
                    </a:lnTo>
                    <a:lnTo>
                      <a:pt x="825" y="71"/>
                    </a:lnTo>
                    <a:lnTo>
                      <a:pt x="825" y="73"/>
                    </a:lnTo>
                    <a:lnTo>
                      <a:pt x="825" y="75"/>
                    </a:lnTo>
                    <a:lnTo>
                      <a:pt x="825" y="77"/>
                    </a:lnTo>
                    <a:lnTo>
                      <a:pt x="823" y="77"/>
                    </a:lnTo>
                    <a:lnTo>
                      <a:pt x="823" y="79"/>
                    </a:lnTo>
                    <a:lnTo>
                      <a:pt x="825" y="79"/>
                    </a:lnTo>
                    <a:lnTo>
                      <a:pt x="823" y="79"/>
                    </a:lnTo>
                    <a:lnTo>
                      <a:pt x="821" y="79"/>
                    </a:lnTo>
                    <a:lnTo>
                      <a:pt x="821" y="77"/>
                    </a:lnTo>
                    <a:lnTo>
                      <a:pt x="821" y="79"/>
                    </a:lnTo>
                    <a:lnTo>
                      <a:pt x="821" y="77"/>
                    </a:lnTo>
                    <a:lnTo>
                      <a:pt x="821" y="79"/>
                    </a:lnTo>
                    <a:lnTo>
                      <a:pt x="823" y="79"/>
                    </a:lnTo>
                    <a:lnTo>
                      <a:pt x="821" y="79"/>
                    </a:lnTo>
                    <a:lnTo>
                      <a:pt x="823" y="79"/>
                    </a:lnTo>
                    <a:lnTo>
                      <a:pt x="821" y="79"/>
                    </a:lnTo>
                    <a:lnTo>
                      <a:pt x="819" y="79"/>
                    </a:lnTo>
                    <a:lnTo>
                      <a:pt x="819" y="77"/>
                    </a:lnTo>
                    <a:lnTo>
                      <a:pt x="819" y="79"/>
                    </a:lnTo>
                    <a:lnTo>
                      <a:pt x="819" y="81"/>
                    </a:lnTo>
                    <a:lnTo>
                      <a:pt x="817" y="79"/>
                    </a:lnTo>
                    <a:lnTo>
                      <a:pt x="817" y="77"/>
                    </a:lnTo>
                    <a:lnTo>
                      <a:pt x="817" y="79"/>
                    </a:lnTo>
                    <a:lnTo>
                      <a:pt x="815" y="79"/>
                    </a:lnTo>
                    <a:lnTo>
                      <a:pt x="815" y="77"/>
                    </a:lnTo>
                    <a:lnTo>
                      <a:pt x="815" y="79"/>
                    </a:lnTo>
                    <a:lnTo>
                      <a:pt x="815" y="77"/>
                    </a:lnTo>
                    <a:lnTo>
                      <a:pt x="815" y="79"/>
                    </a:lnTo>
                    <a:lnTo>
                      <a:pt x="817" y="77"/>
                    </a:lnTo>
                    <a:lnTo>
                      <a:pt x="815" y="77"/>
                    </a:lnTo>
                    <a:lnTo>
                      <a:pt x="813" y="79"/>
                    </a:lnTo>
                    <a:lnTo>
                      <a:pt x="815" y="79"/>
                    </a:lnTo>
                    <a:lnTo>
                      <a:pt x="815" y="81"/>
                    </a:lnTo>
                    <a:lnTo>
                      <a:pt x="817" y="81"/>
                    </a:lnTo>
                    <a:lnTo>
                      <a:pt x="819" y="81"/>
                    </a:lnTo>
                    <a:lnTo>
                      <a:pt x="819" y="82"/>
                    </a:lnTo>
                    <a:lnTo>
                      <a:pt x="817" y="82"/>
                    </a:lnTo>
                    <a:lnTo>
                      <a:pt x="819" y="82"/>
                    </a:lnTo>
                    <a:lnTo>
                      <a:pt x="817" y="82"/>
                    </a:lnTo>
                    <a:lnTo>
                      <a:pt x="817" y="81"/>
                    </a:lnTo>
                    <a:lnTo>
                      <a:pt x="815" y="81"/>
                    </a:lnTo>
                    <a:lnTo>
                      <a:pt x="813" y="81"/>
                    </a:lnTo>
                    <a:lnTo>
                      <a:pt x="815" y="81"/>
                    </a:lnTo>
                    <a:lnTo>
                      <a:pt x="813" y="82"/>
                    </a:lnTo>
                    <a:lnTo>
                      <a:pt x="813" y="81"/>
                    </a:lnTo>
                    <a:lnTo>
                      <a:pt x="813" y="79"/>
                    </a:lnTo>
                    <a:lnTo>
                      <a:pt x="811" y="79"/>
                    </a:lnTo>
                    <a:lnTo>
                      <a:pt x="811" y="81"/>
                    </a:lnTo>
                    <a:lnTo>
                      <a:pt x="811" y="79"/>
                    </a:lnTo>
                    <a:lnTo>
                      <a:pt x="811" y="81"/>
                    </a:lnTo>
                    <a:lnTo>
                      <a:pt x="811" y="82"/>
                    </a:lnTo>
                    <a:lnTo>
                      <a:pt x="811" y="81"/>
                    </a:lnTo>
                    <a:lnTo>
                      <a:pt x="811" y="82"/>
                    </a:lnTo>
                    <a:lnTo>
                      <a:pt x="809" y="82"/>
                    </a:lnTo>
                    <a:lnTo>
                      <a:pt x="807" y="82"/>
                    </a:lnTo>
                    <a:lnTo>
                      <a:pt x="809" y="82"/>
                    </a:lnTo>
                    <a:lnTo>
                      <a:pt x="811" y="84"/>
                    </a:lnTo>
                    <a:lnTo>
                      <a:pt x="811" y="86"/>
                    </a:lnTo>
                    <a:lnTo>
                      <a:pt x="809" y="86"/>
                    </a:lnTo>
                    <a:lnTo>
                      <a:pt x="811" y="86"/>
                    </a:lnTo>
                    <a:lnTo>
                      <a:pt x="809" y="86"/>
                    </a:lnTo>
                    <a:lnTo>
                      <a:pt x="809" y="84"/>
                    </a:lnTo>
                    <a:lnTo>
                      <a:pt x="809" y="86"/>
                    </a:lnTo>
                    <a:lnTo>
                      <a:pt x="807" y="86"/>
                    </a:lnTo>
                    <a:lnTo>
                      <a:pt x="807" y="84"/>
                    </a:lnTo>
                    <a:lnTo>
                      <a:pt x="805" y="84"/>
                    </a:lnTo>
                    <a:lnTo>
                      <a:pt x="805" y="82"/>
                    </a:lnTo>
                    <a:lnTo>
                      <a:pt x="804" y="82"/>
                    </a:lnTo>
                    <a:lnTo>
                      <a:pt x="804" y="81"/>
                    </a:lnTo>
                    <a:lnTo>
                      <a:pt x="802" y="81"/>
                    </a:lnTo>
                    <a:lnTo>
                      <a:pt x="802" y="79"/>
                    </a:lnTo>
                    <a:lnTo>
                      <a:pt x="802" y="77"/>
                    </a:lnTo>
                    <a:lnTo>
                      <a:pt x="802" y="75"/>
                    </a:lnTo>
                    <a:lnTo>
                      <a:pt x="800" y="73"/>
                    </a:lnTo>
                    <a:lnTo>
                      <a:pt x="800" y="71"/>
                    </a:lnTo>
                    <a:lnTo>
                      <a:pt x="800" y="69"/>
                    </a:lnTo>
                    <a:lnTo>
                      <a:pt x="798" y="69"/>
                    </a:lnTo>
                    <a:lnTo>
                      <a:pt x="798" y="71"/>
                    </a:lnTo>
                    <a:lnTo>
                      <a:pt x="798" y="73"/>
                    </a:lnTo>
                    <a:lnTo>
                      <a:pt x="798" y="75"/>
                    </a:lnTo>
                    <a:lnTo>
                      <a:pt x="798" y="77"/>
                    </a:lnTo>
                    <a:lnTo>
                      <a:pt x="796" y="77"/>
                    </a:lnTo>
                    <a:lnTo>
                      <a:pt x="796" y="75"/>
                    </a:lnTo>
                    <a:lnTo>
                      <a:pt x="794" y="75"/>
                    </a:lnTo>
                    <a:lnTo>
                      <a:pt x="792" y="75"/>
                    </a:lnTo>
                    <a:lnTo>
                      <a:pt x="792" y="73"/>
                    </a:lnTo>
                    <a:lnTo>
                      <a:pt x="790" y="73"/>
                    </a:lnTo>
                    <a:lnTo>
                      <a:pt x="792" y="73"/>
                    </a:lnTo>
                    <a:lnTo>
                      <a:pt x="792" y="75"/>
                    </a:lnTo>
                    <a:lnTo>
                      <a:pt x="794" y="75"/>
                    </a:lnTo>
                    <a:lnTo>
                      <a:pt x="796" y="75"/>
                    </a:lnTo>
                    <a:lnTo>
                      <a:pt x="794" y="75"/>
                    </a:lnTo>
                    <a:lnTo>
                      <a:pt x="796" y="75"/>
                    </a:lnTo>
                    <a:lnTo>
                      <a:pt x="796" y="77"/>
                    </a:lnTo>
                    <a:lnTo>
                      <a:pt x="798" y="77"/>
                    </a:lnTo>
                    <a:lnTo>
                      <a:pt x="798" y="79"/>
                    </a:lnTo>
                    <a:lnTo>
                      <a:pt x="798" y="81"/>
                    </a:lnTo>
                    <a:lnTo>
                      <a:pt x="800" y="81"/>
                    </a:lnTo>
                    <a:lnTo>
                      <a:pt x="800" y="82"/>
                    </a:lnTo>
                    <a:lnTo>
                      <a:pt x="800" y="84"/>
                    </a:lnTo>
                    <a:lnTo>
                      <a:pt x="802" y="84"/>
                    </a:lnTo>
                    <a:lnTo>
                      <a:pt x="800" y="84"/>
                    </a:lnTo>
                    <a:lnTo>
                      <a:pt x="802" y="84"/>
                    </a:lnTo>
                    <a:lnTo>
                      <a:pt x="800" y="84"/>
                    </a:lnTo>
                    <a:lnTo>
                      <a:pt x="802" y="84"/>
                    </a:lnTo>
                    <a:lnTo>
                      <a:pt x="802" y="86"/>
                    </a:lnTo>
                    <a:lnTo>
                      <a:pt x="802" y="88"/>
                    </a:lnTo>
                    <a:lnTo>
                      <a:pt x="800" y="88"/>
                    </a:lnTo>
                    <a:lnTo>
                      <a:pt x="800" y="86"/>
                    </a:lnTo>
                    <a:lnTo>
                      <a:pt x="798" y="88"/>
                    </a:lnTo>
                    <a:lnTo>
                      <a:pt x="800" y="88"/>
                    </a:lnTo>
                    <a:lnTo>
                      <a:pt x="800" y="90"/>
                    </a:lnTo>
                    <a:lnTo>
                      <a:pt x="800" y="92"/>
                    </a:lnTo>
                    <a:lnTo>
                      <a:pt x="800" y="94"/>
                    </a:lnTo>
                    <a:lnTo>
                      <a:pt x="798" y="94"/>
                    </a:lnTo>
                    <a:lnTo>
                      <a:pt x="796" y="94"/>
                    </a:lnTo>
                    <a:lnTo>
                      <a:pt x="794" y="94"/>
                    </a:lnTo>
                    <a:lnTo>
                      <a:pt x="794" y="92"/>
                    </a:lnTo>
                    <a:lnTo>
                      <a:pt x="792" y="92"/>
                    </a:lnTo>
                    <a:lnTo>
                      <a:pt x="794" y="92"/>
                    </a:lnTo>
                    <a:lnTo>
                      <a:pt x="794" y="90"/>
                    </a:lnTo>
                    <a:lnTo>
                      <a:pt x="792" y="90"/>
                    </a:lnTo>
                    <a:lnTo>
                      <a:pt x="792" y="88"/>
                    </a:lnTo>
                    <a:lnTo>
                      <a:pt x="790" y="86"/>
                    </a:lnTo>
                    <a:lnTo>
                      <a:pt x="788" y="86"/>
                    </a:lnTo>
                    <a:lnTo>
                      <a:pt x="788" y="84"/>
                    </a:lnTo>
                    <a:lnTo>
                      <a:pt x="786" y="84"/>
                    </a:lnTo>
                    <a:lnTo>
                      <a:pt x="784" y="84"/>
                    </a:lnTo>
                    <a:lnTo>
                      <a:pt x="784" y="82"/>
                    </a:lnTo>
                    <a:lnTo>
                      <a:pt x="782" y="82"/>
                    </a:lnTo>
                    <a:lnTo>
                      <a:pt x="780" y="82"/>
                    </a:lnTo>
                    <a:lnTo>
                      <a:pt x="780" y="81"/>
                    </a:lnTo>
                    <a:lnTo>
                      <a:pt x="779" y="81"/>
                    </a:lnTo>
                    <a:lnTo>
                      <a:pt x="779" y="79"/>
                    </a:lnTo>
                    <a:lnTo>
                      <a:pt x="777" y="79"/>
                    </a:lnTo>
                    <a:lnTo>
                      <a:pt x="775" y="79"/>
                    </a:lnTo>
                    <a:lnTo>
                      <a:pt x="777" y="79"/>
                    </a:lnTo>
                    <a:lnTo>
                      <a:pt x="777" y="81"/>
                    </a:lnTo>
                    <a:lnTo>
                      <a:pt x="779" y="81"/>
                    </a:lnTo>
                    <a:lnTo>
                      <a:pt x="779" y="82"/>
                    </a:lnTo>
                    <a:lnTo>
                      <a:pt x="780" y="82"/>
                    </a:lnTo>
                    <a:lnTo>
                      <a:pt x="782" y="82"/>
                    </a:lnTo>
                    <a:lnTo>
                      <a:pt x="780" y="82"/>
                    </a:lnTo>
                    <a:lnTo>
                      <a:pt x="782" y="82"/>
                    </a:lnTo>
                    <a:lnTo>
                      <a:pt x="782" y="84"/>
                    </a:lnTo>
                    <a:lnTo>
                      <a:pt x="784" y="84"/>
                    </a:lnTo>
                    <a:lnTo>
                      <a:pt x="786" y="84"/>
                    </a:lnTo>
                    <a:lnTo>
                      <a:pt x="786" y="86"/>
                    </a:lnTo>
                    <a:lnTo>
                      <a:pt x="784" y="86"/>
                    </a:lnTo>
                    <a:lnTo>
                      <a:pt x="786" y="86"/>
                    </a:lnTo>
                    <a:lnTo>
                      <a:pt x="788" y="86"/>
                    </a:lnTo>
                    <a:lnTo>
                      <a:pt x="788" y="88"/>
                    </a:lnTo>
                    <a:lnTo>
                      <a:pt x="790" y="88"/>
                    </a:lnTo>
                    <a:lnTo>
                      <a:pt x="790" y="90"/>
                    </a:lnTo>
                    <a:lnTo>
                      <a:pt x="790" y="92"/>
                    </a:lnTo>
                    <a:lnTo>
                      <a:pt x="790" y="94"/>
                    </a:lnTo>
                    <a:lnTo>
                      <a:pt x="790" y="96"/>
                    </a:lnTo>
                    <a:lnTo>
                      <a:pt x="790" y="98"/>
                    </a:lnTo>
                    <a:lnTo>
                      <a:pt x="792" y="98"/>
                    </a:lnTo>
                    <a:lnTo>
                      <a:pt x="790" y="98"/>
                    </a:lnTo>
                    <a:lnTo>
                      <a:pt x="790" y="100"/>
                    </a:lnTo>
                    <a:lnTo>
                      <a:pt x="788" y="100"/>
                    </a:lnTo>
                    <a:lnTo>
                      <a:pt x="786" y="100"/>
                    </a:lnTo>
                    <a:lnTo>
                      <a:pt x="784" y="100"/>
                    </a:lnTo>
                    <a:lnTo>
                      <a:pt x="782" y="100"/>
                    </a:lnTo>
                    <a:lnTo>
                      <a:pt x="780" y="98"/>
                    </a:lnTo>
                    <a:lnTo>
                      <a:pt x="779" y="96"/>
                    </a:lnTo>
                    <a:lnTo>
                      <a:pt x="777" y="96"/>
                    </a:lnTo>
                    <a:lnTo>
                      <a:pt x="777" y="94"/>
                    </a:lnTo>
                    <a:lnTo>
                      <a:pt x="777" y="92"/>
                    </a:lnTo>
                    <a:lnTo>
                      <a:pt x="777" y="90"/>
                    </a:lnTo>
                    <a:lnTo>
                      <a:pt x="775" y="90"/>
                    </a:lnTo>
                    <a:lnTo>
                      <a:pt x="775" y="88"/>
                    </a:lnTo>
                    <a:lnTo>
                      <a:pt x="773" y="86"/>
                    </a:lnTo>
                    <a:lnTo>
                      <a:pt x="773" y="88"/>
                    </a:lnTo>
                    <a:lnTo>
                      <a:pt x="775" y="88"/>
                    </a:lnTo>
                    <a:lnTo>
                      <a:pt x="775" y="90"/>
                    </a:lnTo>
                    <a:lnTo>
                      <a:pt x="773" y="90"/>
                    </a:lnTo>
                    <a:lnTo>
                      <a:pt x="775" y="92"/>
                    </a:lnTo>
                    <a:lnTo>
                      <a:pt x="775" y="94"/>
                    </a:lnTo>
                    <a:lnTo>
                      <a:pt x="777" y="94"/>
                    </a:lnTo>
                    <a:lnTo>
                      <a:pt x="775" y="94"/>
                    </a:lnTo>
                    <a:lnTo>
                      <a:pt x="773" y="94"/>
                    </a:lnTo>
                    <a:lnTo>
                      <a:pt x="771" y="94"/>
                    </a:lnTo>
                    <a:lnTo>
                      <a:pt x="773" y="94"/>
                    </a:lnTo>
                    <a:lnTo>
                      <a:pt x="775" y="94"/>
                    </a:lnTo>
                    <a:lnTo>
                      <a:pt x="777" y="96"/>
                    </a:lnTo>
                    <a:lnTo>
                      <a:pt x="777" y="98"/>
                    </a:lnTo>
                    <a:lnTo>
                      <a:pt x="779" y="98"/>
                    </a:lnTo>
                    <a:lnTo>
                      <a:pt x="779" y="100"/>
                    </a:lnTo>
                    <a:lnTo>
                      <a:pt x="780" y="102"/>
                    </a:lnTo>
                    <a:lnTo>
                      <a:pt x="779" y="102"/>
                    </a:lnTo>
                    <a:lnTo>
                      <a:pt x="780" y="102"/>
                    </a:lnTo>
                    <a:lnTo>
                      <a:pt x="780" y="104"/>
                    </a:lnTo>
                    <a:lnTo>
                      <a:pt x="779" y="104"/>
                    </a:lnTo>
                    <a:lnTo>
                      <a:pt x="777" y="104"/>
                    </a:lnTo>
                    <a:lnTo>
                      <a:pt x="777" y="106"/>
                    </a:lnTo>
                    <a:lnTo>
                      <a:pt x="775" y="106"/>
                    </a:lnTo>
                    <a:lnTo>
                      <a:pt x="775" y="107"/>
                    </a:lnTo>
                    <a:lnTo>
                      <a:pt x="773" y="107"/>
                    </a:lnTo>
                    <a:lnTo>
                      <a:pt x="771" y="107"/>
                    </a:lnTo>
                    <a:lnTo>
                      <a:pt x="771" y="109"/>
                    </a:lnTo>
                    <a:lnTo>
                      <a:pt x="769" y="109"/>
                    </a:lnTo>
                    <a:lnTo>
                      <a:pt x="769" y="107"/>
                    </a:lnTo>
                    <a:lnTo>
                      <a:pt x="771" y="107"/>
                    </a:lnTo>
                    <a:lnTo>
                      <a:pt x="769" y="107"/>
                    </a:lnTo>
                    <a:lnTo>
                      <a:pt x="769" y="106"/>
                    </a:lnTo>
                    <a:lnTo>
                      <a:pt x="769" y="104"/>
                    </a:lnTo>
                    <a:lnTo>
                      <a:pt x="769" y="106"/>
                    </a:lnTo>
                    <a:lnTo>
                      <a:pt x="767" y="106"/>
                    </a:lnTo>
                    <a:lnTo>
                      <a:pt x="767" y="107"/>
                    </a:lnTo>
                    <a:lnTo>
                      <a:pt x="769" y="107"/>
                    </a:lnTo>
                    <a:lnTo>
                      <a:pt x="767" y="107"/>
                    </a:lnTo>
                    <a:lnTo>
                      <a:pt x="767" y="109"/>
                    </a:lnTo>
                    <a:lnTo>
                      <a:pt x="765" y="109"/>
                    </a:lnTo>
                    <a:lnTo>
                      <a:pt x="765" y="111"/>
                    </a:lnTo>
                    <a:lnTo>
                      <a:pt x="765" y="109"/>
                    </a:lnTo>
                    <a:lnTo>
                      <a:pt x="763" y="109"/>
                    </a:lnTo>
                    <a:lnTo>
                      <a:pt x="761" y="107"/>
                    </a:lnTo>
                    <a:lnTo>
                      <a:pt x="759" y="106"/>
                    </a:lnTo>
                    <a:lnTo>
                      <a:pt x="757" y="106"/>
                    </a:lnTo>
                    <a:lnTo>
                      <a:pt x="755" y="106"/>
                    </a:lnTo>
                    <a:lnTo>
                      <a:pt x="755" y="104"/>
                    </a:lnTo>
                    <a:lnTo>
                      <a:pt x="755" y="106"/>
                    </a:lnTo>
                    <a:lnTo>
                      <a:pt x="755" y="104"/>
                    </a:lnTo>
                    <a:lnTo>
                      <a:pt x="754" y="104"/>
                    </a:lnTo>
                    <a:lnTo>
                      <a:pt x="754" y="102"/>
                    </a:lnTo>
                    <a:lnTo>
                      <a:pt x="754" y="100"/>
                    </a:lnTo>
                    <a:lnTo>
                      <a:pt x="754" y="98"/>
                    </a:lnTo>
                    <a:lnTo>
                      <a:pt x="754" y="96"/>
                    </a:lnTo>
                    <a:lnTo>
                      <a:pt x="754" y="94"/>
                    </a:lnTo>
                    <a:lnTo>
                      <a:pt x="754" y="96"/>
                    </a:lnTo>
                    <a:lnTo>
                      <a:pt x="754" y="94"/>
                    </a:lnTo>
                    <a:lnTo>
                      <a:pt x="754" y="92"/>
                    </a:lnTo>
                    <a:lnTo>
                      <a:pt x="752" y="92"/>
                    </a:lnTo>
                    <a:lnTo>
                      <a:pt x="754" y="92"/>
                    </a:lnTo>
                    <a:lnTo>
                      <a:pt x="752" y="92"/>
                    </a:lnTo>
                    <a:lnTo>
                      <a:pt x="754" y="92"/>
                    </a:lnTo>
                    <a:lnTo>
                      <a:pt x="752" y="92"/>
                    </a:lnTo>
                    <a:lnTo>
                      <a:pt x="752" y="90"/>
                    </a:lnTo>
                    <a:lnTo>
                      <a:pt x="752" y="92"/>
                    </a:lnTo>
                    <a:lnTo>
                      <a:pt x="754" y="94"/>
                    </a:lnTo>
                    <a:lnTo>
                      <a:pt x="752" y="94"/>
                    </a:lnTo>
                    <a:lnTo>
                      <a:pt x="754" y="94"/>
                    </a:lnTo>
                    <a:lnTo>
                      <a:pt x="752" y="94"/>
                    </a:lnTo>
                    <a:lnTo>
                      <a:pt x="754" y="96"/>
                    </a:lnTo>
                    <a:lnTo>
                      <a:pt x="754" y="98"/>
                    </a:lnTo>
                    <a:lnTo>
                      <a:pt x="752" y="98"/>
                    </a:lnTo>
                    <a:lnTo>
                      <a:pt x="752" y="100"/>
                    </a:lnTo>
                    <a:lnTo>
                      <a:pt x="752" y="98"/>
                    </a:lnTo>
                    <a:lnTo>
                      <a:pt x="752" y="100"/>
                    </a:lnTo>
                    <a:lnTo>
                      <a:pt x="752" y="102"/>
                    </a:lnTo>
                    <a:lnTo>
                      <a:pt x="752" y="100"/>
                    </a:lnTo>
                    <a:lnTo>
                      <a:pt x="752" y="102"/>
                    </a:lnTo>
                    <a:lnTo>
                      <a:pt x="750" y="102"/>
                    </a:lnTo>
                    <a:lnTo>
                      <a:pt x="750" y="100"/>
                    </a:lnTo>
                    <a:lnTo>
                      <a:pt x="750" y="98"/>
                    </a:lnTo>
                    <a:lnTo>
                      <a:pt x="748" y="98"/>
                    </a:lnTo>
                    <a:lnTo>
                      <a:pt x="748" y="96"/>
                    </a:lnTo>
                    <a:lnTo>
                      <a:pt x="748" y="98"/>
                    </a:lnTo>
                    <a:lnTo>
                      <a:pt x="746" y="96"/>
                    </a:lnTo>
                    <a:lnTo>
                      <a:pt x="744" y="96"/>
                    </a:lnTo>
                    <a:lnTo>
                      <a:pt x="742" y="96"/>
                    </a:lnTo>
                    <a:lnTo>
                      <a:pt x="740" y="96"/>
                    </a:lnTo>
                    <a:lnTo>
                      <a:pt x="740" y="94"/>
                    </a:lnTo>
                    <a:lnTo>
                      <a:pt x="738" y="92"/>
                    </a:lnTo>
                    <a:lnTo>
                      <a:pt x="740" y="92"/>
                    </a:lnTo>
                    <a:lnTo>
                      <a:pt x="738" y="92"/>
                    </a:lnTo>
                    <a:lnTo>
                      <a:pt x="738" y="90"/>
                    </a:lnTo>
                    <a:lnTo>
                      <a:pt x="738" y="88"/>
                    </a:lnTo>
                    <a:lnTo>
                      <a:pt x="736" y="88"/>
                    </a:lnTo>
                    <a:lnTo>
                      <a:pt x="736" y="86"/>
                    </a:lnTo>
                    <a:lnTo>
                      <a:pt x="734" y="86"/>
                    </a:lnTo>
                    <a:lnTo>
                      <a:pt x="734" y="84"/>
                    </a:lnTo>
                    <a:lnTo>
                      <a:pt x="732" y="84"/>
                    </a:lnTo>
                    <a:lnTo>
                      <a:pt x="730" y="84"/>
                    </a:lnTo>
                    <a:lnTo>
                      <a:pt x="729" y="84"/>
                    </a:lnTo>
                    <a:lnTo>
                      <a:pt x="727" y="84"/>
                    </a:lnTo>
                    <a:lnTo>
                      <a:pt x="725" y="84"/>
                    </a:lnTo>
                    <a:lnTo>
                      <a:pt x="723" y="84"/>
                    </a:lnTo>
                    <a:lnTo>
                      <a:pt x="721" y="84"/>
                    </a:lnTo>
                    <a:lnTo>
                      <a:pt x="721" y="86"/>
                    </a:lnTo>
                    <a:lnTo>
                      <a:pt x="719" y="86"/>
                    </a:lnTo>
                    <a:lnTo>
                      <a:pt x="717" y="86"/>
                    </a:lnTo>
                    <a:lnTo>
                      <a:pt x="717" y="84"/>
                    </a:lnTo>
                    <a:lnTo>
                      <a:pt x="717" y="86"/>
                    </a:lnTo>
                    <a:lnTo>
                      <a:pt x="717" y="84"/>
                    </a:lnTo>
                    <a:lnTo>
                      <a:pt x="715" y="82"/>
                    </a:lnTo>
                    <a:lnTo>
                      <a:pt x="715" y="81"/>
                    </a:lnTo>
                    <a:lnTo>
                      <a:pt x="717" y="81"/>
                    </a:lnTo>
                    <a:lnTo>
                      <a:pt x="719" y="81"/>
                    </a:lnTo>
                    <a:lnTo>
                      <a:pt x="719" y="82"/>
                    </a:lnTo>
                    <a:lnTo>
                      <a:pt x="719" y="81"/>
                    </a:lnTo>
                    <a:lnTo>
                      <a:pt x="719" y="82"/>
                    </a:lnTo>
                    <a:lnTo>
                      <a:pt x="719" y="81"/>
                    </a:lnTo>
                    <a:lnTo>
                      <a:pt x="719" y="82"/>
                    </a:lnTo>
                    <a:lnTo>
                      <a:pt x="719" y="81"/>
                    </a:lnTo>
                    <a:lnTo>
                      <a:pt x="719" y="82"/>
                    </a:lnTo>
                    <a:lnTo>
                      <a:pt x="721" y="82"/>
                    </a:lnTo>
                    <a:lnTo>
                      <a:pt x="721" y="81"/>
                    </a:lnTo>
                    <a:lnTo>
                      <a:pt x="723" y="81"/>
                    </a:lnTo>
                    <a:lnTo>
                      <a:pt x="721" y="81"/>
                    </a:lnTo>
                    <a:lnTo>
                      <a:pt x="723" y="81"/>
                    </a:lnTo>
                    <a:lnTo>
                      <a:pt x="725" y="81"/>
                    </a:lnTo>
                    <a:lnTo>
                      <a:pt x="725" y="79"/>
                    </a:lnTo>
                    <a:lnTo>
                      <a:pt x="723" y="79"/>
                    </a:lnTo>
                    <a:lnTo>
                      <a:pt x="721" y="79"/>
                    </a:lnTo>
                    <a:lnTo>
                      <a:pt x="721" y="77"/>
                    </a:lnTo>
                    <a:lnTo>
                      <a:pt x="723" y="77"/>
                    </a:lnTo>
                    <a:lnTo>
                      <a:pt x="723" y="75"/>
                    </a:lnTo>
                    <a:lnTo>
                      <a:pt x="725" y="75"/>
                    </a:lnTo>
                    <a:lnTo>
                      <a:pt x="727" y="75"/>
                    </a:lnTo>
                    <a:lnTo>
                      <a:pt x="725" y="75"/>
                    </a:lnTo>
                    <a:lnTo>
                      <a:pt x="727" y="75"/>
                    </a:lnTo>
                    <a:lnTo>
                      <a:pt x="729" y="75"/>
                    </a:lnTo>
                    <a:lnTo>
                      <a:pt x="730" y="75"/>
                    </a:lnTo>
                    <a:lnTo>
                      <a:pt x="732" y="75"/>
                    </a:lnTo>
                    <a:lnTo>
                      <a:pt x="734" y="75"/>
                    </a:lnTo>
                    <a:lnTo>
                      <a:pt x="734" y="73"/>
                    </a:lnTo>
                    <a:lnTo>
                      <a:pt x="734" y="75"/>
                    </a:lnTo>
                    <a:lnTo>
                      <a:pt x="736" y="75"/>
                    </a:lnTo>
                    <a:lnTo>
                      <a:pt x="738" y="75"/>
                    </a:lnTo>
                    <a:lnTo>
                      <a:pt x="740" y="75"/>
                    </a:lnTo>
                    <a:lnTo>
                      <a:pt x="742" y="75"/>
                    </a:lnTo>
                    <a:lnTo>
                      <a:pt x="744" y="75"/>
                    </a:lnTo>
                    <a:lnTo>
                      <a:pt x="744" y="77"/>
                    </a:lnTo>
                    <a:lnTo>
                      <a:pt x="746" y="75"/>
                    </a:lnTo>
                    <a:lnTo>
                      <a:pt x="748" y="77"/>
                    </a:lnTo>
                    <a:lnTo>
                      <a:pt x="748" y="79"/>
                    </a:lnTo>
                    <a:lnTo>
                      <a:pt x="750" y="79"/>
                    </a:lnTo>
                    <a:lnTo>
                      <a:pt x="748" y="79"/>
                    </a:lnTo>
                    <a:lnTo>
                      <a:pt x="750" y="79"/>
                    </a:lnTo>
                    <a:lnTo>
                      <a:pt x="748" y="79"/>
                    </a:lnTo>
                    <a:lnTo>
                      <a:pt x="750" y="79"/>
                    </a:lnTo>
                    <a:lnTo>
                      <a:pt x="750" y="81"/>
                    </a:lnTo>
                    <a:lnTo>
                      <a:pt x="752" y="81"/>
                    </a:lnTo>
                    <a:lnTo>
                      <a:pt x="752" y="82"/>
                    </a:lnTo>
                    <a:lnTo>
                      <a:pt x="752" y="81"/>
                    </a:lnTo>
                    <a:lnTo>
                      <a:pt x="752" y="82"/>
                    </a:lnTo>
                    <a:lnTo>
                      <a:pt x="754" y="82"/>
                    </a:lnTo>
                    <a:lnTo>
                      <a:pt x="752" y="82"/>
                    </a:lnTo>
                    <a:lnTo>
                      <a:pt x="754" y="82"/>
                    </a:lnTo>
                    <a:lnTo>
                      <a:pt x="754" y="81"/>
                    </a:lnTo>
                    <a:lnTo>
                      <a:pt x="752" y="81"/>
                    </a:lnTo>
                    <a:lnTo>
                      <a:pt x="752" y="79"/>
                    </a:lnTo>
                    <a:lnTo>
                      <a:pt x="750" y="79"/>
                    </a:lnTo>
                    <a:lnTo>
                      <a:pt x="748" y="77"/>
                    </a:lnTo>
                    <a:lnTo>
                      <a:pt x="748" y="75"/>
                    </a:lnTo>
                    <a:lnTo>
                      <a:pt x="746" y="75"/>
                    </a:lnTo>
                    <a:lnTo>
                      <a:pt x="744" y="75"/>
                    </a:lnTo>
                    <a:lnTo>
                      <a:pt x="742" y="75"/>
                    </a:lnTo>
                    <a:lnTo>
                      <a:pt x="742" y="73"/>
                    </a:lnTo>
                    <a:lnTo>
                      <a:pt x="744" y="73"/>
                    </a:lnTo>
                    <a:lnTo>
                      <a:pt x="746" y="73"/>
                    </a:lnTo>
                    <a:lnTo>
                      <a:pt x="746" y="75"/>
                    </a:lnTo>
                    <a:lnTo>
                      <a:pt x="746" y="73"/>
                    </a:lnTo>
                    <a:lnTo>
                      <a:pt x="748" y="73"/>
                    </a:lnTo>
                    <a:lnTo>
                      <a:pt x="746" y="73"/>
                    </a:lnTo>
                    <a:lnTo>
                      <a:pt x="748" y="73"/>
                    </a:lnTo>
                    <a:lnTo>
                      <a:pt x="746" y="73"/>
                    </a:lnTo>
                    <a:lnTo>
                      <a:pt x="744" y="73"/>
                    </a:lnTo>
                    <a:lnTo>
                      <a:pt x="742" y="73"/>
                    </a:lnTo>
                    <a:lnTo>
                      <a:pt x="744" y="73"/>
                    </a:lnTo>
                    <a:lnTo>
                      <a:pt x="742" y="73"/>
                    </a:lnTo>
                    <a:lnTo>
                      <a:pt x="744" y="73"/>
                    </a:lnTo>
                    <a:lnTo>
                      <a:pt x="742" y="73"/>
                    </a:lnTo>
                    <a:lnTo>
                      <a:pt x="742" y="75"/>
                    </a:lnTo>
                    <a:lnTo>
                      <a:pt x="742" y="73"/>
                    </a:lnTo>
                    <a:lnTo>
                      <a:pt x="740" y="73"/>
                    </a:lnTo>
                    <a:lnTo>
                      <a:pt x="738" y="73"/>
                    </a:lnTo>
                    <a:lnTo>
                      <a:pt x="736" y="73"/>
                    </a:lnTo>
                    <a:lnTo>
                      <a:pt x="738" y="73"/>
                    </a:lnTo>
                    <a:lnTo>
                      <a:pt x="738" y="71"/>
                    </a:lnTo>
                    <a:lnTo>
                      <a:pt x="738" y="73"/>
                    </a:lnTo>
                    <a:lnTo>
                      <a:pt x="738" y="71"/>
                    </a:lnTo>
                    <a:lnTo>
                      <a:pt x="736" y="71"/>
                    </a:lnTo>
                    <a:lnTo>
                      <a:pt x="734" y="71"/>
                    </a:lnTo>
                    <a:lnTo>
                      <a:pt x="732" y="71"/>
                    </a:lnTo>
                    <a:lnTo>
                      <a:pt x="730" y="69"/>
                    </a:lnTo>
                    <a:lnTo>
                      <a:pt x="730" y="71"/>
                    </a:lnTo>
                    <a:lnTo>
                      <a:pt x="730" y="69"/>
                    </a:lnTo>
                    <a:lnTo>
                      <a:pt x="729" y="71"/>
                    </a:lnTo>
                    <a:lnTo>
                      <a:pt x="727" y="71"/>
                    </a:lnTo>
                    <a:lnTo>
                      <a:pt x="725" y="71"/>
                    </a:lnTo>
                    <a:lnTo>
                      <a:pt x="723" y="71"/>
                    </a:lnTo>
                    <a:lnTo>
                      <a:pt x="721" y="71"/>
                    </a:lnTo>
                    <a:lnTo>
                      <a:pt x="721" y="69"/>
                    </a:lnTo>
                    <a:lnTo>
                      <a:pt x="721" y="71"/>
                    </a:lnTo>
                    <a:lnTo>
                      <a:pt x="721" y="69"/>
                    </a:lnTo>
                    <a:lnTo>
                      <a:pt x="719" y="69"/>
                    </a:lnTo>
                    <a:lnTo>
                      <a:pt x="721" y="69"/>
                    </a:lnTo>
                    <a:lnTo>
                      <a:pt x="719" y="69"/>
                    </a:lnTo>
                    <a:lnTo>
                      <a:pt x="719" y="67"/>
                    </a:lnTo>
                    <a:lnTo>
                      <a:pt x="719" y="65"/>
                    </a:lnTo>
                    <a:lnTo>
                      <a:pt x="717" y="65"/>
                    </a:lnTo>
                    <a:lnTo>
                      <a:pt x="719" y="65"/>
                    </a:lnTo>
                    <a:lnTo>
                      <a:pt x="717" y="65"/>
                    </a:lnTo>
                    <a:lnTo>
                      <a:pt x="717" y="63"/>
                    </a:lnTo>
                    <a:lnTo>
                      <a:pt x="717" y="61"/>
                    </a:lnTo>
                    <a:lnTo>
                      <a:pt x="715" y="61"/>
                    </a:lnTo>
                    <a:lnTo>
                      <a:pt x="715" y="59"/>
                    </a:lnTo>
                    <a:lnTo>
                      <a:pt x="717" y="57"/>
                    </a:lnTo>
                    <a:lnTo>
                      <a:pt x="717" y="59"/>
                    </a:lnTo>
                    <a:lnTo>
                      <a:pt x="719" y="59"/>
                    </a:lnTo>
                    <a:lnTo>
                      <a:pt x="719" y="61"/>
                    </a:lnTo>
                    <a:lnTo>
                      <a:pt x="721" y="61"/>
                    </a:lnTo>
                    <a:lnTo>
                      <a:pt x="723" y="61"/>
                    </a:lnTo>
                    <a:lnTo>
                      <a:pt x="723" y="59"/>
                    </a:lnTo>
                    <a:lnTo>
                      <a:pt x="725" y="59"/>
                    </a:lnTo>
                    <a:lnTo>
                      <a:pt x="725" y="57"/>
                    </a:lnTo>
                    <a:lnTo>
                      <a:pt x="725" y="59"/>
                    </a:lnTo>
                    <a:lnTo>
                      <a:pt x="727" y="59"/>
                    </a:lnTo>
                    <a:lnTo>
                      <a:pt x="727" y="57"/>
                    </a:lnTo>
                    <a:lnTo>
                      <a:pt x="729" y="57"/>
                    </a:lnTo>
                    <a:lnTo>
                      <a:pt x="730" y="57"/>
                    </a:lnTo>
                    <a:lnTo>
                      <a:pt x="732" y="57"/>
                    </a:lnTo>
                    <a:lnTo>
                      <a:pt x="734" y="57"/>
                    </a:lnTo>
                    <a:lnTo>
                      <a:pt x="736" y="57"/>
                    </a:lnTo>
                    <a:lnTo>
                      <a:pt x="736" y="59"/>
                    </a:lnTo>
                    <a:lnTo>
                      <a:pt x="736" y="57"/>
                    </a:lnTo>
                    <a:lnTo>
                      <a:pt x="736" y="59"/>
                    </a:lnTo>
                    <a:lnTo>
                      <a:pt x="738" y="59"/>
                    </a:lnTo>
                    <a:lnTo>
                      <a:pt x="738" y="57"/>
                    </a:lnTo>
                    <a:lnTo>
                      <a:pt x="740" y="57"/>
                    </a:lnTo>
                    <a:lnTo>
                      <a:pt x="740" y="59"/>
                    </a:lnTo>
                    <a:lnTo>
                      <a:pt x="742" y="59"/>
                    </a:lnTo>
                    <a:lnTo>
                      <a:pt x="742" y="61"/>
                    </a:lnTo>
                    <a:lnTo>
                      <a:pt x="742" y="63"/>
                    </a:lnTo>
                    <a:lnTo>
                      <a:pt x="744" y="63"/>
                    </a:lnTo>
                    <a:lnTo>
                      <a:pt x="742" y="61"/>
                    </a:lnTo>
                    <a:lnTo>
                      <a:pt x="742" y="59"/>
                    </a:lnTo>
                    <a:lnTo>
                      <a:pt x="740" y="59"/>
                    </a:lnTo>
                    <a:lnTo>
                      <a:pt x="742" y="59"/>
                    </a:lnTo>
                    <a:lnTo>
                      <a:pt x="742" y="57"/>
                    </a:lnTo>
                    <a:lnTo>
                      <a:pt x="740" y="57"/>
                    </a:lnTo>
                    <a:lnTo>
                      <a:pt x="738" y="57"/>
                    </a:lnTo>
                    <a:lnTo>
                      <a:pt x="738" y="56"/>
                    </a:lnTo>
                    <a:lnTo>
                      <a:pt x="738" y="54"/>
                    </a:lnTo>
                    <a:lnTo>
                      <a:pt x="740" y="54"/>
                    </a:lnTo>
                    <a:lnTo>
                      <a:pt x="742" y="54"/>
                    </a:lnTo>
                    <a:lnTo>
                      <a:pt x="744" y="54"/>
                    </a:lnTo>
                    <a:lnTo>
                      <a:pt x="746" y="54"/>
                    </a:lnTo>
                    <a:lnTo>
                      <a:pt x="746" y="52"/>
                    </a:lnTo>
                    <a:lnTo>
                      <a:pt x="746" y="54"/>
                    </a:lnTo>
                    <a:lnTo>
                      <a:pt x="746" y="52"/>
                    </a:lnTo>
                    <a:lnTo>
                      <a:pt x="748" y="52"/>
                    </a:lnTo>
                    <a:lnTo>
                      <a:pt x="750" y="52"/>
                    </a:lnTo>
                    <a:lnTo>
                      <a:pt x="752" y="54"/>
                    </a:lnTo>
                    <a:lnTo>
                      <a:pt x="752" y="52"/>
                    </a:lnTo>
                    <a:lnTo>
                      <a:pt x="752" y="54"/>
                    </a:lnTo>
                    <a:lnTo>
                      <a:pt x="752" y="52"/>
                    </a:lnTo>
                    <a:lnTo>
                      <a:pt x="752" y="54"/>
                    </a:lnTo>
                    <a:lnTo>
                      <a:pt x="752" y="52"/>
                    </a:lnTo>
                    <a:lnTo>
                      <a:pt x="752" y="54"/>
                    </a:lnTo>
                    <a:lnTo>
                      <a:pt x="754" y="52"/>
                    </a:lnTo>
                    <a:lnTo>
                      <a:pt x="754" y="54"/>
                    </a:lnTo>
                    <a:lnTo>
                      <a:pt x="754" y="56"/>
                    </a:lnTo>
                    <a:lnTo>
                      <a:pt x="755" y="56"/>
                    </a:lnTo>
                    <a:lnTo>
                      <a:pt x="755" y="57"/>
                    </a:lnTo>
                    <a:lnTo>
                      <a:pt x="757" y="57"/>
                    </a:lnTo>
                    <a:lnTo>
                      <a:pt x="759" y="57"/>
                    </a:lnTo>
                    <a:lnTo>
                      <a:pt x="759" y="59"/>
                    </a:lnTo>
                    <a:lnTo>
                      <a:pt x="761" y="59"/>
                    </a:lnTo>
                    <a:lnTo>
                      <a:pt x="759" y="59"/>
                    </a:lnTo>
                    <a:lnTo>
                      <a:pt x="761" y="59"/>
                    </a:lnTo>
                    <a:lnTo>
                      <a:pt x="763" y="59"/>
                    </a:lnTo>
                    <a:lnTo>
                      <a:pt x="763" y="61"/>
                    </a:lnTo>
                    <a:lnTo>
                      <a:pt x="763" y="63"/>
                    </a:lnTo>
                    <a:lnTo>
                      <a:pt x="765" y="63"/>
                    </a:lnTo>
                    <a:lnTo>
                      <a:pt x="765" y="65"/>
                    </a:lnTo>
                    <a:lnTo>
                      <a:pt x="767" y="65"/>
                    </a:lnTo>
                    <a:lnTo>
                      <a:pt x="767" y="67"/>
                    </a:lnTo>
                    <a:lnTo>
                      <a:pt x="769" y="67"/>
                    </a:lnTo>
                    <a:lnTo>
                      <a:pt x="771" y="67"/>
                    </a:lnTo>
                    <a:lnTo>
                      <a:pt x="773" y="67"/>
                    </a:lnTo>
                    <a:lnTo>
                      <a:pt x="773" y="69"/>
                    </a:lnTo>
                    <a:lnTo>
                      <a:pt x="773" y="67"/>
                    </a:lnTo>
                    <a:lnTo>
                      <a:pt x="771" y="67"/>
                    </a:lnTo>
                    <a:lnTo>
                      <a:pt x="773" y="67"/>
                    </a:lnTo>
                    <a:lnTo>
                      <a:pt x="771" y="67"/>
                    </a:lnTo>
                    <a:lnTo>
                      <a:pt x="769" y="67"/>
                    </a:lnTo>
                    <a:lnTo>
                      <a:pt x="769" y="65"/>
                    </a:lnTo>
                    <a:lnTo>
                      <a:pt x="769" y="67"/>
                    </a:lnTo>
                    <a:lnTo>
                      <a:pt x="769" y="65"/>
                    </a:lnTo>
                    <a:lnTo>
                      <a:pt x="769" y="67"/>
                    </a:lnTo>
                    <a:lnTo>
                      <a:pt x="769" y="65"/>
                    </a:lnTo>
                    <a:lnTo>
                      <a:pt x="767" y="65"/>
                    </a:lnTo>
                    <a:lnTo>
                      <a:pt x="769" y="65"/>
                    </a:lnTo>
                    <a:lnTo>
                      <a:pt x="767" y="65"/>
                    </a:lnTo>
                    <a:lnTo>
                      <a:pt x="765" y="65"/>
                    </a:lnTo>
                    <a:lnTo>
                      <a:pt x="767" y="65"/>
                    </a:lnTo>
                    <a:lnTo>
                      <a:pt x="765" y="63"/>
                    </a:lnTo>
                    <a:lnTo>
                      <a:pt x="765" y="61"/>
                    </a:lnTo>
                    <a:lnTo>
                      <a:pt x="767" y="61"/>
                    </a:lnTo>
                    <a:lnTo>
                      <a:pt x="765" y="61"/>
                    </a:lnTo>
                    <a:lnTo>
                      <a:pt x="765" y="59"/>
                    </a:lnTo>
                    <a:lnTo>
                      <a:pt x="763" y="59"/>
                    </a:lnTo>
                    <a:lnTo>
                      <a:pt x="761" y="57"/>
                    </a:lnTo>
                    <a:lnTo>
                      <a:pt x="761" y="56"/>
                    </a:lnTo>
                    <a:lnTo>
                      <a:pt x="761" y="54"/>
                    </a:lnTo>
                    <a:lnTo>
                      <a:pt x="759" y="54"/>
                    </a:lnTo>
                    <a:lnTo>
                      <a:pt x="759" y="52"/>
                    </a:lnTo>
                    <a:lnTo>
                      <a:pt x="757" y="52"/>
                    </a:lnTo>
                    <a:lnTo>
                      <a:pt x="755" y="52"/>
                    </a:lnTo>
                    <a:lnTo>
                      <a:pt x="755" y="50"/>
                    </a:lnTo>
                    <a:lnTo>
                      <a:pt x="754" y="50"/>
                    </a:lnTo>
                    <a:lnTo>
                      <a:pt x="754" y="48"/>
                    </a:lnTo>
                    <a:lnTo>
                      <a:pt x="755" y="48"/>
                    </a:lnTo>
                    <a:lnTo>
                      <a:pt x="757" y="48"/>
                    </a:lnTo>
                    <a:lnTo>
                      <a:pt x="755" y="48"/>
                    </a:lnTo>
                    <a:lnTo>
                      <a:pt x="757" y="50"/>
                    </a:lnTo>
                    <a:lnTo>
                      <a:pt x="759" y="50"/>
                    </a:lnTo>
                    <a:lnTo>
                      <a:pt x="761" y="50"/>
                    </a:lnTo>
                    <a:lnTo>
                      <a:pt x="763" y="52"/>
                    </a:lnTo>
                    <a:lnTo>
                      <a:pt x="765" y="52"/>
                    </a:lnTo>
                    <a:lnTo>
                      <a:pt x="763" y="52"/>
                    </a:lnTo>
                    <a:lnTo>
                      <a:pt x="765" y="54"/>
                    </a:lnTo>
                    <a:lnTo>
                      <a:pt x="765" y="52"/>
                    </a:lnTo>
                    <a:lnTo>
                      <a:pt x="765" y="54"/>
                    </a:lnTo>
                    <a:lnTo>
                      <a:pt x="767" y="52"/>
                    </a:lnTo>
                    <a:lnTo>
                      <a:pt x="767" y="50"/>
                    </a:lnTo>
                    <a:lnTo>
                      <a:pt x="765" y="50"/>
                    </a:lnTo>
                    <a:lnTo>
                      <a:pt x="763" y="48"/>
                    </a:lnTo>
                    <a:lnTo>
                      <a:pt x="763" y="46"/>
                    </a:lnTo>
                    <a:lnTo>
                      <a:pt x="761" y="46"/>
                    </a:lnTo>
                    <a:lnTo>
                      <a:pt x="759" y="46"/>
                    </a:lnTo>
                    <a:lnTo>
                      <a:pt x="759" y="44"/>
                    </a:lnTo>
                    <a:lnTo>
                      <a:pt x="761" y="44"/>
                    </a:lnTo>
                    <a:lnTo>
                      <a:pt x="761" y="42"/>
                    </a:lnTo>
                    <a:lnTo>
                      <a:pt x="763" y="44"/>
                    </a:lnTo>
                    <a:lnTo>
                      <a:pt x="765" y="44"/>
                    </a:lnTo>
                    <a:lnTo>
                      <a:pt x="767" y="44"/>
                    </a:lnTo>
                    <a:lnTo>
                      <a:pt x="769" y="44"/>
                    </a:lnTo>
                    <a:lnTo>
                      <a:pt x="769" y="46"/>
                    </a:lnTo>
                    <a:lnTo>
                      <a:pt x="769" y="44"/>
                    </a:lnTo>
                    <a:lnTo>
                      <a:pt x="769" y="46"/>
                    </a:lnTo>
                    <a:lnTo>
                      <a:pt x="771" y="46"/>
                    </a:lnTo>
                    <a:lnTo>
                      <a:pt x="773" y="46"/>
                    </a:lnTo>
                    <a:lnTo>
                      <a:pt x="775" y="46"/>
                    </a:lnTo>
                    <a:lnTo>
                      <a:pt x="775" y="48"/>
                    </a:lnTo>
                    <a:lnTo>
                      <a:pt x="777" y="48"/>
                    </a:lnTo>
                    <a:lnTo>
                      <a:pt x="779" y="48"/>
                    </a:lnTo>
                    <a:lnTo>
                      <a:pt x="780" y="48"/>
                    </a:lnTo>
                    <a:lnTo>
                      <a:pt x="782" y="48"/>
                    </a:lnTo>
                    <a:lnTo>
                      <a:pt x="782" y="50"/>
                    </a:lnTo>
                    <a:lnTo>
                      <a:pt x="784" y="50"/>
                    </a:lnTo>
                    <a:lnTo>
                      <a:pt x="784" y="52"/>
                    </a:lnTo>
                    <a:lnTo>
                      <a:pt x="786" y="52"/>
                    </a:lnTo>
                    <a:lnTo>
                      <a:pt x="786" y="54"/>
                    </a:lnTo>
                    <a:lnTo>
                      <a:pt x="788" y="54"/>
                    </a:lnTo>
                    <a:lnTo>
                      <a:pt x="790" y="54"/>
                    </a:lnTo>
                    <a:lnTo>
                      <a:pt x="790" y="56"/>
                    </a:lnTo>
                    <a:lnTo>
                      <a:pt x="792" y="57"/>
                    </a:lnTo>
                    <a:lnTo>
                      <a:pt x="792" y="59"/>
                    </a:lnTo>
                    <a:lnTo>
                      <a:pt x="794" y="59"/>
                    </a:lnTo>
                    <a:lnTo>
                      <a:pt x="794" y="57"/>
                    </a:lnTo>
                    <a:lnTo>
                      <a:pt x="792" y="57"/>
                    </a:lnTo>
                    <a:lnTo>
                      <a:pt x="792" y="56"/>
                    </a:lnTo>
                    <a:lnTo>
                      <a:pt x="790" y="56"/>
                    </a:lnTo>
                    <a:lnTo>
                      <a:pt x="792" y="56"/>
                    </a:lnTo>
                    <a:lnTo>
                      <a:pt x="792" y="54"/>
                    </a:lnTo>
                    <a:lnTo>
                      <a:pt x="790" y="54"/>
                    </a:lnTo>
                    <a:lnTo>
                      <a:pt x="788" y="54"/>
                    </a:lnTo>
                    <a:lnTo>
                      <a:pt x="788" y="52"/>
                    </a:lnTo>
                    <a:lnTo>
                      <a:pt x="786" y="50"/>
                    </a:lnTo>
                    <a:lnTo>
                      <a:pt x="784" y="50"/>
                    </a:lnTo>
                    <a:lnTo>
                      <a:pt x="784" y="48"/>
                    </a:lnTo>
                    <a:lnTo>
                      <a:pt x="782" y="48"/>
                    </a:lnTo>
                    <a:lnTo>
                      <a:pt x="784" y="48"/>
                    </a:lnTo>
                    <a:lnTo>
                      <a:pt x="782" y="48"/>
                    </a:lnTo>
                    <a:lnTo>
                      <a:pt x="782" y="46"/>
                    </a:lnTo>
                    <a:lnTo>
                      <a:pt x="780" y="46"/>
                    </a:lnTo>
                    <a:lnTo>
                      <a:pt x="780" y="48"/>
                    </a:lnTo>
                    <a:lnTo>
                      <a:pt x="779" y="48"/>
                    </a:lnTo>
                    <a:lnTo>
                      <a:pt x="779" y="46"/>
                    </a:lnTo>
                    <a:lnTo>
                      <a:pt x="777" y="46"/>
                    </a:lnTo>
                    <a:lnTo>
                      <a:pt x="779" y="46"/>
                    </a:lnTo>
                    <a:lnTo>
                      <a:pt x="777" y="46"/>
                    </a:lnTo>
                    <a:lnTo>
                      <a:pt x="777" y="44"/>
                    </a:lnTo>
                    <a:lnTo>
                      <a:pt x="777" y="46"/>
                    </a:lnTo>
                    <a:lnTo>
                      <a:pt x="777" y="44"/>
                    </a:lnTo>
                    <a:lnTo>
                      <a:pt x="775" y="42"/>
                    </a:lnTo>
                    <a:lnTo>
                      <a:pt x="773" y="42"/>
                    </a:lnTo>
                    <a:lnTo>
                      <a:pt x="771" y="42"/>
                    </a:lnTo>
                    <a:lnTo>
                      <a:pt x="769" y="42"/>
                    </a:lnTo>
                    <a:lnTo>
                      <a:pt x="771" y="42"/>
                    </a:lnTo>
                    <a:lnTo>
                      <a:pt x="771" y="40"/>
                    </a:lnTo>
                    <a:lnTo>
                      <a:pt x="771" y="42"/>
                    </a:lnTo>
                    <a:lnTo>
                      <a:pt x="771" y="40"/>
                    </a:lnTo>
                    <a:lnTo>
                      <a:pt x="769" y="38"/>
                    </a:lnTo>
                    <a:lnTo>
                      <a:pt x="769" y="36"/>
                    </a:lnTo>
                    <a:lnTo>
                      <a:pt x="771" y="36"/>
                    </a:lnTo>
                    <a:lnTo>
                      <a:pt x="771" y="34"/>
                    </a:lnTo>
                    <a:lnTo>
                      <a:pt x="771" y="36"/>
                    </a:lnTo>
                    <a:lnTo>
                      <a:pt x="771" y="34"/>
                    </a:lnTo>
                    <a:lnTo>
                      <a:pt x="771" y="36"/>
                    </a:lnTo>
                    <a:lnTo>
                      <a:pt x="771" y="34"/>
                    </a:lnTo>
                    <a:lnTo>
                      <a:pt x="773" y="34"/>
                    </a:lnTo>
                    <a:lnTo>
                      <a:pt x="775" y="34"/>
                    </a:lnTo>
                    <a:lnTo>
                      <a:pt x="777" y="34"/>
                    </a:lnTo>
                    <a:lnTo>
                      <a:pt x="777" y="36"/>
                    </a:lnTo>
                    <a:lnTo>
                      <a:pt x="777" y="38"/>
                    </a:lnTo>
                    <a:lnTo>
                      <a:pt x="777" y="36"/>
                    </a:lnTo>
                    <a:lnTo>
                      <a:pt x="779" y="38"/>
                    </a:lnTo>
                    <a:lnTo>
                      <a:pt x="779" y="36"/>
                    </a:lnTo>
                    <a:lnTo>
                      <a:pt x="779" y="38"/>
                    </a:lnTo>
                    <a:lnTo>
                      <a:pt x="780" y="36"/>
                    </a:lnTo>
                    <a:lnTo>
                      <a:pt x="780" y="38"/>
                    </a:lnTo>
                    <a:lnTo>
                      <a:pt x="780" y="36"/>
                    </a:lnTo>
                    <a:lnTo>
                      <a:pt x="780" y="38"/>
                    </a:lnTo>
                    <a:lnTo>
                      <a:pt x="780" y="36"/>
                    </a:lnTo>
                    <a:lnTo>
                      <a:pt x="780" y="38"/>
                    </a:lnTo>
                    <a:lnTo>
                      <a:pt x="782" y="38"/>
                    </a:lnTo>
                    <a:lnTo>
                      <a:pt x="784" y="38"/>
                    </a:lnTo>
                    <a:lnTo>
                      <a:pt x="786" y="38"/>
                    </a:lnTo>
                    <a:lnTo>
                      <a:pt x="788" y="38"/>
                    </a:lnTo>
                    <a:lnTo>
                      <a:pt x="788" y="40"/>
                    </a:lnTo>
                    <a:lnTo>
                      <a:pt x="790" y="40"/>
                    </a:lnTo>
                    <a:lnTo>
                      <a:pt x="788" y="40"/>
                    </a:lnTo>
                    <a:lnTo>
                      <a:pt x="790" y="40"/>
                    </a:lnTo>
                    <a:lnTo>
                      <a:pt x="790" y="42"/>
                    </a:lnTo>
                    <a:lnTo>
                      <a:pt x="792" y="42"/>
                    </a:lnTo>
                    <a:lnTo>
                      <a:pt x="792" y="40"/>
                    </a:lnTo>
                    <a:lnTo>
                      <a:pt x="792" y="42"/>
                    </a:lnTo>
                    <a:lnTo>
                      <a:pt x="794" y="42"/>
                    </a:lnTo>
                    <a:lnTo>
                      <a:pt x="796" y="42"/>
                    </a:lnTo>
                    <a:lnTo>
                      <a:pt x="796" y="44"/>
                    </a:lnTo>
                    <a:lnTo>
                      <a:pt x="798" y="44"/>
                    </a:lnTo>
                    <a:lnTo>
                      <a:pt x="798" y="42"/>
                    </a:lnTo>
                    <a:lnTo>
                      <a:pt x="798" y="44"/>
                    </a:lnTo>
                    <a:lnTo>
                      <a:pt x="798" y="42"/>
                    </a:lnTo>
                    <a:lnTo>
                      <a:pt x="796" y="42"/>
                    </a:lnTo>
                    <a:lnTo>
                      <a:pt x="794" y="42"/>
                    </a:lnTo>
                    <a:lnTo>
                      <a:pt x="792" y="42"/>
                    </a:lnTo>
                    <a:lnTo>
                      <a:pt x="792" y="40"/>
                    </a:lnTo>
                    <a:lnTo>
                      <a:pt x="790" y="40"/>
                    </a:lnTo>
                    <a:lnTo>
                      <a:pt x="790" y="38"/>
                    </a:lnTo>
                    <a:lnTo>
                      <a:pt x="790" y="36"/>
                    </a:lnTo>
                    <a:lnTo>
                      <a:pt x="788" y="36"/>
                    </a:lnTo>
                    <a:lnTo>
                      <a:pt x="790" y="36"/>
                    </a:lnTo>
                    <a:lnTo>
                      <a:pt x="792" y="36"/>
                    </a:lnTo>
                    <a:lnTo>
                      <a:pt x="790" y="36"/>
                    </a:lnTo>
                    <a:lnTo>
                      <a:pt x="790" y="34"/>
                    </a:lnTo>
                    <a:lnTo>
                      <a:pt x="790" y="36"/>
                    </a:lnTo>
                    <a:lnTo>
                      <a:pt x="790" y="34"/>
                    </a:lnTo>
                    <a:lnTo>
                      <a:pt x="788" y="34"/>
                    </a:lnTo>
                    <a:lnTo>
                      <a:pt x="788" y="32"/>
                    </a:lnTo>
                    <a:lnTo>
                      <a:pt x="786" y="32"/>
                    </a:lnTo>
                    <a:lnTo>
                      <a:pt x="784" y="32"/>
                    </a:lnTo>
                    <a:lnTo>
                      <a:pt x="782" y="32"/>
                    </a:lnTo>
                    <a:lnTo>
                      <a:pt x="780" y="32"/>
                    </a:lnTo>
                    <a:lnTo>
                      <a:pt x="780" y="31"/>
                    </a:lnTo>
                    <a:lnTo>
                      <a:pt x="779" y="31"/>
                    </a:lnTo>
                    <a:lnTo>
                      <a:pt x="780" y="31"/>
                    </a:lnTo>
                    <a:lnTo>
                      <a:pt x="779" y="31"/>
                    </a:lnTo>
                    <a:lnTo>
                      <a:pt x="779" y="29"/>
                    </a:lnTo>
                    <a:lnTo>
                      <a:pt x="780" y="29"/>
                    </a:lnTo>
                    <a:lnTo>
                      <a:pt x="782" y="29"/>
                    </a:lnTo>
                    <a:lnTo>
                      <a:pt x="784" y="29"/>
                    </a:lnTo>
                    <a:lnTo>
                      <a:pt x="786" y="29"/>
                    </a:lnTo>
                    <a:lnTo>
                      <a:pt x="788" y="29"/>
                    </a:lnTo>
                    <a:lnTo>
                      <a:pt x="790" y="29"/>
                    </a:lnTo>
                    <a:lnTo>
                      <a:pt x="792" y="31"/>
                    </a:lnTo>
                    <a:lnTo>
                      <a:pt x="792" y="29"/>
                    </a:lnTo>
                    <a:lnTo>
                      <a:pt x="792" y="31"/>
                    </a:lnTo>
                    <a:lnTo>
                      <a:pt x="792" y="29"/>
                    </a:lnTo>
                    <a:lnTo>
                      <a:pt x="794" y="29"/>
                    </a:lnTo>
                    <a:lnTo>
                      <a:pt x="794" y="31"/>
                    </a:lnTo>
                    <a:lnTo>
                      <a:pt x="792" y="31"/>
                    </a:lnTo>
                    <a:lnTo>
                      <a:pt x="794" y="29"/>
                    </a:lnTo>
                    <a:lnTo>
                      <a:pt x="796" y="29"/>
                    </a:lnTo>
                    <a:lnTo>
                      <a:pt x="796" y="31"/>
                    </a:lnTo>
                    <a:lnTo>
                      <a:pt x="796" y="29"/>
                    </a:lnTo>
                    <a:lnTo>
                      <a:pt x="794" y="29"/>
                    </a:lnTo>
                    <a:lnTo>
                      <a:pt x="796" y="29"/>
                    </a:lnTo>
                    <a:lnTo>
                      <a:pt x="798" y="29"/>
                    </a:lnTo>
                    <a:lnTo>
                      <a:pt x="796" y="29"/>
                    </a:lnTo>
                    <a:lnTo>
                      <a:pt x="794" y="29"/>
                    </a:lnTo>
                    <a:lnTo>
                      <a:pt x="794" y="27"/>
                    </a:lnTo>
                    <a:lnTo>
                      <a:pt x="792" y="27"/>
                    </a:lnTo>
                    <a:lnTo>
                      <a:pt x="792" y="29"/>
                    </a:lnTo>
                    <a:lnTo>
                      <a:pt x="792" y="27"/>
                    </a:lnTo>
                    <a:lnTo>
                      <a:pt x="790" y="27"/>
                    </a:lnTo>
                    <a:lnTo>
                      <a:pt x="790" y="29"/>
                    </a:lnTo>
                    <a:lnTo>
                      <a:pt x="790" y="27"/>
                    </a:lnTo>
                    <a:lnTo>
                      <a:pt x="792" y="27"/>
                    </a:lnTo>
                    <a:lnTo>
                      <a:pt x="790" y="27"/>
                    </a:lnTo>
                    <a:lnTo>
                      <a:pt x="790" y="25"/>
                    </a:lnTo>
                    <a:lnTo>
                      <a:pt x="790" y="27"/>
                    </a:lnTo>
                    <a:lnTo>
                      <a:pt x="790" y="25"/>
                    </a:lnTo>
                    <a:lnTo>
                      <a:pt x="792" y="25"/>
                    </a:lnTo>
                    <a:lnTo>
                      <a:pt x="794" y="25"/>
                    </a:lnTo>
                    <a:lnTo>
                      <a:pt x="792" y="25"/>
                    </a:lnTo>
                    <a:lnTo>
                      <a:pt x="792" y="23"/>
                    </a:lnTo>
                    <a:lnTo>
                      <a:pt x="790" y="23"/>
                    </a:lnTo>
                    <a:lnTo>
                      <a:pt x="788" y="23"/>
                    </a:lnTo>
                    <a:lnTo>
                      <a:pt x="788" y="21"/>
                    </a:lnTo>
                    <a:lnTo>
                      <a:pt x="786" y="21"/>
                    </a:lnTo>
                    <a:lnTo>
                      <a:pt x="786" y="23"/>
                    </a:lnTo>
                    <a:lnTo>
                      <a:pt x="784" y="23"/>
                    </a:lnTo>
                    <a:lnTo>
                      <a:pt x="784" y="21"/>
                    </a:lnTo>
                    <a:lnTo>
                      <a:pt x="782" y="21"/>
                    </a:lnTo>
                    <a:lnTo>
                      <a:pt x="782" y="19"/>
                    </a:lnTo>
                    <a:lnTo>
                      <a:pt x="784" y="19"/>
                    </a:lnTo>
                    <a:lnTo>
                      <a:pt x="784" y="17"/>
                    </a:lnTo>
                    <a:lnTo>
                      <a:pt x="782" y="15"/>
                    </a:lnTo>
                    <a:lnTo>
                      <a:pt x="782" y="17"/>
                    </a:lnTo>
                    <a:lnTo>
                      <a:pt x="782" y="15"/>
                    </a:lnTo>
                    <a:lnTo>
                      <a:pt x="784" y="15"/>
                    </a:lnTo>
                    <a:lnTo>
                      <a:pt x="784" y="13"/>
                    </a:lnTo>
                    <a:lnTo>
                      <a:pt x="786" y="13"/>
                    </a:lnTo>
                    <a:lnTo>
                      <a:pt x="786" y="11"/>
                    </a:lnTo>
                    <a:lnTo>
                      <a:pt x="788" y="11"/>
                    </a:lnTo>
                    <a:lnTo>
                      <a:pt x="788" y="13"/>
                    </a:lnTo>
                    <a:lnTo>
                      <a:pt x="790" y="13"/>
                    </a:lnTo>
                    <a:lnTo>
                      <a:pt x="788" y="13"/>
                    </a:lnTo>
                    <a:lnTo>
                      <a:pt x="790" y="13"/>
                    </a:lnTo>
                    <a:lnTo>
                      <a:pt x="792" y="13"/>
                    </a:lnTo>
                    <a:lnTo>
                      <a:pt x="790" y="15"/>
                    </a:lnTo>
                    <a:lnTo>
                      <a:pt x="792" y="15"/>
                    </a:lnTo>
                    <a:lnTo>
                      <a:pt x="794" y="15"/>
                    </a:lnTo>
                    <a:lnTo>
                      <a:pt x="794" y="17"/>
                    </a:lnTo>
                    <a:lnTo>
                      <a:pt x="794" y="19"/>
                    </a:lnTo>
                    <a:lnTo>
                      <a:pt x="794" y="21"/>
                    </a:lnTo>
                    <a:lnTo>
                      <a:pt x="794" y="19"/>
                    </a:lnTo>
                    <a:lnTo>
                      <a:pt x="794" y="21"/>
                    </a:lnTo>
                    <a:lnTo>
                      <a:pt x="794" y="23"/>
                    </a:lnTo>
                    <a:lnTo>
                      <a:pt x="796" y="23"/>
                    </a:lnTo>
                    <a:lnTo>
                      <a:pt x="796" y="21"/>
                    </a:lnTo>
                    <a:lnTo>
                      <a:pt x="794" y="21"/>
                    </a:lnTo>
                    <a:lnTo>
                      <a:pt x="796" y="21"/>
                    </a:lnTo>
                    <a:lnTo>
                      <a:pt x="798" y="23"/>
                    </a:lnTo>
                    <a:lnTo>
                      <a:pt x="800" y="23"/>
                    </a:lnTo>
                    <a:lnTo>
                      <a:pt x="800" y="21"/>
                    </a:lnTo>
                    <a:lnTo>
                      <a:pt x="798" y="21"/>
                    </a:lnTo>
                    <a:lnTo>
                      <a:pt x="800" y="21"/>
                    </a:lnTo>
                    <a:lnTo>
                      <a:pt x="800" y="19"/>
                    </a:lnTo>
                    <a:lnTo>
                      <a:pt x="802" y="19"/>
                    </a:lnTo>
                    <a:lnTo>
                      <a:pt x="804" y="19"/>
                    </a:lnTo>
                    <a:lnTo>
                      <a:pt x="804" y="17"/>
                    </a:lnTo>
                    <a:lnTo>
                      <a:pt x="804" y="19"/>
                    </a:lnTo>
                    <a:lnTo>
                      <a:pt x="804" y="17"/>
                    </a:lnTo>
                    <a:lnTo>
                      <a:pt x="804" y="19"/>
                    </a:lnTo>
                    <a:lnTo>
                      <a:pt x="805" y="19"/>
                    </a:lnTo>
                    <a:lnTo>
                      <a:pt x="805" y="17"/>
                    </a:lnTo>
                    <a:lnTo>
                      <a:pt x="805" y="19"/>
                    </a:lnTo>
                    <a:lnTo>
                      <a:pt x="805" y="17"/>
                    </a:lnTo>
                    <a:lnTo>
                      <a:pt x="807" y="17"/>
                    </a:lnTo>
                    <a:lnTo>
                      <a:pt x="807" y="19"/>
                    </a:lnTo>
                    <a:lnTo>
                      <a:pt x="807" y="17"/>
                    </a:lnTo>
                    <a:lnTo>
                      <a:pt x="809" y="17"/>
                    </a:lnTo>
                    <a:lnTo>
                      <a:pt x="807" y="17"/>
                    </a:lnTo>
                    <a:lnTo>
                      <a:pt x="807" y="15"/>
                    </a:lnTo>
                    <a:lnTo>
                      <a:pt x="809" y="15"/>
                    </a:lnTo>
                    <a:lnTo>
                      <a:pt x="807" y="15"/>
                    </a:lnTo>
                    <a:lnTo>
                      <a:pt x="805" y="13"/>
                    </a:lnTo>
                    <a:lnTo>
                      <a:pt x="807" y="11"/>
                    </a:lnTo>
                    <a:lnTo>
                      <a:pt x="809" y="11"/>
                    </a:lnTo>
                    <a:lnTo>
                      <a:pt x="811" y="11"/>
                    </a:lnTo>
                    <a:lnTo>
                      <a:pt x="813" y="11"/>
                    </a:lnTo>
                    <a:lnTo>
                      <a:pt x="813" y="13"/>
                    </a:lnTo>
                    <a:lnTo>
                      <a:pt x="815" y="13"/>
                    </a:lnTo>
                    <a:lnTo>
                      <a:pt x="813" y="13"/>
                    </a:lnTo>
                    <a:lnTo>
                      <a:pt x="815" y="13"/>
                    </a:lnTo>
                    <a:lnTo>
                      <a:pt x="817" y="15"/>
                    </a:lnTo>
                    <a:lnTo>
                      <a:pt x="819" y="15"/>
                    </a:lnTo>
                    <a:lnTo>
                      <a:pt x="819" y="17"/>
                    </a:lnTo>
                    <a:lnTo>
                      <a:pt x="821" y="17"/>
                    </a:lnTo>
                    <a:lnTo>
                      <a:pt x="821" y="19"/>
                    </a:lnTo>
                    <a:lnTo>
                      <a:pt x="823" y="19"/>
                    </a:lnTo>
                    <a:lnTo>
                      <a:pt x="823" y="21"/>
                    </a:lnTo>
                    <a:lnTo>
                      <a:pt x="823" y="19"/>
                    </a:lnTo>
                    <a:lnTo>
                      <a:pt x="823" y="21"/>
                    </a:lnTo>
                    <a:lnTo>
                      <a:pt x="823" y="19"/>
                    </a:lnTo>
                    <a:lnTo>
                      <a:pt x="825" y="19"/>
                    </a:lnTo>
                    <a:lnTo>
                      <a:pt x="825" y="21"/>
                    </a:lnTo>
                    <a:lnTo>
                      <a:pt x="825" y="19"/>
                    </a:lnTo>
                    <a:lnTo>
                      <a:pt x="825" y="21"/>
                    </a:lnTo>
                    <a:lnTo>
                      <a:pt x="827" y="21"/>
                    </a:lnTo>
                    <a:lnTo>
                      <a:pt x="828" y="21"/>
                    </a:lnTo>
                    <a:lnTo>
                      <a:pt x="828" y="19"/>
                    </a:lnTo>
                    <a:lnTo>
                      <a:pt x="827" y="19"/>
                    </a:lnTo>
                    <a:lnTo>
                      <a:pt x="825" y="19"/>
                    </a:lnTo>
                    <a:lnTo>
                      <a:pt x="825" y="17"/>
                    </a:lnTo>
                    <a:lnTo>
                      <a:pt x="827" y="17"/>
                    </a:lnTo>
                    <a:lnTo>
                      <a:pt x="827" y="15"/>
                    </a:lnTo>
                    <a:lnTo>
                      <a:pt x="828" y="15"/>
                    </a:lnTo>
                    <a:lnTo>
                      <a:pt x="827" y="15"/>
                    </a:lnTo>
                    <a:lnTo>
                      <a:pt x="827" y="13"/>
                    </a:lnTo>
                    <a:lnTo>
                      <a:pt x="825" y="13"/>
                    </a:lnTo>
                    <a:lnTo>
                      <a:pt x="825" y="11"/>
                    </a:lnTo>
                    <a:lnTo>
                      <a:pt x="827" y="11"/>
                    </a:lnTo>
                    <a:lnTo>
                      <a:pt x="827" y="9"/>
                    </a:lnTo>
                    <a:lnTo>
                      <a:pt x="827" y="11"/>
                    </a:lnTo>
                    <a:lnTo>
                      <a:pt x="827" y="9"/>
                    </a:lnTo>
                    <a:lnTo>
                      <a:pt x="827" y="11"/>
                    </a:lnTo>
                    <a:lnTo>
                      <a:pt x="828" y="11"/>
                    </a:lnTo>
                    <a:lnTo>
                      <a:pt x="830" y="11"/>
                    </a:lnTo>
                    <a:lnTo>
                      <a:pt x="832" y="11"/>
                    </a:lnTo>
                    <a:lnTo>
                      <a:pt x="834" y="11"/>
                    </a:lnTo>
                    <a:lnTo>
                      <a:pt x="836" y="11"/>
                    </a:lnTo>
                    <a:lnTo>
                      <a:pt x="834" y="11"/>
                    </a:lnTo>
                    <a:lnTo>
                      <a:pt x="836" y="11"/>
                    </a:lnTo>
                    <a:lnTo>
                      <a:pt x="836" y="13"/>
                    </a:lnTo>
                    <a:lnTo>
                      <a:pt x="836" y="11"/>
                    </a:lnTo>
                    <a:lnTo>
                      <a:pt x="836" y="13"/>
                    </a:lnTo>
                    <a:lnTo>
                      <a:pt x="836" y="11"/>
                    </a:lnTo>
                    <a:lnTo>
                      <a:pt x="836" y="13"/>
                    </a:lnTo>
                    <a:lnTo>
                      <a:pt x="836" y="11"/>
                    </a:lnTo>
                    <a:lnTo>
                      <a:pt x="838" y="11"/>
                    </a:lnTo>
                    <a:lnTo>
                      <a:pt x="840" y="13"/>
                    </a:lnTo>
                    <a:lnTo>
                      <a:pt x="840" y="11"/>
                    </a:lnTo>
                    <a:lnTo>
                      <a:pt x="840" y="13"/>
                    </a:lnTo>
                    <a:lnTo>
                      <a:pt x="840" y="11"/>
                    </a:lnTo>
                    <a:lnTo>
                      <a:pt x="840" y="13"/>
                    </a:lnTo>
                    <a:lnTo>
                      <a:pt x="842" y="13"/>
                    </a:lnTo>
                    <a:lnTo>
                      <a:pt x="842" y="11"/>
                    </a:lnTo>
                    <a:lnTo>
                      <a:pt x="842" y="9"/>
                    </a:lnTo>
                    <a:lnTo>
                      <a:pt x="840" y="9"/>
                    </a:lnTo>
                    <a:lnTo>
                      <a:pt x="838" y="9"/>
                    </a:lnTo>
                    <a:lnTo>
                      <a:pt x="836" y="9"/>
                    </a:lnTo>
                    <a:lnTo>
                      <a:pt x="836" y="7"/>
                    </a:lnTo>
                    <a:lnTo>
                      <a:pt x="838" y="7"/>
                    </a:lnTo>
                    <a:lnTo>
                      <a:pt x="840" y="7"/>
                    </a:lnTo>
                    <a:lnTo>
                      <a:pt x="842" y="7"/>
                    </a:lnTo>
                    <a:lnTo>
                      <a:pt x="844" y="7"/>
                    </a:lnTo>
                    <a:lnTo>
                      <a:pt x="846" y="7"/>
                    </a:lnTo>
                    <a:lnTo>
                      <a:pt x="848" y="7"/>
                    </a:lnTo>
                    <a:lnTo>
                      <a:pt x="848" y="9"/>
                    </a:lnTo>
                    <a:lnTo>
                      <a:pt x="850" y="9"/>
                    </a:lnTo>
                    <a:lnTo>
                      <a:pt x="852" y="9"/>
                    </a:lnTo>
                    <a:lnTo>
                      <a:pt x="852" y="7"/>
                    </a:lnTo>
                    <a:lnTo>
                      <a:pt x="853" y="7"/>
                    </a:lnTo>
                    <a:lnTo>
                      <a:pt x="853" y="6"/>
                    </a:lnTo>
                    <a:lnTo>
                      <a:pt x="855" y="6"/>
                    </a:lnTo>
                    <a:lnTo>
                      <a:pt x="855" y="4"/>
                    </a:lnTo>
                    <a:lnTo>
                      <a:pt x="857" y="4"/>
                    </a:lnTo>
                    <a:lnTo>
                      <a:pt x="857" y="6"/>
                    </a:lnTo>
                    <a:lnTo>
                      <a:pt x="857" y="4"/>
                    </a:lnTo>
                    <a:lnTo>
                      <a:pt x="857" y="6"/>
                    </a:lnTo>
                    <a:lnTo>
                      <a:pt x="859" y="6"/>
                    </a:lnTo>
                    <a:lnTo>
                      <a:pt x="861" y="7"/>
                    </a:lnTo>
                    <a:lnTo>
                      <a:pt x="863" y="7"/>
                    </a:lnTo>
                    <a:lnTo>
                      <a:pt x="863" y="6"/>
                    </a:lnTo>
                    <a:lnTo>
                      <a:pt x="865" y="6"/>
                    </a:lnTo>
                    <a:lnTo>
                      <a:pt x="865" y="7"/>
                    </a:lnTo>
                    <a:lnTo>
                      <a:pt x="867" y="7"/>
                    </a:lnTo>
                    <a:lnTo>
                      <a:pt x="867" y="6"/>
                    </a:lnTo>
                    <a:lnTo>
                      <a:pt x="869" y="6"/>
                    </a:lnTo>
                    <a:lnTo>
                      <a:pt x="871" y="6"/>
                    </a:lnTo>
                    <a:lnTo>
                      <a:pt x="871" y="7"/>
                    </a:lnTo>
                    <a:lnTo>
                      <a:pt x="873" y="7"/>
                    </a:lnTo>
                    <a:lnTo>
                      <a:pt x="873" y="9"/>
                    </a:lnTo>
                    <a:lnTo>
                      <a:pt x="873" y="7"/>
                    </a:lnTo>
                    <a:lnTo>
                      <a:pt x="873" y="9"/>
                    </a:lnTo>
                    <a:lnTo>
                      <a:pt x="873" y="7"/>
                    </a:lnTo>
                    <a:lnTo>
                      <a:pt x="873" y="9"/>
                    </a:lnTo>
                    <a:lnTo>
                      <a:pt x="875" y="9"/>
                    </a:lnTo>
                    <a:lnTo>
                      <a:pt x="875" y="7"/>
                    </a:lnTo>
                    <a:lnTo>
                      <a:pt x="877" y="7"/>
                    </a:lnTo>
                    <a:lnTo>
                      <a:pt x="877" y="9"/>
                    </a:lnTo>
                    <a:lnTo>
                      <a:pt x="878" y="9"/>
                    </a:lnTo>
                    <a:lnTo>
                      <a:pt x="878" y="7"/>
                    </a:lnTo>
                    <a:lnTo>
                      <a:pt x="880" y="7"/>
                    </a:lnTo>
                    <a:lnTo>
                      <a:pt x="882" y="7"/>
                    </a:lnTo>
                    <a:lnTo>
                      <a:pt x="882" y="9"/>
                    </a:lnTo>
                    <a:lnTo>
                      <a:pt x="884" y="9"/>
                    </a:lnTo>
                    <a:lnTo>
                      <a:pt x="886" y="9"/>
                    </a:lnTo>
                    <a:lnTo>
                      <a:pt x="888" y="11"/>
                    </a:lnTo>
                    <a:lnTo>
                      <a:pt x="888" y="9"/>
                    </a:lnTo>
                    <a:lnTo>
                      <a:pt x="886" y="9"/>
                    </a:lnTo>
                    <a:lnTo>
                      <a:pt x="888" y="9"/>
                    </a:lnTo>
                    <a:lnTo>
                      <a:pt x="886" y="7"/>
                    </a:lnTo>
                    <a:lnTo>
                      <a:pt x="880" y="6"/>
                    </a:lnTo>
                    <a:lnTo>
                      <a:pt x="886" y="7"/>
                    </a:lnTo>
                    <a:lnTo>
                      <a:pt x="884" y="7"/>
                    </a:lnTo>
                    <a:lnTo>
                      <a:pt x="886" y="7"/>
                    </a:lnTo>
                    <a:lnTo>
                      <a:pt x="884" y="7"/>
                    </a:lnTo>
                    <a:lnTo>
                      <a:pt x="884" y="6"/>
                    </a:lnTo>
                    <a:lnTo>
                      <a:pt x="882" y="6"/>
                    </a:lnTo>
                    <a:lnTo>
                      <a:pt x="884" y="6"/>
                    </a:lnTo>
                    <a:lnTo>
                      <a:pt x="882" y="6"/>
                    </a:lnTo>
                    <a:lnTo>
                      <a:pt x="882" y="4"/>
                    </a:lnTo>
                    <a:lnTo>
                      <a:pt x="884" y="4"/>
                    </a:lnTo>
                    <a:lnTo>
                      <a:pt x="886" y="4"/>
                    </a:lnTo>
                    <a:lnTo>
                      <a:pt x="888" y="4"/>
                    </a:lnTo>
                    <a:lnTo>
                      <a:pt x="890" y="4"/>
                    </a:lnTo>
                    <a:lnTo>
                      <a:pt x="892" y="4"/>
                    </a:lnTo>
                    <a:lnTo>
                      <a:pt x="894" y="6"/>
                    </a:lnTo>
                    <a:lnTo>
                      <a:pt x="896" y="6"/>
                    </a:lnTo>
                    <a:lnTo>
                      <a:pt x="896" y="7"/>
                    </a:lnTo>
                    <a:lnTo>
                      <a:pt x="898" y="7"/>
                    </a:lnTo>
                    <a:lnTo>
                      <a:pt x="896" y="7"/>
                    </a:lnTo>
                    <a:lnTo>
                      <a:pt x="894" y="7"/>
                    </a:lnTo>
                    <a:lnTo>
                      <a:pt x="892" y="7"/>
                    </a:lnTo>
                    <a:lnTo>
                      <a:pt x="890" y="9"/>
                    </a:lnTo>
                    <a:lnTo>
                      <a:pt x="890" y="11"/>
                    </a:lnTo>
                    <a:lnTo>
                      <a:pt x="890" y="9"/>
                    </a:lnTo>
                    <a:lnTo>
                      <a:pt x="892" y="11"/>
                    </a:lnTo>
                    <a:lnTo>
                      <a:pt x="892" y="9"/>
                    </a:lnTo>
                    <a:lnTo>
                      <a:pt x="892" y="11"/>
                    </a:lnTo>
                    <a:lnTo>
                      <a:pt x="894" y="11"/>
                    </a:lnTo>
                    <a:lnTo>
                      <a:pt x="896" y="11"/>
                    </a:lnTo>
                    <a:lnTo>
                      <a:pt x="894" y="11"/>
                    </a:lnTo>
                    <a:lnTo>
                      <a:pt x="896" y="11"/>
                    </a:lnTo>
                    <a:lnTo>
                      <a:pt x="898" y="11"/>
                    </a:lnTo>
                    <a:lnTo>
                      <a:pt x="896" y="9"/>
                    </a:lnTo>
                    <a:lnTo>
                      <a:pt x="898" y="9"/>
                    </a:lnTo>
                    <a:lnTo>
                      <a:pt x="896" y="9"/>
                    </a:lnTo>
                    <a:lnTo>
                      <a:pt x="898" y="9"/>
                    </a:lnTo>
                    <a:lnTo>
                      <a:pt x="898" y="11"/>
                    </a:lnTo>
                    <a:lnTo>
                      <a:pt x="900" y="11"/>
                    </a:lnTo>
                    <a:lnTo>
                      <a:pt x="901" y="11"/>
                    </a:lnTo>
                    <a:lnTo>
                      <a:pt x="903" y="11"/>
                    </a:lnTo>
                    <a:lnTo>
                      <a:pt x="903" y="9"/>
                    </a:lnTo>
                    <a:lnTo>
                      <a:pt x="903" y="11"/>
                    </a:lnTo>
                    <a:lnTo>
                      <a:pt x="903" y="9"/>
                    </a:lnTo>
                    <a:lnTo>
                      <a:pt x="901" y="9"/>
                    </a:lnTo>
                    <a:lnTo>
                      <a:pt x="903" y="9"/>
                    </a:lnTo>
                    <a:lnTo>
                      <a:pt x="905" y="9"/>
                    </a:lnTo>
                    <a:lnTo>
                      <a:pt x="905" y="7"/>
                    </a:lnTo>
                    <a:lnTo>
                      <a:pt x="903" y="7"/>
                    </a:lnTo>
                    <a:lnTo>
                      <a:pt x="901" y="7"/>
                    </a:lnTo>
                    <a:lnTo>
                      <a:pt x="900" y="6"/>
                    </a:lnTo>
                    <a:lnTo>
                      <a:pt x="901" y="6"/>
                    </a:lnTo>
                    <a:lnTo>
                      <a:pt x="900" y="6"/>
                    </a:lnTo>
                    <a:lnTo>
                      <a:pt x="901" y="6"/>
                    </a:lnTo>
                    <a:lnTo>
                      <a:pt x="901" y="4"/>
                    </a:lnTo>
                    <a:lnTo>
                      <a:pt x="903" y="4"/>
                    </a:lnTo>
                    <a:lnTo>
                      <a:pt x="901" y="4"/>
                    </a:lnTo>
                    <a:lnTo>
                      <a:pt x="903" y="4"/>
                    </a:lnTo>
                    <a:lnTo>
                      <a:pt x="903" y="2"/>
                    </a:lnTo>
                    <a:lnTo>
                      <a:pt x="905" y="2"/>
                    </a:lnTo>
                    <a:lnTo>
                      <a:pt x="907" y="2"/>
                    </a:lnTo>
                    <a:lnTo>
                      <a:pt x="905" y="2"/>
                    </a:lnTo>
                    <a:lnTo>
                      <a:pt x="903" y="2"/>
                    </a:lnTo>
                    <a:lnTo>
                      <a:pt x="903" y="0"/>
                    </a:lnTo>
                    <a:lnTo>
                      <a:pt x="903" y="2"/>
                    </a:lnTo>
                    <a:lnTo>
                      <a:pt x="905" y="2"/>
                    </a:lnTo>
                    <a:lnTo>
                      <a:pt x="907" y="2"/>
                    </a:lnTo>
                    <a:lnTo>
                      <a:pt x="909" y="2"/>
                    </a:lnTo>
                    <a:lnTo>
                      <a:pt x="911" y="2"/>
                    </a:lnTo>
                    <a:lnTo>
                      <a:pt x="911" y="4"/>
                    </a:lnTo>
                    <a:lnTo>
                      <a:pt x="913" y="4"/>
                    </a:lnTo>
                    <a:lnTo>
                      <a:pt x="915" y="4"/>
                    </a:lnTo>
                    <a:lnTo>
                      <a:pt x="917" y="4"/>
                    </a:lnTo>
                    <a:lnTo>
                      <a:pt x="919" y="6"/>
                    </a:lnTo>
                    <a:lnTo>
                      <a:pt x="921" y="6"/>
                    </a:lnTo>
                    <a:lnTo>
                      <a:pt x="921" y="7"/>
                    </a:lnTo>
                    <a:lnTo>
                      <a:pt x="923" y="7"/>
                    </a:lnTo>
                    <a:lnTo>
                      <a:pt x="923" y="9"/>
                    </a:lnTo>
                    <a:lnTo>
                      <a:pt x="925" y="9"/>
                    </a:lnTo>
                    <a:lnTo>
                      <a:pt x="926" y="9"/>
                    </a:lnTo>
                    <a:lnTo>
                      <a:pt x="928" y="9"/>
                    </a:lnTo>
                    <a:lnTo>
                      <a:pt x="930" y="9"/>
                    </a:lnTo>
                    <a:lnTo>
                      <a:pt x="930" y="11"/>
                    </a:lnTo>
                    <a:lnTo>
                      <a:pt x="930" y="13"/>
                    </a:lnTo>
                    <a:lnTo>
                      <a:pt x="928" y="13"/>
                    </a:lnTo>
                    <a:lnTo>
                      <a:pt x="928" y="15"/>
                    </a:lnTo>
                    <a:lnTo>
                      <a:pt x="930" y="15"/>
                    </a:lnTo>
                    <a:lnTo>
                      <a:pt x="928" y="15"/>
                    </a:lnTo>
                    <a:lnTo>
                      <a:pt x="930" y="15"/>
                    </a:lnTo>
                    <a:lnTo>
                      <a:pt x="932" y="15"/>
                    </a:lnTo>
                    <a:lnTo>
                      <a:pt x="930" y="15"/>
                    </a:lnTo>
                    <a:lnTo>
                      <a:pt x="932" y="15"/>
                    </a:lnTo>
                    <a:lnTo>
                      <a:pt x="932" y="17"/>
                    </a:lnTo>
                    <a:lnTo>
                      <a:pt x="932" y="15"/>
                    </a:lnTo>
                    <a:lnTo>
                      <a:pt x="932" y="17"/>
                    </a:lnTo>
                    <a:lnTo>
                      <a:pt x="932" y="15"/>
                    </a:lnTo>
                    <a:lnTo>
                      <a:pt x="934" y="15"/>
                    </a:lnTo>
                    <a:lnTo>
                      <a:pt x="932" y="15"/>
                    </a:lnTo>
                    <a:lnTo>
                      <a:pt x="932" y="13"/>
                    </a:lnTo>
                    <a:lnTo>
                      <a:pt x="934" y="13"/>
                    </a:lnTo>
                    <a:lnTo>
                      <a:pt x="934" y="15"/>
                    </a:lnTo>
                    <a:lnTo>
                      <a:pt x="936" y="15"/>
                    </a:lnTo>
                    <a:lnTo>
                      <a:pt x="936" y="13"/>
                    </a:lnTo>
                    <a:lnTo>
                      <a:pt x="938" y="13"/>
                    </a:lnTo>
                    <a:lnTo>
                      <a:pt x="940" y="13"/>
                    </a:lnTo>
                    <a:lnTo>
                      <a:pt x="938" y="13"/>
                    </a:lnTo>
                    <a:lnTo>
                      <a:pt x="938" y="15"/>
                    </a:lnTo>
                    <a:lnTo>
                      <a:pt x="940" y="15"/>
                    </a:lnTo>
                    <a:lnTo>
                      <a:pt x="940" y="17"/>
                    </a:lnTo>
                    <a:lnTo>
                      <a:pt x="940" y="15"/>
                    </a:lnTo>
                    <a:lnTo>
                      <a:pt x="940" y="17"/>
                    </a:lnTo>
                    <a:lnTo>
                      <a:pt x="940" y="15"/>
                    </a:lnTo>
                    <a:lnTo>
                      <a:pt x="940" y="17"/>
                    </a:lnTo>
                    <a:lnTo>
                      <a:pt x="940" y="15"/>
                    </a:lnTo>
                    <a:lnTo>
                      <a:pt x="940" y="17"/>
                    </a:lnTo>
                    <a:lnTo>
                      <a:pt x="940" y="15"/>
                    </a:lnTo>
                    <a:lnTo>
                      <a:pt x="940" y="17"/>
                    </a:lnTo>
                    <a:lnTo>
                      <a:pt x="942" y="17"/>
                    </a:lnTo>
                    <a:lnTo>
                      <a:pt x="944" y="17"/>
                    </a:lnTo>
                    <a:lnTo>
                      <a:pt x="946" y="17"/>
                    </a:lnTo>
                    <a:lnTo>
                      <a:pt x="948" y="17"/>
                    </a:lnTo>
                    <a:lnTo>
                      <a:pt x="950" y="17"/>
                    </a:lnTo>
                    <a:lnTo>
                      <a:pt x="951" y="17"/>
                    </a:lnTo>
                    <a:lnTo>
                      <a:pt x="953" y="17"/>
                    </a:lnTo>
                    <a:lnTo>
                      <a:pt x="955" y="17"/>
                    </a:lnTo>
                    <a:lnTo>
                      <a:pt x="953" y="17"/>
                    </a:lnTo>
                    <a:lnTo>
                      <a:pt x="955" y="17"/>
                    </a:lnTo>
                    <a:lnTo>
                      <a:pt x="953" y="17"/>
                    </a:lnTo>
                    <a:lnTo>
                      <a:pt x="955" y="17"/>
                    </a:lnTo>
                    <a:lnTo>
                      <a:pt x="953" y="17"/>
                    </a:lnTo>
                    <a:lnTo>
                      <a:pt x="955" y="17"/>
                    </a:lnTo>
                    <a:lnTo>
                      <a:pt x="957" y="17"/>
                    </a:lnTo>
                    <a:lnTo>
                      <a:pt x="957" y="15"/>
                    </a:lnTo>
                    <a:lnTo>
                      <a:pt x="957" y="17"/>
                    </a:lnTo>
                    <a:lnTo>
                      <a:pt x="959" y="17"/>
                    </a:lnTo>
                    <a:lnTo>
                      <a:pt x="961" y="17"/>
                    </a:lnTo>
                    <a:lnTo>
                      <a:pt x="963" y="17"/>
                    </a:lnTo>
                    <a:lnTo>
                      <a:pt x="963" y="19"/>
                    </a:lnTo>
                    <a:lnTo>
                      <a:pt x="963" y="21"/>
                    </a:lnTo>
                    <a:lnTo>
                      <a:pt x="965" y="21"/>
                    </a:lnTo>
                    <a:lnTo>
                      <a:pt x="967" y="21"/>
                    </a:lnTo>
                    <a:lnTo>
                      <a:pt x="967" y="23"/>
                    </a:lnTo>
                    <a:lnTo>
                      <a:pt x="969" y="23"/>
                    </a:lnTo>
                    <a:lnTo>
                      <a:pt x="967" y="21"/>
                    </a:lnTo>
                    <a:lnTo>
                      <a:pt x="967" y="19"/>
                    </a:lnTo>
                    <a:lnTo>
                      <a:pt x="969" y="19"/>
                    </a:lnTo>
                    <a:lnTo>
                      <a:pt x="971" y="19"/>
                    </a:lnTo>
                    <a:lnTo>
                      <a:pt x="969" y="19"/>
                    </a:lnTo>
                    <a:lnTo>
                      <a:pt x="971" y="19"/>
                    </a:lnTo>
                    <a:lnTo>
                      <a:pt x="971" y="21"/>
                    </a:lnTo>
                    <a:lnTo>
                      <a:pt x="973" y="21"/>
                    </a:lnTo>
                    <a:lnTo>
                      <a:pt x="973" y="19"/>
                    </a:lnTo>
                    <a:lnTo>
                      <a:pt x="974" y="19"/>
                    </a:lnTo>
                    <a:lnTo>
                      <a:pt x="974" y="21"/>
                    </a:lnTo>
                    <a:lnTo>
                      <a:pt x="974" y="19"/>
                    </a:lnTo>
                    <a:lnTo>
                      <a:pt x="974" y="21"/>
                    </a:lnTo>
                    <a:lnTo>
                      <a:pt x="974" y="19"/>
                    </a:lnTo>
                    <a:lnTo>
                      <a:pt x="974" y="21"/>
                    </a:lnTo>
                    <a:lnTo>
                      <a:pt x="976" y="21"/>
                    </a:lnTo>
                    <a:lnTo>
                      <a:pt x="978" y="21"/>
                    </a:lnTo>
                    <a:lnTo>
                      <a:pt x="978" y="23"/>
                    </a:lnTo>
                    <a:lnTo>
                      <a:pt x="980" y="23"/>
                    </a:lnTo>
                    <a:lnTo>
                      <a:pt x="980" y="21"/>
                    </a:lnTo>
                    <a:lnTo>
                      <a:pt x="978" y="21"/>
                    </a:lnTo>
                    <a:lnTo>
                      <a:pt x="976" y="19"/>
                    </a:lnTo>
                    <a:lnTo>
                      <a:pt x="978" y="19"/>
                    </a:lnTo>
                    <a:lnTo>
                      <a:pt x="980" y="19"/>
                    </a:lnTo>
                    <a:lnTo>
                      <a:pt x="982" y="19"/>
                    </a:lnTo>
                    <a:lnTo>
                      <a:pt x="980" y="19"/>
                    </a:lnTo>
                    <a:lnTo>
                      <a:pt x="982" y="17"/>
                    </a:lnTo>
                    <a:lnTo>
                      <a:pt x="984" y="17"/>
                    </a:lnTo>
                    <a:lnTo>
                      <a:pt x="986" y="17"/>
                    </a:lnTo>
                    <a:lnTo>
                      <a:pt x="986" y="19"/>
                    </a:lnTo>
                    <a:lnTo>
                      <a:pt x="988" y="19"/>
                    </a:lnTo>
                    <a:lnTo>
                      <a:pt x="990" y="19"/>
                    </a:lnTo>
                    <a:lnTo>
                      <a:pt x="992" y="19"/>
                    </a:lnTo>
                    <a:lnTo>
                      <a:pt x="994" y="19"/>
                    </a:lnTo>
                    <a:lnTo>
                      <a:pt x="994" y="17"/>
                    </a:lnTo>
                    <a:lnTo>
                      <a:pt x="996" y="17"/>
                    </a:lnTo>
                    <a:lnTo>
                      <a:pt x="998" y="19"/>
                    </a:lnTo>
                    <a:lnTo>
                      <a:pt x="999" y="19"/>
                    </a:lnTo>
                    <a:lnTo>
                      <a:pt x="999" y="21"/>
                    </a:lnTo>
                    <a:lnTo>
                      <a:pt x="1001" y="21"/>
                    </a:lnTo>
                    <a:lnTo>
                      <a:pt x="1003" y="23"/>
                    </a:lnTo>
                    <a:lnTo>
                      <a:pt x="1005" y="23"/>
                    </a:lnTo>
                    <a:lnTo>
                      <a:pt x="1007" y="23"/>
                    </a:lnTo>
                    <a:lnTo>
                      <a:pt x="1005" y="23"/>
                    </a:lnTo>
                    <a:lnTo>
                      <a:pt x="1007" y="23"/>
                    </a:lnTo>
                    <a:lnTo>
                      <a:pt x="1007" y="21"/>
                    </a:lnTo>
                    <a:lnTo>
                      <a:pt x="1007" y="23"/>
                    </a:lnTo>
                    <a:lnTo>
                      <a:pt x="1007" y="21"/>
                    </a:lnTo>
                    <a:lnTo>
                      <a:pt x="1007" y="23"/>
                    </a:lnTo>
                    <a:lnTo>
                      <a:pt x="1009" y="21"/>
                    </a:lnTo>
                    <a:lnTo>
                      <a:pt x="1011" y="23"/>
                    </a:lnTo>
                    <a:lnTo>
                      <a:pt x="1011" y="21"/>
                    </a:lnTo>
                    <a:lnTo>
                      <a:pt x="1009" y="21"/>
                    </a:lnTo>
                    <a:lnTo>
                      <a:pt x="1007" y="21"/>
                    </a:lnTo>
                    <a:lnTo>
                      <a:pt x="1005" y="21"/>
                    </a:lnTo>
                    <a:lnTo>
                      <a:pt x="1005" y="19"/>
                    </a:lnTo>
                    <a:lnTo>
                      <a:pt x="1005" y="17"/>
                    </a:lnTo>
                    <a:lnTo>
                      <a:pt x="1003" y="17"/>
                    </a:lnTo>
                    <a:lnTo>
                      <a:pt x="1003" y="15"/>
                    </a:lnTo>
                    <a:lnTo>
                      <a:pt x="1001" y="15"/>
                    </a:lnTo>
                    <a:lnTo>
                      <a:pt x="1003" y="15"/>
                    </a:lnTo>
                    <a:lnTo>
                      <a:pt x="1003" y="13"/>
                    </a:lnTo>
                    <a:lnTo>
                      <a:pt x="1005" y="13"/>
                    </a:lnTo>
                    <a:lnTo>
                      <a:pt x="1007" y="13"/>
                    </a:lnTo>
                    <a:lnTo>
                      <a:pt x="1007" y="11"/>
                    </a:lnTo>
                    <a:lnTo>
                      <a:pt x="1007" y="13"/>
                    </a:lnTo>
                    <a:lnTo>
                      <a:pt x="1009" y="13"/>
                    </a:lnTo>
                    <a:lnTo>
                      <a:pt x="1011" y="13"/>
                    </a:lnTo>
                    <a:lnTo>
                      <a:pt x="1011" y="11"/>
                    </a:lnTo>
                    <a:lnTo>
                      <a:pt x="1013" y="11"/>
                    </a:lnTo>
                    <a:lnTo>
                      <a:pt x="1015" y="11"/>
                    </a:lnTo>
                    <a:lnTo>
                      <a:pt x="1015" y="13"/>
                    </a:lnTo>
                    <a:lnTo>
                      <a:pt x="1015" y="11"/>
                    </a:lnTo>
                    <a:lnTo>
                      <a:pt x="1015" y="13"/>
                    </a:lnTo>
                    <a:lnTo>
                      <a:pt x="1017" y="13"/>
                    </a:lnTo>
                    <a:lnTo>
                      <a:pt x="1017" y="11"/>
                    </a:lnTo>
                    <a:lnTo>
                      <a:pt x="1019" y="11"/>
                    </a:lnTo>
                    <a:lnTo>
                      <a:pt x="1021" y="11"/>
                    </a:lnTo>
                    <a:lnTo>
                      <a:pt x="1021" y="13"/>
                    </a:lnTo>
                    <a:lnTo>
                      <a:pt x="1021" y="11"/>
                    </a:lnTo>
                    <a:lnTo>
                      <a:pt x="1023" y="11"/>
                    </a:lnTo>
                    <a:lnTo>
                      <a:pt x="1023" y="9"/>
                    </a:lnTo>
                    <a:lnTo>
                      <a:pt x="1024" y="9"/>
                    </a:lnTo>
                    <a:lnTo>
                      <a:pt x="1024" y="11"/>
                    </a:lnTo>
                    <a:lnTo>
                      <a:pt x="1024" y="9"/>
                    </a:lnTo>
                    <a:lnTo>
                      <a:pt x="1024" y="11"/>
                    </a:lnTo>
                    <a:lnTo>
                      <a:pt x="1024" y="9"/>
                    </a:lnTo>
                    <a:lnTo>
                      <a:pt x="1024" y="11"/>
                    </a:lnTo>
                    <a:lnTo>
                      <a:pt x="1026" y="11"/>
                    </a:lnTo>
                    <a:lnTo>
                      <a:pt x="1024" y="11"/>
                    </a:lnTo>
                    <a:lnTo>
                      <a:pt x="1024" y="9"/>
                    </a:lnTo>
                    <a:lnTo>
                      <a:pt x="1026" y="9"/>
                    </a:lnTo>
                    <a:lnTo>
                      <a:pt x="1026" y="11"/>
                    </a:lnTo>
                    <a:lnTo>
                      <a:pt x="1028" y="11"/>
                    </a:lnTo>
                    <a:lnTo>
                      <a:pt x="1028" y="9"/>
                    </a:lnTo>
                    <a:lnTo>
                      <a:pt x="1026" y="9"/>
                    </a:lnTo>
                    <a:lnTo>
                      <a:pt x="1028" y="9"/>
                    </a:lnTo>
                    <a:lnTo>
                      <a:pt x="1030" y="9"/>
                    </a:lnTo>
                    <a:lnTo>
                      <a:pt x="1028" y="9"/>
                    </a:lnTo>
                    <a:lnTo>
                      <a:pt x="1030" y="9"/>
                    </a:lnTo>
                    <a:lnTo>
                      <a:pt x="1032" y="9"/>
                    </a:lnTo>
                    <a:lnTo>
                      <a:pt x="1032" y="11"/>
                    </a:lnTo>
                    <a:lnTo>
                      <a:pt x="1034" y="11"/>
                    </a:lnTo>
                    <a:lnTo>
                      <a:pt x="1036" y="11"/>
                    </a:lnTo>
                    <a:lnTo>
                      <a:pt x="1036" y="9"/>
                    </a:lnTo>
                    <a:lnTo>
                      <a:pt x="1038" y="9"/>
                    </a:lnTo>
                    <a:lnTo>
                      <a:pt x="1040" y="9"/>
                    </a:lnTo>
                    <a:lnTo>
                      <a:pt x="1042" y="9"/>
                    </a:lnTo>
                    <a:lnTo>
                      <a:pt x="1042" y="11"/>
                    </a:lnTo>
                    <a:lnTo>
                      <a:pt x="1044" y="9"/>
                    </a:lnTo>
                    <a:lnTo>
                      <a:pt x="1044" y="11"/>
                    </a:lnTo>
                    <a:lnTo>
                      <a:pt x="1046" y="11"/>
                    </a:lnTo>
                    <a:lnTo>
                      <a:pt x="1047" y="11"/>
                    </a:lnTo>
                    <a:lnTo>
                      <a:pt x="1047" y="13"/>
                    </a:lnTo>
                    <a:lnTo>
                      <a:pt x="1049" y="13"/>
                    </a:lnTo>
                    <a:lnTo>
                      <a:pt x="1051" y="13"/>
                    </a:lnTo>
                    <a:lnTo>
                      <a:pt x="1049" y="13"/>
                    </a:lnTo>
                    <a:lnTo>
                      <a:pt x="1051" y="15"/>
                    </a:lnTo>
                    <a:lnTo>
                      <a:pt x="1053" y="15"/>
                    </a:lnTo>
                    <a:lnTo>
                      <a:pt x="1055" y="17"/>
                    </a:lnTo>
                    <a:lnTo>
                      <a:pt x="1057" y="17"/>
                    </a:lnTo>
                    <a:lnTo>
                      <a:pt x="1059" y="17"/>
                    </a:lnTo>
                    <a:lnTo>
                      <a:pt x="1057" y="17"/>
                    </a:lnTo>
                    <a:lnTo>
                      <a:pt x="1057" y="19"/>
                    </a:lnTo>
                    <a:lnTo>
                      <a:pt x="1059" y="19"/>
                    </a:lnTo>
                    <a:lnTo>
                      <a:pt x="1061" y="21"/>
                    </a:lnTo>
                    <a:lnTo>
                      <a:pt x="1063" y="23"/>
                    </a:lnTo>
                    <a:lnTo>
                      <a:pt x="1061" y="23"/>
                    </a:lnTo>
                    <a:lnTo>
                      <a:pt x="1061" y="25"/>
                    </a:lnTo>
                    <a:lnTo>
                      <a:pt x="1063" y="25"/>
                    </a:lnTo>
                    <a:lnTo>
                      <a:pt x="1063" y="27"/>
                    </a:lnTo>
                    <a:lnTo>
                      <a:pt x="1065" y="2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12">
                <a:extLst>
                  <a:ext uri="{FF2B5EF4-FFF2-40B4-BE49-F238E27FC236}">
                    <a16:creationId xmlns="" xmlns:a16="http://schemas.microsoft.com/office/drawing/2014/main" id="{A05E3DEA-4BE5-42A2-AD5F-B66AF88DDE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63800" y="1784351"/>
                <a:ext cx="1489075" cy="1276350"/>
              </a:xfrm>
              <a:custGeom>
                <a:avLst/>
                <a:gdLst>
                  <a:gd name="T0" fmla="*/ 93 w 938"/>
                  <a:gd name="T1" fmla="*/ 783 h 804"/>
                  <a:gd name="T2" fmla="*/ 118 w 938"/>
                  <a:gd name="T3" fmla="*/ 791 h 804"/>
                  <a:gd name="T4" fmla="*/ 114 w 938"/>
                  <a:gd name="T5" fmla="*/ 777 h 804"/>
                  <a:gd name="T6" fmla="*/ 100 w 938"/>
                  <a:gd name="T7" fmla="*/ 708 h 804"/>
                  <a:gd name="T8" fmla="*/ 104 w 938"/>
                  <a:gd name="T9" fmla="*/ 698 h 804"/>
                  <a:gd name="T10" fmla="*/ 41 w 938"/>
                  <a:gd name="T11" fmla="*/ 652 h 804"/>
                  <a:gd name="T12" fmla="*/ 119 w 938"/>
                  <a:gd name="T13" fmla="*/ 664 h 804"/>
                  <a:gd name="T14" fmla="*/ 121 w 938"/>
                  <a:gd name="T15" fmla="*/ 658 h 804"/>
                  <a:gd name="T16" fmla="*/ 121 w 938"/>
                  <a:gd name="T17" fmla="*/ 654 h 804"/>
                  <a:gd name="T18" fmla="*/ 110 w 938"/>
                  <a:gd name="T19" fmla="*/ 641 h 804"/>
                  <a:gd name="T20" fmla="*/ 108 w 938"/>
                  <a:gd name="T21" fmla="*/ 635 h 804"/>
                  <a:gd name="T22" fmla="*/ 98 w 938"/>
                  <a:gd name="T23" fmla="*/ 619 h 804"/>
                  <a:gd name="T24" fmla="*/ 102 w 938"/>
                  <a:gd name="T25" fmla="*/ 618 h 804"/>
                  <a:gd name="T26" fmla="*/ 96 w 938"/>
                  <a:gd name="T27" fmla="*/ 612 h 804"/>
                  <a:gd name="T28" fmla="*/ 104 w 938"/>
                  <a:gd name="T29" fmla="*/ 618 h 804"/>
                  <a:gd name="T30" fmla="*/ 95 w 938"/>
                  <a:gd name="T31" fmla="*/ 612 h 804"/>
                  <a:gd name="T32" fmla="*/ 104 w 938"/>
                  <a:gd name="T33" fmla="*/ 614 h 804"/>
                  <a:gd name="T34" fmla="*/ 102 w 938"/>
                  <a:gd name="T35" fmla="*/ 612 h 804"/>
                  <a:gd name="T36" fmla="*/ 177 w 938"/>
                  <a:gd name="T37" fmla="*/ 660 h 804"/>
                  <a:gd name="T38" fmla="*/ 100 w 938"/>
                  <a:gd name="T39" fmla="*/ 606 h 804"/>
                  <a:gd name="T40" fmla="*/ 112 w 938"/>
                  <a:gd name="T41" fmla="*/ 598 h 804"/>
                  <a:gd name="T42" fmla="*/ 18 w 938"/>
                  <a:gd name="T43" fmla="*/ 529 h 804"/>
                  <a:gd name="T44" fmla="*/ 16 w 938"/>
                  <a:gd name="T45" fmla="*/ 533 h 804"/>
                  <a:gd name="T46" fmla="*/ 16 w 938"/>
                  <a:gd name="T47" fmla="*/ 519 h 804"/>
                  <a:gd name="T48" fmla="*/ 23 w 938"/>
                  <a:gd name="T49" fmla="*/ 527 h 804"/>
                  <a:gd name="T50" fmla="*/ 239 w 938"/>
                  <a:gd name="T51" fmla="*/ 635 h 804"/>
                  <a:gd name="T52" fmla="*/ 229 w 938"/>
                  <a:gd name="T53" fmla="*/ 614 h 804"/>
                  <a:gd name="T54" fmla="*/ 219 w 938"/>
                  <a:gd name="T55" fmla="*/ 535 h 804"/>
                  <a:gd name="T56" fmla="*/ 634 w 938"/>
                  <a:gd name="T57" fmla="*/ 487 h 804"/>
                  <a:gd name="T58" fmla="*/ 625 w 938"/>
                  <a:gd name="T59" fmla="*/ 481 h 804"/>
                  <a:gd name="T60" fmla="*/ 613 w 938"/>
                  <a:gd name="T61" fmla="*/ 475 h 804"/>
                  <a:gd name="T62" fmla="*/ 621 w 938"/>
                  <a:gd name="T63" fmla="*/ 479 h 804"/>
                  <a:gd name="T64" fmla="*/ 590 w 938"/>
                  <a:gd name="T65" fmla="*/ 462 h 804"/>
                  <a:gd name="T66" fmla="*/ 573 w 938"/>
                  <a:gd name="T67" fmla="*/ 437 h 804"/>
                  <a:gd name="T68" fmla="*/ 565 w 938"/>
                  <a:gd name="T69" fmla="*/ 431 h 804"/>
                  <a:gd name="T70" fmla="*/ 581 w 938"/>
                  <a:gd name="T71" fmla="*/ 429 h 804"/>
                  <a:gd name="T72" fmla="*/ 579 w 938"/>
                  <a:gd name="T73" fmla="*/ 419 h 804"/>
                  <a:gd name="T74" fmla="*/ 577 w 938"/>
                  <a:gd name="T75" fmla="*/ 410 h 804"/>
                  <a:gd name="T76" fmla="*/ 577 w 938"/>
                  <a:gd name="T77" fmla="*/ 406 h 804"/>
                  <a:gd name="T78" fmla="*/ 569 w 938"/>
                  <a:gd name="T79" fmla="*/ 398 h 804"/>
                  <a:gd name="T80" fmla="*/ 650 w 938"/>
                  <a:gd name="T81" fmla="*/ 379 h 804"/>
                  <a:gd name="T82" fmla="*/ 679 w 938"/>
                  <a:gd name="T83" fmla="*/ 341 h 804"/>
                  <a:gd name="T84" fmla="*/ 738 w 938"/>
                  <a:gd name="T85" fmla="*/ 323 h 804"/>
                  <a:gd name="T86" fmla="*/ 759 w 938"/>
                  <a:gd name="T87" fmla="*/ 314 h 804"/>
                  <a:gd name="T88" fmla="*/ 765 w 938"/>
                  <a:gd name="T89" fmla="*/ 314 h 804"/>
                  <a:gd name="T90" fmla="*/ 775 w 938"/>
                  <a:gd name="T91" fmla="*/ 246 h 804"/>
                  <a:gd name="T92" fmla="*/ 786 w 938"/>
                  <a:gd name="T93" fmla="*/ 241 h 804"/>
                  <a:gd name="T94" fmla="*/ 811 w 938"/>
                  <a:gd name="T95" fmla="*/ 243 h 804"/>
                  <a:gd name="T96" fmla="*/ 842 w 938"/>
                  <a:gd name="T97" fmla="*/ 79 h 804"/>
                  <a:gd name="T98" fmla="*/ 682 w 938"/>
                  <a:gd name="T99" fmla="*/ 6 h 804"/>
                  <a:gd name="T100" fmla="*/ 684 w 938"/>
                  <a:gd name="T101" fmla="*/ 2 h 804"/>
                  <a:gd name="T102" fmla="*/ 767 w 938"/>
                  <a:gd name="T103" fmla="*/ 33 h 804"/>
                  <a:gd name="T104" fmla="*/ 782 w 938"/>
                  <a:gd name="T105" fmla="*/ 41 h 804"/>
                  <a:gd name="T106" fmla="*/ 736 w 938"/>
                  <a:gd name="T107" fmla="*/ 18 h 804"/>
                  <a:gd name="T108" fmla="*/ 800 w 938"/>
                  <a:gd name="T109" fmla="*/ 45 h 804"/>
                  <a:gd name="T110" fmla="*/ 777 w 938"/>
                  <a:gd name="T111" fmla="*/ 35 h 804"/>
                  <a:gd name="T112" fmla="*/ 909 w 938"/>
                  <a:gd name="T113" fmla="*/ 79 h 804"/>
                  <a:gd name="T114" fmla="*/ 757 w 938"/>
                  <a:gd name="T115" fmla="*/ 14 h 804"/>
                  <a:gd name="T116" fmla="*/ 857 w 938"/>
                  <a:gd name="T117" fmla="*/ 41 h 804"/>
                  <a:gd name="T118" fmla="*/ 873 w 938"/>
                  <a:gd name="T119" fmla="*/ 43 h 804"/>
                  <a:gd name="T120" fmla="*/ 784 w 938"/>
                  <a:gd name="T121" fmla="*/ 0 h 804"/>
                  <a:gd name="T122" fmla="*/ 863 w 938"/>
                  <a:gd name="T123" fmla="*/ 23 h 8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38" h="804">
                    <a:moveTo>
                      <a:pt x="81" y="796"/>
                    </a:moveTo>
                    <a:lnTo>
                      <a:pt x="79" y="796"/>
                    </a:lnTo>
                    <a:lnTo>
                      <a:pt x="81" y="796"/>
                    </a:lnTo>
                    <a:lnTo>
                      <a:pt x="81" y="798"/>
                    </a:lnTo>
                    <a:lnTo>
                      <a:pt x="79" y="796"/>
                    </a:lnTo>
                    <a:lnTo>
                      <a:pt x="81" y="796"/>
                    </a:lnTo>
                    <a:close/>
                    <a:moveTo>
                      <a:pt x="81" y="794"/>
                    </a:moveTo>
                    <a:lnTo>
                      <a:pt x="81" y="796"/>
                    </a:lnTo>
                    <a:lnTo>
                      <a:pt x="81" y="794"/>
                    </a:lnTo>
                    <a:close/>
                    <a:moveTo>
                      <a:pt x="83" y="792"/>
                    </a:moveTo>
                    <a:lnTo>
                      <a:pt x="83" y="794"/>
                    </a:lnTo>
                    <a:lnTo>
                      <a:pt x="83" y="792"/>
                    </a:lnTo>
                    <a:lnTo>
                      <a:pt x="85" y="792"/>
                    </a:lnTo>
                    <a:lnTo>
                      <a:pt x="83" y="792"/>
                    </a:lnTo>
                    <a:close/>
                    <a:moveTo>
                      <a:pt x="83" y="792"/>
                    </a:moveTo>
                    <a:lnTo>
                      <a:pt x="85" y="792"/>
                    </a:lnTo>
                    <a:lnTo>
                      <a:pt x="83" y="792"/>
                    </a:lnTo>
                    <a:close/>
                    <a:moveTo>
                      <a:pt x="85" y="792"/>
                    </a:moveTo>
                    <a:lnTo>
                      <a:pt x="85" y="791"/>
                    </a:lnTo>
                    <a:lnTo>
                      <a:pt x="85" y="792"/>
                    </a:lnTo>
                    <a:close/>
                    <a:moveTo>
                      <a:pt x="85" y="787"/>
                    </a:moveTo>
                    <a:lnTo>
                      <a:pt x="85" y="789"/>
                    </a:lnTo>
                    <a:lnTo>
                      <a:pt x="85" y="787"/>
                    </a:lnTo>
                    <a:close/>
                    <a:moveTo>
                      <a:pt x="91" y="785"/>
                    </a:moveTo>
                    <a:lnTo>
                      <a:pt x="91" y="787"/>
                    </a:lnTo>
                    <a:lnTo>
                      <a:pt x="91" y="785"/>
                    </a:lnTo>
                    <a:close/>
                    <a:moveTo>
                      <a:pt x="93" y="783"/>
                    </a:moveTo>
                    <a:lnTo>
                      <a:pt x="91" y="785"/>
                    </a:lnTo>
                    <a:lnTo>
                      <a:pt x="93" y="783"/>
                    </a:lnTo>
                    <a:close/>
                    <a:moveTo>
                      <a:pt x="127" y="802"/>
                    </a:moveTo>
                    <a:lnTo>
                      <a:pt x="127" y="804"/>
                    </a:lnTo>
                    <a:lnTo>
                      <a:pt x="125" y="802"/>
                    </a:lnTo>
                    <a:lnTo>
                      <a:pt x="127" y="802"/>
                    </a:lnTo>
                    <a:close/>
                    <a:moveTo>
                      <a:pt x="127" y="804"/>
                    </a:moveTo>
                    <a:lnTo>
                      <a:pt x="127" y="802"/>
                    </a:lnTo>
                    <a:lnTo>
                      <a:pt x="127" y="804"/>
                    </a:lnTo>
                    <a:lnTo>
                      <a:pt x="129" y="804"/>
                    </a:lnTo>
                    <a:lnTo>
                      <a:pt x="127" y="804"/>
                    </a:lnTo>
                    <a:close/>
                    <a:moveTo>
                      <a:pt x="91" y="781"/>
                    </a:moveTo>
                    <a:lnTo>
                      <a:pt x="93" y="779"/>
                    </a:lnTo>
                    <a:lnTo>
                      <a:pt x="91" y="781"/>
                    </a:lnTo>
                    <a:close/>
                    <a:moveTo>
                      <a:pt x="118" y="792"/>
                    </a:moveTo>
                    <a:lnTo>
                      <a:pt x="116" y="792"/>
                    </a:lnTo>
                    <a:lnTo>
                      <a:pt x="118" y="792"/>
                    </a:lnTo>
                    <a:close/>
                    <a:moveTo>
                      <a:pt x="95" y="779"/>
                    </a:moveTo>
                    <a:lnTo>
                      <a:pt x="93" y="779"/>
                    </a:lnTo>
                    <a:lnTo>
                      <a:pt x="95" y="779"/>
                    </a:lnTo>
                    <a:close/>
                    <a:moveTo>
                      <a:pt x="116" y="791"/>
                    </a:moveTo>
                    <a:lnTo>
                      <a:pt x="116" y="792"/>
                    </a:lnTo>
                    <a:lnTo>
                      <a:pt x="116" y="791"/>
                    </a:lnTo>
                    <a:lnTo>
                      <a:pt x="118" y="791"/>
                    </a:lnTo>
                    <a:lnTo>
                      <a:pt x="116" y="792"/>
                    </a:lnTo>
                    <a:lnTo>
                      <a:pt x="116" y="791"/>
                    </a:lnTo>
                    <a:lnTo>
                      <a:pt x="118" y="792"/>
                    </a:lnTo>
                    <a:lnTo>
                      <a:pt x="116" y="792"/>
                    </a:lnTo>
                    <a:lnTo>
                      <a:pt x="116" y="791"/>
                    </a:lnTo>
                    <a:close/>
                    <a:moveTo>
                      <a:pt x="118" y="789"/>
                    </a:moveTo>
                    <a:lnTo>
                      <a:pt x="118" y="791"/>
                    </a:lnTo>
                    <a:lnTo>
                      <a:pt x="118" y="789"/>
                    </a:lnTo>
                    <a:lnTo>
                      <a:pt x="118" y="791"/>
                    </a:lnTo>
                    <a:lnTo>
                      <a:pt x="116" y="791"/>
                    </a:lnTo>
                    <a:lnTo>
                      <a:pt x="116" y="789"/>
                    </a:lnTo>
                    <a:lnTo>
                      <a:pt x="116" y="791"/>
                    </a:lnTo>
                    <a:lnTo>
                      <a:pt x="116" y="789"/>
                    </a:lnTo>
                    <a:lnTo>
                      <a:pt x="116" y="791"/>
                    </a:lnTo>
                    <a:lnTo>
                      <a:pt x="116" y="789"/>
                    </a:lnTo>
                    <a:lnTo>
                      <a:pt x="118" y="789"/>
                    </a:lnTo>
                    <a:close/>
                    <a:moveTo>
                      <a:pt x="116" y="783"/>
                    </a:moveTo>
                    <a:lnTo>
                      <a:pt x="116" y="785"/>
                    </a:lnTo>
                    <a:lnTo>
                      <a:pt x="116" y="783"/>
                    </a:lnTo>
                    <a:close/>
                    <a:moveTo>
                      <a:pt x="116" y="781"/>
                    </a:moveTo>
                    <a:lnTo>
                      <a:pt x="116" y="783"/>
                    </a:lnTo>
                    <a:lnTo>
                      <a:pt x="116" y="781"/>
                    </a:lnTo>
                    <a:close/>
                    <a:moveTo>
                      <a:pt x="116" y="779"/>
                    </a:moveTo>
                    <a:lnTo>
                      <a:pt x="114" y="779"/>
                    </a:lnTo>
                    <a:lnTo>
                      <a:pt x="116" y="779"/>
                    </a:lnTo>
                    <a:close/>
                    <a:moveTo>
                      <a:pt x="114" y="777"/>
                    </a:moveTo>
                    <a:lnTo>
                      <a:pt x="114" y="779"/>
                    </a:lnTo>
                    <a:lnTo>
                      <a:pt x="116" y="779"/>
                    </a:lnTo>
                    <a:lnTo>
                      <a:pt x="116" y="781"/>
                    </a:lnTo>
                    <a:lnTo>
                      <a:pt x="114" y="781"/>
                    </a:lnTo>
                    <a:lnTo>
                      <a:pt x="114" y="779"/>
                    </a:lnTo>
                    <a:lnTo>
                      <a:pt x="114" y="777"/>
                    </a:lnTo>
                    <a:lnTo>
                      <a:pt x="114" y="779"/>
                    </a:lnTo>
                    <a:lnTo>
                      <a:pt x="114" y="777"/>
                    </a:lnTo>
                    <a:lnTo>
                      <a:pt x="114" y="779"/>
                    </a:lnTo>
                    <a:lnTo>
                      <a:pt x="114" y="777"/>
                    </a:lnTo>
                    <a:close/>
                    <a:moveTo>
                      <a:pt x="114" y="775"/>
                    </a:moveTo>
                    <a:lnTo>
                      <a:pt x="114" y="777"/>
                    </a:lnTo>
                    <a:lnTo>
                      <a:pt x="114" y="775"/>
                    </a:lnTo>
                    <a:close/>
                    <a:moveTo>
                      <a:pt x="108" y="760"/>
                    </a:moveTo>
                    <a:lnTo>
                      <a:pt x="108" y="762"/>
                    </a:lnTo>
                    <a:lnTo>
                      <a:pt x="106" y="762"/>
                    </a:lnTo>
                    <a:lnTo>
                      <a:pt x="108" y="762"/>
                    </a:lnTo>
                    <a:lnTo>
                      <a:pt x="106" y="762"/>
                    </a:lnTo>
                    <a:lnTo>
                      <a:pt x="106" y="760"/>
                    </a:lnTo>
                    <a:lnTo>
                      <a:pt x="108" y="760"/>
                    </a:lnTo>
                    <a:close/>
                    <a:moveTo>
                      <a:pt x="104" y="754"/>
                    </a:moveTo>
                    <a:lnTo>
                      <a:pt x="104" y="756"/>
                    </a:lnTo>
                    <a:lnTo>
                      <a:pt x="104" y="754"/>
                    </a:lnTo>
                    <a:close/>
                    <a:moveTo>
                      <a:pt x="102" y="748"/>
                    </a:moveTo>
                    <a:lnTo>
                      <a:pt x="102" y="750"/>
                    </a:lnTo>
                    <a:lnTo>
                      <a:pt x="104" y="750"/>
                    </a:lnTo>
                    <a:lnTo>
                      <a:pt x="104" y="752"/>
                    </a:lnTo>
                    <a:lnTo>
                      <a:pt x="102" y="750"/>
                    </a:lnTo>
                    <a:lnTo>
                      <a:pt x="102" y="748"/>
                    </a:lnTo>
                    <a:close/>
                    <a:moveTo>
                      <a:pt x="102" y="748"/>
                    </a:moveTo>
                    <a:lnTo>
                      <a:pt x="100" y="748"/>
                    </a:lnTo>
                    <a:lnTo>
                      <a:pt x="102" y="748"/>
                    </a:lnTo>
                    <a:close/>
                    <a:moveTo>
                      <a:pt x="100" y="742"/>
                    </a:moveTo>
                    <a:lnTo>
                      <a:pt x="102" y="742"/>
                    </a:lnTo>
                    <a:lnTo>
                      <a:pt x="100" y="742"/>
                    </a:lnTo>
                    <a:close/>
                    <a:moveTo>
                      <a:pt x="102" y="737"/>
                    </a:moveTo>
                    <a:lnTo>
                      <a:pt x="104" y="737"/>
                    </a:lnTo>
                    <a:lnTo>
                      <a:pt x="102" y="737"/>
                    </a:lnTo>
                    <a:close/>
                    <a:moveTo>
                      <a:pt x="100" y="708"/>
                    </a:moveTo>
                    <a:lnTo>
                      <a:pt x="100" y="710"/>
                    </a:lnTo>
                    <a:lnTo>
                      <a:pt x="100" y="712"/>
                    </a:lnTo>
                    <a:lnTo>
                      <a:pt x="100" y="710"/>
                    </a:lnTo>
                    <a:lnTo>
                      <a:pt x="100" y="712"/>
                    </a:lnTo>
                    <a:lnTo>
                      <a:pt x="100" y="710"/>
                    </a:lnTo>
                    <a:lnTo>
                      <a:pt x="100" y="708"/>
                    </a:lnTo>
                    <a:close/>
                    <a:moveTo>
                      <a:pt x="100" y="706"/>
                    </a:moveTo>
                    <a:lnTo>
                      <a:pt x="100" y="708"/>
                    </a:lnTo>
                    <a:lnTo>
                      <a:pt x="100" y="706"/>
                    </a:lnTo>
                    <a:close/>
                    <a:moveTo>
                      <a:pt x="96" y="700"/>
                    </a:moveTo>
                    <a:lnTo>
                      <a:pt x="98" y="700"/>
                    </a:lnTo>
                    <a:lnTo>
                      <a:pt x="96" y="700"/>
                    </a:lnTo>
                    <a:close/>
                    <a:moveTo>
                      <a:pt x="102" y="702"/>
                    </a:moveTo>
                    <a:lnTo>
                      <a:pt x="100" y="704"/>
                    </a:lnTo>
                    <a:lnTo>
                      <a:pt x="100" y="702"/>
                    </a:lnTo>
                    <a:lnTo>
                      <a:pt x="102" y="702"/>
                    </a:lnTo>
                    <a:close/>
                    <a:moveTo>
                      <a:pt x="106" y="700"/>
                    </a:moveTo>
                    <a:lnTo>
                      <a:pt x="104" y="700"/>
                    </a:lnTo>
                    <a:lnTo>
                      <a:pt x="106" y="700"/>
                    </a:lnTo>
                    <a:close/>
                    <a:moveTo>
                      <a:pt x="106" y="696"/>
                    </a:moveTo>
                    <a:lnTo>
                      <a:pt x="106" y="698"/>
                    </a:lnTo>
                    <a:lnTo>
                      <a:pt x="106" y="696"/>
                    </a:lnTo>
                    <a:close/>
                    <a:moveTo>
                      <a:pt x="106" y="698"/>
                    </a:moveTo>
                    <a:lnTo>
                      <a:pt x="104" y="700"/>
                    </a:lnTo>
                    <a:lnTo>
                      <a:pt x="104" y="698"/>
                    </a:lnTo>
                    <a:lnTo>
                      <a:pt x="106" y="698"/>
                    </a:lnTo>
                    <a:lnTo>
                      <a:pt x="104" y="698"/>
                    </a:lnTo>
                    <a:lnTo>
                      <a:pt x="106" y="698"/>
                    </a:lnTo>
                    <a:lnTo>
                      <a:pt x="104" y="698"/>
                    </a:lnTo>
                    <a:lnTo>
                      <a:pt x="106" y="698"/>
                    </a:lnTo>
                    <a:lnTo>
                      <a:pt x="106" y="696"/>
                    </a:lnTo>
                    <a:lnTo>
                      <a:pt x="106" y="698"/>
                    </a:lnTo>
                    <a:close/>
                    <a:moveTo>
                      <a:pt x="100" y="689"/>
                    </a:moveTo>
                    <a:lnTo>
                      <a:pt x="100" y="691"/>
                    </a:lnTo>
                    <a:lnTo>
                      <a:pt x="100" y="689"/>
                    </a:lnTo>
                    <a:close/>
                    <a:moveTo>
                      <a:pt x="33" y="644"/>
                    </a:moveTo>
                    <a:lnTo>
                      <a:pt x="31" y="644"/>
                    </a:lnTo>
                    <a:lnTo>
                      <a:pt x="31" y="642"/>
                    </a:lnTo>
                    <a:lnTo>
                      <a:pt x="31" y="644"/>
                    </a:lnTo>
                    <a:lnTo>
                      <a:pt x="33" y="644"/>
                    </a:lnTo>
                    <a:close/>
                    <a:moveTo>
                      <a:pt x="39" y="654"/>
                    </a:moveTo>
                    <a:lnTo>
                      <a:pt x="39" y="652"/>
                    </a:lnTo>
                    <a:lnTo>
                      <a:pt x="39" y="654"/>
                    </a:lnTo>
                    <a:lnTo>
                      <a:pt x="37" y="654"/>
                    </a:lnTo>
                    <a:lnTo>
                      <a:pt x="35" y="654"/>
                    </a:lnTo>
                    <a:lnTo>
                      <a:pt x="35" y="652"/>
                    </a:lnTo>
                    <a:lnTo>
                      <a:pt x="35" y="650"/>
                    </a:lnTo>
                    <a:lnTo>
                      <a:pt x="33" y="650"/>
                    </a:lnTo>
                    <a:lnTo>
                      <a:pt x="33" y="648"/>
                    </a:lnTo>
                    <a:lnTo>
                      <a:pt x="33" y="646"/>
                    </a:lnTo>
                    <a:lnTo>
                      <a:pt x="35" y="646"/>
                    </a:lnTo>
                    <a:lnTo>
                      <a:pt x="37" y="644"/>
                    </a:lnTo>
                    <a:lnTo>
                      <a:pt x="39" y="644"/>
                    </a:lnTo>
                    <a:lnTo>
                      <a:pt x="39" y="646"/>
                    </a:lnTo>
                    <a:lnTo>
                      <a:pt x="39" y="648"/>
                    </a:lnTo>
                    <a:lnTo>
                      <a:pt x="39" y="650"/>
                    </a:lnTo>
                    <a:lnTo>
                      <a:pt x="39" y="652"/>
                    </a:lnTo>
                    <a:lnTo>
                      <a:pt x="41" y="652"/>
                    </a:lnTo>
                    <a:lnTo>
                      <a:pt x="39" y="654"/>
                    </a:lnTo>
                    <a:close/>
                    <a:moveTo>
                      <a:pt x="110" y="677"/>
                    </a:moveTo>
                    <a:lnTo>
                      <a:pt x="108" y="677"/>
                    </a:lnTo>
                    <a:lnTo>
                      <a:pt x="110" y="677"/>
                    </a:lnTo>
                    <a:close/>
                    <a:moveTo>
                      <a:pt x="25" y="616"/>
                    </a:moveTo>
                    <a:lnTo>
                      <a:pt x="27" y="616"/>
                    </a:lnTo>
                    <a:lnTo>
                      <a:pt x="25" y="616"/>
                    </a:lnTo>
                    <a:lnTo>
                      <a:pt x="25" y="614"/>
                    </a:lnTo>
                    <a:lnTo>
                      <a:pt x="25" y="616"/>
                    </a:lnTo>
                    <a:lnTo>
                      <a:pt x="25" y="614"/>
                    </a:lnTo>
                    <a:lnTo>
                      <a:pt x="25" y="616"/>
                    </a:lnTo>
                    <a:close/>
                    <a:moveTo>
                      <a:pt x="2" y="598"/>
                    </a:moveTo>
                    <a:lnTo>
                      <a:pt x="0" y="598"/>
                    </a:lnTo>
                    <a:lnTo>
                      <a:pt x="0" y="596"/>
                    </a:lnTo>
                    <a:lnTo>
                      <a:pt x="2" y="596"/>
                    </a:lnTo>
                    <a:lnTo>
                      <a:pt x="2" y="594"/>
                    </a:lnTo>
                    <a:lnTo>
                      <a:pt x="2" y="596"/>
                    </a:lnTo>
                    <a:lnTo>
                      <a:pt x="2" y="598"/>
                    </a:lnTo>
                    <a:close/>
                    <a:moveTo>
                      <a:pt x="18" y="602"/>
                    </a:moveTo>
                    <a:lnTo>
                      <a:pt x="20" y="602"/>
                    </a:lnTo>
                    <a:lnTo>
                      <a:pt x="18" y="602"/>
                    </a:lnTo>
                    <a:lnTo>
                      <a:pt x="20" y="602"/>
                    </a:lnTo>
                    <a:lnTo>
                      <a:pt x="18" y="602"/>
                    </a:lnTo>
                    <a:lnTo>
                      <a:pt x="20" y="602"/>
                    </a:lnTo>
                    <a:lnTo>
                      <a:pt x="20" y="604"/>
                    </a:lnTo>
                    <a:lnTo>
                      <a:pt x="18" y="604"/>
                    </a:lnTo>
                    <a:lnTo>
                      <a:pt x="18" y="602"/>
                    </a:lnTo>
                    <a:close/>
                    <a:moveTo>
                      <a:pt x="119" y="666"/>
                    </a:moveTo>
                    <a:lnTo>
                      <a:pt x="119" y="664"/>
                    </a:lnTo>
                    <a:lnTo>
                      <a:pt x="121" y="664"/>
                    </a:lnTo>
                    <a:lnTo>
                      <a:pt x="121" y="666"/>
                    </a:lnTo>
                    <a:lnTo>
                      <a:pt x="119" y="666"/>
                    </a:lnTo>
                    <a:close/>
                    <a:moveTo>
                      <a:pt x="14" y="596"/>
                    </a:moveTo>
                    <a:lnTo>
                      <a:pt x="16" y="596"/>
                    </a:lnTo>
                    <a:lnTo>
                      <a:pt x="14" y="596"/>
                    </a:lnTo>
                    <a:close/>
                    <a:moveTo>
                      <a:pt x="121" y="662"/>
                    </a:moveTo>
                    <a:lnTo>
                      <a:pt x="123" y="662"/>
                    </a:lnTo>
                    <a:lnTo>
                      <a:pt x="121" y="662"/>
                    </a:lnTo>
                    <a:close/>
                    <a:moveTo>
                      <a:pt x="123" y="656"/>
                    </a:moveTo>
                    <a:lnTo>
                      <a:pt x="123" y="654"/>
                    </a:lnTo>
                    <a:lnTo>
                      <a:pt x="123" y="656"/>
                    </a:lnTo>
                    <a:close/>
                    <a:moveTo>
                      <a:pt x="121" y="654"/>
                    </a:moveTo>
                    <a:lnTo>
                      <a:pt x="123" y="656"/>
                    </a:lnTo>
                    <a:lnTo>
                      <a:pt x="121" y="656"/>
                    </a:lnTo>
                    <a:lnTo>
                      <a:pt x="121" y="654"/>
                    </a:lnTo>
                    <a:close/>
                    <a:moveTo>
                      <a:pt x="121" y="654"/>
                    </a:moveTo>
                    <a:lnTo>
                      <a:pt x="121" y="656"/>
                    </a:lnTo>
                    <a:lnTo>
                      <a:pt x="121" y="654"/>
                    </a:lnTo>
                    <a:lnTo>
                      <a:pt x="121" y="656"/>
                    </a:lnTo>
                    <a:lnTo>
                      <a:pt x="123" y="656"/>
                    </a:lnTo>
                    <a:lnTo>
                      <a:pt x="123" y="658"/>
                    </a:lnTo>
                    <a:lnTo>
                      <a:pt x="125" y="658"/>
                    </a:lnTo>
                    <a:lnTo>
                      <a:pt x="127" y="660"/>
                    </a:lnTo>
                    <a:lnTo>
                      <a:pt x="127" y="662"/>
                    </a:lnTo>
                    <a:lnTo>
                      <a:pt x="125" y="662"/>
                    </a:lnTo>
                    <a:lnTo>
                      <a:pt x="123" y="662"/>
                    </a:lnTo>
                    <a:lnTo>
                      <a:pt x="121" y="660"/>
                    </a:lnTo>
                    <a:lnTo>
                      <a:pt x="121" y="658"/>
                    </a:lnTo>
                    <a:lnTo>
                      <a:pt x="123" y="658"/>
                    </a:lnTo>
                    <a:lnTo>
                      <a:pt x="121" y="658"/>
                    </a:lnTo>
                    <a:lnTo>
                      <a:pt x="121" y="656"/>
                    </a:lnTo>
                    <a:lnTo>
                      <a:pt x="119" y="654"/>
                    </a:lnTo>
                    <a:lnTo>
                      <a:pt x="119" y="652"/>
                    </a:lnTo>
                    <a:lnTo>
                      <a:pt x="121" y="654"/>
                    </a:lnTo>
                    <a:close/>
                    <a:moveTo>
                      <a:pt x="119" y="654"/>
                    </a:moveTo>
                    <a:lnTo>
                      <a:pt x="119" y="652"/>
                    </a:lnTo>
                    <a:lnTo>
                      <a:pt x="119" y="654"/>
                    </a:lnTo>
                    <a:close/>
                    <a:moveTo>
                      <a:pt x="121" y="652"/>
                    </a:moveTo>
                    <a:lnTo>
                      <a:pt x="121" y="654"/>
                    </a:lnTo>
                    <a:lnTo>
                      <a:pt x="121" y="652"/>
                    </a:lnTo>
                    <a:close/>
                    <a:moveTo>
                      <a:pt x="119" y="650"/>
                    </a:moveTo>
                    <a:lnTo>
                      <a:pt x="119" y="652"/>
                    </a:lnTo>
                    <a:lnTo>
                      <a:pt x="121" y="652"/>
                    </a:lnTo>
                    <a:lnTo>
                      <a:pt x="119" y="652"/>
                    </a:lnTo>
                    <a:lnTo>
                      <a:pt x="119" y="650"/>
                    </a:lnTo>
                    <a:close/>
                    <a:moveTo>
                      <a:pt x="121" y="652"/>
                    </a:moveTo>
                    <a:lnTo>
                      <a:pt x="123" y="654"/>
                    </a:lnTo>
                    <a:lnTo>
                      <a:pt x="123" y="652"/>
                    </a:lnTo>
                    <a:lnTo>
                      <a:pt x="123" y="654"/>
                    </a:lnTo>
                    <a:lnTo>
                      <a:pt x="125" y="654"/>
                    </a:lnTo>
                    <a:lnTo>
                      <a:pt x="125" y="656"/>
                    </a:lnTo>
                    <a:lnTo>
                      <a:pt x="125" y="654"/>
                    </a:lnTo>
                    <a:lnTo>
                      <a:pt x="127" y="656"/>
                    </a:lnTo>
                    <a:lnTo>
                      <a:pt x="127" y="658"/>
                    </a:lnTo>
                    <a:lnTo>
                      <a:pt x="125" y="658"/>
                    </a:lnTo>
                    <a:lnTo>
                      <a:pt x="123" y="656"/>
                    </a:lnTo>
                    <a:lnTo>
                      <a:pt x="121" y="654"/>
                    </a:lnTo>
                    <a:lnTo>
                      <a:pt x="121" y="652"/>
                    </a:lnTo>
                    <a:close/>
                    <a:moveTo>
                      <a:pt x="121" y="652"/>
                    </a:moveTo>
                    <a:lnTo>
                      <a:pt x="119" y="650"/>
                    </a:lnTo>
                    <a:lnTo>
                      <a:pt x="121" y="650"/>
                    </a:lnTo>
                    <a:lnTo>
                      <a:pt x="121" y="652"/>
                    </a:lnTo>
                    <a:lnTo>
                      <a:pt x="121" y="650"/>
                    </a:lnTo>
                    <a:lnTo>
                      <a:pt x="119" y="650"/>
                    </a:lnTo>
                    <a:lnTo>
                      <a:pt x="121" y="650"/>
                    </a:lnTo>
                    <a:lnTo>
                      <a:pt x="121" y="652"/>
                    </a:lnTo>
                    <a:close/>
                    <a:moveTo>
                      <a:pt x="121" y="650"/>
                    </a:moveTo>
                    <a:lnTo>
                      <a:pt x="121" y="652"/>
                    </a:lnTo>
                    <a:lnTo>
                      <a:pt x="123" y="652"/>
                    </a:lnTo>
                    <a:lnTo>
                      <a:pt x="121" y="652"/>
                    </a:lnTo>
                    <a:lnTo>
                      <a:pt x="123" y="652"/>
                    </a:lnTo>
                    <a:lnTo>
                      <a:pt x="121" y="652"/>
                    </a:lnTo>
                    <a:lnTo>
                      <a:pt x="123" y="652"/>
                    </a:lnTo>
                    <a:lnTo>
                      <a:pt x="121" y="652"/>
                    </a:lnTo>
                    <a:lnTo>
                      <a:pt x="121" y="650"/>
                    </a:lnTo>
                    <a:close/>
                    <a:moveTo>
                      <a:pt x="118" y="646"/>
                    </a:moveTo>
                    <a:lnTo>
                      <a:pt x="118" y="648"/>
                    </a:lnTo>
                    <a:lnTo>
                      <a:pt x="116" y="646"/>
                    </a:lnTo>
                    <a:lnTo>
                      <a:pt x="118" y="646"/>
                    </a:lnTo>
                    <a:close/>
                    <a:moveTo>
                      <a:pt x="116" y="644"/>
                    </a:moveTo>
                    <a:lnTo>
                      <a:pt x="114" y="646"/>
                    </a:lnTo>
                    <a:lnTo>
                      <a:pt x="114" y="644"/>
                    </a:lnTo>
                    <a:lnTo>
                      <a:pt x="112" y="644"/>
                    </a:lnTo>
                    <a:lnTo>
                      <a:pt x="114" y="644"/>
                    </a:lnTo>
                    <a:lnTo>
                      <a:pt x="116" y="644"/>
                    </a:lnTo>
                    <a:close/>
                    <a:moveTo>
                      <a:pt x="110" y="641"/>
                    </a:moveTo>
                    <a:lnTo>
                      <a:pt x="108" y="641"/>
                    </a:lnTo>
                    <a:lnTo>
                      <a:pt x="110" y="641"/>
                    </a:lnTo>
                    <a:close/>
                    <a:moveTo>
                      <a:pt x="110" y="641"/>
                    </a:moveTo>
                    <a:lnTo>
                      <a:pt x="108" y="641"/>
                    </a:lnTo>
                    <a:lnTo>
                      <a:pt x="108" y="639"/>
                    </a:lnTo>
                    <a:lnTo>
                      <a:pt x="108" y="641"/>
                    </a:lnTo>
                    <a:lnTo>
                      <a:pt x="108" y="639"/>
                    </a:lnTo>
                    <a:lnTo>
                      <a:pt x="110" y="639"/>
                    </a:lnTo>
                    <a:lnTo>
                      <a:pt x="110" y="641"/>
                    </a:lnTo>
                    <a:lnTo>
                      <a:pt x="110" y="639"/>
                    </a:lnTo>
                    <a:lnTo>
                      <a:pt x="110" y="641"/>
                    </a:lnTo>
                    <a:close/>
                    <a:moveTo>
                      <a:pt x="108" y="639"/>
                    </a:moveTo>
                    <a:lnTo>
                      <a:pt x="108" y="637"/>
                    </a:lnTo>
                    <a:lnTo>
                      <a:pt x="108" y="639"/>
                    </a:lnTo>
                    <a:close/>
                    <a:moveTo>
                      <a:pt x="112" y="637"/>
                    </a:moveTo>
                    <a:lnTo>
                      <a:pt x="112" y="639"/>
                    </a:lnTo>
                    <a:lnTo>
                      <a:pt x="110" y="641"/>
                    </a:lnTo>
                    <a:lnTo>
                      <a:pt x="110" y="639"/>
                    </a:lnTo>
                    <a:lnTo>
                      <a:pt x="110" y="637"/>
                    </a:lnTo>
                    <a:lnTo>
                      <a:pt x="112" y="637"/>
                    </a:lnTo>
                    <a:close/>
                    <a:moveTo>
                      <a:pt x="110" y="637"/>
                    </a:moveTo>
                    <a:lnTo>
                      <a:pt x="110" y="635"/>
                    </a:lnTo>
                    <a:lnTo>
                      <a:pt x="110" y="637"/>
                    </a:lnTo>
                    <a:lnTo>
                      <a:pt x="110" y="635"/>
                    </a:lnTo>
                    <a:lnTo>
                      <a:pt x="110" y="637"/>
                    </a:lnTo>
                    <a:lnTo>
                      <a:pt x="110" y="639"/>
                    </a:lnTo>
                    <a:lnTo>
                      <a:pt x="108" y="639"/>
                    </a:lnTo>
                    <a:lnTo>
                      <a:pt x="108" y="637"/>
                    </a:lnTo>
                    <a:lnTo>
                      <a:pt x="108" y="635"/>
                    </a:lnTo>
                    <a:lnTo>
                      <a:pt x="110" y="635"/>
                    </a:lnTo>
                    <a:lnTo>
                      <a:pt x="110" y="637"/>
                    </a:lnTo>
                    <a:close/>
                    <a:moveTo>
                      <a:pt x="108" y="633"/>
                    </a:moveTo>
                    <a:lnTo>
                      <a:pt x="108" y="631"/>
                    </a:lnTo>
                    <a:lnTo>
                      <a:pt x="108" y="633"/>
                    </a:lnTo>
                    <a:close/>
                    <a:moveTo>
                      <a:pt x="106" y="629"/>
                    </a:moveTo>
                    <a:lnTo>
                      <a:pt x="106" y="631"/>
                    </a:lnTo>
                    <a:lnTo>
                      <a:pt x="106" y="629"/>
                    </a:lnTo>
                    <a:close/>
                    <a:moveTo>
                      <a:pt x="166" y="666"/>
                    </a:moveTo>
                    <a:lnTo>
                      <a:pt x="168" y="666"/>
                    </a:lnTo>
                    <a:lnTo>
                      <a:pt x="166" y="666"/>
                    </a:lnTo>
                    <a:close/>
                    <a:moveTo>
                      <a:pt x="106" y="629"/>
                    </a:moveTo>
                    <a:lnTo>
                      <a:pt x="106" y="627"/>
                    </a:lnTo>
                    <a:lnTo>
                      <a:pt x="106" y="629"/>
                    </a:lnTo>
                    <a:lnTo>
                      <a:pt x="106" y="627"/>
                    </a:lnTo>
                    <a:lnTo>
                      <a:pt x="106" y="629"/>
                    </a:lnTo>
                    <a:close/>
                    <a:moveTo>
                      <a:pt x="104" y="625"/>
                    </a:moveTo>
                    <a:lnTo>
                      <a:pt x="102" y="625"/>
                    </a:lnTo>
                    <a:lnTo>
                      <a:pt x="102" y="623"/>
                    </a:lnTo>
                    <a:lnTo>
                      <a:pt x="102" y="625"/>
                    </a:lnTo>
                    <a:lnTo>
                      <a:pt x="104" y="625"/>
                    </a:lnTo>
                    <a:close/>
                    <a:moveTo>
                      <a:pt x="104" y="621"/>
                    </a:moveTo>
                    <a:lnTo>
                      <a:pt x="104" y="623"/>
                    </a:lnTo>
                    <a:lnTo>
                      <a:pt x="104" y="625"/>
                    </a:lnTo>
                    <a:lnTo>
                      <a:pt x="102" y="623"/>
                    </a:lnTo>
                    <a:lnTo>
                      <a:pt x="102" y="621"/>
                    </a:lnTo>
                    <a:lnTo>
                      <a:pt x="104" y="621"/>
                    </a:lnTo>
                    <a:close/>
                    <a:moveTo>
                      <a:pt x="100" y="619"/>
                    </a:moveTo>
                    <a:lnTo>
                      <a:pt x="98" y="619"/>
                    </a:lnTo>
                    <a:lnTo>
                      <a:pt x="100" y="619"/>
                    </a:lnTo>
                    <a:lnTo>
                      <a:pt x="98" y="619"/>
                    </a:lnTo>
                    <a:lnTo>
                      <a:pt x="100" y="619"/>
                    </a:lnTo>
                    <a:close/>
                    <a:moveTo>
                      <a:pt x="104" y="621"/>
                    </a:moveTo>
                    <a:lnTo>
                      <a:pt x="104" y="623"/>
                    </a:lnTo>
                    <a:lnTo>
                      <a:pt x="104" y="621"/>
                    </a:lnTo>
                    <a:close/>
                    <a:moveTo>
                      <a:pt x="102" y="619"/>
                    </a:moveTo>
                    <a:lnTo>
                      <a:pt x="102" y="621"/>
                    </a:lnTo>
                    <a:lnTo>
                      <a:pt x="100" y="621"/>
                    </a:lnTo>
                    <a:lnTo>
                      <a:pt x="102" y="621"/>
                    </a:lnTo>
                    <a:lnTo>
                      <a:pt x="100" y="619"/>
                    </a:lnTo>
                    <a:lnTo>
                      <a:pt x="102" y="619"/>
                    </a:lnTo>
                    <a:close/>
                    <a:moveTo>
                      <a:pt x="106" y="621"/>
                    </a:moveTo>
                    <a:lnTo>
                      <a:pt x="106" y="623"/>
                    </a:lnTo>
                    <a:lnTo>
                      <a:pt x="106" y="621"/>
                    </a:lnTo>
                    <a:close/>
                    <a:moveTo>
                      <a:pt x="104" y="619"/>
                    </a:moveTo>
                    <a:lnTo>
                      <a:pt x="104" y="621"/>
                    </a:lnTo>
                    <a:lnTo>
                      <a:pt x="104" y="619"/>
                    </a:lnTo>
                    <a:close/>
                    <a:moveTo>
                      <a:pt x="106" y="621"/>
                    </a:moveTo>
                    <a:lnTo>
                      <a:pt x="106" y="619"/>
                    </a:lnTo>
                    <a:lnTo>
                      <a:pt x="106" y="621"/>
                    </a:lnTo>
                    <a:close/>
                    <a:moveTo>
                      <a:pt x="102" y="619"/>
                    </a:moveTo>
                    <a:lnTo>
                      <a:pt x="104" y="619"/>
                    </a:lnTo>
                    <a:lnTo>
                      <a:pt x="104" y="621"/>
                    </a:lnTo>
                    <a:lnTo>
                      <a:pt x="102" y="621"/>
                    </a:lnTo>
                    <a:lnTo>
                      <a:pt x="102" y="619"/>
                    </a:lnTo>
                    <a:lnTo>
                      <a:pt x="100" y="619"/>
                    </a:lnTo>
                    <a:lnTo>
                      <a:pt x="102" y="619"/>
                    </a:lnTo>
                    <a:lnTo>
                      <a:pt x="102" y="618"/>
                    </a:lnTo>
                    <a:lnTo>
                      <a:pt x="102" y="619"/>
                    </a:lnTo>
                    <a:lnTo>
                      <a:pt x="102" y="618"/>
                    </a:lnTo>
                    <a:lnTo>
                      <a:pt x="104" y="618"/>
                    </a:lnTo>
                    <a:lnTo>
                      <a:pt x="102" y="619"/>
                    </a:lnTo>
                    <a:close/>
                    <a:moveTo>
                      <a:pt x="106" y="619"/>
                    </a:moveTo>
                    <a:lnTo>
                      <a:pt x="106" y="621"/>
                    </a:lnTo>
                    <a:lnTo>
                      <a:pt x="104" y="621"/>
                    </a:lnTo>
                    <a:lnTo>
                      <a:pt x="106" y="621"/>
                    </a:lnTo>
                    <a:lnTo>
                      <a:pt x="104" y="623"/>
                    </a:lnTo>
                    <a:lnTo>
                      <a:pt x="104" y="621"/>
                    </a:lnTo>
                    <a:lnTo>
                      <a:pt x="106" y="619"/>
                    </a:lnTo>
                    <a:lnTo>
                      <a:pt x="104" y="619"/>
                    </a:lnTo>
                    <a:lnTo>
                      <a:pt x="106" y="619"/>
                    </a:lnTo>
                    <a:close/>
                    <a:moveTo>
                      <a:pt x="98" y="616"/>
                    </a:moveTo>
                    <a:lnTo>
                      <a:pt x="98" y="614"/>
                    </a:lnTo>
                    <a:lnTo>
                      <a:pt x="98" y="616"/>
                    </a:lnTo>
                    <a:lnTo>
                      <a:pt x="98" y="614"/>
                    </a:lnTo>
                    <a:lnTo>
                      <a:pt x="98" y="616"/>
                    </a:lnTo>
                    <a:close/>
                    <a:moveTo>
                      <a:pt x="104" y="619"/>
                    </a:moveTo>
                    <a:lnTo>
                      <a:pt x="106" y="619"/>
                    </a:lnTo>
                    <a:lnTo>
                      <a:pt x="104" y="618"/>
                    </a:lnTo>
                    <a:lnTo>
                      <a:pt x="106" y="619"/>
                    </a:lnTo>
                    <a:lnTo>
                      <a:pt x="104" y="619"/>
                    </a:lnTo>
                    <a:lnTo>
                      <a:pt x="104" y="618"/>
                    </a:lnTo>
                    <a:lnTo>
                      <a:pt x="104" y="619"/>
                    </a:lnTo>
                    <a:close/>
                    <a:moveTo>
                      <a:pt x="96" y="614"/>
                    </a:moveTo>
                    <a:lnTo>
                      <a:pt x="96" y="612"/>
                    </a:lnTo>
                    <a:lnTo>
                      <a:pt x="96" y="614"/>
                    </a:lnTo>
                    <a:lnTo>
                      <a:pt x="96" y="612"/>
                    </a:lnTo>
                    <a:lnTo>
                      <a:pt x="96" y="614"/>
                    </a:lnTo>
                    <a:close/>
                    <a:moveTo>
                      <a:pt x="102" y="616"/>
                    </a:moveTo>
                    <a:lnTo>
                      <a:pt x="102" y="618"/>
                    </a:lnTo>
                    <a:lnTo>
                      <a:pt x="100" y="619"/>
                    </a:lnTo>
                    <a:lnTo>
                      <a:pt x="98" y="619"/>
                    </a:lnTo>
                    <a:lnTo>
                      <a:pt x="98" y="618"/>
                    </a:lnTo>
                    <a:lnTo>
                      <a:pt x="100" y="618"/>
                    </a:lnTo>
                    <a:lnTo>
                      <a:pt x="98" y="618"/>
                    </a:lnTo>
                    <a:lnTo>
                      <a:pt x="100" y="618"/>
                    </a:lnTo>
                    <a:lnTo>
                      <a:pt x="98" y="618"/>
                    </a:lnTo>
                    <a:lnTo>
                      <a:pt x="100" y="618"/>
                    </a:lnTo>
                    <a:lnTo>
                      <a:pt x="98" y="618"/>
                    </a:lnTo>
                    <a:lnTo>
                      <a:pt x="100" y="616"/>
                    </a:lnTo>
                    <a:lnTo>
                      <a:pt x="102" y="616"/>
                    </a:lnTo>
                    <a:close/>
                    <a:moveTo>
                      <a:pt x="96" y="612"/>
                    </a:moveTo>
                    <a:lnTo>
                      <a:pt x="96" y="614"/>
                    </a:lnTo>
                    <a:lnTo>
                      <a:pt x="98" y="614"/>
                    </a:lnTo>
                    <a:lnTo>
                      <a:pt x="96" y="614"/>
                    </a:lnTo>
                    <a:lnTo>
                      <a:pt x="96" y="612"/>
                    </a:lnTo>
                    <a:lnTo>
                      <a:pt x="96" y="614"/>
                    </a:lnTo>
                    <a:lnTo>
                      <a:pt x="96" y="612"/>
                    </a:lnTo>
                    <a:close/>
                    <a:moveTo>
                      <a:pt x="104" y="616"/>
                    </a:moveTo>
                    <a:lnTo>
                      <a:pt x="102" y="616"/>
                    </a:lnTo>
                    <a:lnTo>
                      <a:pt x="104" y="618"/>
                    </a:lnTo>
                    <a:lnTo>
                      <a:pt x="102" y="616"/>
                    </a:lnTo>
                    <a:lnTo>
                      <a:pt x="104" y="616"/>
                    </a:lnTo>
                    <a:lnTo>
                      <a:pt x="104" y="618"/>
                    </a:lnTo>
                    <a:lnTo>
                      <a:pt x="104" y="616"/>
                    </a:lnTo>
                    <a:lnTo>
                      <a:pt x="104" y="618"/>
                    </a:lnTo>
                    <a:lnTo>
                      <a:pt x="104" y="619"/>
                    </a:lnTo>
                    <a:lnTo>
                      <a:pt x="104" y="621"/>
                    </a:lnTo>
                    <a:lnTo>
                      <a:pt x="104" y="619"/>
                    </a:lnTo>
                    <a:lnTo>
                      <a:pt x="102" y="619"/>
                    </a:lnTo>
                    <a:lnTo>
                      <a:pt x="104" y="619"/>
                    </a:lnTo>
                    <a:lnTo>
                      <a:pt x="104" y="618"/>
                    </a:lnTo>
                    <a:lnTo>
                      <a:pt x="102" y="618"/>
                    </a:lnTo>
                    <a:lnTo>
                      <a:pt x="104" y="618"/>
                    </a:lnTo>
                    <a:lnTo>
                      <a:pt x="102" y="618"/>
                    </a:lnTo>
                    <a:lnTo>
                      <a:pt x="102" y="616"/>
                    </a:lnTo>
                    <a:lnTo>
                      <a:pt x="104" y="616"/>
                    </a:lnTo>
                    <a:close/>
                    <a:moveTo>
                      <a:pt x="102" y="616"/>
                    </a:moveTo>
                    <a:lnTo>
                      <a:pt x="102" y="618"/>
                    </a:lnTo>
                    <a:lnTo>
                      <a:pt x="102" y="616"/>
                    </a:lnTo>
                    <a:lnTo>
                      <a:pt x="100" y="616"/>
                    </a:lnTo>
                    <a:lnTo>
                      <a:pt x="102" y="616"/>
                    </a:lnTo>
                    <a:close/>
                    <a:moveTo>
                      <a:pt x="112" y="621"/>
                    </a:moveTo>
                    <a:lnTo>
                      <a:pt x="112" y="619"/>
                    </a:lnTo>
                    <a:lnTo>
                      <a:pt x="112" y="621"/>
                    </a:lnTo>
                    <a:close/>
                    <a:moveTo>
                      <a:pt x="93" y="610"/>
                    </a:moveTo>
                    <a:lnTo>
                      <a:pt x="95" y="610"/>
                    </a:lnTo>
                    <a:lnTo>
                      <a:pt x="95" y="612"/>
                    </a:lnTo>
                    <a:lnTo>
                      <a:pt x="95" y="614"/>
                    </a:lnTo>
                    <a:lnTo>
                      <a:pt x="96" y="612"/>
                    </a:lnTo>
                    <a:lnTo>
                      <a:pt x="96" y="614"/>
                    </a:lnTo>
                    <a:lnTo>
                      <a:pt x="95" y="614"/>
                    </a:lnTo>
                    <a:lnTo>
                      <a:pt x="95" y="612"/>
                    </a:lnTo>
                    <a:lnTo>
                      <a:pt x="93" y="612"/>
                    </a:lnTo>
                    <a:lnTo>
                      <a:pt x="95" y="612"/>
                    </a:lnTo>
                    <a:lnTo>
                      <a:pt x="93" y="612"/>
                    </a:lnTo>
                    <a:lnTo>
                      <a:pt x="93" y="610"/>
                    </a:lnTo>
                    <a:lnTo>
                      <a:pt x="93" y="612"/>
                    </a:lnTo>
                    <a:lnTo>
                      <a:pt x="91" y="612"/>
                    </a:lnTo>
                    <a:lnTo>
                      <a:pt x="89" y="612"/>
                    </a:lnTo>
                    <a:lnTo>
                      <a:pt x="91" y="612"/>
                    </a:lnTo>
                    <a:lnTo>
                      <a:pt x="91" y="610"/>
                    </a:lnTo>
                    <a:lnTo>
                      <a:pt x="93" y="610"/>
                    </a:lnTo>
                    <a:lnTo>
                      <a:pt x="93" y="608"/>
                    </a:lnTo>
                    <a:lnTo>
                      <a:pt x="95" y="608"/>
                    </a:lnTo>
                    <a:lnTo>
                      <a:pt x="93" y="610"/>
                    </a:lnTo>
                    <a:lnTo>
                      <a:pt x="95" y="610"/>
                    </a:lnTo>
                    <a:lnTo>
                      <a:pt x="93" y="610"/>
                    </a:lnTo>
                    <a:close/>
                    <a:moveTo>
                      <a:pt x="93" y="610"/>
                    </a:moveTo>
                    <a:lnTo>
                      <a:pt x="93" y="608"/>
                    </a:lnTo>
                    <a:lnTo>
                      <a:pt x="93" y="610"/>
                    </a:lnTo>
                    <a:close/>
                    <a:moveTo>
                      <a:pt x="104" y="616"/>
                    </a:moveTo>
                    <a:lnTo>
                      <a:pt x="104" y="614"/>
                    </a:lnTo>
                    <a:lnTo>
                      <a:pt x="104" y="616"/>
                    </a:lnTo>
                    <a:close/>
                    <a:moveTo>
                      <a:pt x="104" y="616"/>
                    </a:moveTo>
                    <a:lnTo>
                      <a:pt x="104" y="614"/>
                    </a:lnTo>
                    <a:lnTo>
                      <a:pt x="104" y="616"/>
                    </a:lnTo>
                    <a:close/>
                    <a:moveTo>
                      <a:pt x="104" y="614"/>
                    </a:moveTo>
                    <a:lnTo>
                      <a:pt x="102" y="614"/>
                    </a:lnTo>
                    <a:lnTo>
                      <a:pt x="104" y="612"/>
                    </a:lnTo>
                    <a:lnTo>
                      <a:pt x="104" y="614"/>
                    </a:lnTo>
                    <a:close/>
                    <a:moveTo>
                      <a:pt x="104" y="614"/>
                    </a:moveTo>
                    <a:lnTo>
                      <a:pt x="102" y="614"/>
                    </a:lnTo>
                    <a:lnTo>
                      <a:pt x="104" y="614"/>
                    </a:lnTo>
                    <a:close/>
                    <a:moveTo>
                      <a:pt x="102" y="612"/>
                    </a:moveTo>
                    <a:lnTo>
                      <a:pt x="102" y="614"/>
                    </a:lnTo>
                    <a:lnTo>
                      <a:pt x="102" y="612"/>
                    </a:lnTo>
                    <a:close/>
                    <a:moveTo>
                      <a:pt x="102" y="612"/>
                    </a:moveTo>
                    <a:lnTo>
                      <a:pt x="102" y="614"/>
                    </a:lnTo>
                    <a:lnTo>
                      <a:pt x="102" y="616"/>
                    </a:lnTo>
                    <a:lnTo>
                      <a:pt x="100" y="614"/>
                    </a:lnTo>
                    <a:lnTo>
                      <a:pt x="100" y="616"/>
                    </a:lnTo>
                    <a:lnTo>
                      <a:pt x="100" y="614"/>
                    </a:lnTo>
                    <a:lnTo>
                      <a:pt x="100" y="616"/>
                    </a:lnTo>
                    <a:lnTo>
                      <a:pt x="98" y="616"/>
                    </a:lnTo>
                    <a:lnTo>
                      <a:pt x="98" y="618"/>
                    </a:lnTo>
                    <a:lnTo>
                      <a:pt x="98" y="616"/>
                    </a:lnTo>
                    <a:lnTo>
                      <a:pt x="98" y="614"/>
                    </a:lnTo>
                    <a:lnTo>
                      <a:pt x="98" y="612"/>
                    </a:lnTo>
                    <a:lnTo>
                      <a:pt x="98" y="610"/>
                    </a:lnTo>
                    <a:lnTo>
                      <a:pt x="96" y="610"/>
                    </a:lnTo>
                    <a:lnTo>
                      <a:pt x="96" y="608"/>
                    </a:lnTo>
                    <a:lnTo>
                      <a:pt x="96" y="610"/>
                    </a:lnTo>
                    <a:lnTo>
                      <a:pt x="98" y="610"/>
                    </a:lnTo>
                    <a:lnTo>
                      <a:pt x="100" y="610"/>
                    </a:lnTo>
                    <a:lnTo>
                      <a:pt x="100" y="612"/>
                    </a:lnTo>
                    <a:lnTo>
                      <a:pt x="100" y="614"/>
                    </a:lnTo>
                    <a:lnTo>
                      <a:pt x="100" y="612"/>
                    </a:lnTo>
                    <a:lnTo>
                      <a:pt x="102" y="612"/>
                    </a:lnTo>
                    <a:lnTo>
                      <a:pt x="102" y="614"/>
                    </a:lnTo>
                    <a:lnTo>
                      <a:pt x="102" y="612"/>
                    </a:lnTo>
                    <a:lnTo>
                      <a:pt x="100" y="612"/>
                    </a:lnTo>
                    <a:lnTo>
                      <a:pt x="102" y="612"/>
                    </a:lnTo>
                    <a:lnTo>
                      <a:pt x="102" y="610"/>
                    </a:lnTo>
                    <a:lnTo>
                      <a:pt x="102" y="612"/>
                    </a:lnTo>
                    <a:close/>
                    <a:moveTo>
                      <a:pt x="104" y="612"/>
                    </a:moveTo>
                    <a:lnTo>
                      <a:pt x="104" y="614"/>
                    </a:lnTo>
                    <a:lnTo>
                      <a:pt x="104" y="612"/>
                    </a:lnTo>
                    <a:lnTo>
                      <a:pt x="104" y="614"/>
                    </a:lnTo>
                    <a:lnTo>
                      <a:pt x="102" y="612"/>
                    </a:lnTo>
                    <a:lnTo>
                      <a:pt x="104" y="612"/>
                    </a:lnTo>
                    <a:close/>
                    <a:moveTo>
                      <a:pt x="102" y="612"/>
                    </a:moveTo>
                    <a:lnTo>
                      <a:pt x="102" y="610"/>
                    </a:lnTo>
                    <a:lnTo>
                      <a:pt x="102" y="612"/>
                    </a:lnTo>
                    <a:lnTo>
                      <a:pt x="102" y="610"/>
                    </a:lnTo>
                    <a:lnTo>
                      <a:pt x="102" y="612"/>
                    </a:lnTo>
                    <a:close/>
                    <a:moveTo>
                      <a:pt x="96" y="606"/>
                    </a:moveTo>
                    <a:lnTo>
                      <a:pt x="96" y="608"/>
                    </a:lnTo>
                    <a:lnTo>
                      <a:pt x="98" y="608"/>
                    </a:lnTo>
                    <a:lnTo>
                      <a:pt x="96" y="608"/>
                    </a:lnTo>
                    <a:lnTo>
                      <a:pt x="95" y="608"/>
                    </a:lnTo>
                    <a:lnTo>
                      <a:pt x="95" y="606"/>
                    </a:lnTo>
                    <a:lnTo>
                      <a:pt x="96" y="606"/>
                    </a:lnTo>
                    <a:close/>
                    <a:moveTo>
                      <a:pt x="98" y="608"/>
                    </a:moveTo>
                    <a:lnTo>
                      <a:pt x="96" y="608"/>
                    </a:lnTo>
                    <a:lnTo>
                      <a:pt x="98" y="608"/>
                    </a:lnTo>
                    <a:close/>
                    <a:moveTo>
                      <a:pt x="179" y="656"/>
                    </a:moveTo>
                    <a:lnTo>
                      <a:pt x="177" y="656"/>
                    </a:lnTo>
                    <a:lnTo>
                      <a:pt x="179" y="656"/>
                    </a:lnTo>
                    <a:lnTo>
                      <a:pt x="179" y="658"/>
                    </a:lnTo>
                    <a:lnTo>
                      <a:pt x="177" y="658"/>
                    </a:lnTo>
                    <a:lnTo>
                      <a:pt x="177" y="660"/>
                    </a:lnTo>
                    <a:lnTo>
                      <a:pt x="175" y="660"/>
                    </a:lnTo>
                    <a:lnTo>
                      <a:pt x="177" y="660"/>
                    </a:lnTo>
                    <a:lnTo>
                      <a:pt x="175" y="660"/>
                    </a:lnTo>
                    <a:lnTo>
                      <a:pt x="175" y="658"/>
                    </a:lnTo>
                    <a:lnTo>
                      <a:pt x="177" y="658"/>
                    </a:lnTo>
                    <a:lnTo>
                      <a:pt x="177" y="656"/>
                    </a:lnTo>
                    <a:lnTo>
                      <a:pt x="177" y="658"/>
                    </a:lnTo>
                    <a:lnTo>
                      <a:pt x="177" y="656"/>
                    </a:lnTo>
                    <a:lnTo>
                      <a:pt x="179" y="656"/>
                    </a:lnTo>
                    <a:close/>
                    <a:moveTo>
                      <a:pt x="98" y="608"/>
                    </a:moveTo>
                    <a:lnTo>
                      <a:pt x="100" y="608"/>
                    </a:lnTo>
                    <a:lnTo>
                      <a:pt x="100" y="610"/>
                    </a:lnTo>
                    <a:lnTo>
                      <a:pt x="98" y="610"/>
                    </a:lnTo>
                    <a:lnTo>
                      <a:pt x="98" y="608"/>
                    </a:lnTo>
                    <a:close/>
                    <a:moveTo>
                      <a:pt x="108" y="612"/>
                    </a:moveTo>
                    <a:lnTo>
                      <a:pt x="108" y="614"/>
                    </a:lnTo>
                    <a:lnTo>
                      <a:pt x="108" y="612"/>
                    </a:lnTo>
                    <a:lnTo>
                      <a:pt x="108" y="614"/>
                    </a:lnTo>
                    <a:lnTo>
                      <a:pt x="108" y="616"/>
                    </a:lnTo>
                    <a:lnTo>
                      <a:pt x="108" y="614"/>
                    </a:lnTo>
                    <a:lnTo>
                      <a:pt x="108" y="612"/>
                    </a:lnTo>
                    <a:close/>
                    <a:moveTo>
                      <a:pt x="110" y="612"/>
                    </a:moveTo>
                    <a:lnTo>
                      <a:pt x="110" y="614"/>
                    </a:lnTo>
                    <a:lnTo>
                      <a:pt x="110" y="612"/>
                    </a:lnTo>
                    <a:close/>
                    <a:moveTo>
                      <a:pt x="100" y="606"/>
                    </a:moveTo>
                    <a:lnTo>
                      <a:pt x="100" y="608"/>
                    </a:lnTo>
                    <a:lnTo>
                      <a:pt x="100" y="606"/>
                    </a:lnTo>
                    <a:lnTo>
                      <a:pt x="100" y="608"/>
                    </a:lnTo>
                    <a:lnTo>
                      <a:pt x="100" y="606"/>
                    </a:lnTo>
                    <a:lnTo>
                      <a:pt x="100" y="608"/>
                    </a:lnTo>
                    <a:lnTo>
                      <a:pt x="98" y="608"/>
                    </a:lnTo>
                    <a:lnTo>
                      <a:pt x="98" y="606"/>
                    </a:lnTo>
                    <a:lnTo>
                      <a:pt x="98" y="608"/>
                    </a:lnTo>
                    <a:lnTo>
                      <a:pt x="98" y="606"/>
                    </a:lnTo>
                    <a:lnTo>
                      <a:pt x="100" y="606"/>
                    </a:lnTo>
                    <a:lnTo>
                      <a:pt x="98" y="606"/>
                    </a:lnTo>
                    <a:lnTo>
                      <a:pt x="100" y="604"/>
                    </a:lnTo>
                    <a:lnTo>
                      <a:pt x="100" y="606"/>
                    </a:lnTo>
                    <a:close/>
                    <a:moveTo>
                      <a:pt x="108" y="610"/>
                    </a:moveTo>
                    <a:lnTo>
                      <a:pt x="108" y="612"/>
                    </a:lnTo>
                    <a:lnTo>
                      <a:pt x="110" y="612"/>
                    </a:lnTo>
                    <a:lnTo>
                      <a:pt x="108" y="612"/>
                    </a:lnTo>
                    <a:lnTo>
                      <a:pt x="108" y="610"/>
                    </a:lnTo>
                    <a:close/>
                    <a:moveTo>
                      <a:pt x="112" y="612"/>
                    </a:moveTo>
                    <a:lnTo>
                      <a:pt x="112" y="614"/>
                    </a:lnTo>
                    <a:lnTo>
                      <a:pt x="112" y="612"/>
                    </a:lnTo>
                    <a:close/>
                    <a:moveTo>
                      <a:pt x="106" y="606"/>
                    </a:moveTo>
                    <a:lnTo>
                      <a:pt x="104" y="606"/>
                    </a:lnTo>
                    <a:lnTo>
                      <a:pt x="106" y="608"/>
                    </a:lnTo>
                    <a:lnTo>
                      <a:pt x="104" y="608"/>
                    </a:lnTo>
                    <a:lnTo>
                      <a:pt x="104" y="606"/>
                    </a:lnTo>
                    <a:lnTo>
                      <a:pt x="102" y="606"/>
                    </a:lnTo>
                    <a:lnTo>
                      <a:pt x="104" y="606"/>
                    </a:lnTo>
                    <a:lnTo>
                      <a:pt x="106" y="606"/>
                    </a:lnTo>
                    <a:close/>
                    <a:moveTo>
                      <a:pt x="12" y="531"/>
                    </a:moveTo>
                    <a:lnTo>
                      <a:pt x="10" y="531"/>
                    </a:lnTo>
                    <a:lnTo>
                      <a:pt x="12" y="531"/>
                    </a:lnTo>
                    <a:close/>
                    <a:moveTo>
                      <a:pt x="112" y="598"/>
                    </a:moveTo>
                    <a:lnTo>
                      <a:pt x="112" y="600"/>
                    </a:lnTo>
                    <a:lnTo>
                      <a:pt x="114" y="600"/>
                    </a:lnTo>
                    <a:lnTo>
                      <a:pt x="112" y="600"/>
                    </a:lnTo>
                    <a:lnTo>
                      <a:pt x="112" y="602"/>
                    </a:lnTo>
                    <a:lnTo>
                      <a:pt x="112" y="604"/>
                    </a:lnTo>
                    <a:lnTo>
                      <a:pt x="110" y="604"/>
                    </a:lnTo>
                    <a:lnTo>
                      <a:pt x="110" y="602"/>
                    </a:lnTo>
                    <a:lnTo>
                      <a:pt x="110" y="600"/>
                    </a:lnTo>
                    <a:lnTo>
                      <a:pt x="110" y="602"/>
                    </a:lnTo>
                    <a:lnTo>
                      <a:pt x="110" y="600"/>
                    </a:lnTo>
                    <a:lnTo>
                      <a:pt x="112" y="600"/>
                    </a:lnTo>
                    <a:lnTo>
                      <a:pt x="112" y="598"/>
                    </a:lnTo>
                    <a:lnTo>
                      <a:pt x="112" y="596"/>
                    </a:lnTo>
                    <a:lnTo>
                      <a:pt x="114" y="596"/>
                    </a:lnTo>
                    <a:lnTo>
                      <a:pt x="112" y="596"/>
                    </a:lnTo>
                    <a:lnTo>
                      <a:pt x="114" y="596"/>
                    </a:lnTo>
                    <a:lnTo>
                      <a:pt x="112" y="598"/>
                    </a:lnTo>
                    <a:lnTo>
                      <a:pt x="114" y="598"/>
                    </a:lnTo>
                    <a:lnTo>
                      <a:pt x="112" y="598"/>
                    </a:lnTo>
                    <a:close/>
                    <a:moveTo>
                      <a:pt x="112" y="596"/>
                    </a:moveTo>
                    <a:lnTo>
                      <a:pt x="114" y="594"/>
                    </a:lnTo>
                    <a:lnTo>
                      <a:pt x="112" y="594"/>
                    </a:lnTo>
                    <a:lnTo>
                      <a:pt x="112" y="596"/>
                    </a:lnTo>
                    <a:close/>
                    <a:moveTo>
                      <a:pt x="22" y="531"/>
                    </a:moveTo>
                    <a:lnTo>
                      <a:pt x="22" y="533"/>
                    </a:lnTo>
                    <a:lnTo>
                      <a:pt x="20" y="533"/>
                    </a:lnTo>
                    <a:lnTo>
                      <a:pt x="20" y="531"/>
                    </a:lnTo>
                    <a:lnTo>
                      <a:pt x="18" y="531"/>
                    </a:lnTo>
                    <a:lnTo>
                      <a:pt x="18" y="529"/>
                    </a:lnTo>
                    <a:lnTo>
                      <a:pt x="18" y="531"/>
                    </a:lnTo>
                    <a:lnTo>
                      <a:pt x="18" y="529"/>
                    </a:lnTo>
                    <a:lnTo>
                      <a:pt x="18" y="531"/>
                    </a:lnTo>
                    <a:lnTo>
                      <a:pt x="20" y="531"/>
                    </a:lnTo>
                    <a:lnTo>
                      <a:pt x="22" y="531"/>
                    </a:lnTo>
                    <a:close/>
                    <a:moveTo>
                      <a:pt x="16" y="519"/>
                    </a:moveTo>
                    <a:lnTo>
                      <a:pt x="16" y="521"/>
                    </a:lnTo>
                    <a:lnTo>
                      <a:pt x="16" y="519"/>
                    </a:lnTo>
                    <a:close/>
                    <a:moveTo>
                      <a:pt x="20" y="521"/>
                    </a:moveTo>
                    <a:lnTo>
                      <a:pt x="20" y="523"/>
                    </a:lnTo>
                    <a:lnTo>
                      <a:pt x="22" y="523"/>
                    </a:lnTo>
                    <a:lnTo>
                      <a:pt x="22" y="525"/>
                    </a:lnTo>
                    <a:lnTo>
                      <a:pt x="20" y="525"/>
                    </a:lnTo>
                    <a:lnTo>
                      <a:pt x="20" y="527"/>
                    </a:lnTo>
                    <a:lnTo>
                      <a:pt x="20" y="525"/>
                    </a:lnTo>
                    <a:lnTo>
                      <a:pt x="20" y="527"/>
                    </a:lnTo>
                    <a:lnTo>
                      <a:pt x="18" y="527"/>
                    </a:lnTo>
                    <a:lnTo>
                      <a:pt x="18" y="529"/>
                    </a:lnTo>
                    <a:lnTo>
                      <a:pt x="18" y="527"/>
                    </a:lnTo>
                    <a:lnTo>
                      <a:pt x="18" y="525"/>
                    </a:lnTo>
                    <a:lnTo>
                      <a:pt x="18" y="527"/>
                    </a:lnTo>
                    <a:lnTo>
                      <a:pt x="16" y="527"/>
                    </a:lnTo>
                    <a:lnTo>
                      <a:pt x="16" y="529"/>
                    </a:lnTo>
                    <a:lnTo>
                      <a:pt x="18" y="529"/>
                    </a:lnTo>
                    <a:lnTo>
                      <a:pt x="16" y="529"/>
                    </a:lnTo>
                    <a:lnTo>
                      <a:pt x="18" y="529"/>
                    </a:lnTo>
                    <a:lnTo>
                      <a:pt x="18" y="531"/>
                    </a:lnTo>
                    <a:lnTo>
                      <a:pt x="16" y="531"/>
                    </a:lnTo>
                    <a:lnTo>
                      <a:pt x="16" y="533"/>
                    </a:lnTo>
                    <a:lnTo>
                      <a:pt x="16" y="531"/>
                    </a:lnTo>
                    <a:lnTo>
                      <a:pt x="16" y="533"/>
                    </a:lnTo>
                    <a:lnTo>
                      <a:pt x="16" y="531"/>
                    </a:lnTo>
                    <a:lnTo>
                      <a:pt x="16" y="533"/>
                    </a:lnTo>
                    <a:lnTo>
                      <a:pt x="14" y="533"/>
                    </a:lnTo>
                    <a:lnTo>
                      <a:pt x="14" y="531"/>
                    </a:lnTo>
                    <a:lnTo>
                      <a:pt x="14" y="533"/>
                    </a:lnTo>
                    <a:lnTo>
                      <a:pt x="12" y="533"/>
                    </a:lnTo>
                    <a:lnTo>
                      <a:pt x="12" y="531"/>
                    </a:lnTo>
                    <a:lnTo>
                      <a:pt x="12" y="529"/>
                    </a:lnTo>
                    <a:lnTo>
                      <a:pt x="14" y="529"/>
                    </a:lnTo>
                    <a:lnTo>
                      <a:pt x="14" y="527"/>
                    </a:lnTo>
                    <a:lnTo>
                      <a:pt x="14" y="529"/>
                    </a:lnTo>
                    <a:lnTo>
                      <a:pt x="14" y="527"/>
                    </a:lnTo>
                    <a:lnTo>
                      <a:pt x="14" y="529"/>
                    </a:lnTo>
                    <a:lnTo>
                      <a:pt x="14" y="527"/>
                    </a:lnTo>
                    <a:lnTo>
                      <a:pt x="12" y="527"/>
                    </a:lnTo>
                    <a:lnTo>
                      <a:pt x="12" y="525"/>
                    </a:lnTo>
                    <a:lnTo>
                      <a:pt x="12" y="527"/>
                    </a:lnTo>
                    <a:lnTo>
                      <a:pt x="12" y="525"/>
                    </a:lnTo>
                    <a:lnTo>
                      <a:pt x="12" y="523"/>
                    </a:lnTo>
                    <a:lnTo>
                      <a:pt x="12" y="521"/>
                    </a:lnTo>
                    <a:lnTo>
                      <a:pt x="12" y="519"/>
                    </a:lnTo>
                    <a:lnTo>
                      <a:pt x="14" y="519"/>
                    </a:lnTo>
                    <a:lnTo>
                      <a:pt x="16" y="519"/>
                    </a:lnTo>
                    <a:lnTo>
                      <a:pt x="14" y="519"/>
                    </a:lnTo>
                    <a:lnTo>
                      <a:pt x="16" y="519"/>
                    </a:lnTo>
                    <a:lnTo>
                      <a:pt x="14" y="521"/>
                    </a:lnTo>
                    <a:lnTo>
                      <a:pt x="16" y="519"/>
                    </a:lnTo>
                    <a:lnTo>
                      <a:pt x="16" y="521"/>
                    </a:lnTo>
                    <a:lnTo>
                      <a:pt x="14" y="521"/>
                    </a:lnTo>
                    <a:lnTo>
                      <a:pt x="16" y="521"/>
                    </a:lnTo>
                    <a:lnTo>
                      <a:pt x="18" y="521"/>
                    </a:lnTo>
                    <a:lnTo>
                      <a:pt x="18" y="519"/>
                    </a:lnTo>
                    <a:lnTo>
                      <a:pt x="18" y="521"/>
                    </a:lnTo>
                    <a:lnTo>
                      <a:pt x="18" y="519"/>
                    </a:lnTo>
                    <a:lnTo>
                      <a:pt x="18" y="521"/>
                    </a:lnTo>
                    <a:lnTo>
                      <a:pt x="20" y="521"/>
                    </a:lnTo>
                    <a:close/>
                    <a:moveTo>
                      <a:pt x="25" y="523"/>
                    </a:moveTo>
                    <a:lnTo>
                      <a:pt x="25" y="525"/>
                    </a:lnTo>
                    <a:lnTo>
                      <a:pt x="25" y="523"/>
                    </a:lnTo>
                    <a:lnTo>
                      <a:pt x="25" y="525"/>
                    </a:lnTo>
                    <a:lnTo>
                      <a:pt x="27" y="525"/>
                    </a:lnTo>
                    <a:lnTo>
                      <a:pt x="27" y="527"/>
                    </a:lnTo>
                    <a:lnTo>
                      <a:pt x="25" y="527"/>
                    </a:lnTo>
                    <a:lnTo>
                      <a:pt x="27" y="527"/>
                    </a:lnTo>
                    <a:lnTo>
                      <a:pt x="29" y="527"/>
                    </a:lnTo>
                    <a:lnTo>
                      <a:pt x="29" y="529"/>
                    </a:lnTo>
                    <a:lnTo>
                      <a:pt x="31" y="529"/>
                    </a:lnTo>
                    <a:lnTo>
                      <a:pt x="29" y="529"/>
                    </a:lnTo>
                    <a:lnTo>
                      <a:pt x="27" y="529"/>
                    </a:lnTo>
                    <a:lnTo>
                      <a:pt x="25" y="529"/>
                    </a:lnTo>
                    <a:lnTo>
                      <a:pt x="25" y="527"/>
                    </a:lnTo>
                    <a:lnTo>
                      <a:pt x="25" y="529"/>
                    </a:lnTo>
                    <a:lnTo>
                      <a:pt x="25" y="527"/>
                    </a:lnTo>
                    <a:lnTo>
                      <a:pt x="23" y="527"/>
                    </a:lnTo>
                    <a:lnTo>
                      <a:pt x="25" y="527"/>
                    </a:lnTo>
                    <a:lnTo>
                      <a:pt x="23" y="527"/>
                    </a:lnTo>
                    <a:lnTo>
                      <a:pt x="23" y="525"/>
                    </a:lnTo>
                    <a:lnTo>
                      <a:pt x="23" y="523"/>
                    </a:lnTo>
                    <a:lnTo>
                      <a:pt x="25" y="523"/>
                    </a:lnTo>
                    <a:close/>
                    <a:moveTo>
                      <a:pt x="241" y="656"/>
                    </a:moveTo>
                    <a:lnTo>
                      <a:pt x="239" y="656"/>
                    </a:lnTo>
                    <a:lnTo>
                      <a:pt x="239" y="654"/>
                    </a:lnTo>
                    <a:lnTo>
                      <a:pt x="241" y="654"/>
                    </a:lnTo>
                    <a:lnTo>
                      <a:pt x="241" y="656"/>
                    </a:lnTo>
                    <a:close/>
                    <a:moveTo>
                      <a:pt x="45" y="535"/>
                    </a:moveTo>
                    <a:lnTo>
                      <a:pt x="45" y="537"/>
                    </a:lnTo>
                    <a:lnTo>
                      <a:pt x="45" y="535"/>
                    </a:lnTo>
                    <a:lnTo>
                      <a:pt x="45" y="537"/>
                    </a:lnTo>
                    <a:lnTo>
                      <a:pt x="43" y="535"/>
                    </a:lnTo>
                    <a:lnTo>
                      <a:pt x="45" y="535"/>
                    </a:lnTo>
                    <a:close/>
                    <a:moveTo>
                      <a:pt x="239" y="646"/>
                    </a:moveTo>
                    <a:lnTo>
                      <a:pt x="237" y="646"/>
                    </a:lnTo>
                    <a:lnTo>
                      <a:pt x="239" y="646"/>
                    </a:lnTo>
                    <a:close/>
                    <a:moveTo>
                      <a:pt x="239" y="641"/>
                    </a:moveTo>
                    <a:lnTo>
                      <a:pt x="237" y="641"/>
                    </a:lnTo>
                    <a:lnTo>
                      <a:pt x="239" y="639"/>
                    </a:lnTo>
                    <a:lnTo>
                      <a:pt x="239" y="641"/>
                    </a:lnTo>
                    <a:close/>
                    <a:moveTo>
                      <a:pt x="239" y="639"/>
                    </a:moveTo>
                    <a:lnTo>
                      <a:pt x="237" y="641"/>
                    </a:lnTo>
                    <a:lnTo>
                      <a:pt x="237" y="639"/>
                    </a:lnTo>
                    <a:lnTo>
                      <a:pt x="239" y="639"/>
                    </a:lnTo>
                    <a:lnTo>
                      <a:pt x="239" y="637"/>
                    </a:lnTo>
                    <a:lnTo>
                      <a:pt x="239" y="639"/>
                    </a:lnTo>
                    <a:close/>
                    <a:moveTo>
                      <a:pt x="239" y="633"/>
                    </a:moveTo>
                    <a:lnTo>
                      <a:pt x="239" y="635"/>
                    </a:lnTo>
                    <a:lnTo>
                      <a:pt x="239" y="637"/>
                    </a:lnTo>
                    <a:lnTo>
                      <a:pt x="239" y="635"/>
                    </a:lnTo>
                    <a:lnTo>
                      <a:pt x="239" y="637"/>
                    </a:lnTo>
                    <a:lnTo>
                      <a:pt x="237" y="635"/>
                    </a:lnTo>
                    <a:lnTo>
                      <a:pt x="239" y="635"/>
                    </a:lnTo>
                    <a:lnTo>
                      <a:pt x="237" y="633"/>
                    </a:lnTo>
                    <a:lnTo>
                      <a:pt x="239" y="633"/>
                    </a:lnTo>
                    <a:close/>
                    <a:moveTo>
                      <a:pt x="233" y="629"/>
                    </a:moveTo>
                    <a:lnTo>
                      <a:pt x="235" y="629"/>
                    </a:lnTo>
                    <a:lnTo>
                      <a:pt x="233" y="629"/>
                    </a:lnTo>
                    <a:close/>
                    <a:moveTo>
                      <a:pt x="233" y="627"/>
                    </a:moveTo>
                    <a:lnTo>
                      <a:pt x="235" y="627"/>
                    </a:lnTo>
                    <a:lnTo>
                      <a:pt x="235" y="629"/>
                    </a:lnTo>
                    <a:lnTo>
                      <a:pt x="233" y="627"/>
                    </a:lnTo>
                    <a:close/>
                    <a:moveTo>
                      <a:pt x="231" y="621"/>
                    </a:moveTo>
                    <a:lnTo>
                      <a:pt x="233" y="621"/>
                    </a:lnTo>
                    <a:lnTo>
                      <a:pt x="231" y="621"/>
                    </a:lnTo>
                    <a:close/>
                    <a:moveTo>
                      <a:pt x="233" y="621"/>
                    </a:moveTo>
                    <a:lnTo>
                      <a:pt x="231" y="621"/>
                    </a:lnTo>
                    <a:lnTo>
                      <a:pt x="233" y="621"/>
                    </a:lnTo>
                    <a:close/>
                    <a:moveTo>
                      <a:pt x="229" y="618"/>
                    </a:moveTo>
                    <a:lnTo>
                      <a:pt x="231" y="618"/>
                    </a:lnTo>
                    <a:lnTo>
                      <a:pt x="231" y="619"/>
                    </a:lnTo>
                    <a:lnTo>
                      <a:pt x="229" y="619"/>
                    </a:lnTo>
                    <a:lnTo>
                      <a:pt x="229" y="618"/>
                    </a:lnTo>
                    <a:close/>
                    <a:moveTo>
                      <a:pt x="229" y="618"/>
                    </a:moveTo>
                    <a:lnTo>
                      <a:pt x="229" y="616"/>
                    </a:lnTo>
                    <a:lnTo>
                      <a:pt x="229" y="618"/>
                    </a:lnTo>
                    <a:close/>
                    <a:moveTo>
                      <a:pt x="229" y="614"/>
                    </a:moveTo>
                    <a:lnTo>
                      <a:pt x="229" y="616"/>
                    </a:lnTo>
                    <a:lnTo>
                      <a:pt x="229" y="614"/>
                    </a:lnTo>
                    <a:close/>
                    <a:moveTo>
                      <a:pt x="229" y="610"/>
                    </a:moveTo>
                    <a:lnTo>
                      <a:pt x="229" y="612"/>
                    </a:lnTo>
                    <a:lnTo>
                      <a:pt x="229" y="610"/>
                    </a:lnTo>
                    <a:lnTo>
                      <a:pt x="231" y="610"/>
                    </a:lnTo>
                    <a:lnTo>
                      <a:pt x="231" y="608"/>
                    </a:lnTo>
                    <a:lnTo>
                      <a:pt x="231" y="610"/>
                    </a:lnTo>
                    <a:lnTo>
                      <a:pt x="229" y="610"/>
                    </a:lnTo>
                    <a:close/>
                    <a:moveTo>
                      <a:pt x="231" y="604"/>
                    </a:moveTo>
                    <a:lnTo>
                      <a:pt x="231" y="606"/>
                    </a:lnTo>
                    <a:lnTo>
                      <a:pt x="231" y="604"/>
                    </a:lnTo>
                    <a:close/>
                    <a:moveTo>
                      <a:pt x="233" y="602"/>
                    </a:moveTo>
                    <a:lnTo>
                      <a:pt x="231" y="602"/>
                    </a:lnTo>
                    <a:lnTo>
                      <a:pt x="233" y="602"/>
                    </a:lnTo>
                    <a:close/>
                    <a:moveTo>
                      <a:pt x="233" y="598"/>
                    </a:moveTo>
                    <a:lnTo>
                      <a:pt x="233" y="600"/>
                    </a:lnTo>
                    <a:lnTo>
                      <a:pt x="233" y="598"/>
                    </a:lnTo>
                    <a:lnTo>
                      <a:pt x="233" y="600"/>
                    </a:lnTo>
                    <a:lnTo>
                      <a:pt x="233" y="598"/>
                    </a:lnTo>
                    <a:close/>
                    <a:moveTo>
                      <a:pt x="233" y="568"/>
                    </a:moveTo>
                    <a:lnTo>
                      <a:pt x="233" y="569"/>
                    </a:lnTo>
                    <a:lnTo>
                      <a:pt x="231" y="569"/>
                    </a:lnTo>
                    <a:lnTo>
                      <a:pt x="231" y="568"/>
                    </a:lnTo>
                    <a:lnTo>
                      <a:pt x="233" y="568"/>
                    </a:lnTo>
                    <a:close/>
                    <a:moveTo>
                      <a:pt x="223" y="541"/>
                    </a:moveTo>
                    <a:lnTo>
                      <a:pt x="221" y="539"/>
                    </a:lnTo>
                    <a:lnTo>
                      <a:pt x="221" y="537"/>
                    </a:lnTo>
                    <a:lnTo>
                      <a:pt x="219" y="535"/>
                    </a:lnTo>
                    <a:lnTo>
                      <a:pt x="219" y="533"/>
                    </a:lnTo>
                    <a:lnTo>
                      <a:pt x="221" y="533"/>
                    </a:lnTo>
                    <a:lnTo>
                      <a:pt x="221" y="531"/>
                    </a:lnTo>
                    <a:lnTo>
                      <a:pt x="223" y="531"/>
                    </a:lnTo>
                    <a:lnTo>
                      <a:pt x="223" y="533"/>
                    </a:lnTo>
                    <a:lnTo>
                      <a:pt x="223" y="535"/>
                    </a:lnTo>
                    <a:lnTo>
                      <a:pt x="225" y="535"/>
                    </a:lnTo>
                    <a:lnTo>
                      <a:pt x="225" y="537"/>
                    </a:lnTo>
                    <a:lnTo>
                      <a:pt x="223" y="539"/>
                    </a:lnTo>
                    <a:lnTo>
                      <a:pt x="223" y="541"/>
                    </a:lnTo>
                    <a:close/>
                    <a:moveTo>
                      <a:pt x="640" y="493"/>
                    </a:moveTo>
                    <a:lnTo>
                      <a:pt x="638" y="493"/>
                    </a:lnTo>
                    <a:lnTo>
                      <a:pt x="640" y="493"/>
                    </a:lnTo>
                    <a:close/>
                    <a:moveTo>
                      <a:pt x="644" y="494"/>
                    </a:moveTo>
                    <a:lnTo>
                      <a:pt x="646" y="494"/>
                    </a:lnTo>
                    <a:lnTo>
                      <a:pt x="646" y="496"/>
                    </a:lnTo>
                    <a:lnTo>
                      <a:pt x="646" y="494"/>
                    </a:lnTo>
                    <a:lnTo>
                      <a:pt x="644" y="494"/>
                    </a:lnTo>
                    <a:close/>
                    <a:moveTo>
                      <a:pt x="634" y="491"/>
                    </a:moveTo>
                    <a:lnTo>
                      <a:pt x="634" y="489"/>
                    </a:lnTo>
                    <a:lnTo>
                      <a:pt x="634" y="491"/>
                    </a:lnTo>
                    <a:close/>
                    <a:moveTo>
                      <a:pt x="627" y="485"/>
                    </a:moveTo>
                    <a:lnTo>
                      <a:pt x="627" y="487"/>
                    </a:lnTo>
                    <a:lnTo>
                      <a:pt x="627" y="485"/>
                    </a:lnTo>
                    <a:close/>
                    <a:moveTo>
                      <a:pt x="629" y="485"/>
                    </a:moveTo>
                    <a:lnTo>
                      <a:pt x="629" y="487"/>
                    </a:lnTo>
                    <a:lnTo>
                      <a:pt x="627" y="485"/>
                    </a:lnTo>
                    <a:lnTo>
                      <a:pt x="629" y="485"/>
                    </a:lnTo>
                    <a:close/>
                    <a:moveTo>
                      <a:pt x="634" y="487"/>
                    </a:moveTo>
                    <a:lnTo>
                      <a:pt x="632" y="487"/>
                    </a:lnTo>
                    <a:lnTo>
                      <a:pt x="634" y="489"/>
                    </a:lnTo>
                    <a:lnTo>
                      <a:pt x="632" y="487"/>
                    </a:lnTo>
                    <a:lnTo>
                      <a:pt x="631" y="487"/>
                    </a:lnTo>
                    <a:lnTo>
                      <a:pt x="632" y="487"/>
                    </a:lnTo>
                    <a:lnTo>
                      <a:pt x="632" y="489"/>
                    </a:lnTo>
                    <a:lnTo>
                      <a:pt x="631" y="489"/>
                    </a:lnTo>
                    <a:lnTo>
                      <a:pt x="632" y="489"/>
                    </a:lnTo>
                    <a:lnTo>
                      <a:pt x="631" y="489"/>
                    </a:lnTo>
                    <a:lnTo>
                      <a:pt x="631" y="487"/>
                    </a:lnTo>
                    <a:lnTo>
                      <a:pt x="632" y="487"/>
                    </a:lnTo>
                    <a:lnTo>
                      <a:pt x="634" y="487"/>
                    </a:lnTo>
                    <a:close/>
                    <a:moveTo>
                      <a:pt x="648" y="493"/>
                    </a:moveTo>
                    <a:lnTo>
                      <a:pt x="648" y="494"/>
                    </a:lnTo>
                    <a:lnTo>
                      <a:pt x="650" y="494"/>
                    </a:lnTo>
                    <a:lnTo>
                      <a:pt x="648" y="494"/>
                    </a:lnTo>
                    <a:lnTo>
                      <a:pt x="646" y="493"/>
                    </a:lnTo>
                    <a:lnTo>
                      <a:pt x="648" y="493"/>
                    </a:lnTo>
                    <a:lnTo>
                      <a:pt x="646" y="493"/>
                    </a:lnTo>
                    <a:lnTo>
                      <a:pt x="648" y="493"/>
                    </a:lnTo>
                    <a:lnTo>
                      <a:pt x="646" y="493"/>
                    </a:lnTo>
                    <a:lnTo>
                      <a:pt x="648" y="493"/>
                    </a:lnTo>
                    <a:close/>
                    <a:moveTo>
                      <a:pt x="644" y="491"/>
                    </a:moveTo>
                    <a:lnTo>
                      <a:pt x="646" y="493"/>
                    </a:lnTo>
                    <a:lnTo>
                      <a:pt x="644" y="493"/>
                    </a:lnTo>
                    <a:lnTo>
                      <a:pt x="646" y="493"/>
                    </a:lnTo>
                    <a:lnTo>
                      <a:pt x="644" y="493"/>
                    </a:lnTo>
                    <a:lnTo>
                      <a:pt x="644" y="491"/>
                    </a:lnTo>
                    <a:close/>
                    <a:moveTo>
                      <a:pt x="625" y="481"/>
                    </a:moveTo>
                    <a:lnTo>
                      <a:pt x="625" y="483"/>
                    </a:lnTo>
                    <a:lnTo>
                      <a:pt x="625" y="481"/>
                    </a:lnTo>
                    <a:close/>
                    <a:moveTo>
                      <a:pt x="640" y="489"/>
                    </a:moveTo>
                    <a:lnTo>
                      <a:pt x="642" y="489"/>
                    </a:lnTo>
                    <a:lnTo>
                      <a:pt x="640" y="489"/>
                    </a:lnTo>
                    <a:close/>
                    <a:moveTo>
                      <a:pt x="629" y="483"/>
                    </a:moveTo>
                    <a:lnTo>
                      <a:pt x="631" y="485"/>
                    </a:lnTo>
                    <a:lnTo>
                      <a:pt x="632" y="485"/>
                    </a:lnTo>
                    <a:lnTo>
                      <a:pt x="631" y="485"/>
                    </a:lnTo>
                    <a:lnTo>
                      <a:pt x="632" y="485"/>
                    </a:lnTo>
                    <a:lnTo>
                      <a:pt x="631" y="485"/>
                    </a:lnTo>
                    <a:lnTo>
                      <a:pt x="631" y="487"/>
                    </a:lnTo>
                    <a:lnTo>
                      <a:pt x="631" y="485"/>
                    </a:lnTo>
                    <a:lnTo>
                      <a:pt x="631" y="487"/>
                    </a:lnTo>
                    <a:lnTo>
                      <a:pt x="629" y="485"/>
                    </a:lnTo>
                    <a:lnTo>
                      <a:pt x="629" y="487"/>
                    </a:lnTo>
                    <a:lnTo>
                      <a:pt x="629" y="485"/>
                    </a:lnTo>
                    <a:lnTo>
                      <a:pt x="627" y="485"/>
                    </a:lnTo>
                    <a:lnTo>
                      <a:pt x="627" y="483"/>
                    </a:lnTo>
                    <a:lnTo>
                      <a:pt x="629" y="483"/>
                    </a:lnTo>
                    <a:lnTo>
                      <a:pt x="629" y="485"/>
                    </a:lnTo>
                    <a:lnTo>
                      <a:pt x="631" y="485"/>
                    </a:lnTo>
                    <a:lnTo>
                      <a:pt x="629" y="485"/>
                    </a:lnTo>
                    <a:lnTo>
                      <a:pt x="629" y="483"/>
                    </a:lnTo>
                    <a:close/>
                    <a:moveTo>
                      <a:pt x="611" y="477"/>
                    </a:moveTo>
                    <a:lnTo>
                      <a:pt x="611" y="475"/>
                    </a:lnTo>
                    <a:lnTo>
                      <a:pt x="611" y="477"/>
                    </a:lnTo>
                    <a:close/>
                    <a:moveTo>
                      <a:pt x="611" y="475"/>
                    </a:moveTo>
                    <a:lnTo>
                      <a:pt x="613" y="475"/>
                    </a:lnTo>
                    <a:lnTo>
                      <a:pt x="611" y="475"/>
                    </a:lnTo>
                    <a:close/>
                    <a:moveTo>
                      <a:pt x="634" y="483"/>
                    </a:moveTo>
                    <a:lnTo>
                      <a:pt x="634" y="485"/>
                    </a:lnTo>
                    <a:lnTo>
                      <a:pt x="632" y="485"/>
                    </a:lnTo>
                    <a:lnTo>
                      <a:pt x="632" y="483"/>
                    </a:lnTo>
                    <a:lnTo>
                      <a:pt x="634" y="483"/>
                    </a:lnTo>
                    <a:close/>
                    <a:moveTo>
                      <a:pt x="648" y="489"/>
                    </a:moveTo>
                    <a:lnTo>
                      <a:pt x="648" y="491"/>
                    </a:lnTo>
                    <a:lnTo>
                      <a:pt x="648" y="489"/>
                    </a:lnTo>
                    <a:lnTo>
                      <a:pt x="648" y="491"/>
                    </a:lnTo>
                    <a:lnTo>
                      <a:pt x="648" y="489"/>
                    </a:lnTo>
                    <a:lnTo>
                      <a:pt x="646" y="489"/>
                    </a:lnTo>
                    <a:lnTo>
                      <a:pt x="648" y="489"/>
                    </a:lnTo>
                    <a:close/>
                    <a:moveTo>
                      <a:pt x="650" y="491"/>
                    </a:moveTo>
                    <a:lnTo>
                      <a:pt x="650" y="489"/>
                    </a:lnTo>
                    <a:lnTo>
                      <a:pt x="650" y="491"/>
                    </a:lnTo>
                    <a:close/>
                    <a:moveTo>
                      <a:pt x="634" y="483"/>
                    </a:moveTo>
                    <a:lnTo>
                      <a:pt x="634" y="485"/>
                    </a:lnTo>
                    <a:lnTo>
                      <a:pt x="634" y="483"/>
                    </a:lnTo>
                    <a:lnTo>
                      <a:pt x="634" y="485"/>
                    </a:lnTo>
                    <a:lnTo>
                      <a:pt x="634" y="483"/>
                    </a:lnTo>
                    <a:lnTo>
                      <a:pt x="632" y="483"/>
                    </a:lnTo>
                    <a:lnTo>
                      <a:pt x="634" y="483"/>
                    </a:lnTo>
                    <a:lnTo>
                      <a:pt x="632" y="483"/>
                    </a:lnTo>
                    <a:lnTo>
                      <a:pt x="634" y="483"/>
                    </a:lnTo>
                    <a:close/>
                    <a:moveTo>
                      <a:pt x="619" y="475"/>
                    </a:moveTo>
                    <a:lnTo>
                      <a:pt x="619" y="477"/>
                    </a:lnTo>
                    <a:lnTo>
                      <a:pt x="621" y="477"/>
                    </a:lnTo>
                    <a:lnTo>
                      <a:pt x="621" y="479"/>
                    </a:lnTo>
                    <a:lnTo>
                      <a:pt x="621" y="477"/>
                    </a:lnTo>
                    <a:lnTo>
                      <a:pt x="619" y="477"/>
                    </a:lnTo>
                    <a:lnTo>
                      <a:pt x="619" y="475"/>
                    </a:lnTo>
                    <a:close/>
                    <a:moveTo>
                      <a:pt x="644" y="485"/>
                    </a:moveTo>
                    <a:lnTo>
                      <a:pt x="642" y="485"/>
                    </a:lnTo>
                    <a:lnTo>
                      <a:pt x="644" y="485"/>
                    </a:lnTo>
                    <a:close/>
                    <a:moveTo>
                      <a:pt x="617" y="473"/>
                    </a:moveTo>
                    <a:lnTo>
                      <a:pt x="619" y="475"/>
                    </a:lnTo>
                    <a:lnTo>
                      <a:pt x="617" y="475"/>
                    </a:lnTo>
                    <a:lnTo>
                      <a:pt x="617" y="473"/>
                    </a:lnTo>
                    <a:close/>
                    <a:moveTo>
                      <a:pt x="611" y="471"/>
                    </a:moveTo>
                    <a:lnTo>
                      <a:pt x="611" y="469"/>
                    </a:lnTo>
                    <a:lnTo>
                      <a:pt x="611" y="471"/>
                    </a:lnTo>
                    <a:close/>
                    <a:moveTo>
                      <a:pt x="632" y="479"/>
                    </a:moveTo>
                    <a:lnTo>
                      <a:pt x="631" y="479"/>
                    </a:lnTo>
                    <a:lnTo>
                      <a:pt x="631" y="477"/>
                    </a:lnTo>
                    <a:lnTo>
                      <a:pt x="632" y="477"/>
                    </a:lnTo>
                    <a:lnTo>
                      <a:pt x="632" y="479"/>
                    </a:lnTo>
                    <a:close/>
                    <a:moveTo>
                      <a:pt x="590" y="460"/>
                    </a:moveTo>
                    <a:lnTo>
                      <a:pt x="592" y="462"/>
                    </a:lnTo>
                    <a:lnTo>
                      <a:pt x="592" y="460"/>
                    </a:lnTo>
                    <a:lnTo>
                      <a:pt x="592" y="462"/>
                    </a:lnTo>
                    <a:lnTo>
                      <a:pt x="594" y="462"/>
                    </a:lnTo>
                    <a:lnTo>
                      <a:pt x="594" y="464"/>
                    </a:lnTo>
                    <a:lnTo>
                      <a:pt x="592" y="464"/>
                    </a:lnTo>
                    <a:lnTo>
                      <a:pt x="592" y="462"/>
                    </a:lnTo>
                    <a:lnTo>
                      <a:pt x="592" y="464"/>
                    </a:lnTo>
                    <a:lnTo>
                      <a:pt x="592" y="462"/>
                    </a:lnTo>
                    <a:lnTo>
                      <a:pt x="590" y="462"/>
                    </a:lnTo>
                    <a:lnTo>
                      <a:pt x="590" y="460"/>
                    </a:lnTo>
                    <a:close/>
                    <a:moveTo>
                      <a:pt x="604" y="462"/>
                    </a:moveTo>
                    <a:lnTo>
                      <a:pt x="602" y="462"/>
                    </a:lnTo>
                    <a:lnTo>
                      <a:pt x="604" y="462"/>
                    </a:lnTo>
                    <a:close/>
                    <a:moveTo>
                      <a:pt x="573" y="443"/>
                    </a:moveTo>
                    <a:lnTo>
                      <a:pt x="575" y="444"/>
                    </a:lnTo>
                    <a:lnTo>
                      <a:pt x="573" y="444"/>
                    </a:lnTo>
                    <a:lnTo>
                      <a:pt x="573" y="443"/>
                    </a:lnTo>
                    <a:close/>
                    <a:moveTo>
                      <a:pt x="573" y="443"/>
                    </a:moveTo>
                    <a:lnTo>
                      <a:pt x="571" y="443"/>
                    </a:lnTo>
                    <a:lnTo>
                      <a:pt x="571" y="444"/>
                    </a:lnTo>
                    <a:lnTo>
                      <a:pt x="573" y="444"/>
                    </a:lnTo>
                    <a:lnTo>
                      <a:pt x="571" y="444"/>
                    </a:lnTo>
                    <a:lnTo>
                      <a:pt x="573" y="444"/>
                    </a:lnTo>
                    <a:lnTo>
                      <a:pt x="571" y="444"/>
                    </a:lnTo>
                    <a:lnTo>
                      <a:pt x="571" y="443"/>
                    </a:lnTo>
                    <a:lnTo>
                      <a:pt x="571" y="441"/>
                    </a:lnTo>
                    <a:lnTo>
                      <a:pt x="569" y="441"/>
                    </a:lnTo>
                    <a:lnTo>
                      <a:pt x="569" y="439"/>
                    </a:lnTo>
                    <a:lnTo>
                      <a:pt x="569" y="441"/>
                    </a:lnTo>
                    <a:lnTo>
                      <a:pt x="571" y="441"/>
                    </a:lnTo>
                    <a:lnTo>
                      <a:pt x="571" y="439"/>
                    </a:lnTo>
                    <a:lnTo>
                      <a:pt x="571" y="441"/>
                    </a:lnTo>
                    <a:lnTo>
                      <a:pt x="573" y="441"/>
                    </a:lnTo>
                    <a:lnTo>
                      <a:pt x="573" y="443"/>
                    </a:lnTo>
                    <a:close/>
                    <a:moveTo>
                      <a:pt x="575" y="441"/>
                    </a:moveTo>
                    <a:lnTo>
                      <a:pt x="573" y="441"/>
                    </a:lnTo>
                    <a:lnTo>
                      <a:pt x="573" y="439"/>
                    </a:lnTo>
                    <a:lnTo>
                      <a:pt x="573" y="437"/>
                    </a:lnTo>
                    <a:lnTo>
                      <a:pt x="573" y="439"/>
                    </a:lnTo>
                    <a:lnTo>
                      <a:pt x="575" y="439"/>
                    </a:lnTo>
                    <a:lnTo>
                      <a:pt x="573" y="441"/>
                    </a:lnTo>
                    <a:lnTo>
                      <a:pt x="575" y="441"/>
                    </a:lnTo>
                    <a:close/>
                    <a:moveTo>
                      <a:pt x="567" y="429"/>
                    </a:moveTo>
                    <a:lnTo>
                      <a:pt x="565" y="429"/>
                    </a:lnTo>
                    <a:lnTo>
                      <a:pt x="565" y="427"/>
                    </a:lnTo>
                    <a:lnTo>
                      <a:pt x="567" y="427"/>
                    </a:lnTo>
                    <a:lnTo>
                      <a:pt x="567" y="429"/>
                    </a:lnTo>
                    <a:close/>
                    <a:moveTo>
                      <a:pt x="565" y="427"/>
                    </a:moveTo>
                    <a:lnTo>
                      <a:pt x="565" y="429"/>
                    </a:lnTo>
                    <a:lnTo>
                      <a:pt x="567" y="429"/>
                    </a:lnTo>
                    <a:lnTo>
                      <a:pt x="565" y="429"/>
                    </a:lnTo>
                    <a:lnTo>
                      <a:pt x="567" y="429"/>
                    </a:lnTo>
                    <a:lnTo>
                      <a:pt x="567" y="431"/>
                    </a:lnTo>
                    <a:lnTo>
                      <a:pt x="565" y="431"/>
                    </a:lnTo>
                    <a:lnTo>
                      <a:pt x="567" y="431"/>
                    </a:lnTo>
                    <a:lnTo>
                      <a:pt x="565" y="431"/>
                    </a:lnTo>
                    <a:lnTo>
                      <a:pt x="567" y="431"/>
                    </a:lnTo>
                    <a:lnTo>
                      <a:pt x="567" y="433"/>
                    </a:lnTo>
                    <a:lnTo>
                      <a:pt x="565" y="433"/>
                    </a:lnTo>
                    <a:lnTo>
                      <a:pt x="565" y="431"/>
                    </a:lnTo>
                    <a:lnTo>
                      <a:pt x="565" y="433"/>
                    </a:lnTo>
                    <a:lnTo>
                      <a:pt x="565" y="431"/>
                    </a:lnTo>
                    <a:lnTo>
                      <a:pt x="565" y="433"/>
                    </a:lnTo>
                    <a:lnTo>
                      <a:pt x="565" y="431"/>
                    </a:lnTo>
                    <a:lnTo>
                      <a:pt x="565" y="433"/>
                    </a:lnTo>
                    <a:lnTo>
                      <a:pt x="563" y="431"/>
                    </a:lnTo>
                    <a:lnTo>
                      <a:pt x="565" y="431"/>
                    </a:lnTo>
                    <a:lnTo>
                      <a:pt x="565" y="429"/>
                    </a:lnTo>
                    <a:lnTo>
                      <a:pt x="565" y="427"/>
                    </a:lnTo>
                    <a:close/>
                    <a:moveTo>
                      <a:pt x="577" y="429"/>
                    </a:moveTo>
                    <a:lnTo>
                      <a:pt x="579" y="429"/>
                    </a:lnTo>
                    <a:lnTo>
                      <a:pt x="577" y="429"/>
                    </a:lnTo>
                    <a:close/>
                    <a:moveTo>
                      <a:pt x="588" y="433"/>
                    </a:moveTo>
                    <a:lnTo>
                      <a:pt x="588" y="435"/>
                    </a:lnTo>
                    <a:lnTo>
                      <a:pt x="588" y="433"/>
                    </a:lnTo>
                    <a:lnTo>
                      <a:pt x="586" y="433"/>
                    </a:lnTo>
                    <a:lnTo>
                      <a:pt x="588" y="433"/>
                    </a:lnTo>
                    <a:close/>
                    <a:moveTo>
                      <a:pt x="586" y="431"/>
                    </a:moveTo>
                    <a:lnTo>
                      <a:pt x="588" y="431"/>
                    </a:lnTo>
                    <a:lnTo>
                      <a:pt x="588" y="433"/>
                    </a:lnTo>
                    <a:lnTo>
                      <a:pt x="590" y="433"/>
                    </a:lnTo>
                    <a:lnTo>
                      <a:pt x="590" y="435"/>
                    </a:lnTo>
                    <a:lnTo>
                      <a:pt x="590" y="433"/>
                    </a:lnTo>
                    <a:lnTo>
                      <a:pt x="588" y="433"/>
                    </a:lnTo>
                    <a:lnTo>
                      <a:pt x="586" y="433"/>
                    </a:lnTo>
                    <a:lnTo>
                      <a:pt x="586" y="431"/>
                    </a:lnTo>
                    <a:lnTo>
                      <a:pt x="586" y="433"/>
                    </a:lnTo>
                    <a:lnTo>
                      <a:pt x="584" y="433"/>
                    </a:lnTo>
                    <a:lnTo>
                      <a:pt x="584" y="431"/>
                    </a:lnTo>
                    <a:lnTo>
                      <a:pt x="586" y="431"/>
                    </a:lnTo>
                    <a:close/>
                    <a:moveTo>
                      <a:pt x="579" y="427"/>
                    </a:moveTo>
                    <a:lnTo>
                      <a:pt x="579" y="425"/>
                    </a:lnTo>
                    <a:lnTo>
                      <a:pt x="579" y="427"/>
                    </a:lnTo>
                    <a:close/>
                    <a:moveTo>
                      <a:pt x="581" y="425"/>
                    </a:moveTo>
                    <a:lnTo>
                      <a:pt x="581" y="427"/>
                    </a:lnTo>
                    <a:lnTo>
                      <a:pt x="581" y="429"/>
                    </a:lnTo>
                    <a:lnTo>
                      <a:pt x="581" y="431"/>
                    </a:lnTo>
                    <a:lnTo>
                      <a:pt x="581" y="429"/>
                    </a:lnTo>
                    <a:lnTo>
                      <a:pt x="579" y="429"/>
                    </a:lnTo>
                    <a:lnTo>
                      <a:pt x="579" y="427"/>
                    </a:lnTo>
                    <a:lnTo>
                      <a:pt x="579" y="429"/>
                    </a:lnTo>
                    <a:lnTo>
                      <a:pt x="579" y="427"/>
                    </a:lnTo>
                    <a:lnTo>
                      <a:pt x="579" y="429"/>
                    </a:lnTo>
                    <a:lnTo>
                      <a:pt x="577" y="427"/>
                    </a:lnTo>
                    <a:lnTo>
                      <a:pt x="579" y="427"/>
                    </a:lnTo>
                    <a:lnTo>
                      <a:pt x="579" y="429"/>
                    </a:lnTo>
                    <a:lnTo>
                      <a:pt x="581" y="429"/>
                    </a:lnTo>
                    <a:lnTo>
                      <a:pt x="581" y="427"/>
                    </a:lnTo>
                    <a:lnTo>
                      <a:pt x="579" y="427"/>
                    </a:lnTo>
                    <a:lnTo>
                      <a:pt x="581" y="427"/>
                    </a:lnTo>
                    <a:lnTo>
                      <a:pt x="579" y="427"/>
                    </a:lnTo>
                    <a:lnTo>
                      <a:pt x="579" y="425"/>
                    </a:lnTo>
                    <a:lnTo>
                      <a:pt x="581" y="425"/>
                    </a:lnTo>
                    <a:close/>
                    <a:moveTo>
                      <a:pt x="582" y="427"/>
                    </a:moveTo>
                    <a:lnTo>
                      <a:pt x="582" y="425"/>
                    </a:lnTo>
                    <a:lnTo>
                      <a:pt x="582" y="427"/>
                    </a:lnTo>
                    <a:close/>
                    <a:moveTo>
                      <a:pt x="575" y="421"/>
                    </a:moveTo>
                    <a:lnTo>
                      <a:pt x="575" y="423"/>
                    </a:lnTo>
                    <a:lnTo>
                      <a:pt x="575" y="421"/>
                    </a:lnTo>
                    <a:close/>
                    <a:moveTo>
                      <a:pt x="573" y="416"/>
                    </a:moveTo>
                    <a:lnTo>
                      <a:pt x="571" y="416"/>
                    </a:lnTo>
                    <a:lnTo>
                      <a:pt x="573" y="416"/>
                    </a:lnTo>
                    <a:close/>
                    <a:moveTo>
                      <a:pt x="579" y="419"/>
                    </a:moveTo>
                    <a:lnTo>
                      <a:pt x="579" y="421"/>
                    </a:lnTo>
                    <a:lnTo>
                      <a:pt x="579" y="419"/>
                    </a:lnTo>
                    <a:close/>
                    <a:moveTo>
                      <a:pt x="575" y="414"/>
                    </a:moveTo>
                    <a:lnTo>
                      <a:pt x="575" y="416"/>
                    </a:lnTo>
                    <a:lnTo>
                      <a:pt x="573" y="416"/>
                    </a:lnTo>
                    <a:lnTo>
                      <a:pt x="573" y="414"/>
                    </a:lnTo>
                    <a:lnTo>
                      <a:pt x="575" y="414"/>
                    </a:lnTo>
                    <a:close/>
                    <a:moveTo>
                      <a:pt x="575" y="414"/>
                    </a:moveTo>
                    <a:lnTo>
                      <a:pt x="577" y="414"/>
                    </a:lnTo>
                    <a:lnTo>
                      <a:pt x="577" y="416"/>
                    </a:lnTo>
                    <a:lnTo>
                      <a:pt x="577" y="418"/>
                    </a:lnTo>
                    <a:lnTo>
                      <a:pt x="575" y="416"/>
                    </a:lnTo>
                    <a:lnTo>
                      <a:pt x="575" y="414"/>
                    </a:lnTo>
                    <a:close/>
                    <a:moveTo>
                      <a:pt x="571" y="412"/>
                    </a:moveTo>
                    <a:lnTo>
                      <a:pt x="571" y="414"/>
                    </a:lnTo>
                    <a:lnTo>
                      <a:pt x="571" y="412"/>
                    </a:lnTo>
                    <a:lnTo>
                      <a:pt x="569" y="412"/>
                    </a:lnTo>
                    <a:lnTo>
                      <a:pt x="571" y="412"/>
                    </a:lnTo>
                    <a:lnTo>
                      <a:pt x="569" y="412"/>
                    </a:lnTo>
                    <a:lnTo>
                      <a:pt x="571" y="412"/>
                    </a:lnTo>
                    <a:close/>
                    <a:moveTo>
                      <a:pt x="581" y="412"/>
                    </a:moveTo>
                    <a:lnTo>
                      <a:pt x="579" y="412"/>
                    </a:lnTo>
                    <a:lnTo>
                      <a:pt x="581" y="412"/>
                    </a:lnTo>
                    <a:lnTo>
                      <a:pt x="579" y="412"/>
                    </a:lnTo>
                    <a:lnTo>
                      <a:pt x="581" y="412"/>
                    </a:lnTo>
                    <a:close/>
                    <a:moveTo>
                      <a:pt x="575" y="410"/>
                    </a:moveTo>
                    <a:lnTo>
                      <a:pt x="573" y="410"/>
                    </a:lnTo>
                    <a:lnTo>
                      <a:pt x="575" y="410"/>
                    </a:lnTo>
                    <a:lnTo>
                      <a:pt x="573" y="410"/>
                    </a:lnTo>
                    <a:lnTo>
                      <a:pt x="575" y="410"/>
                    </a:lnTo>
                    <a:close/>
                    <a:moveTo>
                      <a:pt x="577" y="410"/>
                    </a:moveTo>
                    <a:lnTo>
                      <a:pt x="577" y="412"/>
                    </a:lnTo>
                    <a:lnTo>
                      <a:pt x="577" y="410"/>
                    </a:lnTo>
                    <a:close/>
                    <a:moveTo>
                      <a:pt x="579" y="410"/>
                    </a:moveTo>
                    <a:lnTo>
                      <a:pt x="579" y="412"/>
                    </a:lnTo>
                    <a:lnTo>
                      <a:pt x="579" y="414"/>
                    </a:lnTo>
                    <a:lnTo>
                      <a:pt x="579" y="412"/>
                    </a:lnTo>
                    <a:lnTo>
                      <a:pt x="579" y="414"/>
                    </a:lnTo>
                    <a:lnTo>
                      <a:pt x="579" y="412"/>
                    </a:lnTo>
                    <a:lnTo>
                      <a:pt x="577" y="412"/>
                    </a:lnTo>
                    <a:lnTo>
                      <a:pt x="577" y="410"/>
                    </a:lnTo>
                    <a:lnTo>
                      <a:pt x="579" y="410"/>
                    </a:lnTo>
                    <a:close/>
                    <a:moveTo>
                      <a:pt x="575" y="408"/>
                    </a:moveTo>
                    <a:lnTo>
                      <a:pt x="577" y="410"/>
                    </a:lnTo>
                    <a:lnTo>
                      <a:pt x="575" y="410"/>
                    </a:lnTo>
                    <a:lnTo>
                      <a:pt x="575" y="408"/>
                    </a:lnTo>
                    <a:close/>
                    <a:moveTo>
                      <a:pt x="567" y="404"/>
                    </a:moveTo>
                    <a:lnTo>
                      <a:pt x="567" y="406"/>
                    </a:lnTo>
                    <a:lnTo>
                      <a:pt x="567" y="404"/>
                    </a:lnTo>
                    <a:close/>
                    <a:moveTo>
                      <a:pt x="565" y="402"/>
                    </a:moveTo>
                    <a:lnTo>
                      <a:pt x="565" y="404"/>
                    </a:lnTo>
                    <a:lnTo>
                      <a:pt x="565" y="402"/>
                    </a:lnTo>
                    <a:close/>
                    <a:moveTo>
                      <a:pt x="573" y="406"/>
                    </a:moveTo>
                    <a:lnTo>
                      <a:pt x="573" y="404"/>
                    </a:lnTo>
                    <a:lnTo>
                      <a:pt x="573" y="406"/>
                    </a:lnTo>
                    <a:close/>
                    <a:moveTo>
                      <a:pt x="577" y="406"/>
                    </a:moveTo>
                    <a:lnTo>
                      <a:pt x="577" y="408"/>
                    </a:lnTo>
                    <a:lnTo>
                      <a:pt x="577" y="406"/>
                    </a:lnTo>
                    <a:lnTo>
                      <a:pt x="577" y="408"/>
                    </a:lnTo>
                    <a:lnTo>
                      <a:pt x="577" y="406"/>
                    </a:lnTo>
                    <a:lnTo>
                      <a:pt x="577" y="408"/>
                    </a:lnTo>
                    <a:lnTo>
                      <a:pt x="575" y="408"/>
                    </a:lnTo>
                    <a:lnTo>
                      <a:pt x="575" y="406"/>
                    </a:lnTo>
                    <a:lnTo>
                      <a:pt x="577" y="406"/>
                    </a:lnTo>
                    <a:close/>
                    <a:moveTo>
                      <a:pt x="577" y="404"/>
                    </a:moveTo>
                    <a:lnTo>
                      <a:pt x="577" y="406"/>
                    </a:lnTo>
                    <a:lnTo>
                      <a:pt x="577" y="404"/>
                    </a:lnTo>
                    <a:close/>
                    <a:moveTo>
                      <a:pt x="569" y="402"/>
                    </a:moveTo>
                    <a:lnTo>
                      <a:pt x="567" y="402"/>
                    </a:lnTo>
                    <a:lnTo>
                      <a:pt x="567" y="400"/>
                    </a:lnTo>
                    <a:lnTo>
                      <a:pt x="567" y="402"/>
                    </a:lnTo>
                    <a:lnTo>
                      <a:pt x="569" y="402"/>
                    </a:lnTo>
                    <a:lnTo>
                      <a:pt x="569" y="400"/>
                    </a:lnTo>
                    <a:lnTo>
                      <a:pt x="569" y="402"/>
                    </a:lnTo>
                    <a:lnTo>
                      <a:pt x="569" y="400"/>
                    </a:lnTo>
                    <a:lnTo>
                      <a:pt x="569" y="402"/>
                    </a:lnTo>
                    <a:close/>
                    <a:moveTo>
                      <a:pt x="565" y="398"/>
                    </a:moveTo>
                    <a:lnTo>
                      <a:pt x="565" y="400"/>
                    </a:lnTo>
                    <a:lnTo>
                      <a:pt x="563" y="400"/>
                    </a:lnTo>
                    <a:lnTo>
                      <a:pt x="563" y="398"/>
                    </a:lnTo>
                    <a:lnTo>
                      <a:pt x="565" y="398"/>
                    </a:lnTo>
                    <a:close/>
                    <a:moveTo>
                      <a:pt x="563" y="396"/>
                    </a:moveTo>
                    <a:lnTo>
                      <a:pt x="563" y="398"/>
                    </a:lnTo>
                    <a:lnTo>
                      <a:pt x="565" y="398"/>
                    </a:lnTo>
                    <a:lnTo>
                      <a:pt x="563" y="398"/>
                    </a:lnTo>
                    <a:lnTo>
                      <a:pt x="563" y="396"/>
                    </a:lnTo>
                    <a:close/>
                    <a:moveTo>
                      <a:pt x="569" y="398"/>
                    </a:moveTo>
                    <a:lnTo>
                      <a:pt x="569" y="400"/>
                    </a:lnTo>
                    <a:lnTo>
                      <a:pt x="569" y="398"/>
                    </a:lnTo>
                    <a:close/>
                    <a:moveTo>
                      <a:pt x="579" y="370"/>
                    </a:moveTo>
                    <a:lnTo>
                      <a:pt x="577" y="370"/>
                    </a:lnTo>
                    <a:lnTo>
                      <a:pt x="579" y="370"/>
                    </a:lnTo>
                    <a:close/>
                    <a:moveTo>
                      <a:pt x="579" y="368"/>
                    </a:moveTo>
                    <a:lnTo>
                      <a:pt x="577" y="368"/>
                    </a:lnTo>
                    <a:lnTo>
                      <a:pt x="579" y="368"/>
                    </a:lnTo>
                    <a:close/>
                    <a:moveTo>
                      <a:pt x="579" y="364"/>
                    </a:moveTo>
                    <a:lnTo>
                      <a:pt x="581" y="364"/>
                    </a:lnTo>
                    <a:lnTo>
                      <a:pt x="579" y="364"/>
                    </a:lnTo>
                    <a:close/>
                    <a:moveTo>
                      <a:pt x="579" y="364"/>
                    </a:moveTo>
                    <a:lnTo>
                      <a:pt x="581" y="364"/>
                    </a:lnTo>
                    <a:lnTo>
                      <a:pt x="579" y="364"/>
                    </a:lnTo>
                    <a:close/>
                    <a:moveTo>
                      <a:pt x="582" y="362"/>
                    </a:moveTo>
                    <a:lnTo>
                      <a:pt x="582" y="360"/>
                    </a:lnTo>
                    <a:lnTo>
                      <a:pt x="582" y="362"/>
                    </a:lnTo>
                    <a:close/>
                    <a:moveTo>
                      <a:pt x="586" y="356"/>
                    </a:moveTo>
                    <a:lnTo>
                      <a:pt x="586" y="358"/>
                    </a:lnTo>
                    <a:lnTo>
                      <a:pt x="586" y="356"/>
                    </a:lnTo>
                    <a:close/>
                    <a:moveTo>
                      <a:pt x="590" y="354"/>
                    </a:moveTo>
                    <a:lnTo>
                      <a:pt x="590" y="356"/>
                    </a:lnTo>
                    <a:lnTo>
                      <a:pt x="588" y="356"/>
                    </a:lnTo>
                    <a:lnTo>
                      <a:pt x="590" y="356"/>
                    </a:lnTo>
                    <a:lnTo>
                      <a:pt x="588" y="356"/>
                    </a:lnTo>
                    <a:lnTo>
                      <a:pt x="588" y="354"/>
                    </a:lnTo>
                    <a:lnTo>
                      <a:pt x="588" y="356"/>
                    </a:lnTo>
                    <a:lnTo>
                      <a:pt x="590" y="356"/>
                    </a:lnTo>
                    <a:lnTo>
                      <a:pt x="590" y="354"/>
                    </a:lnTo>
                    <a:close/>
                    <a:moveTo>
                      <a:pt x="652" y="379"/>
                    </a:moveTo>
                    <a:lnTo>
                      <a:pt x="650" y="379"/>
                    </a:lnTo>
                    <a:lnTo>
                      <a:pt x="652" y="379"/>
                    </a:lnTo>
                    <a:close/>
                    <a:moveTo>
                      <a:pt x="598" y="350"/>
                    </a:moveTo>
                    <a:lnTo>
                      <a:pt x="598" y="348"/>
                    </a:lnTo>
                    <a:lnTo>
                      <a:pt x="598" y="350"/>
                    </a:lnTo>
                    <a:close/>
                    <a:moveTo>
                      <a:pt x="598" y="350"/>
                    </a:moveTo>
                    <a:lnTo>
                      <a:pt x="598" y="348"/>
                    </a:lnTo>
                    <a:lnTo>
                      <a:pt x="598" y="350"/>
                    </a:lnTo>
                    <a:close/>
                    <a:moveTo>
                      <a:pt x="596" y="345"/>
                    </a:moveTo>
                    <a:lnTo>
                      <a:pt x="594" y="345"/>
                    </a:lnTo>
                    <a:lnTo>
                      <a:pt x="594" y="343"/>
                    </a:lnTo>
                    <a:lnTo>
                      <a:pt x="596" y="343"/>
                    </a:lnTo>
                    <a:lnTo>
                      <a:pt x="596" y="345"/>
                    </a:lnTo>
                    <a:close/>
                    <a:moveTo>
                      <a:pt x="613" y="337"/>
                    </a:moveTo>
                    <a:lnTo>
                      <a:pt x="615" y="337"/>
                    </a:lnTo>
                    <a:lnTo>
                      <a:pt x="613" y="337"/>
                    </a:lnTo>
                    <a:lnTo>
                      <a:pt x="613" y="335"/>
                    </a:lnTo>
                    <a:lnTo>
                      <a:pt x="613" y="337"/>
                    </a:lnTo>
                    <a:lnTo>
                      <a:pt x="613" y="335"/>
                    </a:lnTo>
                    <a:lnTo>
                      <a:pt x="613" y="337"/>
                    </a:lnTo>
                    <a:close/>
                    <a:moveTo>
                      <a:pt x="615" y="327"/>
                    </a:moveTo>
                    <a:lnTo>
                      <a:pt x="613" y="327"/>
                    </a:lnTo>
                    <a:lnTo>
                      <a:pt x="613" y="325"/>
                    </a:lnTo>
                    <a:lnTo>
                      <a:pt x="613" y="327"/>
                    </a:lnTo>
                    <a:lnTo>
                      <a:pt x="613" y="325"/>
                    </a:lnTo>
                    <a:lnTo>
                      <a:pt x="613" y="327"/>
                    </a:lnTo>
                    <a:lnTo>
                      <a:pt x="615" y="327"/>
                    </a:lnTo>
                    <a:lnTo>
                      <a:pt x="615" y="325"/>
                    </a:lnTo>
                    <a:lnTo>
                      <a:pt x="615" y="327"/>
                    </a:lnTo>
                    <a:close/>
                    <a:moveTo>
                      <a:pt x="679" y="341"/>
                    </a:moveTo>
                    <a:lnTo>
                      <a:pt x="677" y="341"/>
                    </a:lnTo>
                    <a:lnTo>
                      <a:pt x="679" y="341"/>
                    </a:lnTo>
                    <a:close/>
                    <a:moveTo>
                      <a:pt x="644" y="325"/>
                    </a:moveTo>
                    <a:lnTo>
                      <a:pt x="644" y="327"/>
                    </a:lnTo>
                    <a:lnTo>
                      <a:pt x="644" y="325"/>
                    </a:lnTo>
                    <a:lnTo>
                      <a:pt x="646" y="325"/>
                    </a:lnTo>
                    <a:lnTo>
                      <a:pt x="644" y="325"/>
                    </a:lnTo>
                    <a:close/>
                    <a:moveTo>
                      <a:pt x="642" y="318"/>
                    </a:moveTo>
                    <a:lnTo>
                      <a:pt x="644" y="318"/>
                    </a:lnTo>
                    <a:lnTo>
                      <a:pt x="642" y="318"/>
                    </a:lnTo>
                    <a:lnTo>
                      <a:pt x="640" y="318"/>
                    </a:lnTo>
                    <a:lnTo>
                      <a:pt x="640" y="316"/>
                    </a:lnTo>
                    <a:lnTo>
                      <a:pt x="640" y="318"/>
                    </a:lnTo>
                    <a:lnTo>
                      <a:pt x="640" y="316"/>
                    </a:lnTo>
                    <a:lnTo>
                      <a:pt x="642" y="316"/>
                    </a:lnTo>
                    <a:lnTo>
                      <a:pt x="642" y="318"/>
                    </a:lnTo>
                    <a:close/>
                    <a:moveTo>
                      <a:pt x="657" y="312"/>
                    </a:moveTo>
                    <a:lnTo>
                      <a:pt x="655" y="312"/>
                    </a:lnTo>
                    <a:lnTo>
                      <a:pt x="655" y="310"/>
                    </a:lnTo>
                    <a:lnTo>
                      <a:pt x="655" y="312"/>
                    </a:lnTo>
                    <a:lnTo>
                      <a:pt x="657" y="312"/>
                    </a:lnTo>
                    <a:close/>
                    <a:moveTo>
                      <a:pt x="675" y="318"/>
                    </a:moveTo>
                    <a:lnTo>
                      <a:pt x="673" y="318"/>
                    </a:lnTo>
                    <a:lnTo>
                      <a:pt x="675" y="318"/>
                    </a:lnTo>
                    <a:close/>
                    <a:moveTo>
                      <a:pt x="707" y="323"/>
                    </a:moveTo>
                    <a:lnTo>
                      <a:pt x="707" y="321"/>
                    </a:lnTo>
                    <a:lnTo>
                      <a:pt x="707" y="323"/>
                    </a:lnTo>
                    <a:close/>
                    <a:moveTo>
                      <a:pt x="738" y="321"/>
                    </a:moveTo>
                    <a:lnTo>
                      <a:pt x="738" y="323"/>
                    </a:lnTo>
                    <a:lnTo>
                      <a:pt x="738" y="321"/>
                    </a:lnTo>
                    <a:lnTo>
                      <a:pt x="738" y="323"/>
                    </a:lnTo>
                    <a:lnTo>
                      <a:pt x="738" y="321"/>
                    </a:lnTo>
                    <a:close/>
                    <a:moveTo>
                      <a:pt x="746" y="320"/>
                    </a:moveTo>
                    <a:lnTo>
                      <a:pt x="744" y="320"/>
                    </a:lnTo>
                    <a:lnTo>
                      <a:pt x="746" y="320"/>
                    </a:lnTo>
                    <a:close/>
                    <a:moveTo>
                      <a:pt x="680" y="293"/>
                    </a:moveTo>
                    <a:lnTo>
                      <a:pt x="680" y="295"/>
                    </a:lnTo>
                    <a:lnTo>
                      <a:pt x="680" y="293"/>
                    </a:lnTo>
                    <a:close/>
                    <a:moveTo>
                      <a:pt x="753" y="314"/>
                    </a:moveTo>
                    <a:lnTo>
                      <a:pt x="752" y="314"/>
                    </a:lnTo>
                    <a:lnTo>
                      <a:pt x="752" y="312"/>
                    </a:lnTo>
                    <a:lnTo>
                      <a:pt x="753" y="312"/>
                    </a:lnTo>
                    <a:lnTo>
                      <a:pt x="753" y="314"/>
                    </a:lnTo>
                    <a:close/>
                    <a:moveTo>
                      <a:pt x="759" y="312"/>
                    </a:moveTo>
                    <a:lnTo>
                      <a:pt x="757" y="314"/>
                    </a:lnTo>
                    <a:lnTo>
                      <a:pt x="757" y="312"/>
                    </a:lnTo>
                    <a:lnTo>
                      <a:pt x="757" y="314"/>
                    </a:lnTo>
                    <a:lnTo>
                      <a:pt x="757" y="312"/>
                    </a:lnTo>
                    <a:lnTo>
                      <a:pt x="759" y="312"/>
                    </a:lnTo>
                    <a:close/>
                    <a:moveTo>
                      <a:pt x="752" y="308"/>
                    </a:moveTo>
                    <a:lnTo>
                      <a:pt x="750" y="310"/>
                    </a:lnTo>
                    <a:lnTo>
                      <a:pt x="750" y="308"/>
                    </a:lnTo>
                    <a:lnTo>
                      <a:pt x="752" y="308"/>
                    </a:lnTo>
                    <a:close/>
                    <a:moveTo>
                      <a:pt x="761" y="312"/>
                    </a:moveTo>
                    <a:lnTo>
                      <a:pt x="759" y="312"/>
                    </a:lnTo>
                    <a:lnTo>
                      <a:pt x="759" y="314"/>
                    </a:lnTo>
                    <a:lnTo>
                      <a:pt x="757" y="314"/>
                    </a:lnTo>
                    <a:lnTo>
                      <a:pt x="759" y="314"/>
                    </a:lnTo>
                    <a:lnTo>
                      <a:pt x="759" y="316"/>
                    </a:lnTo>
                    <a:lnTo>
                      <a:pt x="759" y="314"/>
                    </a:lnTo>
                    <a:lnTo>
                      <a:pt x="759" y="316"/>
                    </a:lnTo>
                    <a:lnTo>
                      <a:pt x="759" y="314"/>
                    </a:lnTo>
                    <a:lnTo>
                      <a:pt x="759" y="316"/>
                    </a:lnTo>
                    <a:lnTo>
                      <a:pt x="757" y="316"/>
                    </a:lnTo>
                    <a:lnTo>
                      <a:pt x="757" y="314"/>
                    </a:lnTo>
                    <a:lnTo>
                      <a:pt x="757" y="316"/>
                    </a:lnTo>
                    <a:lnTo>
                      <a:pt x="757" y="314"/>
                    </a:lnTo>
                    <a:lnTo>
                      <a:pt x="755" y="314"/>
                    </a:lnTo>
                    <a:lnTo>
                      <a:pt x="757" y="314"/>
                    </a:lnTo>
                    <a:lnTo>
                      <a:pt x="755" y="314"/>
                    </a:lnTo>
                    <a:lnTo>
                      <a:pt x="757" y="314"/>
                    </a:lnTo>
                    <a:lnTo>
                      <a:pt x="759" y="314"/>
                    </a:lnTo>
                    <a:lnTo>
                      <a:pt x="759" y="312"/>
                    </a:lnTo>
                    <a:lnTo>
                      <a:pt x="761" y="312"/>
                    </a:lnTo>
                    <a:close/>
                    <a:moveTo>
                      <a:pt x="753" y="310"/>
                    </a:moveTo>
                    <a:lnTo>
                      <a:pt x="752" y="308"/>
                    </a:lnTo>
                    <a:lnTo>
                      <a:pt x="753" y="308"/>
                    </a:lnTo>
                    <a:lnTo>
                      <a:pt x="753" y="310"/>
                    </a:lnTo>
                    <a:close/>
                    <a:moveTo>
                      <a:pt x="759" y="312"/>
                    </a:moveTo>
                    <a:lnTo>
                      <a:pt x="761" y="312"/>
                    </a:lnTo>
                    <a:lnTo>
                      <a:pt x="759" y="312"/>
                    </a:lnTo>
                    <a:close/>
                    <a:moveTo>
                      <a:pt x="753" y="308"/>
                    </a:moveTo>
                    <a:lnTo>
                      <a:pt x="752" y="308"/>
                    </a:lnTo>
                    <a:lnTo>
                      <a:pt x="753" y="308"/>
                    </a:lnTo>
                    <a:close/>
                    <a:moveTo>
                      <a:pt x="763" y="312"/>
                    </a:moveTo>
                    <a:lnTo>
                      <a:pt x="765" y="312"/>
                    </a:lnTo>
                    <a:lnTo>
                      <a:pt x="765" y="314"/>
                    </a:lnTo>
                    <a:lnTo>
                      <a:pt x="763" y="314"/>
                    </a:lnTo>
                    <a:lnTo>
                      <a:pt x="763" y="312"/>
                    </a:lnTo>
                    <a:close/>
                    <a:moveTo>
                      <a:pt x="765" y="308"/>
                    </a:moveTo>
                    <a:lnTo>
                      <a:pt x="765" y="310"/>
                    </a:lnTo>
                    <a:lnTo>
                      <a:pt x="763" y="310"/>
                    </a:lnTo>
                    <a:lnTo>
                      <a:pt x="763" y="308"/>
                    </a:lnTo>
                    <a:lnTo>
                      <a:pt x="765" y="308"/>
                    </a:lnTo>
                    <a:close/>
                    <a:moveTo>
                      <a:pt x="765" y="308"/>
                    </a:moveTo>
                    <a:lnTo>
                      <a:pt x="765" y="306"/>
                    </a:lnTo>
                    <a:lnTo>
                      <a:pt x="767" y="306"/>
                    </a:lnTo>
                    <a:lnTo>
                      <a:pt x="765" y="306"/>
                    </a:lnTo>
                    <a:lnTo>
                      <a:pt x="765" y="308"/>
                    </a:lnTo>
                    <a:close/>
                    <a:moveTo>
                      <a:pt x="819" y="287"/>
                    </a:moveTo>
                    <a:lnTo>
                      <a:pt x="819" y="285"/>
                    </a:lnTo>
                    <a:lnTo>
                      <a:pt x="819" y="287"/>
                    </a:lnTo>
                    <a:close/>
                    <a:moveTo>
                      <a:pt x="819" y="285"/>
                    </a:moveTo>
                    <a:lnTo>
                      <a:pt x="821" y="285"/>
                    </a:lnTo>
                    <a:lnTo>
                      <a:pt x="819" y="285"/>
                    </a:lnTo>
                    <a:close/>
                    <a:moveTo>
                      <a:pt x="828" y="289"/>
                    </a:moveTo>
                    <a:lnTo>
                      <a:pt x="830" y="289"/>
                    </a:lnTo>
                    <a:lnTo>
                      <a:pt x="830" y="287"/>
                    </a:lnTo>
                    <a:lnTo>
                      <a:pt x="830" y="289"/>
                    </a:lnTo>
                    <a:lnTo>
                      <a:pt x="828" y="289"/>
                    </a:lnTo>
                    <a:close/>
                    <a:moveTo>
                      <a:pt x="763" y="250"/>
                    </a:moveTo>
                    <a:lnTo>
                      <a:pt x="763" y="252"/>
                    </a:lnTo>
                    <a:lnTo>
                      <a:pt x="765" y="252"/>
                    </a:lnTo>
                    <a:lnTo>
                      <a:pt x="763" y="252"/>
                    </a:lnTo>
                    <a:lnTo>
                      <a:pt x="763" y="250"/>
                    </a:lnTo>
                    <a:close/>
                    <a:moveTo>
                      <a:pt x="775" y="246"/>
                    </a:moveTo>
                    <a:lnTo>
                      <a:pt x="775" y="245"/>
                    </a:lnTo>
                    <a:lnTo>
                      <a:pt x="777" y="245"/>
                    </a:lnTo>
                    <a:lnTo>
                      <a:pt x="777" y="246"/>
                    </a:lnTo>
                    <a:lnTo>
                      <a:pt x="778" y="246"/>
                    </a:lnTo>
                    <a:lnTo>
                      <a:pt x="777" y="246"/>
                    </a:lnTo>
                    <a:lnTo>
                      <a:pt x="775" y="246"/>
                    </a:lnTo>
                    <a:close/>
                    <a:moveTo>
                      <a:pt x="792" y="245"/>
                    </a:moveTo>
                    <a:lnTo>
                      <a:pt x="790" y="245"/>
                    </a:lnTo>
                    <a:lnTo>
                      <a:pt x="792" y="245"/>
                    </a:lnTo>
                    <a:close/>
                    <a:moveTo>
                      <a:pt x="788" y="243"/>
                    </a:moveTo>
                    <a:lnTo>
                      <a:pt x="788" y="245"/>
                    </a:lnTo>
                    <a:lnTo>
                      <a:pt x="790" y="245"/>
                    </a:lnTo>
                    <a:lnTo>
                      <a:pt x="788" y="245"/>
                    </a:lnTo>
                    <a:lnTo>
                      <a:pt x="786" y="245"/>
                    </a:lnTo>
                    <a:lnTo>
                      <a:pt x="786" y="243"/>
                    </a:lnTo>
                    <a:lnTo>
                      <a:pt x="784" y="243"/>
                    </a:lnTo>
                    <a:lnTo>
                      <a:pt x="786" y="243"/>
                    </a:lnTo>
                    <a:lnTo>
                      <a:pt x="788" y="243"/>
                    </a:lnTo>
                    <a:close/>
                    <a:moveTo>
                      <a:pt x="790" y="241"/>
                    </a:moveTo>
                    <a:lnTo>
                      <a:pt x="790" y="243"/>
                    </a:lnTo>
                    <a:lnTo>
                      <a:pt x="788" y="243"/>
                    </a:lnTo>
                    <a:lnTo>
                      <a:pt x="786" y="243"/>
                    </a:lnTo>
                    <a:lnTo>
                      <a:pt x="784" y="243"/>
                    </a:lnTo>
                    <a:lnTo>
                      <a:pt x="782" y="243"/>
                    </a:lnTo>
                    <a:lnTo>
                      <a:pt x="782" y="241"/>
                    </a:lnTo>
                    <a:lnTo>
                      <a:pt x="780" y="241"/>
                    </a:lnTo>
                    <a:lnTo>
                      <a:pt x="782" y="241"/>
                    </a:lnTo>
                    <a:lnTo>
                      <a:pt x="784" y="241"/>
                    </a:lnTo>
                    <a:lnTo>
                      <a:pt x="786" y="241"/>
                    </a:lnTo>
                    <a:lnTo>
                      <a:pt x="788" y="241"/>
                    </a:lnTo>
                    <a:lnTo>
                      <a:pt x="786" y="241"/>
                    </a:lnTo>
                    <a:lnTo>
                      <a:pt x="788" y="241"/>
                    </a:lnTo>
                    <a:lnTo>
                      <a:pt x="790" y="241"/>
                    </a:lnTo>
                    <a:close/>
                    <a:moveTo>
                      <a:pt x="807" y="246"/>
                    </a:moveTo>
                    <a:lnTo>
                      <a:pt x="807" y="248"/>
                    </a:lnTo>
                    <a:lnTo>
                      <a:pt x="809" y="248"/>
                    </a:lnTo>
                    <a:lnTo>
                      <a:pt x="807" y="248"/>
                    </a:lnTo>
                    <a:lnTo>
                      <a:pt x="807" y="246"/>
                    </a:lnTo>
                    <a:close/>
                    <a:moveTo>
                      <a:pt x="800" y="241"/>
                    </a:moveTo>
                    <a:lnTo>
                      <a:pt x="802" y="241"/>
                    </a:lnTo>
                    <a:lnTo>
                      <a:pt x="800" y="241"/>
                    </a:lnTo>
                    <a:lnTo>
                      <a:pt x="798" y="241"/>
                    </a:lnTo>
                    <a:lnTo>
                      <a:pt x="796" y="241"/>
                    </a:lnTo>
                    <a:lnTo>
                      <a:pt x="798" y="241"/>
                    </a:lnTo>
                    <a:lnTo>
                      <a:pt x="800" y="241"/>
                    </a:lnTo>
                    <a:close/>
                    <a:moveTo>
                      <a:pt x="796" y="241"/>
                    </a:moveTo>
                    <a:lnTo>
                      <a:pt x="794" y="241"/>
                    </a:lnTo>
                    <a:lnTo>
                      <a:pt x="794" y="239"/>
                    </a:lnTo>
                    <a:lnTo>
                      <a:pt x="796" y="239"/>
                    </a:lnTo>
                    <a:lnTo>
                      <a:pt x="796" y="241"/>
                    </a:lnTo>
                    <a:close/>
                    <a:moveTo>
                      <a:pt x="788" y="235"/>
                    </a:moveTo>
                    <a:lnTo>
                      <a:pt x="790" y="235"/>
                    </a:lnTo>
                    <a:lnTo>
                      <a:pt x="788" y="235"/>
                    </a:lnTo>
                    <a:close/>
                    <a:moveTo>
                      <a:pt x="817" y="241"/>
                    </a:moveTo>
                    <a:lnTo>
                      <a:pt x="815" y="241"/>
                    </a:lnTo>
                    <a:lnTo>
                      <a:pt x="813" y="241"/>
                    </a:lnTo>
                    <a:lnTo>
                      <a:pt x="813" y="243"/>
                    </a:lnTo>
                    <a:lnTo>
                      <a:pt x="811" y="243"/>
                    </a:lnTo>
                    <a:lnTo>
                      <a:pt x="809" y="243"/>
                    </a:lnTo>
                    <a:lnTo>
                      <a:pt x="809" y="241"/>
                    </a:lnTo>
                    <a:lnTo>
                      <a:pt x="807" y="241"/>
                    </a:lnTo>
                    <a:lnTo>
                      <a:pt x="809" y="241"/>
                    </a:lnTo>
                    <a:lnTo>
                      <a:pt x="807" y="241"/>
                    </a:lnTo>
                    <a:lnTo>
                      <a:pt x="805" y="241"/>
                    </a:lnTo>
                    <a:lnTo>
                      <a:pt x="807" y="239"/>
                    </a:lnTo>
                    <a:lnTo>
                      <a:pt x="809" y="239"/>
                    </a:lnTo>
                    <a:lnTo>
                      <a:pt x="811" y="239"/>
                    </a:lnTo>
                    <a:lnTo>
                      <a:pt x="813" y="239"/>
                    </a:lnTo>
                    <a:lnTo>
                      <a:pt x="815" y="241"/>
                    </a:lnTo>
                    <a:lnTo>
                      <a:pt x="817" y="241"/>
                    </a:lnTo>
                    <a:close/>
                    <a:moveTo>
                      <a:pt x="859" y="252"/>
                    </a:moveTo>
                    <a:lnTo>
                      <a:pt x="857" y="252"/>
                    </a:lnTo>
                    <a:lnTo>
                      <a:pt x="859" y="252"/>
                    </a:lnTo>
                    <a:close/>
                    <a:moveTo>
                      <a:pt x="867" y="254"/>
                    </a:moveTo>
                    <a:lnTo>
                      <a:pt x="867" y="256"/>
                    </a:lnTo>
                    <a:lnTo>
                      <a:pt x="865" y="256"/>
                    </a:lnTo>
                    <a:lnTo>
                      <a:pt x="865" y="254"/>
                    </a:lnTo>
                    <a:lnTo>
                      <a:pt x="867" y="254"/>
                    </a:lnTo>
                    <a:close/>
                    <a:moveTo>
                      <a:pt x="861" y="87"/>
                    </a:moveTo>
                    <a:lnTo>
                      <a:pt x="863" y="87"/>
                    </a:lnTo>
                    <a:lnTo>
                      <a:pt x="863" y="89"/>
                    </a:lnTo>
                    <a:lnTo>
                      <a:pt x="861" y="89"/>
                    </a:lnTo>
                    <a:lnTo>
                      <a:pt x="861" y="87"/>
                    </a:lnTo>
                    <a:lnTo>
                      <a:pt x="859" y="87"/>
                    </a:lnTo>
                    <a:lnTo>
                      <a:pt x="861" y="87"/>
                    </a:lnTo>
                    <a:close/>
                    <a:moveTo>
                      <a:pt x="842" y="77"/>
                    </a:moveTo>
                    <a:lnTo>
                      <a:pt x="842" y="79"/>
                    </a:lnTo>
                    <a:lnTo>
                      <a:pt x="844" y="79"/>
                    </a:lnTo>
                    <a:lnTo>
                      <a:pt x="844" y="81"/>
                    </a:lnTo>
                    <a:lnTo>
                      <a:pt x="846" y="81"/>
                    </a:lnTo>
                    <a:lnTo>
                      <a:pt x="844" y="81"/>
                    </a:lnTo>
                    <a:lnTo>
                      <a:pt x="842" y="81"/>
                    </a:lnTo>
                    <a:lnTo>
                      <a:pt x="840" y="79"/>
                    </a:lnTo>
                    <a:lnTo>
                      <a:pt x="840" y="77"/>
                    </a:lnTo>
                    <a:lnTo>
                      <a:pt x="838" y="77"/>
                    </a:lnTo>
                    <a:lnTo>
                      <a:pt x="836" y="77"/>
                    </a:lnTo>
                    <a:lnTo>
                      <a:pt x="836" y="75"/>
                    </a:lnTo>
                    <a:lnTo>
                      <a:pt x="834" y="75"/>
                    </a:lnTo>
                    <a:lnTo>
                      <a:pt x="836" y="75"/>
                    </a:lnTo>
                    <a:lnTo>
                      <a:pt x="838" y="75"/>
                    </a:lnTo>
                    <a:lnTo>
                      <a:pt x="840" y="75"/>
                    </a:lnTo>
                    <a:lnTo>
                      <a:pt x="840" y="77"/>
                    </a:lnTo>
                    <a:lnTo>
                      <a:pt x="840" y="75"/>
                    </a:lnTo>
                    <a:lnTo>
                      <a:pt x="842" y="77"/>
                    </a:lnTo>
                    <a:close/>
                    <a:moveTo>
                      <a:pt x="698" y="14"/>
                    </a:moveTo>
                    <a:lnTo>
                      <a:pt x="696" y="16"/>
                    </a:lnTo>
                    <a:lnTo>
                      <a:pt x="696" y="14"/>
                    </a:lnTo>
                    <a:lnTo>
                      <a:pt x="694" y="14"/>
                    </a:lnTo>
                    <a:lnTo>
                      <a:pt x="694" y="12"/>
                    </a:lnTo>
                    <a:lnTo>
                      <a:pt x="696" y="12"/>
                    </a:lnTo>
                    <a:lnTo>
                      <a:pt x="696" y="14"/>
                    </a:lnTo>
                    <a:lnTo>
                      <a:pt x="698" y="14"/>
                    </a:lnTo>
                    <a:lnTo>
                      <a:pt x="698" y="16"/>
                    </a:lnTo>
                    <a:lnTo>
                      <a:pt x="698" y="14"/>
                    </a:lnTo>
                    <a:close/>
                    <a:moveTo>
                      <a:pt x="682" y="4"/>
                    </a:moveTo>
                    <a:lnTo>
                      <a:pt x="682" y="6"/>
                    </a:lnTo>
                    <a:lnTo>
                      <a:pt x="680" y="4"/>
                    </a:lnTo>
                    <a:lnTo>
                      <a:pt x="679" y="4"/>
                    </a:lnTo>
                    <a:lnTo>
                      <a:pt x="679" y="2"/>
                    </a:lnTo>
                    <a:lnTo>
                      <a:pt x="680" y="4"/>
                    </a:lnTo>
                    <a:lnTo>
                      <a:pt x="682" y="4"/>
                    </a:lnTo>
                    <a:close/>
                    <a:moveTo>
                      <a:pt x="750" y="37"/>
                    </a:moveTo>
                    <a:lnTo>
                      <a:pt x="750" y="35"/>
                    </a:lnTo>
                    <a:lnTo>
                      <a:pt x="750" y="37"/>
                    </a:lnTo>
                    <a:close/>
                    <a:moveTo>
                      <a:pt x="680" y="2"/>
                    </a:moveTo>
                    <a:lnTo>
                      <a:pt x="680" y="4"/>
                    </a:lnTo>
                    <a:lnTo>
                      <a:pt x="682" y="4"/>
                    </a:lnTo>
                    <a:lnTo>
                      <a:pt x="680" y="4"/>
                    </a:lnTo>
                    <a:lnTo>
                      <a:pt x="680" y="2"/>
                    </a:lnTo>
                    <a:lnTo>
                      <a:pt x="679" y="2"/>
                    </a:lnTo>
                    <a:lnTo>
                      <a:pt x="680" y="2"/>
                    </a:lnTo>
                    <a:close/>
                    <a:moveTo>
                      <a:pt x="807" y="60"/>
                    </a:moveTo>
                    <a:lnTo>
                      <a:pt x="805" y="60"/>
                    </a:lnTo>
                    <a:lnTo>
                      <a:pt x="807" y="60"/>
                    </a:lnTo>
                    <a:close/>
                    <a:moveTo>
                      <a:pt x="700" y="10"/>
                    </a:moveTo>
                    <a:lnTo>
                      <a:pt x="698" y="10"/>
                    </a:lnTo>
                    <a:lnTo>
                      <a:pt x="700" y="10"/>
                    </a:lnTo>
                    <a:close/>
                    <a:moveTo>
                      <a:pt x="736" y="27"/>
                    </a:moveTo>
                    <a:lnTo>
                      <a:pt x="734" y="27"/>
                    </a:lnTo>
                    <a:lnTo>
                      <a:pt x="736" y="27"/>
                    </a:lnTo>
                    <a:close/>
                    <a:moveTo>
                      <a:pt x="684" y="6"/>
                    </a:moveTo>
                    <a:lnTo>
                      <a:pt x="682" y="4"/>
                    </a:lnTo>
                    <a:lnTo>
                      <a:pt x="682" y="2"/>
                    </a:lnTo>
                    <a:lnTo>
                      <a:pt x="684" y="4"/>
                    </a:lnTo>
                    <a:lnTo>
                      <a:pt x="684" y="2"/>
                    </a:lnTo>
                    <a:lnTo>
                      <a:pt x="686" y="2"/>
                    </a:lnTo>
                    <a:lnTo>
                      <a:pt x="686" y="4"/>
                    </a:lnTo>
                    <a:lnTo>
                      <a:pt x="688" y="4"/>
                    </a:lnTo>
                    <a:lnTo>
                      <a:pt x="688" y="6"/>
                    </a:lnTo>
                    <a:lnTo>
                      <a:pt x="686" y="6"/>
                    </a:lnTo>
                    <a:lnTo>
                      <a:pt x="684" y="6"/>
                    </a:lnTo>
                    <a:close/>
                    <a:moveTo>
                      <a:pt x="853" y="75"/>
                    </a:moveTo>
                    <a:lnTo>
                      <a:pt x="851" y="75"/>
                    </a:lnTo>
                    <a:lnTo>
                      <a:pt x="850" y="75"/>
                    </a:lnTo>
                    <a:lnTo>
                      <a:pt x="851" y="75"/>
                    </a:lnTo>
                    <a:lnTo>
                      <a:pt x="851" y="73"/>
                    </a:lnTo>
                    <a:lnTo>
                      <a:pt x="853" y="75"/>
                    </a:lnTo>
                    <a:close/>
                    <a:moveTo>
                      <a:pt x="869" y="79"/>
                    </a:moveTo>
                    <a:lnTo>
                      <a:pt x="871" y="81"/>
                    </a:lnTo>
                    <a:lnTo>
                      <a:pt x="869" y="81"/>
                    </a:lnTo>
                    <a:lnTo>
                      <a:pt x="867" y="81"/>
                    </a:lnTo>
                    <a:lnTo>
                      <a:pt x="867" y="79"/>
                    </a:lnTo>
                    <a:lnTo>
                      <a:pt x="865" y="79"/>
                    </a:lnTo>
                    <a:lnTo>
                      <a:pt x="865" y="77"/>
                    </a:lnTo>
                    <a:lnTo>
                      <a:pt x="867" y="77"/>
                    </a:lnTo>
                    <a:lnTo>
                      <a:pt x="867" y="79"/>
                    </a:lnTo>
                    <a:lnTo>
                      <a:pt x="869" y="79"/>
                    </a:lnTo>
                    <a:close/>
                    <a:moveTo>
                      <a:pt x="865" y="77"/>
                    </a:moveTo>
                    <a:lnTo>
                      <a:pt x="865" y="75"/>
                    </a:lnTo>
                    <a:lnTo>
                      <a:pt x="865" y="77"/>
                    </a:lnTo>
                    <a:close/>
                    <a:moveTo>
                      <a:pt x="850" y="68"/>
                    </a:moveTo>
                    <a:lnTo>
                      <a:pt x="848" y="68"/>
                    </a:lnTo>
                    <a:lnTo>
                      <a:pt x="850" y="68"/>
                    </a:lnTo>
                    <a:close/>
                    <a:moveTo>
                      <a:pt x="767" y="33"/>
                    </a:moveTo>
                    <a:lnTo>
                      <a:pt x="765" y="33"/>
                    </a:lnTo>
                    <a:lnTo>
                      <a:pt x="765" y="31"/>
                    </a:lnTo>
                    <a:lnTo>
                      <a:pt x="765" y="33"/>
                    </a:lnTo>
                    <a:lnTo>
                      <a:pt x="767" y="33"/>
                    </a:lnTo>
                    <a:close/>
                    <a:moveTo>
                      <a:pt x="771" y="33"/>
                    </a:moveTo>
                    <a:lnTo>
                      <a:pt x="771" y="35"/>
                    </a:lnTo>
                    <a:lnTo>
                      <a:pt x="773" y="35"/>
                    </a:lnTo>
                    <a:lnTo>
                      <a:pt x="773" y="37"/>
                    </a:lnTo>
                    <a:lnTo>
                      <a:pt x="771" y="37"/>
                    </a:lnTo>
                    <a:lnTo>
                      <a:pt x="773" y="37"/>
                    </a:lnTo>
                    <a:lnTo>
                      <a:pt x="771" y="39"/>
                    </a:lnTo>
                    <a:lnTo>
                      <a:pt x="769" y="39"/>
                    </a:lnTo>
                    <a:lnTo>
                      <a:pt x="769" y="37"/>
                    </a:lnTo>
                    <a:lnTo>
                      <a:pt x="767" y="37"/>
                    </a:lnTo>
                    <a:lnTo>
                      <a:pt x="767" y="35"/>
                    </a:lnTo>
                    <a:lnTo>
                      <a:pt x="767" y="33"/>
                    </a:lnTo>
                    <a:lnTo>
                      <a:pt x="769" y="33"/>
                    </a:lnTo>
                    <a:lnTo>
                      <a:pt x="771" y="33"/>
                    </a:lnTo>
                    <a:close/>
                    <a:moveTo>
                      <a:pt x="790" y="43"/>
                    </a:moveTo>
                    <a:lnTo>
                      <a:pt x="792" y="43"/>
                    </a:lnTo>
                    <a:lnTo>
                      <a:pt x="792" y="45"/>
                    </a:lnTo>
                    <a:lnTo>
                      <a:pt x="790" y="45"/>
                    </a:lnTo>
                    <a:lnTo>
                      <a:pt x="788" y="45"/>
                    </a:lnTo>
                    <a:lnTo>
                      <a:pt x="786" y="45"/>
                    </a:lnTo>
                    <a:lnTo>
                      <a:pt x="784" y="45"/>
                    </a:lnTo>
                    <a:lnTo>
                      <a:pt x="782" y="43"/>
                    </a:lnTo>
                    <a:lnTo>
                      <a:pt x="782" y="41"/>
                    </a:lnTo>
                    <a:lnTo>
                      <a:pt x="780" y="41"/>
                    </a:lnTo>
                    <a:lnTo>
                      <a:pt x="782" y="41"/>
                    </a:lnTo>
                    <a:lnTo>
                      <a:pt x="784" y="43"/>
                    </a:lnTo>
                    <a:lnTo>
                      <a:pt x="784" y="41"/>
                    </a:lnTo>
                    <a:lnTo>
                      <a:pt x="786" y="43"/>
                    </a:lnTo>
                    <a:lnTo>
                      <a:pt x="784" y="41"/>
                    </a:lnTo>
                    <a:lnTo>
                      <a:pt x="786" y="41"/>
                    </a:lnTo>
                    <a:lnTo>
                      <a:pt x="788" y="41"/>
                    </a:lnTo>
                    <a:lnTo>
                      <a:pt x="790" y="41"/>
                    </a:lnTo>
                    <a:lnTo>
                      <a:pt x="790" y="43"/>
                    </a:lnTo>
                    <a:close/>
                    <a:moveTo>
                      <a:pt x="767" y="31"/>
                    </a:moveTo>
                    <a:lnTo>
                      <a:pt x="765" y="31"/>
                    </a:lnTo>
                    <a:lnTo>
                      <a:pt x="767" y="31"/>
                    </a:lnTo>
                    <a:close/>
                    <a:moveTo>
                      <a:pt x="725" y="14"/>
                    </a:moveTo>
                    <a:lnTo>
                      <a:pt x="725" y="12"/>
                    </a:lnTo>
                    <a:lnTo>
                      <a:pt x="725" y="14"/>
                    </a:lnTo>
                    <a:close/>
                    <a:moveTo>
                      <a:pt x="890" y="81"/>
                    </a:moveTo>
                    <a:lnTo>
                      <a:pt x="888" y="79"/>
                    </a:lnTo>
                    <a:lnTo>
                      <a:pt x="888" y="81"/>
                    </a:lnTo>
                    <a:lnTo>
                      <a:pt x="890" y="79"/>
                    </a:lnTo>
                    <a:lnTo>
                      <a:pt x="890" y="81"/>
                    </a:lnTo>
                    <a:close/>
                    <a:moveTo>
                      <a:pt x="738" y="18"/>
                    </a:moveTo>
                    <a:lnTo>
                      <a:pt x="740" y="18"/>
                    </a:lnTo>
                    <a:lnTo>
                      <a:pt x="740" y="20"/>
                    </a:lnTo>
                    <a:lnTo>
                      <a:pt x="742" y="20"/>
                    </a:lnTo>
                    <a:lnTo>
                      <a:pt x="742" y="22"/>
                    </a:lnTo>
                    <a:lnTo>
                      <a:pt x="744" y="22"/>
                    </a:lnTo>
                    <a:lnTo>
                      <a:pt x="742" y="22"/>
                    </a:lnTo>
                    <a:lnTo>
                      <a:pt x="738" y="20"/>
                    </a:lnTo>
                    <a:lnTo>
                      <a:pt x="738" y="18"/>
                    </a:lnTo>
                    <a:lnTo>
                      <a:pt x="736" y="18"/>
                    </a:lnTo>
                    <a:lnTo>
                      <a:pt x="738" y="18"/>
                    </a:lnTo>
                    <a:close/>
                    <a:moveTo>
                      <a:pt x="875" y="75"/>
                    </a:moveTo>
                    <a:lnTo>
                      <a:pt x="873" y="73"/>
                    </a:lnTo>
                    <a:lnTo>
                      <a:pt x="871" y="73"/>
                    </a:lnTo>
                    <a:lnTo>
                      <a:pt x="873" y="73"/>
                    </a:lnTo>
                    <a:lnTo>
                      <a:pt x="875" y="73"/>
                    </a:lnTo>
                    <a:lnTo>
                      <a:pt x="875" y="75"/>
                    </a:lnTo>
                    <a:close/>
                    <a:moveTo>
                      <a:pt x="894" y="81"/>
                    </a:moveTo>
                    <a:lnTo>
                      <a:pt x="892" y="81"/>
                    </a:lnTo>
                    <a:lnTo>
                      <a:pt x="894" y="81"/>
                    </a:lnTo>
                    <a:close/>
                    <a:moveTo>
                      <a:pt x="894" y="81"/>
                    </a:moveTo>
                    <a:lnTo>
                      <a:pt x="896" y="81"/>
                    </a:lnTo>
                    <a:lnTo>
                      <a:pt x="894" y="81"/>
                    </a:lnTo>
                    <a:close/>
                    <a:moveTo>
                      <a:pt x="778" y="37"/>
                    </a:moveTo>
                    <a:lnTo>
                      <a:pt x="778" y="35"/>
                    </a:lnTo>
                    <a:lnTo>
                      <a:pt x="777" y="35"/>
                    </a:lnTo>
                    <a:lnTo>
                      <a:pt x="778" y="35"/>
                    </a:lnTo>
                    <a:lnTo>
                      <a:pt x="780" y="35"/>
                    </a:lnTo>
                    <a:lnTo>
                      <a:pt x="782" y="37"/>
                    </a:lnTo>
                    <a:lnTo>
                      <a:pt x="780" y="37"/>
                    </a:lnTo>
                    <a:lnTo>
                      <a:pt x="778" y="37"/>
                    </a:lnTo>
                    <a:close/>
                    <a:moveTo>
                      <a:pt x="802" y="45"/>
                    </a:moveTo>
                    <a:lnTo>
                      <a:pt x="803" y="45"/>
                    </a:lnTo>
                    <a:lnTo>
                      <a:pt x="805" y="45"/>
                    </a:lnTo>
                    <a:lnTo>
                      <a:pt x="805" y="47"/>
                    </a:lnTo>
                    <a:lnTo>
                      <a:pt x="803" y="47"/>
                    </a:lnTo>
                    <a:lnTo>
                      <a:pt x="802" y="47"/>
                    </a:lnTo>
                    <a:lnTo>
                      <a:pt x="802" y="45"/>
                    </a:lnTo>
                    <a:lnTo>
                      <a:pt x="800" y="45"/>
                    </a:lnTo>
                    <a:lnTo>
                      <a:pt x="798" y="43"/>
                    </a:lnTo>
                    <a:lnTo>
                      <a:pt x="796" y="43"/>
                    </a:lnTo>
                    <a:lnTo>
                      <a:pt x="798" y="43"/>
                    </a:lnTo>
                    <a:lnTo>
                      <a:pt x="800" y="43"/>
                    </a:lnTo>
                    <a:lnTo>
                      <a:pt x="802" y="45"/>
                    </a:lnTo>
                    <a:close/>
                    <a:moveTo>
                      <a:pt x="790" y="39"/>
                    </a:moveTo>
                    <a:lnTo>
                      <a:pt x="788" y="39"/>
                    </a:lnTo>
                    <a:lnTo>
                      <a:pt x="790" y="39"/>
                    </a:lnTo>
                    <a:lnTo>
                      <a:pt x="788" y="39"/>
                    </a:lnTo>
                    <a:lnTo>
                      <a:pt x="786" y="39"/>
                    </a:lnTo>
                    <a:lnTo>
                      <a:pt x="786" y="37"/>
                    </a:lnTo>
                    <a:lnTo>
                      <a:pt x="784" y="37"/>
                    </a:lnTo>
                    <a:lnTo>
                      <a:pt x="786" y="37"/>
                    </a:lnTo>
                    <a:lnTo>
                      <a:pt x="788" y="37"/>
                    </a:lnTo>
                    <a:lnTo>
                      <a:pt x="790" y="37"/>
                    </a:lnTo>
                    <a:lnTo>
                      <a:pt x="790" y="39"/>
                    </a:lnTo>
                    <a:close/>
                    <a:moveTo>
                      <a:pt x="777" y="35"/>
                    </a:moveTo>
                    <a:lnTo>
                      <a:pt x="777" y="33"/>
                    </a:lnTo>
                    <a:lnTo>
                      <a:pt x="775" y="33"/>
                    </a:lnTo>
                    <a:lnTo>
                      <a:pt x="777" y="33"/>
                    </a:lnTo>
                    <a:lnTo>
                      <a:pt x="777" y="31"/>
                    </a:lnTo>
                    <a:lnTo>
                      <a:pt x="778" y="31"/>
                    </a:lnTo>
                    <a:lnTo>
                      <a:pt x="780" y="31"/>
                    </a:lnTo>
                    <a:lnTo>
                      <a:pt x="780" y="33"/>
                    </a:lnTo>
                    <a:lnTo>
                      <a:pt x="782" y="33"/>
                    </a:lnTo>
                    <a:lnTo>
                      <a:pt x="782" y="35"/>
                    </a:lnTo>
                    <a:lnTo>
                      <a:pt x="780" y="35"/>
                    </a:lnTo>
                    <a:lnTo>
                      <a:pt x="778" y="35"/>
                    </a:lnTo>
                    <a:lnTo>
                      <a:pt x="777" y="35"/>
                    </a:lnTo>
                    <a:close/>
                    <a:moveTo>
                      <a:pt x="815" y="47"/>
                    </a:moveTo>
                    <a:lnTo>
                      <a:pt x="813" y="47"/>
                    </a:lnTo>
                    <a:lnTo>
                      <a:pt x="811" y="45"/>
                    </a:lnTo>
                    <a:lnTo>
                      <a:pt x="813" y="45"/>
                    </a:lnTo>
                    <a:lnTo>
                      <a:pt x="815" y="47"/>
                    </a:lnTo>
                    <a:close/>
                    <a:moveTo>
                      <a:pt x="784" y="31"/>
                    </a:moveTo>
                    <a:lnTo>
                      <a:pt x="786" y="33"/>
                    </a:lnTo>
                    <a:lnTo>
                      <a:pt x="784" y="33"/>
                    </a:lnTo>
                    <a:lnTo>
                      <a:pt x="786" y="33"/>
                    </a:lnTo>
                    <a:lnTo>
                      <a:pt x="788" y="35"/>
                    </a:lnTo>
                    <a:lnTo>
                      <a:pt x="786" y="35"/>
                    </a:lnTo>
                    <a:lnTo>
                      <a:pt x="788" y="35"/>
                    </a:lnTo>
                    <a:lnTo>
                      <a:pt x="786" y="35"/>
                    </a:lnTo>
                    <a:lnTo>
                      <a:pt x="784" y="35"/>
                    </a:lnTo>
                    <a:lnTo>
                      <a:pt x="782" y="35"/>
                    </a:lnTo>
                    <a:lnTo>
                      <a:pt x="782" y="33"/>
                    </a:lnTo>
                    <a:lnTo>
                      <a:pt x="780" y="31"/>
                    </a:lnTo>
                    <a:lnTo>
                      <a:pt x="778" y="31"/>
                    </a:lnTo>
                    <a:lnTo>
                      <a:pt x="780" y="31"/>
                    </a:lnTo>
                    <a:lnTo>
                      <a:pt x="778" y="29"/>
                    </a:lnTo>
                    <a:lnTo>
                      <a:pt x="780" y="29"/>
                    </a:lnTo>
                    <a:lnTo>
                      <a:pt x="780" y="31"/>
                    </a:lnTo>
                    <a:lnTo>
                      <a:pt x="780" y="29"/>
                    </a:lnTo>
                    <a:lnTo>
                      <a:pt x="780" y="31"/>
                    </a:lnTo>
                    <a:lnTo>
                      <a:pt x="782" y="31"/>
                    </a:lnTo>
                    <a:lnTo>
                      <a:pt x="784" y="31"/>
                    </a:lnTo>
                    <a:close/>
                    <a:moveTo>
                      <a:pt x="909" y="79"/>
                    </a:moveTo>
                    <a:lnTo>
                      <a:pt x="909" y="77"/>
                    </a:lnTo>
                    <a:lnTo>
                      <a:pt x="909" y="79"/>
                    </a:lnTo>
                    <a:close/>
                    <a:moveTo>
                      <a:pt x="777" y="27"/>
                    </a:moveTo>
                    <a:lnTo>
                      <a:pt x="775" y="25"/>
                    </a:lnTo>
                    <a:lnTo>
                      <a:pt x="777" y="25"/>
                    </a:lnTo>
                    <a:lnTo>
                      <a:pt x="777" y="27"/>
                    </a:lnTo>
                    <a:close/>
                    <a:moveTo>
                      <a:pt x="851" y="58"/>
                    </a:moveTo>
                    <a:lnTo>
                      <a:pt x="850" y="58"/>
                    </a:lnTo>
                    <a:lnTo>
                      <a:pt x="850" y="56"/>
                    </a:lnTo>
                    <a:lnTo>
                      <a:pt x="848" y="56"/>
                    </a:lnTo>
                    <a:lnTo>
                      <a:pt x="850" y="56"/>
                    </a:lnTo>
                    <a:lnTo>
                      <a:pt x="851" y="56"/>
                    </a:lnTo>
                    <a:lnTo>
                      <a:pt x="853" y="56"/>
                    </a:lnTo>
                    <a:lnTo>
                      <a:pt x="851" y="56"/>
                    </a:lnTo>
                    <a:lnTo>
                      <a:pt x="851" y="58"/>
                    </a:lnTo>
                    <a:close/>
                    <a:moveTo>
                      <a:pt x="853" y="56"/>
                    </a:moveTo>
                    <a:lnTo>
                      <a:pt x="855" y="56"/>
                    </a:lnTo>
                    <a:lnTo>
                      <a:pt x="853" y="56"/>
                    </a:lnTo>
                    <a:close/>
                    <a:moveTo>
                      <a:pt x="759" y="22"/>
                    </a:moveTo>
                    <a:lnTo>
                      <a:pt x="759" y="23"/>
                    </a:lnTo>
                    <a:lnTo>
                      <a:pt x="759" y="22"/>
                    </a:lnTo>
                    <a:lnTo>
                      <a:pt x="757" y="22"/>
                    </a:lnTo>
                    <a:lnTo>
                      <a:pt x="755" y="20"/>
                    </a:lnTo>
                    <a:lnTo>
                      <a:pt x="755" y="18"/>
                    </a:lnTo>
                    <a:lnTo>
                      <a:pt x="757" y="18"/>
                    </a:lnTo>
                    <a:lnTo>
                      <a:pt x="759" y="18"/>
                    </a:lnTo>
                    <a:lnTo>
                      <a:pt x="757" y="18"/>
                    </a:lnTo>
                    <a:lnTo>
                      <a:pt x="757" y="16"/>
                    </a:lnTo>
                    <a:lnTo>
                      <a:pt x="755" y="16"/>
                    </a:lnTo>
                    <a:lnTo>
                      <a:pt x="757" y="16"/>
                    </a:lnTo>
                    <a:lnTo>
                      <a:pt x="757" y="14"/>
                    </a:lnTo>
                    <a:lnTo>
                      <a:pt x="757" y="16"/>
                    </a:lnTo>
                    <a:lnTo>
                      <a:pt x="759" y="16"/>
                    </a:lnTo>
                    <a:lnTo>
                      <a:pt x="759" y="18"/>
                    </a:lnTo>
                    <a:lnTo>
                      <a:pt x="759" y="20"/>
                    </a:lnTo>
                    <a:lnTo>
                      <a:pt x="761" y="22"/>
                    </a:lnTo>
                    <a:lnTo>
                      <a:pt x="759" y="22"/>
                    </a:lnTo>
                    <a:close/>
                    <a:moveTo>
                      <a:pt x="938" y="85"/>
                    </a:moveTo>
                    <a:lnTo>
                      <a:pt x="936" y="85"/>
                    </a:lnTo>
                    <a:lnTo>
                      <a:pt x="936" y="83"/>
                    </a:lnTo>
                    <a:lnTo>
                      <a:pt x="936" y="85"/>
                    </a:lnTo>
                    <a:lnTo>
                      <a:pt x="938" y="85"/>
                    </a:lnTo>
                    <a:close/>
                    <a:moveTo>
                      <a:pt x="878" y="56"/>
                    </a:moveTo>
                    <a:lnTo>
                      <a:pt x="876" y="56"/>
                    </a:lnTo>
                    <a:lnTo>
                      <a:pt x="878" y="56"/>
                    </a:lnTo>
                    <a:close/>
                    <a:moveTo>
                      <a:pt x="932" y="72"/>
                    </a:moveTo>
                    <a:lnTo>
                      <a:pt x="930" y="72"/>
                    </a:lnTo>
                    <a:lnTo>
                      <a:pt x="932" y="72"/>
                    </a:lnTo>
                    <a:close/>
                    <a:moveTo>
                      <a:pt x="844" y="41"/>
                    </a:moveTo>
                    <a:lnTo>
                      <a:pt x="842" y="39"/>
                    </a:lnTo>
                    <a:lnTo>
                      <a:pt x="844" y="39"/>
                    </a:lnTo>
                    <a:lnTo>
                      <a:pt x="846" y="41"/>
                    </a:lnTo>
                    <a:lnTo>
                      <a:pt x="844" y="41"/>
                    </a:lnTo>
                    <a:close/>
                    <a:moveTo>
                      <a:pt x="855" y="41"/>
                    </a:moveTo>
                    <a:lnTo>
                      <a:pt x="853" y="41"/>
                    </a:lnTo>
                    <a:lnTo>
                      <a:pt x="853" y="39"/>
                    </a:lnTo>
                    <a:lnTo>
                      <a:pt x="851" y="39"/>
                    </a:lnTo>
                    <a:lnTo>
                      <a:pt x="853" y="39"/>
                    </a:lnTo>
                    <a:lnTo>
                      <a:pt x="855" y="39"/>
                    </a:lnTo>
                    <a:lnTo>
                      <a:pt x="857" y="41"/>
                    </a:lnTo>
                    <a:lnTo>
                      <a:pt x="855" y="41"/>
                    </a:lnTo>
                    <a:close/>
                    <a:moveTo>
                      <a:pt x="782" y="10"/>
                    </a:moveTo>
                    <a:lnTo>
                      <a:pt x="780" y="10"/>
                    </a:lnTo>
                    <a:lnTo>
                      <a:pt x="780" y="8"/>
                    </a:lnTo>
                    <a:lnTo>
                      <a:pt x="782" y="8"/>
                    </a:lnTo>
                    <a:lnTo>
                      <a:pt x="782" y="10"/>
                    </a:lnTo>
                    <a:close/>
                    <a:moveTo>
                      <a:pt x="855" y="39"/>
                    </a:moveTo>
                    <a:lnTo>
                      <a:pt x="853" y="37"/>
                    </a:lnTo>
                    <a:lnTo>
                      <a:pt x="851" y="37"/>
                    </a:lnTo>
                    <a:lnTo>
                      <a:pt x="850" y="37"/>
                    </a:lnTo>
                    <a:lnTo>
                      <a:pt x="848" y="37"/>
                    </a:lnTo>
                    <a:lnTo>
                      <a:pt x="848" y="35"/>
                    </a:lnTo>
                    <a:lnTo>
                      <a:pt x="850" y="35"/>
                    </a:lnTo>
                    <a:lnTo>
                      <a:pt x="851" y="37"/>
                    </a:lnTo>
                    <a:lnTo>
                      <a:pt x="853" y="37"/>
                    </a:lnTo>
                    <a:lnTo>
                      <a:pt x="855" y="39"/>
                    </a:lnTo>
                    <a:close/>
                    <a:moveTo>
                      <a:pt x="850" y="35"/>
                    </a:moveTo>
                    <a:lnTo>
                      <a:pt x="850" y="33"/>
                    </a:lnTo>
                    <a:lnTo>
                      <a:pt x="851" y="33"/>
                    </a:lnTo>
                    <a:lnTo>
                      <a:pt x="851" y="35"/>
                    </a:lnTo>
                    <a:lnTo>
                      <a:pt x="850" y="35"/>
                    </a:lnTo>
                    <a:close/>
                    <a:moveTo>
                      <a:pt x="867" y="39"/>
                    </a:moveTo>
                    <a:lnTo>
                      <a:pt x="867" y="41"/>
                    </a:lnTo>
                    <a:lnTo>
                      <a:pt x="871" y="41"/>
                    </a:lnTo>
                    <a:lnTo>
                      <a:pt x="873" y="43"/>
                    </a:lnTo>
                    <a:lnTo>
                      <a:pt x="875" y="43"/>
                    </a:lnTo>
                    <a:lnTo>
                      <a:pt x="875" y="45"/>
                    </a:lnTo>
                    <a:lnTo>
                      <a:pt x="873" y="45"/>
                    </a:lnTo>
                    <a:lnTo>
                      <a:pt x="873" y="43"/>
                    </a:lnTo>
                    <a:lnTo>
                      <a:pt x="871" y="43"/>
                    </a:lnTo>
                    <a:lnTo>
                      <a:pt x="869" y="41"/>
                    </a:lnTo>
                    <a:lnTo>
                      <a:pt x="865" y="41"/>
                    </a:lnTo>
                    <a:lnTo>
                      <a:pt x="865" y="39"/>
                    </a:lnTo>
                    <a:lnTo>
                      <a:pt x="863" y="39"/>
                    </a:lnTo>
                    <a:lnTo>
                      <a:pt x="865" y="39"/>
                    </a:lnTo>
                    <a:lnTo>
                      <a:pt x="867" y="39"/>
                    </a:lnTo>
                    <a:close/>
                    <a:moveTo>
                      <a:pt x="838" y="27"/>
                    </a:moveTo>
                    <a:lnTo>
                      <a:pt x="836" y="27"/>
                    </a:lnTo>
                    <a:lnTo>
                      <a:pt x="838" y="27"/>
                    </a:lnTo>
                    <a:close/>
                    <a:moveTo>
                      <a:pt x="890" y="47"/>
                    </a:moveTo>
                    <a:lnTo>
                      <a:pt x="888" y="47"/>
                    </a:lnTo>
                    <a:lnTo>
                      <a:pt x="886" y="47"/>
                    </a:lnTo>
                    <a:lnTo>
                      <a:pt x="882" y="43"/>
                    </a:lnTo>
                    <a:lnTo>
                      <a:pt x="880" y="43"/>
                    </a:lnTo>
                    <a:lnTo>
                      <a:pt x="878" y="41"/>
                    </a:lnTo>
                    <a:lnTo>
                      <a:pt x="880" y="41"/>
                    </a:lnTo>
                    <a:lnTo>
                      <a:pt x="882" y="41"/>
                    </a:lnTo>
                    <a:lnTo>
                      <a:pt x="882" y="43"/>
                    </a:lnTo>
                    <a:lnTo>
                      <a:pt x="884" y="43"/>
                    </a:lnTo>
                    <a:lnTo>
                      <a:pt x="886" y="43"/>
                    </a:lnTo>
                    <a:lnTo>
                      <a:pt x="886" y="45"/>
                    </a:lnTo>
                    <a:lnTo>
                      <a:pt x="890" y="45"/>
                    </a:lnTo>
                    <a:lnTo>
                      <a:pt x="890" y="47"/>
                    </a:lnTo>
                    <a:close/>
                    <a:moveTo>
                      <a:pt x="788" y="4"/>
                    </a:moveTo>
                    <a:lnTo>
                      <a:pt x="786" y="4"/>
                    </a:lnTo>
                    <a:lnTo>
                      <a:pt x="786" y="2"/>
                    </a:lnTo>
                    <a:lnTo>
                      <a:pt x="784" y="2"/>
                    </a:lnTo>
                    <a:lnTo>
                      <a:pt x="784" y="0"/>
                    </a:lnTo>
                    <a:lnTo>
                      <a:pt x="784" y="2"/>
                    </a:lnTo>
                    <a:lnTo>
                      <a:pt x="786" y="2"/>
                    </a:lnTo>
                    <a:lnTo>
                      <a:pt x="786" y="4"/>
                    </a:lnTo>
                    <a:lnTo>
                      <a:pt x="788" y="4"/>
                    </a:lnTo>
                    <a:lnTo>
                      <a:pt x="788" y="6"/>
                    </a:lnTo>
                    <a:lnTo>
                      <a:pt x="788" y="4"/>
                    </a:lnTo>
                    <a:close/>
                    <a:moveTo>
                      <a:pt x="796" y="4"/>
                    </a:moveTo>
                    <a:lnTo>
                      <a:pt x="794" y="4"/>
                    </a:lnTo>
                    <a:lnTo>
                      <a:pt x="796" y="4"/>
                    </a:lnTo>
                    <a:close/>
                    <a:moveTo>
                      <a:pt x="853" y="23"/>
                    </a:moveTo>
                    <a:lnTo>
                      <a:pt x="855" y="23"/>
                    </a:lnTo>
                    <a:lnTo>
                      <a:pt x="855" y="25"/>
                    </a:lnTo>
                    <a:lnTo>
                      <a:pt x="855" y="23"/>
                    </a:lnTo>
                    <a:lnTo>
                      <a:pt x="853" y="23"/>
                    </a:lnTo>
                    <a:close/>
                    <a:moveTo>
                      <a:pt x="853" y="23"/>
                    </a:moveTo>
                    <a:lnTo>
                      <a:pt x="855" y="23"/>
                    </a:lnTo>
                    <a:lnTo>
                      <a:pt x="853" y="23"/>
                    </a:lnTo>
                    <a:close/>
                    <a:moveTo>
                      <a:pt x="919" y="48"/>
                    </a:moveTo>
                    <a:lnTo>
                      <a:pt x="919" y="47"/>
                    </a:lnTo>
                    <a:lnTo>
                      <a:pt x="917" y="47"/>
                    </a:lnTo>
                    <a:lnTo>
                      <a:pt x="915" y="45"/>
                    </a:lnTo>
                    <a:lnTo>
                      <a:pt x="917" y="45"/>
                    </a:lnTo>
                    <a:lnTo>
                      <a:pt x="919" y="45"/>
                    </a:lnTo>
                    <a:lnTo>
                      <a:pt x="921" y="47"/>
                    </a:lnTo>
                    <a:lnTo>
                      <a:pt x="923" y="47"/>
                    </a:lnTo>
                    <a:lnTo>
                      <a:pt x="923" y="48"/>
                    </a:lnTo>
                    <a:lnTo>
                      <a:pt x="919" y="48"/>
                    </a:lnTo>
                    <a:close/>
                    <a:moveTo>
                      <a:pt x="861" y="23"/>
                    </a:moveTo>
                    <a:lnTo>
                      <a:pt x="863" y="23"/>
                    </a:lnTo>
                    <a:lnTo>
                      <a:pt x="861" y="23"/>
                    </a:lnTo>
                    <a:lnTo>
                      <a:pt x="859" y="23"/>
                    </a:lnTo>
                    <a:lnTo>
                      <a:pt x="857" y="23"/>
                    </a:lnTo>
                    <a:lnTo>
                      <a:pt x="855" y="22"/>
                    </a:lnTo>
                    <a:lnTo>
                      <a:pt x="857" y="22"/>
                    </a:lnTo>
                    <a:lnTo>
                      <a:pt x="859" y="22"/>
                    </a:lnTo>
                    <a:lnTo>
                      <a:pt x="861" y="23"/>
                    </a:lnTo>
                    <a:close/>
                    <a:moveTo>
                      <a:pt x="865" y="23"/>
                    </a:moveTo>
                    <a:lnTo>
                      <a:pt x="863" y="23"/>
                    </a:lnTo>
                    <a:lnTo>
                      <a:pt x="865" y="23"/>
                    </a:lnTo>
                    <a:close/>
                    <a:moveTo>
                      <a:pt x="917" y="43"/>
                    </a:moveTo>
                    <a:lnTo>
                      <a:pt x="919" y="43"/>
                    </a:lnTo>
                    <a:lnTo>
                      <a:pt x="919" y="45"/>
                    </a:lnTo>
                    <a:lnTo>
                      <a:pt x="917" y="43"/>
                    </a:lnTo>
                    <a:close/>
                    <a:moveTo>
                      <a:pt x="863" y="23"/>
                    </a:moveTo>
                    <a:lnTo>
                      <a:pt x="865" y="23"/>
                    </a:lnTo>
                    <a:lnTo>
                      <a:pt x="863" y="2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13">
                <a:extLst>
                  <a:ext uri="{FF2B5EF4-FFF2-40B4-BE49-F238E27FC236}">
                    <a16:creationId xmlns="" xmlns:a16="http://schemas.microsoft.com/office/drawing/2014/main" id="{EA8EC10A-7E11-4DD4-87BC-56A78624FD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60625" y="1909763"/>
                <a:ext cx="1565275" cy="1196975"/>
              </a:xfrm>
              <a:custGeom>
                <a:avLst/>
                <a:gdLst>
                  <a:gd name="T0" fmla="*/ 58 w 986"/>
                  <a:gd name="T1" fmla="*/ 742 h 754"/>
                  <a:gd name="T2" fmla="*/ 60 w 986"/>
                  <a:gd name="T3" fmla="*/ 733 h 754"/>
                  <a:gd name="T4" fmla="*/ 77 w 986"/>
                  <a:gd name="T5" fmla="*/ 717 h 754"/>
                  <a:gd name="T6" fmla="*/ 85 w 986"/>
                  <a:gd name="T7" fmla="*/ 713 h 754"/>
                  <a:gd name="T8" fmla="*/ 87 w 986"/>
                  <a:gd name="T9" fmla="*/ 712 h 754"/>
                  <a:gd name="T10" fmla="*/ 95 w 986"/>
                  <a:gd name="T11" fmla="*/ 706 h 754"/>
                  <a:gd name="T12" fmla="*/ 97 w 986"/>
                  <a:gd name="T13" fmla="*/ 702 h 754"/>
                  <a:gd name="T14" fmla="*/ 120 w 986"/>
                  <a:gd name="T15" fmla="*/ 708 h 754"/>
                  <a:gd name="T16" fmla="*/ 118 w 986"/>
                  <a:gd name="T17" fmla="*/ 702 h 754"/>
                  <a:gd name="T18" fmla="*/ 116 w 986"/>
                  <a:gd name="T19" fmla="*/ 698 h 754"/>
                  <a:gd name="T20" fmla="*/ 100 w 986"/>
                  <a:gd name="T21" fmla="*/ 687 h 754"/>
                  <a:gd name="T22" fmla="*/ 116 w 986"/>
                  <a:gd name="T23" fmla="*/ 696 h 754"/>
                  <a:gd name="T24" fmla="*/ 112 w 986"/>
                  <a:gd name="T25" fmla="*/ 687 h 754"/>
                  <a:gd name="T26" fmla="*/ 108 w 986"/>
                  <a:gd name="T27" fmla="*/ 681 h 754"/>
                  <a:gd name="T28" fmla="*/ 104 w 986"/>
                  <a:gd name="T29" fmla="*/ 665 h 754"/>
                  <a:gd name="T30" fmla="*/ 98 w 986"/>
                  <a:gd name="T31" fmla="*/ 652 h 754"/>
                  <a:gd name="T32" fmla="*/ 97 w 986"/>
                  <a:gd name="T33" fmla="*/ 648 h 754"/>
                  <a:gd name="T34" fmla="*/ 102 w 986"/>
                  <a:gd name="T35" fmla="*/ 635 h 754"/>
                  <a:gd name="T36" fmla="*/ 102 w 986"/>
                  <a:gd name="T37" fmla="*/ 629 h 754"/>
                  <a:gd name="T38" fmla="*/ 102 w 986"/>
                  <a:gd name="T39" fmla="*/ 627 h 754"/>
                  <a:gd name="T40" fmla="*/ 102 w 986"/>
                  <a:gd name="T41" fmla="*/ 610 h 754"/>
                  <a:gd name="T42" fmla="*/ 4 w 986"/>
                  <a:gd name="T43" fmla="*/ 525 h 754"/>
                  <a:gd name="T44" fmla="*/ 18 w 986"/>
                  <a:gd name="T45" fmla="*/ 519 h 754"/>
                  <a:gd name="T46" fmla="*/ 127 w 986"/>
                  <a:gd name="T47" fmla="*/ 585 h 754"/>
                  <a:gd name="T48" fmla="*/ 112 w 986"/>
                  <a:gd name="T49" fmla="*/ 554 h 754"/>
                  <a:gd name="T50" fmla="*/ 98 w 986"/>
                  <a:gd name="T51" fmla="*/ 539 h 754"/>
                  <a:gd name="T52" fmla="*/ 100 w 986"/>
                  <a:gd name="T53" fmla="*/ 537 h 754"/>
                  <a:gd name="T54" fmla="*/ 175 w 986"/>
                  <a:gd name="T55" fmla="*/ 581 h 754"/>
                  <a:gd name="T56" fmla="*/ 106 w 986"/>
                  <a:gd name="T57" fmla="*/ 535 h 754"/>
                  <a:gd name="T58" fmla="*/ 112 w 986"/>
                  <a:gd name="T59" fmla="*/ 531 h 754"/>
                  <a:gd name="T60" fmla="*/ 110 w 986"/>
                  <a:gd name="T61" fmla="*/ 527 h 754"/>
                  <a:gd name="T62" fmla="*/ 14 w 986"/>
                  <a:gd name="T63" fmla="*/ 452 h 754"/>
                  <a:gd name="T64" fmla="*/ 18 w 986"/>
                  <a:gd name="T65" fmla="*/ 448 h 754"/>
                  <a:gd name="T66" fmla="*/ 20 w 986"/>
                  <a:gd name="T67" fmla="*/ 448 h 754"/>
                  <a:gd name="T68" fmla="*/ 243 w 986"/>
                  <a:gd name="T69" fmla="*/ 581 h 754"/>
                  <a:gd name="T70" fmla="*/ 239 w 986"/>
                  <a:gd name="T71" fmla="*/ 552 h 754"/>
                  <a:gd name="T72" fmla="*/ 233 w 986"/>
                  <a:gd name="T73" fmla="*/ 521 h 754"/>
                  <a:gd name="T74" fmla="*/ 237 w 986"/>
                  <a:gd name="T75" fmla="*/ 514 h 754"/>
                  <a:gd name="T76" fmla="*/ 223 w 986"/>
                  <a:gd name="T77" fmla="*/ 500 h 754"/>
                  <a:gd name="T78" fmla="*/ 231 w 986"/>
                  <a:gd name="T79" fmla="*/ 498 h 754"/>
                  <a:gd name="T80" fmla="*/ 235 w 986"/>
                  <a:gd name="T81" fmla="*/ 490 h 754"/>
                  <a:gd name="T82" fmla="*/ 235 w 986"/>
                  <a:gd name="T83" fmla="*/ 490 h 754"/>
                  <a:gd name="T84" fmla="*/ 231 w 986"/>
                  <a:gd name="T85" fmla="*/ 483 h 754"/>
                  <a:gd name="T86" fmla="*/ 629 w 986"/>
                  <a:gd name="T87" fmla="*/ 404 h 754"/>
                  <a:gd name="T88" fmla="*/ 615 w 986"/>
                  <a:gd name="T89" fmla="*/ 396 h 754"/>
                  <a:gd name="T90" fmla="*/ 634 w 986"/>
                  <a:gd name="T91" fmla="*/ 404 h 754"/>
                  <a:gd name="T92" fmla="*/ 646 w 986"/>
                  <a:gd name="T93" fmla="*/ 406 h 754"/>
                  <a:gd name="T94" fmla="*/ 584 w 986"/>
                  <a:gd name="T95" fmla="*/ 354 h 754"/>
                  <a:gd name="T96" fmla="*/ 586 w 986"/>
                  <a:gd name="T97" fmla="*/ 352 h 754"/>
                  <a:gd name="T98" fmla="*/ 638 w 986"/>
                  <a:gd name="T99" fmla="*/ 365 h 754"/>
                  <a:gd name="T100" fmla="*/ 573 w 986"/>
                  <a:gd name="T101" fmla="*/ 333 h 754"/>
                  <a:gd name="T102" fmla="*/ 567 w 986"/>
                  <a:gd name="T103" fmla="*/ 327 h 754"/>
                  <a:gd name="T104" fmla="*/ 561 w 986"/>
                  <a:gd name="T105" fmla="*/ 317 h 754"/>
                  <a:gd name="T106" fmla="*/ 633 w 986"/>
                  <a:gd name="T107" fmla="*/ 323 h 754"/>
                  <a:gd name="T108" fmla="*/ 581 w 986"/>
                  <a:gd name="T109" fmla="*/ 289 h 754"/>
                  <a:gd name="T110" fmla="*/ 583 w 986"/>
                  <a:gd name="T111" fmla="*/ 287 h 754"/>
                  <a:gd name="T112" fmla="*/ 650 w 986"/>
                  <a:gd name="T113" fmla="*/ 291 h 754"/>
                  <a:gd name="T114" fmla="*/ 663 w 986"/>
                  <a:gd name="T115" fmla="*/ 233 h 754"/>
                  <a:gd name="T116" fmla="*/ 715 w 986"/>
                  <a:gd name="T117" fmla="*/ 248 h 754"/>
                  <a:gd name="T118" fmla="*/ 771 w 986"/>
                  <a:gd name="T119" fmla="*/ 227 h 754"/>
                  <a:gd name="T120" fmla="*/ 767 w 986"/>
                  <a:gd name="T121" fmla="*/ 173 h 754"/>
                  <a:gd name="T122" fmla="*/ 809 w 986"/>
                  <a:gd name="T123" fmla="*/ 167 h 7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86" h="754">
                    <a:moveTo>
                      <a:pt x="43" y="754"/>
                    </a:moveTo>
                    <a:lnTo>
                      <a:pt x="43" y="752"/>
                    </a:lnTo>
                    <a:lnTo>
                      <a:pt x="43" y="754"/>
                    </a:lnTo>
                    <a:close/>
                    <a:moveTo>
                      <a:pt x="50" y="744"/>
                    </a:moveTo>
                    <a:lnTo>
                      <a:pt x="48" y="744"/>
                    </a:lnTo>
                    <a:lnTo>
                      <a:pt x="50" y="744"/>
                    </a:lnTo>
                    <a:close/>
                    <a:moveTo>
                      <a:pt x="52" y="744"/>
                    </a:moveTo>
                    <a:lnTo>
                      <a:pt x="54" y="744"/>
                    </a:lnTo>
                    <a:lnTo>
                      <a:pt x="52" y="744"/>
                    </a:lnTo>
                    <a:close/>
                    <a:moveTo>
                      <a:pt x="58" y="742"/>
                    </a:moveTo>
                    <a:lnTo>
                      <a:pt x="56" y="742"/>
                    </a:lnTo>
                    <a:lnTo>
                      <a:pt x="58" y="742"/>
                    </a:lnTo>
                    <a:close/>
                    <a:moveTo>
                      <a:pt x="60" y="735"/>
                    </a:moveTo>
                    <a:lnTo>
                      <a:pt x="58" y="735"/>
                    </a:lnTo>
                    <a:lnTo>
                      <a:pt x="60" y="735"/>
                    </a:lnTo>
                    <a:close/>
                    <a:moveTo>
                      <a:pt x="60" y="733"/>
                    </a:moveTo>
                    <a:lnTo>
                      <a:pt x="60" y="735"/>
                    </a:lnTo>
                    <a:lnTo>
                      <a:pt x="60" y="733"/>
                    </a:lnTo>
                    <a:close/>
                    <a:moveTo>
                      <a:pt x="60" y="735"/>
                    </a:moveTo>
                    <a:lnTo>
                      <a:pt x="60" y="733"/>
                    </a:lnTo>
                    <a:lnTo>
                      <a:pt x="60" y="735"/>
                    </a:lnTo>
                    <a:close/>
                    <a:moveTo>
                      <a:pt x="77" y="719"/>
                    </a:moveTo>
                    <a:lnTo>
                      <a:pt x="75" y="719"/>
                    </a:lnTo>
                    <a:lnTo>
                      <a:pt x="77" y="719"/>
                    </a:lnTo>
                    <a:close/>
                    <a:moveTo>
                      <a:pt x="77" y="719"/>
                    </a:moveTo>
                    <a:lnTo>
                      <a:pt x="77" y="717"/>
                    </a:lnTo>
                    <a:lnTo>
                      <a:pt x="77" y="719"/>
                    </a:lnTo>
                    <a:close/>
                    <a:moveTo>
                      <a:pt x="77" y="717"/>
                    </a:moveTo>
                    <a:lnTo>
                      <a:pt x="79" y="717"/>
                    </a:lnTo>
                    <a:lnTo>
                      <a:pt x="77" y="717"/>
                    </a:lnTo>
                    <a:close/>
                    <a:moveTo>
                      <a:pt x="79" y="715"/>
                    </a:moveTo>
                    <a:lnTo>
                      <a:pt x="79" y="717"/>
                    </a:lnTo>
                    <a:lnTo>
                      <a:pt x="79" y="715"/>
                    </a:lnTo>
                    <a:close/>
                    <a:moveTo>
                      <a:pt x="79" y="717"/>
                    </a:moveTo>
                    <a:lnTo>
                      <a:pt x="79" y="715"/>
                    </a:lnTo>
                    <a:lnTo>
                      <a:pt x="79" y="717"/>
                    </a:lnTo>
                    <a:close/>
                    <a:moveTo>
                      <a:pt x="81" y="713"/>
                    </a:moveTo>
                    <a:lnTo>
                      <a:pt x="81" y="712"/>
                    </a:lnTo>
                    <a:lnTo>
                      <a:pt x="81" y="713"/>
                    </a:lnTo>
                    <a:close/>
                    <a:moveTo>
                      <a:pt x="85" y="713"/>
                    </a:moveTo>
                    <a:lnTo>
                      <a:pt x="83" y="713"/>
                    </a:lnTo>
                    <a:lnTo>
                      <a:pt x="85" y="713"/>
                    </a:lnTo>
                    <a:close/>
                    <a:moveTo>
                      <a:pt x="87" y="713"/>
                    </a:moveTo>
                    <a:lnTo>
                      <a:pt x="87" y="712"/>
                    </a:lnTo>
                    <a:lnTo>
                      <a:pt x="87" y="713"/>
                    </a:lnTo>
                    <a:close/>
                    <a:moveTo>
                      <a:pt x="89" y="712"/>
                    </a:moveTo>
                    <a:lnTo>
                      <a:pt x="87" y="712"/>
                    </a:lnTo>
                    <a:lnTo>
                      <a:pt x="89" y="712"/>
                    </a:lnTo>
                    <a:close/>
                    <a:moveTo>
                      <a:pt x="87" y="710"/>
                    </a:moveTo>
                    <a:lnTo>
                      <a:pt x="87" y="712"/>
                    </a:lnTo>
                    <a:lnTo>
                      <a:pt x="87" y="710"/>
                    </a:lnTo>
                    <a:close/>
                    <a:moveTo>
                      <a:pt x="91" y="710"/>
                    </a:moveTo>
                    <a:lnTo>
                      <a:pt x="89" y="710"/>
                    </a:lnTo>
                    <a:lnTo>
                      <a:pt x="91" y="710"/>
                    </a:lnTo>
                    <a:close/>
                    <a:moveTo>
                      <a:pt x="93" y="706"/>
                    </a:moveTo>
                    <a:lnTo>
                      <a:pt x="93" y="708"/>
                    </a:lnTo>
                    <a:lnTo>
                      <a:pt x="93" y="706"/>
                    </a:lnTo>
                    <a:close/>
                    <a:moveTo>
                      <a:pt x="95" y="706"/>
                    </a:moveTo>
                    <a:lnTo>
                      <a:pt x="93" y="706"/>
                    </a:lnTo>
                    <a:lnTo>
                      <a:pt x="95" y="706"/>
                    </a:lnTo>
                    <a:close/>
                    <a:moveTo>
                      <a:pt x="95" y="706"/>
                    </a:moveTo>
                    <a:lnTo>
                      <a:pt x="93" y="706"/>
                    </a:lnTo>
                    <a:lnTo>
                      <a:pt x="95" y="706"/>
                    </a:lnTo>
                    <a:close/>
                    <a:moveTo>
                      <a:pt x="93" y="706"/>
                    </a:moveTo>
                    <a:lnTo>
                      <a:pt x="93" y="704"/>
                    </a:lnTo>
                    <a:lnTo>
                      <a:pt x="93" y="706"/>
                    </a:lnTo>
                    <a:close/>
                    <a:moveTo>
                      <a:pt x="95" y="704"/>
                    </a:moveTo>
                    <a:lnTo>
                      <a:pt x="95" y="702"/>
                    </a:lnTo>
                    <a:lnTo>
                      <a:pt x="95" y="704"/>
                    </a:lnTo>
                    <a:close/>
                    <a:moveTo>
                      <a:pt x="97" y="702"/>
                    </a:moveTo>
                    <a:lnTo>
                      <a:pt x="95" y="702"/>
                    </a:lnTo>
                    <a:lnTo>
                      <a:pt x="97" y="702"/>
                    </a:lnTo>
                    <a:close/>
                    <a:moveTo>
                      <a:pt x="120" y="712"/>
                    </a:moveTo>
                    <a:lnTo>
                      <a:pt x="120" y="713"/>
                    </a:lnTo>
                    <a:lnTo>
                      <a:pt x="118" y="712"/>
                    </a:lnTo>
                    <a:lnTo>
                      <a:pt x="120" y="712"/>
                    </a:lnTo>
                    <a:close/>
                    <a:moveTo>
                      <a:pt x="120" y="710"/>
                    </a:moveTo>
                    <a:lnTo>
                      <a:pt x="120" y="712"/>
                    </a:lnTo>
                    <a:lnTo>
                      <a:pt x="120" y="710"/>
                    </a:lnTo>
                    <a:close/>
                    <a:moveTo>
                      <a:pt x="120" y="708"/>
                    </a:moveTo>
                    <a:lnTo>
                      <a:pt x="120" y="706"/>
                    </a:lnTo>
                    <a:lnTo>
                      <a:pt x="120" y="708"/>
                    </a:lnTo>
                    <a:close/>
                    <a:moveTo>
                      <a:pt x="95" y="690"/>
                    </a:moveTo>
                    <a:lnTo>
                      <a:pt x="93" y="690"/>
                    </a:lnTo>
                    <a:lnTo>
                      <a:pt x="95" y="690"/>
                    </a:lnTo>
                    <a:close/>
                    <a:moveTo>
                      <a:pt x="118" y="702"/>
                    </a:moveTo>
                    <a:lnTo>
                      <a:pt x="118" y="704"/>
                    </a:lnTo>
                    <a:lnTo>
                      <a:pt x="118" y="702"/>
                    </a:lnTo>
                    <a:close/>
                    <a:moveTo>
                      <a:pt x="118" y="704"/>
                    </a:moveTo>
                    <a:lnTo>
                      <a:pt x="118" y="702"/>
                    </a:lnTo>
                    <a:lnTo>
                      <a:pt x="118" y="704"/>
                    </a:lnTo>
                    <a:close/>
                    <a:moveTo>
                      <a:pt x="97" y="690"/>
                    </a:moveTo>
                    <a:lnTo>
                      <a:pt x="97" y="688"/>
                    </a:lnTo>
                    <a:lnTo>
                      <a:pt x="97" y="690"/>
                    </a:lnTo>
                    <a:close/>
                    <a:moveTo>
                      <a:pt x="116" y="698"/>
                    </a:moveTo>
                    <a:lnTo>
                      <a:pt x="116" y="700"/>
                    </a:lnTo>
                    <a:lnTo>
                      <a:pt x="116" y="698"/>
                    </a:lnTo>
                    <a:close/>
                    <a:moveTo>
                      <a:pt x="116" y="698"/>
                    </a:moveTo>
                    <a:lnTo>
                      <a:pt x="116" y="700"/>
                    </a:lnTo>
                    <a:lnTo>
                      <a:pt x="116" y="698"/>
                    </a:lnTo>
                    <a:close/>
                    <a:moveTo>
                      <a:pt x="116" y="698"/>
                    </a:moveTo>
                    <a:lnTo>
                      <a:pt x="116" y="696"/>
                    </a:lnTo>
                    <a:lnTo>
                      <a:pt x="116" y="698"/>
                    </a:lnTo>
                    <a:close/>
                    <a:moveTo>
                      <a:pt x="116" y="698"/>
                    </a:moveTo>
                    <a:lnTo>
                      <a:pt x="116" y="696"/>
                    </a:lnTo>
                    <a:lnTo>
                      <a:pt x="116" y="698"/>
                    </a:lnTo>
                    <a:lnTo>
                      <a:pt x="116" y="696"/>
                    </a:lnTo>
                    <a:lnTo>
                      <a:pt x="116" y="698"/>
                    </a:lnTo>
                    <a:close/>
                    <a:moveTo>
                      <a:pt x="102" y="688"/>
                    </a:moveTo>
                    <a:lnTo>
                      <a:pt x="100" y="687"/>
                    </a:lnTo>
                    <a:lnTo>
                      <a:pt x="102" y="688"/>
                    </a:lnTo>
                    <a:close/>
                    <a:moveTo>
                      <a:pt x="116" y="694"/>
                    </a:moveTo>
                    <a:lnTo>
                      <a:pt x="116" y="696"/>
                    </a:lnTo>
                    <a:lnTo>
                      <a:pt x="116" y="694"/>
                    </a:lnTo>
                    <a:close/>
                    <a:moveTo>
                      <a:pt x="116" y="694"/>
                    </a:moveTo>
                    <a:lnTo>
                      <a:pt x="116" y="696"/>
                    </a:lnTo>
                    <a:lnTo>
                      <a:pt x="116" y="694"/>
                    </a:lnTo>
                    <a:close/>
                    <a:moveTo>
                      <a:pt x="116" y="696"/>
                    </a:moveTo>
                    <a:lnTo>
                      <a:pt x="116" y="694"/>
                    </a:lnTo>
                    <a:lnTo>
                      <a:pt x="116" y="696"/>
                    </a:lnTo>
                    <a:close/>
                    <a:moveTo>
                      <a:pt x="102" y="685"/>
                    </a:moveTo>
                    <a:lnTo>
                      <a:pt x="102" y="687"/>
                    </a:lnTo>
                    <a:lnTo>
                      <a:pt x="102" y="685"/>
                    </a:lnTo>
                    <a:close/>
                    <a:moveTo>
                      <a:pt x="114" y="692"/>
                    </a:moveTo>
                    <a:lnTo>
                      <a:pt x="116" y="692"/>
                    </a:lnTo>
                    <a:lnTo>
                      <a:pt x="114" y="692"/>
                    </a:lnTo>
                    <a:close/>
                    <a:moveTo>
                      <a:pt x="102" y="683"/>
                    </a:moveTo>
                    <a:lnTo>
                      <a:pt x="100" y="683"/>
                    </a:lnTo>
                    <a:lnTo>
                      <a:pt x="102" y="683"/>
                    </a:lnTo>
                    <a:close/>
                    <a:moveTo>
                      <a:pt x="112" y="687"/>
                    </a:moveTo>
                    <a:lnTo>
                      <a:pt x="112" y="688"/>
                    </a:lnTo>
                    <a:lnTo>
                      <a:pt x="112" y="687"/>
                    </a:lnTo>
                    <a:close/>
                    <a:moveTo>
                      <a:pt x="110" y="683"/>
                    </a:moveTo>
                    <a:lnTo>
                      <a:pt x="108" y="683"/>
                    </a:lnTo>
                    <a:lnTo>
                      <a:pt x="110" y="683"/>
                    </a:lnTo>
                    <a:close/>
                    <a:moveTo>
                      <a:pt x="108" y="681"/>
                    </a:moveTo>
                    <a:lnTo>
                      <a:pt x="110" y="681"/>
                    </a:lnTo>
                    <a:lnTo>
                      <a:pt x="108" y="681"/>
                    </a:lnTo>
                    <a:close/>
                    <a:moveTo>
                      <a:pt x="108" y="679"/>
                    </a:moveTo>
                    <a:lnTo>
                      <a:pt x="108" y="681"/>
                    </a:lnTo>
                    <a:lnTo>
                      <a:pt x="108" y="679"/>
                    </a:lnTo>
                    <a:close/>
                    <a:moveTo>
                      <a:pt x="106" y="675"/>
                    </a:moveTo>
                    <a:lnTo>
                      <a:pt x="104" y="675"/>
                    </a:lnTo>
                    <a:lnTo>
                      <a:pt x="106" y="675"/>
                    </a:lnTo>
                    <a:close/>
                    <a:moveTo>
                      <a:pt x="106" y="675"/>
                    </a:moveTo>
                    <a:lnTo>
                      <a:pt x="106" y="677"/>
                    </a:lnTo>
                    <a:lnTo>
                      <a:pt x="106" y="675"/>
                    </a:lnTo>
                    <a:close/>
                    <a:moveTo>
                      <a:pt x="104" y="665"/>
                    </a:moveTo>
                    <a:lnTo>
                      <a:pt x="102" y="665"/>
                    </a:lnTo>
                    <a:lnTo>
                      <a:pt x="104" y="665"/>
                    </a:lnTo>
                    <a:close/>
                    <a:moveTo>
                      <a:pt x="104" y="663"/>
                    </a:moveTo>
                    <a:lnTo>
                      <a:pt x="102" y="663"/>
                    </a:lnTo>
                    <a:lnTo>
                      <a:pt x="104" y="663"/>
                    </a:lnTo>
                    <a:close/>
                    <a:moveTo>
                      <a:pt x="116" y="669"/>
                    </a:moveTo>
                    <a:lnTo>
                      <a:pt x="114" y="669"/>
                    </a:lnTo>
                    <a:lnTo>
                      <a:pt x="116" y="669"/>
                    </a:lnTo>
                    <a:close/>
                    <a:moveTo>
                      <a:pt x="27" y="608"/>
                    </a:moveTo>
                    <a:lnTo>
                      <a:pt x="27" y="610"/>
                    </a:lnTo>
                    <a:lnTo>
                      <a:pt x="27" y="608"/>
                    </a:lnTo>
                    <a:close/>
                    <a:moveTo>
                      <a:pt x="98" y="652"/>
                    </a:moveTo>
                    <a:lnTo>
                      <a:pt x="98" y="650"/>
                    </a:lnTo>
                    <a:lnTo>
                      <a:pt x="98" y="652"/>
                    </a:lnTo>
                    <a:close/>
                    <a:moveTo>
                      <a:pt x="97" y="650"/>
                    </a:moveTo>
                    <a:lnTo>
                      <a:pt x="97" y="652"/>
                    </a:lnTo>
                    <a:lnTo>
                      <a:pt x="97" y="650"/>
                    </a:lnTo>
                    <a:close/>
                    <a:moveTo>
                      <a:pt x="97" y="650"/>
                    </a:moveTo>
                    <a:lnTo>
                      <a:pt x="95" y="650"/>
                    </a:lnTo>
                    <a:lnTo>
                      <a:pt x="95" y="648"/>
                    </a:lnTo>
                    <a:lnTo>
                      <a:pt x="97" y="650"/>
                    </a:lnTo>
                    <a:close/>
                    <a:moveTo>
                      <a:pt x="97" y="648"/>
                    </a:moveTo>
                    <a:lnTo>
                      <a:pt x="95" y="648"/>
                    </a:lnTo>
                    <a:lnTo>
                      <a:pt x="97" y="648"/>
                    </a:lnTo>
                    <a:close/>
                    <a:moveTo>
                      <a:pt x="95" y="646"/>
                    </a:moveTo>
                    <a:lnTo>
                      <a:pt x="97" y="646"/>
                    </a:lnTo>
                    <a:lnTo>
                      <a:pt x="95" y="646"/>
                    </a:lnTo>
                    <a:close/>
                    <a:moveTo>
                      <a:pt x="97" y="644"/>
                    </a:moveTo>
                    <a:lnTo>
                      <a:pt x="97" y="642"/>
                    </a:lnTo>
                    <a:lnTo>
                      <a:pt x="97" y="644"/>
                    </a:lnTo>
                    <a:close/>
                    <a:moveTo>
                      <a:pt x="102" y="637"/>
                    </a:moveTo>
                    <a:lnTo>
                      <a:pt x="102" y="635"/>
                    </a:lnTo>
                    <a:lnTo>
                      <a:pt x="102" y="637"/>
                    </a:lnTo>
                    <a:close/>
                    <a:moveTo>
                      <a:pt x="102" y="631"/>
                    </a:moveTo>
                    <a:lnTo>
                      <a:pt x="100" y="631"/>
                    </a:lnTo>
                    <a:lnTo>
                      <a:pt x="102" y="631"/>
                    </a:lnTo>
                    <a:close/>
                    <a:moveTo>
                      <a:pt x="100" y="631"/>
                    </a:moveTo>
                    <a:lnTo>
                      <a:pt x="100" y="629"/>
                    </a:lnTo>
                    <a:lnTo>
                      <a:pt x="100" y="631"/>
                    </a:lnTo>
                    <a:close/>
                    <a:moveTo>
                      <a:pt x="102" y="629"/>
                    </a:moveTo>
                    <a:lnTo>
                      <a:pt x="102" y="631"/>
                    </a:lnTo>
                    <a:lnTo>
                      <a:pt x="102" y="629"/>
                    </a:lnTo>
                    <a:close/>
                    <a:moveTo>
                      <a:pt x="102" y="629"/>
                    </a:moveTo>
                    <a:lnTo>
                      <a:pt x="102" y="631"/>
                    </a:lnTo>
                    <a:lnTo>
                      <a:pt x="102" y="629"/>
                    </a:lnTo>
                    <a:close/>
                    <a:moveTo>
                      <a:pt x="102" y="629"/>
                    </a:moveTo>
                    <a:lnTo>
                      <a:pt x="100" y="629"/>
                    </a:lnTo>
                    <a:lnTo>
                      <a:pt x="102" y="629"/>
                    </a:lnTo>
                    <a:close/>
                    <a:moveTo>
                      <a:pt x="100" y="629"/>
                    </a:moveTo>
                    <a:lnTo>
                      <a:pt x="100" y="627"/>
                    </a:lnTo>
                    <a:lnTo>
                      <a:pt x="100" y="629"/>
                    </a:lnTo>
                    <a:close/>
                    <a:moveTo>
                      <a:pt x="102" y="627"/>
                    </a:moveTo>
                    <a:lnTo>
                      <a:pt x="102" y="629"/>
                    </a:lnTo>
                    <a:lnTo>
                      <a:pt x="100" y="627"/>
                    </a:lnTo>
                    <a:lnTo>
                      <a:pt x="102" y="627"/>
                    </a:lnTo>
                    <a:close/>
                    <a:moveTo>
                      <a:pt x="104" y="623"/>
                    </a:moveTo>
                    <a:lnTo>
                      <a:pt x="104" y="621"/>
                    </a:lnTo>
                    <a:lnTo>
                      <a:pt x="104" y="623"/>
                    </a:lnTo>
                    <a:close/>
                    <a:moveTo>
                      <a:pt x="104" y="621"/>
                    </a:moveTo>
                    <a:lnTo>
                      <a:pt x="104" y="623"/>
                    </a:lnTo>
                    <a:lnTo>
                      <a:pt x="104" y="621"/>
                    </a:lnTo>
                    <a:close/>
                    <a:moveTo>
                      <a:pt x="102" y="610"/>
                    </a:moveTo>
                    <a:lnTo>
                      <a:pt x="100" y="610"/>
                    </a:lnTo>
                    <a:lnTo>
                      <a:pt x="100" y="608"/>
                    </a:lnTo>
                    <a:lnTo>
                      <a:pt x="100" y="610"/>
                    </a:lnTo>
                    <a:lnTo>
                      <a:pt x="102" y="610"/>
                    </a:lnTo>
                    <a:close/>
                    <a:moveTo>
                      <a:pt x="2" y="525"/>
                    </a:moveTo>
                    <a:lnTo>
                      <a:pt x="0" y="525"/>
                    </a:lnTo>
                    <a:lnTo>
                      <a:pt x="2" y="525"/>
                    </a:lnTo>
                    <a:close/>
                    <a:moveTo>
                      <a:pt x="4" y="525"/>
                    </a:moveTo>
                    <a:lnTo>
                      <a:pt x="2" y="525"/>
                    </a:lnTo>
                    <a:lnTo>
                      <a:pt x="4" y="525"/>
                    </a:lnTo>
                    <a:close/>
                    <a:moveTo>
                      <a:pt x="29" y="537"/>
                    </a:moveTo>
                    <a:lnTo>
                      <a:pt x="27" y="537"/>
                    </a:lnTo>
                    <a:lnTo>
                      <a:pt x="29" y="537"/>
                    </a:lnTo>
                    <a:close/>
                    <a:moveTo>
                      <a:pt x="27" y="537"/>
                    </a:moveTo>
                    <a:lnTo>
                      <a:pt x="27" y="535"/>
                    </a:lnTo>
                    <a:lnTo>
                      <a:pt x="27" y="537"/>
                    </a:lnTo>
                    <a:close/>
                    <a:moveTo>
                      <a:pt x="8" y="515"/>
                    </a:moveTo>
                    <a:lnTo>
                      <a:pt x="6" y="515"/>
                    </a:lnTo>
                    <a:lnTo>
                      <a:pt x="8" y="515"/>
                    </a:lnTo>
                    <a:close/>
                    <a:moveTo>
                      <a:pt x="18" y="519"/>
                    </a:moveTo>
                    <a:lnTo>
                      <a:pt x="16" y="519"/>
                    </a:lnTo>
                    <a:lnTo>
                      <a:pt x="18" y="519"/>
                    </a:lnTo>
                    <a:close/>
                    <a:moveTo>
                      <a:pt x="10" y="514"/>
                    </a:moveTo>
                    <a:lnTo>
                      <a:pt x="10" y="512"/>
                    </a:lnTo>
                    <a:lnTo>
                      <a:pt x="10" y="514"/>
                    </a:lnTo>
                    <a:close/>
                    <a:moveTo>
                      <a:pt x="35" y="529"/>
                    </a:moveTo>
                    <a:lnTo>
                      <a:pt x="35" y="531"/>
                    </a:lnTo>
                    <a:lnTo>
                      <a:pt x="35" y="529"/>
                    </a:lnTo>
                    <a:close/>
                    <a:moveTo>
                      <a:pt x="127" y="583"/>
                    </a:moveTo>
                    <a:lnTo>
                      <a:pt x="127" y="585"/>
                    </a:lnTo>
                    <a:lnTo>
                      <a:pt x="127" y="583"/>
                    </a:lnTo>
                    <a:close/>
                    <a:moveTo>
                      <a:pt x="24" y="515"/>
                    </a:moveTo>
                    <a:lnTo>
                      <a:pt x="25" y="515"/>
                    </a:lnTo>
                    <a:lnTo>
                      <a:pt x="24" y="515"/>
                    </a:lnTo>
                    <a:close/>
                    <a:moveTo>
                      <a:pt x="123" y="573"/>
                    </a:moveTo>
                    <a:lnTo>
                      <a:pt x="123" y="575"/>
                    </a:lnTo>
                    <a:lnTo>
                      <a:pt x="121" y="573"/>
                    </a:lnTo>
                    <a:lnTo>
                      <a:pt x="123" y="573"/>
                    </a:lnTo>
                    <a:close/>
                    <a:moveTo>
                      <a:pt x="112" y="556"/>
                    </a:moveTo>
                    <a:lnTo>
                      <a:pt x="112" y="554"/>
                    </a:lnTo>
                    <a:lnTo>
                      <a:pt x="112" y="556"/>
                    </a:lnTo>
                    <a:close/>
                    <a:moveTo>
                      <a:pt x="85" y="533"/>
                    </a:moveTo>
                    <a:lnTo>
                      <a:pt x="85" y="531"/>
                    </a:lnTo>
                    <a:lnTo>
                      <a:pt x="85" y="533"/>
                    </a:lnTo>
                    <a:close/>
                    <a:moveTo>
                      <a:pt x="100" y="539"/>
                    </a:moveTo>
                    <a:lnTo>
                      <a:pt x="98" y="539"/>
                    </a:lnTo>
                    <a:lnTo>
                      <a:pt x="100" y="539"/>
                    </a:lnTo>
                    <a:close/>
                    <a:moveTo>
                      <a:pt x="98" y="539"/>
                    </a:moveTo>
                    <a:lnTo>
                      <a:pt x="100" y="539"/>
                    </a:lnTo>
                    <a:lnTo>
                      <a:pt x="98" y="539"/>
                    </a:lnTo>
                    <a:close/>
                    <a:moveTo>
                      <a:pt x="104" y="540"/>
                    </a:moveTo>
                    <a:lnTo>
                      <a:pt x="102" y="540"/>
                    </a:lnTo>
                    <a:lnTo>
                      <a:pt x="104" y="540"/>
                    </a:lnTo>
                    <a:close/>
                    <a:moveTo>
                      <a:pt x="110" y="544"/>
                    </a:moveTo>
                    <a:lnTo>
                      <a:pt x="108" y="544"/>
                    </a:lnTo>
                    <a:lnTo>
                      <a:pt x="110" y="544"/>
                    </a:lnTo>
                    <a:close/>
                    <a:moveTo>
                      <a:pt x="100" y="539"/>
                    </a:moveTo>
                    <a:lnTo>
                      <a:pt x="98" y="539"/>
                    </a:lnTo>
                    <a:lnTo>
                      <a:pt x="100" y="539"/>
                    </a:lnTo>
                    <a:close/>
                    <a:moveTo>
                      <a:pt x="100" y="537"/>
                    </a:moveTo>
                    <a:lnTo>
                      <a:pt x="100" y="539"/>
                    </a:lnTo>
                    <a:lnTo>
                      <a:pt x="100" y="537"/>
                    </a:lnTo>
                    <a:close/>
                    <a:moveTo>
                      <a:pt x="95" y="533"/>
                    </a:moveTo>
                    <a:lnTo>
                      <a:pt x="95" y="535"/>
                    </a:lnTo>
                    <a:lnTo>
                      <a:pt x="95" y="533"/>
                    </a:lnTo>
                    <a:close/>
                    <a:moveTo>
                      <a:pt x="175" y="583"/>
                    </a:moveTo>
                    <a:lnTo>
                      <a:pt x="175" y="581"/>
                    </a:lnTo>
                    <a:lnTo>
                      <a:pt x="175" y="583"/>
                    </a:lnTo>
                    <a:close/>
                    <a:moveTo>
                      <a:pt x="177" y="581"/>
                    </a:moveTo>
                    <a:lnTo>
                      <a:pt x="175" y="581"/>
                    </a:lnTo>
                    <a:lnTo>
                      <a:pt x="177" y="581"/>
                    </a:lnTo>
                    <a:close/>
                    <a:moveTo>
                      <a:pt x="95" y="533"/>
                    </a:moveTo>
                    <a:lnTo>
                      <a:pt x="95" y="531"/>
                    </a:lnTo>
                    <a:lnTo>
                      <a:pt x="95" y="533"/>
                    </a:lnTo>
                    <a:close/>
                    <a:moveTo>
                      <a:pt x="106" y="537"/>
                    </a:moveTo>
                    <a:lnTo>
                      <a:pt x="104" y="537"/>
                    </a:lnTo>
                    <a:lnTo>
                      <a:pt x="106" y="537"/>
                    </a:lnTo>
                    <a:close/>
                    <a:moveTo>
                      <a:pt x="106" y="535"/>
                    </a:moveTo>
                    <a:lnTo>
                      <a:pt x="106" y="537"/>
                    </a:lnTo>
                    <a:lnTo>
                      <a:pt x="106" y="535"/>
                    </a:lnTo>
                    <a:close/>
                    <a:moveTo>
                      <a:pt x="102" y="533"/>
                    </a:moveTo>
                    <a:lnTo>
                      <a:pt x="102" y="531"/>
                    </a:lnTo>
                    <a:lnTo>
                      <a:pt x="102" y="533"/>
                    </a:lnTo>
                    <a:close/>
                    <a:moveTo>
                      <a:pt x="112" y="533"/>
                    </a:moveTo>
                    <a:lnTo>
                      <a:pt x="112" y="535"/>
                    </a:lnTo>
                    <a:lnTo>
                      <a:pt x="112" y="533"/>
                    </a:lnTo>
                    <a:close/>
                    <a:moveTo>
                      <a:pt x="112" y="533"/>
                    </a:moveTo>
                    <a:lnTo>
                      <a:pt x="110" y="533"/>
                    </a:lnTo>
                    <a:lnTo>
                      <a:pt x="112" y="533"/>
                    </a:lnTo>
                    <a:close/>
                    <a:moveTo>
                      <a:pt x="112" y="531"/>
                    </a:moveTo>
                    <a:lnTo>
                      <a:pt x="110" y="531"/>
                    </a:lnTo>
                    <a:lnTo>
                      <a:pt x="112" y="531"/>
                    </a:lnTo>
                    <a:close/>
                    <a:moveTo>
                      <a:pt x="110" y="529"/>
                    </a:moveTo>
                    <a:lnTo>
                      <a:pt x="108" y="529"/>
                    </a:lnTo>
                    <a:lnTo>
                      <a:pt x="110" y="529"/>
                    </a:lnTo>
                    <a:close/>
                    <a:moveTo>
                      <a:pt x="110" y="529"/>
                    </a:moveTo>
                    <a:lnTo>
                      <a:pt x="110" y="527"/>
                    </a:lnTo>
                    <a:lnTo>
                      <a:pt x="110" y="529"/>
                    </a:lnTo>
                    <a:close/>
                    <a:moveTo>
                      <a:pt x="112" y="527"/>
                    </a:moveTo>
                    <a:lnTo>
                      <a:pt x="110" y="527"/>
                    </a:lnTo>
                    <a:lnTo>
                      <a:pt x="112" y="527"/>
                    </a:lnTo>
                    <a:lnTo>
                      <a:pt x="110" y="527"/>
                    </a:lnTo>
                    <a:lnTo>
                      <a:pt x="112" y="527"/>
                    </a:lnTo>
                    <a:close/>
                    <a:moveTo>
                      <a:pt x="33" y="469"/>
                    </a:moveTo>
                    <a:lnTo>
                      <a:pt x="33" y="467"/>
                    </a:lnTo>
                    <a:lnTo>
                      <a:pt x="33" y="469"/>
                    </a:lnTo>
                    <a:close/>
                    <a:moveTo>
                      <a:pt x="31" y="467"/>
                    </a:moveTo>
                    <a:lnTo>
                      <a:pt x="31" y="465"/>
                    </a:lnTo>
                    <a:lnTo>
                      <a:pt x="31" y="467"/>
                    </a:lnTo>
                    <a:close/>
                    <a:moveTo>
                      <a:pt x="14" y="452"/>
                    </a:moveTo>
                    <a:lnTo>
                      <a:pt x="14" y="450"/>
                    </a:lnTo>
                    <a:lnTo>
                      <a:pt x="14" y="452"/>
                    </a:lnTo>
                    <a:close/>
                    <a:moveTo>
                      <a:pt x="116" y="515"/>
                    </a:moveTo>
                    <a:lnTo>
                      <a:pt x="116" y="514"/>
                    </a:lnTo>
                    <a:lnTo>
                      <a:pt x="116" y="515"/>
                    </a:lnTo>
                    <a:close/>
                    <a:moveTo>
                      <a:pt x="18" y="448"/>
                    </a:moveTo>
                    <a:lnTo>
                      <a:pt x="18" y="450"/>
                    </a:lnTo>
                    <a:lnTo>
                      <a:pt x="18" y="448"/>
                    </a:lnTo>
                    <a:lnTo>
                      <a:pt x="18" y="450"/>
                    </a:lnTo>
                    <a:lnTo>
                      <a:pt x="18" y="448"/>
                    </a:lnTo>
                    <a:close/>
                    <a:moveTo>
                      <a:pt x="20" y="450"/>
                    </a:moveTo>
                    <a:lnTo>
                      <a:pt x="18" y="450"/>
                    </a:lnTo>
                    <a:lnTo>
                      <a:pt x="20" y="450"/>
                    </a:lnTo>
                    <a:close/>
                    <a:moveTo>
                      <a:pt x="18" y="450"/>
                    </a:moveTo>
                    <a:lnTo>
                      <a:pt x="18" y="448"/>
                    </a:lnTo>
                    <a:lnTo>
                      <a:pt x="18" y="450"/>
                    </a:lnTo>
                    <a:close/>
                    <a:moveTo>
                      <a:pt x="20" y="450"/>
                    </a:moveTo>
                    <a:lnTo>
                      <a:pt x="20" y="448"/>
                    </a:lnTo>
                    <a:lnTo>
                      <a:pt x="20" y="450"/>
                    </a:lnTo>
                    <a:close/>
                    <a:moveTo>
                      <a:pt x="20" y="448"/>
                    </a:moveTo>
                    <a:lnTo>
                      <a:pt x="20" y="446"/>
                    </a:lnTo>
                    <a:lnTo>
                      <a:pt x="20" y="448"/>
                    </a:lnTo>
                    <a:close/>
                    <a:moveTo>
                      <a:pt x="20" y="446"/>
                    </a:moveTo>
                    <a:lnTo>
                      <a:pt x="20" y="448"/>
                    </a:lnTo>
                    <a:lnTo>
                      <a:pt x="20" y="446"/>
                    </a:lnTo>
                    <a:close/>
                    <a:moveTo>
                      <a:pt x="244" y="581"/>
                    </a:moveTo>
                    <a:lnTo>
                      <a:pt x="243" y="581"/>
                    </a:lnTo>
                    <a:lnTo>
                      <a:pt x="244" y="581"/>
                    </a:lnTo>
                    <a:close/>
                    <a:moveTo>
                      <a:pt x="244" y="581"/>
                    </a:moveTo>
                    <a:lnTo>
                      <a:pt x="243" y="581"/>
                    </a:lnTo>
                    <a:lnTo>
                      <a:pt x="244" y="581"/>
                    </a:lnTo>
                    <a:close/>
                    <a:moveTo>
                      <a:pt x="241" y="560"/>
                    </a:moveTo>
                    <a:lnTo>
                      <a:pt x="239" y="560"/>
                    </a:lnTo>
                    <a:lnTo>
                      <a:pt x="241" y="560"/>
                    </a:lnTo>
                    <a:close/>
                    <a:moveTo>
                      <a:pt x="241" y="556"/>
                    </a:moveTo>
                    <a:lnTo>
                      <a:pt x="239" y="556"/>
                    </a:lnTo>
                    <a:lnTo>
                      <a:pt x="241" y="556"/>
                    </a:lnTo>
                    <a:close/>
                    <a:moveTo>
                      <a:pt x="239" y="552"/>
                    </a:moveTo>
                    <a:lnTo>
                      <a:pt x="237" y="550"/>
                    </a:lnTo>
                    <a:lnTo>
                      <a:pt x="239" y="552"/>
                    </a:lnTo>
                    <a:close/>
                    <a:moveTo>
                      <a:pt x="231" y="535"/>
                    </a:moveTo>
                    <a:lnTo>
                      <a:pt x="231" y="533"/>
                    </a:lnTo>
                    <a:lnTo>
                      <a:pt x="231" y="535"/>
                    </a:lnTo>
                    <a:close/>
                    <a:moveTo>
                      <a:pt x="231" y="533"/>
                    </a:moveTo>
                    <a:lnTo>
                      <a:pt x="231" y="535"/>
                    </a:lnTo>
                    <a:lnTo>
                      <a:pt x="231" y="533"/>
                    </a:lnTo>
                    <a:close/>
                    <a:moveTo>
                      <a:pt x="233" y="529"/>
                    </a:moveTo>
                    <a:lnTo>
                      <a:pt x="233" y="527"/>
                    </a:lnTo>
                    <a:lnTo>
                      <a:pt x="233" y="529"/>
                    </a:lnTo>
                    <a:close/>
                    <a:moveTo>
                      <a:pt x="233" y="521"/>
                    </a:moveTo>
                    <a:lnTo>
                      <a:pt x="233" y="523"/>
                    </a:lnTo>
                    <a:lnTo>
                      <a:pt x="233" y="521"/>
                    </a:lnTo>
                    <a:close/>
                    <a:moveTo>
                      <a:pt x="235" y="521"/>
                    </a:moveTo>
                    <a:lnTo>
                      <a:pt x="233" y="521"/>
                    </a:lnTo>
                    <a:lnTo>
                      <a:pt x="235" y="521"/>
                    </a:lnTo>
                    <a:close/>
                    <a:moveTo>
                      <a:pt x="223" y="506"/>
                    </a:moveTo>
                    <a:lnTo>
                      <a:pt x="221" y="506"/>
                    </a:lnTo>
                    <a:lnTo>
                      <a:pt x="223" y="506"/>
                    </a:lnTo>
                    <a:close/>
                    <a:moveTo>
                      <a:pt x="239" y="514"/>
                    </a:moveTo>
                    <a:lnTo>
                      <a:pt x="237" y="514"/>
                    </a:lnTo>
                    <a:lnTo>
                      <a:pt x="239" y="514"/>
                    </a:lnTo>
                    <a:close/>
                    <a:moveTo>
                      <a:pt x="239" y="512"/>
                    </a:moveTo>
                    <a:lnTo>
                      <a:pt x="239" y="514"/>
                    </a:lnTo>
                    <a:lnTo>
                      <a:pt x="239" y="512"/>
                    </a:lnTo>
                    <a:close/>
                    <a:moveTo>
                      <a:pt x="239" y="512"/>
                    </a:moveTo>
                    <a:lnTo>
                      <a:pt x="239" y="514"/>
                    </a:lnTo>
                    <a:lnTo>
                      <a:pt x="239" y="512"/>
                    </a:lnTo>
                    <a:close/>
                    <a:moveTo>
                      <a:pt x="223" y="500"/>
                    </a:moveTo>
                    <a:lnTo>
                      <a:pt x="221" y="500"/>
                    </a:lnTo>
                    <a:lnTo>
                      <a:pt x="223" y="500"/>
                    </a:lnTo>
                    <a:close/>
                    <a:moveTo>
                      <a:pt x="241" y="510"/>
                    </a:moveTo>
                    <a:lnTo>
                      <a:pt x="239" y="510"/>
                    </a:lnTo>
                    <a:lnTo>
                      <a:pt x="241" y="510"/>
                    </a:lnTo>
                    <a:close/>
                    <a:moveTo>
                      <a:pt x="237" y="508"/>
                    </a:moveTo>
                    <a:lnTo>
                      <a:pt x="239" y="508"/>
                    </a:lnTo>
                    <a:lnTo>
                      <a:pt x="237" y="508"/>
                    </a:lnTo>
                    <a:close/>
                    <a:moveTo>
                      <a:pt x="223" y="500"/>
                    </a:moveTo>
                    <a:lnTo>
                      <a:pt x="225" y="500"/>
                    </a:lnTo>
                    <a:lnTo>
                      <a:pt x="223" y="500"/>
                    </a:lnTo>
                    <a:close/>
                    <a:moveTo>
                      <a:pt x="231" y="498"/>
                    </a:moveTo>
                    <a:lnTo>
                      <a:pt x="229" y="498"/>
                    </a:lnTo>
                    <a:lnTo>
                      <a:pt x="231" y="498"/>
                    </a:lnTo>
                    <a:close/>
                    <a:moveTo>
                      <a:pt x="235" y="500"/>
                    </a:moveTo>
                    <a:lnTo>
                      <a:pt x="233" y="500"/>
                    </a:lnTo>
                    <a:lnTo>
                      <a:pt x="235" y="500"/>
                    </a:lnTo>
                    <a:close/>
                    <a:moveTo>
                      <a:pt x="243" y="504"/>
                    </a:moveTo>
                    <a:lnTo>
                      <a:pt x="243" y="502"/>
                    </a:lnTo>
                    <a:lnTo>
                      <a:pt x="243" y="504"/>
                    </a:lnTo>
                    <a:close/>
                    <a:moveTo>
                      <a:pt x="233" y="490"/>
                    </a:moveTo>
                    <a:lnTo>
                      <a:pt x="235" y="490"/>
                    </a:lnTo>
                    <a:lnTo>
                      <a:pt x="233" y="490"/>
                    </a:lnTo>
                    <a:close/>
                    <a:moveTo>
                      <a:pt x="235" y="490"/>
                    </a:moveTo>
                    <a:lnTo>
                      <a:pt x="233" y="490"/>
                    </a:lnTo>
                    <a:lnTo>
                      <a:pt x="235" y="490"/>
                    </a:lnTo>
                    <a:close/>
                    <a:moveTo>
                      <a:pt x="231" y="489"/>
                    </a:moveTo>
                    <a:lnTo>
                      <a:pt x="229" y="489"/>
                    </a:lnTo>
                    <a:lnTo>
                      <a:pt x="231" y="489"/>
                    </a:lnTo>
                    <a:close/>
                    <a:moveTo>
                      <a:pt x="235" y="490"/>
                    </a:moveTo>
                    <a:lnTo>
                      <a:pt x="233" y="490"/>
                    </a:lnTo>
                    <a:lnTo>
                      <a:pt x="235" y="490"/>
                    </a:lnTo>
                    <a:close/>
                    <a:moveTo>
                      <a:pt x="229" y="489"/>
                    </a:moveTo>
                    <a:lnTo>
                      <a:pt x="231" y="489"/>
                    </a:lnTo>
                    <a:lnTo>
                      <a:pt x="229" y="489"/>
                    </a:lnTo>
                    <a:close/>
                    <a:moveTo>
                      <a:pt x="231" y="489"/>
                    </a:moveTo>
                    <a:lnTo>
                      <a:pt x="231" y="487"/>
                    </a:lnTo>
                    <a:lnTo>
                      <a:pt x="231" y="489"/>
                    </a:lnTo>
                    <a:close/>
                    <a:moveTo>
                      <a:pt x="216" y="475"/>
                    </a:moveTo>
                    <a:lnTo>
                      <a:pt x="218" y="475"/>
                    </a:lnTo>
                    <a:lnTo>
                      <a:pt x="216" y="475"/>
                    </a:lnTo>
                    <a:close/>
                    <a:moveTo>
                      <a:pt x="231" y="483"/>
                    </a:moveTo>
                    <a:lnTo>
                      <a:pt x="229" y="483"/>
                    </a:lnTo>
                    <a:lnTo>
                      <a:pt x="231" y="483"/>
                    </a:lnTo>
                    <a:close/>
                    <a:moveTo>
                      <a:pt x="636" y="412"/>
                    </a:moveTo>
                    <a:lnTo>
                      <a:pt x="636" y="410"/>
                    </a:lnTo>
                    <a:lnTo>
                      <a:pt x="638" y="412"/>
                    </a:lnTo>
                    <a:lnTo>
                      <a:pt x="636" y="412"/>
                    </a:lnTo>
                    <a:close/>
                    <a:moveTo>
                      <a:pt x="631" y="406"/>
                    </a:moveTo>
                    <a:lnTo>
                      <a:pt x="629" y="406"/>
                    </a:lnTo>
                    <a:lnTo>
                      <a:pt x="631" y="406"/>
                    </a:lnTo>
                    <a:close/>
                    <a:moveTo>
                      <a:pt x="629" y="404"/>
                    </a:moveTo>
                    <a:lnTo>
                      <a:pt x="629" y="402"/>
                    </a:lnTo>
                    <a:lnTo>
                      <a:pt x="629" y="404"/>
                    </a:lnTo>
                    <a:close/>
                    <a:moveTo>
                      <a:pt x="613" y="396"/>
                    </a:moveTo>
                    <a:lnTo>
                      <a:pt x="615" y="398"/>
                    </a:lnTo>
                    <a:lnTo>
                      <a:pt x="613" y="398"/>
                    </a:lnTo>
                    <a:lnTo>
                      <a:pt x="613" y="396"/>
                    </a:lnTo>
                    <a:close/>
                    <a:moveTo>
                      <a:pt x="615" y="396"/>
                    </a:moveTo>
                    <a:lnTo>
                      <a:pt x="613" y="396"/>
                    </a:lnTo>
                    <a:lnTo>
                      <a:pt x="615" y="396"/>
                    </a:lnTo>
                    <a:close/>
                    <a:moveTo>
                      <a:pt x="615" y="396"/>
                    </a:moveTo>
                    <a:lnTo>
                      <a:pt x="613" y="396"/>
                    </a:lnTo>
                    <a:lnTo>
                      <a:pt x="615" y="396"/>
                    </a:lnTo>
                    <a:close/>
                    <a:moveTo>
                      <a:pt x="640" y="408"/>
                    </a:moveTo>
                    <a:lnTo>
                      <a:pt x="640" y="406"/>
                    </a:lnTo>
                    <a:lnTo>
                      <a:pt x="640" y="408"/>
                    </a:lnTo>
                    <a:close/>
                    <a:moveTo>
                      <a:pt x="638" y="406"/>
                    </a:moveTo>
                    <a:lnTo>
                      <a:pt x="638" y="404"/>
                    </a:lnTo>
                    <a:lnTo>
                      <a:pt x="638" y="406"/>
                    </a:lnTo>
                    <a:close/>
                    <a:moveTo>
                      <a:pt x="636" y="404"/>
                    </a:moveTo>
                    <a:lnTo>
                      <a:pt x="634" y="404"/>
                    </a:lnTo>
                    <a:lnTo>
                      <a:pt x="636" y="404"/>
                    </a:lnTo>
                    <a:close/>
                    <a:moveTo>
                      <a:pt x="621" y="398"/>
                    </a:moveTo>
                    <a:lnTo>
                      <a:pt x="621" y="396"/>
                    </a:lnTo>
                    <a:lnTo>
                      <a:pt x="621" y="398"/>
                    </a:lnTo>
                    <a:close/>
                    <a:moveTo>
                      <a:pt x="636" y="404"/>
                    </a:moveTo>
                    <a:lnTo>
                      <a:pt x="634" y="404"/>
                    </a:lnTo>
                    <a:lnTo>
                      <a:pt x="636" y="404"/>
                    </a:lnTo>
                    <a:close/>
                    <a:moveTo>
                      <a:pt x="646" y="406"/>
                    </a:moveTo>
                    <a:lnTo>
                      <a:pt x="644" y="406"/>
                    </a:lnTo>
                    <a:lnTo>
                      <a:pt x="646" y="406"/>
                    </a:lnTo>
                    <a:close/>
                    <a:moveTo>
                      <a:pt x="613" y="392"/>
                    </a:moveTo>
                    <a:lnTo>
                      <a:pt x="615" y="394"/>
                    </a:lnTo>
                    <a:lnTo>
                      <a:pt x="613" y="392"/>
                    </a:lnTo>
                    <a:close/>
                    <a:moveTo>
                      <a:pt x="633" y="396"/>
                    </a:moveTo>
                    <a:lnTo>
                      <a:pt x="631" y="396"/>
                    </a:lnTo>
                    <a:lnTo>
                      <a:pt x="633" y="396"/>
                    </a:lnTo>
                    <a:close/>
                    <a:moveTo>
                      <a:pt x="606" y="383"/>
                    </a:moveTo>
                    <a:lnTo>
                      <a:pt x="606" y="381"/>
                    </a:lnTo>
                    <a:lnTo>
                      <a:pt x="606" y="383"/>
                    </a:lnTo>
                    <a:close/>
                    <a:moveTo>
                      <a:pt x="584" y="354"/>
                    </a:moveTo>
                    <a:lnTo>
                      <a:pt x="583" y="354"/>
                    </a:lnTo>
                    <a:lnTo>
                      <a:pt x="584" y="354"/>
                    </a:lnTo>
                    <a:close/>
                    <a:moveTo>
                      <a:pt x="586" y="354"/>
                    </a:moveTo>
                    <a:lnTo>
                      <a:pt x="584" y="354"/>
                    </a:lnTo>
                    <a:lnTo>
                      <a:pt x="586" y="354"/>
                    </a:lnTo>
                    <a:close/>
                    <a:moveTo>
                      <a:pt x="592" y="356"/>
                    </a:moveTo>
                    <a:lnTo>
                      <a:pt x="590" y="356"/>
                    </a:lnTo>
                    <a:lnTo>
                      <a:pt x="592" y="356"/>
                    </a:lnTo>
                    <a:close/>
                    <a:moveTo>
                      <a:pt x="588" y="352"/>
                    </a:moveTo>
                    <a:lnTo>
                      <a:pt x="586" y="352"/>
                    </a:lnTo>
                    <a:lnTo>
                      <a:pt x="588" y="352"/>
                    </a:lnTo>
                    <a:close/>
                    <a:moveTo>
                      <a:pt x="583" y="350"/>
                    </a:moveTo>
                    <a:lnTo>
                      <a:pt x="583" y="348"/>
                    </a:lnTo>
                    <a:lnTo>
                      <a:pt x="583" y="350"/>
                    </a:lnTo>
                    <a:close/>
                    <a:moveTo>
                      <a:pt x="575" y="339"/>
                    </a:moveTo>
                    <a:lnTo>
                      <a:pt x="575" y="337"/>
                    </a:lnTo>
                    <a:lnTo>
                      <a:pt x="575" y="339"/>
                    </a:lnTo>
                    <a:close/>
                    <a:moveTo>
                      <a:pt x="638" y="365"/>
                    </a:moveTo>
                    <a:lnTo>
                      <a:pt x="638" y="364"/>
                    </a:lnTo>
                    <a:lnTo>
                      <a:pt x="638" y="365"/>
                    </a:lnTo>
                    <a:close/>
                    <a:moveTo>
                      <a:pt x="581" y="339"/>
                    </a:moveTo>
                    <a:lnTo>
                      <a:pt x="583" y="339"/>
                    </a:lnTo>
                    <a:lnTo>
                      <a:pt x="581" y="339"/>
                    </a:lnTo>
                    <a:close/>
                    <a:moveTo>
                      <a:pt x="581" y="337"/>
                    </a:moveTo>
                    <a:lnTo>
                      <a:pt x="579" y="337"/>
                    </a:lnTo>
                    <a:lnTo>
                      <a:pt x="581" y="337"/>
                    </a:lnTo>
                    <a:close/>
                    <a:moveTo>
                      <a:pt x="638" y="364"/>
                    </a:moveTo>
                    <a:lnTo>
                      <a:pt x="638" y="362"/>
                    </a:lnTo>
                    <a:lnTo>
                      <a:pt x="638" y="364"/>
                    </a:lnTo>
                    <a:close/>
                    <a:moveTo>
                      <a:pt x="573" y="333"/>
                    </a:moveTo>
                    <a:lnTo>
                      <a:pt x="571" y="333"/>
                    </a:lnTo>
                    <a:lnTo>
                      <a:pt x="573" y="333"/>
                    </a:lnTo>
                    <a:close/>
                    <a:moveTo>
                      <a:pt x="577" y="333"/>
                    </a:moveTo>
                    <a:lnTo>
                      <a:pt x="575" y="333"/>
                    </a:lnTo>
                    <a:lnTo>
                      <a:pt x="577" y="333"/>
                    </a:lnTo>
                    <a:close/>
                    <a:moveTo>
                      <a:pt x="577" y="333"/>
                    </a:moveTo>
                    <a:lnTo>
                      <a:pt x="577" y="331"/>
                    </a:lnTo>
                    <a:lnTo>
                      <a:pt x="577" y="333"/>
                    </a:lnTo>
                    <a:close/>
                    <a:moveTo>
                      <a:pt x="569" y="327"/>
                    </a:moveTo>
                    <a:lnTo>
                      <a:pt x="567" y="327"/>
                    </a:lnTo>
                    <a:lnTo>
                      <a:pt x="569" y="327"/>
                    </a:lnTo>
                    <a:close/>
                    <a:moveTo>
                      <a:pt x="583" y="331"/>
                    </a:moveTo>
                    <a:lnTo>
                      <a:pt x="583" y="329"/>
                    </a:lnTo>
                    <a:lnTo>
                      <a:pt x="583" y="331"/>
                    </a:lnTo>
                    <a:close/>
                    <a:moveTo>
                      <a:pt x="584" y="331"/>
                    </a:moveTo>
                    <a:lnTo>
                      <a:pt x="584" y="329"/>
                    </a:lnTo>
                    <a:lnTo>
                      <a:pt x="584" y="331"/>
                    </a:lnTo>
                    <a:close/>
                    <a:moveTo>
                      <a:pt x="561" y="317"/>
                    </a:moveTo>
                    <a:lnTo>
                      <a:pt x="560" y="317"/>
                    </a:lnTo>
                    <a:lnTo>
                      <a:pt x="561" y="317"/>
                    </a:lnTo>
                    <a:close/>
                    <a:moveTo>
                      <a:pt x="571" y="323"/>
                    </a:moveTo>
                    <a:lnTo>
                      <a:pt x="571" y="321"/>
                    </a:lnTo>
                    <a:lnTo>
                      <a:pt x="571" y="323"/>
                    </a:lnTo>
                    <a:close/>
                    <a:moveTo>
                      <a:pt x="571" y="319"/>
                    </a:moveTo>
                    <a:lnTo>
                      <a:pt x="571" y="321"/>
                    </a:lnTo>
                    <a:lnTo>
                      <a:pt x="571" y="319"/>
                    </a:lnTo>
                    <a:close/>
                    <a:moveTo>
                      <a:pt x="638" y="340"/>
                    </a:moveTo>
                    <a:lnTo>
                      <a:pt x="636" y="340"/>
                    </a:lnTo>
                    <a:lnTo>
                      <a:pt x="638" y="340"/>
                    </a:lnTo>
                    <a:close/>
                    <a:moveTo>
                      <a:pt x="633" y="323"/>
                    </a:moveTo>
                    <a:lnTo>
                      <a:pt x="631" y="321"/>
                    </a:lnTo>
                    <a:lnTo>
                      <a:pt x="633" y="323"/>
                    </a:lnTo>
                    <a:close/>
                    <a:moveTo>
                      <a:pt x="579" y="289"/>
                    </a:moveTo>
                    <a:lnTo>
                      <a:pt x="577" y="289"/>
                    </a:lnTo>
                    <a:lnTo>
                      <a:pt x="579" y="289"/>
                    </a:lnTo>
                    <a:close/>
                    <a:moveTo>
                      <a:pt x="579" y="291"/>
                    </a:moveTo>
                    <a:lnTo>
                      <a:pt x="579" y="289"/>
                    </a:lnTo>
                    <a:lnTo>
                      <a:pt x="579" y="291"/>
                    </a:lnTo>
                    <a:close/>
                    <a:moveTo>
                      <a:pt x="581" y="291"/>
                    </a:moveTo>
                    <a:lnTo>
                      <a:pt x="581" y="289"/>
                    </a:lnTo>
                    <a:lnTo>
                      <a:pt x="581" y="291"/>
                    </a:lnTo>
                    <a:close/>
                    <a:moveTo>
                      <a:pt x="573" y="285"/>
                    </a:moveTo>
                    <a:lnTo>
                      <a:pt x="575" y="285"/>
                    </a:lnTo>
                    <a:lnTo>
                      <a:pt x="573" y="285"/>
                    </a:lnTo>
                    <a:close/>
                    <a:moveTo>
                      <a:pt x="584" y="289"/>
                    </a:moveTo>
                    <a:lnTo>
                      <a:pt x="583" y="289"/>
                    </a:lnTo>
                    <a:lnTo>
                      <a:pt x="584" y="289"/>
                    </a:lnTo>
                    <a:close/>
                    <a:moveTo>
                      <a:pt x="583" y="287"/>
                    </a:moveTo>
                    <a:lnTo>
                      <a:pt x="583" y="289"/>
                    </a:lnTo>
                    <a:lnTo>
                      <a:pt x="583" y="287"/>
                    </a:lnTo>
                    <a:close/>
                    <a:moveTo>
                      <a:pt x="581" y="287"/>
                    </a:moveTo>
                    <a:lnTo>
                      <a:pt x="581" y="285"/>
                    </a:lnTo>
                    <a:lnTo>
                      <a:pt x="581" y="287"/>
                    </a:lnTo>
                    <a:close/>
                    <a:moveTo>
                      <a:pt x="590" y="277"/>
                    </a:moveTo>
                    <a:lnTo>
                      <a:pt x="588" y="277"/>
                    </a:lnTo>
                    <a:lnTo>
                      <a:pt x="590" y="277"/>
                    </a:lnTo>
                    <a:close/>
                    <a:moveTo>
                      <a:pt x="650" y="291"/>
                    </a:moveTo>
                    <a:lnTo>
                      <a:pt x="650" y="292"/>
                    </a:lnTo>
                    <a:lnTo>
                      <a:pt x="650" y="291"/>
                    </a:lnTo>
                    <a:close/>
                    <a:moveTo>
                      <a:pt x="650" y="291"/>
                    </a:moveTo>
                    <a:lnTo>
                      <a:pt x="648" y="291"/>
                    </a:lnTo>
                    <a:lnTo>
                      <a:pt x="650" y="291"/>
                    </a:lnTo>
                    <a:close/>
                    <a:moveTo>
                      <a:pt x="600" y="266"/>
                    </a:moveTo>
                    <a:lnTo>
                      <a:pt x="598" y="266"/>
                    </a:lnTo>
                    <a:lnTo>
                      <a:pt x="600" y="266"/>
                    </a:lnTo>
                    <a:close/>
                    <a:moveTo>
                      <a:pt x="671" y="277"/>
                    </a:moveTo>
                    <a:lnTo>
                      <a:pt x="669" y="277"/>
                    </a:lnTo>
                    <a:lnTo>
                      <a:pt x="671" y="277"/>
                    </a:lnTo>
                    <a:close/>
                    <a:moveTo>
                      <a:pt x="661" y="233"/>
                    </a:moveTo>
                    <a:lnTo>
                      <a:pt x="663" y="233"/>
                    </a:lnTo>
                    <a:lnTo>
                      <a:pt x="661" y="233"/>
                    </a:lnTo>
                    <a:close/>
                    <a:moveTo>
                      <a:pt x="702" y="248"/>
                    </a:moveTo>
                    <a:lnTo>
                      <a:pt x="700" y="248"/>
                    </a:lnTo>
                    <a:lnTo>
                      <a:pt x="702" y="248"/>
                    </a:lnTo>
                    <a:close/>
                    <a:moveTo>
                      <a:pt x="700" y="248"/>
                    </a:moveTo>
                    <a:lnTo>
                      <a:pt x="700" y="246"/>
                    </a:lnTo>
                    <a:lnTo>
                      <a:pt x="700" y="248"/>
                    </a:lnTo>
                    <a:close/>
                    <a:moveTo>
                      <a:pt x="715" y="248"/>
                    </a:moveTo>
                    <a:lnTo>
                      <a:pt x="715" y="246"/>
                    </a:lnTo>
                    <a:lnTo>
                      <a:pt x="715" y="248"/>
                    </a:lnTo>
                    <a:close/>
                    <a:moveTo>
                      <a:pt x="711" y="244"/>
                    </a:moveTo>
                    <a:lnTo>
                      <a:pt x="713" y="244"/>
                    </a:lnTo>
                    <a:lnTo>
                      <a:pt x="711" y="244"/>
                    </a:lnTo>
                    <a:close/>
                    <a:moveTo>
                      <a:pt x="709" y="242"/>
                    </a:moveTo>
                    <a:lnTo>
                      <a:pt x="709" y="244"/>
                    </a:lnTo>
                    <a:lnTo>
                      <a:pt x="709" y="242"/>
                    </a:lnTo>
                    <a:close/>
                    <a:moveTo>
                      <a:pt x="750" y="223"/>
                    </a:moveTo>
                    <a:lnTo>
                      <a:pt x="750" y="221"/>
                    </a:lnTo>
                    <a:lnTo>
                      <a:pt x="750" y="223"/>
                    </a:lnTo>
                    <a:close/>
                    <a:moveTo>
                      <a:pt x="771" y="227"/>
                    </a:moveTo>
                    <a:lnTo>
                      <a:pt x="769" y="227"/>
                    </a:lnTo>
                    <a:lnTo>
                      <a:pt x="771" y="227"/>
                    </a:lnTo>
                    <a:close/>
                    <a:moveTo>
                      <a:pt x="721" y="202"/>
                    </a:moveTo>
                    <a:lnTo>
                      <a:pt x="719" y="202"/>
                    </a:lnTo>
                    <a:lnTo>
                      <a:pt x="721" y="202"/>
                    </a:lnTo>
                    <a:close/>
                    <a:moveTo>
                      <a:pt x="706" y="189"/>
                    </a:moveTo>
                    <a:lnTo>
                      <a:pt x="704" y="189"/>
                    </a:lnTo>
                    <a:lnTo>
                      <a:pt x="706" y="189"/>
                    </a:lnTo>
                    <a:close/>
                    <a:moveTo>
                      <a:pt x="767" y="171"/>
                    </a:moveTo>
                    <a:lnTo>
                      <a:pt x="767" y="173"/>
                    </a:lnTo>
                    <a:lnTo>
                      <a:pt x="767" y="171"/>
                    </a:lnTo>
                    <a:close/>
                    <a:moveTo>
                      <a:pt x="804" y="167"/>
                    </a:moveTo>
                    <a:lnTo>
                      <a:pt x="804" y="169"/>
                    </a:lnTo>
                    <a:lnTo>
                      <a:pt x="804" y="167"/>
                    </a:lnTo>
                    <a:close/>
                    <a:moveTo>
                      <a:pt x="809" y="167"/>
                    </a:moveTo>
                    <a:lnTo>
                      <a:pt x="807" y="167"/>
                    </a:lnTo>
                    <a:lnTo>
                      <a:pt x="809" y="167"/>
                    </a:lnTo>
                    <a:close/>
                    <a:moveTo>
                      <a:pt x="809" y="167"/>
                    </a:moveTo>
                    <a:lnTo>
                      <a:pt x="807" y="167"/>
                    </a:lnTo>
                    <a:lnTo>
                      <a:pt x="809" y="167"/>
                    </a:lnTo>
                    <a:close/>
                    <a:moveTo>
                      <a:pt x="986" y="198"/>
                    </a:moveTo>
                    <a:lnTo>
                      <a:pt x="984" y="198"/>
                    </a:lnTo>
                    <a:lnTo>
                      <a:pt x="986" y="198"/>
                    </a:lnTo>
                    <a:close/>
                    <a:moveTo>
                      <a:pt x="969" y="169"/>
                    </a:moveTo>
                    <a:lnTo>
                      <a:pt x="971" y="169"/>
                    </a:lnTo>
                    <a:lnTo>
                      <a:pt x="969" y="169"/>
                    </a:lnTo>
                    <a:close/>
                    <a:moveTo>
                      <a:pt x="888" y="0"/>
                    </a:moveTo>
                    <a:lnTo>
                      <a:pt x="888" y="2"/>
                    </a:lnTo>
                    <a:lnTo>
                      <a:pt x="888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14">
                <a:extLst>
                  <a:ext uri="{FF2B5EF4-FFF2-40B4-BE49-F238E27FC236}">
                    <a16:creationId xmlns="" xmlns:a16="http://schemas.microsoft.com/office/drawing/2014/main" id="{2508F114-199C-4FDF-B5D6-1E676371B9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09763" y="4370388"/>
                <a:ext cx="182563" cy="407988"/>
              </a:xfrm>
              <a:custGeom>
                <a:avLst/>
                <a:gdLst>
                  <a:gd name="T0" fmla="*/ 94 w 115"/>
                  <a:gd name="T1" fmla="*/ 225 h 257"/>
                  <a:gd name="T2" fmla="*/ 90 w 115"/>
                  <a:gd name="T3" fmla="*/ 223 h 257"/>
                  <a:gd name="T4" fmla="*/ 88 w 115"/>
                  <a:gd name="T5" fmla="*/ 227 h 257"/>
                  <a:gd name="T6" fmla="*/ 88 w 115"/>
                  <a:gd name="T7" fmla="*/ 230 h 257"/>
                  <a:gd name="T8" fmla="*/ 88 w 115"/>
                  <a:gd name="T9" fmla="*/ 225 h 257"/>
                  <a:gd name="T10" fmla="*/ 82 w 115"/>
                  <a:gd name="T11" fmla="*/ 227 h 257"/>
                  <a:gd name="T12" fmla="*/ 86 w 115"/>
                  <a:gd name="T13" fmla="*/ 232 h 257"/>
                  <a:gd name="T14" fmla="*/ 80 w 115"/>
                  <a:gd name="T15" fmla="*/ 234 h 257"/>
                  <a:gd name="T16" fmla="*/ 77 w 115"/>
                  <a:gd name="T17" fmla="*/ 242 h 257"/>
                  <a:gd name="T18" fmla="*/ 77 w 115"/>
                  <a:gd name="T19" fmla="*/ 230 h 257"/>
                  <a:gd name="T20" fmla="*/ 71 w 115"/>
                  <a:gd name="T21" fmla="*/ 242 h 257"/>
                  <a:gd name="T22" fmla="*/ 71 w 115"/>
                  <a:gd name="T23" fmla="*/ 246 h 257"/>
                  <a:gd name="T24" fmla="*/ 75 w 115"/>
                  <a:gd name="T25" fmla="*/ 244 h 257"/>
                  <a:gd name="T26" fmla="*/ 73 w 115"/>
                  <a:gd name="T27" fmla="*/ 246 h 257"/>
                  <a:gd name="T28" fmla="*/ 63 w 115"/>
                  <a:gd name="T29" fmla="*/ 246 h 257"/>
                  <a:gd name="T30" fmla="*/ 57 w 115"/>
                  <a:gd name="T31" fmla="*/ 246 h 257"/>
                  <a:gd name="T32" fmla="*/ 52 w 115"/>
                  <a:gd name="T33" fmla="*/ 242 h 257"/>
                  <a:gd name="T34" fmla="*/ 52 w 115"/>
                  <a:gd name="T35" fmla="*/ 234 h 257"/>
                  <a:gd name="T36" fmla="*/ 48 w 115"/>
                  <a:gd name="T37" fmla="*/ 234 h 257"/>
                  <a:gd name="T38" fmla="*/ 44 w 115"/>
                  <a:gd name="T39" fmla="*/ 240 h 257"/>
                  <a:gd name="T40" fmla="*/ 42 w 115"/>
                  <a:gd name="T41" fmla="*/ 248 h 257"/>
                  <a:gd name="T42" fmla="*/ 44 w 115"/>
                  <a:gd name="T43" fmla="*/ 248 h 257"/>
                  <a:gd name="T44" fmla="*/ 40 w 115"/>
                  <a:gd name="T45" fmla="*/ 252 h 257"/>
                  <a:gd name="T46" fmla="*/ 42 w 115"/>
                  <a:gd name="T47" fmla="*/ 254 h 257"/>
                  <a:gd name="T48" fmla="*/ 38 w 115"/>
                  <a:gd name="T49" fmla="*/ 255 h 257"/>
                  <a:gd name="T50" fmla="*/ 40 w 115"/>
                  <a:gd name="T51" fmla="*/ 248 h 257"/>
                  <a:gd name="T52" fmla="*/ 40 w 115"/>
                  <a:gd name="T53" fmla="*/ 244 h 257"/>
                  <a:gd name="T54" fmla="*/ 42 w 115"/>
                  <a:gd name="T55" fmla="*/ 236 h 257"/>
                  <a:gd name="T56" fmla="*/ 42 w 115"/>
                  <a:gd name="T57" fmla="*/ 234 h 257"/>
                  <a:gd name="T58" fmla="*/ 40 w 115"/>
                  <a:gd name="T59" fmla="*/ 234 h 257"/>
                  <a:gd name="T60" fmla="*/ 32 w 115"/>
                  <a:gd name="T61" fmla="*/ 250 h 257"/>
                  <a:gd name="T62" fmla="*/ 29 w 115"/>
                  <a:gd name="T63" fmla="*/ 252 h 257"/>
                  <a:gd name="T64" fmla="*/ 29 w 115"/>
                  <a:gd name="T65" fmla="*/ 242 h 257"/>
                  <a:gd name="T66" fmla="*/ 30 w 115"/>
                  <a:gd name="T67" fmla="*/ 234 h 257"/>
                  <a:gd name="T68" fmla="*/ 29 w 115"/>
                  <a:gd name="T69" fmla="*/ 236 h 257"/>
                  <a:gd name="T70" fmla="*/ 32 w 115"/>
                  <a:gd name="T71" fmla="*/ 219 h 257"/>
                  <a:gd name="T72" fmla="*/ 34 w 115"/>
                  <a:gd name="T73" fmla="*/ 211 h 257"/>
                  <a:gd name="T74" fmla="*/ 42 w 115"/>
                  <a:gd name="T75" fmla="*/ 205 h 257"/>
                  <a:gd name="T76" fmla="*/ 30 w 115"/>
                  <a:gd name="T77" fmla="*/ 215 h 257"/>
                  <a:gd name="T78" fmla="*/ 27 w 115"/>
                  <a:gd name="T79" fmla="*/ 240 h 257"/>
                  <a:gd name="T80" fmla="*/ 27 w 115"/>
                  <a:gd name="T81" fmla="*/ 236 h 257"/>
                  <a:gd name="T82" fmla="*/ 27 w 115"/>
                  <a:gd name="T83" fmla="*/ 227 h 257"/>
                  <a:gd name="T84" fmla="*/ 23 w 115"/>
                  <a:gd name="T85" fmla="*/ 238 h 257"/>
                  <a:gd name="T86" fmla="*/ 21 w 115"/>
                  <a:gd name="T87" fmla="*/ 234 h 257"/>
                  <a:gd name="T88" fmla="*/ 17 w 115"/>
                  <a:gd name="T89" fmla="*/ 221 h 257"/>
                  <a:gd name="T90" fmla="*/ 25 w 115"/>
                  <a:gd name="T91" fmla="*/ 190 h 257"/>
                  <a:gd name="T92" fmla="*/ 46 w 115"/>
                  <a:gd name="T93" fmla="*/ 152 h 257"/>
                  <a:gd name="T94" fmla="*/ 61 w 115"/>
                  <a:gd name="T95" fmla="*/ 92 h 257"/>
                  <a:gd name="T96" fmla="*/ 38 w 115"/>
                  <a:gd name="T97" fmla="*/ 50 h 257"/>
                  <a:gd name="T98" fmla="*/ 29 w 115"/>
                  <a:gd name="T99" fmla="*/ 11 h 257"/>
                  <a:gd name="T100" fmla="*/ 44 w 115"/>
                  <a:gd name="T101" fmla="*/ 11 h 257"/>
                  <a:gd name="T102" fmla="*/ 46 w 115"/>
                  <a:gd name="T103" fmla="*/ 5 h 257"/>
                  <a:gd name="T104" fmla="*/ 69 w 115"/>
                  <a:gd name="T105" fmla="*/ 5 h 257"/>
                  <a:gd name="T106" fmla="*/ 80 w 115"/>
                  <a:gd name="T107" fmla="*/ 38 h 257"/>
                  <a:gd name="T108" fmla="*/ 88 w 115"/>
                  <a:gd name="T109" fmla="*/ 71 h 257"/>
                  <a:gd name="T110" fmla="*/ 107 w 115"/>
                  <a:gd name="T111" fmla="*/ 104 h 257"/>
                  <a:gd name="T112" fmla="*/ 100 w 115"/>
                  <a:gd name="T113" fmla="*/ 182 h 257"/>
                  <a:gd name="T114" fmla="*/ 90 w 115"/>
                  <a:gd name="T115" fmla="*/ 188 h 257"/>
                  <a:gd name="T116" fmla="*/ 103 w 115"/>
                  <a:gd name="T117" fmla="*/ 209 h 257"/>
                  <a:gd name="T118" fmla="*/ 105 w 115"/>
                  <a:gd name="T119" fmla="*/ 227 h 257"/>
                  <a:gd name="T120" fmla="*/ 100 w 115"/>
                  <a:gd name="T121" fmla="*/ 229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15" h="257">
                    <a:moveTo>
                      <a:pt x="94" y="232"/>
                    </a:moveTo>
                    <a:lnTo>
                      <a:pt x="94" y="230"/>
                    </a:lnTo>
                    <a:lnTo>
                      <a:pt x="94" y="232"/>
                    </a:lnTo>
                    <a:lnTo>
                      <a:pt x="94" y="230"/>
                    </a:lnTo>
                    <a:lnTo>
                      <a:pt x="94" y="229"/>
                    </a:lnTo>
                    <a:lnTo>
                      <a:pt x="94" y="227"/>
                    </a:lnTo>
                    <a:lnTo>
                      <a:pt x="94" y="229"/>
                    </a:lnTo>
                    <a:lnTo>
                      <a:pt x="94" y="227"/>
                    </a:lnTo>
                    <a:lnTo>
                      <a:pt x="94" y="225"/>
                    </a:lnTo>
                    <a:lnTo>
                      <a:pt x="94" y="227"/>
                    </a:lnTo>
                    <a:lnTo>
                      <a:pt x="94" y="225"/>
                    </a:lnTo>
                    <a:lnTo>
                      <a:pt x="94" y="227"/>
                    </a:lnTo>
                    <a:lnTo>
                      <a:pt x="94" y="225"/>
                    </a:lnTo>
                    <a:lnTo>
                      <a:pt x="94" y="223"/>
                    </a:lnTo>
                    <a:lnTo>
                      <a:pt x="94" y="225"/>
                    </a:lnTo>
                    <a:lnTo>
                      <a:pt x="94" y="223"/>
                    </a:lnTo>
                    <a:lnTo>
                      <a:pt x="94" y="225"/>
                    </a:lnTo>
                    <a:lnTo>
                      <a:pt x="94" y="223"/>
                    </a:lnTo>
                    <a:lnTo>
                      <a:pt x="94" y="225"/>
                    </a:lnTo>
                    <a:lnTo>
                      <a:pt x="94" y="223"/>
                    </a:lnTo>
                    <a:lnTo>
                      <a:pt x="94" y="221"/>
                    </a:lnTo>
                    <a:lnTo>
                      <a:pt x="94" y="223"/>
                    </a:lnTo>
                    <a:lnTo>
                      <a:pt x="92" y="223"/>
                    </a:lnTo>
                    <a:lnTo>
                      <a:pt x="94" y="223"/>
                    </a:lnTo>
                    <a:lnTo>
                      <a:pt x="92" y="223"/>
                    </a:lnTo>
                    <a:lnTo>
                      <a:pt x="94" y="223"/>
                    </a:lnTo>
                    <a:lnTo>
                      <a:pt x="92" y="223"/>
                    </a:lnTo>
                    <a:lnTo>
                      <a:pt x="92" y="225"/>
                    </a:lnTo>
                    <a:lnTo>
                      <a:pt x="90" y="225"/>
                    </a:lnTo>
                    <a:lnTo>
                      <a:pt x="90" y="227"/>
                    </a:lnTo>
                    <a:lnTo>
                      <a:pt x="90" y="225"/>
                    </a:lnTo>
                    <a:lnTo>
                      <a:pt x="92" y="225"/>
                    </a:lnTo>
                    <a:lnTo>
                      <a:pt x="92" y="223"/>
                    </a:lnTo>
                    <a:lnTo>
                      <a:pt x="90" y="223"/>
                    </a:lnTo>
                    <a:lnTo>
                      <a:pt x="90" y="225"/>
                    </a:lnTo>
                    <a:lnTo>
                      <a:pt x="90" y="223"/>
                    </a:lnTo>
                    <a:lnTo>
                      <a:pt x="90" y="221"/>
                    </a:lnTo>
                    <a:lnTo>
                      <a:pt x="90" y="223"/>
                    </a:lnTo>
                    <a:lnTo>
                      <a:pt x="88" y="223"/>
                    </a:lnTo>
                    <a:lnTo>
                      <a:pt x="90" y="223"/>
                    </a:lnTo>
                    <a:lnTo>
                      <a:pt x="88" y="223"/>
                    </a:lnTo>
                    <a:lnTo>
                      <a:pt x="88" y="225"/>
                    </a:lnTo>
                    <a:lnTo>
                      <a:pt x="88" y="223"/>
                    </a:lnTo>
                    <a:lnTo>
                      <a:pt x="88" y="221"/>
                    </a:lnTo>
                    <a:lnTo>
                      <a:pt x="88" y="223"/>
                    </a:lnTo>
                    <a:lnTo>
                      <a:pt x="88" y="225"/>
                    </a:lnTo>
                    <a:lnTo>
                      <a:pt x="88" y="223"/>
                    </a:lnTo>
                    <a:lnTo>
                      <a:pt x="88" y="225"/>
                    </a:lnTo>
                    <a:lnTo>
                      <a:pt x="86" y="225"/>
                    </a:lnTo>
                    <a:lnTo>
                      <a:pt x="88" y="225"/>
                    </a:lnTo>
                    <a:lnTo>
                      <a:pt x="88" y="227"/>
                    </a:lnTo>
                    <a:lnTo>
                      <a:pt x="88" y="225"/>
                    </a:lnTo>
                    <a:lnTo>
                      <a:pt x="88" y="227"/>
                    </a:lnTo>
                    <a:lnTo>
                      <a:pt x="88" y="229"/>
                    </a:lnTo>
                    <a:lnTo>
                      <a:pt x="88" y="227"/>
                    </a:lnTo>
                    <a:lnTo>
                      <a:pt x="90" y="227"/>
                    </a:lnTo>
                    <a:lnTo>
                      <a:pt x="88" y="227"/>
                    </a:lnTo>
                    <a:lnTo>
                      <a:pt x="90" y="227"/>
                    </a:lnTo>
                    <a:lnTo>
                      <a:pt x="90" y="229"/>
                    </a:lnTo>
                    <a:lnTo>
                      <a:pt x="88" y="229"/>
                    </a:lnTo>
                    <a:lnTo>
                      <a:pt x="90" y="229"/>
                    </a:lnTo>
                    <a:lnTo>
                      <a:pt x="88" y="229"/>
                    </a:lnTo>
                    <a:lnTo>
                      <a:pt x="88" y="230"/>
                    </a:lnTo>
                    <a:lnTo>
                      <a:pt x="88" y="229"/>
                    </a:lnTo>
                    <a:lnTo>
                      <a:pt x="88" y="230"/>
                    </a:lnTo>
                    <a:lnTo>
                      <a:pt x="86" y="232"/>
                    </a:lnTo>
                    <a:lnTo>
                      <a:pt x="88" y="232"/>
                    </a:lnTo>
                    <a:lnTo>
                      <a:pt x="88" y="230"/>
                    </a:lnTo>
                    <a:lnTo>
                      <a:pt x="88" y="232"/>
                    </a:lnTo>
                    <a:lnTo>
                      <a:pt x="86" y="232"/>
                    </a:lnTo>
                    <a:lnTo>
                      <a:pt x="86" y="234"/>
                    </a:lnTo>
                    <a:lnTo>
                      <a:pt x="86" y="236"/>
                    </a:lnTo>
                    <a:lnTo>
                      <a:pt x="86" y="238"/>
                    </a:lnTo>
                    <a:lnTo>
                      <a:pt x="86" y="236"/>
                    </a:lnTo>
                    <a:lnTo>
                      <a:pt x="86" y="234"/>
                    </a:lnTo>
                    <a:lnTo>
                      <a:pt x="86" y="232"/>
                    </a:lnTo>
                    <a:lnTo>
                      <a:pt x="86" y="230"/>
                    </a:lnTo>
                    <a:lnTo>
                      <a:pt x="86" y="232"/>
                    </a:lnTo>
                    <a:lnTo>
                      <a:pt x="86" y="230"/>
                    </a:lnTo>
                    <a:lnTo>
                      <a:pt x="88" y="230"/>
                    </a:lnTo>
                    <a:lnTo>
                      <a:pt x="88" y="229"/>
                    </a:lnTo>
                    <a:lnTo>
                      <a:pt x="88" y="227"/>
                    </a:lnTo>
                    <a:lnTo>
                      <a:pt x="86" y="227"/>
                    </a:lnTo>
                    <a:lnTo>
                      <a:pt x="88" y="227"/>
                    </a:lnTo>
                    <a:lnTo>
                      <a:pt x="88" y="225"/>
                    </a:lnTo>
                    <a:lnTo>
                      <a:pt x="88" y="227"/>
                    </a:lnTo>
                    <a:lnTo>
                      <a:pt x="86" y="225"/>
                    </a:lnTo>
                    <a:lnTo>
                      <a:pt x="88" y="225"/>
                    </a:lnTo>
                    <a:lnTo>
                      <a:pt x="86" y="225"/>
                    </a:lnTo>
                    <a:lnTo>
                      <a:pt x="86" y="227"/>
                    </a:lnTo>
                    <a:lnTo>
                      <a:pt x="86" y="225"/>
                    </a:lnTo>
                    <a:lnTo>
                      <a:pt x="84" y="225"/>
                    </a:lnTo>
                    <a:lnTo>
                      <a:pt x="84" y="227"/>
                    </a:lnTo>
                    <a:lnTo>
                      <a:pt x="84" y="225"/>
                    </a:lnTo>
                    <a:lnTo>
                      <a:pt x="84" y="227"/>
                    </a:lnTo>
                    <a:lnTo>
                      <a:pt x="86" y="227"/>
                    </a:lnTo>
                    <a:lnTo>
                      <a:pt x="84" y="227"/>
                    </a:lnTo>
                    <a:lnTo>
                      <a:pt x="84" y="225"/>
                    </a:lnTo>
                    <a:lnTo>
                      <a:pt x="84" y="227"/>
                    </a:lnTo>
                    <a:lnTo>
                      <a:pt x="84" y="225"/>
                    </a:lnTo>
                    <a:lnTo>
                      <a:pt x="84" y="227"/>
                    </a:lnTo>
                    <a:lnTo>
                      <a:pt x="82" y="227"/>
                    </a:lnTo>
                    <a:lnTo>
                      <a:pt x="82" y="229"/>
                    </a:lnTo>
                    <a:lnTo>
                      <a:pt x="82" y="227"/>
                    </a:lnTo>
                    <a:lnTo>
                      <a:pt x="84" y="227"/>
                    </a:lnTo>
                    <a:lnTo>
                      <a:pt x="84" y="229"/>
                    </a:lnTo>
                    <a:lnTo>
                      <a:pt x="86" y="229"/>
                    </a:lnTo>
                    <a:lnTo>
                      <a:pt x="86" y="230"/>
                    </a:lnTo>
                    <a:lnTo>
                      <a:pt x="86" y="229"/>
                    </a:lnTo>
                    <a:lnTo>
                      <a:pt x="84" y="229"/>
                    </a:lnTo>
                    <a:lnTo>
                      <a:pt x="84" y="227"/>
                    </a:lnTo>
                    <a:lnTo>
                      <a:pt x="84" y="229"/>
                    </a:lnTo>
                    <a:lnTo>
                      <a:pt x="86" y="229"/>
                    </a:lnTo>
                    <a:lnTo>
                      <a:pt x="86" y="230"/>
                    </a:lnTo>
                    <a:lnTo>
                      <a:pt x="86" y="229"/>
                    </a:lnTo>
                    <a:lnTo>
                      <a:pt x="86" y="230"/>
                    </a:lnTo>
                    <a:lnTo>
                      <a:pt x="86" y="232"/>
                    </a:lnTo>
                    <a:lnTo>
                      <a:pt x="86" y="230"/>
                    </a:lnTo>
                    <a:lnTo>
                      <a:pt x="86" y="232"/>
                    </a:lnTo>
                    <a:lnTo>
                      <a:pt x="86" y="230"/>
                    </a:lnTo>
                    <a:lnTo>
                      <a:pt x="84" y="230"/>
                    </a:lnTo>
                    <a:lnTo>
                      <a:pt x="84" y="232"/>
                    </a:lnTo>
                    <a:lnTo>
                      <a:pt x="82" y="232"/>
                    </a:lnTo>
                    <a:lnTo>
                      <a:pt x="82" y="234"/>
                    </a:lnTo>
                    <a:lnTo>
                      <a:pt x="80" y="234"/>
                    </a:lnTo>
                    <a:lnTo>
                      <a:pt x="82" y="232"/>
                    </a:lnTo>
                    <a:lnTo>
                      <a:pt x="80" y="232"/>
                    </a:lnTo>
                    <a:lnTo>
                      <a:pt x="82" y="232"/>
                    </a:lnTo>
                    <a:lnTo>
                      <a:pt x="80" y="232"/>
                    </a:lnTo>
                    <a:lnTo>
                      <a:pt x="82" y="232"/>
                    </a:lnTo>
                    <a:lnTo>
                      <a:pt x="80" y="232"/>
                    </a:lnTo>
                    <a:lnTo>
                      <a:pt x="80" y="234"/>
                    </a:lnTo>
                    <a:lnTo>
                      <a:pt x="80" y="232"/>
                    </a:lnTo>
                    <a:lnTo>
                      <a:pt x="80" y="234"/>
                    </a:lnTo>
                    <a:lnTo>
                      <a:pt x="80" y="232"/>
                    </a:lnTo>
                    <a:lnTo>
                      <a:pt x="80" y="234"/>
                    </a:lnTo>
                    <a:lnTo>
                      <a:pt x="80" y="232"/>
                    </a:lnTo>
                    <a:lnTo>
                      <a:pt x="80" y="234"/>
                    </a:lnTo>
                    <a:lnTo>
                      <a:pt x="80" y="232"/>
                    </a:lnTo>
                    <a:lnTo>
                      <a:pt x="80" y="234"/>
                    </a:lnTo>
                    <a:lnTo>
                      <a:pt x="78" y="234"/>
                    </a:lnTo>
                    <a:lnTo>
                      <a:pt x="78" y="236"/>
                    </a:lnTo>
                    <a:lnTo>
                      <a:pt x="77" y="236"/>
                    </a:lnTo>
                    <a:lnTo>
                      <a:pt x="77" y="238"/>
                    </a:lnTo>
                    <a:lnTo>
                      <a:pt x="77" y="236"/>
                    </a:lnTo>
                    <a:lnTo>
                      <a:pt x="77" y="238"/>
                    </a:lnTo>
                    <a:lnTo>
                      <a:pt x="77" y="236"/>
                    </a:lnTo>
                    <a:lnTo>
                      <a:pt x="77" y="238"/>
                    </a:lnTo>
                    <a:lnTo>
                      <a:pt x="77" y="240"/>
                    </a:lnTo>
                    <a:lnTo>
                      <a:pt x="75" y="242"/>
                    </a:lnTo>
                    <a:lnTo>
                      <a:pt x="77" y="242"/>
                    </a:lnTo>
                    <a:lnTo>
                      <a:pt x="78" y="242"/>
                    </a:lnTo>
                    <a:lnTo>
                      <a:pt x="77" y="242"/>
                    </a:lnTo>
                    <a:lnTo>
                      <a:pt x="77" y="244"/>
                    </a:lnTo>
                    <a:lnTo>
                      <a:pt x="75" y="244"/>
                    </a:lnTo>
                    <a:lnTo>
                      <a:pt x="75" y="246"/>
                    </a:lnTo>
                    <a:lnTo>
                      <a:pt x="75" y="244"/>
                    </a:lnTo>
                    <a:lnTo>
                      <a:pt x="75" y="242"/>
                    </a:lnTo>
                    <a:lnTo>
                      <a:pt x="77" y="240"/>
                    </a:lnTo>
                    <a:lnTo>
                      <a:pt x="75" y="240"/>
                    </a:lnTo>
                    <a:lnTo>
                      <a:pt x="77" y="240"/>
                    </a:lnTo>
                    <a:lnTo>
                      <a:pt x="77" y="238"/>
                    </a:lnTo>
                    <a:lnTo>
                      <a:pt x="77" y="236"/>
                    </a:lnTo>
                    <a:lnTo>
                      <a:pt x="78" y="234"/>
                    </a:lnTo>
                    <a:lnTo>
                      <a:pt x="78" y="232"/>
                    </a:lnTo>
                    <a:lnTo>
                      <a:pt x="77" y="232"/>
                    </a:lnTo>
                    <a:lnTo>
                      <a:pt x="75" y="232"/>
                    </a:lnTo>
                    <a:lnTo>
                      <a:pt x="77" y="230"/>
                    </a:lnTo>
                    <a:lnTo>
                      <a:pt x="77" y="232"/>
                    </a:lnTo>
                    <a:lnTo>
                      <a:pt x="77" y="230"/>
                    </a:lnTo>
                    <a:lnTo>
                      <a:pt x="77" y="232"/>
                    </a:lnTo>
                    <a:lnTo>
                      <a:pt x="77" y="230"/>
                    </a:lnTo>
                    <a:lnTo>
                      <a:pt x="75" y="230"/>
                    </a:lnTo>
                    <a:lnTo>
                      <a:pt x="75" y="232"/>
                    </a:lnTo>
                    <a:lnTo>
                      <a:pt x="75" y="230"/>
                    </a:lnTo>
                    <a:lnTo>
                      <a:pt x="75" y="232"/>
                    </a:lnTo>
                    <a:lnTo>
                      <a:pt x="75" y="234"/>
                    </a:lnTo>
                    <a:lnTo>
                      <a:pt x="75" y="232"/>
                    </a:lnTo>
                    <a:lnTo>
                      <a:pt x="75" y="234"/>
                    </a:lnTo>
                    <a:lnTo>
                      <a:pt x="75" y="236"/>
                    </a:lnTo>
                    <a:lnTo>
                      <a:pt x="73" y="236"/>
                    </a:lnTo>
                    <a:lnTo>
                      <a:pt x="73" y="238"/>
                    </a:lnTo>
                    <a:lnTo>
                      <a:pt x="73" y="236"/>
                    </a:lnTo>
                    <a:lnTo>
                      <a:pt x="73" y="238"/>
                    </a:lnTo>
                    <a:lnTo>
                      <a:pt x="73" y="240"/>
                    </a:lnTo>
                    <a:lnTo>
                      <a:pt x="71" y="240"/>
                    </a:lnTo>
                    <a:lnTo>
                      <a:pt x="71" y="242"/>
                    </a:lnTo>
                    <a:lnTo>
                      <a:pt x="69" y="242"/>
                    </a:lnTo>
                    <a:lnTo>
                      <a:pt x="69" y="244"/>
                    </a:lnTo>
                    <a:lnTo>
                      <a:pt x="67" y="246"/>
                    </a:lnTo>
                    <a:lnTo>
                      <a:pt x="69" y="246"/>
                    </a:lnTo>
                    <a:lnTo>
                      <a:pt x="69" y="244"/>
                    </a:lnTo>
                    <a:lnTo>
                      <a:pt x="69" y="246"/>
                    </a:lnTo>
                    <a:lnTo>
                      <a:pt x="67" y="246"/>
                    </a:lnTo>
                    <a:lnTo>
                      <a:pt x="69" y="246"/>
                    </a:lnTo>
                    <a:lnTo>
                      <a:pt x="67" y="246"/>
                    </a:lnTo>
                    <a:lnTo>
                      <a:pt x="67" y="248"/>
                    </a:lnTo>
                    <a:lnTo>
                      <a:pt x="69" y="248"/>
                    </a:lnTo>
                    <a:lnTo>
                      <a:pt x="69" y="246"/>
                    </a:lnTo>
                    <a:lnTo>
                      <a:pt x="69" y="248"/>
                    </a:lnTo>
                    <a:lnTo>
                      <a:pt x="69" y="246"/>
                    </a:lnTo>
                    <a:lnTo>
                      <a:pt x="71" y="246"/>
                    </a:lnTo>
                    <a:lnTo>
                      <a:pt x="69" y="246"/>
                    </a:lnTo>
                    <a:lnTo>
                      <a:pt x="71" y="246"/>
                    </a:lnTo>
                    <a:lnTo>
                      <a:pt x="69" y="246"/>
                    </a:lnTo>
                    <a:lnTo>
                      <a:pt x="71" y="246"/>
                    </a:lnTo>
                    <a:lnTo>
                      <a:pt x="71" y="244"/>
                    </a:lnTo>
                    <a:lnTo>
                      <a:pt x="69" y="244"/>
                    </a:lnTo>
                    <a:lnTo>
                      <a:pt x="69" y="246"/>
                    </a:lnTo>
                    <a:lnTo>
                      <a:pt x="69" y="244"/>
                    </a:lnTo>
                    <a:lnTo>
                      <a:pt x="71" y="244"/>
                    </a:lnTo>
                    <a:lnTo>
                      <a:pt x="73" y="244"/>
                    </a:lnTo>
                    <a:lnTo>
                      <a:pt x="75" y="244"/>
                    </a:lnTo>
                    <a:lnTo>
                      <a:pt x="75" y="246"/>
                    </a:lnTo>
                    <a:lnTo>
                      <a:pt x="75" y="244"/>
                    </a:lnTo>
                    <a:lnTo>
                      <a:pt x="75" y="246"/>
                    </a:lnTo>
                    <a:lnTo>
                      <a:pt x="73" y="246"/>
                    </a:lnTo>
                    <a:lnTo>
                      <a:pt x="73" y="244"/>
                    </a:lnTo>
                    <a:lnTo>
                      <a:pt x="75" y="244"/>
                    </a:lnTo>
                    <a:lnTo>
                      <a:pt x="73" y="244"/>
                    </a:lnTo>
                    <a:lnTo>
                      <a:pt x="75" y="244"/>
                    </a:lnTo>
                    <a:lnTo>
                      <a:pt x="73" y="244"/>
                    </a:lnTo>
                    <a:lnTo>
                      <a:pt x="75" y="244"/>
                    </a:lnTo>
                    <a:lnTo>
                      <a:pt x="73" y="244"/>
                    </a:lnTo>
                    <a:lnTo>
                      <a:pt x="73" y="246"/>
                    </a:lnTo>
                    <a:lnTo>
                      <a:pt x="73" y="244"/>
                    </a:lnTo>
                    <a:lnTo>
                      <a:pt x="73" y="246"/>
                    </a:lnTo>
                    <a:lnTo>
                      <a:pt x="73" y="244"/>
                    </a:lnTo>
                    <a:lnTo>
                      <a:pt x="73" y="246"/>
                    </a:lnTo>
                    <a:lnTo>
                      <a:pt x="73" y="244"/>
                    </a:lnTo>
                    <a:lnTo>
                      <a:pt x="71" y="244"/>
                    </a:lnTo>
                    <a:lnTo>
                      <a:pt x="71" y="246"/>
                    </a:lnTo>
                    <a:lnTo>
                      <a:pt x="71" y="244"/>
                    </a:lnTo>
                    <a:lnTo>
                      <a:pt x="71" y="246"/>
                    </a:lnTo>
                    <a:lnTo>
                      <a:pt x="71" y="244"/>
                    </a:lnTo>
                    <a:lnTo>
                      <a:pt x="73" y="246"/>
                    </a:lnTo>
                    <a:lnTo>
                      <a:pt x="71" y="246"/>
                    </a:lnTo>
                    <a:lnTo>
                      <a:pt x="73" y="246"/>
                    </a:lnTo>
                    <a:lnTo>
                      <a:pt x="73" y="248"/>
                    </a:lnTo>
                    <a:lnTo>
                      <a:pt x="71" y="248"/>
                    </a:lnTo>
                    <a:lnTo>
                      <a:pt x="69" y="248"/>
                    </a:lnTo>
                    <a:lnTo>
                      <a:pt x="69" y="250"/>
                    </a:lnTo>
                    <a:lnTo>
                      <a:pt x="69" y="248"/>
                    </a:lnTo>
                    <a:lnTo>
                      <a:pt x="67" y="248"/>
                    </a:lnTo>
                    <a:lnTo>
                      <a:pt x="65" y="248"/>
                    </a:lnTo>
                    <a:lnTo>
                      <a:pt x="65" y="250"/>
                    </a:lnTo>
                    <a:lnTo>
                      <a:pt x="65" y="248"/>
                    </a:lnTo>
                    <a:lnTo>
                      <a:pt x="65" y="250"/>
                    </a:lnTo>
                    <a:lnTo>
                      <a:pt x="65" y="248"/>
                    </a:lnTo>
                    <a:lnTo>
                      <a:pt x="65" y="250"/>
                    </a:lnTo>
                    <a:lnTo>
                      <a:pt x="63" y="250"/>
                    </a:lnTo>
                    <a:lnTo>
                      <a:pt x="63" y="248"/>
                    </a:lnTo>
                    <a:lnTo>
                      <a:pt x="65" y="248"/>
                    </a:lnTo>
                    <a:lnTo>
                      <a:pt x="63" y="248"/>
                    </a:lnTo>
                    <a:lnTo>
                      <a:pt x="63" y="246"/>
                    </a:lnTo>
                    <a:lnTo>
                      <a:pt x="63" y="248"/>
                    </a:lnTo>
                    <a:lnTo>
                      <a:pt x="61" y="248"/>
                    </a:lnTo>
                    <a:lnTo>
                      <a:pt x="61" y="246"/>
                    </a:lnTo>
                    <a:lnTo>
                      <a:pt x="63" y="246"/>
                    </a:lnTo>
                    <a:lnTo>
                      <a:pt x="61" y="246"/>
                    </a:lnTo>
                    <a:lnTo>
                      <a:pt x="59" y="246"/>
                    </a:lnTo>
                    <a:lnTo>
                      <a:pt x="61" y="246"/>
                    </a:lnTo>
                    <a:lnTo>
                      <a:pt x="61" y="244"/>
                    </a:lnTo>
                    <a:lnTo>
                      <a:pt x="61" y="242"/>
                    </a:lnTo>
                    <a:lnTo>
                      <a:pt x="61" y="244"/>
                    </a:lnTo>
                    <a:lnTo>
                      <a:pt x="61" y="242"/>
                    </a:lnTo>
                    <a:lnTo>
                      <a:pt x="59" y="242"/>
                    </a:lnTo>
                    <a:lnTo>
                      <a:pt x="59" y="244"/>
                    </a:lnTo>
                    <a:lnTo>
                      <a:pt x="59" y="246"/>
                    </a:lnTo>
                    <a:lnTo>
                      <a:pt x="57" y="246"/>
                    </a:lnTo>
                    <a:lnTo>
                      <a:pt x="57" y="244"/>
                    </a:lnTo>
                    <a:lnTo>
                      <a:pt x="57" y="246"/>
                    </a:lnTo>
                    <a:lnTo>
                      <a:pt x="55" y="246"/>
                    </a:lnTo>
                    <a:lnTo>
                      <a:pt x="55" y="244"/>
                    </a:lnTo>
                    <a:lnTo>
                      <a:pt x="54" y="244"/>
                    </a:lnTo>
                    <a:lnTo>
                      <a:pt x="54" y="246"/>
                    </a:lnTo>
                    <a:lnTo>
                      <a:pt x="54" y="248"/>
                    </a:lnTo>
                    <a:lnTo>
                      <a:pt x="52" y="248"/>
                    </a:lnTo>
                    <a:lnTo>
                      <a:pt x="50" y="248"/>
                    </a:lnTo>
                    <a:lnTo>
                      <a:pt x="50" y="246"/>
                    </a:lnTo>
                    <a:lnTo>
                      <a:pt x="52" y="246"/>
                    </a:lnTo>
                    <a:lnTo>
                      <a:pt x="50" y="246"/>
                    </a:lnTo>
                    <a:lnTo>
                      <a:pt x="52" y="246"/>
                    </a:lnTo>
                    <a:lnTo>
                      <a:pt x="52" y="244"/>
                    </a:lnTo>
                    <a:lnTo>
                      <a:pt x="52" y="242"/>
                    </a:lnTo>
                    <a:lnTo>
                      <a:pt x="52" y="244"/>
                    </a:lnTo>
                    <a:lnTo>
                      <a:pt x="52" y="242"/>
                    </a:lnTo>
                    <a:lnTo>
                      <a:pt x="52" y="244"/>
                    </a:lnTo>
                    <a:lnTo>
                      <a:pt x="52" y="242"/>
                    </a:lnTo>
                    <a:lnTo>
                      <a:pt x="52" y="244"/>
                    </a:lnTo>
                    <a:lnTo>
                      <a:pt x="52" y="242"/>
                    </a:lnTo>
                    <a:lnTo>
                      <a:pt x="52" y="240"/>
                    </a:lnTo>
                    <a:lnTo>
                      <a:pt x="54" y="240"/>
                    </a:lnTo>
                    <a:lnTo>
                      <a:pt x="54" y="238"/>
                    </a:lnTo>
                    <a:lnTo>
                      <a:pt x="54" y="236"/>
                    </a:lnTo>
                    <a:lnTo>
                      <a:pt x="54" y="234"/>
                    </a:lnTo>
                    <a:lnTo>
                      <a:pt x="52" y="236"/>
                    </a:lnTo>
                    <a:lnTo>
                      <a:pt x="52" y="234"/>
                    </a:lnTo>
                    <a:lnTo>
                      <a:pt x="54" y="234"/>
                    </a:lnTo>
                    <a:lnTo>
                      <a:pt x="54" y="232"/>
                    </a:lnTo>
                    <a:lnTo>
                      <a:pt x="52" y="232"/>
                    </a:lnTo>
                    <a:lnTo>
                      <a:pt x="54" y="232"/>
                    </a:lnTo>
                    <a:lnTo>
                      <a:pt x="52" y="232"/>
                    </a:lnTo>
                    <a:lnTo>
                      <a:pt x="52" y="234"/>
                    </a:lnTo>
                    <a:lnTo>
                      <a:pt x="52" y="232"/>
                    </a:lnTo>
                    <a:lnTo>
                      <a:pt x="52" y="234"/>
                    </a:lnTo>
                    <a:lnTo>
                      <a:pt x="52" y="236"/>
                    </a:lnTo>
                    <a:lnTo>
                      <a:pt x="52" y="234"/>
                    </a:lnTo>
                    <a:lnTo>
                      <a:pt x="52" y="236"/>
                    </a:lnTo>
                    <a:lnTo>
                      <a:pt x="52" y="234"/>
                    </a:lnTo>
                    <a:lnTo>
                      <a:pt x="52" y="232"/>
                    </a:lnTo>
                    <a:lnTo>
                      <a:pt x="52" y="234"/>
                    </a:lnTo>
                    <a:lnTo>
                      <a:pt x="50" y="234"/>
                    </a:lnTo>
                    <a:lnTo>
                      <a:pt x="52" y="234"/>
                    </a:lnTo>
                    <a:lnTo>
                      <a:pt x="50" y="236"/>
                    </a:lnTo>
                    <a:lnTo>
                      <a:pt x="52" y="236"/>
                    </a:lnTo>
                    <a:lnTo>
                      <a:pt x="50" y="236"/>
                    </a:lnTo>
                    <a:lnTo>
                      <a:pt x="50" y="234"/>
                    </a:lnTo>
                    <a:lnTo>
                      <a:pt x="48" y="234"/>
                    </a:lnTo>
                    <a:lnTo>
                      <a:pt x="50" y="234"/>
                    </a:lnTo>
                    <a:lnTo>
                      <a:pt x="48" y="234"/>
                    </a:lnTo>
                    <a:lnTo>
                      <a:pt x="48" y="232"/>
                    </a:lnTo>
                    <a:lnTo>
                      <a:pt x="48" y="234"/>
                    </a:lnTo>
                    <a:lnTo>
                      <a:pt x="48" y="236"/>
                    </a:lnTo>
                    <a:lnTo>
                      <a:pt x="48" y="234"/>
                    </a:lnTo>
                    <a:lnTo>
                      <a:pt x="48" y="236"/>
                    </a:lnTo>
                    <a:lnTo>
                      <a:pt x="46" y="236"/>
                    </a:lnTo>
                    <a:lnTo>
                      <a:pt x="46" y="234"/>
                    </a:lnTo>
                    <a:lnTo>
                      <a:pt x="48" y="234"/>
                    </a:lnTo>
                    <a:lnTo>
                      <a:pt x="46" y="234"/>
                    </a:lnTo>
                    <a:lnTo>
                      <a:pt x="46" y="236"/>
                    </a:lnTo>
                    <a:lnTo>
                      <a:pt x="46" y="234"/>
                    </a:lnTo>
                    <a:lnTo>
                      <a:pt x="46" y="236"/>
                    </a:lnTo>
                    <a:lnTo>
                      <a:pt x="46" y="234"/>
                    </a:lnTo>
                    <a:lnTo>
                      <a:pt x="46" y="236"/>
                    </a:lnTo>
                    <a:lnTo>
                      <a:pt x="44" y="236"/>
                    </a:lnTo>
                    <a:lnTo>
                      <a:pt x="44" y="238"/>
                    </a:lnTo>
                    <a:lnTo>
                      <a:pt x="44" y="236"/>
                    </a:lnTo>
                    <a:lnTo>
                      <a:pt x="44" y="238"/>
                    </a:lnTo>
                    <a:lnTo>
                      <a:pt x="44" y="240"/>
                    </a:lnTo>
                    <a:lnTo>
                      <a:pt x="44" y="242"/>
                    </a:lnTo>
                    <a:lnTo>
                      <a:pt x="44" y="240"/>
                    </a:lnTo>
                    <a:lnTo>
                      <a:pt x="42" y="240"/>
                    </a:lnTo>
                    <a:lnTo>
                      <a:pt x="44" y="242"/>
                    </a:lnTo>
                    <a:lnTo>
                      <a:pt x="42" y="242"/>
                    </a:lnTo>
                    <a:lnTo>
                      <a:pt x="44" y="242"/>
                    </a:lnTo>
                    <a:lnTo>
                      <a:pt x="42" y="242"/>
                    </a:lnTo>
                    <a:lnTo>
                      <a:pt x="44" y="242"/>
                    </a:lnTo>
                    <a:lnTo>
                      <a:pt x="42" y="242"/>
                    </a:lnTo>
                    <a:lnTo>
                      <a:pt x="44" y="242"/>
                    </a:lnTo>
                    <a:lnTo>
                      <a:pt x="42" y="244"/>
                    </a:lnTo>
                    <a:lnTo>
                      <a:pt x="42" y="246"/>
                    </a:lnTo>
                    <a:lnTo>
                      <a:pt x="40" y="246"/>
                    </a:lnTo>
                    <a:lnTo>
                      <a:pt x="42" y="246"/>
                    </a:lnTo>
                    <a:lnTo>
                      <a:pt x="40" y="246"/>
                    </a:lnTo>
                    <a:lnTo>
                      <a:pt x="42" y="246"/>
                    </a:lnTo>
                    <a:lnTo>
                      <a:pt x="42" y="248"/>
                    </a:lnTo>
                    <a:lnTo>
                      <a:pt x="42" y="246"/>
                    </a:lnTo>
                    <a:lnTo>
                      <a:pt x="42" y="248"/>
                    </a:lnTo>
                    <a:lnTo>
                      <a:pt x="42" y="246"/>
                    </a:lnTo>
                    <a:lnTo>
                      <a:pt x="42" y="248"/>
                    </a:lnTo>
                    <a:lnTo>
                      <a:pt x="42" y="246"/>
                    </a:lnTo>
                    <a:lnTo>
                      <a:pt x="44" y="246"/>
                    </a:lnTo>
                    <a:lnTo>
                      <a:pt x="42" y="246"/>
                    </a:lnTo>
                    <a:lnTo>
                      <a:pt x="44" y="246"/>
                    </a:lnTo>
                    <a:lnTo>
                      <a:pt x="42" y="246"/>
                    </a:lnTo>
                    <a:lnTo>
                      <a:pt x="44" y="246"/>
                    </a:lnTo>
                    <a:lnTo>
                      <a:pt x="44" y="244"/>
                    </a:lnTo>
                    <a:lnTo>
                      <a:pt x="44" y="246"/>
                    </a:lnTo>
                    <a:lnTo>
                      <a:pt x="46" y="246"/>
                    </a:lnTo>
                    <a:lnTo>
                      <a:pt x="46" y="248"/>
                    </a:lnTo>
                    <a:lnTo>
                      <a:pt x="44" y="248"/>
                    </a:lnTo>
                    <a:lnTo>
                      <a:pt x="46" y="248"/>
                    </a:lnTo>
                    <a:lnTo>
                      <a:pt x="44" y="248"/>
                    </a:lnTo>
                    <a:lnTo>
                      <a:pt x="44" y="250"/>
                    </a:lnTo>
                    <a:lnTo>
                      <a:pt x="44" y="248"/>
                    </a:lnTo>
                    <a:lnTo>
                      <a:pt x="44" y="250"/>
                    </a:lnTo>
                    <a:lnTo>
                      <a:pt x="44" y="248"/>
                    </a:lnTo>
                    <a:lnTo>
                      <a:pt x="44" y="250"/>
                    </a:lnTo>
                    <a:lnTo>
                      <a:pt x="42" y="250"/>
                    </a:lnTo>
                    <a:lnTo>
                      <a:pt x="44" y="250"/>
                    </a:lnTo>
                    <a:lnTo>
                      <a:pt x="42" y="250"/>
                    </a:lnTo>
                    <a:lnTo>
                      <a:pt x="44" y="250"/>
                    </a:lnTo>
                    <a:lnTo>
                      <a:pt x="42" y="250"/>
                    </a:lnTo>
                    <a:lnTo>
                      <a:pt x="42" y="248"/>
                    </a:lnTo>
                    <a:lnTo>
                      <a:pt x="42" y="250"/>
                    </a:lnTo>
                    <a:lnTo>
                      <a:pt x="40" y="252"/>
                    </a:lnTo>
                    <a:lnTo>
                      <a:pt x="40" y="250"/>
                    </a:lnTo>
                    <a:lnTo>
                      <a:pt x="40" y="252"/>
                    </a:lnTo>
                    <a:lnTo>
                      <a:pt x="38" y="252"/>
                    </a:lnTo>
                    <a:lnTo>
                      <a:pt x="40" y="252"/>
                    </a:lnTo>
                    <a:lnTo>
                      <a:pt x="38" y="252"/>
                    </a:lnTo>
                    <a:lnTo>
                      <a:pt x="40" y="252"/>
                    </a:lnTo>
                    <a:lnTo>
                      <a:pt x="40" y="254"/>
                    </a:lnTo>
                    <a:lnTo>
                      <a:pt x="40" y="252"/>
                    </a:lnTo>
                    <a:lnTo>
                      <a:pt x="40" y="254"/>
                    </a:lnTo>
                    <a:lnTo>
                      <a:pt x="40" y="252"/>
                    </a:lnTo>
                    <a:lnTo>
                      <a:pt x="40" y="254"/>
                    </a:lnTo>
                    <a:lnTo>
                      <a:pt x="42" y="254"/>
                    </a:lnTo>
                    <a:lnTo>
                      <a:pt x="42" y="252"/>
                    </a:lnTo>
                    <a:lnTo>
                      <a:pt x="42" y="254"/>
                    </a:lnTo>
                    <a:lnTo>
                      <a:pt x="40" y="252"/>
                    </a:lnTo>
                    <a:lnTo>
                      <a:pt x="42" y="252"/>
                    </a:lnTo>
                    <a:lnTo>
                      <a:pt x="42" y="254"/>
                    </a:lnTo>
                    <a:lnTo>
                      <a:pt x="42" y="252"/>
                    </a:lnTo>
                    <a:lnTo>
                      <a:pt x="42" y="254"/>
                    </a:lnTo>
                    <a:lnTo>
                      <a:pt x="44" y="254"/>
                    </a:lnTo>
                    <a:lnTo>
                      <a:pt x="42" y="254"/>
                    </a:lnTo>
                    <a:lnTo>
                      <a:pt x="44" y="254"/>
                    </a:lnTo>
                    <a:lnTo>
                      <a:pt x="46" y="254"/>
                    </a:lnTo>
                    <a:lnTo>
                      <a:pt x="44" y="254"/>
                    </a:lnTo>
                    <a:lnTo>
                      <a:pt x="44" y="255"/>
                    </a:lnTo>
                    <a:lnTo>
                      <a:pt x="42" y="255"/>
                    </a:lnTo>
                    <a:lnTo>
                      <a:pt x="40" y="255"/>
                    </a:lnTo>
                    <a:lnTo>
                      <a:pt x="42" y="255"/>
                    </a:lnTo>
                    <a:lnTo>
                      <a:pt x="40" y="255"/>
                    </a:lnTo>
                    <a:lnTo>
                      <a:pt x="38" y="255"/>
                    </a:lnTo>
                    <a:lnTo>
                      <a:pt x="40" y="255"/>
                    </a:lnTo>
                    <a:lnTo>
                      <a:pt x="38" y="255"/>
                    </a:lnTo>
                    <a:lnTo>
                      <a:pt x="40" y="255"/>
                    </a:lnTo>
                    <a:lnTo>
                      <a:pt x="38" y="255"/>
                    </a:lnTo>
                    <a:lnTo>
                      <a:pt x="38" y="257"/>
                    </a:lnTo>
                    <a:lnTo>
                      <a:pt x="38" y="255"/>
                    </a:lnTo>
                    <a:lnTo>
                      <a:pt x="38" y="254"/>
                    </a:lnTo>
                    <a:lnTo>
                      <a:pt x="38" y="255"/>
                    </a:lnTo>
                    <a:lnTo>
                      <a:pt x="38" y="254"/>
                    </a:lnTo>
                    <a:lnTo>
                      <a:pt x="38" y="252"/>
                    </a:lnTo>
                    <a:lnTo>
                      <a:pt x="38" y="254"/>
                    </a:lnTo>
                    <a:lnTo>
                      <a:pt x="38" y="252"/>
                    </a:lnTo>
                    <a:lnTo>
                      <a:pt x="36" y="252"/>
                    </a:lnTo>
                    <a:lnTo>
                      <a:pt x="38" y="252"/>
                    </a:lnTo>
                    <a:lnTo>
                      <a:pt x="38" y="250"/>
                    </a:lnTo>
                    <a:lnTo>
                      <a:pt x="38" y="252"/>
                    </a:lnTo>
                    <a:lnTo>
                      <a:pt x="38" y="250"/>
                    </a:lnTo>
                    <a:lnTo>
                      <a:pt x="38" y="252"/>
                    </a:lnTo>
                    <a:lnTo>
                      <a:pt x="38" y="250"/>
                    </a:lnTo>
                    <a:lnTo>
                      <a:pt x="38" y="248"/>
                    </a:lnTo>
                    <a:lnTo>
                      <a:pt x="38" y="250"/>
                    </a:lnTo>
                    <a:lnTo>
                      <a:pt x="38" y="248"/>
                    </a:lnTo>
                    <a:lnTo>
                      <a:pt x="40" y="248"/>
                    </a:lnTo>
                    <a:lnTo>
                      <a:pt x="40" y="246"/>
                    </a:lnTo>
                    <a:lnTo>
                      <a:pt x="40" y="248"/>
                    </a:lnTo>
                    <a:lnTo>
                      <a:pt x="38" y="248"/>
                    </a:lnTo>
                    <a:lnTo>
                      <a:pt x="38" y="246"/>
                    </a:lnTo>
                    <a:lnTo>
                      <a:pt x="38" y="248"/>
                    </a:lnTo>
                    <a:lnTo>
                      <a:pt x="38" y="246"/>
                    </a:lnTo>
                    <a:lnTo>
                      <a:pt x="40" y="246"/>
                    </a:lnTo>
                    <a:lnTo>
                      <a:pt x="38" y="246"/>
                    </a:lnTo>
                    <a:lnTo>
                      <a:pt x="40" y="244"/>
                    </a:lnTo>
                    <a:lnTo>
                      <a:pt x="40" y="246"/>
                    </a:lnTo>
                    <a:lnTo>
                      <a:pt x="40" y="244"/>
                    </a:lnTo>
                    <a:lnTo>
                      <a:pt x="40" y="246"/>
                    </a:lnTo>
                    <a:lnTo>
                      <a:pt x="38" y="246"/>
                    </a:lnTo>
                    <a:lnTo>
                      <a:pt x="40" y="246"/>
                    </a:lnTo>
                    <a:lnTo>
                      <a:pt x="40" y="244"/>
                    </a:lnTo>
                    <a:lnTo>
                      <a:pt x="38" y="244"/>
                    </a:lnTo>
                    <a:lnTo>
                      <a:pt x="40" y="244"/>
                    </a:lnTo>
                    <a:lnTo>
                      <a:pt x="40" y="242"/>
                    </a:lnTo>
                    <a:lnTo>
                      <a:pt x="40" y="244"/>
                    </a:lnTo>
                    <a:lnTo>
                      <a:pt x="42" y="244"/>
                    </a:lnTo>
                    <a:lnTo>
                      <a:pt x="42" y="242"/>
                    </a:lnTo>
                    <a:lnTo>
                      <a:pt x="42" y="240"/>
                    </a:lnTo>
                    <a:lnTo>
                      <a:pt x="42" y="238"/>
                    </a:lnTo>
                    <a:lnTo>
                      <a:pt x="42" y="240"/>
                    </a:lnTo>
                    <a:lnTo>
                      <a:pt x="40" y="240"/>
                    </a:lnTo>
                    <a:lnTo>
                      <a:pt x="40" y="242"/>
                    </a:lnTo>
                    <a:lnTo>
                      <a:pt x="40" y="240"/>
                    </a:lnTo>
                    <a:lnTo>
                      <a:pt x="40" y="238"/>
                    </a:lnTo>
                    <a:lnTo>
                      <a:pt x="40" y="236"/>
                    </a:lnTo>
                    <a:lnTo>
                      <a:pt x="40" y="238"/>
                    </a:lnTo>
                    <a:lnTo>
                      <a:pt x="40" y="236"/>
                    </a:lnTo>
                    <a:lnTo>
                      <a:pt x="42" y="236"/>
                    </a:lnTo>
                    <a:lnTo>
                      <a:pt x="40" y="236"/>
                    </a:lnTo>
                    <a:lnTo>
                      <a:pt x="42" y="236"/>
                    </a:lnTo>
                    <a:lnTo>
                      <a:pt x="42" y="234"/>
                    </a:lnTo>
                    <a:lnTo>
                      <a:pt x="42" y="236"/>
                    </a:lnTo>
                    <a:lnTo>
                      <a:pt x="42" y="238"/>
                    </a:lnTo>
                    <a:lnTo>
                      <a:pt x="40" y="238"/>
                    </a:lnTo>
                    <a:lnTo>
                      <a:pt x="42" y="238"/>
                    </a:lnTo>
                    <a:lnTo>
                      <a:pt x="40" y="238"/>
                    </a:lnTo>
                    <a:lnTo>
                      <a:pt x="42" y="238"/>
                    </a:lnTo>
                    <a:lnTo>
                      <a:pt x="40" y="238"/>
                    </a:lnTo>
                    <a:lnTo>
                      <a:pt x="42" y="238"/>
                    </a:lnTo>
                    <a:lnTo>
                      <a:pt x="40" y="238"/>
                    </a:lnTo>
                    <a:lnTo>
                      <a:pt x="42" y="238"/>
                    </a:lnTo>
                    <a:lnTo>
                      <a:pt x="42" y="236"/>
                    </a:lnTo>
                    <a:lnTo>
                      <a:pt x="42" y="234"/>
                    </a:lnTo>
                    <a:lnTo>
                      <a:pt x="44" y="234"/>
                    </a:lnTo>
                    <a:lnTo>
                      <a:pt x="42" y="234"/>
                    </a:lnTo>
                    <a:lnTo>
                      <a:pt x="44" y="234"/>
                    </a:lnTo>
                    <a:lnTo>
                      <a:pt x="42" y="234"/>
                    </a:lnTo>
                    <a:lnTo>
                      <a:pt x="44" y="234"/>
                    </a:lnTo>
                    <a:lnTo>
                      <a:pt x="42" y="234"/>
                    </a:lnTo>
                    <a:lnTo>
                      <a:pt x="44" y="234"/>
                    </a:lnTo>
                    <a:lnTo>
                      <a:pt x="44" y="232"/>
                    </a:lnTo>
                    <a:lnTo>
                      <a:pt x="42" y="232"/>
                    </a:lnTo>
                    <a:lnTo>
                      <a:pt x="44" y="232"/>
                    </a:lnTo>
                    <a:lnTo>
                      <a:pt x="42" y="232"/>
                    </a:lnTo>
                    <a:lnTo>
                      <a:pt x="44" y="232"/>
                    </a:lnTo>
                    <a:lnTo>
                      <a:pt x="44" y="230"/>
                    </a:lnTo>
                    <a:lnTo>
                      <a:pt x="42" y="230"/>
                    </a:lnTo>
                    <a:lnTo>
                      <a:pt x="44" y="230"/>
                    </a:lnTo>
                    <a:lnTo>
                      <a:pt x="42" y="230"/>
                    </a:lnTo>
                    <a:lnTo>
                      <a:pt x="42" y="232"/>
                    </a:lnTo>
                    <a:lnTo>
                      <a:pt x="40" y="232"/>
                    </a:lnTo>
                    <a:lnTo>
                      <a:pt x="42" y="232"/>
                    </a:lnTo>
                    <a:lnTo>
                      <a:pt x="42" y="234"/>
                    </a:lnTo>
                    <a:lnTo>
                      <a:pt x="40" y="234"/>
                    </a:lnTo>
                    <a:lnTo>
                      <a:pt x="40" y="236"/>
                    </a:lnTo>
                    <a:lnTo>
                      <a:pt x="40" y="234"/>
                    </a:lnTo>
                    <a:lnTo>
                      <a:pt x="38" y="234"/>
                    </a:lnTo>
                    <a:lnTo>
                      <a:pt x="38" y="236"/>
                    </a:lnTo>
                    <a:lnTo>
                      <a:pt x="40" y="236"/>
                    </a:lnTo>
                    <a:lnTo>
                      <a:pt x="40" y="238"/>
                    </a:lnTo>
                    <a:lnTo>
                      <a:pt x="40" y="240"/>
                    </a:lnTo>
                    <a:lnTo>
                      <a:pt x="40" y="238"/>
                    </a:lnTo>
                    <a:lnTo>
                      <a:pt x="38" y="240"/>
                    </a:lnTo>
                    <a:lnTo>
                      <a:pt x="40" y="238"/>
                    </a:lnTo>
                    <a:lnTo>
                      <a:pt x="38" y="238"/>
                    </a:lnTo>
                    <a:lnTo>
                      <a:pt x="38" y="240"/>
                    </a:lnTo>
                    <a:lnTo>
                      <a:pt x="38" y="242"/>
                    </a:lnTo>
                    <a:lnTo>
                      <a:pt x="36" y="242"/>
                    </a:lnTo>
                    <a:lnTo>
                      <a:pt x="36" y="244"/>
                    </a:lnTo>
                    <a:lnTo>
                      <a:pt x="34" y="246"/>
                    </a:lnTo>
                    <a:lnTo>
                      <a:pt x="34" y="248"/>
                    </a:lnTo>
                    <a:lnTo>
                      <a:pt x="32" y="248"/>
                    </a:lnTo>
                    <a:lnTo>
                      <a:pt x="32" y="250"/>
                    </a:lnTo>
                    <a:lnTo>
                      <a:pt x="34" y="250"/>
                    </a:lnTo>
                    <a:lnTo>
                      <a:pt x="32" y="250"/>
                    </a:lnTo>
                    <a:lnTo>
                      <a:pt x="34" y="250"/>
                    </a:lnTo>
                    <a:lnTo>
                      <a:pt x="32" y="250"/>
                    </a:lnTo>
                    <a:lnTo>
                      <a:pt x="32" y="252"/>
                    </a:lnTo>
                    <a:lnTo>
                      <a:pt x="30" y="252"/>
                    </a:lnTo>
                    <a:lnTo>
                      <a:pt x="32" y="252"/>
                    </a:lnTo>
                    <a:lnTo>
                      <a:pt x="30" y="252"/>
                    </a:lnTo>
                    <a:lnTo>
                      <a:pt x="29" y="252"/>
                    </a:lnTo>
                    <a:lnTo>
                      <a:pt x="30" y="252"/>
                    </a:lnTo>
                    <a:lnTo>
                      <a:pt x="29" y="252"/>
                    </a:lnTo>
                    <a:lnTo>
                      <a:pt x="30" y="252"/>
                    </a:lnTo>
                    <a:lnTo>
                      <a:pt x="29" y="252"/>
                    </a:lnTo>
                    <a:lnTo>
                      <a:pt x="30" y="252"/>
                    </a:lnTo>
                    <a:lnTo>
                      <a:pt x="29" y="252"/>
                    </a:lnTo>
                    <a:lnTo>
                      <a:pt x="29" y="250"/>
                    </a:lnTo>
                    <a:lnTo>
                      <a:pt x="29" y="252"/>
                    </a:lnTo>
                    <a:lnTo>
                      <a:pt x="29" y="250"/>
                    </a:lnTo>
                    <a:lnTo>
                      <a:pt x="29" y="252"/>
                    </a:lnTo>
                    <a:lnTo>
                      <a:pt x="27" y="252"/>
                    </a:lnTo>
                    <a:lnTo>
                      <a:pt x="27" y="250"/>
                    </a:lnTo>
                    <a:lnTo>
                      <a:pt x="27" y="252"/>
                    </a:lnTo>
                    <a:lnTo>
                      <a:pt x="27" y="250"/>
                    </a:lnTo>
                    <a:lnTo>
                      <a:pt x="29" y="248"/>
                    </a:lnTo>
                    <a:lnTo>
                      <a:pt x="30" y="246"/>
                    </a:lnTo>
                    <a:lnTo>
                      <a:pt x="30" y="248"/>
                    </a:lnTo>
                    <a:lnTo>
                      <a:pt x="30" y="246"/>
                    </a:lnTo>
                    <a:lnTo>
                      <a:pt x="30" y="244"/>
                    </a:lnTo>
                    <a:lnTo>
                      <a:pt x="30" y="246"/>
                    </a:lnTo>
                    <a:lnTo>
                      <a:pt x="30" y="244"/>
                    </a:lnTo>
                    <a:lnTo>
                      <a:pt x="30" y="242"/>
                    </a:lnTo>
                    <a:lnTo>
                      <a:pt x="30" y="244"/>
                    </a:lnTo>
                    <a:lnTo>
                      <a:pt x="29" y="244"/>
                    </a:lnTo>
                    <a:lnTo>
                      <a:pt x="29" y="242"/>
                    </a:lnTo>
                    <a:lnTo>
                      <a:pt x="29" y="240"/>
                    </a:lnTo>
                    <a:lnTo>
                      <a:pt x="30" y="240"/>
                    </a:lnTo>
                    <a:lnTo>
                      <a:pt x="30" y="242"/>
                    </a:lnTo>
                    <a:lnTo>
                      <a:pt x="29" y="242"/>
                    </a:lnTo>
                    <a:lnTo>
                      <a:pt x="30" y="242"/>
                    </a:lnTo>
                    <a:lnTo>
                      <a:pt x="30" y="240"/>
                    </a:lnTo>
                    <a:lnTo>
                      <a:pt x="30" y="242"/>
                    </a:lnTo>
                    <a:lnTo>
                      <a:pt x="30" y="240"/>
                    </a:lnTo>
                    <a:lnTo>
                      <a:pt x="30" y="238"/>
                    </a:lnTo>
                    <a:lnTo>
                      <a:pt x="30" y="236"/>
                    </a:lnTo>
                    <a:lnTo>
                      <a:pt x="32" y="236"/>
                    </a:lnTo>
                    <a:lnTo>
                      <a:pt x="32" y="234"/>
                    </a:lnTo>
                    <a:lnTo>
                      <a:pt x="30" y="234"/>
                    </a:lnTo>
                    <a:lnTo>
                      <a:pt x="30" y="236"/>
                    </a:lnTo>
                    <a:lnTo>
                      <a:pt x="30" y="234"/>
                    </a:lnTo>
                    <a:lnTo>
                      <a:pt x="30" y="236"/>
                    </a:lnTo>
                    <a:lnTo>
                      <a:pt x="30" y="234"/>
                    </a:lnTo>
                    <a:lnTo>
                      <a:pt x="30" y="232"/>
                    </a:lnTo>
                    <a:lnTo>
                      <a:pt x="32" y="232"/>
                    </a:lnTo>
                    <a:lnTo>
                      <a:pt x="32" y="230"/>
                    </a:lnTo>
                    <a:lnTo>
                      <a:pt x="30" y="232"/>
                    </a:lnTo>
                    <a:lnTo>
                      <a:pt x="30" y="230"/>
                    </a:lnTo>
                    <a:lnTo>
                      <a:pt x="32" y="230"/>
                    </a:lnTo>
                    <a:lnTo>
                      <a:pt x="30" y="230"/>
                    </a:lnTo>
                    <a:lnTo>
                      <a:pt x="30" y="232"/>
                    </a:lnTo>
                    <a:lnTo>
                      <a:pt x="29" y="232"/>
                    </a:lnTo>
                    <a:lnTo>
                      <a:pt x="29" y="234"/>
                    </a:lnTo>
                    <a:lnTo>
                      <a:pt x="29" y="232"/>
                    </a:lnTo>
                    <a:lnTo>
                      <a:pt x="29" y="234"/>
                    </a:lnTo>
                    <a:lnTo>
                      <a:pt x="29" y="236"/>
                    </a:lnTo>
                    <a:lnTo>
                      <a:pt x="29" y="234"/>
                    </a:lnTo>
                    <a:lnTo>
                      <a:pt x="30" y="234"/>
                    </a:lnTo>
                    <a:lnTo>
                      <a:pt x="29" y="234"/>
                    </a:lnTo>
                    <a:lnTo>
                      <a:pt x="29" y="236"/>
                    </a:lnTo>
                    <a:lnTo>
                      <a:pt x="29" y="238"/>
                    </a:lnTo>
                    <a:lnTo>
                      <a:pt x="27" y="238"/>
                    </a:lnTo>
                    <a:lnTo>
                      <a:pt x="27" y="240"/>
                    </a:lnTo>
                    <a:lnTo>
                      <a:pt x="27" y="238"/>
                    </a:lnTo>
                    <a:lnTo>
                      <a:pt x="27" y="240"/>
                    </a:lnTo>
                    <a:lnTo>
                      <a:pt x="27" y="242"/>
                    </a:lnTo>
                    <a:lnTo>
                      <a:pt x="27" y="240"/>
                    </a:lnTo>
                    <a:lnTo>
                      <a:pt x="27" y="238"/>
                    </a:lnTo>
                    <a:lnTo>
                      <a:pt x="29" y="236"/>
                    </a:lnTo>
                    <a:lnTo>
                      <a:pt x="29" y="234"/>
                    </a:lnTo>
                    <a:lnTo>
                      <a:pt x="29" y="232"/>
                    </a:lnTo>
                    <a:lnTo>
                      <a:pt x="30" y="227"/>
                    </a:lnTo>
                    <a:lnTo>
                      <a:pt x="30" y="225"/>
                    </a:lnTo>
                    <a:lnTo>
                      <a:pt x="30" y="223"/>
                    </a:lnTo>
                    <a:lnTo>
                      <a:pt x="30" y="221"/>
                    </a:lnTo>
                    <a:lnTo>
                      <a:pt x="32" y="221"/>
                    </a:lnTo>
                    <a:lnTo>
                      <a:pt x="32" y="219"/>
                    </a:lnTo>
                    <a:lnTo>
                      <a:pt x="34" y="219"/>
                    </a:lnTo>
                    <a:lnTo>
                      <a:pt x="34" y="221"/>
                    </a:lnTo>
                    <a:lnTo>
                      <a:pt x="34" y="223"/>
                    </a:lnTo>
                    <a:lnTo>
                      <a:pt x="34" y="225"/>
                    </a:lnTo>
                    <a:lnTo>
                      <a:pt x="32" y="225"/>
                    </a:lnTo>
                    <a:lnTo>
                      <a:pt x="34" y="225"/>
                    </a:lnTo>
                    <a:lnTo>
                      <a:pt x="34" y="223"/>
                    </a:lnTo>
                    <a:lnTo>
                      <a:pt x="34" y="221"/>
                    </a:lnTo>
                    <a:lnTo>
                      <a:pt x="34" y="219"/>
                    </a:lnTo>
                    <a:lnTo>
                      <a:pt x="34" y="217"/>
                    </a:lnTo>
                    <a:lnTo>
                      <a:pt x="34" y="215"/>
                    </a:lnTo>
                    <a:lnTo>
                      <a:pt x="36" y="215"/>
                    </a:lnTo>
                    <a:lnTo>
                      <a:pt x="38" y="213"/>
                    </a:lnTo>
                    <a:lnTo>
                      <a:pt x="36" y="215"/>
                    </a:lnTo>
                    <a:lnTo>
                      <a:pt x="34" y="215"/>
                    </a:lnTo>
                    <a:lnTo>
                      <a:pt x="34" y="213"/>
                    </a:lnTo>
                    <a:lnTo>
                      <a:pt x="34" y="211"/>
                    </a:lnTo>
                    <a:lnTo>
                      <a:pt x="36" y="211"/>
                    </a:lnTo>
                    <a:lnTo>
                      <a:pt x="38" y="209"/>
                    </a:lnTo>
                    <a:lnTo>
                      <a:pt x="38" y="207"/>
                    </a:lnTo>
                    <a:lnTo>
                      <a:pt x="40" y="207"/>
                    </a:lnTo>
                    <a:lnTo>
                      <a:pt x="42" y="205"/>
                    </a:lnTo>
                    <a:lnTo>
                      <a:pt x="44" y="205"/>
                    </a:lnTo>
                    <a:lnTo>
                      <a:pt x="44" y="204"/>
                    </a:lnTo>
                    <a:lnTo>
                      <a:pt x="46" y="204"/>
                    </a:lnTo>
                    <a:lnTo>
                      <a:pt x="46" y="202"/>
                    </a:lnTo>
                    <a:lnTo>
                      <a:pt x="48" y="202"/>
                    </a:lnTo>
                    <a:lnTo>
                      <a:pt x="50" y="200"/>
                    </a:lnTo>
                    <a:lnTo>
                      <a:pt x="48" y="200"/>
                    </a:lnTo>
                    <a:lnTo>
                      <a:pt x="48" y="202"/>
                    </a:lnTo>
                    <a:lnTo>
                      <a:pt x="46" y="202"/>
                    </a:lnTo>
                    <a:lnTo>
                      <a:pt x="44" y="202"/>
                    </a:lnTo>
                    <a:lnTo>
                      <a:pt x="44" y="204"/>
                    </a:lnTo>
                    <a:lnTo>
                      <a:pt x="42" y="205"/>
                    </a:lnTo>
                    <a:lnTo>
                      <a:pt x="40" y="207"/>
                    </a:lnTo>
                    <a:lnTo>
                      <a:pt x="38" y="207"/>
                    </a:lnTo>
                    <a:lnTo>
                      <a:pt x="38" y="209"/>
                    </a:lnTo>
                    <a:lnTo>
                      <a:pt x="36" y="211"/>
                    </a:lnTo>
                    <a:lnTo>
                      <a:pt x="34" y="211"/>
                    </a:lnTo>
                    <a:lnTo>
                      <a:pt x="36" y="211"/>
                    </a:lnTo>
                    <a:lnTo>
                      <a:pt x="34" y="211"/>
                    </a:lnTo>
                    <a:lnTo>
                      <a:pt x="34" y="213"/>
                    </a:lnTo>
                    <a:lnTo>
                      <a:pt x="32" y="213"/>
                    </a:lnTo>
                    <a:lnTo>
                      <a:pt x="34" y="211"/>
                    </a:lnTo>
                    <a:lnTo>
                      <a:pt x="32" y="213"/>
                    </a:lnTo>
                    <a:lnTo>
                      <a:pt x="30" y="213"/>
                    </a:lnTo>
                    <a:lnTo>
                      <a:pt x="32" y="213"/>
                    </a:lnTo>
                    <a:lnTo>
                      <a:pt x="34" y="213"/>
                    </a:lnTo>
                    <a:lnTo>
                      <a:pt x="34" y="215"/>
                    </a:lnTo>
                    <a:lnTo>
                      <a:pt x="32" y="215"/>
                    </a:lnTo>
                    <a:lnTo>
                      <a:pt x="30" y="215"/>
                    </a:lnTo>
                    <a:lnTo>
                      <a:pt x="30" y="213"/>
                    </a:lnTo>
                    <a:lnTo>
                      <a:pt x="30" y="215"/>
                    </a:lnTo>
                    <a:lnTo>
                      <a:pt x="29" y="215"/>
                    </a:lnTo>
                    <a:lnTo>
                      <a:pt x="29" y="217"/>
                    </a:lnTo>
                    <a:lnTo>
                      <a:pt x="29" y="219"/>
                    </a:lnTo>
                    <a:lnTo>
                      <a:pt x="30" y="219"/>
                    </a:lnTo>
                    <a:lnTo>
                      <a:pt x="30" y="221"/>
                    </a:lnTo>
                    <a:lnTo>
                      <a:pt x="30" y="223"/>
                    </a:lnTo>
                    <a:lnTo>
                      <a:pt x="30" y="225"/>
                    </a:lnTo>
                    <a:lnTo>
                      <a:pt x="30" y="227"/>
                    </a:lnTo>
                    <a:lnTo>
                      <a:pt x="30" y="229"/>
                    </a:lnTo>
                    <a:lnTo>
                      <a:pt x="30" y="230"/>
                    </a:lnTo>
                    <a:lnTo>
                      <a:pt x="29" y="232"/>
                    </a:lnTo>
                    <a:lnTo>
                      <a:pt x="29" y="234"/>
                    </a:lnTo>
                    <a:lnTo>
                      <a:pt x="29" y="236"/>
                    </a:lnTo>
                    <a:lnTo>
                      <a:pt x="27" y="238"/>
                    </a:lnTo>
                    <a:lnTo>
                      <a:pt x="27" y="240"/>
                    </a:lnTo>
                    <a:lnTo>
                      <a:pt x="27" y="242"/>
                    </a:lnTo>
                    <a:lnTo>
                      <a:pt x="25" y="242"/>
                    </a:lnTo>
                    <a:lnTo>
                      <a:pt x="25" y="244"/>
                    </a:lnTo>
                    <a:lnTo>
                      <a:pt x="25" y="246"/>
                    </a:lnTo>
                    <a:lnTo>
                      <a:pt x="23" y="246"/>
                    </a:lnTo>
                    <a:lnTo>
                      <a:pt x="23" y="248"/>
                    </a:lnTo>
                    <a:lnTo>
                      <a:pt x="25" y="246"/>
                    </a:lnTo>
                    <a:lnTo>
                      <a:pt x="25" y="244"/>
                    </a:lnTo>
                    <a:lnTo>
                      <a:pt x="25" y="242"/>
                    </a:lnTo>
                    <a:lnTo>
                      <a:pt x="27" y="242"/>
                    </a:lnTo>
                    <a:lnTo>
                      <a:pt x="25" y="242"/>
                    </a:lnTo>
                    <a:lnTo>
                      <a:pt x="25" y="240"/>
                    </a:lnTo>
                    <a:lnTo>
                      <a:pt x="27" y="240"/>
                    </a:lnTo>
                    <a:lnTo>
                      <a:pt x="25" y="240"/>
                    </a:lnTo>
                    <a:lnTo>
                      <a:pt x="27" y="240"/>
                    </a:lnTo>
                    <a:lnTo>
                      <a:pt x="27" y="238"/>
                    </a:lnTo>
                    <a:lnTo>
                      <a:pt x="27" y="236"/>
                    </a:lnTo>
                    <a:lnTo>
                      <a:pt x="27" y="234"/>
                    </a:lnTo>
                    <a:lnTo>
                      <a:pt x="27" y="236"/>
                    </a:lnTo>
                    <a:lnTo>
                      <a:pt x="27" y="234"/>
                    </a:lnTo>
                    <a:lnTo>
                      <a:pt x="29" y="234"/>
                    </a:lnTo>
                    <a:lnTo>
                      <a:pt x="27" y="234"/>
                    </a:lnTo>
                    <a:lnTo>
                      <a:pt x="29" y="234"/>
                    </a:lnTo>
                    <a:lnTo>
                      <a:pt x="27" y="234"/>
                    </a:lnTo>
                    <a:lnTo>
                      <a:pt x="29" y="234"/>
                    </a:lnTo>
                    <a:lnTo>
                      <a:pt x="27" y="234"/>
                    </a:lnTo>
                    <a:lnTo>
                      <a:pt x="27" y="232"/>
                    </a:lnTo>
                    <a:lnTo>
                      <a:pt x="29" y="232"/>
                    </a:lnTo>
                    <a:lnTo>
                      <a:pt x="29" y="230"/>
                    </a:lnTo>
                    <a:lnTo>
                      <a:pt x="29" y="229"/>
                    </a:lnTo>
                    <a:lnTo>
                      <a:pt x="29" y="227"/>
                    </a:lnTo>
                    <a:lnTo>
                      <a:pt x="27" y="227"/>
                    </a:lnTo>
                    <a:lnTo>
                      <a:pt x="29" y="227"/>
                    </a:lnTo>
                    <a:lnTo>
                      <a:pt x="27" y="227"/>
                    </a:lnTo>
                    <a:lnTo>
                      <a:pt x="29" y="229"/>
                    </a:lnTo>
                    <a:lnTo>
                      <a:pt x="29" y="230"/>
                    </a:lnTo>
                    <a:lnTo>
                      <a:pt x="27" y="230"/>
                    </a:lnTo>
                    <a:lnTo>
                      <a:pt x="27" y="232"/>
                    </a:lnTo>
                    <a:lnTo>
                      <a:pt x="27" y="234"/>
                    </a:lnTo>
                    <a:lnTo>
                      <a:pt x="25" y="234"/>
                    </a:lnTo>
                    <a:lnTo>
                      <a:pt x="25" y="236"/>
                    </a:lnTo>
                    <a:lnTo>
                      <a:pt x="23" y="236"/>
                    </a:lnTo>
                    <a:lnTo>
                      <a:pt x="23" y="238"/>
                    </a:lnTo>
                    <a:lnTo>
                      <a:pt x="21" y="238"/>
                    </a:lnTo>
                    <a:lnTo>
                      <a:pt x="23" y="238"/>
                    </a:lnTo>
                    <a:lnTo>
                      <a:pt x="21" y="238"/>
                    </a:lnTo>
                    <a:lnTo>
                      <a:pt x="23" y="238"/>
                    </a:lnTo>
                    <a:lnTo>
                      <a:pt x="23" y="236"/>
                    </a:lnTo>
                    <a:lnTo>
                      <a:pt x="23" y="238"/>
                    </a:lnTo>
                    <a:lnTo>
                      <a:pt x="23" y="236"/>
                    </a:lnTo>
                    <a:lnTo>
                      <a:pt x="23" y="238"/>
                    </a:lnTo>
                    <a:lnTo>
                      <a:pt x="21" y="238"/>
                    </a:lnTo>
                    <a:lnTo>
                      <a:pt x="21" y="236"/>
                    </a:lnTo>
                    <a:lnTo>
                      <a:pt x="23" y="236"/>
                    </a:lnTo>
                    <a:lnTo>
                      <a:pt x="21" y="236"/>
                    </a:lnTo>
                    <a:lnTo>
                      <a:pt x="21" y="238"/>
                    </a:lnTo>
                    <a:lnTo>
                      <a:pt x="19" y="238"/>
                    </a:lnTo>
                    <a:lnTo>
                      <a:pt x="19" y="240"/>
                    </a:lnTo>
                    <a:lnTo>
                      <a:pt x="19" y="242"/>
                    </a:lnTo>
                    <a:lnTo>
                      <a:pt x="17" y="242"/>
                    </a:lnTo>
                    <a:lnTo>
                      <a:pt x="17" y="240"/>
                    </a:lnTo>
                    <a:lnTo>
                      <a:pt x="19" y="240"/>
                    </a:lnTo>
                    <a:lnTo>
                      <a:pt x="19" y="238"/>
                    </a:lnTo>
                    <a:lnTo>
                      <a:pt x="17" y="240"/>
                    </a:lnTo>
                    <a:lnTo>
                      <a:pt x="17" y="238"/>
                    </a:lnTo>
                    <a:lnTo>
                      <a:pt x="19" y="238"/>
                    </a:lnTo>
                    <a:lnTo>
                      <a:pt x="19" y="236"/>
                    </a:lnTo>
                    <a:lnTo>
                      <a:pt x="21" y="234"/>
                    </a:lnTo>
                    <a:lnTo>
                      <a:pt x="19" y="234"/>
                    </a:lnTo>
                    <a:lnTo>
                      <a:pt x="19" y="232"/>
                    </a:lnTo>
                    <a:lnTo>
                      <a:pt x="19" y="230"/>
                    </a:lnTo>
                    <a:lnTo>
                      <a:pt x="21" y="230"/>
                    </a:lnTo>
                    <a:lnTo>
                      <a:pt x="21" y="229"/>
                    </a:lnTo>
                    <a:lnTo>
                      <a:pt x="21" y="227"/>
                    </a:lnTo>
                    <a:lnTo>
                      <a:pt x="23" y="227"/>
                    </a:lnTo>
                    <a:lnTo>
                      <a:pt x="25" y="227"/>
                    </a:lnTo>
                    <a:lnTo>
                      <a:pt x="25" y="229"/>
                    </a:lnTo>
                    <a:lnTo>
                      <a:pt x="25" y="227"/>
                    </a:lnTo>
                    <a:lnTo>
                      <a:pt x="25" y="225"/>
                    </a:lnTo>
                    <a:lnTo>
                      <a:pt x="23" y="225"/>
                    </a:lnTo>
                    <a:lnTo>
                      <a:pt x="21" y="225"/>
                    </a:lnTo>
                    <a:lnTo>
                      <a:pt x="21" y="223"/>
                    </a:lnTo>
                    <a:lnTo>
                      <a:pt x="19" y="223"/>
                    </a:lnTo>
                    <a:lnTo>
                      <a:pt x="19" y="221"/>
                    </a:lnTo>
                    <a:lnTo>
                      <a:pt x="17" y="221"/>
                    </a:lnTo>
                    <a:lnTo>
                      <a:pt x="17" y="219"/>
                    </a:lnTo>
                    <a:lnTo>
                      <a:pt x="15" y="221"/>
                    </a:lnTo>
                    <a:lnTo>
                      <a:pt x="13" y="221"/>
                    </a:lnTo>
                    <a:lnTo>
                      <a:pt x="11" y="221"/>
                    </a:lnTo>
                    <a:lnTo>
                      <a:pt x="9" y="221"/>
                    </a:lnTo>
                    <a:lnTo>
                      <a:pt x="7" y="219"/>
                    </a:lnTo>
                    <a:lnTo>
                      <a:pt x="5" y="219"/>
                    </a:lnTo>
                    <a:lnTo>
                      <a:pt x="5" y="217"/>
                    </a:lnTo>
                    <a:lnTo>
                      <a:pt x="4" y="217"/>
                    </a:lnTo>
                    <a:lnTo>
                      <a:pt x="2" y="217"/>
                    </a:lnTo>
                    <a:lnTo>
                      <a:pt x="0" y="217"/>
                    </a:lnTo>
                    <a:lnTo>
                      <a:pt x="15" y="200"/>
                    </a:lnTo>
                    <a:lnTo>
                      <a:pt x="17" y="198"/>
                    </a:lnTo>
                    <a:lnTo>
                      <a:pt x="19" y="196"/>
                    </a:lnTo>
                    <a:lnTo>
                      <a:pt x="19" y="194"/>
                    </a:lnTo>
                    <a:lnTo>
                      <a:pt x="21" y="194"/>
                    </a:lnTo>
                    <a:lnTo>
                      <a:pt x="25" y="190"/>
                    </a:lnTo>
                    <a:lnTo>
                      <a:pt x="25" y="188"/>
                    </a:lnTo>
                    <a:lnTo>
                      <a:pt x="27" y="188"/>
                    </a:lnTo>
                    <a:lnTo>
                      <a:pt x="27" y="184"/>
                    </a:lnTo>
                    <a:lnTo>
                      <a:pt x="23" y="184"/>
                    </a:lnTo>
                    <a:lnTo>
                      <a:pt x="21" y="184"/>
                    </a:lnTo>
                    <a:lnTo>
                      <a:pt x="17" y="182"/>
                    </a:lnTo>
                    <a:lnTo>
                      <a:pt x="23" y="175"/>
                    </a:lnTo>
                    <a:lnTo>
                      <a:pt x="11" y="165"/>
                    </a:lnTo>
                    <a:lnTo>
                      <a:pt x="19" y="159"/>
                    </a:lnTo>
                    <a:lnTo>
                      <a:pt x="27" y="163"/>
                    </a:lnTo>
                    <a:lnTo>
                      <a:pt x="30" y="165"/>
                    </a:lnTo>
                    <a:lnTo>
                      <a:pt x="32" y="159"/>
                    </a:lnTo>
                    <a:lnTo>
                      <a:pt x="32" y="157"/>
                    </a:lnTo>
                    <a:lnTo>
                      <a:pt x="40" y="154"/>
                    </a:lnTo>
                    <a:lnTo>
                      <a:pt x="44" y="155"/>
                    </a:lnTo>
                    <a:lnTo>
                      <a:pt x="46" y="155"/>
                    </a:lnTo>
                    <a:lnTo>
                      <a:pt x="46" y="152"/>
                    </a:lnTo>
                    <a:lnTo>
                      <a:pt x="50" y="154"/>
                    </a:lnTo>
                    <a:lnTo>
                      <a:pt x="50" y="142"/>
                    </a:lnTo>
                    <a:lnTo>
                      <a:pt x="44" y="140"/>
                    </a:lnTo>
                    <a:lnTo>
                      <a:pt x="46" y="134"/>
                    </a:lnTo>
                    <a:lnTo>
                      <a:pt x="46" y="132"/>
                    </a:lnTo>
                    <a:lnTo>
                      <a:pt x="42" y="129"/>
                    </a:lnTo>
                    <a:lnTo>
                      <a:pt x="42" y="123"/>
                    </a:lnTo>
                    <a:lnTo>
                      <a:pt x="44" y="117"/>
                    </a:lnTo>
                    <a:lnTo>
                      <a:pt x="44" y="115"/>
                    </a:lnTo>
                    <a:lnTo>
                      <a:pt x="44" y="111"/>
                    </a:lnTo>
                    <a:lnTo>
                      <a:pt x="46" y="107"/>
                    </a:lnTo>
                    <a:lnTo>
                      <a:pt x="46" y="98"/>
                    </a:lnTo>
                    <a:lnTo>
                      <a:pt x="54" y="96"/>
                    </a:lnTo>
                    <a:lnTo>
                      <a:pt x="57" y="96"/>
                    </a:lnTo>
                    <a:lnTo>
                      <a:pt x="63" y="96"/>
                    </a:lnTo>
                    <a:lnTo>
                      <a:pt x="61" y="94"/>
                    </a:lnTo>
                    <a:lnTo>
                      <a:pt x="61" y="92"/>
                    </a:lnTo>
                    <a:lnTo>
                      <a:pt x="61" y="90"/>
                    </a:lnTo>
                    <a:lnTo>
                      <a:pt x="59" y="90"/>
                    </a:lnTo>
                    <a:lnTo>
                      <a:pt x="57" y="90"/>
                    </a:lnTo>
                    <a:lnTo>
                      <a:pt x="42" y="96"/>
                    </a:lnTo>
                    <a:lnTo>
                      <a:pt x="38" y="92"/>
                    </a:lnTo>
                    <a:lnTo>
                      <a:pt x="36" y="86"/>
                    </a:lnTo>
                    <a:lnTo>
                      <a:pt x="34" y="84"/>
                    </a:lnTo>
                    <a:lnTo>
                      <a:pt x="34" y="79"/>
                    </a:lnTo>
                    <a:lnTo>
                      <a:pt x="34" y="73"/>
                    </a:lnTo>
                    <a:lnTo>
                      <a:pt x="34" y="71"/>
                    </a:lnTo>
                    <a:lnTo>
                      <a:pt x="36" y="67"/>
                    </a:lnTo>
                    <a:lnTo>
                      <a:pt x="34" y="67"/>
                    </a:lnTo>
                    <a:lnTo>
                      <a:pt x="34" y="59"/>
                    </a:lnTo>
                    <a:lnTo>
                      <a:pt x="34" y="57"/>
                    </a:lnTo>
                    <a:lnTo>
                      <a:pt x="34" y="54"/>
                    </a:lnTo>
                    <a:lnTo>
                      <a:pt x="36" y="52"/>
                    </a:lnTo>
                    <a:lnTo>
                      <a:pt x="38" y="50"/>
                    </a:lnTo>
                    <a:lnTo>
                      <a:pt x="40" y="48"/>
                    </a:lnTo>
                    <a:lnTo>
                      <a:pt x="38" y="46"/>
                    </a:lnTo>
                    <a:lnTo>
                      <a:pt x="32" y="44"/>
                    </a:lnTo>
                    <a:lnTo>
                      <a:pt x="30" y="36"/>
                    </a:lnTo>
                    <a:lnTo>
                      <a:pt x="30" y="34"/>
                    </a:lnTo>
                    <a:lnTo>
                      <a:pt x="29" y="34"/>
                    </a:lnTo>
                    <a:lnTo>
                      <a:pt x="27" y="32"/>
                    </a:lnTo>
                    <a:lnTo>
                      <a:pt x="29" y="29"/>
                    </a:lnTo>
                    <a:lnTo>
                      <a:pt x="27" y="25"/>
                    </a:lnTo>
                    <a:lnTo>
                      <a:pt x="29" y="23"/>
                    </a:lnTo>
                    <a:lnTo>
                      <a:pt x="25" y="21"/>
                    </a:lnTo>
                    <a:lnTo>
                      <a:pt x="23" y="17"/>
                    </a:lnTo>
                    <a:lnTo>
                      <a:pt x="23" y="15"/>
                    </a:lnTo>
                    <a:lnTo>
                      <a:pt x="27" y="13"/>
                    </a:lnTo>
                    <a:lnTo>
                      <a:pt x="27" y="11"/>
                    </a:lnTo>
                    <a:lnTo>
                      <a:pt x="27" y="13"/>
                    </a:lnTo>
                    <a:lnTo>
                      <a:pt x="29" y="11"/>
                    </a:lnTo>
                    <a:lnTo>
                      <a:pt x="29" y="9"/>
                    </a:lnTo>
                    <a:lnTo>
                      <a:pt x="29" y="7"/>
                    </a:lnTo>
                    <a:lnTo>
                      <a:pt x="30" y="9"/>
                    </a:lnTo>
                    <a:lnTo>
                      <a:pt x="32" y="9"/>
                    </a:lnTo>
                    <a:lnTo>
                      <a:pt x="32" y="7"/>
                    </a:lnTo>
                    <a:lnTo>
                      <a:pt x="34" y="7"/>
                    </a:lnTo>
                    <a:lnTo>
                      <a:pt x="36" y="7"/>
                    </a:lnTo>
                    <a:lnTo>
                      <a:pt x="36" y="9"/>
                    </a:lnTo>
                    <a:lnTo>
                      <a:pt x="38" y="9"/>
                    </a:lnTo>
                    <a:lnTo>
                      <a:pt x="40" y="9"/>
                    </a:lnTo>
                    <a:lnTo>
                      <a:pt x="40" y="11"/>
                    </a:lnTo>
                    <a:lnTo>
                      <a:pt x="40" y="13"/>
                    </a:lnTo>
                    <a:lnTo>
                      <a:pt x="42" y="13"/>
                    </a:lnTo>
                    <a:lnTo>
                      <a:pt x="44" y="13"/>
                    </a:lnTo>
                    <a:lnTo>
                      <a:pt x="44" y="11"/>
                    </a:lnTo>
                    <a:lnTo>
                      <a:pt x="42" y="11"/>
                    </a:lnTo>
                    <a:lnTo>
                      <a:pt x="44" y="11"/>
                    </a:lnTo>
                    <a:lnTo>
                      <a:pt x="42" y="11"/>
                    </a:lnTo>
                    <a:lnTo>
                      <a:pt x="44" y="9"/>
                    </a:lnTo>
                    <a:lnTo>
                      <a:pt x="42" y="9"/>
                    </a:lnTo>
                    <a:lnTo>
                      <a:pt x="42" y="7"/>
                    </a:lnTo>
                    <a:lnTo>
                      <a:pt x="40" y="7"/>
                    </a:lnTo>
                    <a:lnTo>
                      <a:pt x="40" y="5"/>
                    </a:lnTo>
                    <a:lnTo>
                      <a:pt x="40" y="7"/>
                    </a:lnTo>
                    <a:lnTo>
                      <a:pt x="40" y="5"/>
                    </a:lnTo>
                    <a:lnTo>
                      <a:pt x="40" y="4"/>
                    </a:lnTo>
                    <a:lnTo>
                      <a:pt x="42" y="4"/>
                    </a:lnTo>
                    <a:lnTo>
                      <a:pt x="42" y="5"/>
                    </a:lnTo>
                    <a:lnTo>
                      <a:pt x="44" y="5"/>
                    </a:lnTo>
                    <a:lnTo>
                      <a:pt x="44" y="4"/>
                    </a:lnTo>
                    <a:lnTo>
                      <a:pt x="44" y="5"/>
                    </a:lnTo>
                    <a:lnTo>
                      <a:pt x="46" y="5"/>
                    </a:lnTo>
                    <a:lnTo>
                      <a:pt x="46" y="7"/>
                    </a:lnTo>
                    <a:lnTo>
                      <a:pt x="46" y="5"/>
                    </a:lnTo>
                    <a:lnTo>
                      <a:pt x="46" y="7"/>
                    </a:lnTo>
                    <a:lnTo>
                      <a:pt x="46" y="5"/>
                    </a:lnTo>
                    <a:lnTo>
                      <a:pt x="48" y="5"/>
                    </a:lnTo>
                    <a:lnTo>
                      <a:pt x="48" y="7"/>
                    </a:lnTo>
                    <a:lnTo>
                      <a:pt x="48" y="5"/>
                    </a:lnTo>
                    <a:lnTo>
                      <a:pt x="50" y="5"/>
                    </a:lnTo>
                    <a:lnTo>
                      <a:pt x="50" y="7"/>
                    </a:lnTo>
                    <a:lnTo>
                      <a:pt x="52" y="7"/>
                    </a:lnTo>
                    <a:lnTo>
                      <a:pt x="54" y="7"/>
                    </a:lnTo>
                    <a:lnTo>
                      <a:pt x="54" y="9"/>
                    </a:lnTo>
                    <a:lnTo>
                      <a:pt x="54" y="7"/>
                    </a:lnTo>
                    <a:lnTo>
                      <a:pt x="55" y="7"/>
                    </a:lnTo>
                    <a:lnTo>
                      <a:pt x="57" y="7"/>
                    </a:lnTo>
                    <a:lnTo>
                      <a:pt x="59" y="7"/>
                    </a:lnTo>
                    <a:lnTo>
                      <a:pt x="61" y="7"/>
                    </a:lnTo>
                    <a:lnTo>
                      <a:pt x="67" y="5"/>
                    </a:lnTo>
                    <a:lnTo>
                      <a:pt x="69" y="5"/>
                    </a:lnTo>
                    <a:lnTo>
                      <a:pt x="71" y="4"/>
                    </a:lnTo>
                    <a:lnTo>
                      <a:pt x="73" y="4"/>
                    </a:lnTo>
                    <a:lnTo>
                      <a:pt x="73" y="2"/>
                    </a:lnTo>
                    <a:lnTo>
                      <a:pt x="75" y="0"/>
                    </a:lnTo>
                    <a:lnTo>
                      <a:pt x="77" y="0"/>
                    </a:lnTo>
                    <a:lnTo>
                      <a:pt x="78" y="0"/>
                    </a:lnTo>
                    <a:lnTo>
                      <a:pt x="78" y="2"/>
                    </a:lnTo>
                    <a:lnTo>
                      <a:pt x="80" y="4"/>
                    </a:lnTo>
                    <a:lnTo>
                      <a:pt x="80" y="2"/>
                    </a:lnTo>
                    <a:lnTo>
                      <a:pt x="82" y="4"/>
                    </a:lnTo>
                    <a:lnTo>
                      <a:pt x="82" y="5"/>
                    </a:lnTo>
                    <a:lnTo>
                      <a:pt x="86" y="7"/>
                    </a:lnTo>
                    <a:lnTo>
                      <a:pt x="88" y="13"/>
                    </a:lnTo>
                    <a:lnTo>
                      <a:pt x="88" y="15"/>
                    </a:lnTo>
                    <a:lnTo>
                      <a:pt x="90" y="23"/>
                    </a:lnTo>
                    <a:lnTo>
                      <a:pt x="78" y="34"/>
                    </a:lnTo>
                    <a:lnTo>
                      <a:pt x="80" y="38"/>
                    </a:lnTo>
                    <a:lnTo>
                      <a:pt x="82" y="40"/>
                    </a:lnTo>
                    <a:lnTo>
                      <a:pt x="84" y="40"/>
                    </a:lnTo>
                    <a:lnTo>
                      <a:pt x="84" y="44"/>
                    </a:lnTo>
                    <a:lnTo>
                      <a:pt x="86" y="46"/>
                    </a:lnTo>
                    <a:lnTo>
                      <a:pt x="88" y="48"/>
                    </a:lnTo>
                    <a:lnTo>
                      <a:pt x="88" y="50"/>
                    </a:lnTo>
                    <a:lnTo>
                      <a:pt x="90" y="50"/>
                    </a:lnTo>
                    <a:lnTo>
                      <a:pt x="92" y="54"/>
                    </a:lnTo>
                    <a:lnTo>
                      <a:pt x="94" y="57"/>
                    </a:lnTo>
                    <a:lnTo>
                      <a:pt x="92" y="59"/>
                    </a:lnTo>
                    <a:lnTo>
                      <a:pt x="92" y="61"/>
                    </a:lnTo>
                    <a:lnTo>
                      <a:pt x="92" y="63"/>
                    </a:lnTo>
                    <a:lnTo>
                      <a:pt x="88" y="65"/>
                    </a:lnTo>
                    <a:lnTo>
                      <a:pt x="92" y="69"/>
                    </a:lnTo>
                    <a:lnTo>
                      <a:pt x="90" y="71"/>
                    </a:lnTo>
                    <a:lnTo>
                      <a:pt x="90" y="69"/>
                    </a:lnTo>
                    <a:lnTo>
                      <a:pt x="88" y="71"/>
                    </a:lnTo>
                    <a:lnTo>
                      <a:pt x="84" y="71"/>
                    </a:lnTo>
                    <a:lnTo>
                      <a:pt x="82" y="77"/>
                    </a:lnTo>
                    <a:lnTo>
                      <a:pt x="82" y="82"/>
                    </a:lnTo>
                    <a:lnTo>
                      <a:pt x="80" y="82"/>
                    </a:lnTo>
                    <a:lnTo>
                      <a:pt x="80" y="86"/>
                    </a:lnTo>
                    <a:lnTo>
                      <a:pt x="80" y="88"/>
                    </a:lnTo>
                    <a:lnTo>
                      <a:pt x="80" y="90"/>
                    </a:lnTo>
                    <a:lnTo>
                      <a:pt x="84" y="96"/>
                    </a:lnTo>
                    <a:lnTo>
                      <a:pt x="84" y="98"/>
                    </a:lnTo>
                    <a:lnTo>
                      <a:pt x="88" y="94"/>
                    </a:lnTo>
                    <a:lnTo>
                      <a:pt x="88" y="90"/>
                    </a:lnTo>
                    <a:lnTo>
                      <a:pt x="90" y="88"/>
                    </a:lnTo>
                    <a:lnTo>
                      <a:pt x="96" y="96"/>
                    </a:lnTo>
                    <a:lnTo>
                      <a:pt x="96" y="98"/>
                    </a:lnTo>
                    <a:lnTo>
                      <a:pt x="100" y="100"/>
                    </a:lnTo>
                    <a:lnTo>
                      <a:pt x="105" y="104"/>
                    </a:lnTo>
                    <a:lnTo>
                      <a:pt x="107" y="104"/>
                    </a:lnTo>
                    <a:lnTo>
                      <a:pt x="109" y="104"/>
                    </a:lnTo>
                    <a:lnTo>
                      <a:pt x="111" y="107"/>
                    </a:lnTo>
                    <a:lnTo>
                      <a:pt x="113" y="111"/>
                    </a:lnTo>
                    <a:lnTo>
                      <a:pt x="113" y="132"/>
                    </a:lnTo>
                    <a:lnTo>
                      <a:pt x="115" y="134"/>
                    </a:lnTo>
                    <a:lnTo>
                      <a:pt x="113" y="142"/>
                    </a:lnTo>
                    <a:lnTo>
                      <a:pt x="113" y="152"/>
                    </a:lnTo>
                    <a:lnTo>
                      <a:pt x="111" y="157"/>
                    </a:lnTo>
                    <a:lnTo>
                      <a:pt x="111" y="173"/>
                    </a:lnTo>
                    <a:lnTo>
                      <a:pt x="113" y="177"/>
                    </a:lnTo>
                    <a:lnTo>
                      <a:pt x="113" y="179"/>
                    </a:lnTo>
                    <a:lnTo>
                      <a:pt x="113" y="180"/>
                    </a:lnTo>
                    <a:lnTo>
                      <a:pt x="113" y="182"/>
                    </a:lnTo>
                    <a:lnTo>
                      <a:pt x="111" y="182"/>
                    </a:lnTo>
                    <a:lnTo>
                      <a:pt x="111" y="184"/>
                    </a:lnTo>
                    <a:lnTo>
                      <a:pt x="105" y="186"/>
                    </a:lnTo>
                    <a:lnTo>
                      <a:pt x="100" y="182"/>
                    </a:lnTo>
                    <a:lnTo>
                      <a:pt x="100" y="180"/>
                    </a:lnTo>
                    <a:lnTo>
                      <a:pt x="100" y="179"/>
                    </a:lnTo>
                    <a:lnTo>
                      <a:pt x="100" y="177"/>
                    </a:lnTo>
                    <a:lnTo>
                      <a:pt x="98" y="175"/>
                    </a:lnTo>
                    <a:lnTo>
                      <a:pt x="96" y="175"/>
                    </a:lnTo>
                    <a:lnTo>
                      <a:pt x="94" y="175"/>
                    </a:lnTo>
                    <a:lnTo>
                      <a:pt x="94" y="177"/>
                    </a:lnTo>
                    <a:lnTo>
                      <a:pt x="92" y="177"/>
                    </a:lnTo>
                    <a:lnTo>
                      <a:pt x="92" y="179"/>
                    </a:lnTo>
                    <a:lnTo>
                      <a:pt x="90" y="179"/>
                    </a:lnTo>
                    <a:lnTo>
                      <a:pt x="90" y="180"/>
                    </a:lnTo>
                    <a:lnTo>
                      <a:pt x="92" y="182"/>
                    </a:lnTo>
                    <a:lnTo>
                      <a:pt x="92" y="184"/>
                    </a:lnTo>
                    <a:lnTo>
                      <a:pt x="92" y="186"/>
                    </a:lnTo>
                    <a:lnTo>
                      <a:pt x="90" y="186"/>
                    </a:lnTo>
                    <a:lnTo>
                      <a:pt x="88" y="188"/>
                    </a:lnTo>
                    <a:lnTo>
                      <a:pt x="90" y="188"/>
                    </a:lnTo>
                    <a:lnTo>
                      <a:pt x="92" y="188"/>
                    </a:lnTo>
                    <a:lnTo>
                      <a:pt x="92" y="190"/>
                    </a:lnTo>
                    <a:lnTo>
                      <a:pt x="94" y="190"/>
                    </a:lnTo>
                    <a:lnTo>
                      <a:pt x="96" y="190"/>
                    </a:lnTo>
                    <a:lnTo>
                      <a:pt x="96" y="192"/>
                    </a:lnTo>
                    <a:lnTo>
                      <a:pt x="96" y="194"/>
                    </a:lnTo>
                    <a:lnTo>
                      <a:pt x="96" y="196"/>
                    </a:lnTo>
                    <a:lnTo>
                      <a:pt x="96" y="198"/>
                    </a:lnTo>
                    <a:lnTo>
                      <a:pt x="98" y="198"/>
                    </a:lnTo>
                    <a:lnTo>
                      <a:pt x="98" y="200"/>
                    </a:lnTo>
                    <a:lnTo>
                      <a:pt x="100" y="202"/>
                    </a:lnTo>
                    <a:lnTo>
                      <a:pt x="100" y="204"/>
                    </a:lnTo>
                    <a:lnTo>
                      <a:pt x="102" y="204"/>
                    </a:lnTo>
                    <a:lnTo>
                      <a:pt x="102" y="205"/>
                    </a:lnTo>
                    <a:lnTo>
                      <a:pt x="102" y="207"/>
                    </a:lnTo>
                    <a:lnTo>
                      <a:pt x="103" y="207"/>
                    </a:lnTo>
                    <a:lnTo>
                      <a:pt x="103" y="209"/>
                    </a:lnTo>
                    <a:lnTo>
                      <a:pt x="105" y="209"/>
                    </a:lnTo>
                    <a:lnTo>
                      <a:pt x="105" y="211"/>
                    </a:lnTo>
                    <a:lnTo>
                      <a:pt x="105" y="213"/>
                    </a:lnTo>
                    <a:lnTo>
                      <a:pt x="105" y="215"/>
                    </a:lnTo>
                    <a:lnTo>
                      <a:pt x="105" y="217"/>
                    </a:lnTo>
                    <a:lnTo>
                      <a:pt x="103" y="215"/>
                    </a:lnTo>
                    <a:lnTo>
                      <a:pt x="103" y="217"/>
                    </a:lnTo>
                    <a:lnTo>
                      <a:pt x="103" y="219"/>
                    </a:lnTo>
                    <a:lnTo>
                      <a:pt x="103" y="221"/>
                    </a:lnTo>
                    <a:lnTo>
                      <a:pt x="105" y="221"/>
                    </a:lnTo>
                    <a:lnTo>
                      <a:pt x="105" y="223"/>
                    </a:lnTo>
                    <a:lnTo>
                      <a:pt x="105" y="225"/>
                    </a:lnTo>
                    <a:lnTo>
                      <a:pt x="105" y="223"/>
                    </a:lnTo>
                    <a:lnTo>
                      <a:pt x="105" y="225"/>
                    </a:lnTo>
                    <a:lnTo>
                      <a:pt x="105" y="227"/>
                    </a:lnTo>
                    <a:lnTo>
                      <a:pt x="103" y="227"/>
                    </a:lnTo>
                    <a:lnTo>
                      <a:pt x="105" y="227"/>
                    </a:lnTo>
                    <a:lnTo>
                      <a:pt x="103" y="227"/>
                    </a:lnTo>
                    <a:lnTo>
                      <a:pt x="103" y="225"/>
                    </a:lnTo>
                    <a:lnTo>
                      <a:pt x="102" y="225"/>
                    </a:lnTo>
                    <a:lnTo>
                      <a:pt x="102" y="223"/>
                    </a:lnTo>
                    <a:lnTo>
                      <a:pt x="103" y="223"/>
                    </a:lnTo>
                    <a:lnTo>
                      <a:pt x="103" y="225"/>
                    </a:lnTo>
                    <a:lnTo>
                      <a:pt x="103" y="223"/>
                    </a:lnTo>
                    <a:lnTo>
                      <a:pt x="102" y="223"/>
                    </a:lnTo>
                    <a:lnTo>
                      <a:pt x="102" y="225"/>
                    </a:lnTo>
                    <a:lnTo>
                      <a:pt x="102" y="227"/>
                    </a:lnTo>
                    <a:lnTo>
                      <a:pt x="100" y="227"/>
                    </a:lnTo>
                    <a:lnTo>
                      <a:pt x="102" y="225"/>
                    </a:lnTo>
                    <a:lnTo>
                      <a:pt x="100" y="225"/>
                    </a:lnTo>
                    <a:lnTo>
                      <a:pt x="102" y="225"/>
                    </a:lnTo>
                    <a:lnTo>
                      <a:pt x="100" y="225"/>
                    </a:lnTo>
                    <a:lnTo>
                      <a:pt x="100" y="227"/>
                    </a:lnTo>
                    <a:lnTo>
                      <a:pt x="100" y="229"/>
                    </a:lnTo>
                    <a:lnTo>
                      <a:pt x="98" y="229"/>
                    </a:lnTo>
                    <a:lnTo>
                      <a:pt x="98" y="230"/>
                    </a:lnTo>
                    <a:lnTo>
                      <a:pt x="98" y="232"/>
                    </a:lnTo>
                    <a:lnTo>
                      <a:pt x="96" y="232"/>
                    </a:lnTo>
                    <a:lnTo>
                      <a:pt x="96" y="234"/>
                    </a:lnTo>
                    <a:lnTo>
                      <a:pt x="98" y="234"/>
                    </a:lnTo>
                    <a:lnTo>
                      <a:pt x="96" y="234"/>
                    </a:lnTo>
                    <a:lnTo>
                      <a:pt x="94" y="234"/>
                    </a:lnTo>
                    <a:lnTo>
                      <a:pt x="94" y="23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15">
                <a:extLst>
                  <a:ext uri="{FF2B5EF4-FFF2-40B4-BE49-F238E27FC236}">
                    <a16:creationId xmlns="" xmlns:a16="http://schemas.microsoft.com/office/drawing/2014/main" id="{CC7EA75C-3FB6-460E-9F33-BC80DCF05D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30400" y="4711701"/>
                <a:ext cx="149225" cy="100013"/>
              </a:xfrm>
              <a:custGeom>
                <a:avLst/>
                <a:gdLst>
                  <a:gd name="T0" fmla="*/ 0 w 94"/>
                  <a:gd name="T1" fmla="*/ 46 h 63"/>
                  <a:gd name="T2" fmla="*/ 2 w 94"/>
                  <a:gd name="T3" fmla="*/ 44 h 63"/>
                  <a:gd name="T4" fmla="*/ 2 w 94"/>
                  <a:gd name="T5" fmla="*/ 42 h 63"/>
                  <a:gd name="T6" fmla="*/ 14 w 94"/>
                  <a:gd name="T7" fmla="*/ 48 h 63"/>
                  <a:gd name="T8" fmla="*/ 14 w 94"/>
                  <a:gd name="T9" fmla="*/ 44 h 63"/>
                  <a:gd name="T10" fmla="*/ 6 w 94"/>
                  <a:gd name="T11" fmla="*/ 39 h 63"/>
                  <a:gd name="T12" fmla="*/ 19 w 94"/>
                  <a:gd name="T13" fmla="*/ 39 h 63"/>
                  <a:gd name="T14" fmla="*/ 6 w 94"/>
                  <a:gd name="T15" fmla="*/ 37 h 63"/>
                  <a:gd name="T16" fmla="*/ 8 w 94"/>
                  <a:gd name="T17" fmla="*/ 37 h 63"/>
                  <a:gd name="T18" fmla="*/ 21 w 94"/>
                  <a:gd name="T19" fmla="*/ 37 h 63"/>
                  <a:gd name="T20" fmla="*/ 19 w 94"/>
                  <a:gd name="T21" fmla="*/ 39 h 63"/>
                  <a:gd name="T22" fmla="*/ 21 w 94"/>
                  <a:gd name="T23" fmla="*/ 37 h 63"/>
                  <a:gd name="T24" fmla="*/ 6 w 94"/>
                  <a:gd name="T25" fmla="*/ 37 h 63"/>
                  <a:gd name="T26" fmla="*/ 6 w 94"/>
                  <a:gd name="T27" fmla="*/ 39 h 63"/>
                  <a:gd name="T28" fmla="*/ 10 w 94"/>
                  <a:gd name="T29" fmla="*/ 33 h 63"/>
                  <a:gd name="T30" fmla="*/ 16 w 94"/>
                  <a:gd name="T31" fmla="*/ 33 h 63"/>
                  <a:gd name="T32" fmla="*/ 21 w 94"/>
                  <a:gd name="T33" fmla="*/ 35 h 63"/>
                  <a:gd name="T34" fmla="*/ 6 w 94"/>
                  <a:gd name="T35" fmla="*/ 27 h 63"/>
                  <a:gd name="T36" fmla="*/ 27 w 94"/>
                  <a:gd name="T37" fmla="*/ 37 h 63"/>
                  <a:gd name="T38" fmla="*/ 14 w 94"/>
                  <a:gd name="T39" fmla="*/ 31 h 63"/>
                  <a:gd name="T40" fmla="*/ 12 w 94"/>
                  <a:gd name="T41" fmla="*/ 35 h 63"/>
                  <a:gd name="T42" fmla="*/ 10 w 94"/>
                  <a:gd name="T43" fmla="*/ 39 h 63"/>
                  <a:gd name="T44" fmla="*/ 10 w 94"/>
                  <a:gd name="T45" fmla="*/ 33 h 63"/>
                  <a:gd name="T46" fmla="*/ 14 w 94"/>
                  <a:gd name="T47" fmla="*/ 29 h 63"/>
                  <a:gd name="T48" fmla="*/ 14 w 94"/>
                  <a:gd name="T49" fmla="*/ 27 h 63"/>
                  <a:gd name="T50" fmla="*/ 12 w 94"/>
                  <a:gd name="T51" fmla="*/ 25 h 63"/>
                  <a:gd name="T52" fmla="*/ 33 w 94"/>
                  <a:gd name="T53" fmla="*/ 37 h 63"/>
                  <a:gd name="T54" fmla="*/ 25 w 94"/>
                  <a:gd name="T55" fmla="*/ 29 h 63"/>
                  <a:gd name="T56" fmla="*/ 25 w 94"/>
                  <a:gd name="T57" fmla="*/ 29 h 63"/>
                  <a:gd name="T58" fmla="*/ 12 w 94"/>
                  <a:gd name="T59" fmla="*/ 23 h 63"/>
                  <a:gd name="T60" fmla="*/ 35 w 94"/>
                  <a:gd name="T61" fmla="*/ 33 h 63"/>
                  <a:gd name="T62" fmla="*/ 29 w 94"/>
                  <a:gd name="T63" fmla="*/ 29 h 63"/>
                  <a:gd name="T64" fmla="*/ 25 w 94"/>
                  <a:gd name="T65" fmla="*/ 25 h 63"/>
                  <a:gd name="T66" fmla="*/ 31 w 94"/>
                  <a:gd name="T67" fmla="*/ 23 h 63"/>
                  <a:gd name="T68" fmla="*/ 37 w 94"/>
                  <a:gd name="T69" fmla="*/ 23 h 63"/>
                  <a:gd name="T70" fmla="*/ 37 w 94"/>
                  <a:gd name="T71" fmla="*/ 21 h 63"/>
                  <a:gd name="T72" fmla="*/ 35 w 94"/>
                  <a:gd name="T73" fmla="*/ 19 h 63"/>
                  <a:gd name="T74" fmla="*/ 17 w 94"/>
                  <a:gd name="T75" fmla="*/ 6 h 63"/>
                  <a:gd name="T76" fmla="*/ 60 w 94"/>
                  <a:gd name="T77" fmla="*/ 27 h 63"/>
                  <a:gd name="T78" fmla="*/ 21 w 94"/>
                  <a:gd name="T79" fmla="*/ 4 h 63"/>
                  <a:gd name="T80" fmla="*/ 16 w 94"/>
                  <a:gd name="T81" fmla="*/ 2 h 63"/>
                  <a:gd name="T82" fmla="*/ 21 w 94"/>
                  <a:gd name="T83" fmla="*/ 0 h 63"/>
                  <a:gd name="T84" fmla="*/ 73 w 94"/>
                  <a:gd name="T85" fmla="*/ 21 h 63"/>
                  <a:gd name="T86" fmla="*/ 94 w 94"/>
                  <a:gd name="T87" fmla="*/ 29 h 63"/>
                  <a:gd name="T88" fmla="*/ 92 w 94"/>
                  <a:gd name="T89" fmla="*/ 31 h 63"/>
                  <a:gd name="T90" fmla="*/ 89 w 94"/>
                  <a:gd name="T91" fmla="*/ 25 h 63"/>
                  <a:gd name="T92" fmla="*/ 73 w 94"/>
                  <a:gd name="T93" fmla="*/ 12 h 63"/>
                  <a:gd name="T94" fmla="*/ 75 w 94"/>
                  <a:gd name="T95" fmla="*/ 17 h 63"/>
                  <a:gd name="T96" fmla="*/ 79 w 94"/>
                  <a:gd name="T97" fmla="*/ 19 h 63"/>
                  <a:gd name="T98" fmla="*/ 79 w 94"/>
                  <a:gd name="T99" fmla="*/ 19 h 63"/>
                  <a:gd name="T100" fmla="*/ 79 w 94"/>
                  <a:gd name="T101" fmla="*/ 19 h 63"/>
                  <a:gd name="T102" fmla="*/ 75 w 94"/>
                  <a:gd name="T103" fmla="*/ 23 h 63"/>
                  <a:gd name="T104" fmla="*/ 73 w 94"/>
                  <a:gd name="T105" fmla="*/ 17 h 63"/>
                  <a:gd name="T106" fmla="*/ 79 w 94"/>
                  <a:gd name="T107" fmla="*/ 15 h 63"/>
                  <a:gd name="T108" fmla="*/ 75 w 94"/>
                  <a:gd name="T109" fmla="*/ 12 h 63"/>
                  <a:gd name="T110" fmla="*/ 79 w 94"/>
                  <a:gd name="T111" fmla="*/ 10 h 63"/>
                  <a:gd name="T112" fmla="*/ 87 w 94"/>
                  <a:gd name="T113" fmla="*/ 12 h 63"/>
                  <a:gd name="T114" fmla="*/ 94 w 94"/>
                  <a:gd name="T115" fmla="*/ 8 h 63"/>
                  <a:gd name="T116" fmla="*/ 92 w 94"/>
                  <a:gd name="T117" fmla="*/ 6 h 63"/>
                  <a:gd name="T118" fmla="*/ 92 w 94"/>
                  <a:gd name="T119" fmla="*/ 4 h 63"/>
                  <a:gd name="T120" fmla="*/ 90 w 94"/>
                  <a:gd name="T121" fmla="*/ 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94" h="63">
                    <a:moveTo>
                      <a:pt x="19" y="63"/>
                    </a:moveTo>
                    <a:lnTo>
                      <a:pt x="17" y="63"/>
                    </a:lnTo>
                    <a:lnTo>
                      <a:pt x="19" y="63"/>
                    </a:lnTo>
                    <a:lnTo>
                      <a:pt x="19" y="62"/>
                    </a:lnTo>
                    <a:lnTo>
                      <a:pt x="19" y="63"/>
                    </a:lnTo>
                    <a:close/>
                    <a:moveTo>
                      <a:pt x="0" y="46"/>
                    </a:moveTo>
                    <a:lnTo>
                      <a:pt x="0" y="44"/>
                    </a:lnTo>
                    <a:lnTo>
                      <a:pt x="2" y="44"/>
                    </a:lnTo>
                    <a:lnTo>
                      <a:pt x="0" y="44"/>
                    </a:lnTo>
                    <a:lnTo>
                      <a:pt x="0" y="46"/>
                    </a:lnTo>
                    <a:close/>
                    <a:moveTo>
                      <a:pt x="0" y="44"/>
                    </a:moveTo>
                    <a:lnTo>
                      <a:pt x="2" y="44"/>
                    </a:lnTo>
                    <a:lnTo>
                      <a:pt x="2" y="42"/>
                    </a:lnTo>
                    <a:lnTo>
                      <a:pt x="0" y="44"/>
                    </a:lnTo>
                    <a:close/>
                    <a:moveTo>
                      <a:pt x="2" y="42"/>
                    </a:moveTo>
                    <a:lnTo>
                      <a:pt x="2" y="44"/>
                    </a:lnTo>
                    <a:lnTo>
                      <a:pt x="2" y="42"/>
                    </a:lnTo>
                    <a:close/>
                    <a:moveTo>
                      <a:pt x="2" y="42"/>
                    </a:moveTo>
                    <a:lnTo>
                      <a:pt x="2" y="40"/>
                    </a:lnTo>
                    <a:lnTo>
                      <a:pt x="2" y="42"/>
                    </a:lnTo>
                    <a:close/>
                    <a:moveTo>
                      <a:pt x="16" y="44"/>
                    </a:moveTo>
                    <a:lnTo>
                      <a:pt x="16" y="46"/>
                    </a:lnTo>
                    <a:lnTo>
                      <a:pt x="16" y="48"/>
                    </a:lnTo>
                    <a:lnTo>
                      <a:pt x="14" y="48"/>
                    </a:lnTo>
                    <a:lnTo>
                      <a:pt x="12" y="48"/>
                    </a:lnTo>
                    <a:lnTo>
                      <a:pt x="14" y="48"/>
                    </a:lnTo>
                    <a:lnTo>
                      <a:pt x="14" y="46"/>
                    </a:lnTo>
                    <a:lnTo>
                      <a:pt x="14" y="44"/>
                    </a:lnTo>
                    <a:lnTo>
                      <a:pt x="16" y="44"/>
                    </a:lnTo>
                    <a:lnTo>
                      <a:pt x="14" y="44"/>
                    </a:lnTo>
                    <a:lnTo>
                      <a:pt x="16" y="44"/>
                    </a:lnTo>
                    <a:close/>
                    <a:moveTo>
                      <a:pt x="6" y="37"/>
                    </a:moveTo>
                    <a:lnTo>
                      <a:pt x="6" y="39"/>
                    </a:lnTo>
                    <a:lnTo>
                      <a:pt x="4" y="40"/>
                    </a:lnTo>
                    <a:lnTo>
                      <a:pt x="4" y="39"/>
                    </a:lnTo>
                    <a:lnTo>
                      <a:pt x="6" y="39"/>
                    </a:lnTo>
                    <a:lnTo>
                      <a:pt x="6" y="37"/>
                    </a:lnTo>
                    <a:close/>
                    <a:moveTo>
                      <a:pt x="19" y="39"/>
                    </a:moveTo>
                    <a:lnTo>
                      <a:pt x="19" y="40"/>
                    </a:lnTo>
                    <a:lnTo>
                      <a:pt x="19" y="39"/>
                    </a:lnTo>
                    <a:lnTo>
                      <a:pt x="19" y="40"/>
                    </a:lnTo>
                    <a:lnTo>
                      <a:pt x="19" y="39"/>
                    </a:lnTo>
                    <a:close/>
                    <a:moveTo>
                      <a:pt x="16" y="39"/>
                    </a:moveTo>
                    <a:lnTo>
                      <a:pt x="16" y="37"/>
                    </a:lnTo>
                    <a:lnTo>
                      <a:pt x="16" y="39"/>
                    </a:lnTo>
                    <a:lnTo>
                      <a:pt x="16" y="37"/>
                    </a:lnTo>
                    <a:lnTo>
                      <a:pt x="16" y="39"/>
                    </a:lnTo>
                    <a:close/>
                    <a:moveTo>
                      <a:pt x="6" y="37"/>
                    </a:moveTo>
                    <a:lnTo>
                      <a:pt x="8" y="37"/>
                    </a:lnTo>
                    <a:lnTo>
                      <a:pt x="8" y="35"/>
                    </a:lnTo>
                    <a:lnTo>
                      <a:pt x="10" y="33"/>
                    </a:lnTo>
                    <a:lnTo>
                      <a:pt x="10" y="35"/>
                    </a:lnTo>
                    <a:lnTo>
                      <a:pt x="8" y="35"/>
                    </a:lnTo>
                    <a:lnTo>
                      <a:pt x="8" y="37"/>
                    </a:lnTo>
                    <a:lnTo>
                      <a:pt x="6" y="37"/>
                    </a:lnTo>
                    <a:close/>
                    <a:moveTo>
                      <a:pt x="21" y="37"/>
                    </a:moveTo>
                    <a:lnTo>
                      <a:pt x="19" y="37"/>
                    </a:lnTo>
                    <a:lnTo>
                      <a:pt x="21" y="37"/>
                    </a:lnTo>
                    <a:lnTo>
                      <a:pt x="19" y="37"/>
                    </a:lnTo>
                    <a:lnTo>
                      <a:pt x="21" y="37"/>
                    </a:lnTo>
                    <a:lnTo>
                      <a:pt x="19" y="37"/>
                    </a:lnTo>
                    <a:lnTo>
                      <a:pt x="21" y="37"/>
                    </a:lnTo>
                    <a:lnTo>
                      <a:pt x="19" y="37"/>
                    </a:lnTo>
                    <a:lnTo>
                      <a:pt x="19" y="39"/>
                    </a:lnTo>
                    <a:lnTo>
                      <a:pt x="19" y="37"/>
                    </a:lnTo>
                    <a:lnTo>
                      <a:pt x="19" y="39"/>
                    </a:lnTo>
                    <a:lnTo>
                      <a:pt x="19" y="37"/>
                    </a:lnTo>
                    <a:lnTo>
                      <a:pt x="19" y="35"/>
                    </a:lnTo>
                    <a:lnTo>
                      <a:pt x="19" y="37"/>
                    </a:lnTo>
                    <a:lnTo>
                      <a:pt x="19" y="35"/>
                    </a:lnTo>
                    <a:lnTo>
                      <a:pt x="21" y="35"/>
                    </a:lnTo>
                    <a:lnTo>
                      <a:pt x="21" y="37"/>
                    </a:lnTo>
                    <a:close/>
                    <a:moveTo>
                      <a:pt x="10" y="33"/>
                    </a:moveTo>
                    <a:lnTo>
                      <a:pt x="10" y="35"/>
                    </a:lnTo>
                    <a:lnTo>
                      <a:pt x="8" y="35"/>
                    </a:lnTo>
                    <a:lnTo>
                      <a:pt x="8" y="37"/>
                    </a:lnTo>
                    <a:lnTo>
                      <a:pt x="6" y="39"/>
                    </a:lnTo>
                    <a:lnTo>
                      <a:pt x="6" y="37"/>
                    </a:lnTo>
                    <a:lnTo>
                      <a:pt x="6" y="39"/>
                    </a:lnTo>
                    <a:lnTo>
                      <a:pt x="4" y="39"/>
                    </a:lnTo>
                    <a:lnTo>
                      <a:pt x="4" y="40"/>
                    </a:lnTo>
                    <a:lnTo>
                      <a:pt x="4" y="42"/>
                    </a:lnTo>
                    <a:lnTo>
                      <a:pt x="4" y="40"/>
                    </a:lnTo>
                    <a:lnTo>
                      <a:pt x="6" y="39"/>
                    </a:lnTo>
                    <a:lnTo>
                      <a:pt x="6" y="37"/>
                    </a:lnTo>
                    <a:lnTo>
                      <a:pt x="8" y="37"/>
                    </a:lnTo>
                    <a:lnTo>
                      <a:pt x="10" y="33"/>
                    </a:lnTo>
                    <a:lnTo>
                      <a:pt x="12" y="31"/>
                    </a:lnTo>
                    <a:lnTo>
                      <a:pt x="12" y="33"/>
                    </a:lnTo>
                    <a:lnTo>
                      <a:pt x="10" y="33"/>
                    </a:lnTo>
                    <a:close/>
                    <a:moveTo>
                      <a:pt x="16" y="31"/>
                    </a:moveTo>
                    <a:lnTo>
                      <a:pt x="16" y="33"/>
                    </a:lnTo>
                    <a:lnTo>
                      <a:pt x="16" y="31"/>
                    </a:lnTo>
                    <a:lnTo>
                      <a:pt x="16" y="33"/>
                    </a:lnTo>
                    <a:lnTo>
                      <a:pt x="16" y="31"/>
                    </a:lnTo>
                    <a:lnTo>
                      <a:pt x="16" y="33"/>
                    </a:lnTo>
                    <a:lnTo>
                      <a:pt x="16" y="31"/>
                    </a:lnTo>
                    <a:close/>
                    <a:moveTo>
                      <a:pt x="12" y="29"/>
                    </a:moveTo>
                    <a:lnTo>
                      <a:pt x="10" y="31"/>
                    </a:lnTo>
                    <a:lnTo>
                      <a:pt x="10" y="29"/>
                    </a:lnTo>
                    <a:lnTo>
                      <a:pt x="12" y="29"/>
                    </a:lnTo>
                    <a:close/>
                    <a:moveTo>
                      <a:pt x="21" y="35"/>
                    </a:moveTo>
                    <a:lnTo>
                      <a:pt x="21" y="37"/>
                    </a:lnTo>
                    <a:lnTo>
                      <a:pt x="21" y="35"/>
                    </a:lnTo>
                    <a:close/>
                    <a:moveTo>
                      <a:pt x="8" y="27"/>
                    </a:moveTo>
                    <a:lnTo>
                      <a:pt x="6" y="27"/>
                    </a:lnTo>
                    <a:lnTo>
                      <a:pt x="8" y="27"/>
                    </a:lnTo>
                    <a:lnTo>
                      <a:pt x="6" y="27"/>
                    </a:lnTo>
                    <a:lnTo>
                      <a:pt x="6" y="29"/>
                    </a:lnTo>
                    <a:lnTo>
                      <a:pt x="6" y="27"/>
                    </a:lnTo>
                    <a:lnTo>
                      <a:pt x="8" y="27"/>
                    </a:lnTo>
                    <a:close/>
                    <a:moveTo>
                      <a:pt x="27" y="37"/>
                    </a:moveTo>
                    <a:lnTo>
                      <a:pt x="27" y="39"/>
                    </a:lnTo>
                    <a:lnTo>
                      <a:pt x="27" y="37"/>
                    </a:lnTo>
                    <a:close/>
                    <a:moveTo>
                      <a:pt x="14" y="29"/>
                    </a:moveTo>
                    <a:lnTo>
                      <a:pt x="14" y="31"/>
                    </a:lnTo>
                    <a:lnTo>
                      <a:pt x="14" y="33"/>
                    </a:lnTo>
                    <a:lnTo>
                      <a:pt x="12" y="33"/>
                    </a:lnTo>
                    <a:lnTo>
                      <a:pt x="14" y="33"/>
                    </a:lnTo>
                    <a:lnTo>
                      <a:pt x="14" y="31"/>
                    </a:lnTo>
                    <a:lnTo>
                      <a:pt x="16" y="33"/>
                    </a:lnTo>
                    <a:lnTo>
                      <a:pt x="14" y="33"/>
                    </a:lnTo>
                    <a:lnTo>
                      <a:pt x="14" y="35"/>
                    </a:lnTo>
                    <a:lnTo>
                      <a:pt x="12" y="35"/>
                    </a:lnTo>
                    <a:lnTo>
                      <a:pt x="14" y="35"/>
                    </a:lnTo>
                    <a:lnTo>
                      <a:pt x="12" y="35"/>
                    </a:lnTo>
                    <a:lnTo>
                      <a:pt x="14" y="35"/>
                    </a:lnTo>
                    <a:lnTo>
                      <a:pt x="12" y="37"/>
                    </a:lnTo>
                    <a:lnTo>
                      <a:pt x="12" y="35"/>
                    </a:lnTo>
                    <a:lnTo>
                      <a:pt x="12" y="37"/>
                    </a:lnTo>
                    <a:lnTo>
                      <a:pt x="12" y="39"/>
                    </a:lnTo>
                    <a:lnTo>
                      <a:pt x="10" y="39"/>
                    </a:lnTo>
                    <a:lnTo>
                      <a:pt x="10" y="37"/>
                    </a:lnTo>
                    <a:lnTo>
                      <a:pt x="10" y="39"/>
                    </a:lnTo>
                    <a:lnTo>
                      <a:pt x="10" y="37"/>
                    </a:lnTo>
                    <a:lnTo>
                      <a:pt x="8" y="37"/>
                    </a:lnTo>
                    <a:lnTo>
                      <a:pt x="10" y="35"/>
                    </a:lnTo>
                    <a:lnTo>
                      <a:pt x="10" y="33"/>
                    </a:lnTo>
                    <a:lnTo>
                      <a:pt x="12" y="33"/>
                    </a:lnTo>
                    <a:lnTo>
                      <a:pt x="12" y="31"/>
                    </a:lnTo>
                    <a:lnTo>
                      <a:pt x="14" y="31"/>
                    </a:lnTo>
                    <a:lnTo>
                      <a:pt x="12" y="31"/>
                    </a:lnTo>
                    <a:lnTo>
                      <a:pt x="14" y="31"/>
                    </a:lnTo>
                    <a:lnTo>
                      <a:pt x="14" y="29"/>
                    </a:lnTo>
                    <a:close/>
                    <a:moveTo>
                      <a:pt x="31" y="39"/>
                    </a:moveTo>
                    <a:lnTo>
                      <a:pt x="31" y="37"/>
                    </a:lnTo>
                    <a:lnTo>
                      <a:pt x="31" y="39"/>
                    </a:lnTo>
                    <a:close/>
                    <a:moveTo>
                      <a:pt x="14" y="29"/>
                    </a:moveTo>
                    <a:lnTo>
                      <a:pt x="12" y="29"/>
                    </a:lnTo>
                    <a:lnTo>
                      <a:pt x="14" y="27"/>
                    </a:lnTo>
                    <a:lnTo>
                      <a:pt x="14" y="29"/>
                    </a:lnTo>
                    <a:close/>
                    <a:moveTo>
                      <a:pt x="14" y="29"/>
                    </a:moveTo>
                    <a:lnTo>
                      <a:pt x="14" y="27"/>
                    </a:lnTo>
                    <a:lnTo>
                      <a:pt x="14" y="29"/>
                    </a:lnTo>
                    <a:close/>
                    <a:moveTo>
                      <a:pt x="12" y="27"/>
                    </a:moveTo>
                    <a:lnTo>
                      <a:pt x="12" y="25"/>
                    </a:lnTo>
                    <a:lnTo>
                      <a:pt x="12" y="27"/>
                    </a:lnTo>
                    <a:close/>
                    <a:moveTo>
                      <a:pt x="33" y="37"/>
                    </a:moveTo>
                    <a:lnTo>
                      <a:pt x="31" y="37"/>
                    </a:lnTo>
                    <a:lnTo>
                      <a:pt x="31" y="39"/>
                    </a:lnTo>
                    <a:lnTo>
                      <a:pt x="31" y="37"/>
                    </a:lnTo>
                    <a:lnTo>
                      <a:pt x="33" y="37"/>
                    </a:lnTo>
                    <a:lnTo>
                      <a:pt x="33" y="35"/>
                    </a:lnTo>
                    <a:lnTo>
                      <a:pt x="33" y="37"/>
                    </a:lnTo>
                    <a:close/>
                    <a:moveTo>
                      <a:pt x="33" y="35"/>
                    </a:moveTo>
                    <a:lnTo>
                      <a:pt x="33" y="33"/>
                    </a:lnTo>
                    <a:lnTo>
                      <a:pt x="33" y="35"/>
                    </a:lnTo>
                    <a:close/>
                    <a:moveTo>
                      <a:pt x="25" y="29"/>
                    </a:moveTo>
                    <a:lnTo>
                      <a:pt x="25" y="31"/>
                    </a:lnTo>
                    <a:lnTo>
                      <a:pt x="25" y="29"/>
                    </a:lnTo>
                    <a:close/>
                    <a:moveTo>
                      <a:pt x="27" y="29"/>
                    </a:moveTo>
                    <a:lnTo>
                      <a:pt x="25" y="29"/>
                    </a:lnTo>
                    <a:lnTo>
                      <a:pt x="25" y="31"/>
                    </a:lnTo>
                    <a:lnTo>
                      <a:pt x="25" y="29"/>
                    </a:lnTo>
                    <a:lnTo>
                      <a:pt x="27" y="29"/>
                    </a:lnTo>
                    <a:close/>
                    <a:moveTo>
                      <a:pt x="10" y="25"/>
                    </a:moveTo>
                    <a:lnTo>
                      <a:pt x="10" y="23"/>
                    </a:lnTo>
                    <a:lnTo>
                      <a:pt x="12" y="23"/>
                    </a:lnTo>
                    <a:lnTo>
                      <a:pt x="12" y="21"/>
                    </a:lnTo>
                    <a:lnTo>
                      <a:pt x="12" y="23"/>
                    </a:lnTo>
                    <a:lnTo>
                      <a:pt x="12" y="25"/>
                    </a:lnTo>
                    <a:lnTo>
                      <a:pt x="10" y="25"/>
                    </a:lnTo>
                    <a:close/>
                    <a:moveTo>
                      <a:pt x="37" y="33"/>
                    </a:moveTo>
                    <a:lnTo>
                      <a:pt x="37" y="35"/>
                    </a:lnTo>
                    <a:lnTo>
                      <a:pt x="35" y="35"/>
                    </a:lnTo>
                    <a:lnTo>
                      <a:pt x="35" y="33"/>
                    </a:lnTo>
                    <a:lnTo>
                      <a:pt x="37" y="33"/>
                    </a:lnTo>
                    <a:close/>
                    <a:moveTo>
                      <a:pt x="29" y="29"/>
                    </a:moveTo>
                    <a:lnTo>
                      <a:pt x="29" y="31"/>
                    </a:lnTo>
                    <a:lnTo>
                      <a:pt x="29" y="29"/>
                    </a:lnTo>
                    <a:lnTo>
                      <a:pt x="29" y="31"/>
                    </a:lnTo>
                    <a:lnTo>
                      <a:pt x="29" y="29"/>
                    </a:lnTo>
                    <a:close/>
                    <a:moveTo>
                      <a:pt x="25" y="23"/>
                    </a:moveTo>
                    <a:lnTo>
                      <a:pt x="25" y="25"/>
                    </a:lnTo>
                    <a:lnTo>
                      <a:pt x="25" y="27"/>
                    </a:lnTo>
                    <a:lnTo>
                      <a:pt x="25" y="25"/>
                    </a:lnTo>
                    <a:lnTo>
                      <a:pt x="25" y="23"/>
                    </a:lnTo>
                    <a:lnTo>
                      <a:pt x="25" y="25"/>
                    </a:lnTo>
                    <a:lnTo>
                      <a:pt x="25" y="23"/>
                    </a:lnTo>
                    <a:close/>
                    <a:moveTo>
                      <a:pt x="33" y="25"/>
                    </a:moveTo>
                    <a:lnTo>
                      <a:pt x="33" y="27"/>
                    </a:lnTo>
                    <a:lnTo>
                      <a:pt x="33" y="25"/>
                    </a:lnTo>
                    <a:close/>
                    <a:moveTo>
                      <a:pt x="33" y="23"/>
                    </a:moveTo>
                    <a:lnTo>
                      <a:pt x="31" y="23"/>
                    </a:lnTo>
                    <a:lnTo>
                      <a:pt x="33" y="23"/>
                    </a:lnTo>
                    <a:close/>
                    <a:moveTo>
                      <a:pt x="37" y="23"/>
                    </a:moveTo>
                    <a:lnTo>
                      <a:pt x="37" y="25"/>
                    </a:lnTo>
                    <a:lnTo>
                      <a:pt x="37" y="23"/>
                    </a:lnTo>
                    <a:lnTo>
                      <a:pt x="37" y="25"/>
                    </a:lnTo>
                    <a:lnTo>
                      <a:pt x="37" y="23"/>
                    </a:lnTo>
                    <a:close/>
                    <a:moveTo>
                      <a:pt x="29" y="19"/>
                    </a:moveTo>
                    <a:lnTo>
                      <a:pt x="29" y="17"/>
                    </a:lnTo>
                    <a:lnTo>
                      <a:pt x="29" y="19"/>
                    </a:lnTo>
                    <a:lnTo>
                      <a:pt x="29" y="17"/>
                    </a:lnTo>
                    <a:lnTo>
                      <a:pt x="29" y="19"/>
                    </a:lnTo>
                    <a:close/>
                    <a:moveTo>
                      <a:pt x="37" y="21"/>
                    </a:moveTo>
                    <a:lnTo>
                      <a:pt x="37" y="23"/>
                    </a:lnTo>
                    <a:lnTo>
                      <a:pt x="35" y="23"/>
                    </a:lnTo>
                    <a:lnTo>
                      <a:pt x="35" y="21"/>
                    </a:lnTo>
                    <a:lnTo>
                      <a:pt x="35" y="23"/>
                    </a:lnTo>
                    <a:lnTo>
                      <a:pt x="35" y="21"/>
                    </a:lnTo>
                    <a:lnTo>
                      <a:pt x="35" y="19"/>
                    </a:lnTo>
                    <a:lnTo>
                      <a:pt x="35" y="21"/>
                    </a:lnTo>
                    <a:lnTo>
                      <a:pt x="37" y="21"/>
                    </a:lnTo>
                    <a:close/>
                    <a:moveTo>
                      <a:pt x="17" y="8"/>
                    </a:moveTo>
                    <a:lnTo>
                      <a:pt x="17" y="6"/>
                    </a:lnTo>
                    <a:lnTo>
                      <a:pt x="19" y="6"/>
                    </a:lnTo>
                    <a:lnTo>
                      <a:pt x="17" y="6"/>
                    </a:lnTo>
                    <a:lnTo>
                      <a:pt x="17" y="8"/>
                    </a:lnTo>
                    <a:close/>
                    <a:moveTo>
                      <a:pt x="62" y="25"/>
                    </a:moveTo>
                    <a:lnTo>
                      <a:pt x="62" y="27"/>
                    </a:lnTo>
                    <a:lnTo>
                      <a:pt x="62" y="25"/>
                    </a:lnTo>
                    <a:lnTo>
                      <a:pt x="62" y="27"/>
                    </a:lnTo>
                    <a:lnTo>
                      <a:pt x="60" y="27"/>
                    </a:lnTo>
                    <a:lnTo>
                      <a:pt x="60" y="25"/>
                    </a:lnTo>
                    <a:lnTo>
                      <a:pt x="62" y="25"/>
                    </a:lnTo>
                    <a:lnTo>
                      <a:pt x="60" y="25"/>
                    </a:lnTo>
                    <a:lnTo>
                      <a:pt x="62" y="25"/>
                    </a:lnTo>
                    <a:close/>
                    <a:moveTo>
                      <a:pt x="21" y="2"/>
                    </a:moveTo>
                    <a:lnTo>
                      <a:pt x="21" y="4"/>
                    </a:lnTo>
                    <a:lnTo>
                      <a:pt x="19" y="4"/>
                    </a:lnTo>
                    <a:lnTo>
                      <a:pt x="19" y="6"/>
                    </a:lnTo>
                    <a:lnTo>
                      <a:pt x="17" y="6"/>
                    </a:lnTo>
                    <a:lnTo>
                      <a:pt x="17" y="4"/>
                    </a:lnTo>
                    <a:lnTo>
                      <a:pt x="16" y="4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7" y="0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23" y="0"/>
                    </a:lnTo>
                    <a:lnTo>
                      <a:pt x="21" y="0"/>
                    </a:lnTo>
                    <a:lnTo>
                      <a:pt x="21" y="2"/>
                    </a:lnTo>
                    <a:close/>
                    <a:moveTo>
                      <a:pt x="75" y="19"/>
                    </a:moveTo>
                    <a:lnTo>
                      <a:pt x="75" y="21"/>
                    </a:lnTo>
                    <a:lnTo>
                      <a:pt x="75" y="19"/>
                    </a:lnTo>
                    <a:lnTo>
                      <a:pt x="75" y="21"/>
                    </a:lnTo>
                    <a:lnTo>
                      <a:pt x="73" y="21"/>
                    </a:lnTo>
                    <a:lnTo>
                      <a:pt x="73" y="19"/>
                    </a:lnTo>
                    <a:lnTo>
                      <a:pt x="73" y="21"/>
                    </a:lnTo>
                    <a:lnTo>
                      <a:pt x="73" y="19"/>
                    </a:lnTo>
                    <a:lnTo>
                      <a:pt x="75" y="19"/>
                    </a:lnTo>
                    <a:close/>
                    <a:moveTo>
                      <a:pt x="92" y="29"/>
                    </a:moveTo>
                    <a:lnTo>
                      <a:pt x="94" y="29"/>
                    </a:lnTo>
                    <a:lnTo>
                      <a:pt x="94" y="31"/>
                    </a:lnTo>
                    <a:lnTo>
                      <a:pt x="94" y="29"/>
                    </a:lnTo>
                    <a:lnTo>
                      <a:pt x="94" y="31"/>
                    </a:lnTo>
                    <a:lnTo>
                      <a:pt x="92" y="31"/>
                    </a:lnTo>
                    <a:lnTo>
                      <a:pt x="90" y="31"/>
                    </a:lnTo>
                    <a:lnTo>
                      <a:pt x="92" y="31"/>
                    </a:lnTo>
                    <a:lnTo>
                      <a:pt x="92" y="29"/>
                    </a:lnTo>
                    <a:close/>
                    <a:moveTo>
                      <a:pt x="89" y="25"/>
                    </a:moveTo>
                    <a:lnTo>
                      <a:pt x="89" y="27"/>
                    </a:lnTo>
                    <a:lnTo>
                      <a:pt x="87" y="27"/>
                    </a:lnTo>
                    <a:lnTo>
                      <a:pt x="87" y="25"/>
                    </a:lnTo>
                    <a:lnTo>
                      <a:pt x="89" y="25"/>
                    </a:lnTo>
                    <a:close/>
                    <a:moveTo>
                      <a:pt x="79" y="15"/>
                    </a:moveTo>
                    <a:lnTo>
                      <a:pt x="79" y="17"/>
                    </a:lnTo>
                    <a:lnTo>
                      <a:pt x="79" y="15"/>
                    </a:lnTo>
                    <a:close/>
                    <a:moveTo>
                      <a:pt x="73" y="12"/>
                    </a:moveTo>
                    <a:lnTo>
                      <a:pt x="73" y="14"/>
                    </a:lnTo>
                    <a:lnTo>
                      <a:pt x="73" y="12"/>
                    </a:lnTo>
                    <a:lnTo>
                      <a:pt x="73" y="14"/>
                    </a:lnTo>
                    <a:lnTo>
                      <a:pt x="73" y="12"/>
                    </a:lnTo>
                    <a:close/>
                    <a:moveTo>
                      <a:pt x="77" y="14"/>
                    </a:moveTo>
                    <a:lnTo>
                      <a:pt x="77" y="15"/>
                    </a:lnTo>
                    <a:lnTo>
                      <a:pt x="77" y="17"/>
                    </a:lnTo>
                    <a:lnTo>
                      <a:pt x="75" y="17"/>
                    </a:lnTo>
                    <a:lnTo>
                      <a:pt x="75" y="19"/>
                    </a:lnTo>
                    <a:lnTo>
                      <a:pt x="75" y="17"/>
                    </a:lnTo>
                    <a:lnTo>
                      <a:pt x="75" y="19"/>
                    </a:lnTo>
                    <a:lnTo>
                      <a:pt x="77" y="17"/>
                    </a:lnTo>
                    <a:lnTo>
                      <a:pt x="77" y="19"/>
                    </a:lnTo>
                    <a:lnTo>
                      <a:pt x="79" y="19"/>
                    </a:lnTo>
                    <a:lnTo>
                      <a:pt x="77" y="19"/>
                    </a:lnTo>
                    <a:lnTo>
                      <a:pt x="79" y="19"/>
                    </a:lnTo>
                    <a:lnTo>
                      <a:pt x="77" y="19"/>
                    </a:lnTo>
                    <a:lnTo>
                      <a:pt x="79" y="19"/>
                    </a:lnTo>
                    <a:lnTo>
                      <a:pt x="77" y="19"/>
                    </a:lnTo>
                    <a:lnTo>
                      <a:pt x="79" y="19"/>
                    </a:lnTo>
                    <a:lnTo>
                      <a:pt x="79" y="17"/>
                    </a:lnTo>
                    <a:lnTo>
                      <a:pt x="79" y="19"/>
                    </a:lnTo>
                    <a:lnTo>
                      <a:pt x="81" y="19"/>
                    </a:lnTo>
                    <a:lnTo>
                      <a:pt x="79" y="19"/>
                    </a:lnTo>
                    <a:lnTo>
                      <a:pt x="79" y="21"/>
                    </a:lnTo>
                    <a:lnTo>
                      <a:pt x="79" y="19"/>
                    </a:lnTo>
                    <a:lnTo>
                      <a:pt x="79" y="21"/>
                    </a:lnTo>
                    <a:lnTo>
                      <a:pt x="77" y="21"/>
                    </a:lnTo>
                    <a:lnTo>
                      <a:pt x="77" y="23"/>
                    </a:lnTo>
                    <a:lnTo>
                      <a:pt x="77" y="25"/>
                    </a:lnTo>
                    <a:lnTo>
                      <a:pt x="75" y="25"/>
                    </a:lnTo>
                    <a:lnTo>
                      <a:pt x="75" y="23"/>
                    </a:lnTo>
                    <a:lnTo>
                      <a:pt x="75" y="21"/>
                    </a:lnTo>
                    <a:lnTo>
                      <a:pt x="75" y="23"/>
                    </a:lnTo>
                    <a:lnTo>
                      <a:pt x="75" y="21"/>
                    </a:lnTo>
                    <a:lnTo>
                      <a:pt x="75" y="19"/>
                    </a:lnTo>
                    <a:lnTo>
                      <a:pt x="73" y="19"/>
                    </a:lnTo>
                    <a:lnTo>
                      <a:pt x="73" y="17"/>
                    </a:lnTo>
                    <a:lnTo>
                      <a:pt x="75" y="17"/>
                    </a:lnTo>
                    <a:lnTo>
                      <a:pt x="75" y="15"/>
                    </a:lnTo>
                    <a:lnTo>
                      <a:pt x="77" y="15"/>
                    </a:lnTo>
                    <a:lnTo>
                      <a:pt x="77" y="14"/>
                    </a:lnTo>
                    <a:close/>
                    <a:moveTo>
                      <a:pt x="79" y="14"/>
                    </a:moveTo>
                    <a:lnTo>
                      <a:pt x="79" y="15"/>
                    </a:lnTo>
                    <a:lnTo>
                      <a:pt x="79" y="14"/>
                    </a:lnTo>
                    <a:close/>
                    <a:moveTo>
                      <a:pt x="75" y="12"/>
                    </a:moveTo>
                    <a:lnTo>
                      <a:pt x="75" y="14"/>
                    </a:lnTo>
                    <a:lnTo>
                      <a:pt x="75" y="12"/>
                    </a:lnTo>
                    <a:lnTo>
                      <a:pt x="73" y="12"/>
                    </a:lnTo>
                    <a:lnTo>
                      <a:pt x="75" y="12"/>
                    </a:lnTo>
                    <a:lnTo>
                      <a:pt x="73" y="12"/>
                    </a:lnTo>
                    <a:lnTo>
                      <a:pt x="75" y="12"/>
                    </a:lnTo>
                    <a:close/>
                    <a:moveTo>
                      <a:pt x="75" y="12"/>
                    </a:moveTo>
                    <a:lnTo>
                      <a:pt x="75" y="14"/>
                    </a:lnTo>
                    <a:lnTo>
                      <a:pt x="75" y="12"/>
                    </a:lnTo>
                    <a:close/>
                    <a:moveTo>
                      <a:pt x="79" y="10"/>
                    </a:moveTo>
                    <a:lnTo>
                      <a:pt x="79" y="8"/>
                    </a:lnTo>
                    <a:lnTo>
                      <a:pt x="79" y="10"/>
                    </a:lnTo>
                    <a:lnTo>
                      <a:pt x="79" y="8"/>
                    </a:lnTo>
                    <a:lnTo>
                      <a:pt x="79" y="10"/>
                    </a:lnTo>
                    <a:close/>
                    <a:moveTo>
                      <a:pt x="87" y="14"/>
                    </a:moveTo>
                    <a:lnTo>
                      <a:pt x="87" y="12"/>
                    </a:lnTo>
                    <a:lnTo>
                      <a:pt x="87" y="14"/>
                    </a:lnTo>
                    <a:lnTo>
                      <a:pt x="87" y="12"/>
                    </a:lnTo>
                    <a:lnTo>
                      <a:pt x="87" y="14"/>
                    </a:lnTo>
                    <a:close/>
                    <a:moveTo>
                      <a:pt x="94" y="8"/>
                    </a:moveTo>
                    <a:lnTo>
                      <a:pt x="94" y="10"/>
                    </a:lnTo>
                    <a:lnTo>
                      <a:pt x="94" y="8"/>
                    </a:lnTo>
                    <a:lnTo>
                      <a:pt x="94" y="10"/>
                    </a:lnTo>
                    <a:lnTo>
                      <a:pt x="94" y="8"/>
                    </a:lnTo>
                    <a:close/>
                    <a:moveTo>
                      <a:pt x="94" y="6"/>
                    </a:moveTo>
                    <a:lnTo>
                      <a:pt x="92" y="6"/>
                    </a:lnTo>
                    <a:lnTo>
                      <a:pt x="94" y="6"/>
                    </a:lnTo>
                    <a:lnTo>
                      <a:pt x="92" y="6"/>
                    </a:lnTo>
                    <a:lnTo>
                      <a:pt x="94" y="6"/>
                    </a:lnTo>
                    <a:close/>
                    <a:moveTo>
                      <a:pt x="92" y="4"/>
                    </a:moveTo>
                    <a:lnTo>
                      <a:pt x="92" y="6"/>
                    </a:lnTo>
                    <a:lnTo>
                      <a:pt x="92" y="4"/>
                    </a:lnTo>
                    <a:lnTo>
                      <a:pt x="92" y="6"/>
                    </a:lnTo>
                    <a:lnTo>
                      <a:pt x="92" y="4"/>
                    </a:lnTo>
                    <a:lnTo>
                      <a:pt x="92" y="6"/>
                    </a:lnTo>
                    <a:lnTo>
                      <a:pt x="92" y="4"/>
                    </a:lnTo>
                    <a:lnTo>
                      <a:pt x="90" y="4"/>
                    </a:lnTo>
                    <a:lnTo>
                      <a:pt x="92" y="4"/>
                    </a:lnTo>
                    <a:lnTo>
                      <a:pt x="90" y="4"/>
                    </a:lnTo>
                    <a:lnTo>
                      <a:pt x="90" y="2"/>
                    </a:lnTo>
                    <a:lnTo>
                      <a:pt x="92" y="2"/>
                    </a:lnTo>
                    <a:lnTo>
                      <a:pt x="92" y="4"/>
                    </a:lnTo>
                    <a:lnTo>
                      <a:pt x="90" y="4"/>
                    </a:lnTo>
                    <a:lnTo>
                      <a:pt x="92" y="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16">
                <a:extLst>
                  <a:ext uri="{FF2B5EF4-FFF2-40B4-BE49-F238E27FC236}">
                    <a16:creationId xmlns="" xmlns:a16="http://schemas.microsoft.com/office/drawing/2014/main" id="{3BA266D8-F2F7-402F-9B01-2DD2DF1F98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30400" y="4718051"/>
                <a:ext cx="146050" cy="66675"/>
              </a:xfrm>
              <a:custGeom>
                <a:avLst/>
                <a:gdLst>
                  <a:gd name="T0" fmla="*/ 21 w 92"/>
                  <a:gd name="T1" fmla="*/ 36 h 42"/>
                  <a:gd name="T2" fmla="*/ 19 w 92"/>
                  <a:gd name="T3" fmla="*/ 35 h 42"/>
                  <a:gd name="T4" fmla="*/ 16 w 92"/>
                  <a:gd name="T5" fmla="*/ 35 h 42"/>
                  <a:gd name="T6" fmla="*/ 17 w 92"/>
                  <a:gd name="T7" fmla="*/ 33 h 42"/>
                  <a:gd name="T8" fmla="*/ 19 w 92"/>
                  <a:gd name="T9" fmla="*/ 33 h 42"/>
                  <a:gd name="T10" fmla="*/ 21 w 92"/>
                  <a:gd name="T11" fmla="*/ 33 h 42"/>
                  <a:gd name="T12" fmla="*/ 19 w 92"/>
                  <a:gd name="T13" fmla="*/ 33 h 42"/>
                  <a:gd name="T14" fmla="*/ 6 w 92"/>
                  <a:gd name="T15" fmla="*/ 23 h 42"/>
                  <a:gd name="T16" fmla="*/ 21 w 92"/>
                  <a:gd name="T17" fmla="*/ 31 h 42"/>
                  <a:gd name="T18" fmla="*/ 25 w 92"/>
                  <a:gd name="T19" fmla="*/ 29 h 42"/>
                  <a:gd name="T20" fmla="*/ 25 w 92"/>
                  <a:gd name="T21" fmla="*/ 29 h 42"/>
                  <a:gd name="T22" fmla="*/ 25 w 92"/>
                  <a:gd name="T23" fmla="*/ 27 h 42"/>
                  <a:gd name="T24" fmla="*/ 33 w 92"/>
                  <a:gd name="T25" fmla="*/ 27 h 42"/>
                  <a:gd name="T26" fmla="*/ 35 w 92"/>
                  <a:gd name="T27" fmla="*/ 29 h 42"/>
                  <a:gd name="T28" fmla="*/ 39 w 92"/>
                  <a:gd name="T29" fmla="*/ 29 h 42"/>
                  <a:gd name="T30" fmla="*/ 25 w 92"/>
                  <a:gd name="T31" fmla="*/ 23 h 42"/>
                  <a:gd name="T32" fmla="*/ 27 w 92"/>
                  <a:gd name="T33" fmla="*/ 15 h 42"/>
                  <a:gd name="T34" fmla="*/ 29 w 92"/>
                  <a:gd name="T35" fmla="*/ 15 h 42"/>
                  <a:gd name="T36" fmla="*/ 31 w 92"/>
                  <a:gd name="T37" fmla="*/ 13 h 42"/>
                  <a:gd name="T38" fmla="*/ 58 w 92"/>
                  <a:gd name="T39" fmla="*/ 27 h 42"/>
                  <a:gd name="T40" fmla="*/ 60 w 92"/>
                  <a:gd name="T41" fmla="*/ 25 h 42"/>
                  <a:gd name="T42" fmla="*/ 60 w 92"/>
                  <a:gd name="T43" fmla="*/ 23 h 42"/>
                  <a:gd name="T44" fmla="*/ 62 w 92"/>
                  <a:gd name="T45" fmla="*/ 23 h 42"/>
                  <a:gd name="T46" fmla="*/ 62 w 92"/>
                  <a:gd name="T47" fmla="*/ 21 h 42"/>
                  <a:gd name="T48" fmla="*/ 64 w 92"/>
                  <a:gd name="T49" fmla="*/ 21 h 42"/>
                  <a:gd name="T50" fmla="*/ 62 w 92"/>
                  <a:gd name="T51" fmla="*/ 19 h 42"/>
                  <a:gd name="T52" fmla="*/ 62 w 92"/>
                  <a:gd name="T53" fmla="*/ 17 h 42"/>
                  <a:gd name="T54" fmla="*/ 64 w 92"/>
                  <a:gd name="T55" fmla="*/ 15 h 42"/>
                  <a:gd name="T56" fmla="*/ 64 w 92"/>
                  <a:gd name="T57" fmla="*/ 15 h 42"/>
                  <a:gd name="T58" fmla="*/ 64 w 92"/>
                  <a:gd name="T59" fmla="*/ 15 h 42"/>
                  <a:gd name="T60" fmla="*/ 64 w 92"/>
                  <a:gd name="T61" fmla="*/ 15 h 42"/>
                  <a:gd name="T62" fmla="*/ 75 w 92"/>
                  <a:gd name="T63" fmla="*/ 17 h 42"/>
                  <a:gd name="T64" fmla="*/ 75 w 92"/>
                  <a:gd name="T65" fmla="*/ 17 h 42"/>
                  <a:gd name="T66" fmla="*/ 79 w 92"/>
                  <a:gd name="T67" fmla="*/ 17 h 42"/>
                  <a:gd name="T68" fmla="*/ 79 w 92"/>
                  <a:gd name="T69" fmla="*/ 11 h 42"/>
                  <a:gd name="T70" fmla="*/ 75 w 92"/>
                  <a:gd name="T71" fmla="*/ 11 h 42"/>
                  <a:gd name="T72" fmla="*/ 85 w 92"/>
                  <a:gd name="T73" fmla="*/ 13 h 42"/>
                  <a:gd name="T74" fmla="*/ 73 w 92"/>
                  <a:gd name="T75" fmla="*/ 10 h 42"/>
                  <a:gd name="T76" fmla="*/ 73 w 92"/>
                  <a:gd name="T77" fmla="*/ 10 h 42"/>
                  <a:gd name="T78" fmla="*/ 75 w 92"/>
                  <a:gd name="T79" fmla="*/ 8 h 42"/>
                  <a:gd name="T80" fmla="*/ 75 w 92"/>
                  <a:gd name="T81" fmla="*/ 10 h 42"/>
                  <a:gd name="T82" fmla="*/ 73 w 92"/>
                  <a:gd name="T83" fmla="*/ 8 h 42"/>
                  <a:gd name="T84" fmla="*/ 73 w 92"/>
                  <a:gd name="T85" fmla="*/ 8 h 42"/>
                  <a:gd name="T86" fmla="*/ 75 w 92"/>
                  <a:gd name="T87" fmla="*/ 8 h 42"/>
                  <a:gd name="T88" fmla="*/ 77 w 92"/>
                  <a:gd name="T89" fmla="*/ 6 h 42"/>
                  <a:gd name="T90" fmla="*/ 77 w 92"/>
                  <a:gd name="T91" fmla="*/ 6 h 42"/>
                  <a:gd name="T92" fmla="*/ 77 w 92"/>
                  <a:gd name="T93" fmla="*/ 8 h 42"/>
                  <a:gd name="T94" fmla="*/ 87 w 92"/>
                  <a:gd name="T95" fmla="*/ 10 h 42"/>
                  <a:gd name="T96" fmla="*/ 90 w 92"/>
                  <a:gd name="T97" fmla="*/ 0 h 42"/>
                  <a:gd name="T98" fmla="*/ 92 w 92"/>
                  <a:gd name="T99" fmla="*/ 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92" h="42">
                    <a:moveTo>
                      <a:pt x="0" y="42"/>
                    </a:moveTo>
                    <a:lnTo>
                      <a:pt x="0" y="40"/>
                    </a:lnTo>
                    <a:lnTo>
                      <a:pt x="0" y="42"/>
                    </a:lnTo>
                    <a:close/>
                    <a:moveTo>
                      <a:pt x="21" y="36"/>
                    </a:moveTo>
                    <a:lnTo>
                      <a:pt x="19" y="36"/>
                    </a:lnTo>
                    <a:lnTo>
                      <a:pt x="21" y="36"/>
                    </a:lnTo>
                    <a:close/>
                    <a:moveTo>
                      <a:pt x="19" y="36"/>
                    </a:moveTo>
                    <a:lnTo>
                      <a:pt x="19" y="35"/>
                    </a:lnTo>
                    <a:lnTo>
                      <a:pt x="19" y="36"/>
                    </a:lnTo>
                    <a:close/>
                    <a:moveTo>
                      <a:pt x="16" y="35"/>
                    </a:moveTo>
                    <a:lnTo>
                      <a:pt x="16" y="33"/>
                    </a:lnTo>
                    <a:lnTo>
                      <a:pt x="16" y="35"/>
                    </a:lnTo>
                    <a:close/>
                    <a:moveTo>
                      <a:pt x="12" y="33"/>
                    </a:moveTo>
                    <a:lnTo>
                      <a:pt x="12" y="31"/>
                    </a:lnTo>
                    <a:lnTo>
                      <a:pt x="12" y="33"/>
                    </a:lnTo>
                    <a:close/>
                    <a:moveTo>
                      <a:pt x="17" y="33"/>
                    </a:moveTo>
                    <a:lnTo>
                      <a:pt x="16" y="35"/>
                    </a:lnTo>
                    <a:lnTo>
                      <a:pt x="16" y="33"/>
                    </a:lnTo>
                    <a:lnTo>
                      <a:pt x="17" y="33"/>
                    </a:lnTo>
                    <a:close/>
                    <a:moveTo>
                      <a:pt x="19" y="33"/>
                    </a:moveTo>
                    <a:lnTo>
                      <a:pt x="19" y="35"/>
                    </a:lnTo>
                    <a:lnTo>
                      <a:pt x="19" y="33"/>
                    </a:lnTo>
                    <a:close/>
                    <a:moveTo>
                      <a:pt x="21" y="35"/>
                    </a:moveTo>
                    <a:lnTo>
                      <a:pt x="21" y="33"/>
                    </a:lnTo>
                    <a:lnTo>
                      <a:pt x="21" y="35"/>
                    </a:lnTo>
                    <a:close/>
                    <a:moveTo>
                      <a:pt x="19" y="33"/>
                    </a:moveTo>
                    <a:lnTo>
                      <a:pt x="17" y="33"/>
                    </a:lnTo>
                    <a:lnTo>
                      <a:pt x="19" y="33"/>
                    </a:lnTo>
                    <a:close/>
                    <a:moveTo>
                      <a:pt x="6" y="23"/>
                    </a:moveTo>
                    <a:lnTo>
                      <a:pt x="6" y="21"/>
                    </a:lnTo>
                    <a:lnTo>
                      <a:pt x="6" y="23"/>
                    </a:lnTo>
                    <a:close/>
                    <a:moveTo>
                      <a:pt x="6" y="23"/>
                    </a:moveTo>
                    <a:lnTo>
                      <a:pt x="6" y="21"/>
                    </a:lnTo>
                    <a:lnTo>
                      <a:pt x="6" y="23"/>
                    </a:lnTo>
                    <a:close/>
                    <a:moveTo>
                      <a:pt x="21" y="29"/>
                    </a:moveTo>
                    <a:lnTo>
                      <a:pt x="21" y="31"/>
                    </a:lnTo>
                    <a:lnTo>
                      <a:pt x="19" y="31"/>
                    </a:lnTo>
                    <a:lnTo>
                      <a:pt x="19" y="29"/>
                    </a:lnTo>
                    <a:lnTo>
                      <a:pt x="21" y="29"/>
                    </a:lnTo>
                    <a:close/>
                    <a:moveTo>
                      <a:pt x="25" y="29"/>
                    </a:moveTo>
                    <a:lnTo>
                      <a:pt x="25" y="27"/>
                    </a:lnTo>
                    <a:lnTo>
                      <a:pt x="25" y="29"/>
                    </a:lnTo>
                    <a:close/>
                    <a:moveTo>
                      <a:pt x="25" y="27"/>
                    </a:moveTo>
                    <a:lnTo>
                      <a:pt x="25" y="29"/>
                    </a:lnTo>
                    <a:lnTo>
                      <a:pt x="25" y="27"/>
                    </a:lnTo>
                    <a:close/>
                    <a:moveTo>
                      <a:pt x="25" y="27"/>
                    </a:moveTo>
                    <a:lnTo>
                      <a:pt x="23" y="29"/>
                    </a:lnTo>
                    <a:lnTo>
                      <a:pt x="25" y="27"/>
                    </a:lnTo>
                    <a:close/>
                    <a:moveTo>
                      <a:pt x="33" y="31"/>
                    </a:moveTo>
                    <a:lnTo>
                      <a:pt x="31" y="31"/>
                    </a:lnTo>
                    <a:lnTo>
                      <a:pt x="33" y="31"/>
                    </a:lnTo>
                    <a:close/>
                    <a:moveTo>
                      <a:pt x="33" y="27"/>
                    </a:moveTo>
                    <a:lnTo>
                      <a:pt x="33" y="29"/>
                    </a:lnTo>
                    <a:lnTo>
                      <a:pt x="33" y="27"/>
                    </a:lnTo>
                    <a:close/>
                    <a:moveTo>
                      <a:pt x="37" y="29"/>
                    </a:moveTo>
                    <a:lnTo>
                      <a:pt x="35" y="29"/>
                    </a:lnTo>
                    <a:lnTo>
                      <a:pt x="37" y="29"/>
                    </a:lnTo>
                    <a:close/>
                    <a:moveTo>
                      <a:pt x="39" y="31"/>
                    </a:moveTo>
                    <a:lnTo>
                      <a:pt x="37" y="31"/>
                    </a:lnTo>
                    <a:lnTo>
                      <a:pt x="39" y="29"/>
                    </a:lnTo>
                    <a:lnTo>
                      <a:pt x="39" y="31"/>
                    </a:lnTo>
                    <a:close/>
                    <a:moveTo>
                      <a:pt x="25" y="23"/>
                    </a:moveTo>
                    <a:lnTo>
                      <a:pt x="25" y="21"/>
                    </a:lnTo>
                    <a:lnTo>
                      <a:pt x="25" y="23"/>
                    </a:lnTo>
                    <a:close/>
                    <a:moveTo>
                      <a:pt x="14" y="15"/>
                    </a:moveTo>
                    <a:lnTo>
                      <a:pt x="14" y="13"/>
                    </a:lnTo>
                    <a:lnTo>
                      <a:pt x="14" y="15"/>
                    </a:lnTo>
                    <a:close/>
                    <a:moveTo>
                      <a:pt x="27" y="15"/>
                    </a:moveTo>
                    <a:lnTo>
                      <a:pt x="27" y="17"/>
                    </a:lnTo>
                    <a:lnTo>
                      <a:pt x="27" y="15"/>
                    </a:lnTo>
                    <a:close/>
                    <a:moveTo>
                      <a:pt x="29" y="13"/>
                    </a:moveTo>
                    <a:lnTo>
                      <a:pt x="29" y="15"/>
                    </a:lnTo>
                    <a:lnTo>
                      <a:pt x="29" y="13"/>
                    </a:lnTo>
                    <a:close/>
                    <a:moveTo>
                      <a:pt x="29" y="15"/>
                    </a:moveTo>
                    <a:lnTo>
                      <a:pt x="29" y="13"/>
                    </a:lnTo>
                    <a:lnTo>
                      <a:pt x="31" y="13"/>
                    </a:lnTo>
                    <a:lnTo>
                      <a:pt x="29" y="15"/>
                    </a:lnTo>
                    <a:close/>
                    <a:moveTo>
                      <a:pt x="58" y="27"/>
                    </a:moveTo>
                    <a:lnTo>
                      <a:pt x="56" y="27"/>
                    </a:lnTo>
                    <a:lnTo>
                      <a:pt x="58" y="27"/>
                    </a:lnTo>
                    <a:close/>
                    <a:moveTo>
                      <a:pt x="39" y="15"/>
                    </a:moveTo>
                    <a:lnTo>
                      <a:pt x="37" y="15"/>
                    </a:lnTo>
                    <a:lnTo>
                      <a:pt x="39" y="15"/>
                    </a:lnTo>
                    <a:close/>
                    <a:moveTo>
                      <a:pt x="60" y="25"/>
                    </a:moveTo>
                    <a:lnTo>
                      <a:pt x="60" y="27"/>
                    </a:lnTo>
                    <a:lnTo>
                      <a:pt x="60" y="25"/>
                    </a:lnTo>
                    <a:close/>
                    <a:moveTo>
                      <a:pt x="60" y="25"/>
                    </a:moveTo>
                    <a:lnTo>
                      <a:pt x="60" y="23"/>
                    </a:lnTo>
                    <a:lnTo>
                      <a:pt x="60" y="25"/>
                    </a:lnTo>
                    <a:close/>
                    <a:moveTo>
                      <a:pt x="62" y="23"/>
                    </a:moveTo>
                    <a:lnTo>
                      <a:pt x="62" y="25"/>
                    </a:lnTo>
                    <a:lnTo>
                      <a:pt x="62" y="23"/>
                    </a:lnTo>
                    <a:close/>
                    <a:moveTo>
                      <a:pt x="62" y="23"/>
                    </a:moveTo>
                    <a:lnTo>
                      <a:pt x="62" y="25"/>
                    </a:lnTo>
                    <a:lnTo>
                      <a:pt x="62" y="23"/>
                    </a:lnTo>
                    <a:close/>
                    <a:moveTo>
                      <a:pt x="62" y="21"/>
                    </a:moveTo>
                    <a:lnTo>
                      <a:pt x="60" y="21"/>
                    </a:lnTo>
                    <a:lnTo>
                      <a:pt x="62" y="21"/>
                    </a:lnTo>
                    <a:close/>
                    <a:moveTo>
                      <a:pt x="64" y="19"/>
                    </a:moveTo>
                    <a:lnTo>
                      <a:pt x="64" y="21"/>
                    </a:lnTo>
                    <a:lnTo>
                      <a:pt x="64" y="19"/>
                    </a:lnTo>
                    <a:close/>
                    <a:moveTo>
                      <a:pt x="62" y="19"/>
                    </a:moveTo>
                    <a:lnTo>
                      <a:pt x="60" y="19"/>
                    </a:lnTo>
                    <a:lnTo>
                      <a:pt x="62" y="19"/>
                    </a:lnTo>
                    <a:close/>
                    <a:moveTo>
                      <a:pt x="64" y="17"/>
                    </a:moveTo>
                    <a:lnTo>
                      <a:pt x="64" y="19"/>
                    </a:lnTo>
                    <a:lnTo>
                      <a:pt x="64" y="17"/>
                    </a:lnTo>
                    <a:close/>
                    <a:moveTo>
                      <a:pt x="62" y="17"/>
                    </a:moveTo>
                    <a:lnTo>
                      <a:pt x="62" y="15"/>
                    </a:lnTo>
                    <a:lnTo>
                      <a:pt x="64" y="15"/>
                    </a:lnTo>
                    <a:lnTo>
                      <a:pt x="62" y="15"/>
                    </a:lnTo>
                    <a:lnTo>
                      <a:pt x="64" y="15"/>
                    </a:lnTo>
                    <a:lnTo>
                      <a:pt x="62" y="17"/>
                    </a:lnTo>
                    <a:close/>
                    <a:moveTo>
                      <a:pt x="64" y="15"/>
                    </a:moveTo>
                    <a:lnTo>
                      <a:pt x="65" y="15"/>
                    </a:lnTo>
                    <a:lnTo>
                      <a:pt x="64" y="15"/>
                    </a:lnTo>
                    <a:close/>
                    <a:moveTo>
                      <a:pt x="64" y="13"/>
                    </a:moveTo>
                    <a:lnTo>
                      <a:pt x="64" y="15"/>
                    </a:lnTo>
                    <a:lnTo>
                      <a:pt x="64" y="13"/>
                    </a:lnTo>
                    <a:lnTo>
                      <a:pt x="64" y="15"/>
                    </a:lnTo>
                    <a:lnTo>
                      <a:pt x="64" y="13"/>
                    </a:lnTo>
                    <a:close/>
                    <a:moveTo>
                      <a:pt x="64" y="15"/>
                    </a:moveTo>
                    <a:lnTo>
                      <a:pt x="64" y="13"/>
                    </a:lnTo>
                    <a:lnTo>
                      <a:pt x="64" y="15"/>
                    </a:lnTo>
                    <a:close/>
                    <a:moveTo>
                      <a:pt x="65" y="13"/>
                    </a:moveTo>
                    <a:lnTo>
                      <a:pt x="64" y="13"/>
                    </a:lnTo>
                    <a:lnTo>
                      <a:pt x="65" y="13"/>
                    </a:lnTo>
                    <a:close/>
                    <a:moveTo>
                      <a:pt x="75" y="17"/>
                    </a:moveTo>
                    <a:lnTo>
                      <a:pt x="75" y="19"/>
                    </a:lnTo>
                    <a:lnTo>
                      <a:pt x="75" y="17"/>
                    </a:lnTo>
                    <a:lnTo>
                      <a:pt x="75" y="19"/>
                    </a:lnTo>
                    <a:lnTo>
                      <a:pt x="75" y="17"/>
                    </a:lnTo>
                    <a:close/>
                    <a:moveTo>
                      <a:pt x="79" y="17"/>
                    </a:moveTo>
                    <a:lnTo>
                      <a:pt x="77" y="17"/>
                    </a:lnTo>
                    <a:lnTo>
                      <a:pt x="79" y="17"/>
                    </a:lnTo>
                    <a:close/>
                    <a:moveTo>
                      <a:pt x="79" y="17"/>
                    </a:moveTo>
                    <a:lnTo>
                      <a:pt x="79" y="15"/>
                    </a:lnTo>
                    <a:lnTo>
                      <a:pt x="79" y="17"/>
                    </a:lnTo>
                    <a:close/>
                    <a:moveTo>
                      <a:pt x="79" y="13"/>
                    </a:moveTo>
                    <a:lnTo>
                      <a:pt x="79" y="11"/>
                    </a:lnTo>
                    <a:lnTo>
                      <a:pt x="79" y="13"/>
                    </a:lnTo>
                    <a:close/>
                    <a:moveTo>
                      <a:pt x="75" y="11"/>
                    </a:moveTo>
                    <a:lnTo>
                      <a:pt x="75" y="10"/>
                    </a:lnTo>
                    <a:lnTo>
                      <a:pt x="75" y="11"/>
                    </a:lnTo>
                    <a:close/>
                    <a:moveTo>
                      <a:pt x="75" y="10"/>
                    </a:moveTo>
                    <a:lnTo>
                      <a:pt x="73" y="10"/>
                    </a:lnTo>
                    <a:lnTo>
                      <a:pt x="75" y="10"/>
                    </a:lnTo>
                    <a:close/>
                    <a:moveTo>
                      <a:pt x="85" y="13"/>
                    </a:moveTo>
                    <a:lnTo>
                      <a:pt x="85" y="15"/>
                    </a:lnTo>
                    <a:lnTo>
                      <a:pt x="83" y="15"/>
                    </a:lnTo>
                    <a:lnTo>
                      <a:pt x="85" y="13"/>
                    </a:lnTo>
                    <a:close/>
                    <a:moveTo>
                      <a:pt x="73" y="10"/>
                    </a:moveTo>
                    <a:lnTo>
                      <a:pt x="75" y="10"/>
                    </a:lnTo>
                    <a:lnTo>
                      <a:pt x="73" y="10"/>
                    </a:lnTo>
                    <a:close/>
                    <a:moveTo>
                      <a:pt x="75" y="10"/>
                    </a:moveTo>
                    <a:lnTo>
                      <a:pt x="73" y="10"/>
                    </a:lnTo>
                    <a:lnTo>
                      <a:pt x="75" y="10"/>
                    </a:lnTo>
                    <a:close/>
                    <a:moveTo>
                      <a:pt x="75" y="8"/>
                    </a:moveTo>
                    <a:lnTo>
                      <a:pt x="73" y="8"/>
                    </a:lnTo>
                    <a:lnTo>
                      <a:pt x="75" y="8"/>
                    </a:lnTo>
                    <a:close/>
                    <a:moveTo>
                      <a:pt x="75" y="10"/>
                    </a:moveTo>
                    <a:lnTo>
                      <a:pt x="73" y="10"/>
                    </a:lnTo>
                    <a:lnTo>
                      <a:pt x="75" y="8"/>
                    </a:lnTo>
                    <a:lnTo>
                      <a:pt x="75" y="10"/>
                    </a:lnTo>
                    <a:close/>
                    <a:moveTo>
                      <a:pt x="75" y="8"/>
                    </a:moveTo>
                    <a:lnTo>
                      <a:pt x="75" y="10"/>
                    </a:lnTo>
                    <a:lnTo>
                      <a:pt x="75" y="8"/>
                    </a:lnTo>
                    <a:close/>
                    <a:moveTo>
                      <a:pt x="73" y="8"/>
                    </a:moveTo>
                    <a:lnTo>
                      <a:pt x="73" y="6"/>
                    </a:lnTo>
                    <a:lnTo>
                      <a:pt x="73" y="8"/>
                    </a:lnTo>
                    <a:close/>
                    <a:moveTo>
                      <a:pt x="75" y="8"/>
                    </a:moveTo>
                    <a:lnTo>
                      <a:pt x="73" y="8"/>
                    </a:lnTo>
                    <a:lnTo>
                      <a:pt x="75" y="8"/>
                    </a:lnTo>
                    <a:close/>
                    <a:moveTo>
                      <a:pt x="75" y="8"/>
                    </a:moveTo>
                    <a:lnTo>
                      <a:pt x="77" y="8"/>
                    </a:lnTo>
                    <a:lnTo>
                      <a:pt x="75" y="8"/>
                    </a:lnTo>
                    <a:close/>
                    <a:moveTo>
                      <a:pt x="81" y="10"/>
                    </a:moveTo>
                    <a:lnTo>
                      <a:pt x="79" y="10"/>
                    </a:lnTo>
                    <a:lnTo>
                      <a:pt x="81" y="10"/>
                    </a:lnTo>
                    <a:close/>
                    <a:moveTo>
                      <a:pt x="77" y="6"/>
                    </a:moveTo>
                    <a:lnTo>
                      <a:pt x="77" y="8"/>
                    </a:lnTo>
                    <a:lnTo>
                      <a:pt x="77" y="6"/>
                    </a:lnTo>
                    <a:close/>
                    <a:moveTo>
                      <a:pt x="77" y="8"/>
                    </a:moveTo>
                    <a:lnTo>
                      <a:pt x="77" y="6"/>
                    </a:lnTo>
                    <a:lnTo>
                      <a:pt x="77" y="8"/>
                    </a:lnTo>
                    <a:close/>
                    <a:moveTo>
                      <a:pt x="77" y="8"/>
                    </a:moveTo>
                    <a:lnTo>
                      <a:pt x="77" y="6"/>
                    </a:lnTo>
                    <a:lnTo>
                      <a:pt x="77" y="8"/>
                    </a:lnTo>
                    <a:close/>
                    <a:moveTo>
                      <a:pt x="75" y="6"/>
                    </a:moveTo>
                    <a:lnTo>
                      <a:pt x="75" y="4"/>
                    </a:lnTo>
                    <a:lnTo>
                      <a:pt x="75" y="6"/>
                    </a:lnTo>
                    <a:close/>
                    <a:moveTo>
                      <a:pt x="87" y="10"/>
                    </a:moveTo>
                    <a:lnTo>
                      <a:pt x="87" y="8"/>
                    </a:lnTo>
                    <a:lnTo>
                      <a:pt x="87" y="10"/>
                    </a:lnTo>
                    <a:close/>
                    <a:moveTo>
                      <a:pt x="90" y="2"/>
                    </a:moveTo>
                    <a:lnTo>
                      <a:pt x="90" y="0"/>
                    </a:lnTo>
                    <a:lnTo>
                      <a:pt x="90" y="2"/>
                    </a:lnTo>
                    <a:close/>
                    <a:moveTo>
                      <a:pt x="92" y="2"/>
                    </a:moveTo>
                    <a:lnTo>
                      <a:pt x="92" y="0"/>
                    </a:lnTo>
                    <a:lnTo>
                      <a:pt x="92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17">
                <a:extLst>
                  <a:ext uri="{FF2B5EF4-FFF2-40B4-BE49-F238E27FC236}">
                    <a16:creationId xmlns="" xmlns:a16="http://schemas.microsoft.com/office/drawing/2014/main" id="{630D112D-0DD4-4FD2-83BF-8E3BF43CB3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5438" y="3841751"/>
                <a:ext cx="195263" cy="225425"/>
              </a:xfrm>
              <a:custGeom>
                <a:avLst/>
                <a:gdLst>
                  <a:gd name="T0" fmla="*/ 119 w 123"/>
                  <a:gd name="T1" fmla="*/ 46 h 142"/>
                  <a:gd name="T2" fmla="*/ 113 w 123"/>
                  <a:gd name="T3" fmla="*/ 52 h 142"/>
                  <a:gd name="T4" fmla="*/ 113 w 123"/>
                  <a:gd name="T5" fmla="*/ 58 h 142"/>
                  <a:gd name="T6" fmla="*/ 115 w 123"/>
                  <a:gd name="T7" fmla="*/ 66 h 142"/>
                  <a:gd name="T8" fmla="*/ 123 w 123"/>
                  <a:gd name="T9" fmla="*/ 67 h 142"/>
                  <a:gd name="T10" fmla="*/ 121 w 123"/>
                  <a:gd name="T11" fmla="*/ 75 h 142"/>
                  <a:gd name="T12" fmla="*/ 115 w 123"/>
                  <a:gd name="T13" fmla="*/ 75 h 142"/>
                  <a:gd name="T14" fmla="*/ 113 w 123"/>
                  <a:gd name="T15" fmla="*/ 83 h 142"/>
                  <a:gd name="T16" fmla="*/ 111 w 123"/>
                  <a:gd name="T17" fmla="*/ 89 h 142"/>
                  <a:gd name="T18" fmla="*/ 115 w 123"/>
                  <a:gd name="T19" fmla="*/ 96 h 142"/>
                  <a:gd name="T20" fmla="*/ 115 w 123"/>
                  <a:gd name="T21" fmla="*/ 98 h 142"/>
                  <a:gd name="T22" fmla="*/ 111 w 123"/>
                  <a:gd name="T23" fmla="*/ 104 h 142"/>
                  <a:gd name="T24" fmla="*/ 106 w 123"/>
                  <a:gd name="T25" fmla="*/ 108 h 142"/>
                  <a:gd name="T26" fmla="*/ 102 w 123"/>
                  <a:gd name="T27" fmla="*/ 117 h 142"/>
                  <a:gd name="T28" fmla="*/ 98 w 123"/>
                  <a:gd name="T29" fmla="*/ 127 h 142"/>
                  <a:gd name="T30" fmla="*/ 100 w 123"/>
                  <a:gd name="T31" fmla="*/ 131 h 142"/>
                  <a:gd name="T32" fmla="*/ 98 w 123"/>
                  <a:gd name="T33" fmla="*/ 137 h 142"/>
                  <a:gd name="T34" fmla="*/ 92 w 123"/>
                  <a:gd name="T35" fmla="*/ 140 h 142"/>
                  <a:gd name="T36" fmla="*/ 81 w 123"/>
                  <a:gd name="T37" fmla="*/ 142 h 142"/>
                  <a:gd name="T38" fmla="*/ 81 w 123"/>
                  <a:gd name="T39" fmla="*/ 135 h 142"/>
                  <a:gd name="T40" fmla="*/ 79 w 123"/>
                  <a:gd name="T41" fmla="*/ 127 h 142"/>
                  <a:gd name="T42" fmla="*/ 75 w 123"/>
                  <a:gd name="T43" fmla="*/ 125 h 142"/>
                  <a:gd name="T44" fmla="*/ 71 w 123"/>
                  <a:gd name="T45" fmla="*/ 119 h 142"/>
                  <a:gd name="T46" fmla="*/ 67 w 123"/>
                  <a:gd name="T47" fmla="*/ 110 h 142"/>
                  <a:gd name="T48" fmla="*/ 59 w 123"/>
                  <a:gd name="T49" fmla="*/ 117 h 142"/>
                  <a:gd name="T50" fmla="*/ 57 w 123"/>
                  <a:gd name="T51" fmla="*/ 108 h 142"/>
                  <a:gd name="T52" fmla="*/ 54 w 123"/>
                  <a:gd name="T53" fmla="*/ 96 h 142"/>
                  <a:gd name="T54" fmla="*/ 59 w 123"/>
                  <a:gd name="T55" fmla="*/ 85 h 142"/>
                  <a:gd name="T56" fmla="*/ 57 w 123"/>
                  <a:gd name="T57" fmla="*/ 75 h 142"/>
                  <a:gd name="T58" fmla="*/ 52 w 123"/>
                  <a:gd name="T59" fmla="*/ 73 h 142"/>
                  <a:gd name="T60" fmla="*/ 36 w 123"/>
                  <a:gd name="T61" fmla="*/ 69 h 142"/>
                  <a:gd name="T62" fmla="*/ 25 w 123"/>
                  <a:gd name="T63" fmla="*/ 71 h 142"/>
                  <a:gd name="T64" fmla="*/ 25 w 123"/>
                  <a:gd name="T65" fmla="*/ 64 h 142"/>
                  <a:gd name="T66" fmla="*/ 21 w 123"/>
                  <a:gd name="T67" fmla="*/ 60 h 142"/>
                  <a:gd name="T68" fmla="*/ 19 w 123"/>
                  <a:gd name="T69" fmla="*/ 56 h 142"/>
                  <a:gd name="T70" fmla="*/ 17 w 123"/>
                  <a:gd name="T71" fmla="*/ 46 h 142"/>
                  <a:gd name="T72" fmla="*/ 6 w 123"/>
                  <a:gd name="T73" fmla="*/ 42 h 142"/>
                  <a:gd name="T74" fmla="*/ 2 w 123"/>
                  <a:gd name="T75" fmla="*/ 35 h 142"/>
                  <a:gd name="T76" fmla="*/ 4 w 123"/>
                  <a:gd name="T77" fmla="*/ 23 h 142"/>
                  <a:gd name="T78" fmla="*/ 9 w 123"/>
                  <a:gd name="T79" fmla="*/ 17 h 142"/>
                  <a:gd name="T80" fmla="*/ 13 w 123"/>
                  <a:gd name="T81" fmla="*/ 10 h 142"/>
                  <a:gd name="T82" fmla="*/ 13 w 123"/>
                  <a:gd name="T83" fmla="*/ 4 h 142"/>
                  <a:gd name="T84" fmla="*/ 17 w 123"/>
                  <a:gd name="T85" fmla="*/ 4 h 142"/>
                  <a:gd name="T86" fmla="*/ 21 w 123"/>
                  <a:gd name="T87" fmla="*/ 10 h 142"/>
                  <a:gd name="T88" fmla="*/ 25 w 123"/>
                  <a:gd name="T89" fmla="*/ 10 h 142"/>
                  <a:gd name="T90" fmla="*/ 31 w 123"/>
                  <a:gd name="T91" fmla="*/ 12 h 142"/>
                  <a:gd name="T92" fmla="*/ 38 w 123"/>
                  <a:gd name="T93" fmla="*/ 6 h 142"/>
                  <a:gd name="T94" fmla="*/ 44 w 123"/>
                  <a:gd name="T95" fmla="*/ 6 h 142"/>
                  <a:gd name="T96" fmla="*/ 48 w 123"/>
                  <a:gd name="T97" fmla="*/ 12 h 142"/>
                  <a:gd name="T98" fmla="*/ 54 w 123"/>
                  <a:gd name="T99" fmla="*/ 16 h 142"/>
                  <a:gd name="T100" fmla="*/ 57 w 123"/>
                  <a:gd name="T101" fmla="*/ 19 h 142"/>
                  <a:gd name="T102" fmla="*/ 63 w 123"/>
                  <a:gd name="T103" fmla="*/ 19 h 142"/>
                  <a:gd name="T104" fmla="*/ 71 w 123"/>
                  <a:gd name="T105" fmla="*/ 21 h 142"/>
                  <a:gd name="T106" fmla="*/ 79 w 123"/>
                  <a:gd name="T107" fmla="*/ 21 h 142"/>
                  <a:gd name="T108" fmla="*/ 82 w 123"/>
                  <a:gd name="T109" fmla="*/ 17 h 142"/>
                  <a:gd name="T110" fmla="*/ 92 w 123"/>
                  <a:gd name="T111" fmla="*/ 19 h 142"/>
                  <a:gd name="T112" fmla="*/ 98 w 123"/>
                  <a:gd name="T113" fmla="*/ 23 h 142"/>
                  <a:gd name="T114" fmla="*/ 104 w 123"/>
                  <a:gd name="T115" fmla="*/ 25 h 142"/>
                  <a:gd name="T116" fmla="*/ 113 w 123"/>
                  <a:gd name="T117" fmla="*/ 29 h 142"/>
                  <a:gd name="T118" fmla="*/ 113 w 123"/>
                  <a:gd name="T119" fmla="*/ 35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3" h="142">
                    <a:moveTo>
                      <a:pt x="117" y="42"/>
                    </a:moveTo>
                    <a:lnTo>
                      <a:pt x="117" y="44"/>
                    </a:lnTo>
                    <a:lnTo>
                      <a:pt x="119" y="44"/>
                    </a:lnTo>
                    <a:lnTo>
                      <a:pt x="121" y="44"/>
                    </a:lnTo>
                    <a:lnTo>
                      <a:pt x="119" y="46"/>
                    </a:lnTo>
                    <a:lnTo>
                      <a:pt x="121" y="46"/>
                    </a:lnTo>
                    <a:lnTo>
                      <a:pt x="119" y="46"/>
                    </a:lnTo>
                    <a:lnTo>
                      <a:pt x="119" y="48"/>
                    </a:lnTo>
                    <a:lnTo>
                      <a:pt x="119" y="50"/>
                    </a:lnTo>
                    <a:lnTo>
                      <a:pt x="119" y="52"/>
                    </a:lnTo>
                    <a:lnTo>
                      <a:pt x="119" y="54"/>
                    </a:lnTo>
                    <a:lnTo>
                      <a:pt x="117" y="54"/>
                    </a:lnTo>
                    <a:lnTo>
                      <a:pt x="115" y="52"/>
                    </a:lnTo>
                    <a:lnTo>
                      <a:pt x="113" y="52"/>
                    </a:lnTo>
                    <a:lnTo>
                      <a:pt x="113" y="54"/>
                    </a:lnTo>
                    <a:lnTo>
                      <a:pt x="113" y="56"/>
                    </a:lnTo>
                    <a:lnTo>
                      <a:pt x="113" y="54"/>
                    </a:lnTo>
                    <a:lnTo>
                      <a:pt x="113" y="56"/>
                    </a:lnTo>
                    <a:lnTo>
                      <a:pt x="111" y="56"/>
                    </a:lnTo>
                    <a:lnTo>
                      <a:pt x="111" y="58"/>
                    </a:lnTo>
                    <a:lnTo>
                      <a:pt x="113" y="58"/>
                    </a:lnTo>
                    <a:lnTo>
                      <a:pt x="115" y="58"/>
                    </a:lnTo>
                    <a:lnTo>
                      <a:pt x="115" y="60"/>
                    </a:lnTo>
                    <a:lnTo>
                      <a:pt x="113" y="60"/>
                    </a:lnTo>
                    <a:lnTo>
                      <a:pt x="115" y="62"/>
                    </a:lnTo>
                    <a:lnTo>
                      <a:pt x="113" y="62"/>
                    </a:lnTo>
                    <a:lnTo>
                      <a:pt x="115" y="64"/>
                    </a:lnTo>
                    <a:lnTo>
                      <a:pt x="115" y="66"/>
                    </a:lnTo>
                    <a:lnTo>
                      <a:pt x="117" y="66"/>
                    </a:lnTo>
                    <a:lnTo>
                      <a:pt x="119" y="66"/>
                    </a:lnTo>
                    <a:lnTo>
                      <a:pt x="119" y="64"/>
                    </a:lnTo>
                    <a:lnTo>
                      <a:pt x="121" y="64"/>
                    </a:lnTo>
                    <a:lnTo>
                      <a:pt x="123" y="64"/>
                    </a:lnTo>
                    <a:lnTo>
                      <a:pt x="123" y="66"/>
                    </a:lnTo>
                    <a:lnTo>
                      <a:pt x="123" y="67"/>
                    </a:lnTo>
                    <a:lnTo>
                      <a:pt x="123" y="69"/>
                    </a:lnTo>
                    <a:lnTo>
                      <a:pt x="121" y="69"/>
                    </a:lnTo>
                    <a:lnTo>
                      <a:pt x="121" y="71"/>
                    </a:lnTo>
                    <a:lnTo>
                      <a:pt x="121" y="73"/>
                    </a:lnTo>
                    <a:lnTo>
                      <a:pt x="119" y="73"/>
                    </a:lnTo>
                    <a:lnTo>
                      <a:pt x="121" y="73"/>
                    </a:lnTo>
                    <a:lnTo>
                      <a:pt x="121" y="75"/>
                    </a:lnTo>
                    <a:lnTo>
                      <a:pt x="119" y="75"/>
                    </a:lnTo>
                    <a:lnTo>
                      <a:pt x="119" y="77"/>
                    </a:lnTo>
                    <a:lnTo>
                      <a:pt x="119" y="75"/>
                    </a:lnTo>
                    <a:lnTo>
                      <a:pt x="117" y="75"/>
                    </a:lnTo>
                    <a:lnTo>
                      <a:pt x="117" y="73"/>
                    </a:lnTo>
                    <a:lnTo>
                      <a:pt x="115" y="73"/>
                    </a:lnTo>
                    <a:lnTo>
                      <a:pt x="115" y="75"/>
                    </a:lnTo>
                    <a:lnTo>
                      <a:pt x="113" y="75"/>
                    </a:lnTo>
                    <a:lnTo>
                      <a:pt x="113" y="77"/>
                    </a:lnTo>
                    <a:lnTo>
                      <a:pt x="111" y="77"/>
                    </a:lnTo>
                    <a:lnTo>
                      <a:pt x="111" y="79"/>
                    </a:lnTo>
                    <a:lnTo>
                      <a:pt x="111" y="81"/>
                    </a:lnTo>
                    <a:lnTo>
                      <a:pt x="113" y="81"/>
                    </a:lnTo>
                    <a:lnTo>
                      <a:pt x="113" y="83"/>
                    </a:lnTo>
                    <a:lnTo>
                      <a:pt x="111" y="83"/>
                    </a:lnTo>
                    <a:lnTo>
                      <a:pt x="109" y="85"/>
                    </a:lnTo>
                    <a:lnTo>
                      <a:pt x="109" y="87"/>
                    </a:lnTo>
                    <a:lnTo>
                      <a:pt x="111" y="85"/>
                    </a:lnTo>
                    <a:lnTo>
                      <a:pt x="111" y="87"/>
                    </a:lnTo>
                    <a:lnTo>
                      <a:pt x="113" y="87"/>
                    </a:lnTo>
                    <a:lnTo>
                      <a:pt x="111" y="89"/>
                    </a:lnTo>
                    <a:lnTo>
                      <a:pt x="113" y="89"/>
                    </a:lnTo>
                    <a:lnTo>
                      <a:pt x="113" y="90"/>
                    </a:lnTo>
                    <a:lnTo>
                      <a:pt x="115" y="90"/>
                    </a:lnTo>
                    <a:lnTo>
                      <a:pt x="113" y="90"/>
                    </a:lnTo>
                    <a:lnTo>
                      <a:pt x="113" y="92"/>
                    </a:lnTo>
                    <a:lnTo>
                      <a:pt x="115" y="94"/>
                    </a:lnTo>
                    <a:lnTo>
                      <a:pt x="115" y="96"/>
                    </a:lnTo>
                    <a:lnTo>
                      <a:pt x="117" y="96"/>
                    </a:lnTo>
                    <a:lnTo>
                      <a:pt x="117" y="98"/>
                    </a:lnTo>
                    <a:lnTo>
                      <a:pt x="115" y="98"/>
                    </a:lnTo>
                    <a:lnTo>
                      <a:pt x="115" y="96"/>
                    </a:lnTo>
                    <a:lnTo>
                      <a:pt x="113" y="96"/>
                    </a:lnTo>
                    <a:lnTo>
                      <a:pt x="115" y="96"/>
                    </a:lnTo>
                    <a:lnTo>
                      <a:pt x="115" y="98"/>
                    </a:lnTo>
                    <a:lnTo>
                      <a:pt x="113" y="98"/>
                    </a:lnTo>
                    <a:lnTo>
                      <a:pt x="113" y="100"/>
                    </a:lnTo>
                    <a:lnTo>
                      <a:pt x="113" y="102"/>
                    </a:lnTo>
                    <a:lnTo>
                      <a:pt x="111" y="102"/>
                    </a:lnTo>
                    <a:lnTo>
                      <a:pt x="113" y="102"/>
                    </a:lnTo>
                    <a:lnTo>
                      <a:pt x="113" y="104"/>
                    </a:lnTo>
                    <a:lnTo>
                      <a:pt x="111" y="104"/>
                    </a:lnTo>
                    <a:lnTo>
                      <a:pt x="109" y="104"/>
                    </a:lnTo>
                    <a:lnTo>
                      <a:pt x="109" y="106"/>
                    </a:lnTo>
                    <a:lnTo>
                      <a:pt x="109" y="104"/>
                    </a:lnTo>
                    <a:lnTo>
                      <a:pt x="107" y="104"/>
                    </a:lnTo>
                    <a:lnTo>
                      <a:pt x="107" y="106"/>
                    </a:lnTo>
                    <a:lnTo>
                      <a:pt x="106" y="106"/>
                    </a:lnTo>
                    <a:lnTo>
                      <a:pt x="106" y="108"/>
                    </a:lnTo>
                    <a:lnTo>
                      <a:pt x="106" y="110"/>
                    </a:lnTo>
                    <a:lnTo>
                      <a:pt x="106" y="112"/>
                    </a:lnTo>
                    <a:lnTo>
                      <a:pt x="106" y="114"/>
                    </a:lnTo>
                    <a:lnTo>
                      <a:pt x="104" y="114"/>
                    </a:lnTo>
                    <a:lnTo>
                      <a:pt x="102" y="114"/>
                    </a:lnTo>
                    <a:lnTo>
                      <a:pt x="102" y="115"/>
                    </a:lnTo>
                    <a:lnTo>
                      <a:pt x="102" y="117"/>
                    </a:lnTo>
                    <a:lnTo>
                      <a:pt x="104" y="117"/>
                    </a:lnTo>
                    <a:lnTo>
                      <a:pt x="102" y="119"/>
                    </a:lnTo>
                    <a:lnTo>
                      <a:pt x="102" y="121"/>
                    </a:lnTo>
                    <a:lnTo>
                      <a:pt x="100" y="123"/>
                    </a:lnTo>
                    <a:lnTo>
                      <a:pt x="100" y="125"/>
                    </a:lnTo>
                    <a:lnTo>
                      <a:pt x="100" y="127"/>
                    </a:lnTo>
                    <a:lnTo>
                      <a:pt x="98" y="127"/>
                    </a:lnTo>
                    <a:lnTo>
                      <a:pt x="100" y="129"/>
                    </a:lnTo>
                    <a:lnTo>
                      <a:pt x="98" y="129"/>
                    </a:lnTo>
                    <a:lnTo>
                      <a:pt x="100" y="131"/>
                    </a:lnTo>
                    <a:lnTo>
                      <a:pt x="102" y="131"/>
                    </a:lnTo>
                    <a:lnTo>
                      <a:pt x="100" y="131"/>
                    </a:lnTo>
                    <a:lnTo>
                      <a:pt x="102" y="131"/>
                    </a:lnTo>
                    <a:lnTo>
                      <a:pt x="100" y="131"/>
                    </a:lnTo>
                    <a:lnTo>
                      <a:pt x="100" y="133"/>
                    </a:lnTo>
                    <a:lnTo>
                      <a:pt x="98" y="133"/>
                    </a:lnTo>
                    <a:lnTo>
                      <a:pt x="100" y="133"/>
                    </a:lnTo>
                    <a:lnTo>
                      <a:pt x="98" y="133"/>
                    </a:lnTo>
                    <a:lnTo>
                      <a:pt x="98" y="135"/>
                    </a:lnTo>
                    <a:lnTo>
                      <a:pt x="100" y="135"/>
                    </a:lnTo>
                    <a:lnTo>
                      <a:pt x="98" y="137"/>
                    </a:lnTo>
                    <a:lnTo>
                      <a:pt x="96" y="137"/>
                    </a:lnTo>
                    <a:lnTo>
                      <a:pt x="94" y="137"/>
                    </a:lnTo>
                    <a:lnTo>
                      <a:pt x="94" y="139"/>
                    </a:lnTo>
                    <a:lnTo>
                      <a:pt x="92" y="139"/>
                    </a:lnTo>
                    <a:lnTo>
                      <a:pt x="94" y="139"/>
                    </a:lnTo>
                    <a:lnTo>
                      <a:pt x="94" y="140"/>
                    </a:lnTo>
                    <a:lnTo>
                      <a:pt x="92" y="140"/>
                    </a:lnTo>
                    <a:lnTo>
                      <a:pt x="90" y="142"/>
                    </a:lnTo>
                    <a:lnTo>
                      <a:pt x="90" y="140"/>
                    </a:lnTo>
                    <a:lnTo>
                      <a:pt x="88" y="142"/>
                    </a:lnTo>
                    <a:lnTo>
                      <a:pt x="86" y="142"/>
                    </a:lnTo>
                    <a:lnTo>
                      <a:pt x="84" y="142"/>
                    </a:lnTo>
                    <a:lnTo>
                      <a:pt x="82" y="142"/>
                    </a:lnTo>
                    <a:lnTo>
                      <a:pt x="81" y="142"/>
                    </a:lnTo>
                    <a:lnTo>
                      <a:pt x="81" y="140"/>
                    </a:lnTo>
                    <a:lnTo>
                      <a:pt x="81" y="139"/>
                    </a:lnTo>
                    <a:lnTo>
                      <a:pt x="82" y="139"/>
                    </a:lnTo>
                    <a:lnTo>
                      <a:pt x="81" y="139"/>
                    </a:lnTo>
                    <a:lnTo>
                      <a:pt x="81" y="137"/>
                    </a:lnTo>
                    <a:lnTo>
                      <a:pt x="79" y="137"/>
                    </a:lnTo>
                    <a:lnTo>
                      <a:pt x="81" y="135"/>
                    </a:lnTo>
                    <a:lnTo>
                      <a:pt x="79" y="135"/>
                    </a:lnTo>
                    <a:lnTo>
                      <a:pt x="79" y="133"/>
                    </a:lnTo>
                    <a:lnTo>
                      <a:pt x="77" y="133"/>
                    </a:lnTo>
                    <a:lnTo>
                      <a:pt x="77" y="131"/>
                    </a:lnTo>
                    <a:lnTo>
                      <a:pt x="79" y="131"/>
                    </a:lnTo>
                    <a:lnTo>
                      <a:pt x="77" y="129"/>
                    </a:lnTo>
                    <a:lnTo>
                      <a:pt x="79" y="127"/>
                    </a:lnTo>
                    <a:lnTo>
                      <a:pt x="81" y="127"/>
                    </a:lnTo>
                    <a:lnTo>
                      <a:pt x="81" y="125"/>
                    </a:lnTo>
                    <a:lnTo>
                      <a:pt x="79" y="125"/>
                    </a:lnTo>
                    <a:lnTo>
                      <a:pt x="79" y="127"/>
                    </a:lnTo>
                    <a:lnTo>
                      <a:pt x="77" y="127"/>
                    </a:lnTo>
                    <a:lnTo>
                      <a:pt x="77" y="125"/>
                    </a:lnTo>
                    <a:lnTo>
                      <a:pt x="75" y="125"/>
                    </a:lnTo>
                    <a:lnTo>
                      <a:pt x="73" y="125"/>
                    </a:lnTo>
                    <a:lnTo>
                      <a:pt x="73" y="123"/>
                    </a:lnTo>
                    <a:lnTo>
                      <a:pt x="73" y="121"/>
                    </a:lnTo>
                    <a:lnTo>
                      <a:pt x="73" y="119"/>
                    </a:lnTo>
                    <a:lnTo>
                      <a:pt x="71" y="119"/>
                    </a:lnTo>
                    <a:lnTo>
                      <a:pt x="71" y="121"/>
                    </a:lnTo>
                    <a:lnTo>
                      <a:pt x="71" y="119"/>
                    </a:lnTo>
                    <a:lnTo>
                      <a:pt x="69" y="117"/>
                    </a:lnTo>
                    <a:lnTo>
                      <a:pt x="71" y="117"/>
                    </a:lnTo>
                    <a:lnTo>
                      <a:pt x="71" y="115"/>
                    </a:lnTo>
                    <a:lnTo>
                      <a:pt x="71" y="114"/>
                    </a:lnTo>
                    <a:lnTo>
                      <a:pt x="71" y="112"/>
                    </a:lnTo>
                    <a:lnTo>
                      <a:pt x="69" y="112"/>
                    </a:lnTo>
                    <a:lnTo>
                      <a:pt x="67" y="110"/>
                    </a:lnTo>
                    <a:lnTo>
                      <a:pt x="67" y="112"/>
                    </a:lnTo>
                    <a:lnTo>
                      <a:pt x="65" y="112"/>
                    </a:lnTo>
                    <a:lnTo>
                      <a:pt x="65" y="114"/>
                    </a:lnTo>
                    <a:lnTo>
                      <a:pt x="65" y="117"/>
                    </a:lnTo>
                    <a:lnTo>
                      <a:pt x="63" y="117"/>
                    </a:lnTo>
                    <a:lnTo>
                      <a:pt x="61" y="117"/>
                    </a:lnTo>
                    <a:lnTo>
                      <a:pt x="59" y="117"/>
                    </a:lnTo>
                    <a:lnTo>
                      <a:pt x="57" y="117"/>
                    </a:lnTo>
                    <a:lnTo>
                      <a:pt x="56" y="117"/>
                    </a:lnTo>
                    <a:lnTo>
                      <a:pt x="57" y="115"/>
                    </a:lnTo>
                    <a:lnTo>
                      <a:pt x="57" y="114"/>
                    </a:lnTo>
                    <a:lnTo>
                      <a:pt x="57" y="112"/>
                    </a:lnTo>
                    <a:lnTo>
                      <a:pt x="57" y="110"/>
                    </a:lnTo>
                    <a:lnTo>
                      <a:pt x="57" y="108"/>
                    </a:lnTo>
                    <a:lnTo>
                      <a:pt x="57" y="106"/>
                    </a:lnTo>
                    <a:lnTo>
                      <a:pt x="56" y="106"/>
                    </a:lnTo>
                    <a:lnTo>
                      <a:pt x="56" y="104"/>
                    </a:lnTo>
                    <a:lnTo>
                      <a:pt x="56" y="102"/>
                    </a:lnTo>
                    <a:lnTo>
                      <a:pt x="54" y="102"/>
                    </a:lnTo>
                    <a:lnTo>
                      <a:pt x="54" y="100"/>
                    </a:lnTo>
                    <a:lnTo>
                      <a:pt x="54" y="96"/>
                    </a:lnTo>
                    <a:lnTo>
                      <a:pt x="54" y="94"/>
                    </a:lnTo>
                    <a:lnTo>
                      <a:pt x="56" y="92"/>
                    </a:lnTo>
                    <a:lnTo>
                      <a:pt x="56" y="90"/>
                    </a:lnTo>
                    <a:lnTo>
                      <a:pt x="57" y="89"/>
                    </a:lnTo>
                    <a:lnTo>
                      <a:pt x="57" y="87"/>
                    </a:lnTo>
                    <a:lnTo>
                      <a:pt x="59" y="87"/>
                    </a:lnTo>
                    <a:lnTo>
                      <a:pt x="59" y="85"/>
                    </a:lnTo>
                    <a:lnTo>
                      <a:pt x="57" y="85"/>
                    </a:lnTo>
                    <a:lnTo>
                      <a:pt x="57" y="83"/>
                    </a:lnTo>
                    <a:lnTo>
                      <a:pt x="56" y="83"/>
                    </a:lnTo>
                    <a:lnTo>
                      <a:pt x="57" y="81"/>
                    </a:lnTo>
                    <a:lnTo>
                      <a:pt x="56" y="81"/>
                    </a:lnTo>
                    <a:lnTo>
                      <a:pt x="56" y="79"/>
                    </a:lnTo>
                    <a:lnTo>
                      <a:pt x="57" y="75"/>
                    </a:lnTo>
                    <a:lnTo>
                      <a:pt x="59" y="75"/>
                    </a:lnTo>
                    <a:lnTo>
                      <a:pt x="59" y="73"/>
                    </a:lnTo>
                    <a:lnTo>
                      <a:pt x="57" y="73"/>
                    </a:lnTo>
                    <a:lnTo>
                      <a:pt x="57" y="75"/>
                    </a:lnTo>
                    <a:lnTo>
                      <a:pt x="56" y="73"/>
                    </a:lnTo>
                    <a:lnTo>
                      <a:pt x="54" y="73"/>
                    </a:lnTo>
                    <a:lnTo>
                      <a:pt x="52" y="73"/>
                    </a:lnTo>
                    <a:lnTo>
                      <a:pt x="50" y="73"/>
                    </a:lnTo>
                    <a:lnTo>
                      <a:pt x="48" y="73"/>
                    </a:lnTo>
                    <a:lnTo>
                      <a:pt x="46" y="73"/>
                    </a:lnTo>
                    <a:lnTo>
                      <a:pt x="44" y="73"/>
                    </a:lnTo>
                    <a:lnTo>
                      <a:pt x="42" y="71"/>
                    </a:lnTo>
                    <a:lnTo>
                      <a:pt x="38" y="69"/>
                    </a:lnTo>
                    <a:lnTo>
                      <a:pt x="36" y="69"/>
                    </a:lnTo>
                    <a:lnTo>
                      <a:pt x="34" y="69"/>
                    </a:lnTo>
                    <a:lnTo>
                      <a:pt x="33" y="69"/>
                    </a:lnTo>
                    <a:lnTo>
                      <a:pt x="31" y="69"/>
                    </a:lnTo>
                    <a:lnTo>
                      <a:pt x="29" y="69"/>
                    </a:lnTo>
                    <a:lnTo>
                      <a:pt x="27" y="69"/>
                    </a:lnTo>
                    <a:lnTo>
                      <a:pt x="27" y="71"/>
                    </a:lnTo>
                    <a:lnTo>
                      <a:pt x="25" y="71"/>
                    </a:lnTo>
                    <a:lnTo>
                      <a:pt x="25" y="69"/>
                    </a:lnTo>
                    <a:lnTo>
                      <a:pt x="23" y="67"/>
                    </a:lnTo>
                    <a:lnTo>
                      <a:pt x="25" y="67"/>
                    </a:lnTo>
                    <a:lnTo>
                      <a:pt x="25" y="66"/>
                    </a:lnTo>
                    <a:lnTo>
                      <a:pt x="27" y="66"/>
                    </a:lnTo>
                    <a:lnTo>
                      <a:pt x="25" y="66"/>
                    </a:lnTo>
                    <a:lnTo>
                      <a:pt x="25" y="64"/>
                    </a:lnTo>
                    <a:lnTo>
                      <a:pt x="23" y="64"/>
                    </a:lnTo>
                    <a:lnTo>
                      <a:pt x="25" y="62"/>
                    </a:lnTo>
                    <a:lnTo>
                      <a:pt x="23" y="62"/>
                    </a:lnTo>
                    <a:lnTo>
                      <a:pt x="23" y="60"/>
                    </a:lnTo>
                    <a:lnTo>
                      <a:pt x="21" y="60"/>
                    </a:lnTo>
                    <a:lnTo>
                      <a:pt x="21" y="62"/>
                    </a:lnTo>
                    <a:lnTo>
                      <a:pt x="21" y="60"/>
                    </a:lnTo>
                    <a:lnTo>
                      <a:pt x="21" y="62"/>
                    </a:lnTo>
                    <a:lnTo>
                      <a:pt x="19" y="62"/>
                    </a:lnTo>
                    <a:lnTo>
                      <a:pt x="19" y="60"/>
                    </a:lnTo>
                    <a:lnTo>
                      <a:pt x="17" y="60"/>
                    </a:lnTo>
                    <a:lnTo>
                      <a:pt x="17" y="58"/>
                    </a:lnTo>
                    <a:lnTo>
                      <a:pt x="19" y="58"/>
                    </a:lnTo>
                    <a:lnTo>
                      <a:pt x="19" y="56"/>
                    </a:lnTo>
                    <a:lnTo>
                      <a:pt x="19" y="54"/>
                    </a:lnTo>
                    <a:lnTo>
                      <a:pt x="19" y="52"/>
                    </a:lnTo>
                    <a:lnTo>
                      <a:pt x="19" y="50"/>
                    </a:lnTo>
                    <a:lnTo>
                      <a:pt x="17" y="50"/>
                    </a:lnTo>
                    <a:lnTo>
                      <a:pt x="19" y="48"/>
                    </a:lnTo>
                    <a:lnTo>
                      <a:pt x="17" y="48"/>
                    </a:lnTo>
                    <a:lnTo>
                      <a:pt x="17" y="46"/>
                    </a:lnTo>
                    <a:lnTo>
                      <a:pt x="15" y="44"/>
                    </a:lnTo>
                    <a:lnTo>
                      <a:pt x="13" y="44"/>
                    </a:lnTo>
                    <a:lnTo>
                      <a:pt x="11" y="44"/>
                    </a:lnTo>
                    <a:lnTo>
                      <a:pt x="11" y="42"/>
                    </a:lnTo>
                    <a:lnTo>
                      <a:pt x="9" y="42"/>
                    </a:lnTo>
                    <a:lnTo>
                      <a:pt x="8" y="42"/>
                    </a:lnTo>
                    <a:lnTo>
                      <a:pt x="6" y="42"/>
                    </a:lnTo>
                    <a:lnTo>
                      <a:pt x="4" y="44"/>
                    </a:lnTo>
                    <a:lnTo>
                      <a:pt x="2" y="42"/>
                    </a:lnTo>
                    <a:lnTo>
                      <a:pt x="0" y="42"/>
                    </a:lnTo>
                    <a:lnTo>
                      <a:pt x="0" y="41"/>
                    </a:lnTo>
                    <a:lnTo>
                      <a:pt x="0" y="39"/>
                    </a:lnTo>
                    <a:lnTo>
                      <a:pt x="2" y="37"/>
                    </a:lnTo>
                    <a:lnTo>
                      <a:pt x="2" y="35"/>
                    </a:lnTo>
                    <a:lnTo>
                      <a:pt x="0" y="33"/>
                    </a:lnTo>
                    <a:lnTo>
                      <a:pt x="0" y="31"/>
                    </a:lnTo>
                    <a:lnTo>
                      <a:pt x="0" y="29"/>
                    </a:lnTo>
                    <a:lnTo>
                      <a:pt x="2" y="27"/>
                    </a:lnTo>
                    <a:lnTo>
                      <a:pt x="2" y="25"/>
                    </a:lnTo>
                    <a:lnTo>
                      <a:pt x="2" y="23"/>
                    </a:lnTo>
                    <a:lnTo>
                      <a:pt x="4" y="23"/>
                    </a:lnTo>
                    <a:lnTo>
                      <a:pt x="4" y="21"/>
                    </a:lnTo>
                    <a:lnTo>
                      <a:pt x="4" y="19"/>
                    </a:lnTo>
                    <a:lnTo>
                      <a:pt x="6" y="21"/>
                    </a:lnTo>
                    <a:lnTo>
                      <a:pt x="8" y="21"/>
                    </a:lnTo>
                    <a:lnTo>
                      <a:pt x="8" y="19"/>
                    </a:lnTo>
                    <a:lnTo>
                      <a:pt x="9" y="19"/>
                    </a:lnTo>
                    <a:lnTo>
                      <a:pt x="9" y="17"/>
                    </a:lnTo>
                    <a:lnTo>
                      <a:pt x="9" y="16"/>
                    </a:lnTo>
                    <a:lnTo>
                      <a:pt x="11" y="16"/>
                    </a:lnTo>
                    <a:lnTo>
                      <a:pt x="11" y="14"/>
                    </a:lnTo>
                    <a:lnTo>
                      <a:pt x="9" y="12"/>
                    </a:lnTo>
                    <a:lnTo>
                      <a:pt x="11" y="12"/>
                    </a:lnTo>
                    <a:lnTo>
                      <a:pt x="11" y="10"/>
                    </a:lnTo>
                    <a:lnTo>
                      <a:pt x="13" y="10"/>
                    </a:lnTo>
                    <a:lnTo>
                      <a:pt x="13" y="8"/>
                    </a:lnTo>
                    <a:lnTo>
                      <a:pt x="11" y="8"/>
                    </a:lnTo>
                    <a:lnTo>
                      <a:pt x="13" y="8"/>
                    </a:lnTo>
                    <a:lnTo>
                      <a:pt x="13" y="6"/>
                    </a:lnTo>
                    <a:lnTo>
                      <a:pt x="15" y="6"/>
                    </a:lnTo>
                    <a:lnTo>
                      <a:pt x="15" y="4"/>
                    </a:lnTo>
                    <a:lnTo>
                      <a:pt x="13" y="4"/>
                    </a:lnTo>
                    <a:lnTo>
                      <a:pt x="15" y="4"/>
                    </a:lnTo>
                    <a:lnTo>
                      <a:pt x="13" y="2"/>
                    </a:lnTo>
                    <a:lnTo>
                      <a:pt x="15" y="2"/>
                    </a:lnTo>
                    <a:lnTo>
                      <a:pt x="15" y="0"/>
                    </a:lnTo>
                    <a:lnTo>
                      <a:pt x="15" y="2"/>
                    </a:lnTo>
                    <a:lnTo>
                      <a:pt x="17" y="2"/>
                    </a:lnTo>
                    <a:lnTo>
                      <a:pt x="17" y="4"/>
                    </a:lnTo>
                    <a:lnTo>
                      <a:pt x="17" y="6"/>
                    </a:lnTo>
                    <a:lnTo>
                      <a:pt x="19" y="6"/>
                    </a:lnTo>
                    <a:lnTo>
                      <a:pt x="19" y="8"/>
                    </a:lnTo>
                    <a:lnTo>
                      <a:pt x="17" y="8"/>
                    </a:lnTo>
                    <a:lnTo>
                      <a:pt x="19" y="8"/>
                    </a:lnTo>
                    <a:lnTo>
                      <a:pt x="19" y="10"/>
                    </a:lnTo>
                    <a:lnTo>
                      <a:pt x="21" y="10"/>
                    </a:lnTo>
                    <a:lnTo>
                      <a:pt x="21" y="8"/>
                    </a:lnTo>
                    <a:lnTo>
                      <a:pt x="23" y="8"/>
                    </a:lnTo>
                    <a:lnTo>
                      <a:pt x="23" y="10"/>
                    </a:lnTo>
                    <a:lnTo>
                      <a:pt x="23" y="12"/>
                    </a:lnTo>
                    <a:lnTo>
                      <a:pt x="25" y="10"/>
                    </a:lnTo>
                    <a:lnTo>
                      <a:pt x="25" y="12"/>
                    </a:lnTo>
                    <a:lnTo>
                      <a:pt x="25" y="10"/>
                    </a:lnTo>
                    <a:lnTo>
                      <a:pt x="27" y="8"/>
                    </a:lnTo>
                    <a:lnTo>
                      <a:pt x="29" y="10"/>
                    </a:lnTo>
                    <a:lnTo>
                      <a:pt x="27" y="12"/>
                    </a:lnTo>
                    <a:lnTo>
                      <a:pt x="29" y="12"/>
                    </a:lnTo>
                    <a:lnTo>
                      <a:pt x="29" y="14"/>
                    </a:lnTo>
                    <a:lnTo>
                      <a:pt x="29" y="12"/>
                    </a:lnTo>
                    <a:lnTo>
                      <a:pt x="31" y="12"/>
                    </a:lnTo>
                    <a:lnTo>
                      <a:pt x="33" y="12"/>
                    </a:lnTo>
                    <a:lnTo>
                      <a:pt x="33" y="10"/>
                    </a:lnTo>
                    <a:lnTo>
                      <a:pt x="34" y="10"/>
                    </a:lnTo>
                    <a:lnTo>
                      <a:pt x="36" y="10"/>
                    </a:lnTo>
                    <a:lnTo>
                      <a:pt x="38" y="10"/>
                    </a:lnTo>
                    <a:lnTo>
                      <a:pt x="38" y="8"/>
                    </a:lnTo>
                    <a:lnTo>
                      <a:pt x="38" y="6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6"/>
                    </a:lnTo>
                    <a:lnTo>
                      <a:pt x="42" y="6"/>
                    </a:lnTo>
                    <a:lnTo>
                      <a:pt x="42" y="4"/>
                    </a:lnTo>
                    <a:lnTo>
                      <a:pt x="42" y="6"/>
                    </a:lnTo>
                    <a:lnTo>
                      <a:pt x="44" y="6"/>
                    </a:lnTo>
                    <a:lnTo>
                      <a:pt x="44" y="4"/>
                    </a:lnTo>
                    <a:lnTo>
                      <a:pt x="44" y="6"/>
                    </a:lnTo>
                    <a:lnTo>
                      <a:pt x="44" y="8"/>
                    </a:lnTo>
                    <a:lnTo>
                      <a:pt x="44" y="10"/>
                    </a:lnTo>
                    <a:lnTo>
                      <a:pt x="46" y="10"/>
                    </a:lnTo>
                    <a:lnTo>
                      <a:pt x="48" y="10"/>
                    </a:lnTo>
                    <a:lnTo>
                      <a:pt x="48" y="12"/>
                    </a:lnTo>
                    <a:lnTo>
                      <a:pt x="48" y="14"/>
                    </a:lnTo>
                    <a:lnTo>
                      <a:pt x="50" y="14"/>
                    </a:lnTo>
                    <a:lnTo>
                      <a:pt x="50" y="16"/>
                    </a:lnTo>
                    <a:lnTo>
                      <a:pt x="52" y="14"/>
                    </a:lnTo>
                    <a:lnTo>
                      <a:pt x="52" y="16"/>
                    </a:lnTo>
                    <a:lnTo>
                      <a:pt x="54" y="14"/>
                    </a:lnTo>
                    <a:lnTo>
                      <a:pt x="54" y="16"/>
                    </a:lnTo>
                    <a:lnTo>
                      <a:pt x="54" y="17"/>
                    </a:lnTo>
                    <a:lnTo>
                      <a:pt x="54" y="19"/>
                    </a:lnTo>
                    <a:lnTo>
                      <a:pt x="54" y="17"/>
                    </a:lnTo>
                    <a:lnTo>
                      <a:pt x="56" y="17"/>
                    </a:lnTo>
                    <a:lnTo>
                      <a:pt x="57" y="16"/>
                    </a:lnTo>
                    <a:lnTo>
                      <a:pt x="57" y="17"/>
                    </a:lnTo>
                    <a:lnTo>
                      <a:pt x="57" y="19"/>
                    </a:lnTo>
                    <a:lnTo>
                      <a:pt x="57" y="21"/>
                    </a:lnTo>
                    <a:lnTo>
                      <a:pt x="56" y="21"/>
                    </a:lnTo>
                    <a:lnTo>
                      <a:pt x="57" y="21"/>
                    </a:lnTo>
                    <a:lnTo>
                      <a:pt x="59" y="21"/>
                    </a:lnTo>
                    <a:lnTo>
                      <a:pt x="61" y="21"/>
                    </a:lnTo>
                    <a:lnTo>
                      <a:pt x="63" y="21"/>
                    </a:lnTo>
                    <a:lnTo>
                      <a:pt x="63" y="19"/>
                    </a:lnTo>
                    <a:lnTo>
                      <a:pt x="65" y="19"/>
                    </a:lnTo>
                    <a:lnTo>
                      <a:pt x="67" y="19"/>
                    </a:lnTo>
                    <a:lnTo>
                      <a:pt x="69" y="19"/>
                    </a:lnTo>
                    <a:lnTo>
                      <a:pt x="69" y="21"/>
                    </a:lnTo>
                    <a:lnTo>
                      <a:pt x="71" y="21"/>
                    </a:lnTo>
                    <a:lnTo>
                      <a:pt x="71" y="23"/>
                    </a:lnTo>
                    <a:lnTo>
                      <a:pt x="71" y="21"/>
                    </a:lnTo>
                    <a:lnTo>
                      <a:pt x="73" y="21"/>
                    </a:lnTo>
                    <a:lnTo>
                      <a:pt x="73" y="23"/>
                    </a:lnTo>
                    <a:lnTo>
                      <a:pt x="73" y="21"/>
                    </a:lnTo>
                    <a:lnTo>
                      <a:pt x="75" y="21"/>
                    </a:lnTo>
                    <a:lnTo>
                      <a:pt x="77" y="19"/>
                    </a:lnTo>
                    <a:lnTo>
                      <a:pt x="77" y="21"/>
                    </a:lnTo>
                    <a:lnTo>
                      <a:pt x="79" y="21"/>
                    </a:lnTo>
                    <a:lnTo>
                      <a:pt x="79" y="19"/>
                    </a:lnTo>
                    <a:lnTo>
                      <a:pt x="79" y="21"/>
                    </a:lnTo>
                    <a:lnTo>
                      <a:pt x="79" y="23"/>
                    </a:lnTo>
                    <a:lnTo>
                      <a:pt x="81" y="21"/>
                    </a:lnTo>
                    <a:lnTo>
                      <a:pt x="81" y="19"/>
                    </a:lnTo>
                    <a:lnTo>
                      <a:pt x="82" y="19"/>
                    </a:lnTo>
                    <a:lnTo>
                      <a:pt x="82" y="17"/>
                    </a:lnTo>
                    <a:lnTo>
                      <a:pt x="84" y="17"/>
                    </a:lnTo>
                    <a:lnTo>
                      <a:pt x="84" y="16"/>
                    </a:lnTo>
                    <a:lnTo>
                      <a:pt x="84" y="17"/>
                    </a:lnTo>
                    <a:lnTo>
                      <a:pt x="86" y="19"/>
                    </a:lnTo>
                    <a:lnTo>
                      <a:pt x="88" y="19"/>
                    </a:lnTo>
                    <a:lnTo>
                      <a:pt x="90" y="19"/>
                    </a:lnTo>
                    <a:lnTo>
                      <a:pt x="92" y="19"/>
                    </a:lnTo>
                    <a:lnTo>
                      <a:pt x="94" y="19"/>
                    </a:lnTo>
                    <a:lnTo>
                      <a:pt x="92" y="19"/>
                    </a:lnTo>
                    <a:lnTo>
                      <a:pt x="94" y="19"/>
                    </a:lnTo>
                    <a:lnTo>
                      <a:pt x="94" y="21"/>
                    </a:lnTo>
                    <a:lnTo>
                      <a:pt x="96" y="21"/>
                    </a:lnTo>
                    <a:lnTo>
                      <a:pt x="98" y="21"/>
                    </a:lnTo>
                    <a:lnTo>
                      <a:pt x="98" y="23"/>
                    </a:lnTo>
                    <a:lnTo>
                      <a:pt x="98" y="25"/>
                    </a:lnTo>
                    <a:lnTo>
                      <a:pt x="98" y="23"/>
                    </a:lnTo>
                    <a:lnTo>
                      <a:pt x="98" y="25"/>
                    </a:lnTo>
                    <a:lnTo>
                      <a:pt x="100" y="25"/>
                    </a:lnTo>
                    <a:lnTo>
                      <a:pt x="100" y="27"/>
                    </a:lnTo>
                    <a:lnTo>
                      <a:pt x="102" y="27"/>
                    </a:lnTo>
                    <a:lnTo>
                      <a:pt x="104" y="25"/>
                    </a:lnTo>
                    <a:lnTo>
                      <a:pt x="106" y="25"/>
                    </a:lnTo>
                    <a:lnTo>
                      <a:pt x="107" y="25"/>
                    </a:lnTo>
                    <a:lnTo>
                      <a:pt x="109" y="25"/>
                    </a:lnTo>
                    <a:lnTo>
                      <a:pt x="109" y="27"/>
                    </a:lnTo>
                    <a:lnTo>
                      <a:pt x="111" y="27"/>
                    </a:lnTo>
                    <a:lnTo>
                      <a:pt x="111" y="29"/>
                    </a:lnTo>
                    <a:lnTo>
                      <a:pt x="113" y="29"/>
                    </a:lnTo>
                    <a:lnTo>
                      <a:pt x="111" y="29"/>
                    </a:lnTo>
                    <a:lnTo>
                      <a:pt x="111" y="31"/>
                    </a:lnTo>
                    <a:lnTo>
                      <a:pt x="111" y="33"/>
                    </a:lnTo>
                    <a:lnTo>
                      <a:pt x="111" y="35"/>
                    </a:lnTo>
                    <a:lnTo>
                      <a:pt x="113" y="35"/>
                    </a:lnTo>
                    <a:lnTo>
                      <a:pt x="113" y="33"/>
                    </a:lnTo>
                    <a:lnTo>
                      <a:pt x="113" y="35"/>
                    </a:lnTo>
                    <a:lnTo>
                      <a:pt x="113" y="37"/>
                    </a:lnTo>
                    <a:lnTo>
                      <a:pt x="115" y="37"/>
                    </a:lnTo>
                    <a:lnTo>
                      <a:pt x="115" y="39"/>
                    </a:lnTo>
                    <a:lnTo>
                      <a:pt x="115" y="41"/>
                    </a:lnTo>
                    <a:lnTo>
                      <a:pt x="117" y="41"/>
                    </a:lnTo>
                    <a:lnTo>
                      <a:pt x="117" y="42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18">
                <a:extLst>
                  <a:ext uri="{FF2B5EF4-FFF2-40B4-BE49-F238E27FC236}">
                    <a16:creationId xmlns="" xmlns:a16="http://schemas.microsoft.com/office/drawing/2014/main" id="{C6B705A2-B91A-4FDC-A6AE-39E1FD4B2E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8763" y="3509963"/>
                <a:ext cx="228600" cy="222250"/>
              </a:xfrm>
              <a:custGeom>
                <a:avLst/>
                <a:gdLst>
                  <a:gd name="T0" fmla="*/ 140 w 144"/>
                  <a:gd name="T1" fmla="*/ 80 h 140"/>
                  <a:gd name="T2" fmla="*/ 138 w 144"/>
                  <a:gd name="T3" fmla="*/ 86 h 140"/>
                  <a:gd name="T4" fmla="*/ 136 w 144"/>
                  <a:gd name="T5" fmla="*/ 92 h 140"/>
                  <a:gd name="T6" fmla="*/ 132 w 144"/>
                  <a:gd name="T7" fmla="*/ 92 h 140"/>
                  <a:gd name="T8" fmla="*/ 126 w 144"/>
                  <a:gd name="T9" fmla="*/ 90 h 140"/>
                  <a:gd name="T10" fmla="*/ 119 w 144"/>
                  <a:gd name="T11" fmla="*/ 92 h 140"/>
                  <a:gd name="T12" fmla="*/ 117 w 144"/>
                  <a:gd name="T13" fmla="*/ 100 h 140"/>
                  <a:gd name="T14" fmla="*/ 117 w 144"/>
                  <a:gd name="T15" fmla="*/ 107 h 140"/>
                  <a:gd name="T16" fmla="*/ 101 w 144"/>
                  <a:gd name="T17" fmla="*/ 117 h 140"/>
                  <a:gd name="T18" fmla="*/ 98 w 144"/>
                  <a:gd name="T19" fmla="*/ 125 h 140"/>
                  <a:gd name="T20" fmla="*/ 90 w 144"/>
                  <a:gd name="T21" fmla="*/ 128 h 140"/>
                  <a:gd name="T22" fmla="*/ 80 w 144"/>
                  <a:gd name="T23" fmla="*/ 134 h 140"/>
                  <a:gd name="T24" fmla="*/ 73 w 144"/>
                  <a:gd name="T25" fmla="*/ 132 h 140"/>
                  <a:gd name="T26" fmla="*/ 67 w 144"/>
                  <a:gd name="T27" fmla="*/ 138 h 140"/>
                  <a:gd name="T28" fmla="*/ 63 w 144"/>
                  <a:gd name="T29" fmla="*/ 134 h 140"/>
                  <a:gd name="T30" fmla="*/ 61 w 144"/>
                  <a:gd name="T31" fmla="*/ 125 h 140"/>
                  <a:gd name="T32" fmla="*/ 67 w 144"/>
                  <a:gd name="T33" fmla="*/ 115 h 140"/>
                  <a:gd name="T34" fmla="*/ 67 w 144"/>
                  <a:gd name="T35" fmla="*/ 107 h 140"/>
                  <a:gd name="T36" fmla="*/ 67 w 144"/>
                  <a:gd name="T37" fmla="*/ 100 h 140"/>
                  <a:gd name="T38" fmla="*/ 57 w 144"/>
                  <a:gd name="T39" fmla="*/ 98 h 140"/>
                  <a:gd name="T40" fmla="*/ 57 w 144"/>
                  <a:gd name="T41" fmla="*/ 92 h 140"/>
                  <a:gd name="T42" fmla="*/ 50 w 144"/>
                  <a:gd name="T43" fmla="*/ 86 h 140"/>
                  <a:gd name="T44" fmla="*/ 44 w 144"/>
                  <a:gd name="T45" fmla="*/ 86 h 140"/>
                  <a:gd name="T46" fmla="*/ 38 w 144"/>
                  <a:gd name="T47" fmla="*/ 84 h 140"/>
                  <a:gd name="T48" fmla="*/ 30 w 144"/>
                  <a:gd name="T49" fmla="*/ 75 h 140"/>
                  <a:gd name="T50" fmla="*/ 25 w 144"/>
                  <a:gd name="T51" fmla="*/ 75 h 140"/>
                  <a:gd name="T52" fmla="*/ 19 w 144"/>
                  <a:gd name="T53" fmla="*/ 80 h 140"/>
                  <a:gd name="T54" fmla="*/ 13 w 144"/>
                  <a:gd name="T55" fmla="*/ 82 h 140"/>
                  <a:gd name="T56" fmla="*/ 3 w 144"/>
                  <a:gd name="T57" fmla="*/ 78 h 140"/>
                  <a:gd name="T58" fmla="*/ 1 w 144"/>
                  <a:gd name="T59" fmla="*/ 71 h 140"/>
                  <a:gd name="T60" fmla="*/ 3 w 144"/>
                  <a:gd name="T61" fmla="*/ 61 h 140"/>
                  <a:gd name="T62" fmla="*/ 9 w 144"/>
                  <a:gd name="T63" fmla="*/ 48 h 140"/>
                  <a:gd name="T64" fmla="*/ 13 w 144"/>
                  <a:gd name="T65" fmla="*/ 44 h 140"/>
                  <a:gd name="T66" fmla="*/ 17 w 144"/>
                  <a:gd name="T67" fmla="*/ 32 h 140"/>
                  <a:gd name="T68" fmla="*/ 23 w 144"/>
                  <a:gd name="T69" fmla="*/ 25 h 140"/>
                  <a:gd name="T70" fmla="*/ 23 w 144"/>
                  <a:gd name="T71" fmla="*/ 13 h 140"/>
                  <a:gd name="T72" fmla="*/ 30 w 144"/>
                  <a:gd name="T73" fmla="*/ 7 h 140"/>
                  <a:gd name="T74" fmla="*/ 38 w 144"/>
                  <a:gd name="T75" fmla="*/ 7 h 140"/>
                  <a:gd name="T76" fmla="*/ 42 w 144"/>
                  <a:gd name="T77" fmla="*/ 15 h 140"/>
                  <a:gd name="T78" fmla="*/ 48 w 144"/>
                  <a:gd name="T79" fmla="*/ 25 h 140"/>
                  <a:gd name="T80" fmla="*/ 57 w 144"/>
                  <a:gd name="T81" fmla="*/ 25 h 140"/>
                  <a:gd name="T82" fmla="*/ 69 w 144"/>
                  <a:gd name="T83" fmla="*/ 21 h 140"/>
                  <a:gd name="T84" fmla="*/ 73 w 144"/>
                  <a:gd name="T85" fmla="*/ 23 h 140"/>
                  <a:gd name="T86" fmla="*/ 82 w 144"/>
                  <a:gd name="T87" fmla="*/ 19 h 140"/>
                  <a:gd name="T88" fmla="*/ 90 w 144"/>
                  <a:gd name="T89" fmla="*/ 15 h 140"/>
                  <a:gd name="T90" fmla="*/ 103 w 144"/>
                  <a:gd name="T91" fmla="*/ 9 h 140"/>
                  <a:gd name="T92" fmla="*/ 109 w 144"/>
                  <a:gd name="T93" fmla="*/ 5 h 140"/>
                  <a:gd name="T94" fmla="*/ 117 w 144"/>
                  <a:gd name="T95" fmla="*/ 2 h 140"/>
                  <a:gd name="T96" fmla="*/ 123 w 144"/>
                  <a:gd name="T97" fmla="*/ 0 h 140"/>
                  <a:gd name="T98" fmla="*/ 132 w 144"/>
                  <a:gd name="T99" fmla="*/ 3 h 140"/>
                  <a:gd name="T100" fmla="*/ 132 w 144"/>
                  <a:gd name="T101" fmla="*/ 13 h 140"/>
                  <a:gd name="T102" fmla="*/ 132 w 144"/>
                  <a:gd name="T103" fmla="*/ 17 h 140"/>
                  <a:gd name="T104" fmla="*/ 136 w 144"/>
                  <a:gd name="T105" fmla="*/ 19 h 140"/>
                  <a:gd name="T106" fmla="*/ 140 w 144"/>
                  <a:gd name="T107" fmla="*/ 23 h 140"/>
                  <a:gd name="T108" fmla="*/ 138 w 144"/>
                  <a:gd name="T109" fmla="*/ 32 h 140"/>
                  <a:gd name="T110" fmla="*/ 138 w 144"/>
                  <a:gd name="T111" fmla="*/ 42 h 140"/>
                  <a:gd name="T112" fmla="*/ 136 w 144"/>
                  <a:gd name="T113" fmla="*/ 46 h 140"/>
                  <a:gd name="T114" fmla="*/ 132 w 144"/>
                  <a:gd name="T115" fmla="*/ 53 h 140"/>
                  <a:gd name="T116" fmla="*/ 140 w 144"/>
                  <a:gd name="T117" fmla="*/ 63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44" h="140">
                    <a:moveTo>
                      <a:pt x="144" y="71"/>
                    </a:moveTo>
                    <a:lnTo>
                      <a:pt x="142" y="71"/>
                    </a:lnTo>
                    <a:lnTo>
                      <a:pt x="142" y="73"/>
                    </a:lnTo>
                    <a:lnTo>
                      <a:pt x="142" y="75"/>
                    </a:lnTo>
                    <a:lnTo>
                      <a:pt x="142" y="76"/>
                    </a:lnTo>
                    <a:lnTo>
                      <a:pt x="140" y="76"/>
                    </a:lnTo>
                    <a:lnTo>
                      <a:pt x="140" y="78"/>
                    </a:lnTo>
                    <a:lnTo>
                      <a:pt x="140" y="80"/>
                    </a:lnTo>
                    <a:lnTo>
                      <a:pt x="138" y="80"/>
                    </a:lnTo>
                    <a:lnTo>
                      <a:pt x="138" y="82"/>
                    </a:lnTo>
                    <a:lnTo>
                      <a:pt x="138" y="80"/>
                    </a:lnTo>
                    <a:lnTo>
                      <a:pt x="138" y="82"/>
                    </a:lnTo>
                    <a:lnTo>
                      <a:pt x="136" y="82"/>
                    </a:lnTo>
                    <a:lnTo>
                      <a:pt x="138" y="84"/>
                    </a:lnTo>
                    <a:lnTo>
                      <a:pt x="140" y="84"/>
                    </a:lnTo>
                    <a:lnTo>
                      <a:pt x="138" y="86"/>
                    </a:lnTo>
                    <a:lnTo>
                      <a:pt x="140" y="86"/>
                    </a:lnTo>
                    <a:lnTo>
                      <a:pt x="140" y="88"/>
                    </a:lnTo>
                    <a:lnTo>
                      <a:pt x="138" y="88"/>
                    </a:lnTo>
                    <a:lnTo>
                      <a:pt x="140" y="88"/>
                    </a:lnTo>
                    <a:lnTo>
                      <a:pt x="140" y="90"/>
                    </a:lnTo>
                    <a:lnTo>
                      <a:pt x="138" y="90"/>
                    </a:lnTo>
                    <a:lnTo>
                      <a:pt x="138" y="92"/>
                    </a:lnTo>
                    <a:lnTo>
                      <a:pt x="136" y="92"/>
                    </a:lnTo>
                    <a:lnTo>
                      <a:pt x="136" y="94"/>
                    </a:lnTo>
                    <a:lnTo>
                      <a:pt x="136" y="92"/>
                    </a:lnTo>
                    <a:lnTo>
                      <a:pt x="134" y="94"/>
                    </a:lnTo>
                    <a:lnTo>
                      <a:pt x="134" y="92"/>
                    </a:lnTo>
                    <a:lnTo>
                      <a:pt x="132" y="92"/>
                    </a:lnTo>
                    <a:lnTo>
                      <a:pt x="134" y="92"/>
                    </a:lnTo>
                    <a:lnTo>
                      <a:pt x="132" y="90"/>
                    </a:lnTo>
                    <a:lnTo>
                      <a:pt x="132" y="92"/>
                    </a:lnTo>
                    <a:lnTo>
                      <a:pt x="130" y="92"/>
                    </a:lnTo>
                    <a:lnTo>
                      <a:pt x="130" y="94"/>
                    </a:lnTo>
                    <a:lnTo>
                      <a:pt x="130" y="92"/>
                    </a:lnTo>
                    <a:lnTo>
                      <a:pt x="128" y="92"/>
                    </a:lnTo>
                    <a:lnTo>
                      <a:pt x="128" y="90"/>
                    </a:lnTo>
                    <a:lnTo>
                      <a:pt x="126" y="90"/>
                    </a:lnTo>
                    <a:lnTo>
                      <a:pt x="126" y="92"/>
                    </a:lnTo>
                    <a:lnTo>
                      <a:pt x="126" y="90"/>
                    </a:lnTo>
                    <a:lnTo>
                      <a:pt x="124" y="90"/>
                    </a:lnTo>
                    <a:lnTo>
                      <a:pt x="124" y="92"/>
                    </a:lnTo>
                    <a:lnTo>
                      <a:pt x="123" y="92"/>
                    </a:lnTo>
                    <a:lnTo>
                      <a:pt x="123" y="90"/>
                    </a:lnTo>
                    <a:lnTo>
                      <a:pt x="123" y="92"/>
                    </a:lnTo>
                    <a:lnTo>
                      <a:pt x="121" y="90"/>
                    </a:lnTo>
                    <a:lnTo>
                      <a:pt x="119" y="90"/>
                    </a:lnTo>
                    <a:lnTo>
                      <a:pt x="119" y="92"/>
                    </a:lnTo>
                    <a:lnTo>
                      <a:pt x="117" y="92"/>
                    </a:lnTo>
                    <a:lnTo>
                      <a:pt x="117" y="94"/>
                    </a:lnTo>
                    <a:lnTo>
                      <a:pt x="115" y="96"/>
                    </a:lnTo>
                    <a:lnTo>
                      <a:pt x="117" y="96"/>
                    </a:lnTo>
                    <a:lnTo>
                      <a:pt x="117" y="98"/>
                    </a:lnTo>
                    <a:lnTo>
                      <a:pt x="117" y="100"/>
                    </a:lnTo>
                    <a:lnTo>
                      <a:pt x="119" y="100"/>
                    </a:lnTo>
                    <a:lnTo>
                      <a:pt x="117" y="100"/>
                    </a:lnTo>
                    <a:lnTo>
                      <a:pt x="117" y="101"/>
                    </a:lnTo>
                    <a:lnTo>
                      <a:pt x="119" y="101"/>
                    </a:lnTo>
                    <a:lnTo>
                      <a:pt x="119" y="103"/>
                    </a:lnTo>
                    <a:lnTo>
                      <a:pt x="117" y="103"/>
                    </a:lnTo>
                    <a:lnTo>
                      <a:pt x="117" y="105"/>
                    </a:lnTo>
                    <a:lnTo>
                      <a:pt x="119" y="105"/>
                    </a:lnTo>
                    <a:lnTo>
                      <a:pt x="119" y="107"/>
                    </a:lnTo>
                    <a:lnTo>
                      <a:pt x="117" y="107"/>
                    </a:lnTo>
                    <a:lnTo>
                      <a:pt x="115" y="107"/>
                    </a:lnTo>
                    <a:lnTo>
                      <a:pt x="109" y="115"/>
                    </a:lnTo>
                    <a:lnTo>
                      <a:pt x="107" y="115"/>
                    </a:lnTo>
                    <a:lnTo>
                      <a:pt x="105" y="115"/>
                    </a:lnTo>
                    <a:lnTo>
                      <a:pt x="103" y="115"/>
                    </a:lnTo>
                    <a:lnTo>
                      <a:pt x="101" y="117"/>
                    </a:lnTo>
                    <a:lnTo>
                      <a:pt x="101" y="115"/>
                    </a:lnTo>
                    <a:lnTo>
                      <a:pt x="101" y="117"/>
                    </a:lnTo>
                    <a:lnTo>
                      <a:pt x="101" y="119"/>
                    </a:lnTo>
                    <a:lnTo>
                      <a:pt x="99" y="119"/>
                    </a:lnTo>
                    <a:lnTo>
                      <a:pt x="99" y="121"/>
                    </a:lnTo>
                    <a:lnTo>
                      <a:pt x="99" y="123"/>
                    </a:lnTo>
                    <a:lnTo>
                      <a:pt x="101" y="123"/>
                    </a:lnTo>
                    <a:lnTo>
                      <a:pt x="101" y="125"/>
                    </a:lnTo>
                    <a:lnTo>
                      <a:pt x="99" y="125"/>
                    </a:lnTo>
                    <a:lnTo>
                      <a:pt x="98" y="125"/>
                    </a:lnTo>
                    <a:lnTo>
                      <a:pt x="98" y="126"/>
                    </a:lnTo>
                    <a:lnTo>
                      <a:pt x="96" y="126"/>
                    </a:lnTo>
                    <a:lnTo>
                      <a:pt x="94" y="126"/>
                    </a:lnTo>
                    <a:lnTo>
                      <a:pt x="94" y="128"/>
                    </a:lnTo>
                    <a:lnTo>
                      <a:pt x="94" y="130"/>
                    </a:lnTo>
                    <a:lnTo>
                      <a:pt x="92" y="130"/>
                    </a:lnTo>
                    <a:lnTo>
                      <a:pt x="90" y="130"/>
                    </a:lnTo>
                    <a:lnTo>
                      <a:pt x="90" y="128"/>
                    </a:lnTo>
                    <a:lnTo>
                      <a:pt x="88" y="128"/>
                    </a:lnTo>
                    <a:lnTo>
                      <a:pt x="86" y="128"/>
                    </a:lnTo>
                    <a:lnTo>
                      <a:pt x="86" y="130"/>
                    </a:lnTo>
                    <a:lnTo>
                      <a:pt x="86" y="132"/>
                    </a:lnTo>
                    <a:lnTo>
                      <a:pt x="84" y="132"/>
                    </a:lnTo>
                    <a:lnTo>
                      <a:pt x="84" y="134"/>
                    </a:lnTo>
                    <a:lnTo>
                      <a:pt x="82" y="134"/>
                    </a:lnTo>
                    <a:lnTo>
                      <a:pt x="80" y="134"/>
                    </a:lnTo>
                    <a:lnTo>
                      <a:pt x="78" y="134"/>
                    </a:lnTo>
                    <a:lnTo>
                      <a:pt x="76" y="134"/>
                    </a:lnTo>
                    <a:lnTo>
                      <a:pt x="76" y="132"/>
                    </a:lnTo>
                    <a:lnTo>
                      <a:pt x="78" y="132"/>
                    </a:lnTo>
                    <a:lnTo>
                      <a:pt x="78" y="130"/>
                    </a:lnTo>
                    <a:lnTo>
                      <a:pt x="76" y="130"/>
                    </a:lnTo>
                    <a:lnTo>
                      <a:pt x="75" y="132"/>
                    </a:lnTo>
                    <a:lnTo>
                      <a:pt x="73" y="132"/>
                    </a:lnTo>
                    <a:lnTo>
                      <a:pt x="71" y="132"/>
                    </a:lnTo>
                    <a:lnTo>
                      <a:pt x="69" y="134"/>
                    </a:lnTo>
                    <a:lnTo>
                      <a:pt x="67" y="134"/>
                    </a:lnTo>
                    <a:lnTo>
                      <a:pt x="65" y="134"/>
                    </a:lnTo>
                    <a:lnTo>
                      <a:pt x="67" y="136"/>
                    </a:lnTo>
                    <a:lnTo>
                      <a:pt x="67" y="138"/>
                    </a:lnTo>
                    <a:lnTo>
                      <a:pt x="69" y="138"/>
                    </a:lnTo>
                    <a:lnTo>
                      <a:pt x="67" y="138"/>
                    </a:lnTo>
                    <a:lnTo>
                      <a:pt x="65" y="138"/>
                    </a:lnTo>
                    <a:lnTo>
                      <a:pt x="65" y="140"/>
                    </a:lnTo>
                    <a:lnTo>
                      <a:pt x="63" y="140"/>
                    </a:lnTo>
                    <a:lnTo>
                      <a:pt x="63" y="138"/>
                    </a:lnTo>
                    <a:lnTo>
                      <a:pt x="63" y="136"/>
                    </a:lnTo>
                    <a:lnTo>
                      <a:pt x="61" y="136"/>
                    </a:lnTo>
                    <a:lnTo>
                      <a:pt x="61" y="134"/>
                    </a:lnTo>
                    <a:lnTo>
                      <a:pt x="63" y="134"/>
                    </a:lnTo>
                    <a:lnTo>
                      <a:pt x="61" y="134"/>
                    </a:lnTo>
                    <a:lnTo>
                      <a:pt x="63" y="132"/>
                    </a:lnTo>
                    <a:lnTo>
                      <a:pt x="63" y="130"/>
                    </a:lnTo>
                    <a:lnTo>
                      <a:pt x="63" y="128"/>
                    </a:lnTo>
                    <a:lnTo>
                      <a:pt x="61" y="128"/>
                    </a:lnTo>
                    <a:lnTo>
                      <a:pt x="61" y="126"/>
                    </a:lnTo>
                    <a:lnTo>
                      <a:pt x="63" y="126"/>
                    </a:lnTo>
                    <a:lnTo>
                      <a:pt x="61" y="125"/>
                    </a:lnTo>
                    <a:lnTo>
                      <a:pt x="63" y="125"/>
                    </a:lnTo>
                    <a:lnTo>
                      <a:pt x="63" y="123"/>
                    </a:lnTo>
                    <a:lnTo>
                      <a:pt x="63" y="121"/>
                    </a:lnTo>
                    <a:lnTo>
                      <a:pt x="65" y="121"/>
                    </a:lnTo>
                    <a:lnTo>
                      <a:pt x="65" y="119"/>
                    </a:lnTo>
                    <a:lnTo>
                      <a:pt x="67" y="119"/>
                    </a:lnTo>
                    <a:lnTo>
                      <a:pt x="67" y="117"/>
                    </a:lnTo>
                    <a:lnTo>
                      <a:pt x="67" y="115"/>
                    </a:lnTo>
                    <a:lnTo>
                      <a:pt x="69" y="115"/>
                    </a:lnTo>
                    <a:lnTo>
                      <a:pt x="69" y="113"/>
                    </a:lnTo>
                    <a:lnTo>
                      <a:pt x="67" y="113"/>
                    </a:lnTo>
                    <a:lnTo>
                      <a:pt x="67" y="111"/>
                    </a:lnTo>
                    <a:lnTo>
                      <a:pt x="69" y="111"/>
                    </a:lnTo>
                    <a:lnTo>
                      <a:pt x="67" y="111"/>
                    </a:lnTo>
                    <a:lnTo>
                      <a:pt x="67" y="109"/>
                    </a:lnTo>
                    <a:lnTo>
                      <a:pt x="67" y="107"/>
                    </a:lnTo>
                    <a:lnTo>
                      <a:pt x="69" y="107"/>
                    </a:lnTo>
                    <a:lnTo>
                      <a:pt x="69" y="105"/>
                    </a:lnTo>
                    <a:lnTo>
                      <a:pt x="69" y="103"/>
                    </a:lnTo>
                    <a:lnTo>
                      <a:pt x="67" y="103"/>
                    </a:lnTo>
                    <a:lnTo>
                      <a:pt x="67" y="101"/>
                    </a:lnTo>
                    <a:lnTo>
                      <a:pt x="69" y="101"/>
                    </a:lnTo>
                    <a:lnTo>
                      <a:pt x="69" y="100"/>
                    </a:lnTo>
                    <a:lnTo>
                      <a:pt x="67" y="100"/>
                    </a:lnTo>
                    <a:lnTo>
                      <a:pt x="67" y="98"/>
                    </a:lnTo>
                    <a:lnTo>
                      <a:pt x="65" y="98"/>
                    </a:lnTo>
                    <a:lnTo>
                      <a:pt x="63" y="98"/>
                    </a:lnTo>
                    <a:lnTo>
                      <a:pt x="61" y="98"/>
                    </a:lnTo>
                    <a:lnTo>
                      <a:pt x="59" y="98"/>
                    </a:lnTo>
                    <a:lnTo>
                      <a:pt x="59" y="96"/>
                    </a:lnTo>
                    <a:lnTo>
                      <a:pt x="59" y="98"/>
                    </a:lnTo>
                    <a:lnTo>
                      <a:pt x="57" y="98"/>
                    </a:lnTo>
                    <a:lnTo>
                      <a:pt x="57" y="96"/>
                    </a:lnTo>
                    <a:lnTo>
                      <a:pt x="59" y="96"/>
                    </a:lnTo>
                    <a:lnTo>
                      <a:pt x="59" y="94"/>
                    </a:lnTo>
                    <a:lnTo>
                      <a:pt x="57" y="92"/>
                    </a:lnTo>
                    <a:lnTo>
                      <a:pt x="57" y="94"/>
                    </a:lnTo>
                    <a:lnTo>
                      <a:pt x="57" y="92"/>
                    </a:lnTo>
                    <a:lnTo>
                      <a:pt x="55" y="92"/>
                    </a:lnTo>
                    <a:lnTo>
                      <a:pt x="57" y="92"/>
                    </a:lnTo>
                    <a:lnTo>
                      <a:pt x="55" y="92"/>
                    </a:lnTo>
                    <a:lnTo>
                      <a:pt x="57" y="90"/>
                    </a:lnTo>
                    <a:lnTo>
                      <a:pt x="55" y="90"/>
                    </a:lnTo>
                    <a:lnTo>
                      <a:pt x="53" y="90"/>
                    </a:lnTo>
                    <a:lnTo>
                      <a:pt x="53" y="88"/>
                    </a:lnTo>
                    <a:lnTo>
                      <a:pt x="51" y="88"/>
                    </a:lnTo>
                    <a:lnTo>
                      <a:pt x="51" y="86"/>
                    </a:lnTo>
                    <a:lnTo>
                      <a:pt x="50" y="86"/>
                    </a:lnTo>
                    <a:lnTo>
                      <a:pt x="50" y="88"/>
                    </a:lnTo>
                    <a:lnTo>
                      <a:pt x="48" y="88"/>
                    </a:lnTo>
                    <a:lnTo>
                      <a:pt x="48" y="86"/>
                    </a:lnTo>
                    <a:lnTo>
                      <a:pt x="46" y="86"/>
                    </a:lnTo>
                    <a:lnTo>
                      <a:pt x="44" y="88"/>
                    </a:lnTo>
                    <a:lnTo>
                      <a:pt x="44" y="86"/>
                    </a:lnTo>
                    <a:lnTo>
                      <a:pt x="46" y="86"/>
                    </a:lnTo>
                    <a:lnTo>
                      <a:pt x="44" y="86"/>
                    </a:lnTo>
                    <a:lnTo>
                      <a:pt x="42" y="86"/>
                    </a:lnTo>
                    <a:lnTo>
                      <a:pt x="42" y="88"/>
                    </a:lnTo>
                    <a:lnTo>
                      <a:pt x="40" y="88"/>
                    </a:lnTo>
                    <a:lnTo>
                      <a:pt x="40" y="86"/>
                    </a:lnTo>
                    <a:lnTo>
                      <a:pt x="38" y="88"/>
                    </a:lnTo>
                    <a:lnTo>
                      <a:pt x="36" y="86"/>
                    </a:lnTo>
                    <a:lnTo>
                      <a:pt x="38" y="86"/>
                    </a:lnTo>
                    <a:lnTo>
                      <a:pt x="38" y="84"/>
                    </a:lnTo>
                    <a:lnTo>
                      <a:pt x="36" y="84"/>
                    </a:lnTo>
                    <a:lnTo>
                      <a:pt x="34" y="84"/>
                    </a:lnTo>
                    <a:lnTo>
                      <a:pt x="34" y="82"/>
                    </a:lnTo>
                    <a:lnTo>
                      <a:pt x="32" y="82"/>
                    </a:lnTo>
                    <a:lnTo>
                      <a:pt x="32" y="80"/>
                    </a:lnTo>
                    <a:lnTo>
                      <a:pt x="30" y="78"/>
                    </a:lnTo>
                    <a:lnTo>
                      <a:pt x="30" y="76"/>
                    </a:lnTo>
                    <a:lnTo>
                      <a:pt x="30" y="75"/>
                    </a:lnTo>
                    <a:lnTo>
                      <a:pt x="28" y="75"/>
                    </a:lnTo>
                    <a:lnTo>
                      <a:pt x="28" y="73"/>
                    </a:lnTo>
                    <a:lnTo>
                      <a:pt x="26" y="73"/>
                    </a:lnTo>
                    <a:lnTo>
                      <a:pt x="26" y="71"/>
                    </a:lnTo>
                    <a:lnTo>
                      <a:pt x="25" y="71"/>
                    </a:lnTo>
                    <a:lnTo>
                      <a:pt x="25" y="73"/>
                    </a:lnTo>
                    <a:lnTo>
                      <a:pt x="23" y="75"/>
                    </a:lnTo>
                    <a:lnTo>
                      <a:pt x="25" y="75"/>
                    </a:lnTo>
                    <a:lnTo>
                      <a:pt x="23" y="75"/>
                    </a:lnTo>
                    <a:lnTo>
                      <a:pt x="23" y="76"/>
                    </a:lnTo>
                    <a:lnTo>
                      <a:pt x="21" y="76"/>
                    </a:lnTo>
                    <a:lnTo>
                      <a:pt x="19" y="76"/>
                    </a:lnTo>
                    <a:lnTo>
                      <a:pt x="19" y="78"/>
                    </a:lnTo>
                    <a:lnTo>
                      <a:pt x="17" y="78"/>
                    </a:lnTo>
                    <a:lnTo>
                      <a:pt x="17" y="80"/>
                    </a:lnTo>
                    <a:lnTo>
                      <a:pt x="19" y="80"/>
                    </a:lnTo>
                    <a:lnTo>
                      <a:pt x="17" y="82"/>
                    </a:lnTo>
                    <a:lnTo>
                      <a:pt x="17" y="80"/>
                    </a:lnTo>
                    <a:lnTo>
                      <a:pt x="15" y="82"/>
                    </a:lnTo>
                    <a:lnTo>
                      <a:pt x="15" y="80"/>
                    </a:lnTo>
                    <a:lnTo>
                      <a:pt x="15" y="82"/>
                    </a:lnTo>
                    <a:lnTo>
                      <a:pt x="15" y="80"/>
                    </a:lnTo>
                    <a:lnTo>
                      <a:pt x="15" y="82"/>
                    </a:lnTo>
                    <a:lnTo>
                      <a:pt x="13" y="82"/>
                    </a:lnTo>
                    <a:lnTo>
                      <a:pt x="11" y="82"/>
                    </a:lnTo>
                    <a:lnTo>
                      <a:pt x="9" y="82"/>
                    </a:lnTo>
                    <a:lnTo>
                      <a:pt x="9" y="80"/>
                    </a:lnTo>
                    <a:lnTo>
                      <a:pt x="7" y="82"/>
                    </a:lnTo>
                    <a:lnTo>
                      <a:pt x="5" y="82"/>
                    </a:lnTo>
                    <a:lnTo>
                      <a:pt x="5" y="80"/>
                    </a:lnTo>
                    <a:lnTo>
                      <a:pt x="3" y="80"/>
                    </a:lnTo>
                    <a:lnTo>
                      <a:pt x="3" y="78"/>
                    </a:lnTo>
                    <a:lnTo>
                      <a:pt x="1" y="78"/>
                    </a:lnTo>
                    <a:lnTo>
                      <a:pt x="1" y="76"/>
                    </a:lnTo>
                    <a:lnTo>
                      <a:pt x="3" y="76"/>
                    </a:lnTo>
                    <a:lnTo>
                      <a:pt x="3" y="75"/>
                    </a:lnTo>
                    <a:lnTo>
                      <a:pt x="1" y="73"/>
                    </a:lnTo>
                    <a:lnTo>
                      <a:pt x="0" y="73"/>
                    </a:lnTo>
                    <a:lnTo>
                      <a:pt x="0" y="71"/>
                    </a:lnTo>
                    <a:lnTo>
                      <a:pt x="1" y="71"/>
                    </a:lnTo>
                    <a:lnTo>
                      <a:pt x="1" y="69"/>
                    </a:lnTo>
                    <a:lnTo>
                      <a:pt x="3" y="67"/>
                    </a:lnTo>
                    <a:lnTo>
                      <a:pt x="1" y="67"/>
                    </a:lnTo>
                    <a:lnTo>
                      <a:pt x="1" y="65"/>
                    </a:lnTo>
                    <a:lnTo>
                      <a:pt x="0" y="65"/>
                    </a:lnTo>
                    <a:lnTo>
                      <a:pt x="1" y="65"/>
                    </a:lnTo>
                    <a:lnTo>
                      <a:pt x="1" y="63"/>
                    </a:lnTo>
                    <a:lnTo>
                      <a:pt x="3" y="61"/>
                    </a:lnTo>
                    <a:lnTo>
                      <a:pt x="3" y="59"/>
                    </a:lnTo>
                    <a:lnTo>
                      <a:pt x="3" y="57"/>
                    </a:lnTo>
                    <a:lnTo>
                      <a:pt x="3" y="55"/>
                    </a:lnTo>
                    <a:lnTo>
                      <a:pt x="5" y="55"/>
                    </a:lnTo>
                    <a:lnTo>
                      <a:pt x="7" y="51"/>
                    </a:lnTo>
                    <a:lnTo>
                      <a:pt x="7" y="50"/>
                    </a:lnTo>
                    <a:lnTo>
                      <a:pt x="9" y="50"/>
                    </a:lnTo>
                    <a:lnTo>
                      <a:pt x="9" y="48"/>
                    </a:lnTo>
                    <a:lnTo>
                      <a:pt x="9" y="46"/>
                    </a:lnTo>
                    <a:lnTo>
                      <a:pt x="7" y="46"/>
                    </a:lnTo>
                    <a:lnTo>
                      <a:pt x="9" y="46"/>
                    </a:lnTo>
                    <a:lnTo>
                      <a:pt x="11" y="46"/>
                    </a:lnTo>
                    <a:lnTo>
                      <a:pt x="9" y="46"/>
                    </a:lnTo>
                    <a:lnTo>
                      <a:pt x="9" y="44"/>
                    </a:lnTo>
                    <a:lnTo>
                      <a:pt x="11" y="44"/>
                    </a:lnTo>
                    <a:lnTo>
                      <a:pt x="13" y="44"/>
                    </a:lnTo>
                    <a:lnTo>
                      <a:pt x="15" y="44"/>
                    </a:lnTo>
                    <a:lnTo>
                      <a:pt x="15" y="42"/>
                    </a:lnTo>
                    <a:lnTo>
                      <a:pt x="13" y="40"/>
                    </a:lnTo>
                    <a:lnTo>
                      <a:pt x="15" y="38"/>
                    </a:lnTo>
                    <a:lnTo>
                      <a:pt x="15" y="36"/>
                    </a:lnTo>
                    <a:lnTo>
                      <a:pt x="15" y="34"/>
                    </a:lnTo>
                    <a:lnTo>
                      <a:pt x="15" y="32"/>
                    </a:lnTo>
                    <a:lnTo>
                      <a:pt x="17" y="32"/>
                    </a:lnTo>
                    <a:lnTo>
                      <a:pt x="19" y="34"/>
                    </a:lnTo>
                    <a:lnTo>
                      <a:pt x="19" y="32"/>
                    </a:lnTo>
                    <a:lnTo>
                      <a:pt x="21" y="32"/>
                    </a:lnTo>
                    <a:lnTo>
                      <a:pt x="21" y="30"/>
                    </a:lnTo>
                    <a:lnTo>
                      <a:pt x="23" y="30"/>
                    </a:lnTo>
                    <a:lnTo>
                      <a:pt x="23" y="28"/>
                    </a:lnTo>
                    <a:lnTo>
                      <a:pt x="23" y="27"/>
                    </a:lnTo>
                    <a:lnTo>
                      <a:pt x="23" y="25"/>
                    </a:lnTo>
                    <a:lnTo>
                      <a:pt x="23" y="23"/>
                    </a:lnTo>
                    <a:lnTo>
                      <a:pt x="23" y="21"/>
                    </a:lnTo>
                    <a:lnTo>
                      <a:pt x="23" y="19"/>
                    </a:lnTo>
                    <a:lnTo>
                      <a:pt x="23" y="17"/>
                    </a:lnTo>
                    <a:lnTo>
                      <a:pt x="23" y="15"/>
                    </a:lnTo>
                    <a:lnTo>
                      <a:pt x="25" y="15"/>
                    </a:lnTo>
                    <a:lnTo>
                      <a:pt x="25" y="13"/>
                    </a:lnTo>
                    <a:lnTo>
                      <a:pt x="23" y="13"/>
                    </a:lnTo>
                    <a:lnTo>
                      <a:pt x="23" y="11"/>
                    </a:lnTo>
                    <a:lnTo>
                      <a:pt x="23" y="9"/>
                    </a:lnTo>
                    <a:lnTo>
                      <a:pt x="25" y="9"/>
                    </a:lnTo>
                    <a:lnTo>
                      <a:pt x="26" y="9"/>
                    </a:lnTo>
                    <a:lnTo>
                      <a:pt x="26" y="7"/>
                    </a:lnTo>
                    <a:lnTo>
                      <a:pt x="28" y="7"/>
                    </a:lnTo>
                    <a:lnTo>
                      <a:pt x="30" y="9"/>
                    </a:lnTo>
                    <a:lnTo>
                      <a:pt x="30" y="7"/>
                    </a:lnTo>
                    <a:lnTo>
                      <a:pt x="30" y="5"/>
                    </a:lnTo>
                    <a:lnTo>
                      <a:pt x="32" y="5"/>
                    </a:lnTo>
                    <a:lnTo>
                      <a:pt x="34" y="5"/>
                    </a:lnTo>
                    <a:lnTo>
                      <a:pt x="34" y="3"/>
                    </a:lnTo>
                    <a:lnTo>
                      <a:pt x="36" y="3"/>
                    </a:lnTo>
                    <a:lnTo>
                      <a:pt x="36" y="5"/>
                    </a:lnTo>
                    <a:lnTo>
                      <a:pt x="38" y="5"/>
                    </a:lnTo>
                    <a:lnTo>
                      <a:pt x="38" y="7"/>
                    </a:lnTo>
                    <a:lnTo>
                      <a:pt x="40" y="7"/>
                    </a:lnTo>
                    <a:lnTo>
                      <a:pt x="42" y="5"/>
                    </a:lnTo>
                    <a:lnTo>
                      <a:pt x="42" y="7"/>
                    </a:lnTo>
                    <a:lnTo>
                      <a:pt x="42" y="9"/>
                    </a:lnTo>
                    <a:lnTo>
                      <a:pt x="44" y="9"/>
                    </a:lnTo>
                    <a:lnTo>
                      <a:pt x="44" y="11"/>
                    </a:lnTo>
                    <a:lnTo>
                      <a:pt x="44" y="13"/>
                    </a:lnTo>
                    <a:lnTo>
                      <a:pt x="42" y="15"/>
                    </a:lnTo>
                    <a:lnTo>
                      <a:pt x="42" y="17"/>
                    </a:lnTo>
                    <a:lnTo>
                      <a:pt x="44" y="17"/>
                    </a:lnTo>
                    <a:lnTo>
                      <a:pt x="44" y="19"/>
                    </a:lnTo>
                    <a:lnTo>
                      <a:pt x="44" y="21"/>
                    </a:lnTo>
                    <a:lnTo>
                      <a:pt x="46" y="21"/>
                    </a:lnTo>
                    <a:lnTo>
                      <a:pt x="48" y="21"/>
                    </a:lnTo>
                    <a:lnTo>
                      <a:pt x="48" y="23"/>
                    </a:lnTo>
                    <a:lnTo>
                      <a:pt x="48" y="25"/>
                    </a:lnTo>
                    <a:lnTo>
                      <a:pt x="50" y="25"/>
                    </a:lnTo>
                    <a:lnTo>
                      <a:pt x="51" y="25"/>
                    </a:lnTo>
                    <a:lnTo>
                      <a:pt x="53" y="25"/>
                    </a:lnTo>
                    <a:lnTo>
                      <a:pt x="53" y="27"/>
                    </a:lnTo>
                    <a:lnTo>
                      <a:pt x="53" y="25"/>
                    </a:lnTo>
                    <a:lnTo>
                      <a:pt x="55" y="25"/>
                    </a:lnTo>
                    <a:lnTo>
                      <a:pt x="57" y="27"/>
                    </a:lnTo>
                    <a:lnTo>
                      <a:pt x="57" y="25"/>
                    </a:lnTo>
                    <a:lnTo>
                      <a:pt x="59" y="25"/>
                    </a:lnTo>
                    <a:lnTo>
                      <a:pt x="59" y="23"/>
                    </a:lnTo>
                    <a:lnTo>
                      <a:pt x="61" y="25"/>
                    </a:lnTo>
                    <a:lnTo>
                      <a:pt x="63" y="25"/>
                    </a:lnTo>
                    <a:lnTo>
                      <a:pt x="67" y="23"/>
                    </a:lnTo>
                    <a:lnTo>
                      <a:pt x="69" y="21"/>
                    </a:lnTo>
                    <a:lnTo>
                      <a:pt x="69" y="19"/>
                    </a:lnTo>
                    <a:lnTo>
                      <a:pt x="69" y="21"/>
                    </a:lnTo>
                    <a:lnTo>
                      <a:pt x="71" y="21"/>
                    </a:lnTo>
                    <a:lnTo>
                      <a:pt x="71" y="23"/>
                    </a:lnTo>
                    <a:lnTo>
                      <a:pt x="73" y="21"/>
                    </a:lnTo>
                    <a:lnTo>
                      <a:pt x="73" y="23"/>
                    </a:lnTo>
                    <a:lnTo>
                      <a:pt x="73" y="21"/>
                    </a:lnTo>
                    <a:lnTo>
                      <a:pt x="75" y="21"/>
                    </a:lnTo>
                    <a:lnTo>
                      <a:pt x="73" y="21"/>
                    </a:lnTo>
                    <a:lnTo>
                      <a:pt x="73" y="23"/>
                    </a:lnTo>
                    <a:lnTo>
                      <a:pt x="75" y="23"/>
                    </a:lnTo>
                    <a:lnTo>
                      <a:pt x="76" y="23"/>
                    </a:lnTo>
                    <a:lnTo>
                      <a:pt x="78" y="23"/>
                    </a:lnTo>
                    <a:lnTo>
                      <a:pt x="78" y="21"/>
                    </a:lnTo>
                    <a:lnTo>
                      <a:pt x="80" y="21"/>
                    </a:lnTo>
                    <a:lnTo>
                      <a:pt x="80" y="19"/>
                    </a:lnTo>
                    <a:lnTo>
                      <a:pt x="82" y="21"/>
                    </a:lnTo>
                    <a:lnTo>
                      <a:pt x="82" y="19"/>
                    </a:lnTo>
                    <a:lnTo>
                      <a:pt x="84" y="19"/>
                    </a:lnTo>
                    <a:lnTo>
                      <a:pt x="84" y="21"/>
                    </a:lnTo>
                    <a:lnTo>
                      <a:pt x="86" y="21"/>
                    </a:lnTo>
                    <a:lnTo>
                      <a:pt x="86" y="19"/>
                    </a:lnTo>
                    <a:lnTo>
                      <a:pt x="86" y="17"/>
                    </a:lnTo>
                    <a:lnTo>
                      <a:pt x="88" y="17"/>
                    </a:lnTo>
                    <a:lnTo>
                      <a:pt x="88" y="15"/>
                    </a:lnTo>
                    <a:lnTo>
                      <a:pt x="90" y="15"/>
                    </a:lnTo>
                    <a:lnTo>
                      <a:pt x="92" y="13"/>
                    </a:lnTo>
                    <a:lnTo>
                      <a:pt x="94" y="13"/>
                    </a:lnTo>
                    <a:lnTo>
                      <a:pt x="96" y="13"/>
                    </a:lnTo>
                    <a:lnTo>
                      <a:pt x="98" y="13"/>
                    </a:lnTo>
                    <a:lnTo>
                      <a:pt x="98" y="11"/>
                    </a:lnTo>
                    <a:lnTo>
                      <a:pt x="99" y="11"/>
                    </a:lnTo>
                    <a:lnTo>
                      <a:pt x="101" y="11"/>
                    </a:lnTo>
                    <a:lnTo>
                      <a:pt x="103" y="9"/>
                    </a:lnTo>
                    <a:lnTo>
                      <a:pt x="103" y="11"/>
                    </a:lnTo>
                    <a:lnTo>
                      <a:pt x="103" y="9"/>
                    </a:lnTo>
                    <a:lnTo>
                      <a:pt x="103" y="11"/>
                    </a:lnTo>
                    <a:lnTo>
                      <a:pt x="105" y="11"/>
                    </a:lnTo>
                    <a:lnTo>
                      <a:pt x="107" y="11"/>
                    </a:lnTo>
                    <a:lnTo>
                      <a:pt x="107" y="9"/>
                    </a:lnTo>
                    <a:lnTo>
                      <a:pt x="109" y="7"/>
                    </a:lnTo>
                    <a:lnTo>
                      <a:pt x="109" y="5"/>
                    </a:lnTo>
                    <a:lnTo>
                      <a:pt x="109" y="7"/>
                    </a:lnTo>
                    <a:lnTo>
                      <a:pt x="111" y="7"/>
                    </a:lnTo>
                    <a:lnTo>
                      <a:pt x="113" y="7"/>
                    </a:lnTo>
                    <a:lnTo>
                      <a:pt x="113" y="5"/>
                    </a:lnTo>
                    <a:lnTo>
                      <a:pt x="113" y="3"/>
                    </a:lnTo>
                    <a:lnTo>
                      <a:pt x="115" y="3"/>
                    </a:lnTo>
                    <a:lnTo>
                      <a:pt x="117" y="3"/>
                    </a:lnTo>
                    <a:lnTo>
                      <a:pt x="117" y="2"/>
                    </a:lnTo>
                    <a:lnTo>
                      <a:pt x="115" y="2"/>
                    </a:lnTo>
                    <a:lnTo>
                      <a:pt x="117" y="2"/>
                    </a:lnTo>
                    <a:lnTo>
                      <a:pt x="119" y="2"/>
                    </a:lnTo>
                    <a:lnTo>
                      <a:pt x="119" y="3"/>
                    </a:lnTo>
                    <a:lnTo>
                      <a:pt x="121" y="3"/>
                    </a:lnTo>
                    <a:lnTo>
                      <a:pt x="121" y="2"/>
                    </a:lnTo>
                    <a:lnTo>
                      <a:pt x="123" y="2"/>
                    </a:lnTo>
                    <a:lnTo>
                      <a:pt x="123" y="0"/>
                    </a:lnTo>
                    <a:lnTo>
                      <a:pt x="124" y="0"/>
                    </a:lnTo>
                    <a:lnTo>
                      <a:pt x="124" y="2"/>
                    </a:lnTo>
                    <a:lnTo>
                      <a:pt x="126" y="2"/>
                    </a:lnTo>
                    <a:lnTo>
                      <a:pt x="128" y="2"/>
                    </a:lnTo>
                    <a:lnTo>
                      <a:pt x="128" y="3"/>
                    </a:lnTo>
                    <a:lnTo>
                      <a:pt x="130" y="2"/>
                    </a:lnTo>
                    <a:lnTo>
                      <a:pt x="130" y="3"/>
                    </a:lnTo>
                    <a:lnTo>
                      <a:pt x="132" y="3"/>
                    </a:lnTo>
                    <a:lnTo>
                      <a:pt x="132" y="5"/>
                    </a:lnTo>
                    <a:lnTo>
                      <a:pt x="132" y="7"/>
                    </a:lnTo>
                    <a:lnTo>
                      <a:pt x="132" y="9"/>
                    </a:lnTo>
                    <a:lnTo>
                      <a:pt x="134" y="9"/>
                    </a:lnTo>
                    <a:lnTo>
                      <a:pt x="132" y="11"/>
                    </a:lnTo>
                    <a:lnTo>
                      <a:pt x="132" y="9"/>
                    </a:lnTo>
                    <a:lnTo>
                      <a:pt x="132" y="11"/>
                    </a:lnTo>
                    <a:lnTo>
                      <a:pt x="132" y="13"/>
                    </a:lnTo>
                    <a:lnTo>
                      <a:pt x="132" y="11"/>
                    </a:lnTo>
                    <a:lnTo>
                      <a:pt x="130" y="11"/>
                    </a:lnTo>
                    <a:lnTo>
                      <a:pt x="130" y="13"/>
                    </a:lnTo>
                    <a:lnTo>
                      <a:pt x="128" y="13"/>
                    </a:lnTo>
                    <a:lnTo>
                      <a:pt x="130" y="13"/>
                    </a:lnTo>
                    <a:lnTo>
                      <a:pt x="130" y="15"/>
                    </a:lnTo>
                    <a:lnTo>
                      <a:pt x="130" y="17"/>
                    </a:lnTo>
                    <a:lnTo>
                      <a:pt x="132" y="17"/>
                    </a:lnTo>
                    <a:lnTo>
                      <a:pt x="132" y="19"/>
                    </a:lnTo>
                    <a:lnTo>
                      <a:pt x="132" y="17"/>
                    </a:lnTo>
                    <a:lnTo>
                      <a:pt x="134" y="17"/>
                    </a:lnTo>
                    <a:lnTo>
                      <a:pt x="134" y="19"/>
                    </a:lnTo>
                    <a:lnTo>
                      <a:pt x="134" y="17"/>
                    </a:lnTo>
                    <a:lnTo>
                      <a:pt x="134" y="19"/>
                    </a:lnTo>
                    <a:lnTo>
                      <a:pt x="134" y="21"/>
                    </a:lnTo>
                    <a:lnTo>
                      <a:pt x="136" y="19"/>
                    </a:lnTo>
                    <a:lnTo>
                      <a:pt x="136" y="21"/>
                    </a:lnTo>
                    <a:lnTo>
                      <a:pt x="138" y="21"/>
                    </a:lnTo>
                    <a:lnTo>
                      <a:pt x="138" y="19"/>
                    </a:lnTo>
                    <a:lnTo>
                      <a:pt x="138" y="21"/>
                    </a:lnTo>
                    <a:lnTo>
                      <a:pt x="140" y="21"/>
                    </a:lnTo>
                    <a:lnTo>
                      <a:pt x="142" y="21"/>
                    </a:lnTo>
                    <a:lnTo>
                      <a:pt x="142" y="23"/>
                    </a:lnTo>
                    <a:lnTo>
                      <a:pt x="140" y="23"/>
                    </a:lnTo>
                    <a:lnTo>
                      <a:pt x="142" y="23"/>
                    </a:lnTo>
                    <a:lnTo>
                      <a:pt x="140" y="25"/>
                    </a:lnTo>
                    <a:lnTo>
                      <a:pt x="138" y="27"/>
                    </a:lnTo>
                    <a:lnTo>
                      <a:pt x="140" y="27"/>
                    </a:lnTo>
                    <a:lnTo>
                      <a:pt x="140" y="28"/>
                    </a:lnTo>
                    <a:lnTo>
                      <a:pt x="140" y="30"/>
                    </a:lnTo>
                    <a:lnTo>
                      <a:pt x="140" y="32"/>
                    </a:lnTo>
                    <a:lnTo>
                      <a:pt x="138" y="32"/>
                    </a:lnTo>
                    <a:lnTo>
                      <a:pt x="138" y="34"/>
                    </a:lnTo>
                    <a:lnTo>
                      <a:pt x="140" y="34"/>
                    </a:lnTo>
                    <a:lnTo>
                      <a:pt x="140" y="36"/>
                    </a:lnTo>
                    <a:lnTo>
                      <a:pt x="138" y="36"/>
                    </a:lnTo>
                    <a:lnTo>
                      <a:pt x="138" y="38"/>
                    </a:lnTo>
                    <a:lnTo>
                      <a:pt x="140" y="38"/>
                    </a:lnTo>
                    <a:lnTo>
                      <a:pt x="140" y="40"/>
                    </a:lnTo>
                    <a:lnTo>
                      <a:pt x="138" y="42"/>
                    </a:lnTo>
                    <a:lnTo>
                      <a:pt x="140" y="42"/>
                    </a:lnTo>
                    <a:lnTo>
                      <a:pt x="138" y="42"/>
                    </a:lnTo>
                    <a:lnTo>
                      <a:pt x="140" y="42"/>
                    </a:lnTo>
                    <a:lnTo>
                      <a:pt x="138" y="42"/>
                    </a:lnTo>
                    <a:lnTo>
                      <a:pt x="138" y="44"/>
                    </a:lnTo>
                    <a:lnTo>
                      <a:pt x="136" y="44"/>
                    </a:lnTo>
                    <a:lnTo>
                      <a:pt x="138" y="46"/>
                    </a:lnTo>
                    <a:lnTo>
                      <a:pt x="136" y="46"/>
                    </a:lnTo>
                    <a:lnTo>
                      <a:pt x="136" y="48"/>
                    </a:lnTo>
                    <a:lnTo>
                      <a:pt x="134" y="48"/>
                    </a:lnTo>
                    <a:lnTo>
                      <a:pt x="136" y="48"/>
                    </a:lnTo>
                    <a:lnTo>
                      <a:pt x="134" y="48"/>
                    </a:lnTo>
                    <a:lnTo>
                      <a:pt x="134" y="50"/>
                    </a:lnTo>
                    <a:lnTo>
                      <a:pt x="134" y="51"/>
                    </a:lnTo>
                    <a:lnTo>
                      <a:pt x="134" y="53"/>
                    </a:lnTo>
                    <a:lnTo>
                      <a:pt x="132" y="53"/>
                    </a:lnTo>
                    <a:lnTo>
                      <a:pt x="132" y="55"/>
                    </a:lnTo>
                    <a:lnTo>
                      <a:pt x="132" y="57"/>
                    </a:lnTo>
                    <a:lnTo>
                      <a:pt x="132" y="59"/>
                    </a:lnTo>
                    <a:lnTo>
                      <a:pt x="134" y="59"/>
                    </a:lnTo>
                    <a:lnTo>
                      <a:pt x="134" y="61"/>
                    </a:lnTo>
                    <a:lnTo>
                      <a:pt x="136" y="61"/>
                    </a:lnTo>
                    <a:lnTo>
                      <a:pt x="138" y="63"/>
                    </a:lnTo>
                    <a:lnTo>
                      <a:pt x="140" y="63"/>
                    </a:lnTo>
                    <a:lnTo>
                      <a:pt x="140" y="65"/>
                    </a:lnTo>
                    <a:lnTo>
                      <a:pt x="142" y="65"/>
                    </a:lnTo>
                    <a:lnTo>
                      <a:pt x="142" y="67"/>
                    </a:lnTo>
                    <a:lnTo>
                      <a:pt x="142" y="69"/>
                    </a:lnTo>
                    <a:lnTo>
                      <a:pt x="144" y="7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19">
                <a:extLst>
                  <a:ext uri="{FF2B5EF4-FFF2-40B4-BE49-F238E27FC236}">
                    <a16:creationId xmlns="" xmlns:a16="http://schemas.microsoft.com/office/drawing/2014/main" id="{38F507FE-A0A1-451C-BAA3-4BBCCE3A15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2588" y="4814888"/>
                <a:ext cx="149225" cy="165100"/>
              </a:xfrm>
              <a:custGeom>
                <a:avLst/>
                <a:gdLst>
                  <a:gd name="T0" fmla="*/ 66 w 94"/>
                  <a:gd name="T1" fmla="*/ 14 h 104"/>
                  <a:gd name="T2" fmla="*/ 71 w 94"/>
                  <a:gd name="T3" fmla="*/ 18 h 104"/>
                  <a:gd name="T4" fmla="*/ 75 w 94"/>
                  <a:gd name="T5" fmla="*/ 23 h 104"/>
                  <a:gd name="T6" fmla="*/ 73 w 94"/>
                  <a:gd name="T7" fmla="*/ 29 h 104"/>
                  <a:gd name="T8" fmla="*/ 81 w 94"/>
                  <a:gd name="T9" fmla="*/ 29 h 104"/>
                  <a:gd name="T10" fmla="*/ 89 w 94"/>
                  <a:gd name="T11" fmla="*/ 25 h 104"/>
                  <a:gd name="T12" fmla="*/ 93 w 94"/>
                  <a:gd name="T13" fmla="*/ 25 h 104"/>
                  <a:gd name="T14" fmla="*/ 93 w 94"/>
                  <a:gd name="T15" fmla="*/ 29 h 104"/>
                  <a:gd name="T16" fmla="*/ 89 w 94"/>
                  <a:gd name="T17" fmla="*/ 33 h 104"/>
                  <a:gd name="T18" fmla="*/ 93 w 94"/>
                  <a:gd name="T19" fmla="*/ 37 h 104"/>
                  <a:gd name="T20" fmla="*/ 94 w 94"/>
                  <a:gd name="T21" fmla="*/ 39 h 104"/>
                  <a:gd name="T22" fmla="*/ 91 w 94"/>
                  <a:gd name="T23" fmla="*/ 43 h 104"/>
                  <a:gd name="T24" fmla="*/ 85 w 94"/>
                  <a:gd name="T25" fmla="*/ 45 h 104"/>
                  <a:gd name="T26" fmla="*/ 81 w 94"/>
                  <a:gd name="T27" fmla="*/ 48 h 104"/>
                  <a:gd name="T28" fmla="*/ 77 w 94"/>
                  <a:gd name="T29" fmla="*/ 52 h 104"/>
                  <a:gd name="T30" fmla="*/ 73 w 94"/>
                  <a:gd name="T31" fmla="*/ 56 h 104"/>
                  <a:gd name="T32" fmla="*/ 70 w 94"/>
                  <a:gd name="T33" fmla="*/ 62 h 104"/>
                  <a:gd name="T34" fmla="*/ 70 w 94"/>
                  <a:gd name="T35" fmla="*/ 66 h 104"/>
                  <a:gd name="T36" fmla="*/ 68 w 94"/>
                  <a:gd name="T37" fmla="*/ 72 h 104"/>
                  <a:gd name="T38" fmla="*/ 64 w 94"/>
                  <a:gd name="T39" fmla="*/ 77 h 104"/>
                  <a:gd name="T40" fmla="*/ 64 w 94"/>
                  <a:gd name="T41" fmla="*/ 81 h 104"/>
                  <a:gd name="T42" fmla="*/ 66 w 94"/>
                  <a:gd name="T43" fmla="*/ 81 h 104"/>
                  <a:gd name="T44" fmla="*/ 64 w 94"/>
                  <a:gd name="T45" fmla="*/ 87 h 104"/>
                  <a:gd name="T46" fmla="*/ 60 w 94"/>
                  <a:gd name="T47" fmla="*/ 91 h 104"/>
                  <a:gd name="T48" fmla="*/ 56 w 94"/>
                  <a:gd name="T49" fmla="*/ 95 h 104"/>
                  <a:gd name="T50" fmla="*/ 52 w 94"/>
                  <a:gd name="T51" fmla="*/ 95 h 104"/>
                  <a:gd name="T52" fmla="*/ 52 w 94"/>
                  <a:gd name="T53" fmla="*/ 91 h 104"/>
                  <a:gd name="T54" fmla="*/ 48 w 94"/>
                  <a:gd name="T55" fmla="*/ 89 h 104"/>
                  <a:gd name="T56" fmla="*/ 41 w 94"/>
                  <a:gd name="T57" fmla="*/ 93 h 104"/>
                  <a:gd name="T58" fmla="*/ 43 w 94"/>
                  <a:gd name="T59" fmla="*/ 98 h 104"/>
                  <a:gd name="T60" fmla="*/ 39 w 94"/>
                  <a:gd name="T61" fmla="*/ 97 h 104"/>
                  <a:gd name="T62" fmla="*/ 33 w 94"/>
                  <a:gd name="T63" fmla="*/ 98 h 104"/>
                  <a:gd name="T64" fmla="*/ 33 w 94"/>
                  <a:gd name="T65" fmla="*/ 102 h 104"/>
                  <a:gd name="T66" fmla="*/ 25 w 94"/>
                  <a:gd name="T67" fmla="*/ 100 h 104"/>
                  <a:gd name="T68" fmla="*/ 21 w 94"/>
                  <a:gd name="T69" fmla="*/ 104 h 104"/>
                  <a:gd name="T70" fmla="*/ 16 w 94"/>
                  <a:gd name="T71" fmla="*/ 102 h 104"/>
                  <a:gd name="T72" fmla="*/ 12 w 94"/>
                  <a:gd name="T73" fmla="*/ 98 h 104"/>
                  <a:gd name="T74" fmla="*/ 10 w 94"/>
                  <a:gd name="T75" fmla="*/ 97 h 104"/>
                  <a:gd name="T76" fmla="*/ 6 w 94"/>
                  <a:gd name="T77" fmla="*/ 93 h 104"/>
                  <a:gd name="T78" fmla="*/ 4 w 94"/>
                  <a:gd name="T79" fmla="*/ 91 h 104"/>
                  <a:gd name="T80" fmla="*/ 4 w 94"/>
                  <a:gd name="T81" fmla="*/ 85 h 104"/>
                  <a:gd name="T82" fmla="*/ 2 w 94"/>
                  <a:gd name="T83" fmla="*/ 77 h 104"/>
                  <a:gd name="T84" fmla="*/ 4 w 94"/>
                  <a:gd name="T85" fmla="*/ 75 h 104"/>
                  <a:gd name="T86" fmla="*/ 6 w 94"/>
                  <a:gd name="T87" fmla="*/ 73 h 104"/>
                  <a:gd name="T88" fmla="*/ 10 w 94"/>
                  <a:gd name="T89" fmla="*/ 70 h 104"/>
                  <a:gd name="T90" fmla="*/ 12 w 94"/>
                  <a:gd name="T91" fmla="*/ 66 h 104"/>
                  <a:gd name="T92" fmla="*/ 14 w 94"/>
                  <a:gd name="T93" fmla="*/ 62 h 104"/>
                  <a:gd name="T94" fmla="*/ 18 w 94"/>
                  <a:gd name="T95" fmla="*/ 56 h 104"/>
                  <a:gd name="T96" fmla="*/ 20 w 94"/>
                  <a:gd name="T97" fmla="*/ 52 h 104"/>
                  <a:gd name="T98" fmla="*/ 25 w 94"/>
                  <a:gd name="T99" fmla="*/ 50 h 104"/>
                  <a:gd name="T100" fmla="*/ 25 w 94"/>
                  <a:gd name="T101" fmla="*/ 47 h 104"/>
                  <a:gd name="T102" fmla="*/ 29 w 94"/>
                  <a:gd name="T103" fmla="*/ 43 h 104"/>
                  <a:gd name="T104" fmla="*/ 27 w 94"/>
                  <a:gd name="T105" fmla="*/ 37 h 104"/>
                  <a:gd name="T106" fmla="*/ 27 w 94"/>
                  <a:gd name="T107" fmla="*/ 33 h 104"/>
                  <a:gd name="T108" fmla="*/ 25 w 94"/>
                  <a:gd name="T109" fmla="*/ 27 h 104"/>
                  <a:gd name="T110" fmla="*/ 21 w 94"/>
                  <a:gd name="T111" fmla="*/ 23 h 104"/>
                  <a:gd name="T112" fmla="*/ 23 w 94"/>
                  <a:gd name="T113" fmla="*/ 14 h 104"/>
                  <a:gd name="T114" fmla="*/ 25 w 94"/>
                  <a:gd name="T115" fmla="*/ 12 h 104"/>
                  <a:gd name="T116" fmla="*/ 25 w 94"/>
                  <a:gd name="T117" fmla="*/ 16 h 104"/>
                  <a:gd name="T118" fmla="*/ 29 w 94"/>
                  <a:gd name="T119" fmla="*/ 16 h 104"/>
                  <a:gd name="T120" fmla="*/ 33 w 94"/>
                  <a:gd name="T121" fmla="*/ 16 h 104"/>
                  <a:gd name="T122" fmla="*/ 41 w 94"/>
                  <a:gd name="T123" fmla="*/ 0 h 104"/>
                  <a:gd name="T124" fmla="*/ 56 w 94"/>
                  <a:gd name="T125" fmla="*/ 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4" h="104">
                    <a:moveTo>
                      <a:pt x="58" y="6"/>
                    </a:moveTo>
                    <a:lnTo>
                      <a:pt x="60" y="6"/>
                    </a:lnTo>
                    <a:lnTo>
                      <a:pt x="62" y="10"/>
                    </a:lnTo>
                    <a:lnTo>
                      <a:pt x="66" y="14"/>
                    </a:lnTo>
                    <a:lnTo>
                      <a:pt x="68" y="16"/>
                    </a:lnTo>
                    <a:lnTo>
                      <a:pt x="70" y="14"/>
                    </a:lnTo>
                    <a:lnTo>
                      <a:pt x="71" y="16"/>
                    </a:lnTo>
                    <a:lnTo>
                      <a:pt x="71" y="18"/>
                    </a:lnTo>
                    <a:lnTo>
                      <a:pt x="75" y="20"/>
                    </a:lnTo>
                    <a:lnTo>
                      <a:pt x="77" y="22"/>
                    </a:lnTo>
                    <a:lnTo>
                      <a:pt x="77" y="23"/>
                    </a:lnTo>
                    <a:lnTo>
                      <a:pt x="75" y="23"/>
                    </a:lnTo>
                    <a:lnTo>
                      <a:pt x="75" y="25"/>
                    </a:lnTo>
                    <a:lnTo>
                      <a:pt x="75" y="23"/>
                    </a:lnTo>
                    <a:lnTo>
                      <a:pt x="73" y="23"/>
                    </a:lnTo>
                    <a:lnTo>
                      <a:pt x="73" y="29"/>
                    </a:lnTo>
                    <a:lnTo>
                      <a:pt x="75" y="27"/>
                    </a:lnTo>
                    <a:lnTo>
                      <a:pt x="75" y="29"/>
                    </a:lnTo>
                    <a:lnTo>
                      <a:pt x="75" y="27"/>
                    </a:lnTo>
                    <a:lnTo>
                      <a:pt x="81" y="29"/>
                    </a:lnTo>
                    <a:lnTo>
                      <a:pt x="83" y="29"/>
                    </a:lnTo>
                    <a:lnTo>
                      <a:pt x="85" y="25"/>
                    </a:lnTo>
                    <a:lnTo>
                      <a:pt x="89" y="27"/>
                    </a:lnTo>
                    <a:lnTo>
                      <a:pt x="89" y="25"/>
                    </a:lnTo>
                    <a:lnTo>
                      <a:pt x="89" y="23"/>
                    </a:lnTo>
                    <a:lnTo>
                      <a:pt x="89" y="22"/>
                    </a:lnTo>
                    <a:lnTo>
                      <a:pt x="91" y="23"/>
                    </a:lnTo>
                    <a:lnTo>
                      <a:pt x="93" y="25"/>
                    </a:lnTo>
                    <a:lnTo>
                      <a:pt x="93" y="27"/>
                    </a:lnTo>
                    <a:lnTo>
                      <a:pt x="91" y="27"/>
                    </a:lnTo>
                    <a:lnTo>
                      <a:pt x="93" y="27"/>
                    </a:lnTo>
                    <a:lnTo>
                      <a:pt x="93" y="29"/>
                    </a:lnTo>
                    <a:lnTo>
                      <a:pt x="91" y="29"/>
                    </a:lnTo>
                    <a:lnTo>
                      <a:pt x="91" y="31"/>
                    </a:lnTo>
                    <a:lnTo>
                      <a:pt x="91" y="33"/>
                    </a:lnTo>
                    <a:lnTo>
                      <a:pt x="89" y="33"/>
                    </a:lnTo>
                    <a:lnTo>
                      <a:pt x="91" y="33"/>
                    </a:lnTo>
                    <a:lnTo>
                      <a:pt x="91" y="35"/>
                    </a:lnTo>
                    <a:lnTo>
                      <a:pt x="93" y="35"/>
                    </a:lnTo>
                    <a:lnTo>
                      <a:pt x="93" y="37"/>
                    </a:lnTo>
                    <a:lnTo>
                      <a:pt x="93" y="35"/>
                    </a:lnTo>
                    <a:lnTo>
                      <a:pt x="94" y="35"/>
                    </a:lnTo>
                    <a:lnTo>
                      <a:pt x="94" y="37"/>
                    </a:lnTo>
                    <a:lnTo>
                      <a:pt x="94" y="39"/>
                    </a:lnTo>
                    <a:lnTo>
                      <a:pt x="94" y="41"/>
                    </a:lnTo>
                    <a:lnTo>
                      <a:pt x="94" y="43"/>
                    </a:lnTo>
                    <a:lnTo>
                      <a:pt x="93" y="43"/>
                    </a:lnTo>
                    <a:lnTo>
                      <a:pt x="91" y="43"/>
                    </a:lnTo>
                    <a:lnTo>
                      <a:pt x="89" y="43"/>
                    </a:lnTo>
                    <a:lnTo>
                      <a:pt x="89" y="45"/>
                    </a:lnTo>
                    <a:lnTo>
                      <a:pt x="87" y="45"/>
                    </a:lnTo>
                    <a:lnTo>
                      <a:pt x="85" y="45"/>
                    </a:lnTo>
                    <a:lnTo>
                      <a:pt x="85" y="47"/>
                    </a:lnTo>
                    <a:lnTo>
                      <a:pt x="83" y="47"/>
                    </a:lnTo>
                    <a:lnTo>
                      <a:pt x="81" y="47"/>
                    </a:lnTo>
                    <a:lnTo>
                      <a:pt x="81" y="48"/>
                    </a:lnTo>
                    <a:lnTo>
                      <a:pt x="79" y="48"/>
                    </a:lnTo>
                    <a:lnTo>
                      <a:pt x="79" y="50"/>
                    </a:lnTo>
                    <a:lnTo>
                      <a:pt x="79" y="52"/>
                    </a:lnTo>
                    <a:lnTo>
                      <a:pt x="77" y="52"/>
                    </a:lnTo>
                    <a:lnTo>
                      <a:pt x="77" y="54"/>
                    </a:lnTo>
                    <a:lnTo>
                      <a:pt x="75" y="54"/>
                    </a:lnTo>
                    <a:lnTo>
                      <a:pt x="75" y="56"/>
                    </a:lnTo>
                    <a:lnTo>
                      <a:pt x="73" y="56"/>
                    </a:lnTo>
                    <a:lnTo>
                      <a:pt x="71" y="56"/>
                    </a:lnTo>
                    <a:lnTo>
                      <a:pt x="70" y="58"/>
                    </a:lnTo>
                    <a:lnTo>
                      <a:pt x="70" y="60"/>
                    </a:lnTo>
                    <a:lnTo>
                      <a:pt x="70" y="62"/>
                    </a:lnTo>
                    <a:lnTo>
                      <a:pt x="70" y="64"/>
                    </a:lnTo>
                    <a:lnTo>
                      <a:pt x="70" y="66"/>
                    </a:lnTo>
                    <a:lnTo>
                      <a:pt x="70" y="68"/>
                    </a:lnTo>
                    <a:lnTo>
                      <a:pt x="70" y="66"/>
                    </a:lnTo>
                    <a:lnTo>
                      <a:pt x="70" y="68"/>
                    </a:lnTo>
                    <a:lnTo>
                      <a:pt x="70" y="70"/>
                    </a:lnTo>
                    <a:lnTo>
                      <a:pt x="68" y="70"/>
                    </a:lnTo>
                    <a:lnTo>
                      <a:pt x="68" y="72"/>
                    </a:lnTo>
                    <a:lnTo>
                      <a:pt x="66" y="72"/>
                    </a:lnTo>
                    <a:lnTo>
                      <a:pt x="66" y="73"/>
                    </a:lnTo>
                    <a:lnTo>
                      <a:pt x="66" y="75"/>
                    </a:lnTo>
                    <a:lnTo>
                      <a:pt x="64" y="77"/>
                    </a:lnTo>
                    <a:lnTo>
                      <a:pt x="62" y="77"/>
                    </a:lnTo>
                    <a:lnTo>
                      <a:pt x="64" y="77"/>
                    </a:lnTo>
                    <a:lnTo>
                      <a:pt x="64" y="79"/>
                    </a:lnTo>
                    <a:lnTo>
                      <a:pt x="64" y="81"/>
                    </a:lnTo>
                    <a:lnTo>
                      <a:pt x="62" y="81"/>
                    </a:lnTo>
                    <a:lnTo>
                      <a:pt x="64" y="81"/>
                    </a:lnTo>
                    <a:lnTo>
                      <a:pt x="66" y="83"/>
                    </a:lnTo>
                    <a:lnTo>
                      <a:pt x="66" y="81"/>
                    </a:lnTo>
                    <a:lnTo>
                      <a:pt x="66" y="83"/>
                    </a:lnTo>
                    <a:lnTo>
                      <a:pt x="66" y="85"/>
                    </a:lnTo>
                    <a:lnTo>
                      <a:pt x="64" y="85"/>
                    </a:lnTo>
                    <a:lnTo>
                      <a:pt x="64" y="87"/>
                    </a:lnTo>
                    <a:lnTo>
                      <a:pt x="62" y="87"/>
                    </a:lnTo>
                    <a:lnTo>
                      <a:pt x="62" y="89"/>
                    </a:lnTo>
                    <a:lnTo>
                      <a:pt x="62" y="91"/>
                    </a:lnTo>
                    <a:lnTo>
                      <a:pt x="60" y="91"/>
                    </a:lnTo>
                    <a:lnTo>
                      <a:pt x="62" y="93"/>
                    </a:lnTo>
                    <a:lnTo>
                      <a:pt x="60" y="93"/>
                    </a:lnTo>
                    <a:lnTo>
                      <a:pt x="58" y="93"/>
                    </a:lnTo>
                    <a:lnTo>
                      <a:pt x="56" y="95"/>
                    </a:lnTo>
                    <a:lnTo>
                      <a:pt x="56" y="93"/>
                    </a:lnTo>
                    <a:lnTo>
                      <a:pt x="56" y="95"/>
                    </a:lnTo>
                    <a:lnTo>
                      <a:pt x="54" y="95"/>
                    </a:lnTo>
                    <a:lnTo>
                      <a:pt x="52" y="95"/>
                    </a:lnTo>
                    <a:lnTo>
                      <a:pt x="52" y="93"/>
                    </a:lnTo>
                    <a:lnTo>
                      <a:pt x="52" y="91"/>
                    </a:lnTo>
                    <a:lnTo>
                      <a:pt x="52" y="89"/>
                    </a:lnTo>
                    <a:lnTo>
                      <a:pt x="52" y="91"/>
                    </a:lnTo>
                    <a:lnTo>
                      <a:pt x="50" y="93"/>
                    </a:lnTo>
                    <a:lnTo>
                      <a:pt x="50" y="91"/>
                    </a:lnTo>
                    <a:lnTo>
                      <a:pt x="48" y="91"/>
                    </a:lnTo>
                    <a:lnTo>
                      <a:pt x="48" y="89"/>
                    </a:lnTo>
                    <a:lnTo>
                      <a:pt x="46" y="89"/>
                    </a:lnTo>
                    <a:lnTo>
                      <a:pt x="46" y="91"/>
                    </a:lnTo>
                    <a:lnTo>
                      <a:pt x="45" y="91"/>
                    </a:lnTo>
                    <a:lnTo>
                      <a:pt x="41" y="93"/>
                    </a:lnTo>
                    <a:lnTo>
                      <a:pt x="43" y="93"/>
                    </a:lnTo>
                    <a:lnTo>
                      <a:pt x="43" y="95"/>
                    </a:lnTo>
                    <a:lnTo>
                      <a:pt x="43" y="97"/>
                    </a:lnTo>
                    <a:lnTo>
                      <a:pt x="43" y="98"/>
                    </a:lnTo>
                    <a:lnTo>
                      <a:pt x="41" y="98"/>
                    </a:lnTo>
                    <a:lnTo>
                      <a:pt x="41" y="97"/>
                    </a:lnTo>
                    <a:lnTo>
                      <a:pt x="41" y="98"/>
                    </a:lnTo>
                    <a:lnTo>
                      <a:pt x="39" y="97"/>
                    </a:lnTo>
                    <a:lnTo>
                      <a:pt x="37" y="97"/>
                    </a:lnTo>
                    <a:lnTo>
                      <a:pt x="37" y="98"/>
                    </a:lnTo>
                    <a:lnTo>
                      <a:pt x="35" y="98"/>
                    </a:lnTo>
                    <a:lnTo>
                      <a:pt x="33" y="98"/>
                    </a:lnTo>
                    <a:lnTo>
                      <a:pt x="33" y="100"/>
                    </a:lnTo>
                    <a:lnTo>
                      <a:pt x="31" y="100"/>
                    </a:lnTo>
                    <a:lnTo>
                      <a:pt x="33" y="100"/>
                    </a:lnTo>
                    <a:lnTo>
                      <a:pt x="33" y="102"/>
                    </a:lnTo>
                    <a:lnTo>
                      <a:pt x="31" y="102"/>
                    </a:lnTo>
                    <a:lnTo>
                      <a:pt x="29" y="102"/>
                    </a:lnTo>
                    <a:lnTo>
                      <a:pt x="27" y="100"/>
                    </a:lnTo>
                    <a:lnTo>
                      <a:pt x="25" y="100"/>
                    </a:lnTo>
                    <a:lnTo>
                      <a:pt x="25" y="102"/>
                    </a:lnTo>
                    <a:lnTo>
                      <a:pt x="25" y="104"/>
                    </a:lnTo>
                    <a:lnTo>
                      <a:pt x="23" y="104"/>
                    </a:lnTo>
                    <a:lnTo>
                      <a:pt x="21" y="104"/>
                    </a:lnTo>
                    <a:lnTo>
                      <a:pt x="20" y="104"/>
                    </a:lnTo>
                    <a:lnTo>
                      <a:pt x="18" y="104"/>
                    </a:lnTo>
                    <a:lnTo>
                      <a:pt x="16" y="104"/>
                    </a:lnTo>
                    <a:lnTo>
                      <a:pt x="16" y="102"/>
                    </a:lnTo>
                    <a:lnTo>
                      <a:pt x="16" y="100"/>
                    </a:lnTo>
                    <a:lnTo>
                      <a:pt x="14" y="102"/>
                    </a:lnTo>
                    <a:lnTo>
                      <a:pt x="14" y="100"/>
                    </a:lnTo>
                    <a:lnTo>
                      <a:pt x="12" y="98"/>
                    </a:lnTo>
                    <a:lnTo>
                      <a:pt x="14" y="98"/>
                    </a:lnTo>
                    <a:lnTo>
                      <a:pt x="14" y="97"/>
                    </a:lnTo>
                    <a:lnTo>
                      <a:pt x="12" y="97"/>
                    </a:lnTo>
                    <a:lnTo>
                      <a:pt x="10" y="97"/>
                    </a:lnTo>
                    <a:lnTo>
                      <a:pt x="10" y="95"/>
                    </a:lnTo>
                    <a:lnTo>
                      <a:pt x="8" y="95"/>
                    </a:lnTo>
                    <a:lnTo>
                      <a:pt x="8" y="93"/>
                    </a:lnTo>
                    <a:lnTo>
                      <a:pt x="6" y="93"/>
                    </a:lnTo>
                    <a:lnTo>
                      <a:pt x="6" y="95"/>
                    </a:lnTo>
                    <a:lnTo>
                      <a:pt x="4" y="95"/>
                    </a:lnTo>
                    <a:lnTo>
                      <a:pt x="4" y="93"/>
                    </a:lnTo>
                    <a:lnTo>
                      <a:pt x="4" y="91"/>
                    </a:lnTo>
                    <a:lnTo>
                      <a:pt x="4" y="89"/>
                    </a:lnTo>
                    <a:lnTo>
                      <a:pt x="4" y="87"/>
                    </a:lnTo>
                    <a:lnTo>
                      <a:pt x="2" y="87"/>
                    </a:lnTo>
                    <a:lnTo>
                      <a:pt x="4" y="85"/>
                    </a:lnTo>
                    <a:lnTo>
                      <a:pt x="4" y="83"/>
                    </a:lnTo>
                    <a:lnTo>
                      <a:pt x="2" y="81"/>
                    </a:lnTo>
                    <a:lnTo>
                      <a:pt x="2" y="79"/>
                    </a:lnTo>
                    <a:lnTo>
                      <a:pt x="2" y="77"/>
                    </a:lnTo>
                    <a:lnTo>
                      <a:pt x="0" y="77"/>
                    </a:lnTo>
                    <a:lnTo>
                      <a:pt x="0" y="75"/>
                    </a:lnTo>
                    <a:lnTo>
                      <a:pt x="2" y="75"/>
                    </a:lnTo>
                    <a:lnTo>
                      <a:pt x="4" y="75"/>
                    </a:lnTo>
                    <a:lnTo>
                      <a:pt x="4" y="73"/>
                    </a:lnTo>
                    <a:lnTo>
                      <a:pt x="6" y="73"/>
                    </a:lnTo>
                    <a:lnTo>
                      <a:pt x="6" y="75"/>
                    </a:lnTo>
                    <a:lnTo>
                      <a:pt x="6" y="73"/>
                    </a:lnTo>
                    <a:lnTo>
                      <a:pt x="8" y="73"/>
                    </a:lnTo>
                    <a:lnTo>
                      <a:pt x="8" y="72"/>
                    </a:lnTo>
                    <a:lnTo>
                      <a:pt x="8" y="70"/>
                    </a:lnTo>
                    <a:lnTo>
                      <a:pt x="10" y="70"/>
                    </a:lnTo>
                    <a:lnTo>
                      <a:pt x="12" y="70"/>
                    </a:lnTo>
                    <a:lnTo>
                      <a:pt x="12" y="68"/>
                    </a:lnTo>
                    <a:lnTo>
                      <a:pt x="14" y="66"/>
                    </a:lnTo>
                    <a:lnTo>
                      <a:pt x="12" y="66"/>
                    </a:lnTo>
                    <a:lnTo>
                      <a:pt x="14" y="64"/>
                    </a:lnTo>
                    <a:lnTo>
                      <a:pt x="12" y="64"/>
                    </a:lnTo>
                    <a:lnTo>
                      <a:pt x="14" y="64"/>
                    </a:lnTo>
                    <a:lnTo>
                      <a:pt x="14" y="62"/>
                    </a:lnTo>
                    <a:lnTo>
                      <a:pt x="14" y="60"/>
                    </a:lnTo>
                    <a:lnTo>
                      <a:pt x="16" y="60"/>
                    </a:lnTo>
                    <a:lnTo>
                      <a:pt x="16" y="58"/>
                    </a:lnTo>
                    <a:lnTo>
                      <a:pt x="18" y="56"/>
                    </a:lnTo>
                    <a:lnTo>
                      <a:pt x="16" y="56"/>
                    </a:lnTo>
                    <a:lnTo>
                      <a:pt x="16" y="54"/>
                    </a:lnTo>
                    <a:lnTo>
                      <a:pt x="18" y="54"/>
                    </a:lnTo>
                    <a:lnTo>
                      <a:pt x="20" y="52"/>
                    </a:lnTo>
                    <a:lnTo>
                      <a:pt x="20" y="50"/>
                    </a:lnTo>
                    <a:lnTo>
                      <a:pt x="21" y="50"/>
                    </a:lnTo>
                    <a:lnTo>
                      <a:pt x="23" y="50"/>
                    </a:lnTo>
                    <a:lnTo>
                      <a:pt x="25" y="50"/>
                    </a:lnTo>
                    <a:lnTo>
                      <a:pt x="25" y="48"/>
                    </a:lnTo>
                    <a:lnTo>
                      <a:pt x="25" y="47"/>
                    </a:lnTo>
                    <a:lnTo>
                      <a:pt x="25" y="45"/>
                    </a:lnTo>
                    <a:lnTo>
                      <a:pt x="25" y="47"/>
                    </a:lnTo>
                    <a:lnTo>
                      <a:pt x="27" y="47"/>
                    </a:lnTo>
                    <a:lnTo>
                      <a:pt x="27" y="45"/>
                    </a:lnTo>
                    <a:lnTo>
                      <a:pt x="27" y="43"/>
                    </a:lnTo>
                    <a:lnTo>
                      <a:pt x="29" y="43"/>
                    </a:lnTo>
                    <a:lnTo>
                      <a:pt x="29" y="41"/>
                    </a:lnTo>
                    <a:lnTo>
                      <a:pt x="27" y="41"/>
                    </a:lnTo>
                    <a:lnTo>
                      <a:pt x="27" y="39"/>
                    </a:lnTo>
                    <a:lnTo>
                      <a:pt x="27" y="37"/>
                    </a:lnTo>
                    <a:lnTo>
                      <a:pt x="25" y="37"/>
                    </a:lnTo>
                    <a:lnTo>
                      <a:pt x="25" y="35"/>
                    </a:lnTo>
                    <a:lnTo>
                      <a:pt x="27" y="35"/>
                    </a:lnTo>
                    <a:lnTo>
                      <a:pt x="27" y="33"/>
                    </a:lnTo>
                    <a:lnTo>
                      <a:pt x="27" y="31"/>
                    </a:lnTo>
                    <a:lnTo>
                      <a:pt x="27" y="29"/>
                    </a:lnTo>
                    <a:lnTo>
                      <a:pt x="27" y="27"/>
                    </a:lnTo>
                    <a:lnTo>
                      <a:pt x="25" y="27"/>
                    </a:lnTo>
                    <a:lnTo>
                      <a:pt x="25" y="25"/>
                    </a:lnTo>
                    <a:lnTo>
                      <a:pt x="23" y="25"/>
                    </a:lnTo>
                    <a:lnTo>
                      <a:pt x="21" y="25"/>
                    </a:lnTo>
                    <a:lnTo>
                      <a:pt x="21" y="23"/>
                    </a:lnTo>
                    <a:lnTo>
                      <a:pt x="21" y="22"/>
                    </a:lnTo>
                    <a:lnTo>
                      <a:pt x="21" y="20"/>
                    </a:lnTo>
                    <a:lnTo>
                      <a:pt x="21" y="18"/>
                    </a:lnTo>
                    <a:lnTo>
                      <a:pt x="23" y="14"/>
                    </a:lnTo>
                    <a:lnTo>
                      <a:pt x="23" y="12"/>
                    </a:lnTo>
                    <a:lnTo>
                      <a:pt x="23" y="14"/>
                    </a:lnTo>
                    <a:lnTo>
                      <a:pt x="25" y="14"/>
                    </a:lnTo>
                    <a:lnTo>
                      <a:pt x="25" y="12"/>
                    </a:lnTo>
                    <a:lnTo>
                      <a:pt x="25" y="14"/>
                    </a:lnTo>
                    <a:lnTo>
                      <a:pt x="23" y="14"/>
                    </a:lnTo>
                    <a:lnTo>
                      <a:pt x="25" y="14"/>
                    </a:lnTo>
                    <a:lnTo>
                      <a:pt x="25" y="16"/>
                    </a:lnTo>
                    <a:lnTo>
                      <a:pt x="27" y="16"/>
                    </a:lnTo>
                    <a:lnTo>
                      <a:pt x="27" y="14"/>
                    </a:lnTo>
                    <a:lnTo>
                      <a:pt x="27" y="16"/>
                    </a:lnTo>
                    <a:lnTo>
                      <a:pt x="29" y="16"/>
                    </a:lnTo>
                    <a:lnTo>
                      <a:pt x="29" y="14"/>
                    </a:lnTo>
                    <a:lnTo>
                      <a:pt x="31" y="14"/>
                    </a:lnTo>
                    <a:lnTo>
                      <a:pt x="33" y="14"/>
                    </a:lnTo>
                    <a:lnTo>
                      <a:pt x="33" y="16"/>
                    </a:lnTo>
                    <a:lnTo>
                      <a:pt x="37" y="12"/>
                    </a:lnTo>
                    <a:lnTo>
                      <a:pt x="39" y="6"/>
                    </a:lnTo>
                    <a:lnTo>
                      <a:pt x="39" y="4"/>
                    </a:lnTo>
                    <a:lnTo>
                      <a:pt x="41" y="0"/>
                    </a:lnTo>
                    <a:lnTo>
                      <a:pt x="46" y="4"/>
                    </a:lnTo>
                    <a:lnTo>
                      <a:pt x="45" y="8"/>
                    </a:lnTo>
                    <a:lnTo>
                      <a:pt x="52" y="14"/>
                    </a:lnTo>
                    <a:lnTo>
                      <a:pt x="56" y="4"/>
                    </a:lnTo>
                    <a:lnTo>
                      <a:pt x="58" y="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0">
                <a:extLst>
                  <a:ext uri="{FF2B5EF4-FFF2-40B4-BE49-F238E27FC236}">
                    <a16:creationId xmlns="" xmlns:a16="http://schemas.microsoft.com/office/drawing/2014/main" id="{C0C85BD5-1A15-43DE-997A-50CD74A0E5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70200" y="3937001"/>
                <a:ext cx="314325" cy="463550"/>
              </a:xfrm>
              <a:custGeom>
                <a:avLst/>
                <a:gdLst>
                  <a:gd name="T0" fmla="*/ 194 w 198"/>
                  <a:gd name="T1" fmla="*/ 65 h 292"/>
                  <a:gd name="T2" fmla="*/ 192 w 198"/>
                  <a:gd name="T3" fmla="*/ 86 h 292"/>
                  <a:gd name="T4" fmla="*/ 179 w 198"/>
                  <a:gd name="T5" fmla="*/ 92 h 292"/>
                  <a:gd name="T6" fmla="*/ 175 w 198"/>
                  <a:gd name="T7" fmla="*/ 113 h 292"/>
                  <a:gd name="T8" fmla="*/ 163 w 198"/>
                  <a:gd name="T9" fmla="*/ 129 h 292"/>
                  <a:gd name="T10" fmla="*/ 169 w 198"/>
                  <a:gd name="T11" fmla="*/ 142 h 292"/>
                  <a:gd name="T12" fmla="*/ 177 w 198"/>
                  <a:gd name="T13" fmla="*/ 150 h 292"/>
                  <a:gd name="T14" fmla="*/ 194 w 198"/>
                  <a:gd name="T15" fmla="*/ 161 h 292"/>
                  <a:gd name="T16" fmla="*/ 186 w 198"/>
                  <a:gd name="T17" fmla="*/ 177 h 292"/>
                  <a:gd name="T18" fmla="*/ 182 w 198"/>
                  <a:gd name="T19" fmla="*/ 182 h 292"/>
                  <a:gd name="T20" fmla="*/ 171 w 198"/>
                  <a:gd name="T21" fmla="*/ 184 h 292"/>
                  <a:gd name="T22" fmla="*/ 156 w 198"/>
                  <a:gd name="T23" fmla="*/ 192 h 292"/>
                  <a:gd name="T24" fmla="*/ 142 w 198"/>
                  <a:gd name="T25" fmla="*/ 186 h 292"/>
                  <a:gd name="T26" fmla="*/ 127 w 198"/>
                  <a:gd name="T27" fmla="*/ 180 h 292"/>
                  <a:gd name="T28" fmla="*/ 117 w 198"/>
                  <a:gd name="T29" fmla="*/ 179 h 292"/>
                  <a:gd name="T30" fmla="*/ 111 w 198"/>
                  <a:gd name="T31" fmla="*/ 188 h 292"/>
                  <a:gd name="T32" fmla="*/ 111 w 198"/>
                  <a:gd name="T33" fmla="*/ 204 h 292"/>
                  <a:gd name="T34" fmla="*/ 107 w 198"/>
                  <a:gd name="T35" fmla="*/ 205 h 292"/>
                  <a:gd name="T36" fmla="*/ 107 w 198"/>
                  <a:gd name="T37" fmla="*/ 227 h 292"/>
                  <a:gd name="T38" fmla="*/ 117 w 198"/>
                  <a:gd name="T39" fmla="*/ 250 h 292"/>
                  <a:gd name="T40" fmla="*/ 92 w 198"/>
                  <a:gd name="T41" fmla="*/ 236 h 292"/>
                  <a:gd name="T42" fmla="*/ 69 w 198"/>
                  <a:gd name="T43" fmla="*/ 252 h 292"/>
                  <a:gd name="T44" fmla="*/ 69 w 198"/>
                  <a:gd name="T45" fmla="*/ 282 h 292"/>
                  <a:gd name="T46" fmla="*/ 29 w 198"/>
                  <a:gd name="T47" fmla="*/ 288 h 292"/>
                  <a:gd name="T48" fmla="*/ 40 w 198"/>
                  <a:gd name="T49" fmla="*/ 273 h 292"/>
                  <a:gd name="T50" fmla="*/ 34 w 198"/>
                  <a:gd name="T51" fmla="*/ 254 h 292"/>
                  <a:gd name="T52" fmla="*/ 17 w 198"/>
                  <a:gd name="T53" fmla="*/ 248 h 292"/>
                  <a:gd name="T54" fmla="*/ 6 w 198"/>
                  <a:gd name="T55" fmla="*/ 250 h 292"/>
                  <a:gd name="T56" fmla="*/ 6 w 198"/>
                  <a:gd name="T57" fmla="*/ 230 h 292"/>
                  <a:gd name="T58" fmla="*/ 19 w 198"/>
                  <a:gd name="T59" fmla="*/ 207 h 292"/>
                  <a:gd name="T60" fmla="*/ 33 w 198"/>
                  <a:gd name="T61" fmla="*/ 169 h 292"/>
                  <a:gd name="T62" fmla="*/ 44 w 198"/>
                  <a:gd name="T63" fmla="*/ 150 h 292"/>
                  <a:gd name="T64" fmla="*/ 65 w 198"/>
                  <a:gd name="T65" fmla="*/ 142 h 292"/>
                  <a:gd name="T66" fmla="*/ 81 w 198"/>
                  <a:gd name="T67" fmla="*/ 127 h 292"/>
                  <a:gd name="T68" fmla="*/ 92 w 198"/>
                  <a:gd name="T69" fmla="*/ 111 h 292"/>
                  <a:gd name="T70" fmla="*/ 88 w 198"/>
                  <a:gd name="T71" fmla="*/ 100 h 292"/>
                  <a:gd name="T72" fmla="*/ 69 w 198"/>
                  <a:gd name="T73" fmla="*/ 111 h 292"/>
                  <a:gd name="T74" fmla="*/ 42 w 198"/>
                  <a:gd name="T75" fmla="*/ 109 h 292"/>
                  <a:gd name="T76" fmla="*/ 19 w 198"/>
                  <a:gd name="T77" fmla="*/ 102 h 292"/>
                  <a:gd name="T78" fmla="*/ 13 w 198"/>
                  <a:gd name="T79" fmla="*/ 80 h 292"/>
                  <a:gd name="T80" fmla="*/ 13 w 198"/>
                  <a:gd name="T81" fmla="*/ 65 h 292"/>
                  <a:gd name="T82" fmla="*/ 19 w 198"/>
                  <a:gd name="T83" fmla="*/ 52 h 292"/>
                  <a:gd name="T84" fmla="*/ 34 w 198"/>
                  <a:gd name="T85" fmla="*/ 46 h 292"/>
                  <a:gd name="T86" fmla="*/ 42 w 198"/>
                  <a:gd name="T87" fmla="*/ 61 h 292"/>
                  <a:gd name="T88" fmla="*/ 40 w 198"/>
                  <a:gd name="T89" fmla="*/ 75 h 292"/>
                  <a:gd name="T90" fmla="*/ 48 w 198"/>
                  <a:gd name="T91" fmla="*/ 65 h 292"/>
                  <a:gd name="T92" fmla="*/ 54 w 198"/>
                  <a:gd name="T93" fmla="*/ 77 h 292"/>
                  <a:gd name="T94" fmla="*/ 65 w 198"/>
                  <a:gd name="T95" fmla="*/ 75 h 292"/>
                  <a:gd name="T96" fmla="*/ 65 w 198"/>
                  <a:gd name="T97" fmla="*/ 69 h 292"/>
                  <a:gd name="T98" fmla="*/ 73 w 198"/>
                  <a:gd name="T99" fmla="*/ 59 h 292"/>
                  <a:gd name="T100" fmla="*/ 84 w 198"/>
                  <a:gd name="T101" fmla="*/ 57 h 292"/>
                  <a:gd name="T102" fmla="*/ 102 w 198"/>
                  <a:gd name="T103" fmla="*/ 54 h 292"/>
                  <a:gd name="T104" fmla="*/ 94 w 198"/>
                  <a:gd name="T105" fmla="*/ 46 h 292"/>
                  <a:gd name="T106" fmla="*/ 98 w 198"/>
                  <a:gd name="T107" fmla="*/ 29 h 292"/>
                  <a:gd name="T108" fmla="*/ 107 w 198"/>
                  <a:gd name="T109" fmla="*/ 17 h 292"/>
                  <a:gd name="T110" fmla="*/ 104 w 198"/>
                  <a:gd name="T111" fmla="*/ 7 h 292"/>
                  <a:gd name="T112" fmla="*/ 121 w 198"/>
                  <a:gd name="T113" fmla="*/ 4 h 292"/>
                  <a:gd name="T114" fmla="*/ 136 w 198"/>
                  <a:gd name="T115" fmla="*/ 19 h 292"/>
                  <a:gd name="T116" fmla="*/ 152 w 198"/>
                  <a:gd name="T117" fmla="*/ 25 h 292"/>
                  <a:gd name="T118" fmla="*/ 167 w 198"/>
                  <a:gd name="T119" fmla="*/ 29 h 292"/>
                  <a:gd name="T120" fmla="*/ 179 w 198"/>
                  <a:gd name="T121" fmla="*/ 29 h 292"/>
                  <a:gd name="T122" fmla="*/ 188 w 198"/>
                  <a:gd name="T123" fmla="*/ 38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98" h="292">
                    <a:moveTo>
                      <a:pt x="192" y="46"/>
                    </a:moveTo>
                    <a:lnTo>
                      <a:pt x="194" y="48"/>
                    </a:lnTo>
                    <a:lnTo>
                      <a:pt x="192" y="48"/>
                    </a:lnTo>
                    <a:lnTo>
                      <a:pt x="192" y="50"/>
                    </a:lnTo>
                    <a:lnTo>
                      <a:pt x="194" y="54"/>
                    </a:lnTo>
                    <a:lnTo>
                      <a:pt x="194" y="55"/>
                    </a:lnTo>
                    <a:lnTo>
                      <a:pt x="192" y="57"/>
                    </a:lnTo>
                    <a:lnTo>
                      <a:pt x="192" y="59"/>
                    </a:lnTo>
                    <a:lnTo>
                      <a:pt x="194" y="61"/>
                    </a:lnTo>
                    <a:lnTo>
                      <a:pt x="194" y="59"/>
                    </a:lnTo>
                    <a:lnTo>
                      <a:pt x="196" y="59"/>
                    </a:lnTo>
                    <a:lnTo>
                      <a:pt x="196" y="61"/>
                    </a:lnTo>
                    <a:lnTo>
                      <a:pt x="196" y="63"/>
                    </a:lnTo>
                    <a:lnTo>
                      <a:pt x="194" y="63"/>
                    </a:lnTo>
                    <a:lnTo>
                      <a:pt x="194" y="65"/>
                    </a:lnTo>
                    <a:lnTo>
                      <a:pt x="192" y="65"/>
                    </a:lnTo>
                    <a:lnTo>
                      <a:pt x="192" y="67"/>
                    </a:lnTo>
                    <a:lnTo>
                      <a:pt x="194" y="69"/>
                    </a:lnTo>
                    <a:lnTo>
                      <a:pt x="196" y="69"/>
                    </a:lnTo>
                    <a:lnTo>
                      <a:pt x="196" y="71"/>
                    </a:lnTo>
                    <a:lnTo>
                      <a:pt x="198" y="73"/>
                    </a:lnTo>
                    <a:lnTo>
                      <a:pt x="198" y="75"/>
                    </a:lnTo>
                    <a:lnTo>
                      <a:pt x="196" y="77"/>
                    </a:lnTo>
                    <a:lnTo>
                      <a:pt x="196" y="79"/>
                    </a:lnTo>
                    <a:lnTo>
                      <a:pt x="196" y="80"/>
                    </a:lnTo>
                    <a:lnTo>
                      <a:pt x="196" y="82"/>
                    </a:lnTo>
                    <a:lnTo>
                      <a:pt x="194" y="82"/>
                    </a:lnTo>
                    <a:lnTo>
                      <a:pt x="194" y="84"/>
                    </a:lnTo>
                    <a:lnTo>
                      <a:pt x="192" y="84"/>
                    </a:lnTo>
                    <a:lnTo>
                      <a:pt x="192" y="86"/>
                    </a:lnTo>
                    <a:lnTo>
                      <a:pt x="194" y="86"/>
                    </a:lnTo>
                    <a:lnTo>
                      <a:pt x="194" y="88"/>
                    </a:lnTo>
                    <a:lnTo>
                      <a:pt x="194" y="90"/>
                    </a:lnTo>
                    <a:lnTo>
                      <a:pt x="194" y="92"/>
                    </a:lnTo>
                    <a:lnTo>
                      <a:pt x="192" y="92"/>
                    </a:lnTo>
                    <a:lnTo>
                      <a:pt x="190" y="92"/>
                    </a:lnTo>
                    <a:lnTo>
                      <a:pt x="188" y="92"/>
                    </a:lnTo>
                    <a:lnTo>
                      <a:pt x="188" y="94"/>
                    </a:lnTo>
                    <a:lnTo>
                      <a:pt x="186" y="94"/>
                    </a:lnTo>
                    <a:lnTo>
                      <a:pt x="184" y="94"/>
                    </a:lnTo>
                    <a:lnTo>
                      <a:pt x="182" y="94"/>
                    </a:lnTo>
                    <a:lnTo>
                      <a:pt x="182" y="92"/>
                    </a:lnTo>
                    <a:lnTo>
                      <a:pt x="180" y="90"/>
                    </a:lnTo>
                    <a:lnTo>
                      <a:pt x="180" y="92"/>
                    </a:lnTo>
                    <a:lnTo>
                      <a:pt x="179" y="92"/>
                    </a:lnTo>
                    <a:lnTo>
                      <a:pt x="179" y="94"/>
                    </a:lnTo>
                    <a:lnTo>
                      <a:pt x="179" y="96"/>
                    </a:lnTo>
                    <a:lnTo>
                      <a:pt x="179" y="98"/>
                    </a:lnTo>
                    <a:lnTo>
                      <a:pt x="177" y="98"/>
                    </a:lnTo>
                    <a:lnTo>
                      <a:pt x="175" y="100"/>
                    </a:lnTo>
                    <a:lnTo>
                      <a:pt x="173" y="100"/>
                    </a:lnTo>
                    <a:lnTo>
                      <a:pt x="173" y="98"/>
                    </a:lnTo>
                    <a:lnTo>
                      <a:pt x="171" y="102"/>
                    </a:lnTo>
                    <a:lnTo>
                      <a:pt x="173" y="102"/>
                    </a:lnTo>
                    <a:lnTo>
                      <a:pt x="173" y="104"/>
                    </a:lnTo>
                    <a:lnTo>
                      <a:pt x="175" y="104"/>
                    </a:lnTo>
                    <a:lnTo>
                      <a:pt x="175" y="105"/>
                    </a:lnTo>
                    <a:lnTo>
                      <a:pt x="175" y="107"/>
                    </a:lnTo>
                    <a:lnTo>
                      <a:pt x="175" y="109"/>
                    </a:lnTo>
                    <a:lnTo>
                      <a:pt x="175" y="113"/>
                    </a:lnTo>
                    <a:lnTo>
                      <a:pt x="175" y="115"/>
                    </a:lnTo>
                    <a:lnTo>
                      <a:pt x="173" y="117"/>
                    </a:lnTo>
                    <a:lnTo>
                      <a:pt x="173" y="115"/>
                    </a:lnTo>
                    <a:lnTo>
                      <a:pt x="171" y="121"/>
                    </a:lnTo>
                    <a:lnTo>
                      <a:pt x="171" y="119"/>
                    </a:lnTo>
                    <a:lnTo>
                      <a:pt x="169" y="117"/>
                    </a:lnTo>
                    <a:lnTo>
                      <a:pt x="167" y="117"/>
                    </a:lnTo>
                    <a:lnTo>
                      <a:pt x="163" y="115"/>
                    </a:lnTo>
                    <a:lnTo>
                      <a:pt x="163" y="117"/>
                    </a:lnTo>
                    <a:lnTo>
                      <a:pt x="163" y="119"/>
                    </a:lnTo>
                    <a:lnTo>
                      <a:pt x="163" y="121"/>
                    </a:lnTo>
                    <a:lnTo>
                      <a:pt x="163" y="123"/>
                    </a:lnTo>
                    <a:lnTo>
                      <a:pt x="163" y="125"/>
                    </a:lnTo>
                    <a:lnTo>
                      <a:pt x="165" y="127"/>
                    </a:lnTo>
                    <a:lnTo>
                      <a:pt x="163" y="129"/>
                    </a:lnTo>
                    <a:lnTo>
                      <a:pt x="163" y="130"/>
                    </a:lnTo>
                    <a:lnTo>
                      <a:pt x="163" y="132"/>
                    </a:lnTo>
                    <a:lnTo>
                      <a:pt x="161" y="132"/>
                    </a:lnTo>
                    <a:lnTo>
                      <a:pt x="159" y="132"/>
                    </a:lnTo>
                    <a:lnTo>
                      <a:pt x="159" y="134"/>
                    </a:lnTo>
                    <a:lnTo>
                      <a:pt x="157" y="136"/>
                    </a:lnTo>
                    <a:lnTo>
                      <a:pt x="159" y="136"/>
                    </a:lnTo>
                    <a:lnTo>
                      <a:pt x="159" y="138"/>
                    </a:lnTo>
                    <a:lnTo>
                      <a:pt x="159" y="140"/>
                    </a:lnTo>
                    <a:lnTo>
                      <a:pt x="161" y="140"/>
                    </a:lnTo>
                    <a:lnTo>
                      <a:pt x="163" y="140"/>
                    </a:lnTo>
                    <a:lnTo>
                      <a:pt x="165" y="140"/>
                    </a:lnTo>
                    <a:lnTo>
                      <a:pt x="165" y="142"/>
                    </a:lnTo>
                    <a:lnTo>
                      <a:pt x="167" y="142"/>
                    </a:lnTo>
                    <a:lnTo>
                      <a:pt x="169" y="142"/>
                    </a:lnTo>
                    <a:lnTo>
                      <a:pt x="171" y="142"/>
                    </a:lnTo>
                    <a:lnTo>
                      <a:pt x="171" y="140"/>
                    </a:lnTo>
                    <a:lnTo>
                      <a:pt x="173" y="140"/>
                    </a:lnTo>
                    <a:lnTo>
                      <a:pt x="175" y="142"/>
                    </a:lnTo>
                    <a:lnTo>
                      <a:pt x="177" y="142"/>
                    </a:lnTo>
                    <a:lnTo>
                      <a:pt x="175" y="142"/>
                    </a:lnTo>
                    <a:lnTo>
                      <a:pt x="175" y="144"/>
                    </a:lnTo>
                    <a:lnTo>
                      <a:pt x="173" y="144"/>
                    </a:lnTo>
                    <a:lnTo>
                      <a:pt x="175" y="144"/>
                    </a:lnTo>
                    <a:lnTo>
                      <a:pt x="175" y="146"/>
                    </a:lnTo>
                    <a:lnTo>
                      <a:pt x="175" y="148"/>
                    </a:lnTo>
                    <a:lnTo>
                      <a:pt x="177" y="148"/>
                    </a:lnTo>
                    <a:lnTo>
                      <a:pt x="177" y="146"/>
                    </a:lnTo>
                    <a:lnTo>
                      <a:pt x="177" y="148"/>
                    </a:lnTo>
                    <a:lnTo>
                      <a:pt x="177" y="150"/>
                    </a:lnTo>
                    <a:lnTo>
                      <a:pt x="180" y="150"/>
                    </a:lnTo>
                    <a:lnTo>
                      <a:pt x="182" y="148"/>
                    </a:lnTo>
                    <a:lnTo>
                      <a:pt x="184" y="148"/>
                    </a:lnTo>
                    <a:lnTo>
                      <a:pt x="188" y="148"/>
                    </a:lnTo>
                    <a:lnTo>
                      <a:pt x="190" y="148"/>
                    </a:lnTo>
                    <a:lnTo>
                      <a:pt x="192" y="150"/>
                    </a:lnTo>
                    <a:lnTo>
                      <a:pt x="194" y="150"/>
                    </a:lnTo>
                    <a:lnTo>
                      <a:pt x="196" y="150"/>
                    </a:lnTo>
                    <a:lnTo>
                      <a:pt x="196" y="154"/>
                    </a:lnTo>
                    <a:lnTo>
                      <a:pt x="194" y="157"/>
                    </a:lnTo>
                    <a:lnTo>
                      <a:pt x="194" y="159"/>
                    </a:lnTo>
                    <a:lnTo>
                      <a:pt x="196" y="159"/>
                    </a:lnTo>
                    <a:lnTo>
                      <a:pt x="194" y="161"/>
                    </a:lnTo>
                    <a:lnTo>
                      <a:pt x="196" y="161"/>
                    </a:lnTo>
                    <a:lnTo>
                      <a:pt x="194" y="161"/>
                    </a:lnTo>
                    <a:lnTo>
                      <a:pt x="192" y="163"/>
                    </a:lnTo>
                    <a:lnTo>
                      <a:pt x="192" y="165"/>
                    </a:lnTo>
                    <a:lnTo>
                      <a:pt x="190" y="165"/>
                    </a:lnTo>
                    <a:lnTo>
                      <a:pt x="190" y="163"/>
                    </a:lnTo>
                    <a:lnTo>
                      <a:pt x="188" y="163"/>
                    </a:lnTo>
                    <a:lnTo>
                      <a:pt x="188" y="165"/>
                    </a:lnTo>
                    <a:lnTo>
                      <a:pt x="188" y="167"/>
                    </a:lnTo>
                    <a:lnTo>
                      <a:pt x="188" y="169"/>
                    </a:lnTo>
                    <a:lnTo>
                      <a:pt x="186" y="169"/>
                    </a:lnTo>
                    <a:lnTo>
                      <a:pt x="186" y="171"/>
                    </a:lnTo>
                    <a:lnTo>
                      <a:pt x="186" y="173"/>
                    </a:lnTo>
                    <a:lnTo>
                      <a:pt x="184" y="173"/>
                    </a:lnTo>
                    <a:lnTo>
                      <a:pt x="184" y="175"/>
                    </a:lnTo>
                    <a:lnTo>
                      <a:pt x="186" y="175"/>
                    </a:lnTo>
                    <a:lnTo>
                      <a:pt x="186" y="177"/>
                    </a:lnTo>
                    <a:lnTo>
                      <a:pt x="188" y="177"/>
                    </a:lnTo>
                    <a:lnTo>
                      <a:pt x="188" y="179"/>
                    </a:lnTo>
                    <a:lnTo>
                      <a:pt x="188" y="180"/>
                    </a:lnTo>
                    <a:lnTo>
                      <a:pt x="190" y="180"/>
                    </a:lnTo>
                    <a:lnTo>
                      <a:pt x="190" y="182"/>
                    </a:lnTo>
                    <a:lnTo>
                      <a:pt x="190" y="184"/>
                    </a:lnTo>
                    <a:lnTo>
                      <a:pt x="188" y="184"/>
                    </a:lnTo>
                    <a:lnTo>
                      <a:pt x="186" y="184"/>
                    </a:lnTo>
                    <a:lnTo>
                      <a:pt x="186" y="182"/>
                    </a:lnTo>
                    <a:lnTo>
                      <a:pt x="186" y="184"/>
                    </a:lnTo>
                    <a:lnTo>
                      <a:pt x="186" y="182"/>
                    </a:lnTo>
                    <a:lnTo>
                      <a:pt x="184" y="182"/>
                    </a:lnTo>
                    <a:lnTo>
                      <a:pt x="184" y="184"/>
                    </a:lnTo>
                    <a:lnTo>
                      <a:pt x="184" y="182"/>
                    </a:lnTo>
                    <a:lnTo>
                      <a:pt x="182" y="182"/>
                    </a:lnTo>
                    <a:lnTo>
                      <a:pt x="182" y="184"/>
                    </a:lnTo>
                    <a:lnTo>
                      <a:pt x="182" y="186"/>
                    </a:lnTo>
                    <a:lnTo>
                      <a:pt x="180" y="186"/>
                    </a:lnTo>
                    <a:lnTo>
                      <a:pt x="180" y="188"/>
                    </a:lnTo>
                    <a:lnTo>
                      <a:pt x="180" y="186"/>
                    </a:lnTo>
                    <a:lnTo>
                      <a:pt x="179" y="188"/>
                    </a:lnTo>
                    <a:lnTo>
                      <a:pt x="177" y="186"/>
                    </a:lnTo>
                    <a:lnTo>
                      <a:pt x="175" y="186"/>
                    </a:lnTo>
                    <a:lnTo>
                      <a:pt x="175" y="184"/>
                    </a:lnTo>
                    <a:lnTo>
                      <a:pt x="175" y="186"/>
                    </a:lnTo>
                    <a:lnTo>
                      <a:pt x="175" y="184"/>
                    </a:lnTo>
                    <a:lnTo>
                      <a:pt x="173" y="184"/>
                    </a:lnTo>
                    <a:lnTo>
                      <a:pt x="175" y="184"/>
                    </a:lnTo>
                    <a:lnTo>
                      <a:pt x="173" y="184"/>
                    </a:lnTo>
                    <a:lnTo>
                      <a:pt x="171" y="184"/>
                    </a:lnTo>
                    <a:lnTo>
                      <a:pt x="169" y="184"/>
                    </a:lnTo>
                    <a:lnTo>
                      <a:pt x="167" y="184"/>
                    </a:lnTo>
                    <a:lnTo>
                      <a:pt x="165" y="184"/>
                    </a:lnTo>
                    <a:lnTo>
                      <a:pt x="163" y="184"/>
                    </a:lnTo>
                    <a:lnTo>
                      <a:pt x="161" y="184"/>
                    </a:lnTo>
                    <a:lnTo>
                      <a:pt x="161" y="186"/>
                    </a:lnTo>
                    <a:lnTo>
                      <a:pt x="161" y="188"/>
                    </a:lnTo>
                    <a:lnTo>
                      <a:pt x="161" y="190"/>
                    </a:lnTo>
                    <a:lnTo>
                      <a:pt x="159" y="190"/>
                    </a:lnTo>
                    <a:lnTo>
                      <a:pt x="159" y="192"/>
                    </a:lnTo>
                    <a:lnTo>
                      <a:pt x="157" y="192"/>
                    </a:lnTo>
                    <a:lnTo>
                      <a:pt x="157" y="194"/>
                    </a:lnTo>
                    <a:lnTo>
                      <a:pt x="157" y="196"/>
                    </a:lnTo>
                    <a:lnTo>
                      <a:pt x="156" y="194"/>
                    </a:lnTo>
                    <a:lnTo>
                      <a:pt x="156" y="192"/>
                    </a:lnTo>
                    <a:lnTo>
                      <a:pt x="154" y="192"/>
                    </a:lnTo>
                    <a:lnTo>
                      <a:pt x="154" y="186"/>
                    </a:lnTo>
                    <a:lnTo>
                      <a:pt x="156" y="186"/>
                    </a:lnTo>
                    <a:lnTo>
                      <a:pt x="157" y="186"/>
                    </a:lnTo>
                    <a:lnTo>
                      <a:pt x="156" y="184"/>
                    </a:lnTo>
                    <a:lnTo>
                      <a:pt x="154" y="184"/>
                    </a:lnTo>
                    <a:lnTo>
                      <a:pt x="152" y="184"/>
                    </a:lnTo>
                    <a:lnTo>
                      <a:pt x="152" y="182"/>
                    </a:lnTo>
                    <a:lnTo>
                      <a:pt x="150" y="182"/>
                    </a:lnTo>
                    <a:lnTo>
                      <a:pt x="148" y="182"/>
                    </a:lnTo>
                    <a:lnTo>
                      <a:pt x="146" y="182"/>
                    </a:lnTo>
                    <a:lnTo>
                      <a:pt x="146" y="180"/>
                    </a:lnTo>
                    <a:lnTo>
                      <a:pt x="144" y="180"/>
                    </a:lnTo>
                    <a:lnTo>
                      <a:pt x="142" y="180"/>
                    </a:lnTo>
                    <a:lnTo>
                      <a:pt x="142" y="186"/>
                    </a:lnTo>
                    <a:lnTo>
                      <a:pt x="138" y="184"/>
                    </a:lnTo>
                    <a:lnTo>
                      <a:pt x="136" y="182"/>
                    </a:lnTo>
                    <a:lnTo>
                      <a:pt x="138" y="180"/>
                    </a:lnTo>
                    <a:lnTo>
                      <a:pt x="136" y="180"/>
                    </a:lnTo>
                    <a:lnTo>
                      <a:pt x="136" y="179"/>
                    </a:lnTo>
                    <a:lnTo>
                      <a:pt x="134" y="180"/>
                    </a:lnTo>
                    <a:lnTo>
                      <a:pt x="132" y="179"/>
                    </a:lnTo>
                    <a:lnTo>
                      <a:pt x="132" y="177"/>
                    </a:lnTo>
                    <a:lnTo>
                      <a:pt x="132" y="179"/>
                    </a:lnTo>
                    <a:lnTo>
                      <a:pt x="131" y="179"/>
                    </a:lnTo>
                    <a:lnTo>
                      <a:pt x="131" y="177"/>
                    </a:lnTo>
                    <a:lnTo>
                      <a:pt x="131" y="179"/>
                    </a:lnTo>
                    <a:lnTo>
                      <a:pt x="129" y="179"/>
                    </a:lnTo>
                    <a:lnTo>
                      <a:pt x="129" y="180"/>
                    </a:lnTo>
                    <a:lnTo>
                      <a:pt x="127" y="180"/>
                    </a:lnTo>
                    <a:lnTo>
                      <a:pt x="127" y="177"/>
                    </a:lnTo>
                    <a:lnTo>
                      <a:pt x="125" y="175"/>
                    </a:lnTo>
                    <a:lnTo>
                      <a:pt x="127" y="173"/>
                    </a:lnTo>
                    <a:lnTo>
                      <a:pt x="127" y="171"/>
                    </a:lnTo>
                    <a:lnTo>
                      <a:pt x="125" y="171"/>
                    </a:lnTo>
                    <a:lnTo>
                      <a:pt x="123" y="171"/>
                    </a:lnTo>
                    <a:lnTo>
                      <a:pt x="123" y="169"/>
                    </a:lnTo>
                    <a:lnTo>
                      <a:pt x="123" y="171"/>
                    </a:lnTo>
                    <a:lnTo>
                      <a:pt x="121" y="169"/>
                    </a:lnTo>
                    <a:lnTo>
                      <a:pt x="119" y="171"/>
                    </a:lnTo>
                    <a:lnTo>
                      <a:pt x="117" y="171"/>
                    </a:lnTo>
                    <a:lnTo>
                      <a:pt x="117" y="173"/>
                    </a:lnTo>
                    <a:lnTo>
                      <a:pt x="117" y="175"/>
                    </a:lnTo>
                    <a:lnTo>
                      <a:pt x="117" y="177"/>
                    </a:lnTo>
                    <a:lnTo>
                      <a:pt x="117" y="179"/>
                    </a:lnTo>
                    <a:lnTo>
                      <a:pt x="113" y="179"/>
                    </a:lnTo>
                    <a:lnTo>
                      <a:pt x="113" y="177"/>
                    </a:lnTo>
                    <a:lnTo>
                      <a:pt x="113" y="175"/>
                    </a:lnTo>
                    <a:lnTo>
                      <a:pt x="111" y="175"/>
                    </a:lnTo>
                    <a:lnTo>
                      <a:pt x="111" y="173"/>
                    </a:lnTo>
                    <a:lnTo>
                      <a:pt x="109" y="175"/>
                    </a:lnTo>
                    <a:lnTo>
                      <a:pt x="107" y="175"/>
                    </a:lnTo>
                    <a:lnTo>
                      <a:pt x="107" y="177"/>
                    </a:lnTo>
                    <a:lnTo>
                      <a:pt x="109" y="179"/>
                    </a:lnTo>
                    <a:lnTo>
                      <a:pt x="111" y="179"/>
                    </a:lnTo>
                    <a:lnTo>
                      <a:pt x="111" y="182"/>
                    </a:lnTo>
                    <a:lnTo>
                      <a:pt x="111" y="184"/>
                    </a:lnTo>
                    <a:lnTo>
                      <a:pt x="113" y="184"/>
                    </a:lnTo>
                    <a:lnTo>
                      <a:pt x="111" y="186"/>
                    </a:lnTo>
                    <a:lnTo>
                      <a:pt x="111" y="188"/>
                    </a:lnTo>
                    <a:lnTo>
                      <a:pt x="109" y="188"/>
                    </a:lnTo>
                    <a:lnTo>
                      <a:pt x="107" y="188"/>
                    </a:lnTo>
                    <a:lnTo>
                      <a:pt x="107" y="190"/>
                    </a:lnTo>
                    <a:lnTo>
                      <a:pt x="104" y="190"/>
                    </a:lnTo>
                    <a:lnTo>
                      <a:pt x="102" y="194"/>
                    </a:lnTo>
                    <a:lnTo>
                      <a:pt x="102" y="192"/>
                    </a:lnTo>
                    <a:lnTo>
                      <a:pt x="98" y="192"/>
                    </a:lnTo>
                    <a:lnTo>
                      <a:pt x="98" y="194"/>
                    </a:lnTo>
                    <a:lnTo>
                      <a:pt x="104" y="198"/>
                    </a:lnTo>
                    <a:lnTo>
                      <a:pt x="104" y="200"/>
                    </a:lnTo>
                    <a:lnTo>
                      <a:pt x="106" y="202"/>
                    </a:lnTo>
                    <a:lnTo>
                      <a:pt x="107" y="202"/>
                    </a:lnTo>
                    <a:lnTo>
                      <a:pt x="107" y="204"/>
                    </a:lnTo>
                    <a:lnTo>
                      <a:pt x="109" y="204"/>
                    </a:lnTo>
                    <a:lnTo>
                      <a:pt x="111" y="204"/>
                    </a:lnTo>
                    <a:lnTo>
                      <a:pt x="113" y="202"/>
                    </a:lnTo>
                    <a:lnTo>
                      <a:pt x="115" y="202"/>
                    </a:lnTo>
                    <a:lnTo>
                      <a:pt x="115" y="204"/>
                    </a:lnTo>
                    <a:lnTo>
                      <a:pt x="117" y="204"/>
                    </a:lnTo>
                    <a:lnTo>
                      <a:pt x="117" y="207"/>
                    </a:lnTo>
                    <a:lnTo>
                      <a:pt x="117" y="209"/>
                    </a:lnTo>
                    <a:lnTo>
                      <a:pt x="115" y="209"/>
                    </a:lnTo>
                    <a:lnTo>
                      <a:pt x="113" y="209"/>
                    </a:lnTo>
                    <a:lnTo>
                      <a:pt x="113" y="211"/>
                    </a:lnTo>
                    <a:lnTo>
                      <a:pt x="111" y="211"/>
                    </a:lnTo>
                    <a:lnTo>
                      <a:pt x="109" y="211"/>
                    </a:lnTo>
                    <a:lnTo>
                      <a:pt x="109" y="209"/>
                    </a:lnTo>
                    <a:lnTo>
                      <a:pt x="109" y="207"/>
                    </a:lnTo>
                    <a:lnTo>
                      <a:pt x="107" y="207"/>
                    </a:lnTo>
                    <a:lnTo>
                      <a:pt x="107" y="205"/>
                    </a:lnTo>
                    <a:lnTo>
                      <a:pt x="106" y="205"/>
                    </a:lnTo>
                    <a:lnTo>
                      <a:pt x="106" y="207"/>
                    </a:lnTo>
                    <a:lnTo>
                      <a:pt x="104" y="207"/>
                    </a:lnTo>
                    <a:lnTo>
                      <a:pt x="104" y="209"/>
                    </a:lnTo>
                    <a:lnTo>
                      <a:pt x="104" y="211"/>
                    </a:lnTo>
                    <a:lnTo>
                      <a:pt x="102" y="211"/>
                    </a:lnTo>
                    <a:lnTo>
                      <a:pt x="100" y="211"/>
                    </a:lnTo>
                    <a:lnTo>
                      <a:pt x="98" y="217"/>
                    </a:lnTo>
                    <a:lnTo>
                      <a:pt x="100" y="219"/>
                    </a:lnTo>
                    <a:lnTo>
                      <a:pt x="100" y="221"/>
                    </a:lnTo>
                    <a:lnTo>
                      <a:pt x="102" y="221"/>
                    </a:lnTo>
                    <a:lnTo>
                      <a:pt x="104" y="221"/>
                    </a:lnTo>
                    <a:lnTo>
                      <a:pt x="106" y="223"/>
                    </a:lnTo>
                    <a:lnTo>
                      <a:pt x="106" y="225"/>
                    </a:lnTo>
                    <a:lnTo>
                      <a:pt x="107" y="227"/>
                    </a:lnTo>
                    <a:lnTo>
                      <a:pt x="107" y="229"/>
                    </a:lnTo>
                    <a:lnTo>
                      <a:pt x="111" y="229"/>
                    </a:lnTo>
                    <a:lnTo>
                      <a:pt x="113" y="227"/>
                    </a:lnTo>
                    <a:lnTo>
                      <a:pt x="115" y="229"/>
                    </a:lnTo>
                    <a:lnTo>
                      <a:pt x="115" y="230"/>
                    </a:lnTo>
                    <a:lnTo>
                      <a:pt x="115" y="232"/>
                    </a:lnTo>
                    <a:lnTo>
                      <a:pt x="117" y="234"/>
                    </a:lnTo>
                    <a:lnTo>
                      <a:pt x="119" y="236"/>
                    </a:lnTo>
                    <a:lnTo>
                      <a:pt x="119" y="238"/>
                    </a:lnTo>
                    <a:lnTo>
                      <a:pt x="123" y="238"/>
                    </a:lnTo>
                    <a:lnTo>
                      <a:pt x="125" y="242"/>
                    </a:lnTo>
                    <a:lnTo>
                      <a:pt x="125" y="244"/>
                    </a:lnTo>
                    <a:lnTo>
                      <a:pt x="123" y="250"/>
                    </a:lnTo>
                    <a:lnTo>
                      <a:pt x="119" y="252"/>
                    </a:lnTo>
                    <a:lnTo>
                      <a:pt x="117" y="250"/>
                    </a:lnTo>
                    <a:lnTo>
                      <a:pt x="113" y="246"/>
                    </a:lnTo>
                    <a:lnTo>
                      <a:pt x="111" y="246"/>
                    </a:lnTo>
                    <a:lnTo>
                      <a:pt x="111" y="244"/>
                    </a:lnTo>
                    <a:lnTo>
                      <a:pt x="109" y="244"/>
                    </a:lnTo>
                    <a:lnTo>
                      <a:pt x="107" y="246"/>
                    </a:lnTo>
                    <a:lnTo>
                      <a:pt x="106" y="246"/>
                    </a:lnTo>
                    <a:lnTo>
                      <a:pt x="106" y="242"/>
                    </a:lnTo>
                    <a:lnTo>
                      <a:pt x="104" y="242"/>
                    </a:lnTo>
                    <a:lnTo>
                      <a:pt x="104" y="240"/>
                    </a:lnTo>
                    <a:lnTo>
                      <a:pt x="102" y="240"/>
                    </a:lnTo>
                    <a:lnTo>
                      <a:pt x="102" y="238"/>
                    </a:lnTo>
                    <a:lnTo>
                      <a:pt x="98" y="240"/>
                    </a:lnTo>
                    <a:lnTo>
                      <a:pt x="96" y="240"/>
                    </a:lnTo>
                    <a:lnTo>
                      <a:pt x="94" y="236"/>
                    </a:lnTo>
                    <a:lnTo>
                      <a:pt x="92" y="236"/>
                    </a:lnTo>
                    <a:lnTo>
                      <a:pt x="92" y="238"/>
                    </a:lnTo>
                    <a:lnTo>
                      <a:pt x="90" y="238"/>
                    </a:lnTo>
                    <a:lnTo>
                      <a:pt x="88" y="238"/>
                    </a:lnTo>
                    <a:lnTo>
                      <a:pt x="86" y="238"/>
                    </a:lnTo>
                    <a:lnTo>
                      <a:pt x="86" y="240"/>
                    </a:lnTo>
                    <a:lnTo>
                      <a:pt x="86" y="242"/>
                    </a:lnTo>
                    <a:lnTo>
                      <a:pt x="84" y="242"/>
                    </a:lnTo>
                    <a:lnTo>
                      <a:pt x="83" y="242"/>
                    </a:lnTo>
                    <a:lnTo>
                      <a:pt x="83" y="244"/>
                    </a:lnTo>
                    <a:lnTo>
                      <a:pt x="81" y="244"/>
                    </a:lnTo>
                    <a:lnTo>
                      <a:pt x="79" y="244"/>
                    </a:lnTo>
                    <a:lnTo>
                      <a:pt x="79" y="246"/>
                    </a:lnTo>
                    <a:lnTo>
                      <a:pt x="75" y="248"/>
                    </a:lnTo>
                    <a:lnTo>
                      <a:pt x="71" y="248"/>
                    </a:lnTo>
                    <a:lnTo>
                      <a:pt x="69" y="252"/>
                    </a:lnTo>
                    <a:lnTo>
                      <a:pt x="69" y="254"/>
                    </a:lnTo>
                    <a:lnTo>
                      <a:pt x="69" y="255"/>
                    </a:lnTo>
                    <a:lnTo>
                      <a:pt x="69" y="257"/>
                    </a:lnTo>
                    <a:lnTo>
                      <a:pt x="71" y="257"/>
                    </a:lnTo>
                    <a:lnTo>
                      <a:pt x="73" y="257"/>
                    </a:lnTo>
                    <a:lnTo>
                      <a:pt x="69" y="265"/>
                    </a:lnTo>
                    <a:lnTo>
                      <a:pt x="73" y="267"/>
                    </a:lnTo>
                    <a:lnTo>
                      <a:pt x="73" y="273"/>
                    </a:lnTo>
                    <a:lnTo>
                      <a:pt x="73" y="278"/>
                    </a:lnTo>
                    <a:lnTo>
                      <a:pt x="71" y="278"/>
                    </a:lnTo>
                    <a:lnTo>
                      <a:pt x="71" y="280"/>
                    </a:lnTo>
                    <a:lnTo>
                      <a:pt x="71" y="278"/>
                    </a:lnTo>
                    <a:lnTo>
                      <a:pt x="71" y="280"/>
                    </a:lnTo>
                    <a:lnTo>
                      <a:pt x="69" y="280"/>
                    </a:lnTo>
                    <a:lnTo>
                      <a:pt x="69" y="282"/>
                    </a:lnTo>
                    <a:lnTo>
                      <a:pt x="67" y="282"/>
                    </a:lnTo>
                    <a:lnTo>
                      <a:pt x="65" y="282"/>
                    </a:lnTo>
                    <a:lnTo>
                      <a:pt x="63" y="282"/>
                    </a:lnTo>
                    <a:lnTo>
                      <a:pt x="63" y="284"/>
                    </a:lnTo>
                    <a:lnTo>
                      <a:pt x="61" y="284"/>
                    </a:lnTo>
                    <a:lnTo>
                      <a:pt x="61" y="282"/>
                    </a:lnTo>
                    <a:lnTo>
                      <a:pt x="59" y="282"/>
                    </a:lnTo>
                    <a:lnTo>
                      <a:pt x="59" y="284"/>
                    </a:lnTo>
                    <a:lnTo>
                      <a:pt x="58" y="286"/>
                    </a:lnTo>
                    <a:lnTo>
                      <a:pt x="50" y="284"/>
                    </a:lnTo>
                    <a:lnTo>
                      <a:pt x="46" y="286"/>
                    </a:lnTo>
                    <a:lnTo>
                      <a:pt x="42" y="288"/>
                    </a:lnTo>
                    <a:lnTo>
                      <a:pt x="36" y="292"/>
                    </a:lnTo>
                    <a:lnTo>
                      <a:pt x="34" y="292"/>
                    </a:lnTo>
                    <a:lnTo>
                      <a:pt x="29" y="288"/>
                    </a:lnTo>
                    <a:lnTo>
                      <a:pt x="29" y="286"/>
                    </a:lnTo>
                    <a:lnTo>
                      <a:pt x="29" y="284"/>
                    </a:lnTo>
                    <a:lnTo>
                      <a:pt x="27" y="284"/>
                    </a:lnTo>
                    <a:lnTo>
                      <a:pt x="27" y="282"/>
                    </a:lnTo>
                    <a:lnTo>
                      <a:pt x="29" y="282"/>
                    </a:lnTo>
                    <a:lnTo>
                      <a:pt x="29" y="280"/>
                    </a:lnTo>
                    <a:lnTo>
                      <a:pt x="31" y="278"/>
                    </a:lnTo>
                    <a:lnTo>
                      <a:pt x="31" y="277"/>
                    </a:lnTo>
                    <a:lnTo>
                      <a:pt x="33" y="277"/>
                    </a:lnTo>
                    <a:lnTo>
                      <a:pt x="34" y="277"/>
                    </a:lnTo>
                    <a:lnTo>
                      <a:pt x="36" y="277"/>
                    </a:lnTo>
                    <a:lnTo>
                      <a:pt x="36" y="275"/>
                    </a:lnTo>
                    <a:lnTo>
                      <a:pt x="38" y="275"/>
                    </a:lnTo>
                    <a:lnTo>
                      <a:pt x="40" y="275"/>
                    </a:lnTo>
                    <a:lnTo>
                      <a:pt x="40" y="273"/>
                    </a:lnTo>
                    <a:lnTo>
                      <a:pt x="42" y="271"/>
                    </a:lnTo>
                    <a:lnTo>
                      <a:pt x="44" y="269"/>
                    </a:lnTo>
                    <a:lnTo>
                      <a:pt x="42" y="269"/>
                    </a:lnTo>
                    <a:lnTo>
                      <a:pt x="44" y="269"/>
                    </a:lnTo>
                    <a:lnTo>
                      <a:pt x="44" y="265"/>
                    </a:lnTo>
                    <a:lnTo>
                      <a:pt x="46" y="265"/>
                    </a:lnTo>
                    <a:lnTo>
                      <a:pt x="44" y="265"/>
                    </a:lnTo>
                    <a:lnTo>
                      <a:pt x="44" y="263"/>
                    </a:lnTo>
                    <a:lnTo>
                      <a:pt x="42" y="263"/>
                    </a:lnTo>
                    <a:lnTo>
                      <a:pt x="40" y="261"/>
                    </a:lnTo>
                    <a:lnTo>
                      <a:pt x="38" y="261"/>
                    </a:lnTo>
                    <a:lnTo>
                      <a:pt x="36" y="259"/>
                    </a:lnTo>
                    <a:lnTo>
                      <a:pt x="36" y="257"/>
                    </a:lnTo>
                    <a:lnTo>
                      <a:pt x="36" y="255"/>
                    </a:lnTo>
                    <a:lnTo>
                      <a:pt x="34" y="254"/>
                    </a:lnTo>
                    <a:lnTo>
                      <a:pt x="33" y="255"/>
                    </a:lnTo>
                    <a:lnTo>
                      <a:pt x="31" y="255"/>
                    </a:lnTo>
                    <a:lnTo>
                      <a:pt x="31" y="257"/>
                    </a:lnTo>
                    <a:lnTo>
                      <a:pt x="29" y="257"/>
                    </a:lnTo>
                    <a:lnTo>
                      <a:pt x="29" y="255"/>
                    </a:lnTo>
                    <a:lnTo>
                      <a:pt x="27" y="255"/>
                    </a:lnTo>
                    <a:lnTo>
                      <a:pt x="25" y="254"/>
                    </a:lnTo>
                    <a:lnTo>
                      <a:pt x="23" y="255"/>
                    </a:lnTo>
                    <a:lnTo>
                      <a:pt x="23" y="254"/>
                    </a:lnTo>
                    <a:lnTo>
                      <a:pt x="21" y="254"/>
                    </a:lnTo>
                    <a:lnTo>
                      <a:pt x="21" y="252"/>
                    </a:lnTo>
                    <a:lnTo>
                      <a:pt x="21" y="250"/>
                    </a:lnTo>
                    <a:lnTo>
                      <a:pt x="19" y="250"/>
                    </a:lnTo>
                    <a:lnTo>
                      <a:pt x="17" y="250"/>
                    </a:lnTo>
                    <a:lnTo>
                      <a:pt x="17" y="248"/>
                    </a:lnTo>
                    <a:lnTo>
                      <a:pt x="15" y="248"/>
                    </a:lnTo>
                    <a:lnTo>
                      <a:pt x="15" y="250"/>
                    </a:lnTo>
                    <a:lnTo>
                      <a:pt x="15" y="252"/>
                    </a:lnTo>
                    <a:lnTo>
                      <a:pt x="13" y="252"/>
                    </a:lnTo>
                    <a:lnTo>
                      <a:pt x="11" y="252"/>
                    </a:lnTo>
                    <a:lnTo>
                      <a:pt x="11" y="254"/>
                    </a:lnTo>
                    <a:lnTo>
                      <a:pt x="13" y="254"/>
                    </a:lnTo>
                    <a:lnTo>
                      <a:pt x="11" y="255"/>
                    </a:lnTo>
                    <a:lnTo>
                      <a:pt x="11" y="257"/>
                    </a:lnTo>
                    <a:lnTo>
                      <a:pt x="9" y="259"/>
                    </a:lnTo>
                    <a:lnTo>
                      <a:pt x="8" y="259"/>
                    </a:lnTo>
                    <a:lnTo>
                      <a:pt x="8" y="257"/>
                    </a:lnTo>
                    <a:lnTo>
                      <a:pt x="6" y="254"/>
                    </a:lnTo>
                    <a:lnTo>
                      <a:pt x="6" y="252"/>
                    </a:lnTo>
                    <a:lnTo>
                      <a:pt x="6" y="250"/>
                    </a:lnTo>
                    <a:lnTo>
                      <a:pt x="6" y="248"/>
                    </a:lnTo>
                    <a:lnTo>
                      <a:pt x="6" y="246"/>
                    </a:lnTo>
                    <a:lnTo>
                      <a:pt x="4" y="246"/>
                    </a:lnTo>
                    <a:lnTo>
                      <a:pt x="2" y="246"/>
                    </a:lnTo>
                    <a:lnTo>
                      <a:pt x="0" y="246"/>
                    </a:lnTo>
                    <a:lnTo>
                      <a:pt x="0" y="244"/>
                    </a:lnTo>
                    <a:lnTo>
                      <a:pt x="0" y="242"/>
                    </a:lnTo>
                    <a:lnTo>
                      <a:pt x="2" y="240"/>
                    </a:lnTo>
                    <a:lnTo>
                      <a:pt x="4" y="240"/>
                    </a:lnTo>
                    <a:lnTo>
                      <a:pt x="4" y="238"/>
                    </a:lnTo>
                    <a:lnTo>
                      <a:pt x="4" y="236"/>
                    </a:lnTo>
                    <a:lnTo>
                      <a:pt x="4" y="234"/>
                    </a:lnTo>
                    <a:lnTo>
                      <a:pt x="2" y="232"/>
                    </a:lnTo>
                    <a:lnTo>
                      <a:pt x="4" y="230"/>
                    </a:lnTo>
                    <a:lnTo>
                      <a:pt x="6" y="230"/>
                    </a:lnTo>
                    <a:lnTo>
                      <a:pt x="6" y="229"/>
                    </a:lnTo>
                    <a:lnTo>
                      <a:pt x="8" y="227"/>
                    </a:lnTo>
                    <a:lnTo>
                      <a:pt x="8" y="223"/>
                    </a:lnTo>
                    <a:lnTo>
                      <a:pt x="8" y="221"/>
                    </a:lnTo>
                    <a:lnTo>
                      <a:pt x="9" y="217"/>
                    </a:lnTo>
                    <a:lnTo>
                      <a:pt x="11" y="215"/>
                    </a:lnTo>
                    <a:lnTo>
                      <a:pt x="11" y="213"/>
                    </a:lnTo>
                    <a:lnTo>
                      <a:pt x="13" y="213"/>
                    </a:lnTo>
                    <a:lnTo>
                      <a:pt x="15" y="213"/>
                    </a:lnTo>
                    <a:lnTo>
                      <a:pt x="15" y="207"/>
                    </a:lnTo>
                    <a:lnTo>
                      <a:pt x="17" y="207"/>
                    </a:lnTo>
                    <a:lnTo>
                      <a:pt x="19" y="209"/>
                    </a:lnTo>
                    <a:lnTo>
                      <a:pt x="21" y="209"/>
                    </a:lnTo>
                    <a:lnTo>
                      <a:pt x="21" y="207"/>
                    </a:lnTo>
                    <a:lnTo>
                      <a:pt x="19" y="207"/>
                    </a:lnTo>
                    <a:lnTo>
                      <a:pt x="23" y="198"/>
                    </a:lnTo>
                    <a:lnTo>
                      <a:pt x="23" y="196"/>
                    </a:lnTo>
                    <a:lnTo>
                      <a:pt x="21" y="196"/>
                    </a:lnTo>
                    <a:lnTo>
                      <a:pt x="23" y="194"/>
                    </a:lnTo>
                    <a:lnTo>
                      <a:pt x="23" y="192"/>
                    </a:lnTo>
                    <a:lnTo>
                      <a:pt x="25" y="192"/>
                    </a:lnTo>
                    <a:lnTo>
                      <a:pt x="25" y="190"/>
                    </a:lnTo>
                    <a:lnTo>
                      <a:pt x="25" y="188"/>
                    </a:lnTo>
                    <a:lnTo>
                      <a:pt x="27" y="186"/>
                    </a:lnTo>
                    <a:lnTo>
                      <a:pt x="29" y="179"/>
                    </a:lnTo>
                    <a:lnTo>
                      <a:pt x="31" y="175"/>
                    </a:lnTo>
                    <a:lnTo>
                      <a:pt x="29" y="175"/>
                    </a:lnTo>
                    <a:lnTo>
                      <a:pt x="29" y="171"/>
                    </a:lnTo>
                    <a:lnTo>
                      <a:pt x="31" y="171"/>
                    </a:lnTo>
                    <a:lnTo>
                      <a:pt x="33" y="169"/>
                    </a:lnTo>
                    <a:lnTo>
                      <a:pt x="34" y="169"/>
                    </a:lnTo>
                    <a:lnTo>
                      <a:pt x="34" y="167"/>
                    </a:lnTo>
                    <a:lnTo>
                      <a:pt x="34" y="165"/>
                    </a:lnTo>
                    <a:lnTo>
                      <a:pt x="34" y="163"/>
                    </a:lnTo>
                    <a:lnTo>
                      <a:pt x="34" y="161"/>
                    </a:lnTo>
                    <a:lnTo>
                      <a:pt x="36" y="161"/>
                    </a:lnTo>
                    <a:lnTo>
                      <a:pt x="36" y="159"/>
                    </a:lnTo>
                    <a:lnTo>
                      <a:pt x="38" y="159"/>
                    </a:lnTo>
                    <a:lnTo>
                      <a:pt x="38" y="155"/>
                    </a:lnTo>
                    <a:lnTo>
                      <a:pt x="40" y="154"/>
                    </a:lnTo>
                    <a:lnTo>
                      <a:pt x="40" y="152"/>
                    </a:lnTo>
                    <a:lnTo>
                      <a:pt x="40" y="150"/>
                    </a:lnTo>
                    <a:lnTo>
                      <a:pt x="42" y="150"/>
                    </a:lnTo>
                    <a:lnTo>
                      <a:pt x="42" y="148"/>
                    </a:lnTo>
                    <a:lnTo>
                      <a:pt x="44" y="150"/>
                    </a:lnTo>
                    <a:lnTo>
                      <a:pt x="46" y="150"/>
                    </a:lnTo>
                    <a:lnTo>
                      <a:pt x="48" y="152"/>
                    </a:lnTo>
                    <a:lnTo>
                      <a:pt x="48" y="150"/>
                    </a:lnTo>
                    <a:lnTo>
                      <a:pt x="50" y="150"/>
                    </a:lnTo>
                    <a:lnTo>
                      <a:pt x="52" y="150"/>
                    </a:lnTo>
                    <a:lnTo>
                      <a:pt x="52" y="148"/>
                    </a:lnTo>
                    <a:lnTo>
                      <a:pt x="54" y="146"/>
                    </a:lnTo>
                    <a:lnTo>
                      <a:pt x="58" y="142"/>
                    </a:lnTo>
                    <a:lnTo>
                      <a:pt x="58" y="140"/>
                    </a:lnTo>
                    <a:lnTo>
                      <a:pt x="59" y="140"/>
                    </a:lnTo>
                    <a:lnTo>
                      <a:pt x="59" y="138"/>
                    </a:lnTo>
                    <a:lnTo>
                      <a:pt x="61" y="140"/>
                    </a:lnTo>
                    <a:lnTo>
                      <a:pt x="63" y="140"/>
                    </a:lnTo>
                    <a:lnTo>
                      <a:pt x="65" y="140"/>
                    </a:lnTo>
                    <a:lnTo>
                      <a:pt x="65" y="142"/>
                    </a:lnTo>
                    <a:lnTo>
                      <a:pt x="67" y="142"/>
                    </a:lnTo>
                    <a:lnTo>
                      <a:pt x="67" y="144"/>
                    </a:lnTo>
                    <a:lnTo>
                      <a:pt x="69" y="144"/>
                    </a:lnTo>
                    <a:lnTo>
                      <a:pt x="69" y="146"/>
                    </a:lnTo>
                    <a:lnTo>
                      <a:pt x="71" y="146"/>
                    </a:lnTo>
                    <a:lnTo>
                      <a:pt x="73" y="144"/>
                    </a:lnTo>
                    <a:lnTo>
                      <a:pt x="73" y="142"/>
                    </a:lnTo>
                    <a:lnTo>
                      <a:pt x="75" y="142"/>
                    </a:lnTo>
                    <a:lnTo>
                      <a:pt x="77" y="140"/>
                    </a:lnTo>
                    <a:lnTo>
                      <a:pt x="77" y="136"/>
                    </a:lnTo>
                    <a:lnTo>
                      <a:pt x="75" y="134"/>
                    </a:lnTo>
                    <a:lnTo>
                      <a:pt x="75" y="132"/>
                    </a:lnTo>
                    <a:lnTo>
                      <a:pt x="77" y="130"/>
                    </a:lnTo>
                    <a:lnTo>
                      <a:pt x="79" y="130"/>
                    </a:lnTo>
                    <a:lnTo>
                      <a:pt x="81" y="127"/>
                    </a:lnTo>
                    <a:lnTo>
                      <a:pt x="79" y="127"/>
                    </a:lnTo>
                    <a:lnTo>
                      <a:pt x="79" y="125"/>
                    </a:lnTo>
                    <a:lnTo>
                      <a:pt x="77" y="125"/>
                    </a:lnTo>
                    <a:lnTo>
                      <a:pt x="79" y="123"/>
                    </a:lnTo>
                    <a:lnTo>
                      <a:pt x="81" y="123"/>
                    </a:lnTo>
                    <a:lnTo>
                      <a:pt x="81" y="121"/>
                    </a:lnTo>
                    <a:lnTo>
                      <a:pt x="83" y="121"/>
                    </a:lnTo>
                    <a:lnTo>
                      <a:pt x="84" y="121"/>
                    </a:lnTo>
                    <a:lnTo>
                      <a:pt x="84" y="119"/>
                    </a:lnTo>
                    <a:lnTo>
                      <a:pt x="86" y="119"/>
                    </a:lnTo>
                    <a:lnTo>
                      <a:pt x="86" y="117"/>
                    </a:lnTo>
                    <a:lnTo>
                      <a:pt x="88" y="117"/>
                    </a:lnTo>
                    <a:lnTo>
                      <a:pt x="88" y="115"/>
                    </a:lnTo>
                    <a:lnTo>
                      <a:pt x="90" y="113"/>
                    </a:lnTo>
                    <a:lnTo>
                      <a:pt x="92" y="111"/>
                    </a:lnTo>
                    <a:lnTo>
                      <a:pt x="92" y="109"/>
                    </a:lnTo>
                    <a:lnTo>
                      <a:pt x="94" y="109"/>
                    </a:lnTo>
                    <a:lnTo>
                      <a:pt x="94" y="107"/>
                    </a:lnTo>
                    <a:lnTo>
                      <a:pt x="94" y="105"/>
                    </a:lnTo>
                    <a:lnTo>
                      <a:pt x="96" y="105"/>
                    </a:lnTo>
                    <a:lnTo>
                      <a:pt x="98" y="104"/>
                    </a:lnTo>
                    <a:lnTo>
                      <a:pt x="96" y="104"/>
                    </a:lnTo>
                    <a:lnTo>
                      <a:pt x="96" y="102"/>
                    </a:lnTo>
                    <a:lnTo>
                      <a:pt x="94" y="102"/>
                    </a:lnTo>
                    <a:lnTo>
                      <a:pt x="94" y="104"/>
                    </a:lnTo>
                    <a:lnTo>
                      <a:pt x="92" y="104"/>
                    </a:lnTo>
                    <a:lnTo>
                      <a:pt x="92" y="102"/>
                    </a:lnTo>
                    <a:lnTo>
                      <a:pt x="90" y="102"/>
                    </a:lnTo>
                    <a:lnTo>
                      <a:pt x="90" y="100"/>
                    </a:lnTo>
                    <a:lnTo>
                      <a:pt x="88" y="100"/>
                    </a:lnTo>
                    <a:lnTo>
                      <a:pt x="88" y="98"/>
                    </a:lnTo>
                    <a:lnTo>
                      <a:pt x="88" y="96"/>
                    </a:lnTo>
                    <a:lnTo>
                      <a:pt x="86" y="96"/>
                    </a:lnTo>
                    <a:lnTo>
                      <a:pt x="86" y="98"/>
                    </a:lnTo>
                    <a:lnTo>
                      <a:pt x="84" y="100"/>
                    </a:lnTo>
                    <a:lnTo>
                      <a:pt x="83" y="100"/>
                    </a:lnTo>
                    <a:lnTo>
                      <a:pt x="83" y="102"/>
                    </a:lnTo>
                    <a:lnTo>
                      <a:pt x="81" y="104"/>
                    </a:lnTo>
                    <a:lnTo>
                      <a:pt x="79" y="104"/>
                    </a:lnTo>
                    <a:lnTo>
                      <a:pt x="77" y="105"/>
                    </a:lnTo>
                    <a:lnTo>
                      <a:pt x="77" y="107"/>
                    </a:lnTo>
                    <a:lnTo>
                      <a:pt x="73" y="107"/>
                    </a:lnTo>
                    <a:lnTo>
                      <a:pt x="71" y="107"/>
                    </a:lnTo>
                    <a:lnTo>
                      <a:pt x="69" y="109"/>
                    </a:lnTo>
                    <a:lnTo>
                      <a:pt x="69" y="111"/>
                    </a:lnTo>
                    <a:lnTo>
                      <a:pt x="67" y="109"/>
                    </a:lnTo>
                    <a:lnTo>
                      <a:pt x="65" y="109"/>
                    </a:lnTo>
                    <a:lnTo>
                      <a:pt x="63" y="107"/>
                    </a:lnTo>
                    <a:lnTo>
                      <a:pt x="63" y="105"/>
                    </a:lnTo>
                    <a:lnTo>
                      <a:pt x="61" y="107"/>
                    </a:lnTo>
                    <a:lnTo>
                      <a:pt x="59" y="107"/>
                    </a:lnTo>
                    <a:lnTo>
                      <a:pt x="58" y="109"/>
                    </a:lnTo>
                    <a:lnTo>
                      <a:pt x="56" y="109"/>
                    </a:lnTo>
                    <a:lnTo>
                      <a:pt x="54" y="109"/>
                    </a:lnTo>
                    <a:lnTo>
                      <a:pt x="52" y="109"/>
                    </a:lnTo>
                    <a:lnTo>
                      <a:pt x="50" y="109"/>
                    </a:lnTo>
                    <a:lnTo>
                      <a:pt x="48" y="113"/>
                    </a:lnTo>
                    <a:lnTo>
                      <a:pt x="44" y="113"/>
                    </a:lnTo>
                    <a:lnTo>
                      <a:pt x="42" y="111"/>
                    </a:lnTo>
                    <a:lnTo>
                      <a:pt x="42" y="109"/>
                    </a:lnTo>
                    <a:lnTo>
                      <a:pt x="42" y="107"/>
                    </a:lnTo>
                    <a:lnTo>
                      <a:pt x="40" y="105"/>
                    </a:lnTo>
                    <a:lnTo>
                      <a:pt x="40" y="104"/>
                    </a:lnTo>
                    <a:lnTo>
                      <a:pt x="38" y="104"/>
                    </a:lnTo>
                    <a:lnTo>
                      <a:pt x="36" y="104"/>
                    </a:lnTo>
                    <a:lnTo>
                      <a:pt x="34" y="105"/>
                    </a:lnTo>
                    <a:lnTo>
                      <a:pt x="33" y="104"/>
                    </a:lnTo>
                    <a:lnTo>
                      <a:pt x="31" y="105"/>
                    </a:lnTo>
                    <a:lnTo>
                      <a:pt x="29" y="107"/>
                    </a:lnTo>
                    <a:lnTo>
                      <a:pt x="25" y="109"/>
                    </a:lnTo>
                    <a:lnTo>
                      <a:pt x="23" y="109"/>
                    </a:lnTo>
                    <a:lnTo>
                      <a:pt x="21" y="107"/>
                    </a:lnTo>
                    <a:lnTo>
                      <a:pt x="21" y="105"/>
                    </a:lnTo>
                    <a:lnTo>
                      <a:pt x="21" y="104"/>
                    </a:lnTo>
                    <a:lnTo>
                      <a:pt x="19" y="102"/>
                    </a:lnTo>
                    <a:lnTo>
                      <a:pt x="19" y="100"/>
                    </a:lnTo>
                    <a:lnTo>
                      <a:pt x="17" y="100"/>
                    </a:lnTo>
                    <a:lnTo>
                      <a:pt x="19" y="98"/>
                    </a:lnTo>
                    <a:lnTo>
                      <a:pt x="19" y="96"/>
                    </a:lnTo>
                    <a:lnTo>
                      <a:pt x="19" y="94"/>
                    </a:lnTo>
                    <a:lnTo>
                      <a:pt x="17" y="92"/>
                    </a:lnTo>
                    <a:lnTo>
                      <a:pt x="17" y="90"/>
                    </a:lnTo>
                    <a:lnTo>
                      <a:pt x="17" y="88"/>
                    </a:lnTo>
                    <a:lnTo>
                      <a:pt x="17" y="86"/>
                    </a:lnTo>
                    <a:lnTo>
                      <a:pt x="15" y="86"/>
                    </a:lnTo>
                    <a:lnTo>
                      <a:pt x="13" y="86"/>
                    </a:lnTo>
                    <a:lnTo>
                      <a:pt x="15" y="84"/>
                    </a:lnTo>
                    <a:lnTo>
                      <a:pt x="15" y="82"/>
                    </a:lnTo>
                    <a:lnTo>
                      <a:pt x="13" y="82"/>
                    </a:lnTo>
                    <a:lnTo>
                      <a:pt x="13" y="80"/>
                    </a:lnTo>
                    <a:lnTo>
                      <a:pt x="11" y="80"/>
                    </a:lnTo>
                    <a:lnTo>
                      <a:pt x="11" y="79"/>
                    </a:lnTo>
                    <a:lnTo>
                      <a:pt x="9" y="77"/>
                    </a:lnTo>
                    <a:lnTo>
                      <a:pt x="9" y="75"/>
                    </a:lnTo>
                    <a:lnTo>
                      <a:pt x="8" y="75"/>
                    </a:lnTo>
                    <a:lnTo>
                      <a:pt x="8" y="73"/>
                    </a:lnTo>
                    <a:lnTo>
                      <a:pt x="9" y="71"/>
                    </a:lnTo>
                    <a:lnTo>
                      <a:pt x="9" y="69"/>
                    </a:lnTo>
                    <a:lnTo>
                      <a:pt x="9" y="67"/>
                    </a:lnTo>
                    <a:lnTo>
                      <a:pt x="11" y="67"/>
                    </a:lnTo>
                    <a:lnTo>
                      <a:pt x="13" y="65"/>
                    </a:lnTo>
                    <a:lnTo>
                      <a:pt x="13" y="63"/>
                    </a:lnTo>
                    <a:lnTo>
                      <a:pt x="13" y="65"/>
                    </a:lnTo>
                    <a:lnTo>
                      <a:pt x="13" y="63"/>
                    </a:lnTo>
                    <a:lnTo>
                      <a:pt x="13" y="65"/>
                    </a:lnTo>
                    <a:lnTo>
                      <a:pt x="13" y="63"/>
                    </a:lnTo>
                    <a:lnTo>
                      <a:pt x="11" y="63"/>
                    </a:lnTo>
                    <a:lnTo>
                      <a:pt x="13" y="63"/>
                    </a:lnTo>
                    <a:lnTo>
                      <a:pt x="11" y="63"/>
                    </a:lnTo>
                    <a:lnTo>
                      <a:pt x="13" y="63"/>
                    </a:lnTo>
                    <a:lnTo>
                      <a:pt x="11" y="63"/>
                    </a:lnTo>
                    <a:lnTo>
                      <a:pt x="13" y="63"/>
                    </a:lnTo>
                    <a:lnTo>
                      <a:pt x="13" y="61"/>
                    </a:lnTo>
                    <a:lnTo>
                      <a:pt x="13" y="59"/>
                    </a:lnTo>
                    <a:lnTo>
                      <a:pt x="13" y="57"/>
                    </a:lnTo>
                    <a:lnTo>
                      <a:pt x="13" y="55"/>
                    </a:lnTo>
                    <a:lnTo>
                      <a:pt x="15" y="54"/>
                    </a:lnTo>
                    <a:lnTo>
                      <a:pt x="15" y="52"/>
                    </a:lnTo>
                    <a:lnTo>
                      <a:pt x="17" y="52"/>
                    </a:lnTo>
                    <a:lnTo>
                      <a:pt x="19" y="52"/>
                    </a:lnTo>
                    <a:lnTo>
                      <a:pt x="19" y="50"/>
                    </a:lnTo>
                    <a:lnTo>
                      <a:pt x="19" y="48"/>
                    </a:lnTo>
                    <a:lnTo>
                      <a:pt x="19" y="46"/>
                    </a:lnTo>
                    <a:lnTo>
                      <a:pt x="21" y="48"/>
                    </a:lnTo>
                    <a:lnTo>
                      <a:pt x="21" y="46"/>
                    </a:lnTo>
                    <a:lnTo>
                      <a:pt x="21" y="44"/>
                    </a:lnTo>
                    <a:lnTo>
                      <a:pt x="23" y="44"/>
                    </a:lnTo>
                    <a:lnTo>
                      <a:pt x="23" y="46"/>
                    </a:lnTo>
                    <a:lnTo>
                      <a:pt x="25" y="46"/>
                    </a:lnTo>
                    <a:lnTo>
                      <a:pt x="25" y="44"/>
                    </a:lnTo>
                    <a:lnTo>
                      <a:pt x="27" y="44"/>
                    </a:lnTo>
                    <a:lnTo>
                      <a:pt x="29" y="44"/>
                    </a:lnTo>
                    <a:lnTo>
                      <a:pt x="31" y="44"/>
                    </a:lnTo>
                    <a:lnTo>
                      <a:pt x="33" y="44"/>
                    </a:lnTo>
                    <a:lnTo>
                      <a:pt x="34" y="46"/>
                    </a:lnTo>
                    <a:lnTo>
                      <a:pt x="34" y="48"/>
                    </a:lnTo>
                    <a:lnTo>
                      <a:pt x="36" y="48"/>
                    </a:lnTo>
                    <a:lnTo>
                      <a:pt x="38" y="48"/>
                    </a:lnTo>
                    <a:lnTo>
                      <a:pt x="42" y="50"/>
                    </a:lnTo>
                    <a:lnTo>
                      <a:pt x="44" y="52"/>
                    </a:lnTo>
                    <a:lnTo>
                      <a:pt x="44" y="54"/>
                    </a:lnTo>
                    <a:lnTo>
                      <a:pt x="46" y="54"/>
                    </a:lnTo>
                    <a:lnTo>
                      <a:pt x="46" y="55"/>
                    </a:lnTo>
                    <a:lnTo>
                      <a:pt x="46" y="57"/>
                    </a:lnTo>
                    <a:lnTo>
                      <a:pt x="48" y="57"/>
                    </a:lnTo>
                    <a:lnTo>
                      <a:pt x="48" y="59"/>
                    </a:lnTo>
                    <a:lnTo>
                      <a:pt x="46" y="59"/>
                    </a:lnTo>
                    <a:lnTo>
                      <a:pt x="46" y="61"/>
                    </a:lnTo>
                    <a:lnTo>
                      <a:pt x="44" y="61"/>
                    </a:lnTo>
                    <a:lnTo>
                      <a:pt x="42" y="61"/>
                    </a:lnTo>
                    <a:lnTo>
                      <a:pt x="42" y="63"/>
                    </a:lnTo>
                    <a:lnTo>
                      <a:pt x="40" y="63"/>
                    </a:lnTo>
                    <a:lnTo>
                      <a:pt x="40" y="65"/>
                    </a:lnTo>
                    <a:lnTo>
                      <a:pt x="40" y="67"/>
                    </a:lnTo>
                    <a:lnTo>
                      <a:pt x="40" y="69"/>
                    </a:lnTo>
                    <a:lnTo>
                      <a:pt x="38" y="71"/>
                    </a:lnTo>
                    <a:lnTo>
                      <a:pt x="38" y="73"/>
                    </a:lnTo>
                    <a:lnTo>
                      <a:pt x="36" y="73"/>
                    </a:lnTo>
                    <a:lnTo>
                      <a:pt x="34" y="73"/>
                    </a:lnTo>
                    <a:lnTo>
                      <a:pt x="34" y="75"/>
                    </a:lnTo>
                    <a:lnTo>
                      <a:pt x="36" y="75"/>
                    </a:lnTo>
                    <a:lnTo>
                      <a:pt x="36" y="77"/>
                    </a:lnTo>
                    <a:lnTo>
                      <a:pt x="38" y="77"/>
                    </a:lnTo>
                    <a:lnTo>
                      <a:pt x="40" y="77"/>
                    </a:lnTo>
                    <a:lnTo>
                      <a:pt x="40" y="75"/>
                    </a:lnTo>
                    <a:lnTo>
                      <a:pt x="42" y="75"/>
                    </a:lnTo>
                    <a:lnTo>
                      <a:pt x="42" y="73"/>
                    </a:lnTo>
                    <a:lnTo>
                      <a:pt x="42" y="75"/>
                    </a:lnTo>
                    <a:lnTo>
                      <a:pt x="42" y="73"/>
                    </a:lnTo>
                    <a:lnTo>
                      <a:pt x="40" y="73"/>
                    </a:lnTo>
                    <a:lnTo>
                      <a:pt x="42" y="73"/>
                    </a:lnTo>
                    <a:lnTo>
                      <a:pt x="44" y="73"/>
                    </a:lnTo>
                    <a:lnTo>
                      <a:pt x="44" y="71"/>
                    </a:lnTo>
                    <a:lnTo>
                      <a:pt x="44" y="69"/>
                    </a:lnTo>
                    <a:lnTo>
                      <a:pt x="46" y="69"/>
                    </a:lnTo>
                    <a:lnTo>
                      <a:pt x="46" y="67"/>
                    </a:lnTo>
                    <a:lnTo>
                      <a:pt x="44" y="67"/>
                    </a:lnTo>
                    <a:lnTo>
                      <a:pt x="46" y="67"/>
                    </a:lnTo>
                    <a:lnTo>
                      <a:pt x="46" y="65"/>
                    </a:lnTo>
                    <a:lnTo>
                      <a:pt x="48" y="65"/>
                    </a:lnTo>
                    <a:lnTo>
                      <a:pt x="48" y="63"/>
                    </a:lnTo>
                    <a:lnTo>
                      <a:pt x="48" y="65"/>
                    </a:lnTo>
                    <a:lnTo>
                      <a:pt x="48" y="63"/>
                    </a:lnTo>
                    <a:lnTo>
                      <a:pt x="50" y="63"/>
                    </a:lnTo>
                    <a:lnTo>
                      <a:pt x="52" y="63"/>
                    </a:lnTo>
                    <a:lnTo>
                      <a:pt x="52" y="65"/>
                    </a:lnTo>
                    <a:lnTo>
                      <a:pt x="54" y="65"/>
                    </a:lnTo>
                    <a:lnTo>
                      <a:pt x="54" y="67"/>
                    </a:lnTo>
                    <a:lnTo>
                      <a:pt x="52" y="67"/>
                    </a:lnTo>
                    <a:lnTo>
                      <a:pt x="52" y="69"/>
                    </a:lnTo>
                    <a:lnTo>
                      <a:pt x="54" y="71"/>
                    </a:lnTo>
                    <a:lnTo>
                      <a:pt x="54" y="73"/>
                    </a:lnTo>
                    <a:lnTo>
                      <a:pt x="52" y="75"/>
                    </a:lnTo>
                    <a:lnTo>
                      <a:pt x="52" y="77"/>
                    </a:lnTo>
                    <a:lnTo>
                      <a:pt x="54" y="77"/>
                    </a:lnTo>
                    <a:lnTo>
                      <a:pt x="56" y="75"/>
                    </a:lnTo>
                    <a:lnTo>
                      <a:pt x="56" y="77"/>
                    </a:lnTo>
                    <a:lnTo>
                      <a:pt x="54" y="79"/>
                    </a:lnTo>
                    <a:lnTo>
                      <a:pt x="56" y="79"/>
                    </a:lnTo>
                    <a:lnTo>
                      <a:pt x="56" y="80"/>
                    </a:lnTo>
                    <a:lnTo>
                      <a:pt x="58" y="80"/>
                    </a:lnTo>
                    <a:lnTo>
                      <a:pt x="59" y="82"/>
                    </a:lnTo>
                    <a:lnTo>
                      <a:pt x="59" y="80"/>
                    </a:lnTo>
                    <a:lnTo>
                      <a:pt x="59" y="82"/>
                    </a:lnTo>
                    <a:lnTo>
                      <a:pt x="59" y="80"/>
                    </a:lnTo>
                    <a:lnTo>
                      <a:pt x="61" y="80"/>
                    </a:lnTo>
                    <a:lnTo>
                      <a:pt x="63" y="79"/>
                    </a:lnTo>
                    <a:lnTo>
                      <a:pt x="65" y="79"/>
                    </a:lnTo>
                    <a:lnTo>
                      <a:pt x="65" y="77"/>
                    </a:lnTo>
                    <a:lnTo>
                      <a:pt x="65" y="75"/>
                    </a:lnTo>
                    <a:lnTo>
                      <a:pt x="65" y="73"/>
                    </a:lnTo>
                    <a:lnTo>
                      <a:pt x="63" y="71"/>
                    </a:lnTo>
                    <a:lnTo>
                      <a:pt x="61" y="69"/>
                    </a:lnTo>
                    <a:lnTo>
                      <a:pt x="59" y="69"/>
                    </a:lnTo>
                    <a:lnTo>
                      <a:pt x="61" y="69"/>
                    </a:lnTo>
                    <a:lnTo>
                      <a:pt x="61" y="67"/>
                    </a:lnTo>
                    <a:lnTo>
                      <a:pt x="61" y="65"/>
                    </a:lnTo>
                    <a:lnTo>
                      <a:pt x="63" y="65"/>
                    </a:lnTo>
                    <a:lnTo>
                      <a:pt x="63" y="67"/>
                    </a:lnTo>
                    <a:lnTo>
                      <a:pt x="63" y="69"/>
                    </a:lnTo>
                    <a:lnTo>
                      <a:pt x="63" y="67"/>
                    </a:lnTo>
                    <a:lnTo>
                      <a:pt x="65" y="67"/>
                    </a:lnTo>
                    <a:lnTo>
                      <a:pt x="65" y="69"/>
                    </a:lnTo>
                    <a:lnTo>
                      <a:pt x="65" y="71"/>
                    </a:lnTo>
                    <a:lnTo>
                      <a:pt x="65" y="69"/>
                    </a:lnTo>
                    <a:lnTo>
                      <a:pt x="67" y="69"/>
                    </a:lnTo>
                    <a:lnTo>
                      <a:pt x="67" y="67"/>
                    </a:lnTo>
                    <a:lnTo>
                      <a:pt x="65" y="65"/>
                    </a:lnTo>
                    <a:lnTo>
                      <a:pt x="67" y="63"/>
                    </a:lnTo>
                    <a:lnTo>
                      <a:pt x="67" y="61"/>
                    </a:lnTo>
                    <a:lnTo>
                      <a:pt x="69" y="61"/>
                    </a:lnTo>
                    <a:lnTo>
                      <a:pt x="69" y="63"/>
                    </a:lnTo>
                    <a:lnTo>
                      <a:pt x="73" y="63"/>
                    </a:lnTo>
                    <a:lnTo>
                      <a:pt x="73" y="65"/>
                    </a:lnTo>
                    <a:lnTo>
                      <a:pt x="75" y="65"/>
                    </a:lnTo>
                    <a:lnTo>
                      <a:pt x="75" y="63"/>
                    </a:lnTo>
                    <a:lnTo>
                      <a:pt x="73" y="63"/>
                    </a:lnTo>
                    <a:lnTo>
                      <a:pt x="71" y="63"/>
                    </a:lnTo>
                    <a:lnTo>
                      <a:pt x="71" y="61"/>
                    </a:lnTo>
                    <a:lnTo>
                      <a:pt x="73" y="59"/>
                    </a:lnTo>
                    <a:lnTo>
                      <a:pt x="73" y="61"/>
                    </a:lnTo>
                    <a:lnTo>
                      <a:pt x="75" y="61"/>
                    </a:lnTo>
                    <a:lnTo>
                      <a:pt x="77" y="63"/>
                    </a:lnTo>
                    <a:lnTo>
                      <a:pt x="75" y="65"/>
                    </a:lnTo>
                    <a:lnTo>
                      <a:pt x="75" y="67"/>
                    </a:lnTo>
                    <a:lnTo>
                      <a:pt x="77" y="65"/>
                    </a:lnTo>
                    <a:lnTo>
                      <a:pt x="77" y="67"/>
                    </a:lnTo>
                    <a:lnTo>
                      <a:pt x="77" y="65"/>
                    </a:lnTo>
                    <a:lnTo>
                      <a:pt x="79" y="65"/>
                    </a:lnTo>
                    <a:lnTo>
                      <a:pt x="81" y="65"/>
                    </a:lnTo>
                    <a:lnTo>
                      <a:pt x="81" y="63"/>
                    </a:lnTo>
                    <a:lnTo>
                      <a:pt x="83" y="63"/>
                    </a:lnTo>
                    <a:lnTo>
                      <a:pt x="84" y="61"/>
                    </a:lnTo>
                    <a:lnTo>
                      <a:pt x="84" y="59"/>
                    </a:lnTo>
                    <a:lnTo>
                      <a:pt x="84" y="57"/>
                    </a:lnTo>
                    <a:lnTo>
                      <a:pt x="86" y="55"/>
                    </a:lnTo>
                    <a:lnTo>
                      <a:pt x="88" y="55"/>
                    </a:lnTo>
                    <a:lnTo>
                      <a:pt x="88" y="57"/>
                    </a:lnTo>
                    <a:lnTo>
                      <a:pt x="92" y="57"/>
                    </a:lnTo>
                    <a:lnTo>
                      <a:pt x="92" y="55"/>
                    </a:lnTo>
                    <a:lnTo>
                      <a:pt x="92" y="57"/>
                    </a:lnTo>
                    <a:lnTo>
                      <a:pt x="94" y="57"/>
                    </a:lnTo>
                    <a:lnTo>
                      <a:pt x="94" y="55"/>
                    </a:lnTo>
                    <a:lnTo>
                      <a:pt x="94" y="57"/>
                    </a:lnTo>
                    <a:lnTo>
                      <a:pt x="96" y="57"/>
                    </a:lnTo>
                    <a:lnTo>
                      <a:pt x="98" y="57"/>
                    </a:lnTo>
                    <a:lnTo>
                      <a:pt x="100" y="57"/>
                    </a:lnTo>
                    <a:lnTo>
                      <a:pt x="100" y="55"/>
                    </a:lnTo>
                    <a:lnTo>
                      <a:pt x="102" y="55"/>
                    </a:lnTo>
                    <a:lnTo>
                      <a:pt x="102" y="54"/>
                    </a:lnTo>
                    <a:lnTo>
                      <a:pt x="104" y="55"/>
                    </a:lnTo>
                    <a:lnTo>
                      <a:pt x="104" y="54"/>
                    </a:lnTo>
                    <a:lnTo>
                      <a:pt x="104" y="52"/>
                    </a:lnTo>
                    <a:lnTo>
                      <a:pt x="102" y="52"/>
                    </a:lnTo>
                    <a:lnTo>
                      <a:pt x="100" y="52"/>
                    </a:lnTo>
                    <a:lnTo>
                      <a:pt x="98" y="50"/>
                    </a:lnTo>
                    <a:lnTo>
                      <a:pt x="100" y="50"/>
                    </a:lnTo>
                    <a:lnTo>
                      <a:pt x="100" y="48"/>
                    </a:lnTo>
                    <a:lnTo>
                      <a:pt x="98" y="46"/>
                    </a:lnTo>
                    <a:lnTo>
                      <a:pt x="96" y="48"/>
                    </a:lnTo>
                    <a:lnTo>
                      <a:pt x="94" y="48"/>
                    </a:lnTo>
                    <a:lnTo>
                      <a:pt x="92" y="50"/>
                    </a:lnTo>
                    <a:lnTo>
                      <a:pt x="92" y="48"/>
                    </a:lnTo>
                    <a:lnTo>
                      <a:pt x="94" y="48"/>
                    </a:lnTo>
                    <a:lnTo>
                      <a:pt x="94" y="46"/>
                    </a:lnTo>
                    <a:lnTo>
                      <a:pt x="96" y="46"/>
                    </a:lnTo>
                    <a:lnTo>
                      <a:pt x="96" y="44"/>
                    </a:lnTo>
                    <a:lnTo>
                      <a:pt x="96" y="42"/>
                    </a:lnTo>
                    <a:lnTo>
                      <a:pt x="96" y="40"/>
                    </a:lnTo>
                    <a:lnTo>
                      <a:pt x="98" y="38"/>
                    </a:lnTo>
                    <a:lnTo>
                      <a:pt x="98" y="36"/>
                    </a:lnTo>
                    <a:lnTo>
                      <a:pt x="96" y="36"/>
                    </a:lnTo>
                    <a:lnTo>
                      <a:pt x="96" y="34"/>
                    </a:lnTo>
                    <a:lnTo>
                      <a:pt x="94" y="34"/>
                    </a:lnTo>
                    <a:lnTo>
                      <a:pt x="92" y="34"/>
                    </a:lnTo>
                    <a:lnTo>
                      <a:pt x="94" y="34"/>
                    </a:lnTo>
                    <a:lnTo>
                      <a:pt x="94" y="32"/>
                    </a:lnTo>
                    <a:lnTo>
                      <a:pt x="96" y="32"/>
                    </a:lnTo>
                    <a:lnTo>
                      <a:pt x="98" y="30"/>
                    </a:lnTo>
                    <a:lnTo>
                      <a:pt x="98" y="29"/>
                    </a:lnTo>
                    <a:lnTo>
                      <a:pt x="100" y="29"/>
                    </a:lnTo>
                    <a:lnTo>
                      <a:pt x="100" y="27"/>
                    </a:lnTo>
                    <a:lnTo>
                      <a:pt x="100" y="25"/>
                    </a:lnTo>
                    <a:lnTo>
                      <a:pt x="100" y="23"/>
                    </a:lnTo>
                    <a:lnTo>
                      <a:pt x="100" y="21"/>
                    </a:lnTo>
                    <a:lnTo>
                      <a:pt x="100" y="19"/>
                    </a:lnTo>
                    <a:lnTo>
                      <a:pt x="102" y="19"/>
                    </a:lnTo>
                    <a:lnTo>
                      <a:pt x="102" y="21"/>
                    </a:lnTo>
                    <a:lnTo>
                      <a:pt x="104" y="21"/>
                    </a:lnTo>
                    <a:lnTo>
                      <a:pt x="104" y="19"/>
                    </a:lnTo>
                    <a:lnTo>
                      <a:pt x="104" y="21"/>
                    </a:lnTo>
                    <a:lnTo>
                      <a:pt x="104" y="19"/>
                    </a:lnTo>
                    <a:lnTo>
                      <a:pt x="106" y="19"/>
                    </a:lnTo>
                    <a:lnTo>
                      <a:pt x="106" y="17"/>
                    </a:lnTo>
                    <a:lnTo>
                      <a:pt x="107" y="17"/>
                    </a:lnTo>
                    <a:lnTo>
                      <a:pt x="107" y="15"/>
                    </a:lnTo>
                    <a:lnTo>
                      <a:pt x="107" y="13"/>
                    </a:lnTo>
                    <a:lnTo>
                      <a:pt x="106" y="11"/>
                    </a:lnTo>
                    <a:lnTo>
                      <a:pt x="106" y="13"/>
                    </a:lnTo>
                    <a:lnTo>
                      <a:pt x="104" y="13"/>
                    </a:lnTo>
                    <a:lnTo>
                      <a:pt x="102" y="13"/>
                    </a:lnTo>
                    <a:lnTo>
                      <a:pt x="102" y="11"/>
                    </a:lnTo>
                    <a:lnTo>
                      <a:pt x="100" y="9"/>
                    </a:lnTo>
                    <a:lnTo>
                      <a:pt x="100" y="7"/>
                    </a:lnTo>
                    <a:lnTo>
                      <a:pt x="98" y="7"/>
                    </a:lnTo>
                    <a:lnTo>
                      <a:pt x="100" y="7"/>
                    </a:lnTo>
                    <a:lnTo>
                      <a:pt x="102" y="7"/>
                    </a:lnTo>
                    <a:lnTo>
                      <a:pt x="102" y="9"/>
                    </a:lnTo>
                    <a:lnTo>
                      <a:pt x="104" y="9"/>
                    </a:lnTo>
                    <a:lnTo>
                      <a:pt x="104" y="7"/>
                    </a:lnTo>
                    <a:lnTo>
                      <a:pt x="104" y="9"/>
                    </a:lnTo>
                    <a:lnTo>
                      <a:pt x="104" y="7"/>
                    </a:lnTo>
                    <a:lnTo>
                      <a:pt x="106" y="7"/>
                    </a:lnTo>
                    <a:lnTo>
                      <a:pt x="106" y="6"/>
                    </a:lnTo>
                    <a:lnTo>
                      <a:pt x="107" y="6"/>
                    </a:lnTo>
                    <a:lnTo>
                      <a:pt x="107" y="4"/>
                    </a:lnTo>
                    <a:lnTo>
                      <a:pt x="107" y="2"/>
                    </a:lnTo>
                    <a:lnTo>
                      <a:pt x="106" y="2"/>
                    </a:lnTo>
                    <a:lnTo>
                      <a:pt x="106" y="0"/>
                    </a:lnTo>
                    <a:lnTo>
                      <a:pt x="107" y="0"/>
                    </a:lnTo>
                    <a:lnTo>
                      <a:pt x="109" y="0"/>
                    </a:lnTo>
                    <a:lnTo>
                      <a:pt x="111" y="0"/>
                    </a:lnTo>
                    <a:lnTo>
                      <a:pt x="111" y="2"/>
                    </a:lnTo>
                    <a:lnTo>
                      <a:pt x="115" y="4"/>
                    </a:lnTo>
                    <a:lnTo>
                      <a:pt x="121" y="4"/>
                    </a:lnTo>
                    <a:lnTo>
                      <a:pt x="119" y="6"/>
                    </a:lnTo>
                    <a:lnTo>
                      <a:pt x="123" y="7"/>
                    </a:lnTo>
                    <a:lnTo>
                      <a:pt x="121" y="9"/>
                    </a:lnTo>
                    <a:lnTo>
                      <a:pt x="119" y="11"/>
                    </a:lnTo>
                    <a:lnTo>
                      <a:pt x="123" y="13"/>
                    </a:lnTo>
                    <a:lnTo>
                      <a:pt x="125" y="13"/>
                    </a:lnTo>
                    <a:lnTo>
                      <a:pt x="127" y="13"/>
                    </a:lnTo>
                    <a:lnTo>
                      <a:pt x="129" y="13"/>
                    </a:lnTo>
                    <a:lnTo>
                      <a:pt x="129" y="15"/>
                    </a:lnTo>
                    <a:lnTo>
                      <a:pt x="131" y="15"/>
                    </a:lnTo>
                    <a:lnTo>
                      <a:pt x="131" y="17"/>
                    </a:lnTo>
                    <a:lnTo>
                      <a:pt x="132" y="19"/>
                    </a:lnTo>
                    <a:lnTo>
                      <a:pt x="132" y="17"/>
                    </a:lnTo>
                    <a:lnTo>
                      <a:pt x="134" y="19"/>
                    </a:lnTo>
                    <a:lnTo>
                      <a:pt x="136" y="19"/>
                    </a:lnTo>
                    <a:lnTo>
                      <a:pt x="136" y="21"/>
                    </a:lnTo>
                    <a:lnTo>
                      <a:pt x="138" y="21"/>
                    </a:lnTo>
                    <a:lnTo>
                      <a:pt x="138" y="19"/>
                    </a:lnTo>
                    <a:lnTo>
                      <a:pt x="140" y="21"/>
                    </a:lnTo>
                    <a:lnTo>
                      <a:pt x="140" y="19"/>
                    </a:lnTo>
                    <a:lnTo>
                      <a:pt x="140" y="21"/>
                    </a:lnTo>
                    <a:lnTo>
                      <a:pt x="142" y="21"/>
                    </a:lnTo>
                    <a:lnTo>
                      <a:pt x="144" y="21"/>
                    </a:lnTo>
                    <a:lnTo>
                      <a:pt x="144" y="23"/>
                    </a:lnTo>
                    <a:lnTo>
                      <a:pt x="146" y="21"/>
                    </a:lnTo>
                    <a:lnTo>
                      <a:pt x="146" y="23"/>
                    </a:lnTo>
                    <a:lnTo>
                      <a:pt x="148" y="23"/>
                    </a:lnTo>
                    <a:lnTo>
                      <a:pt x="148" y="25"/>
                    </a:lnTo>
                    <a:lnTo>
                      <a:pt x="150" y="25"/>
                    </a:lnTo>
                    <a:lnTo>
                      <a:pt x="152" y="25"/>
                    </a:lnTo>
                    <a:lnTo>
                      <a:pt x="152" y="23"/>
                    </a:lnTo>
                    <a:lnTo>
                      <a:pt x="154" y="25"/>
                    </a:lnTo>
                    <a:lnTo>
                      <a:pt x="154" y="27"/>
                    </a:lnTo>
                    <a:lnTo>
                      <a:pt x="156" y="27"/>
                    </a:lnTo>
                    <a:lnTo>
                      <a:pt x="157" y="27"/>
                    </a:lnTo>
                    <a:lnTo>
                      <a:pt x="157" y="29"/>
                    </a:lnTo>
                    <a:lnTo>
                      <a:pt x="159" y="29"/>
                    </a:lnTo>
                    <a:lnTo>
                      <a:pt x="159" y="30"/>
                    </a:lnTo>
                    <a:lnTo>
                      <a:pt x="161" y="30"/>
                    </a:lnTo>
                    <a:lnTo>
                      <a:pt x="163" y="30"/>
                    </a:lnTo>
                    <a:lnTo>
                      <a:pt x="163" y="32"/>
                    </a:lnTo>
                    <a:lnTo>
                      <a:pt x="163" y="30"/>
                    </a:lnTo>
                    <a:lnTo>
                      <a:pt x="165" y="30"/>
                    </a:lnTo>
                    <a:lnTo>
                      <a:pt x="167" y="30"/>
                    </a:lnTo>
                    <a:lnTo>
                      <a:pt x="167" y="29"/>
                    </a:lnTo>
                    <a:lnTo>
                      <a:pt x="167" y="27"/>
                    </a:lnTo>
                    <a:lnTo>
                      <a:pt x="167" y="25"/>
                    </a:lnTo>
                    <a:lnTo>
                      <a:pt x="165" y="23"/>
                    </a:lnTo>
                    <a:lnTo>
                      <a:pt x="165" y="21"/>
                    </a:lnTo>
                    <a:lnTo>
                      <a:pt x="167" y="21"/>
                    </a:lnTo>
                    <a:lnTo>
                      <a:pt x="169" y="21"/>
                    </a:lnTo>
                    <a:lnTo>
                      <a:pt x="171" y="21"/>
                    </a:lnTo>
                    <a:lnTo>
                      <a:pt x="171" y="23"/>
                    </a:lnTo>
                    <a:lnTo>
                      <a:pt x="173" y="23"/>
                    </a:lnTo>
                    <a:lnTo>
                      <a:pt x="173" y="25"/>
                    </a:lnTo>
                    <a:lnTo>
                      <a:pt x="175" y="25"/>
                    </a:lnTo>
                    <a:lnTo>
                      <a:pt x="177" y="25"/>
                    </a:lnTo>
                    <a:lnTo>
                      <a:pt x="179" y="25"/>
                    </a:lnTo>
                    <a:lnTo>
                      <a:pt x="179" y="27"/>
                    </a:lnTo>
                    <a:lnTo>
                      <a:pt x="179" y="29"/>
                    </a:lnTo>
                    <a:lnTo>
                      <a:pt x="180" y="29"/>
                    </a:lnTo>
                    <a:lnTo>
                      <a:pt x="179" y="29"/>
                    </a:lnTo>
                    <a:lnTo>
                      <a:pt x="179" y="30"/>
                    </a:lnTo>
                    <a:lnTo>
                      <a:pt x="180" y="30"/>
                    </a:lnTo>
                    <a:lnTo>
                      <a:pt x="180" y="29"/>
                    </a:lnTo>
                    <a:lnTo>
                      <a:pt x="182" y="29"/>
                    </a:lnTo>
                    <a:lnTo>
                      <a:pt x="184" y="29"/>
                    </a:lnTo>
                    <a:lnTo>
                      <a:pt x="184" y="30"/>
                    </a:lnTo>
                    <a:lnTo>
                      <a:pt x="184" y="32"/>
                    </a:lnTo>
                    <a:lnTo>
                      <a:pt x="184" y="34"/>
                    </a:lnTo>
                    <a:lnTo>
                      <a:pt x="184" y="36"/>
                    </a:lnTo>
                    <a:lnTo>
                      <a:pt x="186" y="36"/>
                    </a:lnTo>
                    <a:lnTo>
                      <a:pt x="186" y="34"/>
                    </a:lnTo>
                    <a:lnTo>
                      <a:pt x="186" y="36"/>
                    </a:lnTo>
                    <a:lnTo>
                      <a:pt x="188" y="38"/>
                    </a:lnTo>
                    <a:lnTo>
                      <a:pt x="186" y="40"/>
                    </a:lnTo>
                    <a:lnTo>
                      <a:pt x="188" y="42"/>
                    </a:lnTo>
                    <a:lnTo>
                      <a:pt x="190" y="44"/>
                    </a:lnTo>
                    <a:lnTo>
                      <a:pt x="192" y="46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1">
                <a:extLst>
                  <a:ext uri="{FF2B5EF4-FFF2-40B4-BE49-F238E27FC236}">
                    <a16:creationId xmlns="" xmlns:a16="http://schemas.microsoft.com/office/drawing/2014/main" id="{36D331F0-283F-4D38-A8FE-B2304E4DEC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99113" y="3914776"/>
                <a:ext cx="727075" cy="1071563"/>
              </a:xfrm>
              <a:custGeom>
                <a:avLst/>
                <a:gdLst>
                  <a:gd name="T0" fmla="*/ 290 w 458"/>
                  <a:gd name="T1" fmla="*/ 50 h 675"/>
                  <a:gd name="T2" fmla="*/ 310 w 458"/>
                  <a:gd name="T3" fmla="*/ 71 h 675"/>
                  <a:gd name="T4" fmla="*/ 327 w 458"/>
                  <a:gd name="T5" fmla="*/ 100 h 675"/>
                  <a:gd name="T6" fmla="*/ 354 w 458"/>
                  <a:gd name="T7" fmla="*/ 123 h 675"/>
                  <a:gd name="T8" fmla="*/ 354 w 458"/>
                  <a:gd name="T9" fmla="*/ 146 h 675"/>
                  <a:gd name="T10" fmla="*/ 388 w 458"/>
                  <a:gd name="T11" fmla="*/ 144 h 675"/>
                  <a:gd name="T12" fmla="*/ 411 w 458"/>
                  <a:gd name="T13" fmla="*/ 160 h 675"/>
                  <a:gd name="T14" fmla="*/ 417 w 458"/>
                  <a:gd name="T15" fmla="*/ 208 h 675"/>
                  <a:gd name="T16" fmla="*/ 436 w 458"/>
                  <a:gd name="T17" fmla="*/ 231 h 675"/>
                  <a:gd name="T18" fmla="*/ 436 w 458"/>
                  <a:gd name="T19" fmla="*/ 262 h 675"/>
                  <a:gd name="T20" fmla="*/ 444 w 458"/>
                  <a:gd name="T21" fmla="*/ 302 h 675"/>
                  <a:gd name="T22" fmla="*/ 413 w 458"/>
                  <a:gd name="T23" fmla="*/ 327 h 675"/>
                  <a:gd name="T24" fmla="*/ 402 w 458"/>
                  <a:gd name="T25" fmla="*/ 369 h 675"/>
                  <a:gd name="T26" fmla="*/ 425 w 458"/>
                  <a:gd name="T27" fmla="*/ 379 h 675"/>
                  <a:gd name="T28" fmla="*/ 429 w 458"/>
                  <a:gd name="T29" fmla="*/ 417 h 675"/>
                  <a:gd name="T30" fmla="*/ 419 w 458"/>
                  <a:gd name="T31" fmla="*/ 452 h 675"/>
                  <a:gd name="T32" fmla="*/ 413 w 458"/>
                  <a:gd name="T33" fmla="*/ 494 h 675"/>
                  <a:gd name="T34" fmla="*/ 410 w 458"/>
                  <a:gd name="T35" fmla="*/ 527 h 675"/>
                  <a:gd name="T36" fmla="*/ 413 w 458"/>
                  <a:gd name="T37" fmla="*/ 550 h 675"/>
                  <a:gd name="T38" fmla="*/ 394 w 458"/>
                  <a:gd name="T39" fmla="*/ 562 h 675"/>
                  <a:gd name="T40" fmla="*/ 383 w 458"/>
                  <a:gd name="T41" fmla="*/ 587 h 675"/>
                  <a:gd name="T42" fmla="*/ 319 w 458"/>
                  <a:gd name="T43" fmla="*/ 577 h 675"/>
                  <a:gd name="T44" fmla="*/ 262 w 458"/>
                  <a:gd name="T45" fmla="*/ 573 h 675"/>
                  <a:gd name="T46" fmla="*/ 200 w 458"/>
                  <a:gd name="T47" fmla="*/ 623 h 675"/>
                  <a:gd name="T48" fmla="*/ 129 w 458"/>
                  <a:gd name="T49" fmla="*/ 664 h 675"/>
                  <a:gd name="T50" fmla="*/ 73 w 458"/>
                  <a:gd name="T51" fmla="*/ 673 h 675"/>
                  <a:gd name="T52" fmla="*/ 31 w 458"/>
                  <a:gd name="T53" fmla="*/ 665 h 675"/>
                  <a:gd name="T54" fmla="*/ 10 w 458"/>
                  <a:gd name="T55" fmla="*/ 646 h 675"/>
                  <a:gd name="T56" fmla="*/ 6 w 458"/>
                  <a:gd name="T57" fmla="*/ 608 h 675"/>
                  <a:gd name="T58" fmla="*/ 23 w 458"/>
                  <a:gd name="T59" fmla="*/ 589 h 675"/>
                  <a:gd name="T60" fmla="*/ 18 w 458"/>
                  <a:gd name="T61" fmla="*/ 552 h 675"/>
                  <a:gd name="T62" fmla="*/ 33 w 458"/>
                  <a:gd name="T63" fmla="*/ 523 h 675"/>
                  <a:gd name="T64" fmla="*/ 68 w 458"/>
                  <a:gd name="T65" fmla="*/ 508 h 675"/>
                  <a:gd name="T66" fmla="*/ 106 w 458"/>
                  <a:gd name="T67" fmla="*/ 487 h 675"/>
                  <a:gd name="T68" fmla="*/ 137 w 458"/>
                  <a:gd name="T69" fmla="*/ 452 h 675"/>
                  <a:gd name="T70" fmla="*/ 179 w 458"/>
                  <a:gd name="T71" fmla="*/ 427 h 675"/>
                  <a:gd name="T72" fmla="*/ 198 w 458"/>
                  <a:gd name="T73" fmla="*/ 392 h 675"/>
                  <a:gd name="T74" fmla="*/ 179 w 458"/>
                  <a:gd name="T75" fmla="*/ 364 h 675"/>
                  <a:gd name="T76" fmla="*/ 191 w 458"/>
                  <a:gd name="T77" fmla="*/ 333 h 675"/>
                  <a:gd name="T78" fmla="*/ 212 w 458"/>
                  <a:gd name="T79" fmla="*/ 300 h 675"/>
                  <a:gd name="T80" fmla="*/ 242 w 458"/>
                  <a:gd name="T81" fmla="*/ 273 h 675"/>
                  <a:gd name="T82" fmla="*/ 260 w 458"/>
                  <a:gd name="T83" fmla="*/ 256 h 675"/>
                  <a:gd name="T84" fmla="*/ 248 w 458"/>
                  <a:gd name="T85" fmla="*/ 227 h 675"/>
                  <a:gd name="T86" fmla="*/ 219 w 458"/>
                  <a:gd name="T87" fmla="*/ 210 h 675"/>
                  <a:gd name="T88" fmla="*/ 204 w 458"/>
                  <a:gd name="T89" fmla="*/ 164 h 675"/>
                  <a:gd name="T90" fmla="*/ 187 w 458"/>
                  <a:gd name="T91" fmla="*/ 133 h 675"/>
                  <a:gd name="T92" fmla="*/ 216 w 458"/>
                  <a:gd name="T93" fmla="*/ 118 h 675"/>
                  <a:gd name="T94" fmla="*/ 244 w 458"/>
                  <a:gd name="T95" fmla="*/ 104 h 675"/>
                  <a:gd name="T96" fmla="*/ 250 w 458"/>
                  <a:gd name="T97" fmla="*/ 81 h 675"/>
                  <a:gd name="T98" fmla="*/ 233 w 458"/>
                  <a:gd name="T99" fmla="*/ 68 h 675"/>
                  <a:gd name="T100" fmla="*/ 231 w 458"/>
                  <a:gd name="T101" fmla="*/ 35 h 675"/>
                  <a:gd name="T102" fmla="*/ 240 w 458"/>
                  <a:gd name="T103" fmla="*/ 0 h 675"/>
                  <a:gd name="T104" fmla="*/ 246 w 458"/>
                  <a:gd name="T105" fmla="*/ 469 h 675"/>
                  <a:gd name="T106" fmla="*/ 210 w 458"/>
                  <a:gd name="T107" fmla="*/ 496 h 675"/>
                  <a:gd name="T108" fmla="*/ 179 w 458"/>
                  <a:gd name="T109" fmla="*/ 535 h 675"/>
                  <a:gd name="T110" fmla="*/ 169 w 458"/>
                  <a:gd name="T111" fmla="*/ 548 h 675"/>
                  <a:gd name="T112" fmla="*/ 202 w 458"/>
                  <a:gd name="T113" fmla="*/ 569 h 675"/>
                  <a:gd name="T114" fmla="*/ 235 w 458"/>
                  <a:gd name="T115" fmla="*/ 558 h 675"/>
                  <a:gd name="T116" fmla="*/ 262 w 458"/>
                  <a:gd name="T117" fmla="*/ 546 h 675"/>
                  <a:gd name="T118" fmla="*/ 281 w 458"/>
                  <a:gd name="T119" fmla="*/ 525 h 675"/>
                  <a:gd name="T120" fmla="*/ 275 w 458"/>
                  <a:gd name="T121" fmla="*/ 510 h 675"/>
                  <a:gd name="T122" fmla="*/ 252 w 458"/>
                  <a:gd name="T123" fmla="*/ 473 h 6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58" h="675">
                    <a:moveTo>
                      <a:pt x="277" y="4"/>
                    </a:moveTo>
                    <a:lnTo>
                      <a:pt x="277" y="6"/>
                    </a:lnTo>
                    <a:lnTo>
                      <a:pt x="279" y="8"/>
                    </a:lnTo>
                    <a:lnTo>
                      <a:pt x="281" y="8"/>
                    </a:lnTo>
                    <a:lnTo>
                      <a:pt x="279" y="10"/>
                    </a:lnTo>
                    <a:lnTo>
                      <a:pt x="281" y="12"/>
                    </a:lnTo>
                    <a:lnTo>
                      <a:pt x="283" y="16"/>
                    </a:lnTo>
                    <a:lnTo>
                      <a:pt x="281" y="16"/>
                    </a:lnTo>
                    <a:lnTo>
                      <a:pt x="281" y="18"/>
                    </a:lnTo>
                    <a:lnTo>
                      <a:pt x="281" y="20"/>
                    </a:lnTo>
                    <a:lnTo>
                      <a:pt x="281" y="21"/>
                    </a:lnTo>
                    <a:lnTo>
                      <a:pt x="281" y="23"/>
                    </a:lnTo>
                    <a:lnTo>
                      <a:pt x="281" y="25"/>
                    </a:lnTo>
                    <a:lnTo>
                      <a:pt x="283" y="27"/>
                    </a:lnTo>
                    <a:lnTo>
                      <a:pt x="281" y="27"/>
                    </a:lnTo>
                    <a:lnTo>
                      <a:pt x="283" y="29"/>
                    </a:lnTo>
                    <a:lnTo>
                      <a:pt x="283" y="31"/>
                    </a:lnTo>
                    <a:lnTo>
                      <a:pt x="283" y="33"/>
                    </a:lnTo>
                    <a:lnTo>
                      <a:pt x="283" y="35"/>
                    </a:lnTo>
                    <a:lnTo>
                      <a:pt x="283" y="37"/>
                    </a:lnTo>
                    <a:lnTo>
                      <a:pt x="285" y="37"/>
                    </a:lnTo>
                    <a:lnTo>
                      <a:pt x="287" y="37"/>
                    </a:lnTo>
                    <a:lnTo>
                      <a:pt x="287" y="39"/>
                    </a:lnTo>
                    <a:lnTo>
                      <a:pt x="289" y="41"/>
                    </a:lnTo>
                    <a:lnTo>
                      <a:pt x="287" y="41"/>
                    </a:lnTo>
                    <a:lnTo>
                      <a:pt x="287" y="43"/>
                    </a:lnTo>
                    <a:lnTo>
                      <a:pt x="289" y="43"/>
                    </a:lnTo>
                    <a:lnTo>
                      <a:pt x="289" y="44"/>
                    </a:lnTo>
                    <a:lnTo>
                      <a:pt x="289" y="46"/>
                    </a:lnTo>
                    <a:lnTo>
                      <a:pt x="289" y="48"/>
                    </a:lnTo>
                    <a:lnTo>
                      <a:pt x="290" y="50"/>
                    </a:lnTo>
                    <a:lnTo>
                      <a:pt x="292" y="50"/>
                    </a:lnTo>
                    <a:lnTo>
                      <a:pt x="292" y="48"/>
                    </a:lnTo>
                    <a:lnTo>
                      <a:pt x="292" y="44"/>
                    </a:lnTo>
                    <a:lnTo>
                      <a:pt x="292" y="43"/>
                    </a:lnTo>
                    <a:lnTo>
                      <a:pt x="294" y="43"/>
                    </a:lnTo>
                    <a:lnTo>
                      <a:pt x="296" y="41"/>
                    </a:lnTo>
                    <a:lnTo>
                      <a:pt x="296" y="43"/>
                    </a:lnTo>
                    <a:lnTo>
                      <a:pt x="298" y="43"/>
                    </a:lnTo>
                    <a:lnTo>
                      <a:pt x="300" y="43"/>
                    </a:lnTo>
                    <a:lnTo>
                      <a:pt x="300" y="44"/>
                    </a:lnTo>
                    <a:lnTo>
                      <a:pt x="300" y="46"/>
                    </a:lnTo>
                    <a:lnTo>
                      <a:pt x="298" y="46"/>
                    </a:lnTo>
                    <a:lnTo>
                      <a:pt x="298" y="48"/>
                    </a:lnTo>
                    <a:lnTo>
                      <a:pt x="298" y="50"/>
                    </a:lnTo>
                    <a:lnTo>
                      <a:pt x="298" y="52"/>
                    </a:lnTo>
                    <a:lnTo>
                      <a:pt x="298" y="54"/>
                    </a:lnTo>
                    <a:lnTo>
                      <a:pt x="300" y="54"/>
                    </a:lnTo>
                    <a:lnTo>
                      <a:pt x="300" y="56"/>
                    </a:lnTo>
                    <a:lnTo>
                      <a:pt x="302" y="58"/>
                    </a:lnTo>
                    <a:lnTo>
                      <a:pt x="302" y="56"/>
                    </a:lnTo>
                    <a:lnTo>
                      <a:pt x="304" y="58"/>
                    </a:lnTo>
                    <a:lnTo>
                      <a:pt x="306" y="60"/>
                    </a:lnTo>
                    <a:lnTo>
                      <a:pt x="306" y="62"/>
                    </a:lnTo>
                    <a:lnTo>
                      <a:pt x="308" y="62"/>
                    </a:lnTo>
                    <a:lnTo>
                      <a:pt x="308" y="64"/>
                    </a:lnTo>
                    <a:lnTo>
                      <a:pt x="308" y="66"/>
                    </a:lnTo>
                    <a:lnTo>
                      <a:pt x="310" y="66"/>
                    </a:lnTo>
                    <a:lnTo>
                      <a:pt x="310" y="68"/>
                    </a:lnTo>
                    <a:lnTo>
                      <a:pt x="312" y="69"/>
                    </a:lnTo>
                    <a:lnTo>
                      <a:pt x="312" y="71"/>
                    </a:lnTo>
                    <a:lnTo>
                      <a:pt x="310" y="71"/>
                    </a:lnTo>
                    <a:lnTo>
                      <a:pt x="310" y="73"/>
                    </a:lnTo>
                    <a:lnTo>
                      <a:pt x="310" y="75"/>
                    </a:lnTo>
                    <a:lnTo>
                      <a:pt x="310" y="77"/>
                    </a:lnTo>
                    <a:lnTo>
                      <a:pt x="312" y="77"/>
                    </a:lnTo>
                    <a:lnTo>
                      <a:pt x="312" y="79"/>
                    </a:lnTo>
                    <a:lnTo>
                      <a:pt x="313" y="79"/>
                    </a:lnTo>
                    <a:lnTo>
                      <a:pt x="313" y="81"/>
                    </a:lnTo>
                    <a:lnTo>
                      <a:pt x="315" y="81"/>
                    </a:lnTo>
                    <a:lnTo>
                      <a:pt x="317" y="81"/>
                    </a:lnTo>
                    <a:lnTo>
                      <a:pt x="319" y="81"/>
                    </a:lnTo>
                    <a:lnTo>
                      <a:pt x="319" y="83"/>
                    </a:lnTo>
                    <a:lnTo>
                      <a:pt x="319" y="85"/>
                    </a:lnTo>
                    <a:lnTo>
                      <a:pt x="321" y="85"/>
                    </a:lnTo>
                    <a:lnTo>
                      <a:pt x="323" y="85"/>
                    </a:lnTo>
                    <a:lnTo>
                      <a:pt x="321" y="85"/>
                    </a:lnTo>
                    <a:lnTo>
                      <a:pt x="321" y="87"/>
                    </a:lnTo>
                    <a:lnTo>
                      <a:pt x="321" y="89"/>
                    </a:lnTo>
                    <a:lnTo>
                      <a:pt x="319" y="91"/>
                    </a:lnTo>
                    <a:lnTo>
                      <a:pt x="317" y="93"/>
                    </a:lnTo>
                    <a:lnTo>
                      <a:pt x="319" y="93"/>
                    </a:lnTo>
                    <a:lnTo>
                      <a:pt x="317" y="94"/>
                    </a:lnTo>
                    <a:lnTo>
                      <a:pt x="317" y="96"/>
                    </a:lnTo>
                    <a:lnTo>
                      <a:pt x="319" y="96"/>
                    </a:lnTo>
                    <a:lnTo>
                      <a:pt x="319" y="98"/>
                    </a:lnTo>
                    <a:lnTo>
                      <a:pt x="321" y="98"/>
                    </a:lnTo>
                    <a:lnTo>
                      <a:pt x="321" y="96"/>
                    </a:lnTo>
                    <a:lnTo>
                      <a:pt x="323" y="96"/>
                    </a:lnTo>
                    <a:lnTo>
                      <a:pt x="323" y="98"/>
                    </a:lnTo>
                    <a:lnTo>
                      <a:pt x="323" y="100"/>
                    </a:lnTo>
                    <a:lnTo>
                      <a:pt x="325" y="98"/>
                    </a:lnTo>
                    <a:lnTo>
                      <a:pt x="327" y="100"/>
                    </a:lnTo>
                    <a:lnTo>
                      <a:pt x="325" y="102"/>
                    </a:lnTo>
                    <a:lnTo>
                      <a:pt x="325" y="104"/>
                    </a:lnTo>
                    <a:lnTo>
                      <a:pt x="325" y="106"/>
                    </a:lnTo>
                    <a:lnTo>
                      <a:pt x="327" y="106"/>
                    </a:lnTo>
                    <a:lnTo>
                      <a:pt x="327" y="108"/>
                    </a:lnTo>
                    <a:lnTo>
                      <a:pt x="329" y="108"/>
                    </a:lnTo>
                    <a:lnTo>
                      <a:pt x="331" y="108"/>
                    </a:lnTo>
                    <a:lnTo>
                      <a:pt x="331" y="110"/>
                    </a:lnTo>
                    <a:lnTo>
                      <a:pt x="331" y="112"/>
                    </a:lnTo>
                    <a:lnTo>
                      <a:pt x="333" y="112"/>
                    </a:lnTo>
                    <a:lnTo>
                      <a:pt x="335" y="112"/>
                    </a:lnTo>
                    <a:lnTo>
                      <a:pt x="335" y="110"/>
                    </a:lnTo>
                    <a:lnTo>
                      <a:pt x="337" y="110"/>
                    </a:lnTo>
                    <a:lnTo>
                      <a:pt x="337" y="112"/>
                    </a:lnTo>
                    <a:lnTo>
                      <a:pt x="338" y="112"/>
                    </a:lnTo>
                    <a:lnTo>
                      <a:pt x="340" y="112"/>
                    </a:lnTo>
                    <a:lnTo>
                      <a:pt x="340" y="110"/>
                    </a:lnTo>
                    <a:lnTo>
                      <a:pt x="342" y="110"/>
                    </a:lnTo>
                    <a:lnTo>
                      <a:pt x="342" y="112"/>
                    </a:lnTo>
                    <a:lnTo>
                      <a:pt x="342" y="114"/>
                    </a:lnTo>
                    <a:lnTo>
                      <a:pt x="342" y="116"/>
                    </a:lnTo>
                    <a:lnTo>
                      <a:pt x="346" y="118"/>
                    </a:lnTo>
                    <a:lnTo>
                      <a:pt x="346" y="116"/>
                    </a:lnTo>
                    <a:lnTo>
                      <a:pt x="348" y="116"/>
                    </a:lnTo>
                    <a:lnTo>
                      <a:pt x="348" y="118"/>
                    </a:lnTo>
                    <a:lnTo>
                      <a:pt x="348" y="119"/>
                    </a:lnTo>
                    <a:lnTo>
                      <a:pt x="350" y="119"/>
                    </a:lnTo>
                    <a:lnTo>
                      <a:pt x="352" y="119"/>
                    </a:lnTo>
                    <a:lnTo>
                      <a:pt x="354" y="119"/>
                    </a:lnTo>
                    <a:lnTo>
                      <a:pt x="354" y="121"/>
                    </a:lnTo>
                    <a:lnTo>
                      <a:pt x="354" y="123"/>
                    </a:lnTo>
                    <a:lnTo>
                      <a:pt x="352" y="123"/>
                    </a:lnTo>
                    <a:lnTo>
                      <a:pt x="352" y="125"/>
                    </a:lnTo>
                    <a:lnTo>
                      <a:pt x="350" y="125"/>
                    </a:lnTo>
                    <a:lnTo>
                      <a:pt x="348" y="125"/>
                    </a:lnTo>
                    <a:lnTo>
                      <a:pt x="348" y="127"/>
                    </a:lnTo>
                    <a:lnTo>
                      <a:pt x="346" y="127"/>
                    </a:lnTo>
                    <a:lnTo>
                      <a:pt x="344" y="127"/>
                    </a:lnTo>
                    <a:lnTo>
                      <a:pt x="344" y="129"/>
                    </a:lnTo>
                    <a:lnTo>
                      <a:pt x="342" y="131"/>
                    </a:lnTo>
                    <a:lnTo>
                      <a:pt x="340" y="133"/>
                    </a:lnTo>
                    <a:lnTo>
                      <a:pt x="340" y="135"/>
                    </a:lnTo>
                    <a:lnTo>
                      <a:pt x="340" y="137"/>
                    </a:lnTo>
                    <a:lnTo>
                      <a:pt x="342" y="137"/>
                    </a:lnTo>
                    <a:lnTo>
                      <a:pt x="342" y="139"/>
                    </a:lnTo>
                    <a:lnTo>
                      <a:pt x="344" y="139"/>
                    </a:lnTo>
                    <a:lnTo>
                      <a:pt x="344" y="141"/>
                    </a:lnTo>
                    <a:lnTo>
                      <a:pt x="346" y="141"/>
                    </a:lnTo>
                    <a:lnTo>
                      <a:pt x="346" y="143"/>
                    </a:lnTo>
                    <a:lnTo>
                      <a:pt x="346" y="144"/>
                    </a:lnTo>
                    <a:lnTo>
                      <a:pt x="346" y="146"/>
                    </a:lnTo>
                    <a:lnTo>
                      <a:pt x="346" y="148"/>
                    </a:lnTo>
                    <a:lnTo>
                      <a:pt x="348" y="148"/>
                    </a:lnTo>
                    <a:lnTo>
                      <a:pt x="348" y="150"/>
                    </a:lnTo>
                    <a:lnTo>
                      <a:pt x="348" y="148"/>
                    </a:lnTo>
                    <a:lnTo>
                      <a:pt x="348" y="150"/>
                    </a:lnTo>
                    <a:lnTo>
                      <a:pt x="348" y="152"/>
                    </a:lnTo>
                    <a:lnTo>
                      <a:pt x="348" y="150"/>
                    </a:lnTo>
                    <a:lnTo>
                      <a:pt x="350" y="148"/>
                    </a:lnTo>
                    <a:lnTo>
                      <a:pt x="350" y="146"/>
                    </a:lnTo>
                    <a:lnTo>
                      <a:pt x="352" y="146"/>
                    </a:lnTo>
                    <a:lnTo>
                      <a:pt x="354" y="146"/>
                    </a:lnTo>
                    <a:lnTo>
                      <a:pt x="354" y="148"/>
                    </a:lnTo>
                    <a:lnTo>
                      <a:pt x="356" y="148"/>
                    </a:lnTo>
                    <a:lnTo>
                      <a:pt x="358" y="148"/>
                    </a:lnTo>
                    <a:lnTo>
                      <a:pt x="360" y="146"/>
                    </a:lnTo>
                    <a:lnTo>
                      <a:pt x="358" y="146"/>
                    </a:lnTo>
                    <a:lnTo>
                      <a:pt x="358" y="144"/>
                    </a:lnTo>
                    <a:lnTo>
                      <a:pt x="360" y="143"/>
                    </a:lnTo>
                    <a:lnTo>
                      <a:pt x="362" y="143"/>
                    </a:lnTo>
                    <a:lnTo>
                      <a:pt x="363" y="143"/>
                    </a:lnTo>
                    <a:lnTo>
                      <a:pt x="363" y="141"/>
                    </a:lnTo>
                    <a:lnTo>
                      <a:pt x="365" y="139"/>
                    </a:lnTo>
                    <a:lnTo>
                      <a:pt x="367" y="139"/>
                    </a:lnTo>
                    <a:lnTo>
                      <a:pt x="367" y="137"/>
                    </a:lnTo>
                    <a:lnTo>
                      <a:pt x="369" y="135"/>
                    </a:lnTo>
                    <a:lnTo>
                      <a:pt x="371" y="135"/>
                    </a:lnTo>
                    <a:lnTo>
                      <a:pt x="373" y="133"/>
                    </a:lnTo>
                    <a:lnTo>
                      <a:pt x="375" y="133"/>
                    </a:lnTo>
                    <a:lnTo>
                      <a:pt x="377" y="133"/>
                    </a:lnTo>
                    <a:lnTo>
                      <a:pt x="377" y="131"/>
                    </a:lnTo>
                    <a:lnTo>
                      <a:pt x="379" y="131"/>
                    </a:lnTo>
                    <a:lnTo>
                      <a:pt x="381" y="131"/>
                    </a:lnTo>
                    <a:lnTo>
                      <a:pt x="381" y="133"/>
                    </a:lnTo>
                    <a:lnTo>
                      <a:pt x="381" y="135"/>
                    </a:lnTo>
                    <a:lnTo>
                      <a:pt x="383" y="135"/>
                    </a:lnTo>
                    <a:lnTo>
                      <a:pt x="383" y="137"/>
                    </a:lnTo>
                    <a:lnTo>
                      <a:pt x="383" y="139"/>
                    </a:lnTo>
                    <a:lnTo>
                      <a:pt x="383" y="141"/>
                    </a:lnTo>
                    <a:lnTo>
                      <a:pt x="385" y="143"/>
                    </a:lnTo>
                    <a:lnTo>
                      <a:pt x="386" y="143"/>
                    </a:lnTo>
                    <a:lnTo>
                      <a:pt x="386" y="144"/>
                    </a:lnTo>
                    <a:lnTo>
                      <a:pt x="388" y="144"/>
                    </a:lnTo>
                    <a:lnTo>
                      <a:pt x="388" y="146"/>
                    </a:lnTo>
                    <a:lnTo>
                      <a:pt x="386" y="146"/>
                    </a:lnTo>
                    <a:lnTo>
                      <a:pt x="386" y="150"/>
                    </a:lnTo>
                    <a:lnTo>
                      <a:pt x="388" y="150"/>
                    </a:lnTo>
                    <a:lnTo>
                      <a:pt x="388" y="152"/>
                    </a:lnTo>
                    <a:lnTo>
                      <a:pt x="390" y="154"/>
                    </a:lnTo>
                    <a:lnTo>
                      <a:pt x="390" y="156"/>
                    </a:lnTo>
                    <a:lnTo>
                      <a:pt x="392" y="158"/>
                    </a:lnTo>
                    <a:lnTo>
                      <a:pt x="392" y="160"/>
                    </a:lnTo>
                    <a:lnTo>
                      <a:pt x="392" y="162"/>
                    </a:lnTo>
                    <a:lnTo>
                      <a:pt x="392" y="164"/>
                    </a:lnTo>
                    <a:lnTo>
                      <a:pt x="394" y="164"/>
                    </a:lnTo>
                    <a:lnTo>
                      <a:pt x="396" y="166"/>
                    </a:lnTo>
                    <a:lnTo>
                      <a:pt x="396" y="164"/>
                    </a:lnTo>
                    <a:lnTo>
                      <a:pt x="398" y="164"/>
                    </a:lnTo>
                    <a:lnTo>
                      <a:pt x="398" y="162"/>
                    </a:lnTo>
                    <a:lnTo>
                      <a:pt x="400" y="162"/>
                    </a:lnTo>
                    <a:lnTo>
                      <a:pt x="402" y="162"/>
                    </a:lnTo>
                    <a:lnTo>
                      <a:pt x="402" y="158"/>
                    </a:lnTo>
                    <a:lnTo>
                      <a:pt x="402" y="156"/>
                    </a:lnTo>
                    <a:lnTo>
                      <a:pt x="402" y="154"/>
                    </a:lnTo>
                    <a:lnTo>
                      <a:pt x="404" y="154"/>
                    </a:lnTo>
                    <a:lnTo>
                      <a:pt x="404" y="152"/>
                    </a:lnTo>
                    <a:lnTo>
                      <a:pt x="406" y="152"/>
                    </a:lnTo>
                    <a:lnTo>
                      <a:pt x="408" y="154"/>
                    </a:lnTo>
                    <a:lnTo>
                      <a:pt x="408" y="152"/>
                    </a:lnTo>
                    <a:lnTo>
                      <a:pt x="410" y="154"/>
                    </a:lnTo>
                    <a:lnTo>
                      <a:pt x="410" y="156"/>
                    </a:lnTo>
                    <a:lnTo>
                      <a:pt x="411" y="156"/>
                    </a:lnTo>
                    <a:lnTo>
                      <a:pt x="411" y="158"/>
                    </a:lnTo>
                    <a:lnTo>
                      <a:pt x="411" y="160"/>
                    </a:lnTo>
                    <a:lnTo>
                      <a:pt x="413" y="158"/>
                    </a:lnTo>
                    <a:lnTo>
                      <a:pt x="413" y="160"/>
                    </a:lnTo>
                    <a:lnTo>
                      <a:pt x="415" y="164"/>
                    </a:lnTo>
                    <a:lnTo>
                      <a:pt x="415" y="166"/>
                    </a:lnTo>
                    <a:lnTo>
                      <a:pt x="415" y="168"/>
                    </a:lnTo>
                    <a:lnTo>
                      <a:pt x="415" y="169"/>
                    </a:lnTo>
                    <a:lnTo>
                      <a:pt x="417" y="169"/>
                    </a:lnTo>
                    <a:lnTo>
                      <a:pt x="417" y="171"/>
                    </a:lnTo>
                    <a:lnTo>
                      <a:pt x="417" y="173"/>
                    </a:lnTo>
                    <a:lnTo>
                      <a:pt x="415" y="173"/>
                    </a:lnTo>
                    <a:lnTo>
                      <a:pt x="417" y="175"/>
                    </a:lnTo>
                    <a:lnTo>
                      <a:pt x="417" y="177"/>
                    </a:lnTo>
                    <a:lnTo>
                      <a:pt x="419" y="179"/>
                    </a:lnTo>
                    <a:lnTo>
                      <a:pt x="421" y="179"/>
                    </a:lnTo>
                    <a:lnTo>
                      <a:pt x="421" y="181"/>
                    </a:lnTo>
                    <a:lnTo>
                      <a:pt x="419" y="181"/>
                    </a:lnTo>
                    <a:lnTo>
                      <a:pt x="419" y="185"/>
                    </a:lnTo>
                    <a:lnTo>
                      <a:pt x="419" y="187"/>
                    </a:lnTo>
                    <a:lnTo>
                      <a:pt x="421" y="187"/>
                    </a:lnTo>
                    <a:lnTo>
                      <a:pt x="421" y="189"/>
                    </a:lnTo>
                    <a:lnTo>
                      <a:pt x="421" y="191"/>
                    </a:lnTo>
                    <a:lnTo>
                      <a:pt x="421" y="193"/>
                    </a:lnTo>
                    <a:lnTo>
                      <a:pt x="421" y="194"/>
                    </a:lnTo>
                    <a:lnTo>
                      <a:pt x="419" y="194"/>
                    </a:lnTo>
                    <a:lnTo>
                      <a:pt x="419" y="196"/>
                    </a:lnTo>
                    <a:lnTo>
                      <a:pt x="419" y="198"/>
                    </a:lnTo>
                    <a:lnTo>
                      <a:pt x="419" y="200"/>
                    </a:lnTo>
                    <a:lnTo>
                      <a:pt x="417" y="202"/>
                    </a:lnTo>
                    <a:lnTo>
                      <a:pt x="417" y="204"/>
                    </a:lnTo>
                    <a:lnTo>
                      <a:pt x="415" y="206"/>
                    </a:lnTo>
                    <a:lnTo>
                      <a:pt x="417" y="208"/>
                    </a:lnTo>
                    <a:lnTo>
                      <a:pt x="417" y="210"/>
                    </a:lnTo>
                    <a:lnTo>
                      <a:pt x="417" y="212"/>
                    </a:lnTo>
                    <a:lnTo>
                      <a:pt x="417" y="214"/>
                    </a:lnTo>
                    <a:lnTo>
                      <a:pt x="419" y="214"/>
                    </a:lnTo>
                    <a:lnTo>
                      <a:pt x="419" y="212"/>
                    </a:lnTo>
                    <a:lnTo>
                      <a:pt x="419" y="210"/>
                    </a:lnTo>
                    <a:lnTo>
                      <a:pt x="421" y="210"/>
                    </a:lnTo>
                    <a:lnTo>
                      <a:pt x="421" y="208"/>
                    </a:lnTo>
                    <a:lnTo>
                      <a:pt x="423" y="208"/>
                    </a:lnTo>
                    <a:lnTo>
                      <a:pt x="423" y="206"/>
                    </a:lnTo>
                    <a:lnTo>
                      <a:pt x="425" y="206"/>
                    </a:lnTo>
                    <a:lnTo>
                      <a:pt x="425" y="208"/>
                    </a:lnTo>
                    <a:lnTo>
                      <a:pt x="425" y="210"/>
                    </a:lnTo>
                    <a:lnTo>
                      <a:pt x="427" y="210"/>
                    </a:lnTo>
                    <a:lnTo>
                      <a:pt x="427" y="212"/>
                    </a:lnTo>
                    <a:lnTo>
                      <a:pt x="427" y="214"/>
                    </a:lnTo>
                    <a:lnTo>
                      <a:pt x="427" y="216"/>
                    </a:lnTo>
                    <a:lnTo>
                      <a:pt x="429" y="218"/>
                    </a:lnTo>
                    <a:lnTo>
                      <a:pt x="429" y="219"/>
                    </a:lnTo>
                    <a:lnTo>
                      <a:pt x="429" y="221"/>
                    </a:lnTo>
                    <a:lnTo>
                      <a:pt x="431" y="221"/>
                    </a:lnTo>
                    <a:lnTo>
                      <a:pt x="433" y="221"/>
                    </a:lnTo>
                    <a:lnTo>
                      <a:pt x="433" y="223"/>
                    </a:lnTo>
                    <a:lnTo>
                      <a:pt x="435" y="223"/>
                    </a:lnTo>
                    <a:lnTo>
                      <a:pt x="436" y="225"/>
                    </a:lnTo>
                    <a:lnTo>
                      <a:pt x="438" y="225"/>
                    </a:lnTo>
                    <a:lnTo>
                      <a:pt x="438" y="227"/>
                    </a:lnTo>
                    <a:lnTo>
                      <a:pt x="438" y="229"/>
                    </a:lnTo>
                    <a:lnTo>
                      <a:pt x="438" y="231"/>
                    </a:lnTo>
                    <a:lnTo>
                      <a:pt x="436" y="229"/>
                    </a:lnTo>
                    <a:lnTo>
                      <a:pt x="436" y="231"/>
                    </a:lnTo>
                    <a:lnTo>
                      <a:pt x="435" y="233"/>
                    </a:lnTo>
                    <a:lnTo>
                      <a:pt x="433" y="235"/>
                    </a:lnTo>
                    <a:lnTo>
                      <a:pt x="431" y="233"/>
                    </a:lnTo>
                    <a:lnTo>
                      <a:pt x="431" y="231"/>
                    </a:lnTo>
                    <a:lnTo>
                      <a:pt x="429" y="231"/>
                    </a:lnTo>
                    <a:lnTo>
                      <a:pt x="427" y="231"/>
                    </a:lnTo>
                    <a:lnTo>
                      <a:pt x="425" y="233"/>
                    </a:lnTo>
                    <a:lnTo>
                      <a:pt x="425" y="235"/>
                    </a:lnTo>
                    <a:lnTo>
                      <a:pt x="425" y="237"/>
                    </a:lnTo>
                    <a:lnTo>
                      <a:pt x="425" y="239"/>
                    </a:lnTo>
                    <a:lnTo>
                      <a:pt x="427" y="239"/>
                    </a:lnTo>
                    <a:lnTo>
                      <a:pt x="427" y="241"/>
                    </a:lnTo>
                    <a:lnTo>
                      <a:pt x="429" y="243"/>
                    </a:lnTo>
                    <a:lnTo>
                      <a:pt x="429" y="244"/>
                    </a:lnTo>
                    <a:lnTo>
                      <a:pt x="429" y="246"/>
                    </a:lnTo>
                    <a:lnTo>
                      <a:pt x="431" y="246"/>
                    </a:lnTo>
                    <a:lnTo>
                      <a:pt x="431" y="248"/>
                    </a:lnTo>
                    <a:lnTo>
                      <a:pt x="431" y="250"/>
                    </a:lnTo>
                    <a:lnTo>
                      <a:pt x="431" y="252"/>
                    </a:lnTo>
                    <a:lnTo>
                      <a:pt x="429" y="252"/>
                    </a:lnTo>
                    <a:lnTo>
                      <a:pt x="429" y="254"/>
                    </a:lnTo>
                    <a:lnTo>
                      <a:pt x="429" y="256"/>
                    </a:lnTo>
                    <a:lnTo>
                      <a:pt x="429" y="258"/>
                    </a:lnTo>
                    <a:lnTo>
                      <a:pt x="431" y="258"/>
                    </a:lnTo>
                    <a:lnTo>
                      <a:pt x="431" y="260"/>
                    </a:lnTo>
                    <a:lnTo>
                      <a:pt x="433" y="260"/>
                    </a:lnTo>
                    <a:lnTo>
                      <a:pt x="433" y="262"/>
                    </a:lnTo>
                    <a:lnTo>
                      <a:pt x="435" y="262"/>
                    </a:lnTo>
                    <a:lnTo>
                      <a:pt x="435" y="264"/>
                    </a:lnTo>
                    <a:lnTo>
                      <a:pt x="436" y="264"/>
                    </a:lnTo>
                    <a:lnTo>
                      <a:pt x="436" y="262"/>
                    </a:lnTo>
                    <a:lnTo>
                      <a:pt x="438" y="264"/>
                    </a:lnTo>
                    <a:lnTo>
                      <a:pt x="438" y="266"/>
                    </a:lnTo>
                    <a:lnTo>
                      <a:pt x="440" y="268"/>
                    </a:lnTo>
                    <a:lnTo>
                      <a:pt x="442" y="268"/>
                    </a:lnTo>
                    <a:lnTo>
                      <a:pt x="442" y="269"/>
                    </a:lnTo>
                    <a:lnTo>
                      <a:pt x="444" y="271"/>
                    </a:lnTo>
                    <a:lnTo>
                      <a:pt x="444" y="273"/>
                    </a:lnTo>
                    <a:lnTo>
                      <a:pt x="444" y="275"/>
                    </a:lnTo>
                    <a:lnTo>
                      <a:pt x="444" y="277"/>
                    </a:lnTo>
                    <a:lnTo>
                      <a:pt x="446" y="277"/>
                    </a:lnTo>
                    <a:lnTo>
                      <a:pt x="448" y="281"/>
                    </a:lnTo>
                    <a:lnTo>
                      <a:pt x="448" y="283"/>
                    </a:lnTo>
                    <a:lnTo>
                      <a:pt x="448" y="285"/>
                    </a:lnTo>
                    <a:lnTo>
                      <a:pt x="450" y="285"/>
                    </a:lnTo>
                    <a:lnTo>
                      <a:pt x="450" y="287"/>
                    </a:lnTo>
                    <a:lnTo>
                      <a:pt x="450" y="289"/>
                    </a:lnTo>
                    <a:lnTo>
                      <a:pt x="452" y="289"/>
                    </a:lnTo>
                    <a:lnTo>
                      <a:pt x="452" y="291"/>
                    </a:lnTo>
                    <a:lnTo>
                      <a:pt x="456" y="292"/>
                    </a:lnTo>
                    <a:lnTo>
                      <a:pt x="456" y="294"/>
                    </a:lnTo>
                    <a:lnTo>
                      <a:pt x="458" y="294"/>
                    </a:lnTo>
                    <a:lnTo>
                      <a:pt x="456" y="294"/>
                    </a:lnTo>
                    <a:lnTo>
                      <a:pt x="456" y="296"/>
                    </a:lnTo>
                    <a:lnTo>
                      <a:pt x="454" y="296"/>
                    </a:lnTo>
                    <a:lnTo>
                      <a:pt x="452" y="296"/>
                    </a:lnTo>
                    <a:lnTo>
                      <a:pt x="450" y="296"/>
                    </a:lnTo>
                    <a:lnTo>
                      <a:pt x="450" y="298"/>
                    </a:lnTo>
                    <a:lnTo>
                      <a:pt x="448" y="298"/>
                    </a:lnTo>
                    <a:lnTo>
                      <a:pt x="446" y="298"/>
                    </a:lnTo>
                    <a:lnTo>
                      <a:pt x="446" y="300"/>
                    </a:lnTo>
                    <a:lnTo>
                      <a:pt x="444" y="302"/>
                    </a:lnTo>
                    <a:lnTo>
                      <a:pt x="442" y="302"/>
                    </a:lnTo>
                    <a:lnTo>
                      <a:pt x="442" y="304"/>
                    </a:lnTo>
                    <a:lnTo>
                      <a:pt x="440" y="304"/>
                    </a:lnTo>
                    <a:lnTo>
                      <a:pt x="438" y="306"/>
                    </a:lnTo>
                    <a:lnTo>
                      <a:pt x="438" y="308"/>
                    </a:lnTo>
                    <a:lnTo>
                      <a:pt x="436" y="308"/>
                    </a:lnTo>
                    <a:lnTo>
                      <a:pt x="435" y="308"/>
                    </a:lnTo>
                    <a:lnTo>
                      <a:pt x="435" y="310"/>
                    </a:lnTo>
                    <a:lnTo>
                      <a:pt x="435" y="308"/>
                    </a:lnTo>
                    <a:lnTo>
                      <a:pt x="433" y="310"/>
                    </a:lnTo>
                    <a:lnTo>
                      <a:pt x="433" y="312"/>
                    </a:lnTo>
                    <a:lnTo>
                      <a:pt x="431" y="312"/>
                    </a:lnTo>
                    <a:lnTo>
                      <a:pt x="431" y="314"/>
                    </a:lnTo>
                    <a:lnTo>
                      <a:pt x="429" y="314"/>
                    </a:lnTo>
                    <a:lnTo>
                      <a:pt x="427" y="314"/>
                    </a:lnTo>
                    <a:lnTo>
                      <a:pt x="425" y="314"/>
                    </a:lnTo>
                    <a:lnTo>
                      <a:pt x="425" y="312"/>
                    </a:lnTo>
                    <a:lnTo>
                      <a:pt x="425" y="314"/>
                    </a:lnTo>
                    <a:lnTo>
                      <a:pt x="423" y="314"/>
                    </a:lnTo>
                    <a:lnTo>
                      <a:pt x="421" y="314"/>
                    </a:lnTo>
                    <a:lnTo>
                      <a:pt x="419" y="316"/>
                    </a:lnTo>
                    <a:lnTo>
                      <a:pt x="417" y="316"/>
                    </a:lnTo>
                    <a:lnTo>
                      <a:pt x="417" y="317"/>
                    </a:lnTo>
                    <a:lnTo>
                      <a:pt x="415" y="317"/>
                    </a:lnTo>
                    <a:lnTo>
                      <a:pt x="417" y="317"/>
                    </a:lnTo>
                    <a:lnTo>
                      <a:pt x="417" y="319"/>
                    </a:lnTo>
                    <a:lnTo>
                      <a:pt x="415" y="321"/>
                    </a:lnTo>
                    <a:lnTo>
                      <a:pt x="415" y="323"/>
                    </a:lnTo>
                    <a:lnTo>
                      <a:pt x="413" y="323"/>
                    </a:lnTo>
                    <a:lnTo>
                      <a:pt x="413" y="325"/>
                    </a:lnTo>
                    <a:lnTo>
                      <a:pt x="413" y="327"/>
                    </a:lnTo>
                    <a:lnTo>
                      <a:pt x="413" y="329"/>
                    </a:lnTo>
                    <a:lnTo>
                      <a:pt x="413" y="331"/>
                    </a:lnTo>
                    <a:lnTo>
                      <a:pt x="411" y="331"/>
                    </a:lnTo>
                    <a:lnTo>
                      <a:pt x="411" y="333"/>
                    </a:lnTo>
                    <a:lnTo>
                      <a:pt x="410" y="333"/>
                    </a:lnTo>
                    <a:lnTo>
                      <a:pt x="410" y="335"/>
                    </a:lnTo>
                    <a:lnTo>
                      <a:pt x="410" y="337"/>
                    </a:lnTo>
                    <a:lnTo>
                      <a:pt x="408" y="339"/>
                    </a:lnTo>
                    <a:lnTo>
                      <a:pt x="408" y="341"/>
                    </a:lnTo>
                    <a:lnTo>
                      <a:pt x="408" y="342"/>
                    </a:lnTo>
                    <a:lnTo>
                      <a:pt x="406" y="344"/>
                    </a:lnTo>
                    <a:lnTo>
                      <a:pt x="406" y="346"/>
                    </a:lnTo>
                    <a:lnTo>
                      <a:pt x="408" y="346"/>
                    </a:lnTo>
                    <a:lnTo>
                      <a:pt x="406" y="346"/>
                    </a:lnTo>
                    <a:lnTo>
                      <a:pt x="406" y="348"/>
                    </a:lnTo>
                    <a:lnTo>
                      <a:pt x="406" y="350"/>
                    </a:lnTo>
                    <a:lnTo>
                      <a:pt x="404" y="350"/>
                    </a:lnTo>
                    <a:lnTo>
                      <a:pt x="404" y="352"/>
                    </a:lnTo>
                    <a:lnTo>
                      <a:pt x="404" y="354"/>
                    </a:lnTo>
                    <a:lnTo>
                      <a:pt x="402" y="354"/>
                    </a:lnTo>
                    <a:lnTo>
                      <a:pt x="400" y="354"/>
                    </a:lnTo>
                    <a:lnTo>
                      <a:pt x="400" y="356"/>
                    </a:lnTo>
                    <a:lnTo>
                      <a:pt x="400" y="358"/>
                    </a:lnTo>
                    <a:lnTo>
                      <a:pt x="398" y="358"/>
                    </a:lnTo>
                    <a:lnTo>
                      <a:pt x="400" y="360"/>
                    </a:lnTo>
                    <a:lnTo>
                      <a:pt x="400" y="362"/>
                    </a:lnTo>
                    <a:lnTo>
                      <a:pt x="400" y="364"/>
                    </a:lnTo>
                    <a:lnTo>
                      <a:pt x="400" y="366"/>
                    </a:lnTo>
                    <a:lnTo>
                      <a:pt x="400" y="367"/>
                    </a:lnTo>
                    <a:lnTo>
                      <a:pt x="402" y="367"/>
                    </a:lnTo>
                    <a:lnTo>
                      <a:pt x="402" y="369"/>
                    </a:lnTo>
                    <a:lnTo>
                      <a:pt x="404" y="369"/>
                    </a:lnTo>
                    <a:lnTo>
                      <a:pt x="406" y="369"/>
                    </a:lnTo>
                    <a:lnTo>
                      <a:pt x="408" y="369"/>
                    </a:lnTo>
                    <a:lnTo>
                      <a:pt x="408" y="367"/>
                    </a:lnTo>
                    <a:lnTo>
                      <a:pt x="410" y="366"/>
                    </a:lnTo>
                    <a:lnTo>
                      <a:pt x="411" y="366"/>
                    </a:lnTo>
                    <a:lnTo>
                      <a:pt x="413" y="366"/>
                    </a:lnTo>
                    <a:lnTo>
                      <a:pt x="413" y="364"/>
                    </a:lnTo>
                    <a:lnTo>
                      <a:pt x="415" y="364"/>
                    </a:lnTo>
                    <a:lnTo>
                      <a:pt x="415" y="362"/>
                    </a:lnTo>
                    <a:lnTo>
                      <a:pt x="415" y="364"/>
                    </a:lnTo>
                    <a:lnTo>
                      <a:pt x="417" y="364"/>
                    </a:lnTo>
                    <a:lnTo>
                      <a:pt x="419" y="364"/>
                    </a:lnTo>
                    <a:lnTo>
                      <a:pt x="419" y="366"/>
                    </a:lnTo>
                    <a:lnTo>
                      <a:pt x="421" y="364"/>
                    </a:lnTo>
                    <a:lnTo>
                      <a:pt x="421" y="366"/>
                    </a:lnTo>
                    <a:lnTo>
                      <a:pt x="423" y="366"/>
                    </a:lnTo>
                    <a:lnTo>
                      <a:pt x="425" y="366"/>
                    </a:lnTo>
                    <a:lnTo>
                      <a:pt x="425" y="367"/>
                    </a:lnTo>
                    <a:lnTo>
                      <a:pt x="425" y="366"/>
                    </a:lnTo>
                    <a:lnTo>
                      <a:pt x="427" y="366"/>
                    </a:lnTo>
                    <a:lnTo>
                      <a:pt x="427" y="367"/>
                    </a:lnTo>
                    <a:lnTo>
                      <a:pt x="425" y="369"/>
                    </a:lnTo>
                    <a:lnTo>
                      <a:pt x="427" y="369"/>
                    </a:lnTo>
                    <a:lnTo>
                      <a:pt x="427" y="371"/>
                    </a:lnTo>
                    <a:lnTo>
                      <a:pt x="425" y="371"/>
                    </a:lnTo>
                    <a:lnTo>
                      <a:pt x="427" y="373"/>
                    </a:lnTo>
                    <a:lnTo>
                      <a:pt x="427" y="375"/>
                    </a:lnTo>
                    <a:lnTo>
                      <a:pt x="427" y="377"/>
                    </a:lnTo>
                    <a:lnTo>
                      <a:pt x="427" y="379"/>
                    </a:lnTo>
                    <a:lnTo>
                      <a:pt x="425" y="379"/>
                    </a:lnTo>
                    <a:lnTo>
                      <a:pt x="425" y="381"/>
                    </a:lnTo>
                    <a:lnTo>
                      <a:pt x="427" y="381"/>
                    </a:lnTo>
                    <a:lnTo>
                      <a:pt x="427" y="383"/>
                    </a:lnTo>
                    <a:lnTo>
                      <a:pt x="429" y="383"/>
                    </a:lnTo>
                    <a:lnTo>
                      <a:pt x="429" y="385"/>
                    </a:lnTo>
                    <a:lnTo>
                      <a:pt x="431" y="385"/>
                    </a:lnTo>
                    <a:lnTo>
                      <a:pt x="433" y="385"/>
                    </a:lnTo>
                    <a:lnTo>
                      <a:pt x="433" y="387"/>
                    </a:lnTo>
                    <a:lnTo>
                      <a:pt x="433" y="389"/>
                    </a:lnTo>
                    <a:lnTo>
                      <a:pt x="435" y="391"/>
                    </a:lnTo>
                    <a:lnTo>
                      <a:pt x="435" y="392"/>
                    </a:lnTo>
                    <a:lnTo>
                      <a:pt x="435" y="394"/>
                    </a:lnTo>
                    <a:lnTo>
                      <a:pt x="435" y="396"/>
                    </a:lnTo>
                    <a:lnTo>
                      <a:pt x="435" y="398"/>
                    </a:lnTo>
                    <a:lnTo>
                      <a:pt x="435" y="400"/>
                    </a:lnTo>
                    <a:lnTo>
                      <a:pt x="433" y="400"/>
                    </a:lnTo>
                    <a:lnTo>
                      <a:pt x="435" y="402"/>
                    </a:lnTo>
                    <a:lnTo>
                      <a:pt x="435" y="404"/>
                    </a:lnTo>
                    <a:lnTo>
                      <a:pt x="435" y="406"/>
                    </a:lnTo>
                    <a:lnTo>
                      <a:pt x="435" y="408"/>
                    </a:lnTo>
                    <a:lnTo>
                      <a:pt x="435" y="410"/>
                    </a:lnTo>
                    <a:lnTo>
                      <a:pt x="433" y="410"/>
                    </a:lnTo>
                    <a:lnTo>
                      <a:pt x="431" y="410"/>
                    </a:lnTo>
                    <a:lnTo>
                      <a:pt x="431" y="412"/>
                    </a:lnTo>
                    <a:lnTo>
                      <a:pt x="433" y="412"/>
                    </a:lnTo>
                    <a:lnTo>
                      <a:pt x="431" y="412"/>
                    </a:lnTo>
                    <a:lnTo>
                      <a:pt x="431" y="414"/>
                    </a:lnTo>
                    <a:lnTo>
                      <a:pt x="431" y="412"/>
                    </a:lnTo>
                    <a:lnTo>
                      <a:pt x="429" y="414"/>
                    </a:lnTo>
                    <a:lnTo>
                      <a:pt x="429" y="416"/>
                    </a:lnTo>
                    <a:lnTo>
                      <a:pt x="429" y="417"/>
                    </a:lnTo>
                    <a:lnTo>
                      <a:pt x="427" y="417"/>
                    </a:lnTo>
                    <a:lnTo>
                      <a:pt x="429" y="417"/>
                    </a:lnTo>
                    <a:lnTo>
                      <a:pt x="427" y="419"/>
                    </a:lnTo>
                    <a:lnTo>
                      <a:pt x="427" y="421"/>
                    </a:lnTo>
                    <a:lnTo>
                      <a:pt x="425" y="421"/>
                    </a:lnTo>
                    <a:lnTo>
                      <a:pt x="425" y="423"/>
                    </a:lnTo>
                    <a:lnTo>
                      <a:pt x="425" y="425"/>
                    </a:lnTo>
                    <a:lnTo>
                      <a:pt x="423" y="425"/>
                    </a:lnTo>
                    <a:lnTo>
                      <a:pt x="423" y="427"/>
                    </a:lnTo>
                    <a:lnTo>
                      <a:pt x="423" y="429"/>
                    </a:lnTo>
                    <a:lnTo>
                      <a:pt x="421" y="429"/>
                    </a:lnTo>
                    <a:lnTo>
                      <a:pt x="421" y="431"/>
                    </a:lnTo>
                    <a:lnTo>
                      <a:pt x="419" y="431"/>
                    </a:lnTo>
                    <a:lnTo>
                      <a:pt x="421" y="431"/>
                    </a:lnTo>
                    <a:lnTo>
                      <a:pt x="421" y="433"/>
                    </a:lnTo>
                    <a:lnTo>
                      <a:pt x="419" y="433"/>
                    </a:lnTo>
                    <a:lnTo>
                      <a:pt x="419" y="435"/>
                    </a:lnTo>
                    <a:lnTo>
                      <a:pt x="419" y="437"/>
                    </a:lnTo>
                    <a:lnTo>
                      <a:pt x="419" y="439"/>
                    </a:lnTo>
                    <a:lnTo>
                      <a:pt x="421" y="439"/>
                    </a:lnTo>
                    <a:lnTo>
                      <a:pt x="419" y="439"/>
                    </a:lnTo>
                    <a:lnTo>
                      <a:pt x="419" y="441"/>
                    </a:lnTo>
                    <a:lnTo>
                      <a:pt x="419" y="442"/>
                    </a:lnTo>
                    <a:lnTo>
                      <a:pt x="419" y="444"/>
                    </a:lnTo>
                    <a:lnTo>
                      <a:pt x="419" y="446"/>
                    </a:lnTo>
                    <a:lnTo>
                      <a:pt x="421" y="446"/>
                    </a:lnTo>
                    <a:lnTo>
                      <a:pt x="419" y="446"/>
                    </a:lnTo>
                    <a:lnTo>
                      <a:pt x="419" y="448"/>
                    </a:lnTo>
                    <a:lnTo>
                      <a:pt x="419" y="450"/>
                    </a:lnTo>
                    <a:lnTo>
                      <a:pt x="417" y="452"/>
                    </a:lnTo>
                    <a:lnTo>
                      <a:pt x="419" y="452"/>
                    </a:lnTo>
                    <a:lnTo>
                      <a:pt x="419" y="454"/>
                    </a:lnTo>
                    <a:lnTo>
                      <a:pt x="417" y="454"/>
                    </a:lnTo>
                    <a:lnTo>
                      <a:pt x="417" y="456"/>
                    </a:lnTo>
                    <a:lnTo>
                      <a:pt x="419" y="456"/>
                    </a:lnTo>
                    <a:lnTo>
                      <a:pt x="419" y="458"/>
                    </a:lnTo>
                    <a:lnTo>
                      <a:pt x="417" y="458"/>
                    </a:lnTo>
                    <a:lnTo>
                      <a:pt x="417" y="460"/>
                    </a:lnTo>
                    <a:lnTo>
                      <a:pt x="417" y="462"/>
                    </a:lnTo>
                    <a:lnTo>
                      <a:pt x="417" y="464"/>
                    </a:lnTo>
                    <a:lnTo>
                      <a:pt x="415" y="464"/>
                    </a:lnTo>
                    <a:lnTo>
                      <a:pt x="415" y="466"/>
                    </a:lnTo>
                    <a:lnTo>
                      <a:pt x="417" y="466"/>
                    </a:lnTo>
                    <a:lnTo>
                      <a:pt x="417" y="467"/>
                    </a:lnTo>
                    <a:lnTo>
                      <a:pt x="417" y="469"/>
                    </a:lnTo>
                    <a:lnTo>
                      <a:pt x="417" y="471"/>
                    </a:lnTo>
                    <a:lnTo>
                      <a:pt x="417" y="473"/>
                    </a:lnTo>
                    <a:lnTo>
                      <a:pt x="417" y="475"/>
                    </a:lnTo>
                    <a:lnTo>
                      <a:pt x="417" y="477"/>
                    </a:lnTo>
                    <a:lnTo>
                      <a:pt x="415" y="477"/>
                    </a:lnTo>
                    <a:lnTo>
                      <a:pt x="417" y="477"/>
                    </a:lnTo>
                    <a:lnTo>
                      <a:pt x="417" y="479"/>
                    </a:lnTo>
                    <a:lnTo>
                      <a:pt x="415" y="479"/>
                    </a:lnTo>
                    <a:lnTo>
                      <a:pt x="415" y="481"/>
                    </a:lnTo>
                    <a:lnTo>
                      <a:pt x="413" y="481"/>
                    </a:lnTo>
                    <a:lnTo>
                      <a:pt x="413" y="483"/>
                    </a:lnTo>
                    <a:lnTo>
                      <a:pt x="413" y="485"/>
                    </a:lnTo>
                    <a:lnTo>
                      <a:pt x="413" y="487"/>
                    </a:lnTo>
                    <a:lnTo>
                      <a:pt x="413" y="489"/>
                    </a:lnTo>
                    <a:lnTo>
                      <a:pt x="413" y="491"/>
                    </a:lnTo>
                    <a:lnTo>
                      <a:pt x="413" y="492"/>
                    </a:lnTo>
                    <a:lnTo>
                      <a:pt x="413" y="494"/>
                    </a:lnTo>
                    <a:lnTo>
                      <a:pt x="415" y="494"/>
                    </a:lnTo>
                    <a:lnTo>
                      <a:pt x="413" y="496"/>
                    </a:lnTo>
                    <a:lnTo>
                      <a:pt x="415" y="496"/>
                    </a:lnTo>
                    <a:lnTo>
                      <a:pt x="413" y="496"/>
                    </a:lnTo>
                    <a:lnTo>
                      <a:pt x="415" y="496"/>
                    </a:lnTo>
                    <a:lnTo>
                      <a:pt x="415" y="498"/>
                    </a:lnTo>
                    <a:lnTo>
                      <a:pt x="413" y="500"/>
                    </a:lnTo>
                    <a:lnTo>
                      <a:pt x="413" y="502"/>
                    </a:lnTo>
                    <a:lnTo>
                      <a:pt x="413" y="504"/>
                    </a:lnTo>
                    <a:lnTo>
                      <a:pt x="411" y="504"/>
                    </a:lnTo>
                    <a:lnTo>
                      <a:pt x="411" y="506"/>
                    </a:lnTo>
                    <a:lnTo>
                      <a:pt x="411" y="508"/>
                    </a:lnTo>
                    <a:lnTo>
                      <a:pt x="411" y="506"/>
                    </a:lnTo>
                    <a:lnTo>
                      <a:pt x="411" y="508"/>
                    </a:lnTo>
                    <a:lnTo>
                      <a:pt x="410" y="508"/>
                    </a:lnTo>
                    <a:lnTo>
                      <a:pt x="410" y="510"/>
                    </a:lnTo>
                    <a:lnTo>
                      <a:pt x="410" y="512"/>
                    </a:lnTo>
                    <a:lnTo>
                      <a:pt x="410" y="514"/>
                    </a:lnTo>
                    <a:lnTo>
                      <a:pt x="410" y="516"/>
                    </a:lnTo>
                    <a:lnTo>
                      <a:pt x="410" y="517"/>
                    </a:lnTo>
                    <a:lnTo>
                      <a:pt x="411" y="517"/>
                    </a:lnTo>
                    <a:lnTo>
                      <a:pt x="411" y="519"/>
                    </a:lnTo>
                    <a:lnTo>
                      <a:pt x="410" y="519"/>
                    </a:lnTo>
                    <a:lnTo>
                      <a:pt x="411" y="519"/>
                    </a:lnTo>
                    <a:lnTo>
                      <a:pt x="411" y="521"/>
                    </a:lnTo>
                    <a:lnTo>
                      <a:pt x="410" y="521"/>
                    </a:lnTo>
                    <a:lnTo>
                      <a:pt x="410" y="523"/>
                    </a:lnTo>
                    <a:lnTo>
                      <a:pt x="408" y="523"/>
                    </a:lnTo>
                    <a:lnTo>
                      <a:pt x="408" y="525"/>
                    </a:lnTo>
                    <a:lnTo>
                      <a:pt x="410" y="525"/>
                    </a:lnTo>
                    <a:lnTo>
                      <a:pt x="410" y="527"/>
                    </a:lnTo>
                    <a:lnTo>
                      <a:pt x="411" y="527"/>
                    </a:lnTo>
                    <a:lnTo>
                      <a:pt x="410" y="527"/>
                    </a:lnTo>
                    <a:lnTo>
                      <a:pt x="411" y="527"/>
                    </a:lnTo>
                    <a:lnTo>
                      <a:pt x="413" y="527"/>
                    </a:lnTo>
                    <a:lnTo>
                      <a:pt x="413" y="525"/>
                    </a:lnTo>
                    <a:lnTo>
                      <a:pt x="413" y="527"/>
                    </a:lnTo>
                    <a:lnTo>
                      <a:pt x="415" y="527"/>
                    </a:lnTo>
                    <a:lnTo>
                      <a:pt x="415" y="525"/>
                    </a:lnTo>
                    <a:lnTo>
                      <a:pt x="415" y="527"/>
                    </a:lnTo>
                    <a:lnTo>
                      <a:pt x="415" y="525"/>
                    </a:lnTo>
                    <a:lnTo>
                      <a:pt x="417" y="525"/>
                    </a:lnTo>
                    <a:lnTo>
                      <a:pt x="417" y="527"/>
                    </a:lnTo>
                    <a:lnTo>
                      <a:pt x="417" y="529"/>
                    </a:lnTo>
                    <a:lnTo>
                      <a:pt x="417" y="531"/>
                    </a:lnTo>
                    <a:lnTo>
                      <a:pt x="417" y="533"/>
                    </a:lnTo>
                    <a:lnTo>
                      <a:pt x="417" y="535"/>
                    </a:lnTo>
                    <a:lnTo>
                      <a:pt x="417" y="533"/>
                    </a:lnTo>
                    <a:lnTo>
                      <a:pt x="417" y="535"/>
                    </a:lnTo>
                    <a:lnTo>
                      <a:pt x="419" y="537"/>
                    </a:lnTo>
                    <a:lnTo>
                      <a:pt x="419" y="539"/>
                    </a:lnTo>
                    <a:lnTo>
                      <a:pt x="417" y="539"/>
                    </a:lnTo>
                    <a:lnTo>
                      <a:pt x="417" y="541"/>
                    </a:lnTo>
                    <a:lnTo>
                      <a:pt x="419" y="541"/>
                    </a:lnTo>
                    <a:lnTo>
                      <a:pt x="419" y="542"/>
                    </a:lnTo>
                    <a:lnTo>
                      <a:pt x="417" y="544"/>
                    </a:lnTo>
                    <a:lnTo>
                      <a:pt x="417" y="546"/>
                    </a:lnTo>
                    <a:lnTo>
                      <a:pt x="415" y="548"/>
                    </a:lnTo>
                    <a:lnTo>
                      <a:pt x="417" y="548"/>
                    </a:lnTo>
                    <a:lnTo>
                      <a:pt x="415" y="548"/>
                    </a:lnTo>
                    <a:lnTo>
                      <a:pt x="415" y="550"/>
                    </a:lnTo>
                    <a:lnTo>
                      <a:pt x="413" y="550"/>
                    </a:lnTo>
                    <a:lnTo>
                      <a:pt x="413" y="552"/>
                    </a:lnTo>
                    <a:lnTo>
                      <a:pt x="411" y="552"/>
                    </a:lnTo>
                    <a:lnTo>
                      <a:pt x="411" y="554"/>
                    </a:lnTo>
                    <a:lnTo>
                      <a:pt x="410" y="554"/>
                    </a:lnTo>
                    <a:lnTo>
                      <a:pt x="408" y="554"/>
                    </a:lnTo>
                    <a:lnTo>
                      <a:pt x="408" y="556"/>
                    </a:lnTo>
                    <a:lnTo>
                      <a:pt x="406" y="556"/>
                    </a:lnTo>
                    <a:lnTo>
                      <a:pt x="404" y="556"/>
                    </a:lnTo>
                    <a:lnTo>
                      <a:pt x="404" y="558"/>
                    </a:lnTo>
                    <a:lnTo>
                      <a:pt x="404" y="556"/>
                    </a:lnTo>
                    <a:lnTo>
                      <a:pt x="404" y="558"/>
                    </a:lnTo>
                    <a:lnTo>
                      <a:pt x="402" y="558"/>
                    </a:lnTo>
                    <a:lnTo>
                      <a:pt x="404" y="558"/>
                    </a:lnTo>
                    <a:lnTo>
                      <a:pt x="402" y="558"/>
                    </a:lnTo>
                    <a:lnTo>
                      <a:pt x="404" y="558"/>
                    </a:lnTo>
                    <a:lnTo>
                      <a:pt x="402" y="558"/>
                    </a:lnTo>
                    <a:lnTo>
                      <a:pt x="400" y="558"/>
                    </a:lnTo>
                    <a:lnTo>
                      <a:pt x="400" y="560"/>
                    </a:lnTo>
                    <a:lnTo>
                      <a:pt x="400" y="558"/>
                    </a:lnTo>
                    <a:lnTo>
                      <a:pt x="400" y="560"/>
                    </a:lnTo>
                    <a:lnTo>
                      <a:pt x="400" y="558"/>
                    </a:lnTo>
                    <a:lnTo>
                      <a:pt x="400" y="560"/>
                    </a:lnTo>
                    <a:lnTo>
                      <a:pt x="400" y="558"/>
                    </a:lnTo>
                    <a:lnTo>
                      <a:pt x="398" y="560"/>
                    </a:lnTo>
                    <a:lnTo>
                      <a:pt x="398" y="558"/>
                    </a:lnTo>
                    <a:lnTo>
                      <a:pt x="398" y="560"/>
                    </a:lnTo>
                    <a:lnTo>
                      <a:pt x="396" y="560"/>
                    </a:lnTo>
                    <a:lnTo>
                      <a:pt x="398" y="560"/>
                    </a:lnTo>
                    <a:lnTo>
                      <a:pt x="396" y="560"/>
                    </a:lnTo>
                    <a:lnTo>
                      <a:pt x="396" y="562"/>
                    </a:lnTo>
                    <a:lnTo>
                      <a:pt x="394" y="562"/>
                    </a:lnTo>
                    <a:lnTo>
                      <a:pt x="396" y="562"/>
                    </a:lnTo>
                    <a:lnTo>
                      <a:pt x="396" y="564"/>
                    </a:lnTo>
                    <a:lnTo>
                      <a:pt x="396" y="562"/>
                    </a:lnTo>
                    <a:lnTo>
                      <a:pt x="396" y="564"/>
                    </a:lnTo>
                    <a:lnTo>
                      <a:pt x="394" y="564"/>
                    </a:lnTo>
                    <a:lnTo>
                      <a:pt x="396" y="564"/>
                    </a:lnTo>
                    <a:lnTo>
                      <a:pt x="394" y="564"/>
                    </a:lnTo>
                    <a:lnTo>
                      <a:pt x="394" y="565"/>
                    </a:lnTo>
                    <a:lnTo>
                      <a:pt x="394" y="567"/>
                    </a:lnTo>
                    <a:lnTo>
                      <a:pt x="394" y="569"/>
                    </a:lnTo>
                    <a:lnTo>
                      <a:pt x="392" y="569"/>
                    </a:lnTo>
                    <a:lnTo>
                      <a:pt x="390" y="569"/>
                    </a:lnTo>
                    <a:lnTo>
                      <a:pt x="390" y="571"/>
                    </a:lnTo>
                    <a:lnTo>
                      <a:pt x="390" y="569"/>
                    </a:lnTo>
                    <a:lnTo>
                      <a:pt x="390" y="571"/>
                    </a:lnTo>
                    <a:lnTo>
                      <a:pt x="392" y="571"/>
                    </a:lnTo>
                    <a:lnTo>
                      <a:pt x="390" y="571"/>
                    </a:lnTo>
                    <a:lnTo>
                      <a:pt x="390" y="573"/>
                    </a:lnTo>
                    <a:lnTo>
                      <a:pt x="390" y="575"/>
                    </a:lnTo>
                    <a:lnTo>
                      <a:pt x="388" y="575"/>
                    </a:lnTo>
                    <a:lnTo>
                      <a:pt x="388" y="573"/>
                    </a:lnTo>
                    <a:lnTo>
                      <a:pt x="388" y="575"/>
                    </a:lnTo>
                    <a:lnTo>
                      <a:pt x="388" y="577"/>
                    </a:lnTo>
                    <a:lnTo>
                      <a:pt x="386" y="577"/>
                    </a:lnTo>
                    <a:lnTo>
                      <a:pt x="386" y="579"/>
                    </a:lnTo>
                    <a:lnTo>
                      <a:pt x="386" y="581"/>
                    </a:lnTo>
                    <a:lnTo>
                      <a:pt x="385" y="581"/>
                    </a:lnTo>
                    <a:lnTo>
                      <a:pt x="385" y="583"/>
                    </a:lnTo>
                    <a:lnTo>
                      <a:pt x="383" y="583"/>
                    </a:lnTo>
                    <a:lnTo>
                      <a:pt x="383" y="585"/>
                    </a:lnTo>
                    <a:lnTo>
                      <a:pt x="383" y="587"/>
                    </a:lnTo>
                    <a:lnTo>
                      <a:pt x="381" y="587"/>
                    </a:lnTo>
                    <a:lnTo>
                      <a:pt x="381" y="589"/>
                    </a:lnTo>
                    <a:lnTo>
                      <a:pt x="379" y="589"/>
                    </a:lnTo>
                    <a:lnTo>
                      <a:pt x="379" y="590"/>
                    </a:lnTo>
                    <a:lnTo>
                      <a:pt x="379" y="592"/>
                    </a:lnTo>
                    <a:lnTo>
                      <a:pt x="379" y="590"/>
                    </a:lnTo>
                    <a:lnTo>
                      <a:pt x="379" y="592"/>
                    </a:lnTo>
                    <a:lnTo>
                      <a:pt x="377" y="592"/>
                    </a:lnTo>
                    <a:lnTo>
                      <a:pt x="377" y="594"/>
                    </a:lnTo>
                    <a:lnTo>
                      <a:pt x="377" y="596"/>
                    </a:lnTo>
                    <a:lnTo>
                      <a:pt x="377" y="594"/>
                    </a:lnTo>
                    <a:lnTo>
                      <a:pt x="377" y="596"/>
                    </a:lnTo>
                    <a:lnTo>
                      <a:pt x="371" y="594"/>
                    </a:lnTo>
                    <a:lnTo>
                      <a:pt x="367" y="592"/>
                    </a:lnTo>
                    <a:lnTo>
                      <a:pt x="365" y="592"/>
                    </a:lnTo>
                    <a:lnTo>
                      <a:pt x="363" y="592"/>
                    </a:lnTo>
                    <a:lnTo>
                      <a:pt x="362" y="590"/>
                    </a:lnTo>
                    <a:lnTo>
                      <a:pt x="360" y="590"/>
                    </a:lnTo>
                    <a:lnTo>
                      <a:pt x="356" y="592"/>
                    </a:lnTo>
                    <a:lnTo>
                      <a:pt x="354" y="592"/>
                    </a:lnTo>
                    <a:lnTo>
                      <a:pt x="350" y="592"/>
                    </a:lnTo>
                    <a:lnTo>
                      <a:pt x="348" y="590"/>
                    </a:lnTo>
                    <a:lnTo>
                      <a:pt x="344" y="590"/>
                    </a:lnTo>
                    <a:lnTo>
                      <a:pt x="342" y="589"/>
                    </a:lnTo>
                    <a:lnTo>
                      <a:pt x="340" y="589"/>
                    </a:lnTo>
                    <a:lnTo>
                      <a:pt x="338" y="587"/>
                    </a:lnTo>
                    <a:lnTo>
                      <a:pt x="337" y="587"/>
                    </a:lnTo>
                    <a:lnTo>
                      <a:pt x="331" y="583"/>
                    </a:lnTo>
                    <a:lnTo>
                      <a:pt x="325" y="577"/>
                    </a:lnTo>
                    <a:lnTo>
                      <a:pt x="323" y="577"/>
                    </a:lnTo>
                    <a:lnTo>
                      <a:pt x="319" y="577"/>
                    </a:lnTo>
                    <a:lnTo>
                      <a:pt x="317" y="575"/>
                    </a:lnTo>
                    <a:lnTo>
                      <a:pt x="315" y="575"/>
                    </a:lnTo>
                    <a:lnTo>
                      <a:pt x="312" y="573"/>
                    </a:lnTo>
                    <a:lnTo>
                      <a:pt x="310" y="573"/>
                    </a:lnTo>
                    <a:lnTo>
                      <a:pt x="308" y="575"/>
                    </a:lnTo>
                    <a:lnTo>
                      <a:pt x="306" y="575"/>
                    </a:lnTo>
                    <a:lnTo>
                      <a:pt x="304" y="577"/>
                    </a:lnTo>
                    <a:lnTo>
                      <a:pt x="300" y="581"/>
                    </a:lnTo>
                    <a:lnTo>
                      <a:pt x="298" y="583"/>
                    </a:lnTo>
                    <a:lnTo>
                      <a:pt x="296" y="585"/>
                    </a:lnTo>
                    <a:lnTo>
                      <a:pt x="294" y="589"/>
                    </a:lnTo>
                    <a:lnTo>
                      <a:pt x="292" y="589"/>
                    </a:lnTo>
                    <a:lnTo>
                      <a:pt x="290" y="589"/>
                    </a:lnTo>
                    <a:lnTo>
                      <a:pt x="289" y="587"/>
                    </a:lnTo>
                    <a:lnTo>
                      <a:pt x="287" y="587"/>
                    </a:lnTo>
                    <a:lnTo>
                      <a:pt x="287" y="589"/>
                    </a:lnTo>
                    <a:lnTo>
                      <a:pt x="285" y="589"/>
                    </a:lnTo>
                    <a:lnTo>
                      <a:pt x="283" y="589"/>
                    </a:lnTo>
                    <a:lnTo>
                      <a:pt x="279" y="589"/>
                    </a:lnTo>
                    <a:lnTo>
                      <a:pt x="277" y="587"/>
                    </a:lnTo>
                    <a:lnTo>
                      <a:pt x="277" y="585"/>
                    </a:lnTo>
                    <a:lnTo>
                      <a:pt x="275" y="585"/>
                    </a:lnTo>
                    <a:lnTo>
                      <a:pt x="273" y="585"/>
                    </a:lnTo>
                    <a:lnTo>
                      <a:pt x="271" y="583"/>
                    </a:lnTo>
                    <a:lnTo>
                      <a:pt x="269" y="581"/>
                    </a:lnTo>
                    <a:lnTo>
                      <a:pt x="267" y="579"/>
                    </a:lnTo>
                    <a:lnTo>
                      <a:pt x="267" y="577"/>
                    </a:lnTo>
                    <a:lnTo>
                      <a:pt x="265" y="575"/>
                    </a:lnTo>
                    <a:lnTo>
                      <a:pt x="264" y="575"/>
                    </a:lnTo>
                    <a:lnTo>
                      <a:pt x="264" y="573"/>
                    </a:lnTo>
                    <a:lnTo>
                      <a:pt x="262" y="573"/>
                    </a:lnTo>
                    <a:lnTo>
                      <a:pt x="258" y="573"/>
                    </a:lnTo>
                    <a:lnTo>
                      <a:pt x="256" y="571"/>
                    </a:lnTo>
                    <a:lnTo>
                      <a:pt x="254" y="571"/>
                    </a:lnTo>
                    <a:lnTo>
                      <a:pt x="252" y="571"/>
                    </a:lnTo>
                    <a:lnTo>
                      <a:pt x="250" y="571"/>
                    </a:lnTo>
                    <a:lnTo>
                      <a:pt x="248" y="571"/>
                    </a:lnTo>
                    <a:lnTo>
                      <a:pt x="246" y="573"/>
                    </a:lnTo>
                    <a:lnTo>
                      <a:pt x="244" y="573"/>
                    </a:lnTo>
                    <a:lnTo>
                      <a:pt x="242" y="573"/>
                    </a:lnTo>
                    <a:lnTo>
                      <a:pt x="240" y="573"/>
                    </a:lnTo>
                    <a:lnTo>
                      <a:pt x="239" y="571"/>
                    </a:lnTo>
                    <a:lnTo>
                      <a:pt x="237" y="571"/>
                    </a:lnTo>
                    <a:lnTo>
                      <a:pt x="235" y="573"/>
                    </a:lnTo>
                    <a:lnTo>
                      <a:pt x="233" y="575"/>
                    </a:lnTo>
                    <a:lnTo>
                      <a:pt x="231" y="575"/>
                    </a:lnTo>
                    <a:lnTo>
                      <a:pt x="227" y="581"/>
                    </a:lnTo>
                    <a:lnTo>
                      <a:pt x="223" y="587"/>
                    </a:lnTo>
                    <a:lnTo>
                      <a:pt x="221" y="589"/>
                    </a:lnTo>
                    <a:lnTo>
                      <a:pt x="219" y="590"/>
                    </a:lnTo>
                    <a:lnTo>
                      <a:pt x="217" y="594"/>
                    </a:lnTo>
                    <a:lnTo>
                      <a:pt x="216" y="596"/>
                    </a:lnTo>
                    <a:lnTo>
                      <a:pt x="214" y="598"/>
                    </a:lnTo>
                    <a:lnTo>
                      <a:pt x="210" y="598"/>
                    </a:lnTo>
                    <a:lnTo>
                      <a:pt x="212" y="600"/>
                    </a:lnTo>
                    <a:lnTo>
                      <a:pt x="210" y="602"/>
                    </a:lnTo>
                    <a:lnTo>
                      <a:pt x="204" y="608"/>
                    </a:lnTo>
                    <a:lnTo>
                      <a:pt x="202" y="610"/>
                    </a:lnTo>
                    <a:lnTo>
                      <a:pt x="202" y="614"/>
                    </a:lnTo>
                    <a:lnTo>
                      <a:pt x="202" y="615"/>
                    </a:lnTo>
                    <a:lnTo>
                      <a:pt x="200" y="621"/>
                    </a:lnTo>
                    <a:lnTo>
                      <a:pt x="200" y="623"/>
                    </a:lnTo>
                    <a:lnTo>
                      <a:pt x="200" y="625"/>
                    </a:lnTo>
                    <a:lnTo>
                      <a:pt x="198" y="627"/>
                    </a:lnTo>
                    <a:lnTo>
                      <a:pt x="196" y="629"/>
                    </a:lnTo>
                    <a:lnTo>
                      <a:pt x="194" y="629"/>
                    </a:lnTo>
                    <a:lnTo>
                      <a:pt x="194" y="631"/>
                    </a:lnTo>
                    <a:lnTo>
                      <a:pt x="192" y="631"/>
                    </a:lnTo>
                    <a:lnTo>
                      <a:pt x="192" y="633"/>
                    </a:lnTo>
                    <a:lnTo>
                      <a:pt x="192" y="635"/>
                    </a:lnTo>
                    <a:lnTo>
                      <a:pt x="191" y="635"/>
                    </a:lnTo>
                    <a:lnTo>
                      <a:pt x="189" y="635"/>
                    </a:lnTo>
                    <a:lnTo>
                      <a:pt x="189" y="637"/>
                    </a:lnTo>
                    <a:lnTo>
                      <a:pt x="187" y="635"/>
                    </a:lnTo>
                    <a:lnTo>
                      <a:pt x="185" y="637"/>
                    </a:lnTo>
                    <a:lnTo>
                      <a:pt x="183" y="637"/>
                    </a:lnTo>
                    <a:lnTo>
                      <a:pt x="181" y="637"/>
                    </a:lnTo>
                    <a:lnTo>
                      <a:pt x="179" y="635"/>
                    </a:lnTo>
                    <a:lnTo>
                      <a:pt x="179" y="637"/>
                    </a:lnTo>
                    <a:lnTo>
                      <a:pt x="175" y="639"/>
                    </a:lnTo>
                    <a:lnTo>
                      <a:pt x="173" y="640"/>
                    </a:lnTo>
                    <a:lnTo>
                      <a:pt x="169" y="642"/>
                    </a:lnTo>
                    <a:lnTo>
                      <a:pt x="166" y="646"/>
                    </a:lnTo>
                    <a:lnTo>
                      <a:pt x="164" y="648"/>
                    </a:lnTo>
                    <a:lnTo>
                      <a:pt x="162" y="650"/>
                    </a:lnTo>
                    <a:lnTo>
                      <a:pt x="156" y="650"/>
                    </a:lnTo>
                    <a:lnTo>
                      <a:pt x="152" y="650"/>
                    </a:lnTo>
                    <a:lnTo>
                      <a:pt x="148" y="656"/>
                    </a:lnTo>
                    <a:lnTo>
                      <a:pt x="146" y="656"/>
                    </a:lnTo>
                    <a:lnTo>
                      <a:pt x="141" y="654"/>
                    </a:lnTo>
                    <a:lnTo>
                      <a:pt x="139" y="658"/>
                    </a:lnTo>
                    <a:lnTo>
                      <a:pt x="135" y="660"/>
                    </a:lnTo>
                    <a:lnTo>
                      <a:pt x="129" y="664"/>
                    </a:lnTo>
                    <a:lnTo>
                      <a:pt x="127" y="667"/>
                    </a:lnTo>
                    <a:lnTo>
                      <a:pt x="125" y="667"/>
                    </a:lnTo>
                    <a:lnTo>
                      <a:pt x="123" y="669"/>
                    </a:lnTo>
                    <a:lnTo>
                      <a:pt x="121" y="669"/>
                    </a:lnTo>
                    <a:lnTo>
                      <a:pt x="118" y="671"/>
                    </a:lnTo>
                    <a:lnTo>
                      <a:pt x="114" y="671"/>
                    </a:lnTo>
                    <a:lnTo>
                      <a:pt x="112" y="671"/>
                    </a:lnTo>
                    <a:lnTo>
                      <a:pt x="110" y="671"/>
                    </a:lnTo>
                    <a:lnTo>
                      <a:pt x="110" y="669"/>
                    </a:lnTo>
                    <a:lnTo>
                      <a:pt x="110" y="671"/>
                    </a:lnTo>
                    <a:lnTo>
                      <a:pt x="108" y="669"/>
                    </a:lnTo>
                    <a:lnTo>
                      <a:pt x="106" y="667"/>
                    </a:lnTo>
                    <a:lnTo>
                      <a:pt x="104" y="669"/>
                    </a:lnTo>
                    <a:lnTo>
                      <a:pt x="104" y="671"/>
                    </a:lnTo>
                    <a:lnTo>
                      <a:pt x="102" y="675"/>
                    </a:lnTo>
                    <a:lnTo>
                      <a:pt x="100" y="675"/>
                    </a:lnTo>
                    <a:lnTo>
                      <a:pt x="98" y="675"/>
                    </a:lnTo>
                    <a:lnTo>
                      <a:pt x="96" y="675"/>
                    </a:lnTo>
                    <a:lnTo>
                      <a:pt x="96" y="673"/>
                    </a:lnTo>
                    <a:lnTo>
                      <a:pt x="94" y="673"/>
                    </a:lnTo>
                    <a:lnTo>
                      <a:pt x="93" y="673"/>
                    </a:lnTo>
                    <a:lnTo>
                      <a:pt x="91" y="673"/>
                    </a:lnTo>
                    <a:lnTo>
                      <a:pt x="89" y="673"/>
                    </a:lnTo>
                    <a:lnTo>
                      <a:pt x="87" y="675"/>
                    </a:lnTo>
                    <a:lnTo>
                      <a:pt x="85" y="673"/>
                    </a:lnTo>
                    <a:lnTo>
                      <a:pt x="83" y="673"/>
                    </a:lnTo>
                    <a:lnTo>
                      <a:pt x="81" y="673"/>
                    </a:lnTo>
                    <a:lnTo>
                      <a:pt x="79" y="673"/>
                    </a:lnTo>
                    <a:lnTo>
                      <a:pt x="77" y="673"/>
                    </a:lnTo>
                    <a:lnTo>
                      <a:pt x="75" y="675"/>
                    </a:lnTo>
                    <a:lnTo>
                      <a:pt x="73" y="673"/>
                    </a:lnTo>
                    <a:lnTo>
                      <a:pt x="71" y="671"/>
                    </a:lnTo>
                    <a:lnTo>
                      <a:pt x="70" y="671"/>
                    </a:lnTo>
                    <a:lnTo>
                      <a:pt x="70" y="669"/>
                    </a:lnTo>
                    <a:lnTo>
                      <a:pt x="68" y="669"/>
                    </a:lnTo>
                    <a:lnTo>
                      <a:pt x="66" y="667"/>
                    </a:lnTo>
                    <a:lnTo>
                      <a:pt x="64" y="667"/>
                    </a:lnTo>
                    <a:lnTo>
                      <a:pt x="62" y="667"/>
                    </a:lnTo>
                    <a:lnTo>
                      <a:pt x="60" y="667"/>
                    </a:lnTo>
                    <a:lnTo>
                      <a:pt x="56" y="669"/>
                    </a:lnTo>
                    <a:lnTo>
                      <a:pt x="54" y="669"/>
                    </a:lnTo>
                    <a:lnTo>
                      <a:pt x="52" y="669"/>
                    </a:lnTo>
                    <a:lnTo>
                      <a:pt x="50" y="669"/>
                    </a:lnTo>
                    <a:lnTo>
                      <a:pt x="48" y="669"/>
                    </a:lnTo>
                    <a:lnTo>
                      <a:pt x="48" y="671"/>
                    </a:lnTo>
                    <a:lnTo>
                      <a:pt x="46" y="669"/>
                    </a:lnTo>
                    <a:lnTo>
                      <a:pt x="45" y="671"/>
                    </a:lnTo>
                    <a:lnTo>
                      <a:pt x="45" y="669"/>
                    </a:lnTo>
                    <a:lnTo>
                      <a:pt x="43" y="671"/>
                    </a:lnTo>
                    <a:lnTo>
                      <a:pt x="41" y="671"/>
                    </a:lnTo>
                    <a:lnTo>
                      <a:pt x="39" y="671"/>
                    </a:lnTo>
                    <a:lnTo>
                      <a:pt x="37" y="671"/>
                    </a:lnTo>
                    <a:lnTo>
                      <a:pt x="37" y="673"/>
                    </a:lnTo>
                    <a:lnTo>
                      <a:pt x="35" y="673"/>
                    </a:lnTo>
                    <a:lnTo>
                      <a:pt x="35" y="671"/>
                    </a:lnTo>
                    <a:lnTo>
                      <a:pt x="33" y="671"/>
                    </a:lnTo>
                    <a:lnTo>
                      <a:pt x="31" y="669"/>
                    </a:lnTo>
                    <a:lnTo>
                      <a:pt x="33" y="667"/>
                    </a:lnTo>
                    <a:lnTo>
                      <a:pt x="31" y="667"/>
                    </a:lnTo>
                    <a:lnTo>
                      <a:pt x="31" y="665"/>
                    </a:lnTo>
                    <a:lnTo>
                      <a:pt x="31" y="667"/>
                    </a:lnTo>
                    <a:lnTo>
                      <a:pt x="31" y="665"/>
                    </a:lnTo>
                    <a:lnTo>
                      <a:pt x="29" y="665"/>
                    </a:lnTo>
                    <a:lnTo>
                      <a:pt x="29" y="667"/>
                    </a:lnTo>
                    <a:lnTo>
                      <a:pt x="29" y="665"/>
                    </a:lnTo>
                    <a:lnTo>
                      <a:pt x="27" y="665"/>
                    </a:lnTo>
                    <a:lnTo>
                      <a:pt x="27" y="664"/>
                    </a:lnTo>
                    <a:lnTo>
                      <a:pt x="27" y="662"/>
                    </a:lnTo>
                    <a:lnTo>
                      <a:pt x="25" y="662"/>
                    </a:lnTo>
                    <a:lnTo>
                      <a:pt x="25" y="660"/>
                    </a:lnTo>
                    <a:lnTo>
                      <a:pt x="25" y="658"/>
                    </a:lnTo>
                    <a:lnTo>
                      <a:pt x="23" y="658"/>
                    </a:lnTo>
                    <a:lnTo>
                      <a:pt x="23" y="660"/>
                    </a:lnTo>
                    <a:lnTo>
                      <a:pt x="21" y="658"/>
                    </a:lnTo>
                    <a:lnTo>
                      <a:pt x="21" y="660"/>
                    </a:lnTo>
                    <a:lnTo>
                      <a:pt x="21" y="658"/>
                    </a:lnTo>
                    <a:lnTo>
                      <a:pt x="20" y="658"/>
                    </a:lnTo>
                    <a:lnTo>
                      <a:pt x="18" y="658"/>
                    </a:lnTo>
                    <a:lnTo>
                      <a:pt x="18" y="656"/>
                    </a:lnTo>
                    <a:lnTo>
                      <a:pt x="18" y="658"/>
                    </a:lnTo>
                    <a:lnTo>
                      <a:pt x="18" y="656"/>
                    </a:lnTo>
                    <a:lnTo>
                      <a:pt x="16" y="656"/>
                    </a:lnTo>
                    <a:lnTo>
                      <a:pt x="14" y="656"/>
                    </a:lnTo>
                    <a:lnTo>
                      <a:pt x="14" y="654"/>
                    </a:lnTo>
                    <a:lnTo>
                      <a:pt x="16" y="654"/>
                    </a:lnTo>
                    <a:lnTo>
                      <a:pt x="14" y="654"/>
                    </a:lnTo>
                    <a:lnTo>
                      <a:pt x="14" y="652"/>
                    </a:lnTo>
                    <a:lnTo>
                      <a:pt x="12" y="652"/>
                    </a:lnTo>
                    <a:lnTo>
                      <a:pt x="10" y="650"/>
                    </a:lnTo>
                    <a:lnTo>
                      <a:pt x="10" y="648"/>
                    </a:lnTo>
                    <a:lnTo>
                      <a:pt x="12" y="648"/>
                    </a:lnTo>
                    <a:lnTo>
                      <a:pt x="12" y="646"/>
                    </a:lnTo>
                    <a:lnTo>
                      <a:pt x="10" y="646"/>
                    </a:lnTo>
                    <a:lnTo>
                      <a:pt x="10" y="644"/>
                    </a:lnTo>
                    <a:lnTo>
                      <a:pt x="12" y="644"/>
                    </a:lnTo>
                    <a:lnTo>
                      <a:pt x="12" y="642"/>
                    </a:lnTo>
                    <a:lnTo>
                      <a:pt x="10" y="642"/>
                    </a:lnTo>
                    <a:lnTo>
                      <a:pt x="10" y="640"/>
                    </a:lnTo>
                    <a:lnTo>
                      <a:pt x="10" y="639"/>
                    </a:lnTo>
                    <a:lnTo>
                      <a:pt x="8" y="639"/>
                    </a:lnTo>
                    <a:lnTo>
                      <a:pt x="8" y="637"/>
                    </a:lnTo>
                    <a:lnTo>
                      <a:pt x="10" y="637"/>
                    </a:lnTo>
                    <a:lnTo>
                      <a:pt x="10" y="635"/>
                    </a:lnTo>
                    <a:lnTo>
                      <a:pt x="10" y="633"/>
                    </a:lnTo>
                    <a:lnTo>
                      <a:pt x="8" y="633"/>
                    </a:lnTo>
                    <a:lnTo>
                      <a:pt x="6" y="633"/>
                    </a:lnTo>
                    <a:lnTo>
                      <a:pt x="6" y="635"/>
                    </a:lnTo>
                    <a:lnTo>
                      <a:pt x="4" y="635"/>
                    </a:lnTo>
                    <a:lnTo>
                      <a:pt x="4" y="633"/>
                    </a:lnTo>
                    <a:lnTo>
                      <a:pt x="4" y="635"/>
                    </a:lnTo>
                    <a:lnTo>
                      <a:pt x="2" y="635"/>
                    </a:lnTo>
                    <a:lnTo>
                      <a:pt x="2" y="633"/>
                    </a:lnTo>
                    <a:lnTo>
                      <a:pt x="0" y="633"/>
                    </a:lnTo>
                    <a:lnTo>
                      <a:pt x="0" y="631"/>
                    </a:lnTo>
                    <a:lnTo>
                      <a:pt x="0" y="629"/>
                    </a:lnTo>
                    <a:lnTo>
                      <a:pt x="2" y="627"/>
                    </a:lnTo>
                    <a:lnTo>
                      <a:pt x="0" y="623"/>
                    </a:lnTo>
                    <a:lnTo>
                      <a:pt x="0" y="619"/>
                    </a:lnTo>
                    <a:lnTo>
                      <a:pt x="2" y="615"/>
                    </a:lnTo>
                    <a:lnTo>
                      <a:pt x="4" y="615"/>
                    </a:lnTo>
                    <a:lnTo>
                      <a:pt x="4" y="614"/>
                    </a:lnTo>
                    <a:lnTo>
                      <a:pt x="6" y="614"/>
                    </a:lnTo>
                    <a:lnTo>
                      <a:pt x="6" y="612"/>
                    </a:lnTo>
                    <a:lnTo>
                      <a:pt x="6" y="608"/>
                    </a:lnTo>
                    <a:lnTo>
                      <a:pt x="6" y="606"/>
                    </a:lnTo>
                    <a:lnTo>
                      <a:pt x="8" y="606"/>
                    </a:lnTo>
                    <a:lnTo>
                      <a:pt x="10" y="606"/>
                    </a:lnTo>
                    <a:lnTo>
                      <a:pt x="10" y="608"/>
                    </a:lnTo>
                    <a:lnTo>
                      <a:pt x="12" y="608"/>
                    </a:lnTo>
                    <a:lnTo>
                      <a:pt x="12" y="606"/>
                    </a:lnTo>
                    <a:lnTo>
                      <a:pt x="12" y="604"/>
                    </a:lnTo>
                    <a:lnTo>
                      <a:pt x="14" y="604"/>
                    </a:lnTo>
                    <a:lnTo>
                      <a:pt x="12" y="604"/>
                    </a:lnTo>
                    <a:lnTo>
                      <a:pt x="12" y="602"/>
                    </a:lnTo>
                    <a:lnTo>
                      <a:pt x="14" y="600"/>
                    </a:lnTo>
                    <a:lnTo>
                      <a:pt x="16" y="600"/>
                    </a:lnTo>
                    <a:lnTo>
                      <a:pt x="18" y="600"/>
                    </a:lnTo>
                    <a:lnTo>
                      <a:pt x="20" y="600"/>
                    </a:lnTo>
                    <a:lnTo>
                      <a:pt x="20" y="598"/>
                    </a:lnTo>
                    <a:lnTo>
                      <a:pt x="21" y="598"/>
                    </a:lnTo>
                    <a:lnTo>
                      <a:pt x="21" y="596"/>
                    </a:lnTo>
                    <a:lnTo>
                      <a:pt x="21" y="594"/>
                    </a:lnTo>
                    <a:lnTo>
                      <a:pt x="23" y="596"/>
                    </a:lnTo>
                    <a:lnTo>
                      <a:pt x="23" y="594"/>
                    </a:lnTo>
                    <a:lnTo>
                      <a:pt x="25" y="594"/>
                    </a:lnTo>
                    <a:lnTo>
                      <a:pt x="27" y="594"/>
                    </a:lnTo>
                    <a:lnTo>
                      <a:pt x="29" y="594"/>
                    </a:lnTo>
                    <a:lnTo>
                      <a:pt x="29" y="592"/>
                    </a:lnTo>
                    <a:lnTo>
                      <a:pt x="29" y="590"/>
                    </a:lnTo>
                    <a:lnTo>
                      <a:pt x="31" y="590"/>
                    </a:lnTo>
                    <a:lnTo>
                      <a:pt x="29" y="589"/>
                    </a:lnTo>
                    <a:lnTo>
                      <a:pt x="27" y="589"/>
                    </a:lnTo>
                    <a:lnTo>
                      <a:pt x="27" y="590"/>
                    </a:lnTo>
                    <a:lnTo>
                      <a:pt x="25" y="590"/>
                    </a:lnTo>
                    <a:lnTo>
                      <a:pt x="23" y="589"/>
                    </a:lnTo>
                    <a:lnTo>
                      <a:pt x="23" y="587"/>
                    </a:lnTo>
                    <a:lnTo>
                      <a:pt x="21" y="587"/>
                    </a:lnTo>
                    <a:lnTo>
                      <a:pt x="21" y="585"/>
                    </a:lnTo>
                    <a:lnTo>
                      <a:pt x="20" y="585"/>
                    </a:lnTo>
                    <a:lnTo>
                      <a:pt x="18" y="585"/>
                    </a:lnTo>
                    <a:lnTo>
                      <a:pt x="16" y="585"/>
                    </a:lnTo>
                    <a:lnTo>
                      <a:pt x="16" y="583"/>
                    </a:lnTo>
                    <a:lnTo>
                      <a:pt x="14" y="583"/>
                    </a:lnTo>
                    <a:lnTo>
                      <a:pt x="12" y="583"/>
                    </a:lnTo>
                    <a:lnTo>
                      <a:pt x="10" y="581"/>
                    </a:lnTo>
                    <a:lnTo>
                      <a:pt x="8" y="581"/>
                    </a:lnTo>
                    <a:lnTo>
                      <a:pt x="6" y="579"/>
                    </a:lnTo>
                    <a:lnTo>
                      <a:pt x="6" y="577"/>
                    </a:lnTo>
                    <a:lnTo>
                      <a:pt x="6" y="575"/>
                    </a:lnTo>
                    <a:lnTo>
                      <a:pt x="6" y="573"/>
                    </a:lnTo>
                    <a:lnTo>
                      <a:pt x="8" y="573"/>
                    </a:lnTo>
                    <a:lnTo>
                      <a:pt x="10" y="573"/>
                    </a:lnTo>
                    <a:lnTo>
                      <a:pt x="10" y="571"/>
                    </a:lnTo>
                    <a:lnTo>
                      <a:pt x="12" y="571"/>
                    </a:lnTo>
                    <a:lnTo>
                      <a:pt x="12" y="569"/>
                    </a:lnTo>
                    <a:lnTo>
                      <a:pt x="12" y="567"/>
                    </a:lnTo>
                    <a:lnTo>
                      <a:pt x="12" y="565"/>
                    </a:lnTo>
                    <a:lnTo>
                      <a:pt x="12" y="564"/>
                    </a:lnTo>
                    <a:lnTo>
                      <a:pt x="12" y="560"/>
                    </a:lnTo>
                    <a:lnTo>
                      <a:pt x="12" y="558"/>
                    </a:lnTo>
                    <a:lnTo>
                      <a:pt x="12" y="556"/>
                    </a:lnTo>
                    <a:lnTo>
                      <a:pt x="12" y="554"/>
                    </a:lnTo>
                    <a:lnTo>
                      <a:pt x="14" y="554"/>
                    </a:lnTo>
                    <a:lnTo>
                      <a:pt x="16" y="554"/>
                    </a:lnTo>
                    <a:lnTo>
                      <a:pt x="18" y="554"/>
                    </a:lnTo>
                    <a:lnTo>
                      <a:pt x="18" y="552"/>
                    </a:lnTo>
                    <a:lnTo>
                      <a:pt x="18" y="550"/>
                    </a:lnTo>
                    <a:lnTo>
                      <a:pt x="20" y="550"/>
                    </a:lnTo>
                    <a:lnTo>
                      <a:pt x="20" y="548"/>
                    </a:lnTo>
                    <a:lnTo>
                      <a:pt x="20" y="544"/>
                    </a:lnTo>
                    <a:lnTo>
                      <a:pt x="18" y="544"/>
                    </a:lnTo>
                    <a:lnTo>
                      <a:pt x="16" y="544"/>
                    </a:lnTo>
                    <a:lnTo>
                      <a:pt x="14" y="542"/>
                    </a:lnTo>
                    <a:lnTo>
                      <a:pt x="12" y="542"/>
                    </a:lnTo>
                    <a:lnTo>
                      <a:pt x="12" y="541"/>
                    </a:lnTo>
                    <a:lnTo>
                      <a:pt x="12" y="539"/>
                    </a:lnTo>
                    <a:lnTo>
                      <a:pt x="14" y="539"/>
                    </a:lnTo>
                    <a:lnTo>
                      <a:pt x="14" y="533"/>
                    </a:lnTo>
                    <a:lnTo>
                      <a:pt x="14" y="531"/>
                    </a:lnTo>
                    <a:lnTo>
                      <a:pt x="16" y="531"/>
                    </a:lnTo>
                    <a:lnTo>
                      <a:pt x="16" y="529"/>
                    </a:lnTo>
                    <a:lnTo>
                      <a:pt x="18" y="529"/>
                    </a:lnTo>
                    <a:lnTo>
                      <a:pt x="18" y="531"/>
                    </a:lnTo>
                    <a:lnTo>
                      <a:pt x="18" y="529"/>
                    </a:lnTo>
                    <a:lnTo>
                      <a:pt x="20" y="529"/>
                    </a:lnTo>
                    <a:lnTo>
                      <a:pt x="20" y="527"/>
                    </a:lnTo>
                    <a:lnTo>
                      <a:pt x="20" y="525"/>
                    </a:lnTo>
                    <a:lnTo>
                      <a:pt x="20" y="523"/>
                    </a:lnTo>
                    <a:lnTo>
                      <a:pt x="21" y="523"/>
                    </a:lnTo>
                    <a:lnTo>
                      <a:pt x="23" y="523"/>
                    </a:lnTo>
                    <a:lnTo>
                      <a:pt x="23" y="525"/>
                    </a:lnTo>
                    <a:lnTo>
                      <a:pt x="25" y="525"/>
                    </a:lnTo>
                    <a:lnTo>
                      <a:pt x="25" y="527"/>
                    </a:lnTo>
                    <a:lnTo>
                      <a:pt x="27" y="525"/>
                    </a:lnTo>
                    <a:lnTo>
                      <a:pt x="29" y="525"/>
                    </a:lnTo>
                    <a:lnTo>
                      <a:pt x="31" y="525"/>
                    </a:lnTo>
                    <a:lnTo>
                      <a:pt x="33" y="523"/>
                    </a:lnTo>
                    <a:lnTo>
                      <a:pt x="33" y="521"/>
                    </a:lnTo>
                    <a:lnTo>
                      <a:pt x="33" y="519"/>
                    </a:lnTo>
                    <a:lnTo>
                      <a:pt x="35" y="519"/>
                    </a:lnTo>
                    <a:lnTo>
                      <a:pt x="35" y="521"/>
                    </a:lnTo>
                    <a:lnTo>
                      <a:pt x="37" y="523"/>
                    </a:lnTo>
                    <a:lnTo>
                      <a:pt x="37" y="525"/>
                    </a:lnTo>
                    <a:lnTo>
                      <a:pt x="39" y="527"/>
                    </a:lnTo>
                    <a:lnTo>
                      <a:pt x="41" y="527"/>
                    </a:lnTo>
                    <a:lnTo>
                      <a:pt x="41" y="529"/>
                    </a:lnTo>
                    <a:lnTo>
                      <a:pt x="43" y="529"/>
                    </a:lnTo>
                    <a:lnTo>
                      <a:pt x="43" y="527"/>
                    </a:lnTo>
                    <a:lnTo>
                      <a:pt x="45" y="527"/>
                    </a:lnTo>
                    <a:lnTo>
                      <a:pt x="46" y="529"/>
                    </a:lnTo>
                    <a:lnTo>
                      <a:pt x="48" y="529"/>
                    </a:lnTo>
                    <a:lnTo>
                      <a:pt x="48" y="527"/>
                    </a:lnTo>
                    <a:lnTo>
                      <a:pt x="46" y="527"/>
                    </a:lnTo>
                    <a:lnTo>
                      <a:pt x="46" y="525"/>
                    </a:lnTo>
                    <a:lnTo>
                      <a:pt x="48" y="523"/>
                    </a:lnTo>
                    <a:lnTo>
                      <a:pt x="50" y="523"/>
                    </a:lnTo>
                    <a:lnTo>
                      <a:pt x="52" y="521"/>
                    </a:lnTo>
                    <a:lnTo>
                      <a:pt x="54" y="521"/>
                    </a:lnTo>
                    <a:lnTo>
                      <a:pt x="54" y="519"/>
                    </a:lnTo>
                    <a:lnTo>
                      <a:pt x="56" y="519"/>
                    </a:lnTo>
                    <a:lnTo>
                      <a:pt x="58" y="517"/>
                    </a:lnTo>
                    <a:lnTo>
                      <a:pt x="60" y="516"/>
                    </a:lnTo>
                    <a:lnTo>
                      <a:pt x="62" y="514"/>
                    </a:lnTo>
                    <a:lnTo>
                      <a:pt x="62" y="512"/>
                    </a:lnTo>
                    <a:lnTo>
                      <a:pt x="64" y="512"/>
                    </a:lnTo>
                    <a:lnTo>
                      <a:pt x="64" y="510"/>
                    </a:lnTo>
                    <a:lnTo>
                      <a:pt x="66" y="508"/>
                    </a:lnTo>
                    <a:lnTo>
                      <a:pt x="68" y="508"/>
                    </a:lnTo>
                    <a:lnTo>
                      <a:pt x="70" y="508"/>
                    </a:lnTo>
                    <a:lnTo>
                      <a:pt x="71" y="508"/>
                    </a:lnTo>
                    <a:lnTo>
                      <a:pt x="73" y="508"/>
                    </a:lnTo>
                    <a:lnTo>
                      <a:pt x="75" y="508"/>
                    </a:lnTo>
                    <a:lnTo>
                      <a:pt x="77" y="508"/>
                    </a:lnTo>
                    <a:lnTo>
                      <a:pt x="79" y="508"/>
                    </a:lnTo>
                    <a:lnTo>
                      <a:pt x="81" y="508"/>
                    </a:lnTo>
                    <a:lnTo>
                      <a:pt x="81" y="510"/>
                    </a:lnTo>
                    <a:lnTo>
                      <a:pt x="81" y="512"/>
                    </a:lnTo>
                    <a:lnTo>
                      <a:pt x="83" y="512"/>
                    </a:lnTo>
                    <a:lnTo>
                      <a:pt x="85" y="512"/>
                    </a:lnTo>
                    <a:lnTo>
                      <a:pt x="87" y="512"/>
                    </a:lnTo>
                    <a:lnTo>
                      <a:pt x="89" y="512"/>
                    </a:lnTo>
                    <a:lnTo>
                      <a:pt x="91" y="512"/>
                    </a:lnTo>
                    <a:lnTo>
                      <a:pt x="93" y="510"/>
                    </a:lnTo>
                    <a:lnTo>
                      <a:pt x="93" y="508"/>
                    </a:lnTo>
                    <a:lnTo>
                      <a:pt x="94" y="508"/>
                    </a:lnTo>
                    <a:lnTo>
                      <a:pt x="94" y="506"/>
                    </a:lnTo>
                    <a:lnTo>
                      <a:pt x="96" y="506"/>
                    </a:lnTo>
                    <a:lnTo>
                      <a:pt x="96" y="504"/>
                    </a:lnTo>
                    <a:lnTo>
                      <a:pt x="96" y="502"/>
                    </a:lnTo>
                    <a:lnTo>
                      <a:pt x="96" y="500"/>
                    </a:lnTo>
                    <a:lnTo>
                      <a:pt x="94" y="500"/>
                    </a:lnTo>
                    <a:lnTo>
                      <a:pt x="96" y="498"/>
                    </a:lnTo>
                    <a:lnTo>
                      <a:pt x="98" y="494"/>
                    </a:lnTo>
                    <a:lnTo>
                      <a:pt x="100" y="494"/>
                    </a:lnTo>
                    <a:lnTo>
                      <a:pt x="100" y="492"/>
                    </a:lnTo>
                    <a:lnTo>
                      <a:pt x="100" y="491"/>
                    </a:lnTo>
                    <a:lnTo>
                      <a:pt x="102" y="489"/>
                    </a:lnTo>
                    <a:lnTo>
                      <a:pt x="104" y="487"/>
                    </a:lnTo>
                    <a:lnTo>
                      <a:pt x="106" y="487"/>
                    </a:lnTo>
                    <a:lnTo>
                      <a:pt x="108" y="485"/>
                    </a:lnTo>
                    <a:lnTo>
                      <a:pt x="110" y="483"/>
                    </a:lnTo>
                    <a:lnTo>
                      <a:pt x="112" y="483"/>
                    </a:lnTo>
                    <a:lnTo>
                      <a:pt x="114" y="483"/>
                    </a:lnTo>
                    <a:lnTo>
                      <a:pt x="116" y="481"/>
                    </a:lnTo>
                    <a:lnTo>
                      <a:pt x="118" y="479"/>
                    </a:lnTo>
                    <a:lnTo>
                      <a:pt x="119" y="477"/>
                    </a:lnTo>
                    <a:lnTo>
                      <a:pt x="119" y="475"/>
                    </a:lnTo>
                    <a:lnTo>
                      <a:pt x="121" y="475"/>
                    </a:lnTo>
                    <a:lnTo>
                      <a:pt x="123" y="473"/>
                    </a:lnTo>
                    <a:lnTo>
                      <a:pt x="123" y="471"/>
                    </a:lnTo>
                    <a:lnTo>
                      <a:pt x="123" y="469"/>
                    </a:lnTo>
                    <a:lnTo>
                      <a:pt x="123" y="467"/>
                    </a:lnTo>
                    <a:lnTo>
                      <a:pt x="125" y="466"/>
                    </a:lnTo>
                    <a:lnTo>
                      <a:pt x="125" y="464"/>
                    </a:lnTo>
                    <a:lnTo>
                      <a:pt x="127" y="464"/>
                    </a:lnTo>
                    <a:lnTo>
                      <a:pt x="127" y="462"/>
                    </a:lnTo>
                    <a:lnTo>
                      <a:pt x="127" y="460"/>
                    </a:lnTo>
                    <a:lnTo>
                      <a:pt x="129" y="458"/>
                    </a:lnTo>
                    <a:lnTo>
                      <a:pt x="127" y="458"/>
                    </a:lnTo>
                    <a:lnTo>
                      <a:pt x="127" y="456"/>
                    </a:lnTo>
                    <a:lnTo>
                      <a:pt x="129" y="456"/>
                    </a:lnTo>
                    <a:lnTo>
                      <a:pt x="131" y="456"/>
                    </a:lnTo>
                    <a:lnTo>
                      <a:pt x="131" y="454"/>
                    </a:lnTo>
                    <a:lnTo>
                      <a:pt x="131" y="452"/>
                    </a:lnTo>
                    <a:lnTo>
                      <a:pt x="131" y="450"/>
                    </a:lnTo>
                    <a:lnTo>
                      <a:pt x="133" y="450"/>
                    </a:lnTo>
                    <a:lnTo>
                      <a:pt x="135" y="450"/>
                    </a:lnTo>
                    <a:lnTo>
                      <a:pt x="135" y="448"/>
                    </a:lnTo>
                    <a:lnTo>
                      <a:pt x="137" y="450"/>
                    </a:lnTo>
                    <a:lnTo>
                      <a:pt x="137" y="452"/>
                    </a:lnTo>
                    <a:lnTo>
                      <a:pt x="139" y="452"/>
                    </a:lnTo>
                    <a:lnTo>
                      <a:pt x="141" y="452"/>
                    </a:lnTo>
                    <a:lnTo>
                      <a:pt x="143" y="452"/>
                    </a:lnTo>
                    <a:lnTo>
                      <a:pt x="143" y="454"/>
                    </a:lnTo>
                    <a:lnTo>
                      <a:pt x="144" y="452"/>
                    </a:lnTo>
                    <a:lnTo>
                      <a:pt x="146" y="452"/>
                    </a:lnTo>
                    <a:lnTo>
                      <a:pt x="146" y="450"/>
                    </a:lnTo>
                    <a:lnTo>
                      <a:pt x="146" y="448"/>
                    </a:lnTo>
                    <a:lnTo>
                      <a:pt x="146" y="446"/>
                    </a:lnTo>
                    <a:lnTo>
                      <a:pt x="146" y="444"/>
                    </a:lnTo>
                    <a:lnTo>
                      <a:pt x="148" y="442"/>
                    </a:lnTo>
                    <a:lnTo>
                      <a:pt x="150" y="442"/>
                    </a:lnTo>
                    <a:lnTo>
                      <a:pt x="152" y="442"/>
                    </a:lnTo>
                    <a:lnTo>
                      <a:pt x="154" y="442"/>
                    </a:lnTo>
                    <a:lnTo>
                      <a:pt x="156" y="442"/>
                    </a:lnTo>
                    <a:lnTo>
                      <a:pt x="158" y="441"/>
                    </a:lnTo>
                    <a:lnTo>
                      <a:pt x="160" y="441"/>
                    </a:lnTo>
                    <a:lnTo>
                      <a:pt x="160" y="442"/>
                    </a:lnTo>
                    <a:lnTo>
                      <a:pt x="162" y="441"/>
                    </a:lnTo>
                    <a:lnTo>
                      <a:pt x="162" y="439"/>
                    </a:lnTo>
                    <a:lnTo>
                      <a:pt x="164" y="439"/>
                    </a:lnTo>
                    <a:lnTo>
                      <a:pt x="164" y="437"/>
                    </a:lnTo>
                    <a:lnTo>
                      <a:pt x="166" y="437"/>
                    </a:lnTo>
                    <a:lnTo>
                      <a:pt x="166" y="435"/>
                    </a:lnTo>
                    <a:lnTo>
                      <a:pt x="167" y="433"/>
                    </a:lnTo>
                    <a:lnTo>
                      <a:pt x="167" y="431"/>
                    </a:lnTo>
                    <a:lnTo>
                      <a:pt x="169" y="431"/>
                    </a:lnTo>
                    <a:lnTo>
                      <a:pt x="171" y="429"/>
                    </a:lnTo>
                    <a:lnTo>
                      <a:pt x="175" y="429"/>
                    </a:lnTo>
                    <a:lnTo>
                      <a:pt x="179" y="429"/>
                    </a:lnTo>
                    <a:lnTo>
                      <a:pt x="179" y="427"/>
                    </a:lnTo>
                    <a:lnTo>
                      <a:pt x="181" y="427"/>
                    </a:lnTo>
                    <a:lnTo>
                      <a:pt x="181" y="429"/>
                    </a:lnTo>
                    <a:lnTo>
                      <a:pt x="183" y="429"/>
                    </a:lnTo>
                    <a:lnTo>
                      <a:pt x="183" y="427"/>
                    </a:lnTo>
                    <a:lnTo>
                      <a:pt x="183" y="425"/>
                    </a:lnTo>
                    <a:lnTo>
                      <a:pt x="183" y="423"/>
                    </a:lnTo>
                    <a:lnTo>
                      <a:pt x="185" y="421"/>
                    </a:lnTo>
                    <a:lnTo>
                      <a:pt x="185" y="419"/>
                    </a:lnTo>
                    <a:lnTo>
                      <a:pt x="187" y="419"/>
                    </a:lnTo>
                    <a:lnTo>
                      <a:pt x="187" y="417"/>
                    </a:lnTo>
                    <a:lnTo>
                      <a:pt x="189" y="417"/>
                    </a:lnTo>
                    <a:lnTo>
                      <a:pt x="191" y="416"/>
                    </a:lnTo>
                    <a:lnTo>
                      <a:pt x="191" y="414"/>
                    </a:lnTo>
                    <a:lnTo>
                      <a:pt x="192" y="414"/>
                    </a:lnTo>
                    <a:lnTo>
                      <a:pt x="192" y="416"/>
                    </a:lnTo>
                    <a:lnTo>
                      <a:pt x="194" y="414"/>
                    </a:lnTo>
                    <a:lnTo>
                      <a:pt x="194" y="412"/>
                    </a:lnTo>
                    <a:lnTo>
                      <a:pt x="196" y="412"/>
                    </a:lnTo>
                    <a:lnTo>
                      <a:pt x="196" y="410"/>
                    </a:lnTo>
                    <a:lnTo>
                      <a:pt x="196" y="408"/>
                    </a:lnTo>
                    <a:lnTo>
                      <a:pt x="198" y="408"/>
                    </a:lnTo>
                    <a:lnTo>
                      <a:pt x="198" y="406"/>
                    </a:lnTo>
                    <a:lnTo>
                      <a:pt x="198" y="404"/>
                    </a:lnTo>
                    <a:lnTo>
                      <a:pt x="198" y="402"/>
                    </a:lnTo>
                    <a:lnTo>
                      <a:pt x="200" y="402"/>
                    </a:lnTo>
                    <a:lnTo>
                      <a:pt x="198" y="402"/>
                    </a:lnTo>
                    <a:lnTo>
                      <a:pt x="200" y="400"/>
                    </a:lnTo>
                    <a:lnTo>
                      <a:pt x="200" y="398"/>
                    </a:lnTo>
                    <a:lnTo>
                      <a:pt x="198" y="396"/>
                    </a:lnTo>
                    <a:lnTo>
                      <a:pt x="198" y="394"/>
                    </a:lnTo>
                    <a:lnTo>
                      <a:pt x="198" y="392"/>
                    </a:lnTo>
                    <a:lnTo>
                      <a:pt x="200" y="391"/>
                    </a:lnTo>
                    <a:lnTo>
                      <a:pt x="200" y="389"/>
                    </a:lnTo>
                    <a:lnTo>
                      <a:pt x="200" y="387"/>
                    </a:lnTo>
                    <a:lnTo>
                      <a:pt x="200" y="385"/>
                    </a:lnTo>
                    <a:lnTo>
                      <a:pt x="202" y="385"/>
                    </a:lnTo>
                    <a:lnTo>
                      <a:pt x="202" y="383"/>
                    </a:lnTo>
                    <a:lnTo>
                      <a:pt x="200" y="383"/>
                    </a:lnTo>
                    <a:lnTo>
                      <a:pt x="198" y="383"/>
                    </a:lnTo>
                    <a:lnTo>
                      <a:pt x="198" y="381"/>
                    </a:lnTo>
                    <a:lnTo>
                      <a:pt x="196" y="381"/>
                    </a:lnTo>
                    <a:lnTo>
                      <a:pt x="196" y="383"/>
                    </a:lnTo>
                    <a:lnTo>
                      <a:pt x="194" y="383"/>
                    </a:lnTo>
                    <a:lnTo>
                      <a:pt x="192" y="383"/>
                    </a:lnTo>
                    <a:lnTo>
                      <a:pt x="192" y="381"/>
                    </a:lnTo>
                    <a:lnTo>
                      <a:pt x="194" y="381"/>
                    </a:lnTo>
                    <a:lnTo>
                      <a:pt x="194" y="379"/>
                    </a:lnTo>
                    <a:lnTo>
                      <a:pt x="194" y="377"/>
                    </a:lnTo>
                    <a:lnTo>
                      <a:pt x="194" y="375"/>
                    </a:lnTo>
                    <a:lnTo>
                      <a:pt x="192" y="375"/>
                    </a:lnTo>
                    <a:lnTo>
                      <a:pt x="191" y="375"/>
                    </a:lnTo>
                    <a:lnTo>
                      <a:pt x="189" y="375"/>
                    </a:lnTo>
                    <a:lnTo>
                      <a:pt x="189" y="373"/>
                    </a:lnTo>
                    <a:lnTo>
                      <a:pt x="187" y="373"/>
                    </a:lnTo>
                    <a:lnTo>
                      <a:pt x="185" y="373"/>
                    </a:lnTo>
                    <a:lnTo>
                      <a:pt x="185" y="371"/>
                    </a:lnTo>
                    <a:lnTo>
                      <a:pt x="183" y="371"/>
                    </a:lnTo>
                    <a:lnTo>
                      <a:pt x="183" y="369"/>
                    </a:lnTo>
                    <a:lnTo>
                      <a:pt x="183" y="367"/>
                    </a:lnTo>
                    <a:lnTo>
                      <a:pt x="183" y="366"/>
                    </a:lnTo>
                    <a:lnTo>
                      <a:pt x="181" y="366"/>
                    </a:lnTo>
                    <a:lnTo>
                      <a:pt x="179" y="364"/>
                    </a:lnTo>
                    <a:lnTo>
                      <a:pt x="177" y="362"/>
                    </a:lnTo>
                    <a:lnTo>
                      <a:pt x="179" y="362"/>
                    </a:lnTo>
                    <a:lnTo>
                      <a:pt x="177" y="360"/>
                    </a:lnTo>
                    <a:lnTo>
                      <a:pt x="177" y="358"/>
                    </a:lnTo>
                    <a:lnTo>
                      <a:pt x="179" y="356"/>
                    </a:lnTo>
                    <a:lnTo>
                      <a:pt x="179" y="354"/>
                    </a:lnTo>
                    <a:lnTo>
                      <a:pt x="177" y="352"/>
                    </a:lnTo>
                    <a:lnTo>
                      <a:pt x="175" y="350"/>
                    </a:lnTo>
                    <a:lnTo>
                      <a:pt x="173" y="350"/>
                    </a:lnTo>
                    <a:lnTo>
                      <a:pt x="175" y="350"/>
                    </a:lnTo>
                    <a:lnTo>
                      <a:pt x="175" y="348"/>
                    </a:lnTo>
                    <a:lnTo>
                      <a:pt x="177" y="348"/>
                    </a:lnTo>
                    <a:lnTo>
                      <a:pt x="177" y="346"/>
                    </a:lnTo>
                    <a:lnTo>
                      <a:pt x="179" y="346"/>
                    </a:lnTo>
                    <a:lnTo>
                      <a:pt x="179" y="344"/>
                    </a:lnTo>
                    <a:lnTo>
                      <a:pt x="179" y="346"/>
                    </a:lnTo>
                    <a:lnTo>
                      <a:pt x="179" y="344"/>
                    </a:lnTo>
                    <a:lnTo>
                      <a:pt x="179" y="342"/>
                    </a:lnTo>
                    <a:lnTo>
                      <a:pt x="179" y="341"/>
                    </a:lnTo>
                    <a:lnTo>
                      <a:pt x="181" y="341"/>
                    </a:lnTo>
                    <a:lnTo>
                      <a:pt x="181" y="339"/>
                    </a:lnTo>
                    <a:lnTo>
                      <a:pt x="183" y="339"/>
                    </a:lnTo>
                    <a:lnTo>
                      <a:pt x="183" y="337"/>
                    </a:lnTo>
                    <a:lnTo>
                      <a:pt x="185" y="337"/>
                    </a:lnTo>
                    <a:lnTo>
                      <a:pt x="185" y="339"/>
                    </a:lnTo>
                    <a:lnTo>
                      <a:pt x="187" y="339"/>
                    </a:lnTo>
                    <a:lnTo>
                      <a:pt x="187" y="337"/>
                    </a:lnTo>
                    <a:lnTo>
                      <a:pt x="189" y="337"/>
                    </a:lnTo>
                    <a:lnTo>
                      <a:pt x="191" y="337"/>
                    </a:lnTo>
                    <a:lnTo>
                      <a:pt x="191" y="335"/>
                    </a:lnTo>
                    <a:lnTo>
                      <a:pt x="191" y="333"/>
                    </a:lnTo>
                    <a:lnTo>
                      <a:pt x="191" y="331"/>
                    </a:lnTo>
                    <a:lnTo>
                      <a:pt x="192" y="331"/>
                    </a:lnTo>
                    <a:lnTo>
                      <a:pt x="194" y="331"/>
                    </a:lnTo>
                    <a:lnTo>
                      <a:pt x="196" y="331"/>
                    </a:lnTo>
                    <a:lnTo>
                      <a:pt x="196" y="329"/>
                    </a:lnTo>
                    <a:lnTo>
                      <a:pt x="196" y="327"/>
                    </a:lnTo>
                    <a:lnTo>
                      <a:pt x="196" y="325"/>
                    </a:lnTo>
                    <a:lnTo>
                      <a:pt x="196" y="323"/>
                    </a:lnTo>
                    <a:lnTo>
                      <a:pt x="198" y="323"/>
                    </a:lnTo>
                    <a:lnTo>
                      <a:pt x="200" y="323"/>
                    </a:lnTo>
                    <a:lnTo>
                      <a:pt x="200" y="321"/>
                    </a:lnTo>
                    <a:lnTo>
                      <a:pt x="202" y="321"/>
                    </a:lnTo>
                    <a:lnTo>
                      <a:pt x="202" y="319"/>
                    </a:lnTo>
                    <a:lnTo>
                      <a:pt x="204" y="319"/>
                    </a:lnTo>
                    <a:lnTo>
                      <a:pt x="206" y="319"/>
                    </a:lnTo>
                    <a:lnTo>
                      <a:pt x="206" y="317"/>
                    </a:lnTo>
                    <a:lnTo>
                      <a:pt x="208" y="317"/>
                    </a:lnTo>
                    <a:lnTo>
                      <a:pt x="208" y="316"/>
                    </a:lnTo>
                    <a:lnTo>
                      <a:pt x="210" y="316"/>
                    </a:lnTo>
                    <a:lnTo>
                      <a:pt x="210" y="314"/>
                    </a:lnTo>
                    <a:lnTo>
                      <a:pt x="210" y="312"/>
                    </a:lnTo>
                    <a:lnTo>
                      <a:pt x="210" y="314"/>
                    </a:lnTo>
                    <a:lnTo>
                      <a:pt x="210" y="312"/>
                    </a:lnTo>
                    <a:lnTo>
                      <a:pt x="210" y="310"/>
                    </a:lnTo>
                    <a:lnTo>
                      <a:pt x="210" y="308"/>
                    </a:lnTo>
                    <a:lnTo>
                      <a:pt x="212" y="308"/>
                    </a:lnTo>
                    <a:lnTo>
                      <a:pt x="212" y="306"/>
                    </a:lnTo>
                    <a:lnTo>
                      <a:pt x="214" y="306"/>
                    </a:lnTo>
                    <a:lnTo>
                      <a:pt x="214" y="304"/>
                    </a:lnTo>
                    <a:lnTo>
                      <a:pt x="214" y="302"/>
                    </a:lnTo>
                    <a:lnTo>
                      <a:pt x="212" y="300"/>
                    </a:lnTo>
                    <a:lnTo>
                      <a:pt x="214" y="300"/>
                    </a:lnTo>
                    <a:lnTo>
                      <a:pt x="216" y="300"/>
                    </a:lnTo>
                    <a:lnTo>
                      <a:pt x="216" y="298"/>
                    </a:lnTo>
                    <a:lnTo>
                      <a:pt x="216" y="296"/>
                    </a:lnTo>
                    <a:lnTo>
                      <a:pt x="217" y="296"/>
                    </a:lnTo>
                    <a:lnTo>
                      <a:pt x="217" y="294"/>
                    </a:lnTo>
                    <a:lnTo>
                      <a:pt x="219" y="294"/>
                    </a:lnTo>
                    <a:lnTo>
                      <a:pt x="219" y="292"/>
                    </a:lnTo>
                    <a:lnTo>
                      <a:pt x="221" y="292"/>
                    </a:lnTo>
                    <a:lnTo>
                      <a:pt x="221" y="291"/>
                    </a:lnTo>
                    <a:lnTo>
                      <a:pt x="221" y="289"/>
                    </a:lnTo>
                    <a:lnTo>
                      <a:pt x="221" y="287"/>
                    </a:lnTo>
                    <a:lnTo>
                      <a:pt x="223" y="285"/>
                    </a:lnTo>
                    <a:lnTo>
                      <a:pt x="223" y="283"/>
                    </a:lnTo>
                    <a:lnTo>
                      <a:pt x="225" y="283"/>
                    </a:lnTo>
                    <a:lnTo>
                      <a:pt x="225" y="281"/>
                    </a:lnTo>
                    <a:lnTo>
                      <a:pt x="227" y="281"/>
                    </a:lnTo>
                    <a:lnTo>
                      <a:pt x="229" y="279"/>
                    </a:lnTo>
                    <a:lnTo>
                      <a:pt x="229" y="281"/>
                    </a:lnTo>
                    <a:lnTo>
                      <a:pt x="229" y="279"/>
                    </a:lnTo>
                    <a:lnTo>
                      <a:pt x="231" y="279"/>
                    </a:lnTo>
                    <a:lnTo>
                      <a:pt x="231" y="277"/>
                    </a:lnTo>
                    <a:lnTo>
                      <a:pt x="233" y="277"/>
                    </a:lnTo>
                    <a:lnTo>
                      <a:pt x="235" y="277"/>
                    </a:lnTo>
                    <a:lnTo>
                      <a:pt x="237" y="277"/>
                    </a:lnTo>
                    <a:lnTo>
                      <a:pt x="237" y="275"/>
                    </a:lnTo>
                    <a:lnTo>
                      <a:pt x="239" y="275"/>
                    </a:lnTo>
                    <a:lnTo>
                      <a:pt x="240" y="275"/>
                    </a:lnTo>
                    <a:lnTo>
                      <a:pt x="240" y="273"/>
                    </a:lnTo>
                    <a:lnTo>
                      <a:pt x="242" y="271"/>
                    </a:lnTo>
                    <a:lnTo>
                      <a:pt x="242" y="273"/>
                    </a:lnTo>
                    <a:lnTo>
                      <a:pt x="244" y="273"/>
                    </a:lnTo>
                    <a:lnTo>
                      <a:pt x="244" y="271"/>
                    </a:lnTo>
                    <a:lnTo>
                      <a:pt x="246" y="271"/>
                    </a:lnTo>
                    <a:lnTo>
                      <a:pt x="246" y="273"/>
                    </a:lnTo>
                    <a:lnTo>
                      <a:pt x="246" y="271"/>
                    </a:lnTo>
                    <a:lnTo>
                      <a:pt x="248" y="271"/>
                    </a:lnTo>
                    <a:lnTo>
                      <a:pt x="250" y="271"/>
                    </a:lnTo>
                    <a:lnTo>
                      <a:pt x="250" y="273"/>
                    </a:lnTo>
                    <a:lnTo>
                      <a:pt x="250" y="271"/>
                    </a:lnTo>
                    <a:lnTo>
                      <a:pt x="252" y="271"/>
                    </a:lnTo>
                    <a:lnTo>
                      <a:pt x="252" y="273"/>
                    </a:lnTo>
                    <a:lnTo>
                      <a:pt x="254" y="273"/>
                    </a:lnTo>
                    <a:lnTo>
                      <a:pt x="254" y="271"/>
                    </a:lnTo>
                    <a:lnTo>
                      <a:pt x="252" y="271"/>
                    </a:lnTo>
                    <a:lnTo>
                      <a:pt x="252" y="269"/>
                    </a:lnTo>
                    <a:lnTo>
                      <a:pt x="254" y="269"/>
                    </a:lnTo>
                    <a:lnTo>
                      <a:pt x="256" y="269"/>
                    </a:lnTo>
                    <a:lnTo>
                      <a:pt x="256" y="268"/>
                    </a:lnTo>
                    <a:lnTo>
                      <a:pt x="256" y="269"/>
                    </a:lnTo>
                    <a:lnTo>
                      <a:pt x="258" y="269"/>
                    </a:lnTo>
                    <a:lnTo>
                      <a:pt x="258" y="268"/>
                    </a:lnTo>
                    <a:lnTo>
                      <a:pt x="260" y="268"/>
                    </a:lnTo>
                    <a:lnTo>
                      <a:pt x="260" y="266"/>
                    </a:lnTo>
                    <a:lnTo>
                      <a:pt x="258" y="266"/>
                    </a:lnTo>
                    <a:lnTo>
                      <a:pt x="258" y="264"/>
                    </a:lnTo>
                    <a:lnTo>
                      <a:pt x="260" y="264"/>
                    </a:lnTo>
                    <a:lnTo>
                      <a:pt x="260" y="262"/>
                    </a:lnTo>
                    <a:lnTo>
                      <a:pt x="258" y="260"/>
                    </a:lnTo>
                    <a:lnTo>
                      <a:pt x="260" y="260"/>
                    </a:lnTo>
                    <a:lnTo>
                      <a:pt x="258" y="258"/>
                    </a:lnTo>
                    <a:lnTo>
                      <a:pt x="260" y="256"/>
                    </a:lnTo>
                    <a:lnTo>
                      <a:pt x="260" y="254"/>
                    </a:lnTo>
                    <a:lnTo>
                      <a:pt x="262" y="254"/>
                    </a:lnTo>
                    <a:lnTo>
                      <a:pt x="262" y="252"/>
                    </a:lnTo>
                    <a:lnTo>
                      <a:pt x="260" y="252"/>
                    </a:lnTo>
                    <a:lnTo>
                      <a:pt x="260" y="250"/>
                    </a:lnTo>
                    <a:lnTo>
                      <a:pt x="260" y="248"/>
                    </a:lnTo>
                    <a:lnTo>
                      <a:pt x="262" y="248"/>
                    </a:lnTo>
                    <a:lnTo>
                      <a:pt x="262" y="246"/>
                    </a:lnTo>
                    <a:lnTo>
                      <a:pt x="260" y="246"/>
                    </a:lnTo>
                    <a:lnTo>
                      <a:pt x="262" y="246"/>
                    </a:lnTo>
                    <a:lnTo>
                      <a:pt x="262" y="244"/>
                    </a:lnTo>
                    <a:lnTo>
                      <a:pt x="260" y="244"/>
                    </a:lnTo>
                    <a:lnTo>
                      <a:pt x="260" y="243"/>
                    </a:lnTo>
                    <a:lnTo>
                      <a:pt x="260" y="241"/>
                    </a:lnTo>
                    <a:lnTo>
                      <a:pt x="258" y="241"/>
                    </a:lnTo>
                    <a:lnTo>
                      <a:pt x="258" y="239"/>
                    </a:lnTo>
                    <a:lnTo>
                      <a:pt x="258" y="237"/>
                    </a:lnTo>
                    <a:lnTo>
                      <a:pt x="256" y="237"/>
                    </a:lnTo>
                    <a:lnTo>
                      <a:pt x="258" y="237"/>
                    </a:lnTo>
                    <a:lnTo>
                      <a:pt x="258" y="235"/>
                    </a:lnTo>
                    <a:lnTo>
                      <a:pt x="256" y="235"/>
                    </a:lnTo>
                    <a:lnTo>
                      <a:pt x="256" y="237"/>
                    </a:lnTo>
                    <a:lnTo>
                      <a:pt x="256" y="235"/>
                    </a:lnTo>
                    <a:lnTo>
                      <a:pt x="256" y="233"/>
                    </a:lnTo>
                    <a:lnTo>
                      <a:pt x="256" y="231"/>
                    </a:lnTo>
                    <a:lnTo>
                      <a:pt x="254" y="231"/>
                    </a:lnTo>
                    <a:lnTo>
                      <a:pt x="254" y="229"/>
                    </a:lnTo>
                    <a:lnTo>
                      <a:pt x="252" y="229"/>
                    </a:lnTo>
                    <a:lnTo>
                      <a:pt x="252" y="227"/>
                    </a:lnTo>
                    <a:lnTo>
                      <a:pt x="250" y="227"/>
                    </a:lnTo>
                    <a:lnTo>
                      <a:pt x="248" y="227"/>
                    </a:lnTo>
                    <a:lnTo>
                      <a:pt x="246" y="227"/>
                    </a:lnTo>
                    <a:lnTo>
                      <a:pt x="246" y="225"/>
                    </a:lnTo>
                    <a:lnTo>
                      <a:pt x="244" y="223"/>
                    </a:lnTo>
                    <a:lnTo>
                      <a:pt x="242" y="223"/>
                    </a:lnTo>
                    <a:lnTo>
                      <a:pt x="240" y="221"/>
                    </a:lnTo>
                    <a:lnTo>
                      <a:pt x="239" y="221"/>
                    </a:lnTo>
                    <a:lnTo>
                      <a:pt x="239" y="219"/>
                    </a:lnTo>
                    <a:lnTo>
                      <a:pt x="240" y="219"/>
                    </a:lnTo>
                    <a:lnTo>
                      <a:pt x="239" y="219"/>
                    </a:lnTo>
                    <a:lnTo>
                      <a:pt x="239" y="218"/>
                    </a:lnTo>
                    <a:lnTo>
                      <a:pt x="239" y="216"/>
                    </a:lnTo>
                    <a:lnTo>
                      <a:pt x="237" y="216"/>
                    </a:lnTo>
                    <a:lnTo>
                      <a:pt x="237" y="214"/>
                    </a:lnTo>
                    <a:lnTo>
                      <a:pt x="235" y="214"/>
                    </a:lnTo>
                    <a:lnTo>
                      <a:pt x="235" y="212"/>
                    </a:lnTo>
                    <a:lnTo>
                      <a:pt x="235" y="214"/>
                    </a:lnTo>
                    <a:lnTo>
                      <a:pt x="233" y="214"/>
                    </a:lnTo>
                    <a:lnTo>
                      <a:pt x="231" y="216"/>
                    </a:lnTo>
                    <a:lnTo>
                      <a:pt x="229" y="216"/>
                    </a:lnTo>
                    <a:lnTo>
                      <a:pt x="227" y="216"/>
                    </a:lnTo>
                    <a:lnTo>
                      <a:pt x="227" y="218"/>
                    </a:lnTo>
                    <a:lnTo>
                      <a:pt x="227" y="216"/>
                    </a:lnTo>
                    <a:lnTo>
                      <a:pt x="225" y="216"/>
                    </a:lnTo>
                    <a:lnTo>
                      <a:pt x="225" y="214"/>
                    </a:lnTo>
                    <a:lnTo>
                      <a:pt x="225" y="216"/>
                    </a:lnTo>
                    <a:lnTo>
                      <a:pt x="223" y="216"/>
                    </a:lnTo>
                    <a:lnTo>
                      <a:pt x="223" y="218"/>
                    </a:lnTo>
                    <a:lnTo>
                      <a:pt x="221" y="216"/>
                    </a:lnTo>
                    <a:lnTo>
                      <a:pt x="219" y="214"/>
                    </a:lnTo>
                    <a:lnTo>
                      <a:pt x="221" y="212"/>
                    </a:lnTo>
                    <a:lnTo>
                      <a:pt x="219" y="210"/>
                    </a:lnTo>
                    <a:lnTo>
                      <a:pt x="217" y="210"/>
                    </a:lnTo>
                    <a:lnTo>
                      <a:pt x="217" y="208"/>
                    </a:lnTo>
                    <a:lnTo>
                      <a:pt x="217" y="206"/>
                    </a:lnTo>
                    <a:lnTo>
                      <a:pt x="217" y="204"/>
                    </a:lnTo>
                    <a:lnTo>
                      <a:pt x="217" y="202"/>
                    </a:lnTo>
                    <a:lnTo>
                      <a:pt x="216" y="202"/>
                    </a:lnTo>
                    <a:lnTo>
                      <a:pt x="216" y="200"/>
                    </a:lnTo>
                    <a:lnTo>
                      <a:pt x="216" y="198"/>
                    </a:lnTo>
                    <a:lnTo>
                      <a:pt x="216" y="196"/>
                    </a:lnTo>
                    <a:lnTo>
                      <a:pt x="214" y="196"/>
                    </a:lnTo>
                    <a:lnTo>
                      <a:pt x="214" y="194"/>
                    </a:lnTo>
                    <a:lnTo>
                      <a:pt x="214" y="193"/>
                    </a:lnTo>
                    <a:lnTo>
                      <a:pt x="212" y="191"/>
                    </a:lnTo>
                    <a:lnTo>
                      <a:pt x="212" y="189"/>
                    </a:lnTo>
                    <a:lnTo>
                      <a:pt x="212" y="187"/>
                    </a:lnTo>
                    <a:lnTo>
                      <a:pt x="212" y="185"/>
                    </a:lnTo>
                    <a:lnTo>
                      <a:pt x="212" y="183"/>
                    </a:lnTo>
                    <a:lnTo>
                      <a:pt x="212" y="181"/>
                    </a:lnTo>
                    <a:lnTo>
                      <a:pt x="212" y="179"/>
                    </a:lnTo>
                    <a:lnTo>
                      <a:pt x="210" y="179"/>
                    </a:lnTo>
                    <a:lnTo>
                      <a:pt x="210" y="177"/>
                    </a:lnTo>
                    <a:lnTo>
                      <a:pt x="208" y="177"/>
                    </a:lnTo>
                    <a:lnTo>
                      <a:pt x="208" y="175"/>
                    </a:lnTo>
                    <a:lnTo>
                      <a:pt x="206" y="175"/>
                    </a:lnTo>
                    <a:lnTo>
                      <a:pt x="206" y="173"/>
                    </a:lnTo>
                    <a:lnTo>
                      <a:pt x="206" y="171"/>
                    </a:lnTo>
                    <a:lnTo>
                      <a:pt x="206" y="169"/>
                    </a:lnTo>
                    <a:lnTo>
                      <a:pt x="204" y="168"/>
                    </a:lnTo>
                    <a:lnTo>
                      <a:pt x="206" y="166"/>
                    </a:lnTo>
                    <a:lnTo>
                      <a:pt x="206" y="164"/>
                    </a:lnTo>
                    <a:lnTo>
                      <a:pt x="204" y="164"/>
                    </a:lnTo>
                    <a:lnTo>
                      <a:pt x="204" y="162"/>
                    </a:lnTo>
                    <a:lnTo>
                      <a:pt x="202" y="162"/>
                    </a:lnTo>
                    <a:lnTo>
                      <a:pt x="202" y="160"/>
                    </a:lnTo>
                    <a:lnTo>
                      <a:pt x="200" y="158"/>
                    </a:lnTo>
                    <a:lnTo>
                      <a:pt x="200" y="156"/>
                    </a:lnTo>
                    <a:lnTo>
                      <a:pt x="200" y="158"/>
                    </a:lnTo>
                    <a:lnTo>
                      <a:pt x="200" y="156"/>
                    </a:lnTo>
                    <a:lnTo>
                      <a:pt x="198" y="156"/>
                    </a:lnTo>
                    <a:lnTo>
                      <a:pt x="200" y="154"/>
                    </a:lnTo>
                    <a:lnTo>
                      <a:pt x="198" y="154"/>
                    </a:lnTo>
                    <a:lnTo>
                      <a:pt x="200" y="154"/>
                    </a:lnTo>
                    <a:lnTo>
                      <a:pt x="198" y="152"/>
                    </a:lnTo>
                    <a:lnTo>
                      <a:pt x="198" y="150"/>
                    </a:lnTo>
                    <a:lnTo>
                      <a:pt x="198" y="148"/>
                    </a:lnTo>
                    <a:lnTo>
                      <a:pt x="200" y="148"/>
                    </a:lnTo>
                    <a:lnTo>
                      <a:pt x="202" y="148"/>
                    </a:lnTo>
                    <a:lnTo>
                      <a:pt x="202" y="146"/>
                    </a:lnTo>
                    <a:lnTo>
                      <a:pt x="200" y="146"/>
                    </a:lnTo>
                    <a:lnTo>
                      <a:pt x="200" y="144"/>
                    </a:lnTo>
                    <a:lnTo>
                      <a:pt x="198" y="144"/>
                    </a:lnTo>
                    <a:lnTo>
                      <a:pt x="196" y="143"/>
                    </a:lnTo>
                    <a:lnTo>
                      <a:pt x="196" y="141"/>
                    </a:lnTo>
                    <a:lnTo>
                      <a:pt x="196" y="139"/>
                    </a:lnTo>
                    <a:lnTo>
                      <a:pt x="194" y="139"/>
                    </a:lnTo>
                    <a:lnTo>
                      <a:pt x="192" y="139"/>
                    </a:lnTo>
                    <a:lnTo>
                      <a:pt x="191" y="139"/>
                    </a:lnTo>
                    <a:lnTo>
                      <a:pt x="189" y="139"/>
                    </a:lnTo>
                    <a:lnTo>
                      <a:pt x="187" y="139"/>
                    </a:lnTo>
                    <a:lnTo>
                      <a:pt x="187" y="137"/>
                    </a:lnTo>
                    <a:lnTo>
                      <a:pt x="187" y="135"/>
                    </a:lnTo>
                    <a:lnTo>
                      <a:pt x="187" y="133"/>
                    </a:lnTo>
                    <a:lnTo>
                      <a:pt x="189" y="133"/>
                    </a:lnTo>
                    <a:lnTo>
                      <a:pt x="189" y="131"/>
                    </a:lnTo>
                    <a:lnTo>
                      <a:pt x="191" y="131"/>
                    </a:lnTo>
                    <a:lnTo>
                      <a:pt x="191" y="129"/>
                    </a:lnTo>
                    <a:lnTo>
                      <a:pt x="191" y="127"/>
                    </a:lnTo>
                    <a:lnTo>
                      <a:pt x="191" y="125"/>
                    </a:lnTo>
                    <a:lnTo>
                      <a:pt x="191" y="123"/>
                    </a:lnTo>
                    <a:lnTo>
                      <a:pt x="189" y="121"/>
                    </a:lnTo>
                    <a:lnTo>
                      <a:pt x="189" y="119"/>
                    </a:lnTo>
                    <a:lnTo>
                      <a:pt x="189" y="118"/>
                    </a:lnTo>
                    <a:lnTo>
                      <a:pt x="189" y="116"/>
                    </a:lnTo>
                    <a:lnTo>
                      <a:pt x="191" y="114"/>
                    </a:lnTo>
                    <a:lnTo>
                      <a:pt x="192" y="112"/>
                    </a:lnTo>
                    <a:lnTo>
                      <a:pt x="194" y="112"/>
                    </a:lnTo>
                    <a:lnTo>
                      <a:pt x="196" y="114"/>
                    </a:lnTo>
                    <a:lnTo>
                      <a:pt x="198" y="114"/>
                    </a:lnTo>
                    <a:lnTo>
                      <a:pt x="198" y="116"/>
                    </a:lnTo>
                    <a:lnTo>
                      <a:pt x="200" y="116"/>
                    </a:lnTo>
                    <a:lnTo>
                      <a:pt x="202" y="116"/>
                    </a:lnTo>
                    <a:lnTo>
                      <a:pt x="202" y="118"/>
                    </a:lnTo>
                    <a:lnTo>
                      <a:pt x="204" y="118"/>
                    </a:lnTo>
                    <a:lnTo>
                      <a:pt x="206" y="118"/>
                    </a:lnTo>
                    <a:lnTo>
                      <a:pt x="208" y="118"/>
                    </a:lnTo>
                    <a:lnTo>
                      <a:pt x="210" y="118"/>
                    </a:lnTo>
                    <a:lnTo>
                      <a:pt x="210" y="116"/>
                    </a:lnTo>
                    <a:lnTo>
                      <a:pt x="212" y="116"/>
                    </a:lnTo>
                    <a:lnTo>
                      <a:pt x="212" y="114"/>
                    </a:lnTo>
                    <a:lnTo>
                      <a:pt x="214" y="114"/>
                    </a:lnTo>
                    <a:lnTo>
                      <a:pt x="214" y="116"/>
                    </a:lnTo>
                    <a:lnTo>
                      <a:pt x="216" y="116"/>
                    </a:lnTo>
                    <a:lnTo>
                      <a:pt x="216" y="118"/>
                    </a:lnTo>
                    <a:lnTo>
                      <a:pt x="217" y="116"/>
                    </a:lnTo>
                    <a:lnTo>
                      <a:pt x="217" y="118"/>
                    </a:lnTo>
                    <a:lnTo>
                      <a:pt x="219" y="118"/>
                    </a:lnTo>
                    <a:lnTo>
                      <a:pt x="219" y="119"/>
                    </a:lnTo>
                    <a:lnTo>
                      <a:pt x="221" y="119"/>
                    </a:lnTo>
                    <a:lnTo>
                      <a:pt x="223" y="119"/>
                    </a:lnTo>
                    <a:lnTo>
                      <a:pt x="223" y="118"/>
                    </a:lnTo>
                    <a:lnTo>
                      <a:pt x="225" y="118"/>
                    </a:lnTo>
                    <a:lnTo>
                      <a:pt x="225" y="119"/>
                    </a:lnTo>
                    <a:lnTo>
                      <a:pt x="227" y="119"/>
                    </a:lnTo>
                    <a:lnTo>
                      <a:pt x="227" y="118"/>
                    </a:lnTo>
                    <a:lnTo>
                      <a:pt x="229" y="118"/>
                    </a:lnTo>
                    <a:lnTo>
                      <a:pt x="231" y="116"/>
                    </a:lnTo>
                    <a:lnTo>
                      <a:pt x="233" y="116"/>
                    </a:lnTo>
                    <a:lnTo>
                      <a:pt x="233" y="114"/>
                    </a:lnTo>
                    <a:lnTo>
                      <a:pt x="235" y="114"/>
                    </a:lnTo>
                    <a:lnTo>
                      <a:pt x="233" y="112"/>
                    </a:lnTo>
                    <a:lnTo>
                      <a:pt x="235" y="112"/>
                    </a:lnTo>
                    <a:lnTo>
                      <a:pt x="237" y="112"/>
                    </a:lnTo>
                    <a:lnTo>
                      <a:pt x="237" y="110"/>
                    </a:lnTo>
                    <a:lnTo>
                      <a:pt x="239" y="110"/>
                    </a:lnTo>
                    <a:lnTo>
                      <a:pt x="239" y="108"/>
                    </a:lnTo>
                    <a:lnTo>
                      <a:pt x="239" y="106"/>
                    </a:lnTo>
                    <a:lnTo>
                      <a:pt x="239" y="104"/>
                    </a:lnTo>
                    <a:lnTo>
                      <a:pt x="240" y="104"/>
                    </a:lnTo>
                    <a:lnTo>
                      <a:pt x="240" y="102"/>
                    </a:lnTo>
                    <a:lnTo>
                      <a:pt x="240" y="100"/>
                    </a:lnTo>
                    <a:lnTo>
                      <a:pt x="242" y="100"/>
                    </a:lnTo>
                    <a:lnTo>
                      <a:pt x="242" y="102"/>
                    </a:lnTo>
                    <a:lnTo>
                      <a:pt x="242" y="104"/>
                    </a:lnTo>
                    <a:lnTo>
                      <a:pt x="244" y="104"/>
                    </a:lnTo>
                    <a:lnTo>
                      <a:pt x="242" y="104"/>
                    </a:lnTo>
                    <a:lnTo>
                      <a:pt x="244" y="104"/>
                    </a:lnTo>
                    <a:lnTo>
                      <a:pt x="244" y="106"/>
                    </a:lnTo>
                    <a:lnTo>
                      <a:pt x="246" y="106"/>
                    </a:lnTo>
                    <a:lnTo>
                      <a:pt x="246" y="108"/>
                    </a:lnTo>
                    <a:lnTo>
                      <a:pt x="248" y="108"/>
                    </a:lnTo>
                    <a:lnTo>
                      <a:pt x="248" y="106"/>
                    </a:lnTo>
                    <a:lnTo>
                      <a:pt x="246" y="106"/>
                    </a:lnTo>
                    <a:lnTo>
                      <a:pt x="248" y="106"/>
                    </a:lnTo>
                    <a:lnTo>
                      <a:pt x="248" y="104"/>
                    </a:lnTo>
                    <a:lnTo>
                      <a:pt x="250" y="104"/>
                    </a:lnTo>
                    <a:lnTo>
                      <a:pt x="250" y="106"/>
                    </a:lnTo>
                    <a:lnTo>
                      <a:pt x="250" y="104"/>
                    </a:lnTo>
                    <a:lnTo>
                      <a:pt x="250" y="102"/>
                    </a:lnTo>
                    <a:lnTo>
                      <a:pt x="250" y="100"/>
                    </a:lnTo>
                    <a:lnTo>
                      <a:pt x="248" y="100"/>
                    </a:lnTo>
                    <a:lnTo>
                      <a:pt x="250" y="100"/>
                    </a:lnTo>
                    <a:lnTo>
                      <a:pt x="250" y="98"/>
                    </a:lnTo>
                    <a:lnTo>
                      <a:pt x="252" y="96"/>
                    </a:lnTo>
                    <a:lnTo>
                      <a:pt x="252" y="94"/>
                    </a:lnTo>
                    <a:lnTo>
                      <a:pt x="252" y="93"/>
                    </a:lnTo>
                    <a:lnTo>
                      <a:pt x="250" y="93"/>
                    </a:lnTo>
                    <a:lnTo>
                      <a:pt x="250" y="91"/>
                    </a:lnTo>
                    <a:lnTo>
                      <a:pt x="250" y="89"/>
                    </a:lnTo>
                    <a:lnTo>
                      <a:pt x="248" y="89"/>
                    </a:lnTo>
                    <a:lnTo>
                      <a:pt x="248" y="87"/>
                    </a:lnTo>
                    <a:lnTo>
                      <a:pt x="246" y="87"/>
                    </a:lnTo>
                    <a:lnTo>
                      <a:pt x="246" y="85"/>
                    </a:lnTo>
                    <a:lnTo>
                      <a:pt x="248" y="83"/>
                    </a:lnTo>
                    <a:lnTo>
                      <a:pt x="250" y="83"/>
                    </a:lnTo>
                    <a:lnTo>
                      <a:pt x="250" y="81"/>
                    </a:lnTo>
                    <a:lnTo>
                      <a:pt x="250" y="79"/>
                    </a:lnTo>
                    <a:lnTo>
                      <a:pt x="250" y="77"/>
                    </a:lnTo>
                    <a:lnTo>
                      <a:pt x="250" y="75"/>
                    </a:lnTo>
                    <a:lnTo>
                      <a:pt x="250" y="73"/>
                    </a:lnTo>
                    <a:lnTo>
                      <a:pt x="248" y="73"/>
                    </a:lnTo>
                    <a:lnTo>
                      <a:pt x="248" y="75"/>
                    </a:lnTo>
                    <a:lnTo>
                      <a:pt x="246" y="75"/>
                    </a:lnTo>
                    <a:lnTo>
                      <a:pt x="244" y="73"/>
                    </a:lnTo>
                    <a:lnTo>
                      <a:pt x="242" y="73"/>
                    </a:lnTo>
                    <a:lnTo>
                      <a:pt x="244" y="75"/>
                    </a:lnTo>
                    <a:lnTo>
                      <a:pt x="244" y="77"/>
                    </a:lnTo>
                    <a:lnTo>
                      <a:pt x="244" y="79"/>
                    </a:lnTo>
                    <a:lnTo>
                      <a:pt x="242" y="79"/>
                    </a:lnTo>
                    <a:lnTo>
                      <a:pt x="242" y="81"/>
                    </a:lnTo>
                    <a:lnTo>
                      <a:pt x="240" y="79"/>
                    </a:lnTo>
                    <a:lnTo>
                      <a:pt x="239" y="79"/>
                    </a:lnTo>
                    <a:lnTo>
                      <a:pt x="240" y="77"/>
                    </a:lnTo>
                    <a:lnTo>
                      <a:pt x="240" y="75"/>
                    </a:lnTo>
                    <a:lnTo>
                      <a:pt x="240" y="73"/>
                    </a:lnTo>
                    <a:lnTo>
                      <a:pt x="239" y="73"/>
                    </a:lnTo>
                    <a:lnTo>
                      <a:pt x="239" y="75"/>
                    </a:lnTo>
                    <a:lnTo>
                      <a:pt x="237" y="75"/>
                    </a:lnTo>
                    <a:lnTo>
                      <a:pt x="237" y="73"/>
                    </a:lnTo>
                    <a:lnTo>
                      <a:pt x="235" y="73"/>
                    </a:lnTo>
                    <a:lnTo>
                      <a:pt x="235" y="71"/>
                    </a:lnTo>
                    <a:lnTo>
                      <a:pt x="237" y="71"/>
                    </a:lnTo>
                    <a:lnTo>
                      <a:pt x="235" y="71"/>
                    </a:lnTo>
                    <a:lnTo>
                      <a:pt x="235" y="69"/>
                    </a:lnTo>
                    <a:lnTo>
                      <a:pt x="235" y="68"/>
                    </a:lnTo>
                    <a:lnTo>
                      <a:pt x="233" y="66"/>
                    </a:lnTo>
                    <a:lnTo>
                      <a:pt x="233" y="68"/>
                    </a:lnTo>
                    <a:lnTo>
                      <a:pt x="233" y="66"/>
                    </a:lnTo>
                    <a:lnTo>
                      <a:pt x="231" y="66"/>
                    </a:lnTo>
                    <a:lnTo>
                      <a:pt x="231" y="64"/>
                    </a:lnTo>
                    <a:lnTo>
                      <a:pt x="231" y="62"/>
                    </a:lnTo>
                    <a:lnTo>
                      <a:pt x="233" y="62"/>
                    </a:lnTo>
                    <a:lnTo>
                      <a:pt x="233" y="60"/>
                    </a:lnTo>
                    <a:lnTo>
                      <a:pt x="231" y="58"/>
                    </a:lnTo>
                    <a:lnTo>
                      <a:pt x="231" y="56"/>
                    </a:lnTo>
                    <a:lnTo>
                      <a:pt x="229" y="56"/>
                    </a:lnTo>
                    <a:lnTo>
                      <a:pt x="227" y="56"/>
                    </a:lnTo>
                    <a:lnTo>
                      <a:pt x="225" y="56"/>
                    </a:lnTo>
                    <a:lnTo>
                      <a:pt x="225" y="54"/>
                    </a:lnTo>
                    <a:lnTo>
                      <a:pt x="225" y="52"/>
                    </a:lnTo>
                    <a:lnTo>
                      <a:pt x="225" y="50"/>
                    </a:lnTo>
                    <a:lnTo>
                      <a:pt x="225" y="48"/>
                    </a:lnTo>
                    <a:lnTo>
                      <a:pt x="223" y="48"/>
                    </a:lnTo>
                    <a:lnTo>
                      <a:pt x="223" y="46"/>
                    </a:lnTo>
                    <a:lnTo>
                      <a:pt x="223" y="48"/>
                    </a:lnTo>
                    <a:lnTo>
                      <a:pt x="221" y="46"/>
                    </a:lnTo>
                    <a:lnTo>
                      <a:pt x="221" y="44"/>
                    </a:lnTo>
                    <a:lnTo>
                      <a:pt x="221" y="43"/>
                    </a:lnTo>
                    <a:lnTo>
                      <a:pt x="223" y="43"/>
                    </a:lnTo>
                    <a:lnTo>
                      <a:pt x="225" y="43"/>
                    </a:lnTo>
                    <a:lnTo>
                      <a:pt x="227" y="41"/>
                    </a:lnTo>
                    <a:lnTo>
                      <a:pt x="225" y="41"/>
                    </a:lnTo>
                    <a:lnTo>
                      <a:pt x="227" y="41"/>
                    </a:lnTo>
                    <a:lnTo>
                      <a:pt x="229" y="41"/>
                    </a:lnTo>
                    <a:lnTo>
                      <a:pt x="229" y="39"/>
                    </a:lnTo>
                    <a:lnTo>
                      <a:pt x="229" y="37"/>
                    </a:lnTo>
                    <a:lnTo>
                      <a:pt x="231" y="37"/>
                    </a:lnTo>
                    <a:lnTo>
                      <a:pt x="231" y="35"/>
                    </a:lnTo>
                    <a:lnTo>
                      <a:pt x="229" y="35"/>
                    </a:lnTo>
                    <a:lnTo>
                      <a:pt x="227" y="31"/>
                    </a:lnTo>
                    <a:lnTo>
                      <a:pt x="227" y="29"/>
                    </a:lnTo>
                    <a:lnTo>
                      <a:pt x="227" y="27"/>
                    </a:lnTo>
                    <a:lnTo>
                      <a:pt x="227" y="25"/>
                    </a:lnTo>
                    <a:lnTo>
                      <a:pt x="227" y="23"/>
                    </a:lnTo>
                    <a:lnTo>
                      <a:pt x="227" y="21"/>
                    </a:lnTo>
                    <a:lnTo>
                      <a:pt x="227" y="20"/>
                    </a:lnTo>
                    <a:lnTo>
                      <a:pt x="227" y="21"/>
                    </a:lnTo>
                    <a:lnTo>
                      <a:pt x="229" y="21"/>
                    </a:lnTo>
                    <a:lnTo>
                      <a:pt x="231" y="21"/>
                    </a:lnTo>
                    <a:lnTo>
                      <a:pt x="231" y="20"/>
                    </a:lnTo>
                    <a:lnTo>
                      <a:pt x="231" y="18"/>
                    </a:lnTo>
                    <a:lnTo>
                      <a:pt x="229" y="16"/>
                    </a:lnTo>
                    <a:lnTo>
                      <a:pt x="229" y="14"/>
                    </a:lnTo>
                    <a:lnTo>
                      <a:pt x="227" y="12"/>
                    </a:lnTo>
                    <a:lnTo>
                      <a:pt x="225" y="10"/>
                    </a:lnTo>
                    <a:lnTo>
                      <a:pt x="227" y="8"/>
                    </a:lnTo>
                    <a:lnTo>
                      <a:pt x="229" y="6"/>
                    </a:lnTo>
                    <a:lnTo>
                      <a:pt x="229" y="4"/>
                    </a:lnTo>
                    <a:lnTo>
                      <a:pt x="231" y="2"/>
                    </a:lnTo>
                    <a:lnTo>
                      <a:pt x="229" y="2"/>
                    </a:lnTo>
                    <a:lnTo>
                      <a:pt x="231" y="2"/>
                    </a:lnTo>
                    <a:lnTo>
                      <a:pt x="233" y="2"/>
                    </a:lnTo>
                    <a:lnTo>
                      <a:pt x="235" y="2"/>
                    </a:lnTo>
                    <a:lnTo>
                      <a:pt x="235" y="0"/>
                    </a:lnTo>
                    <a:lnTo>
                      <a:pt x="237" y="0"/>
                    </a:lnTo>
                    <a:lnTo>
                      <a:pt x="237" y="2"/>
                    </a:lnTo>
                    <a:lnTo>
                      <a:pt x="237" y="0"/>
                    </a:lnTo>
                    <a:lnTo>
                      <a:pt x="239" y="0"/>
                    </a:lnTo>
                    <a:lnTo>
                      <a:pt x="240" y="0"/>
                    </a:lnTo>
                    <a:lnTo>
                      <a:pt x="242" y="0"/>
                    </a:lnTo>
                    <a:lnTo>
                      <a:pt x="242" y="2"/>
                    </a:lnTo>
                    <a:lnTo>
                      <a:pt x="244" y="2"/>
                    </a:lnTo>
                    <a:lnTo>
                      <a:pt x="244" y="0"/>
                    </a:lnTo>
                    <a:lnTo>
                      <a:pt x="246" y="0"/>
                    </a:lnTo>
                    <a:lnTo>
                      <a:pt x="248" y="0"/>
                    </a:lnTo>
                    <a:lnTo>
                      <a:pt x="250" y="0"/>
                    </a:lnTo>
                    <a:lnTo>
                      <a:pt x="250" y="2"/>
                    </a:lnTo>
                    <a:lnTo>
                      <a:pt x="252" y="2"/>
                    </a:lnTo>
                    <a:lnTo>
                      <a:pt x="252" y="4"/>
                    </a:lnTo>
                    <a:lnTo>
                      <a:pt x="254" y="4"/>
                    </a:lnTo>
                    <a:lnTo>
                      <a:pt x="254" y="6"/>
                    </a:lnTo>
                    <a:lnTo>
                      <a:pt x="256" y="6"/>
                    </a:lnTo>
                    <a:lnTo>
                      <a:pt x="258" y="6"/>
                    </a:lnTo>
                    <a:lnTo>
                      <a:pt x="258" y="8"/>
                    </a:lnTo>
                    <a:lnTo>
                      <a:pt x="258" y="10"/>
                    </a:lnTo>
                    <a:lnTo>
                      <a:pt x="260" y="8"/>
                    </a:lnTo>
                    <a:lnTo>
                      <a:pt x="262" y="8"/>
                    </a:lnTo>
                    <a:lnTo>
                      <a:pt x="262" y="10"/>
                    </a:lnTo>
                    <a:lnTo>
                      <a:pt x="264" y="10"/>
                    </a:lnTo>
                    <a:lnTo>
                      <a:pt x="265" y="10"/>
                    </a:lnTo>
                    <a:lnTo>
                      <a:pt x="267" y="8"/>
                    </a:lnTo>
                    <a:lnTo>
                      <a:pt x="267" y="6"/>
                    </a:lnTo>
                    <a:lnTo>
                      <a:pt x="269" y="6"/>
                    </a:lnTo>
                    <a:lnTo>
                      <a:pt x="271" y="6"/>
                    </a:lnTo>
                    <a:lnTo>
                      <a:pt x="273" y="4"/>
                    </a:lnTo>
                    <a:lnTo>
                      <a:pt x="275" y="2"/>
                    </a:lnTo>
                    <a:lnTo>
                      <a:pt x="277" y="4"/>
                    </a:lnTo>
                    <a:close/>
                    <a:moveTo>
                      <a:pt x="248" y="471"/>
                    </a:moveTo>
                    <a:lnTo>
                      <a:pt x="248" y="469"/>
                    </a:lnTo>
                    <a:lnTo>
                      <a:pt x="246" y="469"/>
                    </a:lnTo>
                    <a:lnTo>
                      <a:pt x="246" y="471"/>
                    </a:lnTo>
                    <a:lnTo>
                      <a:pt x="246" y="473"/>
                    </a:lnTo>
                    <a:lnTo>
                      <a:pt x="244" y="473"/>
                    </a:lnTo>
                    <a:lnTo>
                      <a:pt x="242" y="473"/>
                    </a:lnTo>
                    <a:lnTo>
                      <a:pt x="242" y="471"/>
                    </a:lnTo>
                    <a:lnTo>
                      <a:pt x="240" y="471"/>
                    </a:lnTo>
                    <a:lnTo>
                      <a:pt x="239" y="473"/>
                    </a:lnTo>
                    <a:lnTo>
                      <a:pt x="237" y="477"/>
                    </a:lnTo>
                    <a:lnTo>
                      <a:pt x="235" y="481"/>
                    </a:lnTo>
                    <a:lnTo>
                      <a:pt x="235" y="483"/>
                    </a:lnTo>
                    <a:lnTo>
                      <a:pt x="233" y="485"/>
                    </a:lnTo>
                    <a:lnTo>
                      <a:pt x="231" y="487"/>
                    </a:lnTo>
                    <a:lnTo>
                      <a:pt x="231" y="489"/>
                    </a:lnTo>
                    <a:lnTo>
                      <a:pt x="229" y="489"/>
                    </a:lnTo>
                    <a:lnTo>
                      <a:pt x="227" y="492"/>
                    </a:lnTo>
                    <a:lnTo>
                      <a:pt x="227" y="498"/>
                    </a:lnTo>
                    <a:lnTo>
                      <a:pt x="227" y="500"/>
                    </a:lnTo>
                    <a:lnTo>
                      <a:pt x="227" y="502"/>
                    </a:lnTo>
                    <a:lnTo>
                      <a:pt x="225" y="502"/>
                    </a:lnTo>
                    <a:lnTo>
                      <a:pt x="221" y="502"/>
                    </a:lnTo>
                    <a:lnTo>
                      <a:pt x="219" y="502"/>
                    </a:lnTo>
                    <a:lnTo>
                      <a:pt x="219" y="498"/>
                    </a:lnTo>
                    <a:lnTo>
                      <a:pt x="219" y="496"/>
                    </a:lnTo>
                    <a:lnTo>
                      <a:pt x="217" y="496"/>
                    </a:lnTo>
                    <a:lnTo>
                      <a:pt x="217" y="498"/>
                    </a:lnTo>
                    <a:lnTo>
                      <a:pt x="216" y="498"/>
                    </a:lnTo>
                    <a:lnTo>
                      <a:pt x="216" y="496"/>
                    </a:lnTo>
                    <a:lnTo>
                      <a:pt x="214" y="496"/>
                    </a:lnTo>
                    <a:lnTo>
                      <a:pt x="212" y="494"/>
                    </a:lnTo>
                    <a:lnTo>
                      <a:pt x="212" y="496"/>
                    </a:lnTo>
                    <a:lnTo>
                      <a:pt x="210" y="496"/>
                    </a:lnTo>
                    <a:lnTo>
                      <a:pt x="210" y="498"/>
                    </a:lnTo>
                    <a:lnTo>
                      <a:pt x="208" y="498"/>
                    </a:lnTo>
                    <a:lnTo>
                      <a:pt x="206" y="506"/>
                    </a:lnTo>
                    <a:lnTo>
                      <a:pt x="204" y="512"/>
                    </a:lnTo>
                    <a:lnTo>
                      <a:pt x="206" y="512"/>
                    </a:lnTo>
                    <a:lnTo>
                      <a:pt x="208" y="514"/>
                    </a:lnTo>
                    <a:lnTo>
                      <a:pt x="210" y="516"/>
                    </a:lnTo>
                    <a:lnTo>
                      <a:pt x="208" y="517"/>
                    </a:lnTo>
                    <a:lnTo>
                      <a:pt x="208" y="523"/>
                    </a:lnTo>
                    <a:lnTo>
                      <a:pt x="208" y="525"/>
                    </a:lnTo>
                    <a:lnTo>
                      <a:pt x="206" y="523"/>
                    </a:lnTo>
                    <a:lnTo>
                      <a:pt x="204" y="521"/>
                    </a:lnTo>
                    <a:lnTo>
                      <a:pt x="204" y="523"/>
                    </a:lnTo>
                    <a:lnTo>
                      <a:pt x="200" y="523"/>
                    </a:lnTo>
                    <a:lnTo>
                      <a:pt x="198" y="519"/>
                    </a:lnTo>
                    <a:lnTo>
                      <a:pt x="194" y="517"/>
                    </a:lnTo>
                    <a:lnTo>
                      <a:pt x="192" y="517"/>
                    </a:lnTo>
                    <a:lnTo>
                      <a:pt x="192" y="519"/>
                    </a:lnTo>
                    <a:lnTo>
                      <a:pt x="191" y="521"/>
                    </a:lnTo>
                    <a:lnTo>
                      <a:pt x="191" y="519"/>
                    </a:lnTo>
                    <a:lnTo>
                      <a:pt x="189" y="521"/>
                    </a:lnTo>
                    <a:lnTo>
                      <a:pt x="189" y="523"/>
                    </a:lnTo>
                    <a:lnTo>
                      <a:pt x="189" y="525"/>
                    </a:lnTo>
                    <a:lnTo>
                      <a:pt x="187" y="525"/>
                    </a:lnTo>
                    <a:lnTo>
                      <a:pt x="187" y="527"/>
                    </a:lnTo>
                    <a:lnTo>
                      <a:pt x="185" y="531"/>
                    </a:lnTo>
                    <a:lnTo>
                      <a:pt x="183" y="531"/>
                    </a:lnTo>
                    <a:lnTo>
                      <a:pt x="183" y="533"/>
                    </a:lnTo>
                    <a:lnTo>
                      <a:pt x="183" y="535"/>
                    </a:lnTo>
                    <a:lnTo>
                      <a:pt x="181" y="535"/>
                    </a:lnTo>
                    <a:lnTo>
                      <a:pt x="179" y="535"/>
                    </a:lnTo>
                    <a:lnTo>
                      <a:pt x="179" y="533"/>
                    </a:lnTo>
                    <a:lnTo>
                      <a:pt x="177" y="533"/>
                    </a:lnTo>
                    <a:lnTo>
                      <a:pt x="175" y="531"/>
                    </a:lnTo>
                    <a:lnTo>
                      <a:pt x="175" y="529"/>
                    </a:lnTo>
                    <a:lnTo>
                      <a:pt x="173" y="527"/>
                    </a:lnTo>
                    <a:lnTo>
                      <a:pt x="173" y="525"/>
                    </a:lnTo>
                    <a:lnTo>
                      <a:pt x="173" y="521"/>
                    </a:lnTo>
                    <a:lnTo>
                      <a:pt x="169" y="521"/>
                    </a:lnTo>
                    <a:lnTo>
                      <a:pt x="169" y="523"/>
                    </a:lnTo>
                    <a:lnTo>
                      <a:pt x="167" y="523"/>
                    </a:lnTo>
                    <a:lnTo>
                      <a:pt x="167" y="521"/>
                    </a:lnTo>
                    <a:lnTo>
                      <a:pt x="164" y="521"/>
                    </a:lnTo>
                    <a:lnTo>
                      <a:pt x="164" y="523"/>
                    </a:lnTo>
                    <a:lnTo>
                      <a:pt x="164" y="525"/>
                    </a:lnTo>
                    <a:lnTo>
                      <a:pt x="164" y="527"/>
                    </a:lnTo>
                    <a:lnTo>
                      <a:pt x="162" y="529"/>
                    </a:lnTo>
                    <a:lnTo>
                      <a:pt x="164" y="531"/>
                    </a:lnTo>
                    <a:lnTo>
                      <a:pt x="162" y="531"/>
                    </a:lnTo>
                    <a:lnTo>
                      <a:pt x="160" y="533"/>
                    </a:lnTo>
                    <a:lnTo>
                      <a:pt x="160" y="537"/>
                    </a:lnTo>
                    <a:lnTo>
                      <a:pt x="158" y="539"/>
                    </a:lnTo>
                    <a:lnTo>
                      <a:pt x="158" y="541"/>
                    </a:lnTo>
                    <a:lnTo>
                      <a:pt x="158" y="542"/>
                    </a:lnTo>
                    <a:lnTo>
                      <a:pt x="158" y="544"/>
                    </a:lnTo>
                    <a:lnTo>
                      <a:pt x="160" y="548"/>
                    </a:lnTo>
                    <a:lnTo>
                      <a:pt x="164" y="550"/>
                    </a:lnTo>
                    <a:lnTo>
                      <a:pt x="164" y="548"/>
                    </a:lnTo>
                    <a:lnTo>
                      <a:pt x="166" y="548"/>
                    </a:lnTo>
                    <a:lnTo>
                      <a:pt x="166" y="546"/>
                    </a:lnTo>
                    <a:lnTo>
                      <a:pt x="167" y="548"/>
                    </a:lnTo>
                    <a:lnTo>
                      <a:pt x="169" y="548"/>
                    </a:lnTo>
                    <a:lnTo>
                      <a:pt x="171" y="548"/>
                    </a:lnTo>
                    <a:lnTo>
                      <a:pt x="173" y="550"/>
                    </a:lnTo>
                    <a:lnTo>
                      <a:pt x="173" y="552"/>
                    </a:lnTo>
                    <a:lnTo>
                      <a:pt x="173" y="554"/>
                    </a:lnTo>
                    <a:lnTo>
                      <a:pt x="173" y="556"/>
                    </a:lnTo>
                    <a:lnTo>
                      <a:pt x="173" y="558"/>
                    </a:lnTo>
                    <a:lnTo>
                      <a:pt x="175" y="560"/>
                    </a:lnTo>
                    <a:lnTo>
                      <a:pt x="177" y="562"/>
                    </a:lnTo>
                    <a:lnTo>
                      <a:pt x="179" y="562"/>
                    </a:lnTo>
                    <a:lnTo>
                      <a:pt x="181" y="560"/>
                    </a:lnTo>
                    <a:lnTo>
                      <a:pt x="181" y="558"/>
                    </a:lnTo>
                    <a:lnTo>
                      <a:pt x="183" y="558"/>
                    </a:lnTo>
                    <a:lnTo>
                      <a:pt x="187" y="558"/>
                    </a:lnTo>
                    <a:lnTo>
                      <a:pt x="189" y="558"/>
                    </a:lnTo>
                    <a:lnTo>
                      <a:pt x="187" y="556"/>
                    </a:lnTo>
                    <a:lnTo>
                      <a:pt x="189" y="556"/>
                    </a:lnTo>
                    <a:lnTo>
                      <a:pt x="191" y="556"/>
                    </a:lnTo>
                    <a:lnTo>
                      <a:pt x="192" y="558"/>
                    </a:lnTo>
                    <a:lnTo>
                      <a:pt x="194" y="558"/>
                    </a:lnTo>
                    <a:lnTo>
                      <a:pt x="194" y="556"/>
                    </a:lnTo>
                    <a:lnTo>
                      <a:pt x="196" y="556"/>
                    </a:lnTo>
                    <a:lnTo>
                      <a:pt x="196" y="558"/>
                    </a:lnTo>
                    <a:lnTo>
                      <a:pt x="196" y="560"/>
                    </a:lnTo>
                    <a:lnTo>
                      <a:pt x="196" y="562"/>
                    </a:lnTo>
                    <a:lnTo>
                      <a:pt x="198" y="564"/>
                    </a:lnTo>
                    <a:lnTo>
                      <a:pt x="200" y="564"/>
                    </a:lnTo>
                    <a:lnTo>
                      <a:pt x="200" y="565"/>
                    </a:lnTo>
                    <a:lnTo>
                      <a:pt x="200" y="567"/>
                    </a:lnTo>
                    <a:lnTo>
                      <a:pt x="198" y="569"/>
                    </a:lnTo>
                    <a:lnTo>
                      <a:pt x="200" y="569"/>
                    </a:lnTo>
                    <a:lnTo>
                      <a:pt x="202" y="569"/>
                    </a:lnTo>
                    <a:lnTo>
                      <a:pt x="204" y="569"/>
                    </a:lnTo>
                    <a:lnTo>
                      <a:pt x="204" y="567"/>
                    </a:lnTo>
                    <a:lnTo>
                      <a:pt x="204" y="565"/>
                    </a:lnTo>
                    <a:lnTo>
                      <a:pt x="204" y="564"/>
                    </a:lnTo>
                    <a:lnTo>
                      <a:pt x="206" y="564"/>
                    </a:lnTo>
                    <a:lnTo>
                      <a:pt x="208" y="562"/>
                    </a:lnTo>
                    <a:lnTo>
                      <a:pt x="206" y="560"/>
                    </a:lnTo>
                    <a:lnTo>
                      <a:pt x="208" y="558"/>
                    </a:lnTo>
                    <a:lnTo>
                      <a:pt x="210" y="558"/>
                    </a:lnTo>
                    <a:lnTo>
                      <a:pt x="212" y="558"/>
                    </a:lnTo>
                    <a:lnTo>
                      <a:pt x="214" y="558"/>
                    </a:lnTo>
                    <a:lnTo>
                      <a:pt x="217" y="560"/>
                    </a:lnTo>
                    <a:lnTo>
                      <a:pt x="219" y="562"/>
                    </a:lnTo>
                    <a:lnTo>
                      <a:pt x="219" y="564"/>
                    </a:lnTo>
                    <a:lnTo>
                      <a:pt x="221" y="564"/>
                    </a:lnTo>
                    <a:lnTo>
                      <a:pt x="221" y="565"/>
                    </a:lnTo>
                    <a:lnTo>
                      <a:pt x="223" y="565"/>
                    </a:lnTo>
                    <a:lnTo>
                      <a:pt x="223" y="564"/>
                    </a:lnTo>
                    <a:lnTo>
                      <a:pt x="225" y="562"/>
                    </a:lnTo>
                    <a:lnTo>
                      <a:pt x="223" y="562"/>
                    </a:lnTo>
                    <a:lnTo>
                      <a:pt x="225" y="560"/>
                    </a:lnTo>
                    <a:lnTo>
                      <a:pt x="227" y="560"/>
                    </a:lnTo>
                    <a:lnTo>
                      <a:pt x="227" y="558"/>
                    </a:lnTo>
                    <a:lnTo>
                      <a:pt x="229" y="558"/>
                    </a:lnTo>
                    <a:lnTo>
                      <a:pt x="227" y="558"/>
                    </a:lnTo>
                    <a:lnTo>
                      <a:pt x="229" y="558"/>
                    </a:lnTo>
                    <a:lnTo>
                      <a:pt x="231" y="558"/>
                    </a:lnTo>
                    <a:lnTo>
                      <a:pt x="231" y="556"/>
                    </a:lnTo>
                    <a:lnTo>
                      <a:pt x="233" y="556"/>
                    </a:lnTo>
                    <a:lnTo>
                      <a:pt x="233" y="558"/>
                    </a:lnTo>
                    <a:lnTo>
                      <a:pt x="235" y="558"/>
                    </a:lnTo>
                    <a:lnTo>
                      <a:pt x="235" y="556"/>
                    </a:lnTo>
                    <a:lnTo>
                      <a:pt x="237" y="556"/>
                    </a:lnTo>
                    <a:lnTo>
                      <a:pt x="237" y="558"/>
                    </a:lnTo>
                    <a:lnTo>
                      <a:pt x="237" y="556"/>
                    </a:lnTo>
                    <a:lnTo>
                      <a:pt x="237" y="558"/>
                    </a:lnTo>
                    <a:lnTo>
                      <a:pt x="239" y="558"/>
                    </a:lnTo>
                    <a:lnTo>
                      <a:pt x="239" y="556"/>
                    </a:lnTo>
                    <a:lnTo>
                      <a:pt x="239" y="558"/>
                    </a:lnTo>
                    <a:lnTo>
                      <a:pt x="240" y="556"/>
                    </a:lnTo>
                    <a:lnTo>
                      <a:pt x="242" y="556"/>
                    </a:lnTo>
                    <a:lnTo>
                      <a:pt x="242" y="554"/>
                    </a:lnTo>
                    <a:lnTo>
                      <a:pt x="244" y="554"/>
                    </a:lnTo>
                    <a:lnTo>
                      <a:pt x="244" y="552"/>
                    </a:lnTo>
                    <a:lnTo>
                      <a:pt x="246" y="552"/>
                    </a:lnTo>
                    <a:lnTo>
                      <a:pt x="248" y="552"/>
                    </a:lnTo>
                    <a:lnTo>
                      <a:pt x="250" y="552"/>
                    </a:lnTo>
                    <a:lnTo>
                      <a:pt x="252" y="552"/>
                    </a:lnTo>
                    <a:lnTo>
                      <a:pt x="254" y="552"/>
                    </a:lnTo>
                    <a:lnTo>
                      <a:pt x="254" y="550"/>
                    </a:lnTo>
                    <a:lnTo>
                      <a:pt x="254" y="552"/>
                    </a:lnTo>
                    <a:lnTo>
                      <a:pt x="254" y="550"/>
                    </a:lnTo>
                    <a:lnTo>
                      <a:pt x="256" y="550"/>
                    </a:lnTo>
                    <a:lnTo>
                      <a:pt x="256" y="548"/>
                    </a:lnTo>
                    <a:lnTo>
                      <a:pt x="256" y="550"/>
                    </a:lnTo>
                    <a:lnTo>
                      <a:pt x="258" y="550"/>
                    </a:lnTo>
                    <a:lnTo>
                      <a:pt x="260" y="550"/>
                    </a:lnTo>
                    <a:lnTo>
                      <a:pt x="260" y="548"/>
                    </a:lnTo>
                    <a:lnTo>
                      <a:pt x="262" y="548"/>
                    </a:lnTo>
                    <a:lnTo>
                      <a:pt x="262" y="546"/>
                    </a:lnTo>
                    <a:lnTo>
                      <a:pt x="262" y="548"/>
                    </a:lnTo>
                    <a:lnTo>
                      <a:pt x="262" y="546"/>
                    </a:lnTo>
                    <a:lnTo>
                      <a:pt x="264" y="546"/>
                    </a:lnTo>
                    <a:lnTo>
                      <a:pt x="264" y="544"/>
                    </a:lnTo>
                    <a:lnTo>
                      <a:pt x="265" y="544"/>
                    </a:lnTo>
                    <a:lnTo>
                      <a:pt x="265" y="542"/>
                    </a:lnTo>
                    <a:lnTo>
                      <a:pt x="265" y="544"/>
                    </a:lnTo>
                    <a:lnTo>
                      <a:pt x="267" y="544"/>
                    </a:lnTo>
                    <a:lnTo>
                      <a:pt x="265" y="542"/>
                    </a:lnTo>
                    <a:lnTo>
                      <a:pt x="267" y="542"/>
                    </a:lnTo>
                    <a:lnTo>
                      <a:pt x="269" y="542"/>
                    </a:lnTo>
                    <a:lnTo>
                      <a:pt x="271" y="544"/>
                    </a:lnTo>
                    <a:lnTo>
                      <a:pt x="271" y="542"/>
                    </a:lnTo>
                    <a:lnTo>
                      <a:pt x="273" y="542"/>
                    </a:lnTo>
                    <a:lnTo>
                      <a:pt x="275" y="542"/>
                    </a:lnTo>
                    <a:lnTo>
                      <a:pt x="277" y="542"/>
                    </a:lnTo>
                    <a:lnTo>
                      <a:pt x="277" y="541"/>
                    </a:lnTo>
                    <a:lnTo>
                      <a:pt x="279" y="541"/>
                    </a:lnTo>
                    <a:lnTo>
                      <a:pt x="279" y="539"/>
                    </a:lnTo>
                    <a:lnTo>
                      <a:pt x="281" y="539"/>
                    </a:lnTo>
                    <a:lnTo>
                      <a:pt x="281" y="537"/>
                    </a:lnTo>
                    <a:lnTo>
                      <a:pt x="279" y="535"/>
                    </a:lnTo>
                    <a:lnTo>
                      <a:pt x="281" y="535"/>
                    </a:lnTo>
                    <a:lnTo>
                      <a:pt x="281" y="533"/>
                    </a:lnTo>
                    <a:lnTo>
                      <a:pt x="281" y="535"/>
                    </a:lnTo>
                    <a:lnTo>
                      <a:pt x="283" y="535"/>
                    </a:lnTo>
                    <a:lnTo>
                      <a:pt x="285" y="535"/>
                    </a:lnTo>
                    <a:lnTo>
                      <a:pt x="285" y="533"/>
                    </a:lnTo>
                    <a:lnTo>
                      <a:pt x="285" y="531"/>
                    </a:lnTo>
                    <a:lnTo>
                      <a:pt x="283" y="531"/>
                    </a:lnTo>
                    <a:lnTo>
                      <a:pt x="283" y="527"/>
                    </a:lnTo>
                    <a:lnTo>
                      <a:pt x="281" y="527"/>
                    </a:lnTo>
                    <a:lnTo>
                      <a:pt x="281" y="525"/>
                    </a:lnTo>
                    <a:lnTo>
                      <a:pt x="279" y="523"/>
                    </a:lnTo>
                    <a:lnTo>
                      <a:pt x="277" y="523"/>
                    </a:lnTo>
                    <a:lnTo>
                      <a:pt x="275" y="523"/>
                    </a:lnTo>
                    <a:lnTo>
                      <a:pt x="273" y="523"/>
                    </a:lnTo>
                    <a:lnTo>
                      <a:pt x="271" y="523"/>
                    </a:lnTo>
                    <a:lnTo>
                      <a:pt x="269" y="523"/>
                    </a:lnTo>
                    <a:lnTo>
                      <a:pt x="267" y="523"/>
                    </a:lnTo>
                    <a:lnTo>
                      <a:pt x="265" y="523"/>
                    </a:lnTo>
                    <a:lnTo>
                      <a:pt x="264" y="523"/>
                    </a:lnTo>
                    <a:lnTo>
                      <a:pt x="264" y="521"/>
                    </a:lnTo>
                    <a:lnTo>
                      <a:pt x="262" y="521"/>
                    </a:lnTo>
                    <a:lnTo>
                      <a:pt x="262" y="519"/>
                    </a:lnTo>
                    <a:lnTo>
                      <a:pt x="264" y="519"/>
                    </a:lnTo>
                    <a:lnTo>
                      <a:pt x="264" y="517"/>
                    </a:lnTo>
                    <a:lnTo>
                      <a:pt x="265" y="517"/>
                    </a:lnTo>
                    <a:lnTo>
                      <a:pt x="265" y="516"/>
                    </a:lnTo>
                    <a:lnTo>
                      <a:pt x="265" y="514"/>
                    </a:lnTo>
                    <a:lnTo>
                      <a:pt x="264" y="514"/>
                    </a:lnTo>
                    <a:lnTo>
                      <a:pt x="264" y="512"/>
                    </a:lnTo>
                    <a:lnTo>
                      <a:pt x="265" y="512"/>
                    </a:lnTo>
                    <a:lnTo>
                      <a:pt x="265" y="510"/>
                    </a:lnTo>
                    <a:lnTo>
                      <a:pt x="267" y="512"/>
                    </a:lnTo>
                    <a:lnTo>
                      <a:pt x="269" y="512"/>
                    </a:lnTo>
                    <a:lnTo>
                      <a:pt x="271" y="512"/>
                    </a:lnTo>
                    <a:lnTo>
                      <a:pt x="271" y="514"/>
                    </a:lnTo>
                    <a:lnTo>
                      <a:pt x="271" y="516"/>
                    </a:lnTo>
                    <a:lnTo>
                      <a:pt x="271" y="514"/>
                    </a:lnTo>
                    <a:lnTo>
                      <a:pt x="273" y="514"/>
                    </a:lnTo>
                    <a:lnTo>
                      <a:pt x="273" y="512"/>
                    </a:lnTo>
                    <a:lnTo>
                      <a:pt x="273" y="510"/>
                    </a:lnTo>
                    <a:lnTo>
                      <a:pt x="275" y="510"/>
                    </a:lnTo>
                    <a:lnTo>
                      <a:pt x="275" y="508"/>
                    </a:lnTo>
                    <a:lnTo>
                      <a:pt x="275" y="506"/>
                    </a:lnTo>
                    <a:lnTo>
                      <a:pt x="277" y="506"/>
                    </a:lnTo>
                    <a:lnTo>
                      <a:pt x="277" y="504"/>
                    </a:lnTo>
                    <a:lnTo>
                      <a:pt x="279" y="504"/>
                    </a:lnTo>
                    <a:lnTo>
                      <a:pt x="279" y="502"/>
                    </a:lnTo>
                    <a:lnTo>
                      <a:pt x="279" y="500"/>
                    </a:lnTo>
                    <a:lnTo>
                      <a:pt x="279" y="498"/>
                    </a:lnTo>
                    <a:lnTo>
                      <a:pt x="281" y="498"/>
                    </a:lnTo>
                    <a:lnTo>
                      <a:pt x="281" y="496"/>
                    </a:lnTo>
                    <a:lnTo>
                      <a:pt x="281" y="494"/>
                    </a:lnTo>
                    <a:lnTo>
                      <a:pt x="281" y="492"/>
                    </a:lnTo>
                    <a:lnTo>
                      <a:pt x="281" y="491"/>
                    </a:lnTo>
                    <a:lnTo>
                      <a:pt x="281" y="489"/>
                    </a:lnTo>
                    <a:lnTo>
                      <a:pt x="279" y="487"/>
                    </a:lnTo>
                    <a:lnTo>
                      <a:pt x="277" y="487"/>
                    </a:lnTo>
                    <a:lnTo>
                      <a:pt x="277" y="489"/>
                    </a:lnTo>
                    <a:lnTo>
                      <a:pt x="275" y="489"/>
                    </a:lnTo>
                    <a:lnTo>
                      <a:pt x="275" y="487"/>
                    </a:lnTo>
                    <a:lnTo>
                      <a:pt x="273" y="487"/>
                    </a:lnTo>
                    <a:lnTo>
                      <a:pt x="271" y="485"/>
                    </a:lnTo>
                    <a:lnTo>
                      <a:pt x="271" y="483"/>
                    </a:lnTo>
                    <a:lnTo>
                      <a:pt x="269" y="481"/>
                    </a:lnTo>
                    <a:lnTo>
                      <a:pt x="267" y="481"/>
                    </a:lnTo>
                    <a:lnTo>
                      <a:pt x="265" y="481"/>
                    </a:lnTo>
                    <a:lnTo>
                      <a:pt x="264" y="479"/>
                    </a:lnTo>
                    <a:lnTo>
                      <a:pt x="260" y="477"/>
                    </a:lnTo>
                    <a:lnTo>
                      <a:pt x="258" y="475"/>
                    </a:lnTo>
                    <a:lnTo>
                      <a:pt x="256" y="475"/>
                    </a:lnTo>
                    <a:lnTo>
                      <a:pt x="252" y="475"/>
                    </a:lnTo>
                    <a:lnTo>
                      <a:pt x="252" y="473"/>
                    </a:lnTo>
                    <a:lnTo>
                      <a:pt x="248" y="47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22">
                <a:extLst>
                  <a:ext uri="{FF2B5EF4-FFF2-40B4-BE49-F238E27FC236}">
                    <a16:creationId xmlns="" xmlns:a16="http://schemas.microsoft.com/office/drawing/2014/main" id="{4FD13CAC-A796-4EE8-BC89-AE5736B048D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53300" y="1492251"/>
                <a:ext cx="244475" cy="433388"/>
              </a:xfrm>
              <a:custGeom>
                <a:avLst/>
                <a:gdLst>
                  <a:gd name="T0" fmla="*/ 10 w 154"/>
                  <a:gd name="T1" fmla="*/ 252 h 273"/>
                  <a:gd name="T2" fmla="*/ 13 w 154"/>
                  <a:gd name="T3" fmla="*/ 250 h 273"/>
                  <a:gd name="T4" fmla="*/ 15 w 154"/>
                  <a:gd name="T5" fmla="*/ 248 h 273"/>
                  <a:gd name="T6" fmla="*/ 17 w 154"/>
                  <a:gd name="T7" fmla="*/ 248 h 273"/>
                  <a:gd name="T8" fmla="*/ 21 w 154"/>
                  <a:gd name="T9" fmla="*/ 246 h 273"/>
                  <a:gd name="T10" fmla="*/ 23 w 154"/>
                  <a:gd name="T11" fmla="*/ 246 h 273"/>
                  <a:gd name="T12" fmla="*/ 25 w 154"/>
                  <a:gd name="T13" fmla="*/ 246 h 273"/>
                  <a:gd name="T14" fmla="*/ 29 w 154"/>
                  <a:gd name="T15" fmla="*/ 244 h 273"/>
                  <a:gd name="T16" fmla="*/ 31 w 154"/>
                  <a:gd name="T17" fmla="*/ 244 h 273"/>
                  <a:gd name="T18" fmla="*/ 33 w 154"/>
                  <a:gd name="T19" fmla="*/ 248 h 273"/>
                  <a:gd name="T20" fmla="*/ 31 w 154"/>
                  <a:gd name="T21" fmla="*/ 252 h 273"/>
                  <a:gd name="T22" fmla="*/ 35 w 154"/>
                  <a:gd name="T23" fmla="*/ 254 h 273"/>
                  <a:gd name="T24" fmla="*/ 37 w 154"/>
                  <a:gd name="T25" fmla="*/ 259 h 273"/>
                  <a:gd name="T26" fmla="*/ 35 w 154"/>
                  <a:gd name="T27" fmla="*/ 263 h 273"/>
                  <a:gd name="T28" fmla="*/ 31 w 154"/>
                  <a:gd name="T29" fmla="*/ 265 h 273"/>
                  <a:gd name="T30" fmla="*/ 25 w 154"/>
                  <a:gd name="T31" fmla="*/ 269 h 273"/>
                  <a:gd name="T32" fmla="*/ 19 w 154"/>
                  <a:gd name="T33" fmla="*/ 271 h 273"/>
                  <a:gd name="T34" fmla="*/ 13 w 154"/>
                  <a:gd name="T35" fmla="*/ 271 h 273"/>
                  <a:gd name="T36" fmla="*/ 10 w 154"/>
                  <a:gd name="T37" fmla="*/ 271 h 273"/>
                  <a:gd name="T38" fmla="*/ 4 w 154"/>
                  <a:gd name="T39" fmla="*/ 273 h 273"/>
                  <a:gd name="T40" fmla="*/ 2 w 154"/>
                  <a:gd name="T41" fmla="*/ 273 h 273"/>
                  <a:gd name="T42" fmla="*/ 2 w 154"/>
                  <a:gd name="T43" fmla="*/ 269 h 273"/>
                  <a:gd name="T44" fmla="*/ 0 w 154"/>
                  <a:gd name="T45" fmla="*/ 263 h 273"/>
                  <a:gd name="T46" fmla="*/ 0 w 154"/>
                  <a:gd name="T47" fmla="*/ 261 h 273"/>
                  <a:gd name="T48" fmla="*/ 2 w 154"/>
                  <a:gd name="T49" fmla="*/ 257 h 273"/>
                  <a:gd name="T50" fmla="*/ 2 w 154"/>
                  <a:gd name="T51" fmla="*/ 256 h 273"/>
                  <a:gd name="T52" fmla="*/ 6 w 154"/>
                  <a:gd name="T53" fmla="*/ 254 h 273"/>
                  <a:gd name="T54" fmla="*/ 6 w 154"/>
                  <a:gd name="T55" fmla="*/ 252 h 273"/>
                  <a:gd name="T56" fmla="*/ 152 w 154"/>
                  <a:gd name="T57" fmla="*/ 21 h 273"/>
                  <a:gd name="T58" fmla="*/ 152 w 154"/>
                  <a:gd name="T59" fmla="*/ 27 h 273"/>
                  <a:gd name="T60" fmla="*/ 150 w 154"/>
                  <a:gd name="T61" fmla="*/ 33 h 273"/>
                  <a:gd name="T62" fmla="*/ 150 w 154"/>
                  <a:gd name="T63" fmla="*/ 34 h 273"/>
                  <a:gd name="T64" fmla="*/ 150 w 154"/>
                  <a:gd name="T65" fmla="*/ 31 h 273"/>
                  <a:gd name="T66" fmla="*/ 148 w 154"/>
                  <a:gd name="T67" fmla="*/ 34 h 273"/>
                  <a:gd name="T68" fmla="*/ 150 w 154"/>
                  <a:gd name="T69" fmla="*/ 34 h 273"/>
                  <a:gd name="T70" fmla="*/ 148 w 154"/>
                  <a:gd name="T71" fmla="*/ 34 h 273"/>
                  <a:gd name="T72" fmla="*/ 146 w 154"/>
                  <a:gd name="T73" fmla="*/ 38 h 273"/>
                  <a:gd name="T74" fmla="*/ 146 w 154"/>
                  <a:gd name="T75" fmla="*/ 38 h 273"/>
                  <a:gd name="T76" fmla="*/ 144 w 154"/>
                  <a:gd name="T77" fmla="*/ 42 h 273"/>
                  <a:gd name="T78" fmla="*/ 144 w 154"/>
                  <a:gd name="T79" fmla="*/ 40 h 273"/>
                  <a:gd name="T80" fmla="*/ 144 w 154"/>
                  <a:gd name="T81" fmla="*/ 46 h 273"/>
                  <a:gd name="T82" fmla="*/ 140 w 154"/>
                  <a:gd name="T83" fmla="*/ 46 h 273"/>
                  <a:gd name="T84" fmla="*/ 142 w 154"/>
                  <a:gd name="T85" fmla="*/ 48 h 273"/>
                  <a:gd name="T86" fmla="*/ 142 w 154"/>
                  <a:gd name="T87" fmla="*/ 46 h 273"/>
                  <a:gd name="T88" fmla="*/ 140 w 154"/>
                  <a:gd name="T89" fmla="*/ 46 h 273"/>
                  <a:gd name="T90" fmla="*/ 136 w 154"/>
                  <a:gd name="T91" fmla="*/ 44 h 273"/>
                  <a:gd name="T92" fmla="*/ 136 w 154"/>
                  <a:gd name="T93" fmla="*/ 44 h 273"/>
                  <a:gd name="T94" fmla="*/ 129 w 154"/>
                  <a:gd name="T95" fmla="*/ 40 h 273"/>
                  <a:gd name="T96" fmla="*/ 127 w 154"/>
                  <a:gd name="T97" fmla="*/ 34 h 273"/>
                  <a:gd name="T98" fmla="*/ 127 w 154"/>
                  <a:gd name="T99" fmla="*/ 33 h 273"/>
                  <a:gd name="T100" fmla="*/ 127 w 154"/>
                  <a:gd name="T101" fmla="*/ 31 h 273"/>
                  <a:gd name="T102" fmla="*/ 127 w 154"/>
                  <a:gd name="T103" fmla="*/ 29 h 273"/>
                  <a:gd name="T104" fmla="*/ 129 w 154"/>
                  <a:gd name="T105" fmla="*/ 25 h 273"/>
                  <a:gd name="T106" fmla="*/ 127 w 154"/>
                  <a:gd name="T107" fmla="*/ 19 h 273"/>
                  <a:gd name="T108" fmla="*/ 127 w 154"/>
                  <a:gd name="T109" fmla="*/ 17 h 273"/>
                  <a:gd name="T110" fmla="*/ 127 w 154"/>
                  <a:gd name="T111" fmla="*/ 15 h 273"/>
                  <a:gd name="T112" fmla="*/ 127 w 154"/>
                  <a:gd name="T113" fmla="*/ 15 h 273"/>
                  <a:gd name="T114" fmla="*/ 127 w 154"/>
                  <a:gd name="T115" fmla="*/ 9 h 273"/>
                  <a:gd name="T116" fmla="*/ 127 w 154"/>
                  <a:gd name="T117" fmla="*/ 8 h 273"/>
                  <a:gd name="T118" fmla="*/ 127 w 154"/>
                  <a:gd name="T119" fmla="*/ 9 h 273"/>
                  <a:gd name="T120" fmla="*/ 129 w 154"/>
                  <a:gd name="T121" fmla="*/ 6 h 273"/>
                  <a:gd name="T122" fmla="*/ 129 w 154"/>
                  <a:gd name="T123" fmla="*/ 4 h 273"/>
                  <a:gd name="T124" fmla="*/ 129 w 154"/>
                  <a:gd name="T125" fmla="*/ 2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54" h="273">
                    <a:moveTo>
                      <a:pt x="6" y="252"/>
                    </a:moveTo>
                    <a:lnTo>
                      <a:pt x="8" y="252"/>
                    </a:lnTo>
                    <a:lnTo>
                      <a:pt x="10" y="252"/>
                    </a:lnTo>
                    <a:lnTo>
                      <a:pt x="10" y="250"/>
                    </a:lnTo>
                    <a:lnTo>
                      <a:pt x="12" y="250"/>
                    </a:lnTo>
                    <a:lnTo>
                      <a:pt x="13" y="250"/>
                    </a:lnTo>
                    <a:lnTo>
                      <a:pt x="12" y="250"/>
                    </a:lnTo>
                    <a:lnTo>
                      <a:pt x="13" y="250"/>
                    </a:lnTo>
                    <a:lnTo>
                      <a:pt x="15" y="248"/>
                    </a:lnTo>
                    <a:lnTo>
                      <a:pt x="15" y="250"/>
                    </a:lnTo>
                    <a:lnTo>
                      <a:pt x="15" y="248"/>
                    </a:lnTo>
                    <a:lnTo>
                      <a:pt x="17" y="248"/>
                    </a:lnTo>
                    <a:lnTo>
                      <a:pt x="19" y="248"/>
                    </a:lnTo>
                    <a:lnTo>
                      <a:pt x="19" y="246"/>
                    </a:lnTo>
                    <a:lnTo>
                      <a:pt x="21" y="246"/>
                    </a:lnTo>
                    <a:lnTo>
                      <a:pt x="21" y="248"/>
                    </a:lnTo>
                    <a:lnTo>
                      <a:pt x="21" y="246"/>
                    </a:lnTo>
                    <a:lnTo>
                      <a:pt x="23" y="246"/>
                    </a:lnTo>
                    <a:lnTo>
                      <a:pt x="25" y="246"/>
                    </a:lnTo>
                    <a:lnTo>
                      <a:pt x="25" y="244"/>
                    </a:lnTo>
                    <a:lnTo>
                      <a:pt x="25" y="246"/>
                    </a:lnTo>
                    <a:lnTo>
                      <a:pt x="25" y="244"/>
                    </a:lnTo>
                    <a:lnTo>
                      <a:pt x="27" y="244"/>
                    </a:lnTo>
                    <a:lnTo>
                      <a:pt x="29" y="244"/>
                    </a:lnTo>
                    <a:lnTo>
                      <a:pt x="31" y="244"/>
                    </a:lnTo>
                    <a:lnTo>
                      <a:pt x="29" y="244"/>
                    </a:lnTo>
                    <a:lnTo>
                      <a:pt x="31" y="244"/>
                    </a:lnTo>
                    <a:lnTo>
                      <a:pt x="31" y="246"/>
                    </a:lnTo>
                    <a:lnTo>
                      <a:pt x="33" y="246"/>
                    </a:lnTo>
                    <a:lnTo>
                      <a:pt x="33" y="248"/>
                    </a:lnTo>
                    <a:lnTo>
                      <a:pt x="33" y="250"/>
                    </a:lnTo>
                    <a:lnTo>
                      <a:pt x="31" y="250"/>
                    </a:lnTo>
                    <a:lnTo>
                      <a:pt x="31" y="252"/>
                    </a:lnTo>
                    <a:lnTo>
                      <a:pt x="33" y="252"/>
                    </a:lnTo>
                    <a:lnTo>
                      <a:pt x="33" y="254"/>
                    </a:lnTo>
                    <a:lnTo>
                      <a:pt x="35" y="254"/>
                    </a:lnTo>
                    <a:lnTo>
                      <a:pt x="37" y="256"/>
                    </a:lnTo>
                    <a:lnTo>
                      <a:pt x="37" y="257"/>
                    </a:lnTo>
                    <a:lnTo>
                      <a:pt x="37" y="259"/>
                    </a:lnTo>
                    <a:lnTo>
                      <a:pt x="37" y="261"/>
                    </a:lnTo>
                    <a:lnTo>
                      <a:pt x="35" y="261"/>
                    </a:lnTo>
                    <a:lnTo>
                      <a:pt x="35" y="263"/>
                    </a:lnTo>
                    <a:lnTo>
                      <a:pt x="33" y="263"/>
                    </a:lnTo>
                    <a:lnTo>
                      <a:pt x="33" y="265"/>
                    </a:lnTo>
                    <a:lnTo>
                      <a:pt x="31" y="265"/>
                    </a:lnTo>
                    <a:lnTo>
                      <a:pt x="29" y="267"/>
                    </a:lnTo>
                    <a:lnTo>
                      <a:pt x="27" y="267"/>
                    </a:lnTo>
                    <a:lnTo>
                      <a:pt x="25" y="269"/>
                    </a:lnTo>
                    <a:lnTo>
                      <a:pt x="23" y="269"/>
                    </a:lnTo>
                    <a:lnTo>
                      <a:pt x="21" y="269"/>
                    </a:lnTo>
                    <a:lnTo>
                      <a:pt x="19" y="271"/>
                    </a:lnTo>
                    <a:lnTo>
                      <a:pt x="17" y="271"/>
                    </a:lnTo>
                    <a:lnTo>
                      <a:pt x="15" y="271"/>
                    </a:lnTo>
                    <a:lnTo>
                      <a:pt x="13" y="271"/>
                    </a:lnTo>
                    <a:lnTo>
                      <a:pt x="12" y="271"/>
                    </a:lnTo>
                    <a:lnTo>
                      <a:pt x="10" y="269"/>
                    </a:lnTo>
                    <a:lnTo>
                      <a:pt x="10" y="271"/>
                    </a:lnTo>
                    <a:lnTo>
                      <a:pt x="8" y="271"/>
                    </a:lnTo>
                    <a:lnTo>
                      <a:pt x="6" y="271"/>
                    </a:lnTo>
                    <a:lnTo>
                      <a:pt x="4" y="273"/>
                    </a:lnTo>
                    <a:lnTo>
                      <a:pt x="4" y="271"/>
                    </a:lnTo>
                    <a:lnTo>
                      <a:pt x="4" y="273"/>
                    </a:lnTo>
                    <a:lnTo>
                      <a:pt x="2" y="273"/>
                    </a:lnTo>
                    <a:lnTo>
                      <a:pt x="4" y="273"/>
                    </a:lnTo>
                    <a:lnTo>
                      <a:pt x="2" y="273"/>
                    </a:lnTo>
                    <a:lnTo>
                      <a:pt x="2" y="269"/>
                    </a:lnTo>
                    <a:lnTo>
                      <a:pt x="0" y="267"/>
                    </a:lnTo>
                    <a:lnTo>
                      <a:pt x="0" y="265"/>
                    </a:lnTo>
                    <a:lnTo>
                      <a:pt x="0" y="263"/>
                    </a:lnTo>
                    <a:lnTo>
                      <a:pt x="0" y="261"/>
                    </a:lnTo>
                    <a:lnTo>
                      <a:pt x="2" y="261"/>
                    </a:lnTo>
                    <a:lnTo>
                      <a:pt x="0" y="261"/>
                    </a:lnTo>
                    <a:lnTo>
                      <a:pt x="0" y="259"/>
                    </a:lnTo>
                    <a:lnTo>
                      <a:pt x="2" y="259"/>
                    </a:lnTo>
                    <a:lnTo>
                      <a:pt x="2" y="257"/>
                    </a:lnTo>
                    <a:lnTo>
                      <a:pt x="2" y="259"/>
                    </a:lnTo>
                    <a:lnTo>
                      <a:pt x="2" y="257"/>
                    </a:lnTo>
                    <a:lnTo>
                      <a:pt x="2" y="256"/>
                    </a:lnTo>
                    <a:lnTo>
                      <a:pt x="4" y="256"/>
                    </a:lnTo>
                    <a:lnTo>
                      <a:pt x="4" y="254"/>
                    </a:lnTo>
                    <a:lnTo>
                      <a:pt x="6" y="254"/>
                    </a:lnTo>
                    <a:lnTo>
                      <a:pt x="6" y="252"/>
                    </a:lnTo>
                    <a:lnTo>
                      <a:pt x="8" y="252"/>
                    </a:lnTo>
                    <a:lnTo>
                      <a:pt x="6" y="252"/>
                    </a:lnTo>
                    <a:close/>
                    <a:moveTo>
                      <a:pt x="129" y="0"/>
                    </a:moveTo>
                    <a:lnTo>
                      <a:pt x="154" y="19"/>
                    </a:lnTo>
                    <a:lnTo>
                      <a:pt x="152" y="21"/>
                    </a:lnTo>
                    <a:lnTo>
                      <a:pt x="152" y="23"/>
                    </a:lnTo>
                    <a:lnTo>
                      <a:pt x="152" y="25"/>
                    </a:lnTo>
                    <a:lnTo>
                      <a:pt x="152" y="27"/>
                    </a:lnTo>
                    <a:lnTo>
                      <a:pt x="152" y="31"/>
                    </a:lnTo>
                    <a:lnTo>
                      <a:pt x="152" y="33"/>
                    </a:lnTo>
                    <a:lnTo>
                      <a:pt x="150" y="33"/>
                    </a:lnTo>
                    <a:lnTo>
                      <a:pt x="150" y="34"/>
                    </a:lnTo>
                    <a:lnTo>
                      <a:pt x="148" y="34"/>
                    </a:lnTo>
                    <a:lnTo>
                      <a:pt x="150" y="34"/>
                    </a:lnTo>
                    <a:lnTo>
                      <a:pt x="152" y="33"/>
                    </a:lnTo>
                    <a:lnTo>
                      <a:pt x="152" y="31"/>
                    </a:lnTo>
                    <a:lnTo>
                      <a:pt x="150" y="31"/>
                    </a:lnTo>
                    <a:lnTo>
                      <a:pt x="150" y="33"/>
                    </a:lnTo>
                    <a:lnTo>
                      <a:pt x="148" y="33"/>
                    </a:lnTo>
                    <a:lnTo>
                      <a:pt x="148" y="34"/>
                    </a:lnTo>
                    <a:lnTo>
                      <a:pt x="148" y="33"/>
                    </a:lnTo>
                    <a:lnTo>
                      <a:pt x="150" y="33"/>
                    </a:lnTo>
                    <a:lnTo>
                      <a:pt x="150" y="34"/>
                    </a:lnTo>
                    <a:lnTo>
                      <a:pt x="148" y="34"/>
                    </a:lnTo>
                    <a:lnTo>
                      <a:pt x="146" y="36"/>
                    </a:lnTo>
                    <a:lnTo>
                      <a:pt x="148" y="34"/>
                    </a:lnTo>
                    <a:lnTo>
                      <a:pt x="148" y="36"/>
                    </a:lnTo>
                    <a:lnTo>
                      <a:pt x="146" y="36"/>
                    </a:lnTo>
                    <a:lnTo>
                      <a:pt x="146" y="38"/>
                    </a:lnTo>
                    <a:lnTo>
                      <a:pt x="144" y="38"/>
                    </a:lnTo>
                    <a:lnTo>
                      <a:pt x="144" y="40"/>
                    </a:lnTo>
                    <a:lnTo>
                      <a:pt x="146" y="38"/>
                    </a:lnTo>
                    <a:lnTo>
                      <a:pt x="144" y="38"/>
                    </a:lnTo>
                    <a:lnTo>
                      <a:pt x="144" y="40"/>
                    </a:lnTo>
                    <a:lnTo>
                      <a:pt x="144" y="42"/>
                    </a:lnTo>
                    <a:lnTo>
                      <a:pt x="144" y="44"/>
                    </a:lnTo>
                    <a:lnTo>
                      <a:pt x="144" y="42"/>
                    </a:lnTo>
                    <a:lnTo>
                      <a:pt x="144" y="40"/>
                    </a:lnTo>
                    <a:lnTo>
                      <a:pt x="144" y="42"/>
                    </a:lnTo>
                    <a:lnTo>
                      <a:pt x="144" y="44"/>
                    </a:lnTo>
                    <a:lnTo>
                      <a:pt x="144" y="46"/>
                    </a:lnTo>
                    <a:lnTo>
                      <a:pt x="144" y="48"/>
                    </a:lnTo>
                    <a:lnTo>
                      <a:pt x="142" y="48"/>
                    </a:lnTo>
                    <a:lnTo>
                      <a:pt x="140" y="46"/>
                    </a:lnTo>
                    <a:lnTo>
                      <a:pt x="138" y="46"/>
                    </a:lnTo>
                    <a:lnTo>
                      <a:pt x="140" y="46"/>
                    </a:lnTo>
                    <a:lnTo>
                      <a:pt x="142" y="48"/>
                    </a:lnTo>
                    <a:lnTo>
                      <a:pt x="142" y="46"/>
                    </a:lnTo>
                    <a:lnTo>
                      <a:pt x="142" y="48"/>
                    </a:lnTo>
                    <a:lnTo>
                      <a:pt x="142" y="46"/>
                    </a:lnTo>
                    <a:lnTo>
                      <a:pt x="140" y="46"/>
                    </a:lnTo>
                    <a:lnTo>
                      <a:pt x="142" y="46"/>
                    </a:lnTo>
                    <a:lnTo>
                      <a:pt x="140" y="46"/>
                    </a:lnTo>
                    <a:lnTo>
                      <a:pt x="138" y="46"/>
                    </a:lnTo>
                    <a:lnTo>
                      <a:pt x="138" y="44"/>
                    </a:lnTo>
                    <a:lnTo>
                      <a:pt x="136" y="44"/>
                    </a:lnTo>
                    <a:lnTo>
                      <a:pt x="138" y="44"/>
                    </a:lnTo>
                    <a:lnTo>
                      <a:pt x="138" y="46"/>
                    </a:lnTo>
                    <a:lnTo>
                      <a:pt x="136" y="44"/>
                    </a:lnTo>
                    <a:lnTo>
                      <a:pt x="133" y="44"/>
                    </a:lnTo>
                    <a:lnTo>
                      <a:pt x="131" y="42"/>
                    </a:lnTo>
                    <a:lnTo>
                      <a:pt x="129" y="40"/>
                    </a:lnTo>
                    <a:lnTo>
                      <a:pt x="127" y="38"/>
                    </a:lnTo>
                    <a:lnTo>
                      <a:pt x="127" y="36"/>
                    </a:lnTo>
                    <a:lnTo>
                      <a:pt x="127" y="34"/>
                    </a:lnTo>
                    <a:lnTo>
                      <a:pt x="127" y="33"/>
                    </a:lnTo>
                    <a:lnTo>
                      <a:pt x="127" y="31"/>
                    </a:lnTo>
                    <a:lnTo>
                      <a:pt x="127" y="33"/>
                    </a:lnTo>
                    <a:lnTo>
                      <a:pt x="129" y="33"/>
                    </a:lnTo>
                    <a:lnTo>
                      <a:pt x="127" y="33"/>
                    </a:lnTo>
                    <a:lnTo>
                      <a:pt x="127" y="31"/>
                    </a:lnTo>
                    <a:lnTo>
                      <a:pt x="127" y="29"/>
                    </a:lnTo>
                    <a:lnTo>
                      <a:pt x="127" y="31"/>
                    </a:lnTo>
                    <a:lnTo>
                      <a:pt x="127" y="29"/>
                    </a:lnTo>
                    <a:lnTo>
                      <a:pt x="127" y="27"/>
                    </a:lnTo>
                    <a:lnTo>
                      <a:pt x="127" y="25"/>
                    </a:lnTo>
                    <a:lnTo>
                      <a:pt x="129" y="25"/>
                    </a:lnTo>
                    <a:lnTo>
                      <a:pt x="129" y="23"/>
                    </a:lnTo>
                    <a:lnTo>
                      <a:pt x="127" y="21"/>
                    </a:lnTo>
                    <a:lnTo>
                      <a:pt x="127" y="19"/>
                    </a:lnTo>
                    <a:lnTo>
                      <a:pt x="129" y="19"/>
                    </a:lnTo>
                    <a:lnTo>
                      <a:pt x="129" y="17"/>
                    </a:lnTo>
                    <a:lnTo>
                      <a:pt x="127" y="17"/>
                    </a:lnTo>
                    <a:lnTo>
                      <a:pt x="127" y="19"/>
                    </a:lnTo>
                    <a:lnTo>
                      <a:pt x="127" y="17"/>
                    </a:lnTo>
                    <a:lnTo>
                      <a:pt x="127" y="15"/>
                    </a:lnTo>
                    <a:lnTo>
                      <a:pt x="129" y="13"/>
                    </a:lnTo>
                    <a:lnTo>
                      <a:pt x="127" y="13"/>
                    </a:lnTo>
                    <a:lnTo>
                      <a:pt x="127" y="15"/>
                    </a:lnTo>
                    <a:lnTo>
                      <a:pt x="127" y="13"/>
                    </a:lnTo>
                    <a:lnTo>
                      <a:pt x="127" y="11"/>
                    </a:lnTo>
                    <a:lnTo>
                      <a:pt x="127" y="9"/>
                    </a:lnTo>
                    <a:lnTo>
                      <a:pt x="127" y="8"/>
                    </a:lnTo>
                    <a:lnTo>
                      <a:pt x="129" y="8"/>
                    </a:lnTo>
                    <a:lnTo>
                      <a:pt x="127" y="8"/>
                    </a:lnTo>
                    <a:lnTo>
                      <a:pt x="127" y="9"/>
                    </a:lnTo>
                    <a:lnTo>
                      <a:pt x="127" y="11"/>
                    </a:lnTo>
                    <a:lnTo>
                      <a:pt x="127" y="9"/>
                    </a:lnTo>
                    <a:lnTo>
                      <a:pt x="129" y="9"/>
                    </a:lnTo>
                    <a:lnTo>
                      <a:pt x="129" y="8"/>
                    </a:lnTo>
                    <a:lnTo>
                      <a:pt x="129" y="6"/>
                    </a:lnTo>
                    <a:lnTo>
                      <a:pt x="129" y="4"/>
                    </a:lnTo>
                    <a:lnTo>
                      <a:pt x="131" y="4"/>
                    </a:lnTo>
                    <a:lnTo>
                      <a:pt x="129" y="4"/>
                    </a:lnTo>
                    <a:lnTo>
                      <a:pt x="129" y="2"/>
                    </a:lnTo>
                    <a:lnTo>
                      <a:pt x="129" y="4"/>
                    </a:lnTo>
                    <a:lnTo>
                      <a:pt x="129" y="2"/>
                    </a:lnTo>
                    <a:lnTo>
                      <a:pt x="129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23">
                <a:extLst>
                  <a:ext uri="{FF2B5EF4-FFF2-40B4-BE49-F238E27FC236}">
                    <a16:creationId xmlns="" xmlns:a16="http://schemas.microsoft.com/office/drawing/2014/main" id="{F9B60100-DF81-448E-849E-FD6EADFDB3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7438" y="3679826"/>
                <a:ext cx="149225" cy="165100"/>
              </a:xfrm>
              <a:custGeom>
                <a:avLst/>
                <a:gdLst>
                  <a:gd name="T0" fmla="*/ 89 w 94"/>
                  <a:gd name="T1" fmla="*/ 50 h 104"/>
                  <a:gd name="T2" fmla="*/ 83 w 94"/>
                  <a:gd name="T3" fmla="*/ 54 h 104"/>
                  <a:gd name="T4" fmla="*/ 79 w 94"/>
                  <a:gd name="T5" fmla="*/ 56 h 104"/>
                  <a:gd name="T6" fmla="*/ 77 w 94"/>
                  <a:gd name="T7" fmla="*/ 58 h 104"/>
                  <a:gd name="T8" fmla="*/ 75 w 94"/>
                  <a:gd name="T9" fmla="*/ 64 h 104"/>
                  <a:gd name="T10" fmla="*/ 69 w 94"/>
                  <a:gd name="T11" fmla="*/ 64 h 104"/>
                  <a:gd name="T12" fmla="*/ 65 w 94"/>
                  <a:gd name="T13" fmla="*/ 68 h 104"/>
                  <a:gd name="T14" fmla="*/ 58 w 94"/>
                  <a:gd name="T15" fmla="*/ 68 h 104"/>
                  <a:gd name="T16" fmla="*/ 56 w 94"/>
                  <a:gd name="T17" fmla="*/ 69 h 104"/>
                  <a:gd name="T18" fmla="*/ 58 w 94"/>
                  <a:gd name="T19" fmla="*/ 75 h 104"/>
                  <a:gd name="T20" fmla="*/ 62 w 94"/>
                  <a:gd name="T21" fmla="*/ 77 h 104"/>
                  <a:gd name="T22" fmla="*/ 65 w 94"/>
                  <a:gd name="T23" fmla="*/ 79 h 104"/>
                  <a:gd name="T24" fmla="*/ 62 w 94"/>
                  <a:gd name="T25" fmla="*/ 89 h 104"/>
                  <a:gd name="T26" fmla="*/ 60 w 94"/>
                  <a:gd name="T27" fmla="*/ 87 h 104"/>
                  <a:gd name="T28" fmla="*/ 56 w 94"/>
                  <a:gd name="T29" fmla="*/ 91 h 104"/>
                  <a:gd name="T30" fmla="*/ 56 w 94"/>
                  <a:gd name="T31" fmla="*/ 96 h 104"/>
                  <a:gd name="T32" fmla="*/ 50 w 94"/>
                  <a:gd name="T33" fmla="*/ 93 h 104"/>
                  <a:gd name="T34" fmla="*/ 46 w 94"/>
                  <a:gd name="T35" fmla="*/ 102 h 104"/>
                  <a:gd name="T36" fmla="*/ 42 w 94"/>
                  <a:gd name="T37" fmla="*/ 98 h 104"/>
                  <a:gd name="T38" fmla="*/ 40 w 94"/>
                  <a:gd name="T39" fmla="*/ 96 h 104"/>
                  <a:gd name="T40" fmla="*/ 35 w 94"/>
                  <a:gd name="T41" fmla="*/ 93 h 104"/>
                  <a:gd name="T42" fmla="*/ 31 w 94"/>
                  <a:gd name="T43" fmla="*/ 96 h 104"/>
                  <a:gd name="T44" fmla="*/ 25 w 94"/>
                  <a:gd name="T45" fmla="*/ 102 h 104"/>
                  <a:gd name="T46" fmla="*/ 19 w 94"/>
                  <a:gd name="T47" fmla="*/ 96 h 104"/>
                  <a:gd name="T48" fmla="*/ 12 w 94"/>
                  <a:gd name="T49" fmla="*/ 98 h 104"/>
                  <a:gd name="T50" fmla="*/ 6 w 94"/>
                  <a:gd name="T51" fmla="*/ 93 h 104"/>
                  <a:gd name="T52" fmla="*/ 2 w 94"/>
                  <a:gd name="T53" fmla="*/ 83 h 104"/>
                  <a:gd name="T54" fmla="*/ 6 w 94"/>
                  <a:gd name="T55" fmla="*/ 75 h 104"/>
                  <a:gd name="T56" fmla="*/ 6 w 94"/>
                  <a:gd name="T57" fmla="*/ 68 h 104"/>
                  <a:gd name="T58" fmla="*/ 4 w 94"/>
                  <a:gd name="T59" fmla="*/ 62 h 104"/>
                  <a:gd name="T60" fmla="*/ 2 w 94"/>
                  <a:gd name="T61" fmla="*/ 62 h 104"/>
                  <a:gd name="T62" fmla="*/ 4 w 94"/>
                  <a:gd name="T63" fmla="*/ 54 h 104"/>
                  <a:gd name="T64" fmla="*/ 6 w 94"/>
                  <a:gd name="T65" fmla="*/ 52 h 104"/>
                  <a:gd name="T66" fmla="*/ 14 w 94"/>
                  <a:gd name="T67" fmla="*/ 48 h 104"/>
                  <a:gd name="T68" fmla="*/ 16 w 94"/>
                  <a:gd name="T69" fmla="*/ 43 h 104"/>
                  <a:gd name="T70" fmla="*/ 23 w 94"/>
                  <a:gd name="T71" fmla="*/ 39 h 104"/>
                  <a:gd name="T72" fmla="*/ 19 w 94"/>
                  <a:gd name="T73" fmla="*/ 35 h 104"/>
                  <a:gd name="T74" fmla="*/ 17 w 94"/>
                  <a:gd name="T75" fmla="*/ 29 h 104"/>
                  <a:gd name="T76" fmla="*/ 17 w 94"/>
                  <a:gd name="T77" fmla="*/ 21 h 104"/>
                  <a:gd name="T78" fmla="*/ 23 w 94"/>
                  <a:gd name="T79" fmla="*/ 18 h 104"/>
                  <a:gd name="T80" fmla="*/ 29 w 94"/>
                  <a:gd name="T81" fmla="*/ 12 h 104"/>
                  <a:gd name="T82" fmla="*/ 31 w 94"/>
                  <a:gd name="T83" fmla="*/ 6 h 104"/>
                  <a:gd name="T84" fmla="*/ 40 w 94"/>
                  <a:gd name="T85" fmla="*/ 2 h 104"/>
                  <a:gd name="T86" fmla="*/ 46 w 94"/>
                  <a:gd name="T87" fmla="*/ 0 h 104"/>
                  <a:gd name="T88" fmla="*/ 52 w 94"/>
                  <a:gd name="T89" fmla="*/ 6 h 104"/>
                  <a:gd name="T90" fmla="*/ 60 w 94"/>
                  <a:gd name="T91" fmla="*/ 4 h 104"/>
                  <a:gd name="T92" fmla="*/ 67 w 94"/>
                  <a:gd name="T93" fmla="*/ 2 h 104"/>
                  <a:gd name="T94" fmla="*/ 77 w 94"/>
                  <a:gd name="T95" fmla="*/ 2 h 104"/>
                  <a:gd name="T96" fmla="*/ 77 w 94"/>
                  <a:gd name="T97" fmla="*/ 16 h 104"/>
                  <a:gd name="T98" fmla="*/ 85 w 94"/>
                  <a:gd name="T99" fmla="*/ 21 h 104"/>
                  <a:gd name="T100" fmla="*/ 89 w 94"/>
                  <a:gd name="T101" fmla="*/ 29 h 104"/>
                  <a:gd name="T102" fmla="*/ 89 w 94"/>
                  <a:gd name="T103" fmla="*/ 39 h 104"/>
                  <a:gd name="T104" fmla="*/ 90 w 94"/>
                  <a:gd name="T105" fmla="*/ 46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4" h="104">
                    <a:moveTo>
                      <a:pt x="94" y="50"/>
                    </a:moveTo>
                    <a:lnTo>
                      <a:pt x="94" y="52"/>
                    </a:lnTo>
                    <a:lnTo>
                      <a:pt x="92" y="52"/>
                    </a:lnTo>
                    <a:lnTo>
                      <a:pt x="90" y="52"/>
                    </a:lnTo>
                    <a:lnTo>
                      <a:pt x="90" y="50"/>
                    </a:lnTo>
                    <a:lnTo>
                      <a:pt x="89" y="50"/>
                    </a:lnTo>
                    <a:lnTo>
                      <a:pt x="89" y="52"/>
                    </a:lnTo>
                    <a:lnTo>
                      <a:pt x="87" y="52"/>
                    </a:lnTo>
                    <a:lnTo>
                      <a:pt x="87" y="54"/>
                    </a:lnTo>
                    <a:lnTo>
                      <a:pt x="85" y="54"/>
                    </a:lnTo>
                    <a:lnTo>
                      <a:pt x="85" y="56"/>
                    </a:lnTo>
                    <a:lnTo>
                      <a:pt x="83" y="54"/>
                    </a:lnTo>
                    <a:lnTo>
                      <a:pt x="81" y="54"/>
                    </a:lnTo>
                    <a:lnTo>
                      <a:pt x="81" y="56"/>
                    </a:lnTo>
                    <a:lnTo>
                      <a:pt x="81" y="54"/>
                    </a:lnTo>
                    <a:lnTo>
                      <a:pt x="81" y="52"/>
                    </a:lnTo>
                    <a:lnTo>
                      <a:pt x="81" y="54"/>
                    </a:lnTo>
                    <a:lnTo>
                      <a:pt x="79" y="56"/>
                    </a:lnTo>
                    <a:lnTo>
                      <a:pt x="79" y="54"/>
                    </a:lnTo>
                    <a:lnTo>
                      <a:pt x="77" y="56"/>
                    </a:lnTo>
                    <a:lnTo>
                      <a:pt x="75" y="58"/>
                    </a:lnTo>
                    <a:lnTo>
                      <a:pt x="77" y="58"/>
                    </a:lnTo>
                    <a:lnTo>
                      <a:pt x="79" y="58"/>
                    </a:lnTo>
                    <a:lnTo>
                      <a:pt x="77" y="58"/>
                    </a:lnTo>
                    <a:lnTo>
                      <a:pt x="77" y="60"/>
                    </a:lnTo>
                    <a:lnTo>
                      <a:pt x="77" y="62"/>
                    </a:lnTo>
                    <a:lnTo>
                      <a:pt x="79" y="62"/>
                    </a:lnTo>
                    <a:lnTo>
                      <a:pt x="77" y="62"/>
                    </a:lnTo>
                    <a:lnTo>
                      <a:pt x="77" y="64"/>
                    </a:lnTo>
                    <a:lnTo>
                      <a:pt x="75" y="64"/>
                    </a:lnTo>
                    <a:lnTo>
                      <a:pt x="73" y="64"/>
                    </a:lnTo>
                    <a:lnTo>
                      <a:pt x="75" y="64"/>
                    </a:lnTo>
                    <a:lnTo>
                      <a:pt x="73" y="62"/>
                    </a:lnTo>
                    <a:lnTo>
                      <a:pt x="71" y="62"/>
                    </a:lnTo>
                    <a:lnTo>
                      <a:pt x="71" y="64"/>
                    </a:lnTo>
                    <a:lnTo>
                      <a:pt x="69" y="64"/>
                    </a:lnTo>
                    <a:lnTo>
                      <a:pt x="69" y="66"/>
                    </a:lnTo>
                    <a:lnTo>
                      <a:pt x="69" y="64"/>
                    </a:lnTo>
                    <a:lnTo>
                      <a:pt x="69" y="66"/>
                    </a:lnTo>
                    <a:lnTo>
                      <a:pt x="67" y="66"/>
                    </a:lnTo>
                    <a:lnTo>
                      <a:pt x="67" y="68"/>
                    </a:lnTo>
                    <a:lnTo>
                      <a:pt x="65" y="68"/>
                    </a:lnTo>
                    <a:lnTo>
                      <a:pt x="64" y="68"/>
                    </a:lnTo>
                    <a:lnTo>
                      <a:pt x="64" y="69"/>
                    </a:lnTo>
                    <a:lnTo>
                      <a:pt x="62" y="69"/>
                    </a:lnTo>
                    <a:lnTo>
                      <a:pt x="60" y="69"/>
                    </a:lnTo>
                    <a:lnTo>
                      <a:pt x="60" y="68"/>
                    </a:lnTo>
                    <a:lnTo>
                      <a:pt x="58" y="68"/>
                    </a:lnTo>
                    <a:lnTo>
                      <a:pt x="60" y="68"/>
                    </a:lnTo>
                    <a:lnTo>
                      <a:pt x="58" y="68"/>
                    </a:lnTo>
                    <a:lnTo>
                      <a:pt x="56" y="68"/>
                    </a:lnTo>
                    <a:lnTo>
                      <a:pt x="58" y="68"/>
                    </a:lnTo>
                    <a:lnTo>
                      <a:pt x="58" y="69"/>
                    </a:lnTo>
                    <a:lnTo>
                      <a:pt x="56" y="69"/>
                    </a:lnTo>
                    <a:lnTo>
                      <a:pt x="56" y="71"/>
                    </a:lnTo>
                    <a:lnTo>
                      <a:pt x="56" y="73"/>
                    </a:lnTo>
                    <a:lnTo>
                      <a:pt x="54" y="75"/>
                    </a:lnTo>
                    <a:lnTo>
                      <a:pt x="54" y="77"/>
                    </a:lnTo>
                    <a:lnTo>
                      <a:pt x="56" y="75"/>
                    </a:lnTo>
                    <a:lnTo>
                      <a:pt x="58" y="75"/>
                    </a:lnTo>
                    <a:lnTo>
                      <a:pt x="58" y="73"/>
                    </a:lnTo>
                    <a:lnTo>
                      <a:pt x="60" y="73"/>
                    </a:lnTo>
                    <a:lnTo>
                      <a:pt x="60" y="75"/>
                    </a:lnTo>
                    <a:lnTo>
                      <a:pt x="62" y="75"/>
                    </a:lnTo>
                    <a:lnTo>
                      <a:pt x="60" y="77"/>
                    </a:lnTo>
                    <a:lnTo>
                      <a:pt x="62" y="77"/>
                    </a:lnTo>
                    <a:lnTo>
                      <a:pt x="62" y="75"/>
                    </a:lnTo>
                    <a:lnTo>
                      <a:pt x="62" y="73"/>
                    </a:lnTo>
                    <a:lnTo>
                      <a:pt x="64" y="73"/>
                    </a:lnTo>
                    <a:lnTo>
                      <a:pt x="65" y="75"/>
                    </a:lnTo>
                    <a:lnTo>
                      <a:pt x="65" y="77"/>
                    </a:lnTo>
                    <a:lnTo>
                      <a:pt x="65" y="79"/>
                    </a:lnTo>
                    <a:lnTo>
                      <a:pt x="64" y="79"/>
                    </a:lnTo>
                    <a:lnTo>
                      <a:pt x="65" y="81"/>
                    </a:lnTo>
                    <a:lnTo>
                      <a:pt x="64" y="85"/>
                    </a:lnTo>
                    <a:lnTo>
                      <a:pt x="64" y="87"/>
                    </a:lnTo>
                    <a:lnTo>
                      <a:pt x="62" y="87"/>
                    </a:lnTo>
                    <a:lnTo>
                      <a:pt x="62" y="89"/>
                    </a:lnTo>
                    <a:lnTo>
                      <a:pt x="62" y="91"/>
                    </a:lnTo>
                    <a:lnTo>
                      <a:pt x="62" y="89"/>
                    </a:lnTo>
                    <a:lnTo>
                      <a:pt x="62" y="87"/>
                    </a:lnTo>
                    <a:lnTo>
                      <a:pt x="60" y="87"/>
                    </a:lnTo>
                    <a:lnTo>
                      <a:pt x="60" y="89"/>
                    </a:lnTo>
                    <a:lnTo>
                      <a:pt x="60" y="87"/>
                    </a:lnTo>
                    <a:lnTo>
                      <a:pt x="60" y="89"/>
                    </a:lnTo>
                    <a:lnTo>
                      <a:pt x="60" y="87"/>
                    </a:lnTo>
                    <a:lnTo>
                      <a:pt x="58" y="87"/>
                    </a:lnTo>
                    <a:lnTo>
                      <a:pt x="56" y="87"/>
                    </a:lnTo>
                    <a:lnTo>
                      <a:pt x="56" y="89"/>
                    </a:lnTo>
                    <a:lnTo>
                      <a:pt x="56" y="91"/>
                    </a:lnTo>
                    <a:lnTo>
                      <a:pt x="58" y="89"/>
                    </a:lnTo>
                    <a:lnTo>
                      <a:pt x="58" y="91"/>
                    </a:lnTo>
                    <a:lnTo>
                      <a:pt x="58" y="93"/>
                    </a:lnTo>
                    <a:lnTo>
                      <a:pt x="58" y="94"/>
                    </a:lnTo>
                    <a:lnTo>
                      <a:pt x="56" y="94"/>
                    </a:lnTo>
                    <a:lnTo>
                      <a:pt x="56" y="96"/>
                    </a:lnTo>
                    <a:lnTo>
                      <a:pt x="54" y="96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2" y="94"/>
                    </a:lnTo>
                    <a:lnTo>
                      <a:pt x="50" y="94"/>
                    </a:lnTo>
                    <a:lnTo>
                      <a:pt x="50" y="93"/>
                    </a:lnTo>
                    <a:lnTo>
                      <a:pt x="48" y="93"/>
                    </a:lnTo>
                    <a:lnTo>
                      <a:pt x="48" y="94"/>
                    </a:lnTo>
                    <a:lnTo>
                      <a:pt x="46" y="96"/>
                    </a:lnTo>
                    <a:lnTo>
                      <a:pt x="46" y="98"/>
                    </a:lnTo>
                    <a:lnTo>
                      <a:pt x="46" y="100"/>
                    </a:lnTo>
                    <a:lnTo>
                      <a:pt x="46" y="102"/>
                    </a:lnTo>
                    <a:lnTo>
                      <a:pt x="44" y="104"/>
                    </a:lnTo>
                    <a:lnTo>
                      <a:pt x="44" y="102"/>
                    </a:lnTo>
                    <a:lnTo>
                      <a:pt x="46" y="96"/>
                    </a:lnTo>
                    <a:lnTo>
                      <a:pt x="44" y="96"/>
                    </a:lnTo>
                    <a:lnTo>
                      <a:pt x="44" y="98"/>
                    </a:lnTo>
                    <a:lnTo>
                      <a:pt x="42" y="98"/>
                    </a:lnTo>
                    <a:lnTo>
                      <a:pt x="44" y="100"/>
                    </a:lnTo>
                    <a:lnTo>
                      <a:pt x="42" y="102"/>
                    </a:lnTo>
                    <a:lnTo>
                      <a:pt x="42" y="100"/>
                    </a:lnTo>
                    <a:lnTo>
                      <a:pt x="42" y="98"/>
                    </a:lnTo>
                    <a:lnTo>
                      <a:pt x="42" y="96"/>
                    </a:lnTo>
                    <a:lnTo>
                      <a:pt x="40" y="96"/>
                    </a:lnTo>
                    <a:lnTo>
                      <a:pt x="40" y="98"/>
                    </a:lnTo>
                    <a:lnTo>
                      <a:pt x="39" y="98"/>
                    </a:lnTo>
                    <a:lnTo>
                      <a:pt x="39" y="96"/>
                    </a:lnTo>
                    <a:lnTo>
                      <a:pt x="37" y="94"/>
                    </a:lnTo>
                    <a:lnTo>
                      <a:pt x="37" y="93"/>
                    </a:lnTo>
                    <a:lnTo>
                      <a:pt x="35" y="93"/>
                    </a:lnTo>
                    <a:lnTo>
                      <a:pt x="35" y="91"/>
                    </a:lnTo>
                    <a:lnTo>
                      <a:pt x="35" y="93"/>
                    </a:lnTo>
                    <a:lnTo>
                      <a:pt x="35" y="94"/>
                    </a:lnTo>
                    <a:lnTo>
                      <a:pt x="33" y="94"/>
                    </a:lnTo>
                    <a:lnTo>
                      <a:pt x="33" y="96"/>
                    </a:lnTo>
                    <a:lnTo>
                      <a:pt x="31" y="96"/>
                    </a:lnTo>
                    <a:lnTo>
                      <a:pt x="31" y="98"/>
                    </a:lnTo>
                    <a:lnTo>
                      <a:pt x="31" y="100"/>
                    </a:lnTo>
                    <a:lnTo>
                      <a:pt x="29" y="100"/>
                    </a:lnTo>
                    <a:lnTo>
                      <a:pt x="27" y="100"/>
                    </a:lnTo>
                    <a:lnTo>
                      <a:pt x="25" y="100"/>
                    </a:lnTo>
                    <a:lnTo>
                      <a:pt x="25" y="102"/>
                    </a:lnTo>
                    <a:lnTo>
                      <a:pt x="23" y="102"/>
                    </a:lnTo>
                    <a:lnTo>
                      <a:pt x="21" y="102"/>
                    </a:lnTo>
                    <a:lnTo>
                      <a:pt x="21" y="100"/>
                    </a:lnTo>
                    <a:lnTo>
                      <a:pt x="19" y="100"/>
                    </a:lnTo>
                    <a:lnTo>
                      <a:pt x="19" y="98"/>
                    </a:lnTo>
                    <a:lnTo>
                      <a:pt x="19" y="96"/>
                    </a:lnTo>
                    <a:lnTo>
                      <a:pt x="17" y="98"/>
                    </a:lnTo>
                    <a:lnTo>
                      <a:pt x="16" y="96"/>
                    </a:lnTo>
                    <a:lnTo>
                      <a:pt x="14" y="98"/>
                    </a:lnTo>
                    <a:lnTo>
                      <a:pt x="12" y="98"/>
                    </a:lnTo>
                    <a:lnTo>
                      <a:pt x="12" y="96"/>
                    </a:lnTo>
                    <a:lnTo>
                      <a:pt x="12" y="98"/>
                    </a:lnTo>
                    <a:lnTo>
                      <a:pt x="10" y="98"/>
                    </a:lnTo>
                    <a:lnTo>
                      <a:pt x="10" y="96"/>
                    </a:lnTo>
                    <a:lnTo>
                      <a:pt x="10" y="94"/>
                    </a:lnTo>
                    <a:lnTo>
                      <a:pt x="10" y="93"/>
                    </a:lnTo>
                    <a:lnTo>
                      <a:pt x="8" y="93"/>
                    </a:lnTo>
                    <a:lnTo>
                      <a:pt x="6" y="93"/>
                    </a:lnTo>
                    <a:lnTo>
                      <a:pt x="6" y="91"/>
                    </a:lnTo>
                    <a:lnTo>
                      <a:pt x="6" y="89"/>
                    </a:lnTo>
                    <a:lnTo>
                      <a:pt x="4" y="89"/>
                    </a:lnTo>
                    <a:lnTo>
                      <a:pt x="4" y="87"/>
                    </a:lnTo>
                    <a:lnTo>
                      <a:pt x="4" y="85"/>
                    </a:lnTo>
                    <a:lnTo>
                      <a:pt x="2" y="83"/>
                    </a:lnTo>
                    <a:lnTo>
                      <a:pt x="4" y="83"/>
                    </a:lnTo>
                    <a:lnTo>
                      <a:pt x="2" y="81"/>
                    </a:lnTo>
                    <a:lnTo>
                      <a:pt x="4" y="79"/>
                    </a:lnTo>
                    <a:lnTo>
                      <a:pt x="4" y="77"/>
                    </a:lnTo>
                    <a:lnTo>
                      <a:pt x="6" y="77"/>
                    </a:lnTo>
                    <a:lnTo>
                      <a:pt x="6" y="75"/>
                    </a:lnTo>
                    <a:lnTo>
                      <a:pt x="6" y="73"/>
                    </a:lnTo>
                    <a:lnTo>
                      <a:pt x="4" y="73"/>
                    </a:lnTo>
                    <a:lnTo>
                      <a:pt x="4" y="71"/>
                    </a:lnTo>
                    <a:lnTo>
                      <a:pt x="4" y="69"/>
                    </a:lnTo>
                    <a:lnTo>
                      <a:pt x="4" y="68"/>
                    </a:lnTo>
                    <a:lnTo>
                      <a:pt x="6" y="68"/>
                    </a:lnTo>
                    <a:lnTo>
                      <a:pt x="6" y="66"/>
                    </a:lnTo>
                    <a:lnTo>
                      <a:pt x="6" y="64"/>
                    </a:lnTo>
                    <a:lnTo>
                      <a:pt x="6" y="62"/>
                    </a:lnTo>
                    <a:lnTo>
                      <a:pt x="6" y="60"/>
                    </a:lnTo>
                    <a:lnTo>
                      <a:pt x="6" y="62"/>
                    </a:lnTo>
                    <a:lnTo>
                      <a:pt x="4" y="62"/>
                    </a:lnTo>
                    <a:lnTo>
                      <a:pt x="6" y="62"/>
                    </a:lnTo>
                    <a:lnTo>
                      <a:pt x="4" y="64"/>
                    </a:lnTo>
                    <a:lnTo>
                      <a:pt x="2" y="66"/>
                    </a:lnTo>
                    <a:lnTo>
                      <a:pt x="0" y="66"/>
                    </a:lnTo>
                    <a:lnTo>
                      <a:pt x="2" y="64"/>
                    </a:lnTo>
                    <a:lnTo>
                      <a:pt x="2" y="62"/>
                    </a:lnTo>
                    <a:lnTo>
                      <a:pt x="0" y="60"/>
                    </a:lnTo>
                    <a:lnTo>
                      <a:pt x="2" y="60"/>
                    </a:lnTo>
                    <a:lnTo>
                      <a:pt x="2" y="58"/>
                    </a:lnTo>
                    <a:lnTo>
                      <a:pt x="2" y="56"/>
                    </a:lnTo>
                    <a:lnTo>
                      <a:pt x="2" y="54"/>
                    </a:lnTo>
                    <a:lnTo>
                      <a:pt x="4" y="54"/>
                    </a:lnTo>
                    <a:lnTo>
                      <a:pt x="2" y="54"/>
                    </a:lnTo>
                    <a:lnTo>
                      <a:pt x="2" y="52"/>
                    </a:lnTo>
                    <a:lnTo>
                      <a:pt x="4" y="52"/>
                    </a:lnTo>
                    <a:lnTo>
                      <a:pt x="4" y="54"/>
                    </a:lnTo>
                    <a:lnTo>
                      <a:pt x="4" y="52"/>
                    </a:lnTo>
                    <a:lnTo>
                      <a:pt x="6" y="52"/>
                    </a:lnTo>
                    <a:lnTo>
                      <a:pt x="6" y="50"/>
                    </a:lnTo>
                    <a:lnTo>
                      <a:pt x="8" y="50"/>
                    </a:lnTo>
                    <a:lnTo>
                      <a:pt x="10" y="50"/>
                    </a:lnTo>
                    <a:lnTo>
                      <a:pt x="12" y="50"/>
                    </a:lnTo>
                    <a:lnTo>
                      <a:pt x="14" y="50"/>
                    </a:lnTo>
                    <a:lnTo>
                      <a:pt x="14" y="48"/>
                    </a:lnTo>
                    <a:lnTo>
                      <a:pt x="14" y="46"/>
                    </a:lnTo>
                    <a:lnTo>
                      <a:pt x="14" y="44"/>
                    </a:lnTo>
                    <a:lnTo>
                      <a:pt x="16" y="44"/>
                    </a:lnTo>
                    <a:lnTo>
                      <a:pt x="16" y="46"/>
                    </a:lnTo>
                    <a:lnTo>
                      <a:pt x="16" y="44"/>
                    </a:lnTo>
                    <a:lnTo>
                      <a:pt x="16" y="43"/>
                    </a:lnTo>
                    <a:lnTo>
                      <a:pt x="17" y="43"/>
                    </a:lnTo>
                    <a:lnTo>
                      <a:pt x="19" y="43"/>
                    </a:lnTo>
                    <a:lnTo>
                      <a:pt x="21" y="43"/>
                    </a:lnTo>
                    <a:lnTo>
                      <a:pt x="23" y="43"/>
                    </a:lnTo>
                    <a:lnTo>
                      <a:pt x="23" y="41"/>
                    </a:lnTo>
                    <a:lnTo>
                      <a:pt x="23" y="39"/>
                    </a:lnTo>
                    <a:lnTo>
                      <a:pt x="23" y="37"/>
                    </a:lnTo>
                    <a:lnTo>
                      <a:pt x="23" y="39"/>
                    </a:lnTo>
                    <a:lnTo>
                      <a:pt x="23" y="37"/>
                    </a:lnTo>
                    <a:lnTo>
                      <a:pt x="21" y="37"/>
                    </a:lnTo>
                    <a:lnTo>
                      <a:pt x="21" y="35"/>
                    </a:lnTo>
                    <a:lnTo>
                      <a:pt x="19" y="35"/>
                    </a:lnTo>
                    <a:lnTo>
                      <a:pt x="19" y="33"/>
                    </a:lnTo>
                    <a:lnTo>
                      <a:pt x="17" y="33"/>
                    </a:lnTo>
                    <a:lnTo>
                      <a:pt x="17" y="31"/>
                    </a:lnTo>
                    <a:lnTo>
                      <a:pt x="19" y="31"/>
                    </a:lnTo>
                    <a:lnTo>
                      <a:pt x="19" y="29"/>
                    </a:lnTo>
                    <a:lnTo>
                      <a:pt x="17" y="29"/>
                    </a:lnTo>
                    <a:lnTo>
                      <a:pt x="19" y="29"/>
                    </a:lnTo>
                    <a:lnTo>
                      <a:pt x="19" y="27"/>
                    </a:lnTo>
                    <a:lnTo>
                      <a:pt x="19" y="25"/>
                    </a:lnTo>
                    <a:lnTo>
                      <a:pt x="17" y="25"/>
                    </a:lnTo>
                    <a:lnTo>
                      <a:pt x="17" y="23"/>
                    </a:lnTo>
                    <a:lnTo>
                      <a:pt x="17" y="21"/>
                    </a:lnTo>
                    <a:lnTo>
                      <a:pt x="17" y="19"/>
                    </a:lnTo>
                    <a:lnTo>
                      <a:pt x="19" y="19"/>
                    </a:lnTo>
                    <a:lnTo>
                      <a:pt x="19" y="18"/>
                    </a:lnTo>
                    <a:lnTo>
                      <a:pt x="21" y="16"/>
                    </a:lnTo>
                    <a:lnTo>
                      <a:pt x="21" y="18"/>
                    </a:lnTo>
                    <a:lnTo>
                      <a:pt x="23" y="18"/>
                    </a:lnTo>
                    <a:lnTo>
                      <a:pt x="23" y="16"/>
                    </a:lnTo>
                    <a:lnTo>
                      <a:pt x="25" y="16"/>
                    </a:lnTo>
                    <a:lnTo>
                      <a:pt x="27" y="16"/>
                    </a:lnTo>
                    <a:lnTo>
                      <a:pt x="27" y="14"/>
                    </a:lnTo>
                    <a:lnTo>
                      <a:pt x="27" y="12"/>
                    </a:lnTo>
                    <a:lnTo>
                      <a:pt x="29" y="12"/>
                    </a:lnTo>
                    <a:lnTo>
                      <a:pt x="31" y="12"/>
                    </a:lnTo>
                    <a:lnTo>
                      <a:pt x="31" y="10"/>
                    </a:lnTo>
                    <a:lnTo>
                      <a:pt x="31" y="12"/>
                    </a:lnTo>
                    <a:lnTo>
                      <a:pt x="31" y="10"/>
                    </a:lnTo>
                    <a:lnTo>
                      <a:pt x="31" y="8"/>
                    </a:lnTo>
                    <a:lnTo>
                      <a:pt x="31" y="6"/>
                    </a:lnTo>
                    <a:lnTo>
                      <a:pt x="33" y="6"/>
                    </a:lnTo>
                    <a:lnTo>
                      <a:pt x="35" y="6"/>
                    </a:lnTo>
                    <a:lnTo>
                      <a:pt x="37" y="4"/>
                    </a:lnTo>
                    <a:lnTo>
                      <a:pt x="37" y="2"/>
                    </a:lnTo>
                    <a:lnTo>
                      <a:pt x="39" y="2"/>
                    </a:lnTo>
                    <a:lnTo>
                      <a:pt x="40" y="2"/>
                    </a:lnTo>
                    <a:lnTo>
                      <a:pt x="42" y="2"/>
                    </a:lnTo>
                    <a:lnTo>
                      <a:pt x="44" y="2"/>
                    </a:lnTo>
                    <a:lnTo>
                      <a:pt x="46" y="2"/>
                    </a:lnTo>
                    <a:lnTo>
                      <a:pt x="44" y="2"/>
                    </a:lnTo>
                    <a:lnTo>
                      <a:pt x="46" y="2"/>
                    </a:lnTo>
                    <a:lnTo>
                      <a:pt x="46" y="0"/>
                    </a:lnTo>
                    <a:lnTo>
                      <a:pt x="46" y="2"/>
                    </a:lnTo>
                    <a:lnTo>
                      <a:pt x="48" y="2"/>
                    </a:lnTo>
                    <a:lnTo>
                      <a:pt x="48" y="4"/>
                    </a:lnTo>
                    <a:lnTo>
                      <a:pt x="50" y="4"/>
                    </a:lnTo>
                    <a:lnTo>
                      <a:pt x="52" y="4"/>
                    </a:lnTo>
                    <a:lnTo>
                      <a:pt x="52" y="6"/>
                    </a:lnTo>
                    <a:lnTo>
                      <a:pt x="54" y="6"/>
                    </a:lnTo>
                    <a:lnTo>
                      <a:pt x="56" y="6"/>
                    </a:lnTo>
                    <a:lnTo>
                      <a:pt x="58" y="4"/>
                    </a:lnTo>
                    <a:lnTo>
                      <a:pt x="60" y="4"/>
                    </a:lnTo>
                    <a:lnTo>
                      <a:pt x="60" y="2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4" y="4"/>
                    </a:lnTo>
                    <a:lnTo>
                      <a:pt x="65" y="2"/>
                    </a:lnTo>
                    <a:lnTo>
                      <a:pt x="65" y="4"/>
                    </a:lnTo>
                    <a:lnTo>
                      <a:pt x="65" y="2"/>
                    </a:lnTo>
                    <a:lnTo>
                      <a:pt x="67" y="2"/>
                    </a:lnTo>
                    <a:lnTo>
                      <a:pt x="69" y="2"/>
                    </a:lnTo>
                    <a:lnTo>
                      <a:pt x="71" y="2"/>
                    </a:lnTo>
                    <a:lnTo>
                      <a:pt x="71" y="4"/>
                    </a:lnTo>
                    <a:lnTo>
                      <a:pt x="73" y="2"/>
                    </a:lnTo>
                    <a:lnTo>
                      <a:pt x="75" y="2"/>
                    </a:lnTo>
                    <a:lnTo>
                      <a:pt x="77" y="2"/>
                    </a:lnTo>
                    <a:lnTo>
                      <a:pt x="81" y="4"/>
                    </a:lnTo>
                    <a:lnTo>
                      <a:pt x="77" y="10"/>
                    </a:lnTo>
                    <a:lnTo>
                      <a:pt x="79" y="12"/>
                    </a:lnTo>
                    <a:lnTo>
                      <a:pt x="77" y="12"/>
                    </a:lnTo>
                    <a:lnTo>
                      <a:pt x="77" y="14"/>
                    </a:lnTo>
                    <a:lnTo>
                      <a:pt x="77" y="16"/>
                    </a:lnTo>
                    <a:lnTo>
                      <a:pt x="79" y="18"/>
                    </a:lnTo>
                    <a:lnTo>
                      <a:pt x="81" y="19"/>
                    </a:lnTo>
                    <a:lnTo>
                      <a:pt x="81" y="18"/>
                    </a:lnTo>
                    <a:lnTo>
                      <a:pt x="83" y="18"/>
                    </a:lnTo>
                    <a:lnTo>
                      <a:pt x="83" y="19"/>
                    </a:lnTo>
                    <a:lnTo>
                      <a:pt x="85" y="21"/>
                    </a:lnTo>
                    <a:lnTo>
                      <a:pt x="87" y="23"/>
                    </a:lnTo>
                    <a:lnTo>
                      <a:pt x="89" y="23"/>
                    </a:lnTo>
                    <a:lnTo>
                      <a:pt x="89" y="25"/>
                    </a:lnTo>
                    <a:lnTo>
                      <a:pt x="89" y="27"/>
                    </a:lnTo>
                    <a:lnTo>
                      <a:pt x="87" y="27"/>
                    </a:lnTo>
                    <a:lnTo>
                      <a:pt x="89" y="29"/>
                    </a:lnTo>
                    <a:lnTo>
                      <a:pt x="87" y="31"/>
                    </a:lnTo>
                    <a:lnTo>
                      <a:pt x="87" y="33"/>
                    </a:lnTo>
                    <a:lnTo>
                      <a:pt x="87" y="35"/>
                    </a:lnTo>
                    <a:lnTo>
                      <a:pt x="87" y="37"/>
                    </a:lnTo>
                    <a:lnTo>
                      <a:pt x="89" y="37"/>
                    </a:lnTo>
                    <a:lnTo>
                      <a:pt x="89" y="39"/>
                    </a:lnTo>
                    <a:lnTo>
                      <a:pt x="89" y="41"/>
                    </a:lnTo>
                    <a:lnTo>
                      <a:pt x="90" y="41"/>
                    </a:lnTo>
                    <a:lnTo>
                      <a:pt x="92" y="41"/>
                    </a:lnTo>
                    <a:lnTo>
                      <a:pt x="90" y="43"/>
                    </a:lnTo>
                    <a:lnTo>
                      <a:pt x="90" y="44"/>
                    </a:lnTo>
                    <a:lnTo>
                      <a:pt x="90" y="46"/>
                    </a:lnTo>
                    <a:lnTo>
                      <a:pt x="92" y="48"/>
                    </a:lnTo>
                    <a:lnTo>
                      <a:pt x="94" y="50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24">
                <a:extLst>
                  <a:ext uri="{FF2B5EF4-FFF2-40B4-BE49-F238E27FC236}">
                    <a16:creationId xmlns="" xmlns:a16="http://schemas.microsoft.com/office/drawing/2014/main" id="{F5FC24E1-E3AC-4D2F-8EAC-D8FB69874F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1950" y="4833938"/>
                <a:ext cx="66675" cy="103188"/>
              </a:xfrm>
              <a:custGeom>
                <a:avLst/>
                <a:gdLst>
                  <a:gd name="T0" fmla="*/ 34 w 42"/>
                  <a:gd name="T1" fmla="*/ 10 h 65"/>
                  <a:gd name="T2" fmla="*/ 34 w 42"/>
                  <a:gd name="T3" fmla="*/ 13 h 65"/>
                  <a:gd name="T4" fmla="*/ 38 w 42"/>
                  <a:gd name="T5" fmla="*/ 15 h 65"/>
                  <a:gd name="T6" fmla="*/ 40 w 42"/>
                  <a:gd name="T7" fmla="*/ 21 h 65"/>
                  <a:gd name="T8" fmla="*/ 40 w 42"/>
                  <a:gd name="T9" fmla="*/ 25 h 65"/>
                  <a:gd name="T10" fmla="*/ 42 w 42"/>
                  <a:gd name="T11" fmla="*/ 31 h 65"/>
                  <a:gd name="T12" fmla="*/ 38 w 42"/>
                  <a:gd name="T13" fmla="*/ 33 h 65"/>
                  <a:gd name="T14" fmla="*/ 38 w 42"/>
                  <a:gd name="T15" fmla="*/ 36 h 65"/>
                  <a:gd name="T16" fmla="*/ 33 w 42"/>
                  <a:gd name="T17" fmla="*/ 38 h 65"/>
                  <a:gd name="T18" fmla="*/ 31 w 42"/>
                  <a:gd name="T19" fmla="*/ 42 h 65"/>
                  <a:gd name="T20" fmla="*/ 29 w 42"/>
                  <a:gd name="T21" fmla="*/ 44 h 65"/>
                  <a:gd name="T22" fmla="*/ 29 w 42"/>
                  <a:gd name="T23" fmla="*/ 46 h 65"/>
                  <a:gd name="T24" fmla="*/ 27 w 42"/>
                  <a:gd name="T25" fmla="*/ 50 h 65"/>
                  <a:gd name="T26" fmla="*/ 27 w 42"/>
                  <a:gd name="T27" fmla="*/ 54 h 65"/>
                  <a:gd name="T28" fmla="*/ 23 w 42"/>
                  <a:gd name="T29" fmla="*/ 58 h 65"/>
                  <a:gd name="T30" fmla="*/ 21 w 42"/>
                  <a:gd name="T31" fmla="*/ 60 h 65"/>
                  <a:gd name="T32" fmla="*/ 19 w 42"/>
                  <a:gd name="T33" fmla="*/ 61 h 65"/>
                  <a:gd name="T34" fmla="*/ 17 w 42"/>
                  <a:gd name="T35" fmla="*/ 63 h 65"/>
                  <a:gd name="T36" fmla="*/ 13 w 42"/>
                  <a:gd name="T37" fmla="*/ 63 h 65"/>
                  <a:gd name="T38" fmla="*/ 13 w 42"/>
                  <a:gd name="T39" fmla="*/ 65 h 65"/>
                  <a:gd name="T40" fmla="*/ 11 w 42"/>
                  <a:gd name="T41" fmla="*/ 63 h 65"/>
                  <a:gd name="T42" fmla="*/ 8 w 42"/>
                  <a:gd name="T43" fmla="*/ 60 h 65"/>
                  <a:gd name="T44" fmla="*/ 6 w 42"/>
                  <a:gd name="T45" fmla="*/ 60 h 65"/>
                  <a:gd name="T46" fmla="*/ 4 w 42"/>
                  <a:gd name="T47" fmla="*/ 61 h 65"/>
                  <a:gd name="T48" fmla="*/ 0 w 42"/>
                  <a:gd name="T49" fmla="*/ 65 h 65"/>
                  <a:gd name="T50" fmla="*/ 0 w 42"/>
                  <a:gd name="T51" fmla="*/ 61 h 65"/>
                  <a:gd name="T52" fmla="*/ 2 w 42"/>
                  <a:gd name="T53" fmla="*/ 58 h 65"/>
                  <a:gd name="T54" fmla="*/ 0 w 42"/>
                  <a:gd name="T55" fmla="*/ 56 h 65"/>
                  <a:gd name="T56" fmla="*/ 2 w 42"/>
                  <a:gd name="T57" fmla="*/ 50 h 65"/>
                  <a:gd name="T58" fmla="*/ 2 w 42"/>
                  <a:gd name="T59" fmla="*/ 44 h 65"/>
                  <a:gd name="T60" fmla="*/ 4 w 42"/>
                  <a:gd name="T61" fmla="*/ 48 h 65"/>
                  <a:gd name="T62" fmla="*/ 6 w 42"/>
                  <a:gd name="T63" fmla="*/ 50 h 65"/>
                  <a:gd name="T64" fmla="*/ 10 w 42"/>
                  <a:gd name="T65" fmla="*/ 52 h 65"/>
                  <a:gd name="T66" fmla="*/ 11 w 42"/>
                  <a:gd name="T67" fmla="*/ 50 h 65"/>
                  <a:gd name="T68" fmla="*/ 15 w 42"/>
                  <a:gd name="T69" fmla="*/ 48 h 65"/>
                  <a:gd name="T70" fmla="*/ 17 w 42"/>
                  <a:gd name="T71" fmla="*/ 44 h 65"/>
                  <a:gd name="T72" fmla="*/ 21 w 42"/>
                  <a:gd name="T73" fmla="*/ 42 h 65"/>
                  <a:gd name="T74" fmla="*/ 19 w 42"/>
                  <a:gd name="T75" fmla="*/ 38 h 65"/>
                  <a:gd name="T76" fmla="*/ 17 w 42"/>
                  <a:gd name="T77" fmla="*/ 35 h 65"/>
                  <a:gd name="T78" fmla="*/ 17 w 42"/>
                  <a:gd name="T79" fmla="*/ 33 h 65"/>
                  <a:gd name="T80" fmla="*/ 17 w 42"/>
                  <a:gd name="T81" fmla="*/ 31 h 65"/>
                  <a:gd name="T82" fmla="*/ 15 w 42"/>
                  <a:gd name="T83" fmla="*/ 25 h 65"/>
                  <a:gd name="T84" fmla="*/ 15 w 42"/>
                  <a:gd name="T85" fmla="*/ 25 h 65"/>
                  <a:gd name="T86" fmla="*/ 15 w 42"/>
                  <a:gd name="T87" fmla="*/ 25 h 65"/>
                  <a:gd name="T88" fmla="*/ 15 w 42"/>
                  <a:gd name="T89" fmla="*/ 25 h 65"/>
                  <a:gd name="T90" fmla="*/ 15 w 42"/>
                  <a:gd name="T91" fmla="*/ 25 h 65"/>
                  <a:gd name="T92" fmla="*/ 13 w 42"/>
                  <a:gd name="T93" fmla="*/ 25 h 65"/>
                  <a:gd name="T94" fmla="*/ 13 w 42"/>
                  <a:gd name="T95" fmla="*/ 25 h 65"/>
                  <a:gd name="T96" fmla="*/ 13 w 42"/>
                  <a:gd name="T97" fmla="*/ 25 h 65"/>
                  <a:gd name="T98" fmla="*/ 13 w 42"/>
                  <a:gd name="T99" fmla="*/ 23 h 65"/>
                  <a:gd name="T100" fmla="*/ 11 w 42"/>
                  <a:gd name="T101" fmla="*/ 23 h 65"/>
                  <a:gd name="T102" fmla="*/ 17 w 42"/>
                  <a:gd name="T103" fmla="*/ 11 h 65"/>
                  <a:gd name="T104" fmla="*/ 15 w 42"/>
                  <a:gd name="T105" fmla="*/ 10 h 65"/>
                  <a:gd name="T106" fmla="*/ 17 w 42"/>
                  <a:gd name="T107" fmla="*/ 8 h 65"/>
                  <a:gd name="T108" fmla="*/ 17 w 42"/>
                  <a:gd name="T109" fmla="*/ 6 h 65"/>
                  <a:gd name="T110" fmla="*/ 17 w 42"/>
                  <a:gd name="T111" fmla="*/ 6 h 65"/>
                  <a:gd name="T112" fmla="*/ 19 w 42"/>
                  <a:gd name="T113" fmla="*/ 4 h 65"/>
                  <a:gd name="T114" fmla="*/ 21 w 42"/>
                  <a:gd name="T115" fmla="*/ 0 h 65"/>
                  <a:gd name="T116" fmla="*/ 25 w 42"/>
                  <a:gd name="T117" fmla="*/ 4 h 65"/>
                  <a:gd name="T118" fmla="*/ 27 w 42"/>
                  <a:gd name="T119" fmla="*/ 6 h 65"/>
                  <a:gd name="T120" fmla="*/ 31 w 42"/>
                  <a:gd name="T121" fmla="*/ 4 h 65"/>
                  <a:gd name="T122" fmla="*/ 33 w 42"/>
                  <a:gd name="T123" fmla="*/ 6 h 65"/>
                  <a:gd name="T124" fmla="*/ 34 w 42"/>
                  <a:gd name="T125" fmla="*/ 6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2" h="65">
                    <a:moveTo>
                      <a:pt x="34" y="8"/>
                    </a:moveTo>
                    <a:lnTo>
                      <a:pt x="34" y="8"/>
                    </a:lnTo>
                    <a:lnTo>
                      <a:pt x="34" y="8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1"/>
                    </a:lnTo>
                    <a:lnTo>
                      <a:pt x="34" y="11"/>
                    </a:lnTo>
                    <a:lnTo>
                      <a:pt x="34" y="11"/>
                    </a:lnTo>
                    <a:lnTo>
                      <a:pt x="34" y="11"/>
                    </a:lnTo>
                    <a:lnTo>
                      <a:pt x="34" y="11"/>
                    </a:lnTo>
                    <a:lnTo>
                      <a:pt x="34" y="13"/>
                    </a:lnTo>
                    <a:lnTo>
                      <a:pt x="36" y="13"/>
                    </a:lnTo>
                    <a:lnTo>
                      <a:pt x="36" y="13"/>
                    </a:lnTo>
                    <a:lnTo>
                      <a:pt x="36" y="13"/>
                    </a:lnTo>
                    <a:lnTo>
                      <a:pt x="36" y="13"/>
                    </a:lnTo>
                    <a:lnTo>
                      <a:pt x="38" y="13"/>
                    </a:lnTo>
                    <a:lnTo>
                      <a:pt x="38" y="13"/>
                    </a:lnTo>
                    <a:lnTo>
                      <a:pt x="38" y="15"/>
                    </a:lnTo>
                    <a:lnTo>
                      <a:pt x="38" y="15"/>
                    </a:lnTo>
                    <a:lnTo>
                      <a:pt x="38" y="15"/>
                    </a:lnTo>
                    <a:lnTo>
                      <a:pt x="40" y="15"/>
                    </a:lnTo>
                    <a:lnTo>
                      <a:pt x="40" y="17"/>
                    </a:lnTo>
                    <a:lnTo>
                      <a:pt x="40" y="17"/>
                    </a:lnTo>
                    <a:lnTo>
                      <a:pt x="40" y="19"/>
                    </a:lnTo>
                    <a:lnTo>
                      <a:pt x="40" y="21"/>
                    </a:lnTo>
                    <a:lnTo>
                      <a:pt x="40" y="23"/>
                    </a:lnTo>
                    <a:lnTo>
                      <a:pt x="40" y="23"/>
                    </a:lnTo>
                    <a:lnTo>
                      <a:pt x="38" y="23"/>
                    </a:lnTo>
                    <a:lnTo>
                      <a:pt x="38" y="25"/>
                    </a:lnTo>
                    <a:lnTo>
                      <a:pt x="40" y="25"/>
                    </a:lnTo>
                    <a:lnTo>
                      <a:pt x="40" y="25"/>
                    </a:lnTo>
                    <a:lnTo>
                      <a:pt x="40" y="25"/>
                    </a:lnTo>
                    <a:lnTo>
                      <a:pt x="40" y="27"/>
                    </a:lnTo>
                    <a:lnTo>
                      <a:pt x="40" y="29"/>
                    </a:lnTo>
                    <a:lnTo>
                      <a:pt x="42" y="29"/>
                    </a:lnTo>
                    <a:lnTo>
                      <a:pt x="42" y="29"/>
                    </a:lnTo>
                    <a:lnTo>
                      <a:pt x="42" y="31"/>
                    </a:lnTo>
                    <a:lnTo>
                      <a:pt x="42" y="31"/>
                    </a:lnTo>
                    <a:lnTo>
                      <a:pt x="42" y="31"/>
                    </a:lnTo>
                    <a:lnTo>
                      <a:pt x="40" y="31"/>
                    </a:lnTo>
                    <a:lnTo>
                      <a:pt x="40" y="31"/>
                    </a:lnTo>
                    <a:lnTo>
                      <a:pt x="40" y="31"/>
                    </a:lnTo>
                    <a:lnTo>
                      <a:pt x="40" y="33"/>
                    </a:lnTo>
                    <a:lnTo>
                      <a:pt x="40" y="35"/>
                    </a:lnTo>
                    <a:lnTo>
                      <a:pt x="38" y="35"/>
                    </a:lnTo>
                    <a:lnTo>
                      <a:pt x="38" y="33"/>
                    </a:lnTo>
                    <a:lnTo>
                      <a:pt x="38" y="35"/>
                    </a:lnTo>
                    <a:lnTo>
                      <a:pt x="38" y="35"/>
                    </a:lnTo>
                    <a:lnTo>
                      <a:pt x="38" y="35"/>
                    </a:lnTo>
                    <a:lnTo>
                      <a:pt x="38" y="35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6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3" y="38"/>
                    </a:lnTo>
                    <a:lnTo>
                      <a:pt x="33" y="38"/>
                    </a:lnTo>
                    <a:lnTo>
                      <a:pt x="33" y="38"/>
                    </a:lnTo>
                    <a:lnTo>
                      <a:pt x="33" y="38"/>
                    </a:lnTo>
                    <a:lnTo>
                      <a:pt x="33" y="40"/>
                    </a:lnTo>
                    <a:lnTo>
                      <a:pt x="33" y="40"/>
                    </a:lnTo>
                    <a:lnTo>
                      <a:pt x="33" y="40"/>
                    </a:lnTo>
                    <a:lnTo>
                      <a:pt x="31" y="42"/>
                    </a:lnTo>
                    <a:lnTo>
                      <a:pt x="31" y="42"/>
                    </a:lnTo>
                    <a:lnTo>
                      <a:pt x="31" y="42"/>
                    </a:lnTo>
                    <a:lnTo>
                      <a:pt x="29" y="42"/>
                    </a:lnTo>
                    <a:lnTo>
                      <a:pt x="29" y="42"/>
                    </a:lnTo>
                    <a:lnTo>
                      <a:pt x="29" y="44"/>
                    </a:lnTo>
                    <a:lnTo>
                      <a:pt x="29" y="44"/>
                    </a:lnTo>
                    <a:lnTo>
                      <a:pt x="29" y="44"/>
                    </a:lnTo>
                    <a:lnTo>
                      <a:pt x="29" y="44"/>
                    </a:lnTo>
                    <a:lnTo>
                      <a:pt x="29" y="44"/>
                    </a:lnTo>
                    <a:lnTo>
                      <a:pt x="31" y="44"/>
                    </a:lnTo>
                    <a:lnTo>
                      <a:pt x="31" y="44"/>
                    </a:lnTo>
                    <a:lnTo>
                      <a:pt x="31" y="44"/>
                    </a:lnTo>
                    <a:lnTo>
                      <a:pt x="29" y="46"/>
                    </a:lnTo>
                    <a:lnTo>
                      <a:pt x="29" y="46"/>
                    </a:lnTo>
                    <a:lnTo>
                      <a:pt x="29" y="46"/>
                    </a:lnTo>
                    <a:lnTo>
                      <a:pt x="29" y="48"/>
                    </a:lnTo>
                    <a:lnTo>
                      <a:pt x="29" y="48"/>
                    </a:lnTo>
                    <a:lnTo>
                      <a:pt x="27" y="48"/>
                    </a:lnTo>
                    <a:lnTo>
                      <a:pt x="27" y="48"/>
                    </a:lnTo>
                    <a:lnTo>
                      <a:pt x="27" y="48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7" y="52"/>
                    </a:lnTo>
                    <a:lnTo>
                      <a:pt x="25" y="52"/>
                    </a:lnTo>
                    <a:lnTo>
                      <a:pt x="25" y="52"/>
                    </a:lnTo>
                    <a:lnTo>
                      <a:pt x="27" y="52"/>
                    </a:lnTo>
                    <a:lnTo>
                      <a:pt x="25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25" y="56"/>
                    </a:lnTo>
                    <a:lnTo>
                      <a:pt x="25" y="56"/>
                    </a:lnTo>
                    <a:lnTo>
                      <a:pt x="25" y="56"/>
                    </a:lnTo>
                    <a:lnTo>
                      <a:pt x="25" y="58"/>
                    </a:lnTo>
                    <a:lnTo>
                      <a:pt x="25" y="58"/>
                    </a:lnTo>
                    <a:lnTo>
                      <a:pt x="23" y="58"/>
                    </a:lnTo>
                    <a:lnTo>
                      <a:pt x="23" y="58"/>
                    </a:lnTo>
                    <a:lnTo>
                      <a:pt x="23" y="58"/>
                    </a:lnTo>
                    <a:lnTo>
                      <a:pt x="23" y="58"/>
                    </a:lnTo>
                    <a:lnTo>
                      <a:pt x="23" y="58"/>
                    </a:lnTo>
                    <a:lnTo>
                      <a:pt x="21" y="58"/>
                    </a:lnTo>
                    <a:lnTo>
                      <a:pt x="21" y="60"/>
                    </a:lnTo>
                    <a:lnTo>
                      <a:pt x="21" y="60"/>
                    </a:lnTo>
                    <a:lnTo>
                      <a:pt x="21" y="60"/>
                    </a:lnTo>
                    <a:lnTo>
                      <a:pt x="21" y="60"/>
                    </a:lnTo>
                    <a:lnTo>
                      <a:pt x="21" y="60"/>
                    </a:lnTo>
                    <a:lnTo>
                      <a:pt x="21" y="61"/>
                    </a:lnTo>
                    <a:lnTo>
                      <a:pt x="21" y="61"/>
                    </a:lnTo>
                    <a:lnTo>
                      <a:pt x="21" y="61"/>
                    </a:lnTo>
                    <a:lnTo>
                      <a:pt x="19" y="61"/>
                    </a:lnTo>
                    <a:lnTo>
                      <a:pt x="19" y="61"/>
                    </a:lnTo>
                    <a:lnTo>
                      <a:pt x="19" y="63"/>
                    </a:lnTo>
                    <a:lnTo>
                      <a:pt x="19" y="63"/>
                    </a:lnTo>
                    <a:lnTo>
                      <a:pt x="19" y="61"/>
                    </a:lnTo>
                    <a:lnTo>
                      <a:pt x="17" y="61"/>
                    </a:lnTo>
                    <a:lnTo>
                      <a:pt x="17" y="61"/>
                    </a:lnTo>
                    <a:lnTo>
                      <a:pt x="17" y="63"/>
                    </a:lnTo>
                    <a:lnTo>
                      <a:pt x="17" y="63"/>
                    </a:lnTo>
                    <a:lnTo>
                      <a:pt x="17" y="63"/>
                    </a:lnTo>
                    <a:lnTo>
                      <a:pt x="17" y="63"/>
                    </a:lnTo>
                    <a:lnTo>
                      <a:pt x="15" y="63"/>
                    </a:lnTo>
                    <a:lnTo>
                      <a:pt x="15" y="63"/>
                    </a:lnTo>
                    <a:lnTo>
                      <a:pt x="13" y="63"/>
                    </a:lnTo>
                    <a:lnTo>
                      <a:pt x="13" y="63"/>
                    </a:lnTo>
                    <a:lnTo>
                      <a:pt x="13" y="63"/>
                    </a:lnTo>
                    <a:lnTo>
                      <a:pt x="13" y="65"/>
                    </a:lnTo>
                    <a:lnTo>
                      <a:pt x="13" y="65"/>
                    </a:lnTo>
                    <a:lnTo>
                      <a:pt x="13" y="65"/>
                    </a:lnTo>
                    <a:lnTo>
                      <a:pt x="13" y="65"/>
                    </a:lnTo>
                    <a:lnTo>
                      <a:pt x="13" y="65"/>
                    </a:lnTo>
                    <a:lnTo>
                      <a:pt x="13" y="65"/>
                    </a:lnTo>
                    <a:lnTo>
                      <a:pt x="11" y="65"/>
                    </a:lnTo>
                    <a:lnTo>
                      <a:pt x="11" y="65"/>
                    </a:lnTo>
                    <a:lnTo>
                      <a:pt x="11" y="65"/>
                    </a:lnTo>
                    <a:lnTo>
                      <a:pt x="11" y="65"/>
                    </a:lnTo>
                    <a:lnTo>
                      <a:pt x="11" y="65"/>
                    </a:lnTo>
                    <a:lnTo>
                      <a:pt x="11" y="63"/>
                    </a:lnTo>
                    <a:lnTo>
                      <a:pt x="11" y="63"/>
                    </a:lnTo>
                    <a:lnTo>
                      <a:pt x="11" y="61"/>
                    </a:lnTo>
                    <a:lnTo>
                      <a:pt x="10" y="61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6" y="60"/>
                    </a:lnTo>
                    <a:lnTo>
                      <a:pt x="6" y="60"/>
                    </a:lnTo>
                    <a:lnTo>
                      <a:pt x="6" y="60"/>
                    </a:lnTo>
                    <a:lnTo>
                      <a:pt x="6" y="61"/>
                    </a:lnTo>
                    <a:lnTo>
                      <a:pt x="6" y="61"/>
                    </a:lnTo>
                    <a:lnTo>
                      <a:pt x="4" y="61"/>
                    </a:lnTo>
                    <a:lnTo>
                      <a:pt x="4" y="61"/>
                    </a:lnTo>
                    <a:lnTo>
                      <a:pt x="4" y="61"/>
                    </a:lnTo>
                    <a:lnTo>
                      <a:pt x="4" y="61"/>
                    </a:lnTo>
                    <a:lnTo>
                      <a:pt x="4" y="61"/>
                    </a:lnTo>
                    <a:lnTo>
                      <a:pt x="2" y="61"/>
                    </a:lnTo>
                    <a:lnTo>
                      <a:pt x="2" y="63"/>
                    </a:lnTo>
                    <a:lnTo>
                      <a:pt x="2" y="63"/>
                    </a:lnTo>
                    <a:lnTo>
                      <a:pt x="2" y="63"/>
                    </a:lnTo>
                    <a:lnTo>
                      <a:pt x="2" y="63"/>
                    </a:lnTo>
                    <a:lnTo>
                      <a:pt x="0" y="65"/>
                    </a:lnTo>
                    <a:lnTo>
                      <a:pt x="0" y="65"/>
                    </a:lnTo>
                    <a:lnTo>
                      <a:pt x="0" y="65"/>
                    </a:lnTo>
                    <a:lnTo>
                      <a:pt x="0" y="65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58"/>
                    </a:lnTo>
                    <a:lnTo>
                      <a:pt x="2" y="58"/>
                    </a:lnTo>
                    <a:lnTo>
                      <a:pt x="2" y="58"/>
                    </a:lnTo>
                    <a:lnTo>
                      <a:pt x="2" y="58"/>
                    </a:lnTo>
                    <a:lnTo>
                      <a:pt x="2" y="58"/>
                    </a:lnTo>
                    <a:lnTo>
                      <a:pt x="2" y="56"/>
                    </a:lnTo>
                    <a:lnTo>
                      <a:pt x="2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2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48"/>
                    </a:lnTo>
                    <a:lnTo>
                      <a:pt x="2" y="48"/>
                    </a:lnTo>
                    <a:lnTo>
                      <a:pt x="2" y="48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2" y="44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50"/>
                    </a:lnTo>
                    <a:lnTo>
                      <a:pt x="6" y="50"/>
                    </a:lnTo>
                    <a:lnTo>
                      <a:pt x="6" y="50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8" y="50"/>
                    </a:lnTo>
                    <a:lnTo>
                      <a:pt x="8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10" y="52"/>
                    </a:lnTo>
                    <a:lnTo>
                      <a:pt x="11" y="50"/>
                    </a:lnTo>
                    <a:lnTo>
                      <a:pt x="11" y="50"/>
                    </a:lnTo>
                    <a:lnTo>
                      <a:pt x="11" y="50"/>
                    </a:lnTo>
                    <a:lnTo>
                      <a:pt x="13" y="48"/>
                    </a:lnTo>
                    <a:lnTo>
                      <a:pt x="13" y="48"/>
                    </a:lnTo>
                    <a:lnTo>
                      <a:pt x="13" y="48"/>
                    </a:lnTo>
                    <a:lnTo>
                      <a:pt x="13" y="48"/>
                    </a:lnTo>
                    <a:lnTo>
                      <a:pt x="15" y="48"/>
                    </a:lnTo>
                    <a:lnTo>
                      <a:pt x="15" y="48"/>
                    </a:lnTo>
                    <a:lnTo>
                      <a:pt x="15" y="48"/>
                    </a:lnTo>
                    <a:lnTo>
                      <a:pt x="17" y="48"/>
                    </a:lnTo>
                    <a:lnTo>
                      <a:pt x="17" y="48"/>
                    </a:lnTo>
                    <a:lnTo>
                      <a:pt x="17" y="46"/>
                    </a:lnTo>
                    <a:lnTo>
                      <a:pt x="17" y="46"/>
                    </a:lnTo>
                    <a:lnTo>
                      <a:pt x="17" y="44"/>
                    </a:lnTo>
                    <a:lnTo>
                      <a:pt x="17" y="44"/>
                    </a:lnTo>
                    <a:lnTo>
                      <a:pt x="17" y="44"/>
                    </a:lnTo>
                    <a:lnTo>
                      <a:pt x="17" y="44"/>
                    </a:lnTo>
                    <a:lnTo>
                      <a:pt x="17" y="44"/>
                    </a:lnTo>
                    <a:lnTo>
                      <a:pt x="19" y="42"/>
                    </a:lnTo>
                    <a:lnTo>
                      <a:pt x="19" y="42"/>
                    </a:lnTo>
                    <a:lnTo>
                      <a:pt x="19" y="42"/>
                    </a:lnTo>
                    <a:lnTo>
                      <a:pt x="19" y="42"/>
                    </a:lnTo>
                    <a:lnTo>
                      <a:pt x="21" y="42"/>
                    </a:lnTo>
                    <a:lnTo>
                      <a:pt x="19" y="40"/>
                    </a:lnTo>
                    <a:lnTo>
                      <a:pt x="19" y="40"/>
                    </a:lnTo>
                    <a:lnTo>
                      <a:pt x="19" y="40"/>
                    </a:lnTo>
                    <a:lnTo>
                      <a:pt x="19" y="38"/>
                    </a:lnTo>
                    <a:lnTo>
                      <a:pt x="19" y="38"/>
                    </a:lnTo>
                    <a:lnTo>
                      <a:pt x="19" y="38"/>
                    </a:lnTo>
                    <a:lnTo>
                      <a:pt x="19" y="38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19" y="36"/>
                    </a:lnTo>
                    <a:lnTo>
                      <a:pt x="17" y="35"/>
                    </a:lnTo>
                    <a:lnTo>
                      <a:pt x="19" y="35"/>
                    </a:lnTo>
                    <a:lnTo>
                      <a:pt x="19" y="35"/>
                    </a:lnTo>
                    <a:lnTo>
                      <a:pt x="19" y="35"/>
                    </a:lnTo>
                    <a:lnTo>
                      <a:pt x="19" y="35"/>
                    </a:lnTo>
                    <a:lnTo>
                      <a:pt x="19" y="33"/>
                    </a:lnTo>
                    <a:lnTo>
                      <a:pt x="19" y="33"/>
                    </a:lnTo>
                    <a:lnTo>
                      <a:pt x="17" y="33"/>
                    </a:lnTo>
                    <a:lnTo>
                      <a:pt x="17" y="33"/>
                    </a:lnTo>
                    <a:lnTo>
                      <a:pt x="17" y="33"/>
                    </a:lnTo>
                    <a:lnTo>
                      <a:pt x="17" y="33"/>
                    </a:lnTo>
                    <a:lnTo>
                      <a:pt x="17" y="31"/>
                    </a:lnTo>
                    <a:lnTo>
                      <a:pt x="19" y="31"/>
                    </a:lnTo>
                    <a:lnTo>
                      <a:pt x="19" y="31"/>
                    </a:lnTo>
                    <a:lnTo>
                      <a:pt x="17" y="31"/>
                    </a:lnTo>
                    <a:lnTo>
                      <a:pt x="17" y="27"/>
                    </a:lnTo>
                    <a:lnTo>
                      <a:pt x="17" y="27"/>
                    </a:lnTo>
                    <a:lnTo>
                      <a:pt x="17" y="23"/>
                    </a:lnTo>
                    <a:lnTo>
                      <a:pt x="17" y="23"/>
                    </a:lnTo>
                    <a:lnTo>
                      <a:pt x="17" y="23"/>
                    </a:lnTo>
                    <a:lnTo>
                      <a:pt x="17" y="21"/>
                    </a:lnTo>
                    <a:lnTo>
                      <a:pt x="15" y="25"/>
                    </a:lnTo>
                    <a:lnTo>
                      <a:pt x="17" y="25"/>
                    </a:lnTo>
                    <a:lnTo>
                      <a:pt x="17" y="25"/>
                    </a:lnTo>
                    <a:lnTo>
                      <a:pt x="17" y="27"/>
                    </a:lnTo>
                    <a:lnTo>
                      <a:pt x="15" y="27"/>
                    </a:lnTo>
                    <a:lnTo>
                      <a:pt x="15" y="27"/>
                    </a:lnTo>
                    <a:lnTo>
                      <a:pt x="15" y="27"/>
                    </a:lnTo>
                    <a:lnTo>
                      <a:pt x="15" y="25"/>
                    </a:lnTo>
                    <a:lnTo>
                      <a:pt x="15" y="27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5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3" y="25"/>
                    </a:lnTo>
                    <a:lnTo>
                      <a:pt x="13" y="23"/>
                    </a:lnTo>
                    <a:lnTo>
                      <a:pt x="13" y="25"/>
                    </a:lnTo>
                    <a:lnTo>
                      <a:pt x="13" y="23"/>
                    </a:lnTo>
                    <a:lnTo>
                      <a:pt x="13" y="23"/>
                    </a:lnTo>
                    <a:lnTo>
                      <a:pt x="13" y="23"/>
                    </a:lnTo>
                    <a:lnTo>
                      <a:pt x="13" y="23"/>
                    </a:lnTo>
                    <a:lnTo>
                      <a:pt x="13" y="23"/>
                    </a:lnTo>
                    <a:lnTo>
                      <a:pt x="13" y="23"/>
                    </a:lnTo>
                    <a:lnTo>
                      <a:pt x="13" y="23"/>
                    </a:lnTo>
                    <a:lnTo>
                      <a:pt x="13" y="23"/>
                    </a:lnTo>
                    <a:lnTo>
                      <a:pt x="13" y="23"/>
                    </a:lnTo>
                    <a:lnTo>
                      <a:pt x="13" y="23"/>
                    </a:lnTo>
                    <a:lnTo>
                      <a:pt x="13" y="23"/>
                    </a:lnTo>
                    <a:lnTo>
                      <a:pt x="11" y="23"/>
                    </a:lnTo>
                    <a:lnTo>
                      <a:pt x="11" y="23"/>
                    </a:lnTo>
                    <a:lnTo>
                      <a:pt x="11" y="23"/>
                    </a:lnTo>
                    <a:lnTo>
                      <a:pt x="13" y="19"/>
                    </a:lnTo>
                    <a:lnTo>
                      <a:pt x="17" y="15"/>
                    </a:lnTo>
                    <a:lnTo>
                      <a:pt x="19" y="11"/>
                    </a:lnTo>
                    <a:lnTo>
                      <a:pt x="19" y="11"/>
                    </a:lnTo>
                    <a:lnTo>
                      <a:pt x="19" y="11"/>
                    </a:lnTo>
                    <a:lnTo>
                      <a:pt x="17" y="11"/>
                    </a:lnTo>
                    <a:lnTo>
                      <a:pt x="17" y="11"/>
                    </a:lnTo>
                    <a:lnTo>
                      <a:pt x="17" y="11"/>
                    </a:lnTo>
                    <a:lnTo>
                      <a:pt x="17" y="11"/>
                    </a:lnTo>
                    <a:lnTo>
                      <a:pt x="17" y="11"/>
                    </a:lnTo>
                    <a:lnTo>
                      <a:pt x="15" y="11"/>
                    </a:lnTo>
                    <a:lnTo>
                      <a:pt x="15" y="11"/>
                    </a:lnTo>
                    <a:lnTo>
                      <a:pt x="15" y="10"/>
                    </a:lnTo>
                    <a:lnTo>
                      <a:pt x="15" y="10"/>
                    </a:lnTo>
                    <a:lnTo>
                      <a:pt x="15" y="10"/>
                    </a:lnTo>
                    <a:lnTo>
                      <a:pt x="15" y="10"/>
                    </a:lnTo>
                    <a:lnTo>
                      <a:pt x="15" y="10"/>
                    </a:lnTo>
                    <a:lnTo>
                      <a:pt x="17" y="8"/>
                    </a:lnTo>
                    <a:lnTo>
                      <a:pt x="17" y="8"/>
                    </a:lnTo>
                    <a:lnTo>
                      <a:pt x="17" y="8"/>
                    </a:lnTo>
                    <a:lnTo>
                      <a:pt x="17" y="8"/>
                    </a:lnTo>
                    <a:lnTo>
                      <a:pt x="17" y="8"/>
                    </a:lnTo>
                    <a:lnTo>
                      <a:pt x="17" y="8"/>
                    </a:lnTo>
                    <a:lnTo>
                      <a:pt x="17" y="8"/>
                    </a:lnTo>
                    <a:lnTo>
                      <a:pt x="17" y="8"/>
                    </a:lnTo>
                    <a:lnTo>
                      <a:pt x="17" y="8"/>
                    </a:lnTo>
                    <a:lnTo>
                      <a:pt x="17" y="8"/>
                    </a:lnTo>
                    <a:lnTo>
                      <a:pt x="17" y="6"/>
                    </a:lnTo>
                    <a:lnTo>
                      <a:pt x="17" y="6"/>
                    </a:lnTo>
                    <a:lnTo>
                      <a:pt x="17" y="6"/>
                    </a:lnTo>
                    <a:lnTo>
                      <a:pt x="17" y="6"/>
                    </a:lnTo>
                    <a:lnTo>
                      <a:pt x="17" y="6"/>
                    </a:lnTo>
                    <a:lnTo>
                      <a:pt x="17" y="6"/>
                    </a:lnTo>
                    <a:lnTo>
                      <a:pt x="17" y="6"/>
                    </a:lnTo>
                    <a:lnTo>
                      <a:pt x="17" y="6"/>
                    </a:lnTo>
                    <a:lnTo>
                      <a:pt x="19" y="6"/>
                    </a:lnTo>
                    <a:lnTo>
                      <a:pt x="17" y="4"/>
                    </a:lnTo>
                    <a:lnTo>
                      <a:pt x="19" y="4"/>
                    </a:lnTo>
                    <a:lnTo>
                      <a:pt x="19" y="4"/>
                    </a:lnTo>
                    <a:lnTo>
                      <a:pt x="19" y="4"/>
                    </a:lnTo>
                    <a:lnTo>
                      <a:pt x="19" y="4"/>
                    </a:lnTo>
                    <a:lnTo>
                      <a:pt x="19" y="4"/>
                    </a:lnTo>
                    <a:lnTo>
                      <a:pt x="21" y="4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21" y="2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7" y="0"/>
                    </a:lnTo>
                    <a:lnTo>
                      <a:pt x="27" y="2"/>
                    </a:lnTo>
                    <a:lnTo>
                      <a:pt x="27" y="2"/>
                    </a:lnTo>
                    <a:lnTo>
                      <a:pt x="25" y="4"/>
                    </a:lnTo>
                    <a:lnTo>
                      <a:pt x="25" y="4"/>
                    </a:lnTo>
                    <a:lnTo>
                      <a:pt x="25" y="4"/>
                    </a:lnTo>
                    <a:lnTo>
                      <a:pt x="25" y="4"/>
                    </a:lnTo>
                    <a:lnTo>
                      <a:pt x="25" y="4"/>
                    </a:lnTo>
                    <a:lnTo>
                      <a:pt x="25" y="4"/>
                    </a:lnTo>
                    <a:lnTo>
                      <a:pt x="27" y="6"/>
                    </a:lnTo>
                    <a:lnTo>
                      <a:pt x="27" y="6"/>
                    </a:lnTo>
                    <a:lnTo>
                      <a:pt x="27" y="6"/>
                    </a:lnTo>
                    <a:lnTo>
                      <a:pt x="29" y="6"/>
                    </a:lnTo>
                    <a:lnTo>
                      <a:pt x="29" y="6"/>
                    </a:lnTo>
                    <a:lnTo>
                      <a:pt x="29" y="4"/>
                    </a:lnTo>
                    <a:lnTo>
                      <a:pt x="29" y="4"/>
                    </a:lnTo>
                    <a:lnTo>
                      <a:pt x="29" y="4"/>
                    </a:lnTo>
                    <a:lnTo>
                      <a:pt x="29" y="4"/>
                    </a:lnTo>
                    <a:lnTo>
                      <a:pt x="31" y="4"/>
                    </a:lnTo>
                    <a:lnTo>
                      <a:pt x="31" y="4"/>
                    </a:lnTo>
                    <a:lnTo>
                      <a:pt x="31" y="4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3" y="6"/>
                    </a:lnTo>
                    <a:lnTo>
                      <a:pt x="33" y="8"/>
                    </a:lnTo>
                    <a:lnTo>
                      <a:pt x="33" y="8"/>
                    </a:lnTo>
                    <a:lnTo>
                      <a:pt x="33" y="8"/>
                    </a:lnTo>
                    <a:lnTo>
                      <a:pt x="33" y="8"/>
                    </a:lnTo>
                    <a:lnTo>
                      <a:pt x="33" y="8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25">
                <a:extLst>
                  <a:ext uri="{FF2B5EF4-FFF2-40B4-BE49-F238E27FC236}">
                    <a16:creationId xmlns="" xmlns:a16="http://schemas.microsoft.com/office/drawing/2014/main" id="{9D61B348-1E07-4FF4-BAFF-141350A5A1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89500" y="3390901"/>
                <a:ext cx="1149350" cy="1423988"/>
              </a:xfrm>
              <a:custGeom>
                <a:avLst/>
                <a:gdLst>
                  <a:gd name="T0" fmla="*/ 678 w 724"/>
                  <a:gd name="T1" fmla="*/ 348 h 897"/>
                  <a:gd name="T2" fmla="*/ 682 w 724"/>
                  <a:gd name="T3" fmla="*/ 399 h 897"/>
                  <a:gd name="T4" fmla="*/ 697 w 724"/>
                  <a:gd name="T5" fmla="*/ 436 h 897"/>
                  <a:gd name="T6" fmla="*/ 659 w 724"/>
                  <a:gd name="T7" fmla="*/ 444 h 897"/>
                  <a:gd name="T8" fmla="*/ 636 w 724"/>
                  <a:gd name="T9" fmla="*/ 426 h 897"/>
                  <a:gd name="T10" fmla="*/ 603 w 724"/>
                  <a:gd name="T11" fmla="*/ 469 h 897"/>
                  <a:gd name="T12" fmla="*/ 559 w 724"/>
                  <a:gd name="T13" fmla="*/ 478 h 897"/>
                  <a:gd name="T14" fmla="*/ 518 w 724"/>
                  <a:gd name="T15" fmla="*/ 465 h 897"/>
                  <a:gd name="T16" fmla="*/ 478 w 724"/>
                  <a:gd name="T17" fmla="*/ 480 h 897"/>
                  <a:gd name="T18" fmla="*/ 434 w 724"/>
                  <a:gd name="T19" fmla="*/ 498 h 897"/>
                  <a:gd name="T20" fmla="*/ 434 w 724"/>
                  <a:gd name="T21" fmla="*/ 542 h 897"/>
                  <a:gd name="T22" fmla="*/ 428 w 724"/>
                  <a:gd name="T23" fmla="*/ 584 h 897"/>
                  <a:gd name="T24" fmla="*/ 438 w 724"/>
                  <a:gd name="T25" fmla="*/ 646 h 897"/>
                  <a:gd name="T26" fmla="*/ 307 w 724"/>
                  <a:gd name="T27" fmla="*/ 888 h 897"/>
                  <a:gd name="T28" fmla="*/ 267 w 724"/>
                  <a:gd name="T29" fmla="*/ 851 h 897"/>
                  <a:gd name="T30" fmla="*/ 223 w 724"/>
                  <a:gd name="T31" fmla="*/ 822 h 897"/>
                  <a:gd name="T32" fmla="*/ 171 w 724"/>
                  <a:gd name="T33" fmla="*/ 776 h 897"/>
                  <a:gd name="T34" fmla="*/ 130 w 724"/>
                  <a:gd name="T35" fmla="*/ 776 h 897"/>
                  <a:gd name="T36" fmla="*/ 86 w 724"/>
                  <a:gd name="T37" fmla="*/ 765 h 897"/>
                  <a:gd name="T38" fmla="*/ 36 w 724"/>
                  <a:gd name="T39" fmla="*/ 738 h 897"/>
                  <a:gd name="T40" fmla="*/ 2 w 724"/>
                  <a:gd name="T41" fmla="*/ 688 h 897"/>
                  <a:gd name="T42" fmla="*/ 34 w 724"/>
                  <a:gd name="T43" fmla="*/ 653 h 897"/>
                  <a:gd name="T44" fmla="*/ 44 w 724"/>
                  <a:gd name="T45" fmla="*/ 576 h 897"/>
                  <a:gd name="T46" fmla="*/ 63 w 724"/>
                  <a:gd name="T47" fmla="*/ 509 h 897"/>
                  <a:gd name="T48" fmla="*/ 98 w 724"/>
                  <a:gd name="T49" fmla="*/ 457 h 897"/>
                  <a:gd name="T50" fmla="*/ 144 w 724"/>
                  <a:gd name="T51" fmla="*/ 449 h 897"/>
                  <a:gd name="T52" fmla="*/ 165 w 724"/>
                  <a:gd name="T53" fmla="*/ 463 h 897"/>
                  <a:gd name="T54" fmla="*/ 184 w 724"/>
                  <a:gd name="T55" fmla="*/ 409 h 897"/>
                  <a:gd name="T56" fmla="*/ 205 w 724"/>
                  <a:gd name="T57" fmla="*/ 355 h 897"/>
                  <a:gd name="T58" fmla="*/ 249 w 724"/>
                  <a:gd name="T59" fmla="*/ 369 h 897"/>
                  <a:gd name="T60" fmla="*/ 278 w 724"/>
                  <a:gd name="T61" fmla="*/ 369 h 897"/>
                  <a:gd name="T62" fmla="*/ 274 w 724"/>
                  <a:gd name="T63" fmla="*/ 313 h 897"/>
                  <a:gd name="T64" fmla="*/ 292 w 724"/>
                  <a:gd name="T65" fmla="*/ 286 h 897"/>
                  <a:gd name="T66" fmla="*/ 261 w 724"/>
                  <a:gd name="T67" fmla="*/ 255 h 897"/>
                  <a:gd name="T68" fmla="*/ 263 w 724"/>
                  <a:gd name="T69" fmla="*/ 203 h 897"/>
                  <a:gd name="T70" fmla="*/ 303 w 724"/>
                  <a:gd name="T71" fmla="*/ 153 h 897"/>
                  <a:gd name="T72" fmla="*/ 290 w 724"/>
                  <a:gd name="T73" fmla="*/ 96 h 897"/>
                  <a:gd name="T74" fmla="*/ 297 w 724"/>
                  <a:gd name="T75" fmla="*/ 40 h 897"/>
                  <a:gd name="T76" fmla="*/ 324 w 724"/>
                  <a:gd name="T77" fmla="*/ 25 h 897"/>
                  <a:gd name="T78" fmla="*/ 346 w 724"/>
                  <a:gd name="T79" fmla="*/ 11 h 897"/>
                  <a:gd name="T80" fmla="*/ 369 w 724"/>
                  <a:gd name="T81" fmla="*/ 46 h 897"/>
                  <a:gd name="T82" fmla="*/ 382 w 724"/>
                  <a:gd name="T83" fmla="*/ 80 h 897"/>
                  <a:gd name="T84" fmla="*/ 399 w 724"/>
                  <a:gd name="T85" fmla="*/ 117 h 897"/>
                  <a:gd name="T86" fmla="*/ 407 w 724"/>
                  <a:gd name="T87" fmla="*/ 175 h 897"/>
                  <a:gd name="T88" fmla="*/ 422 w 724"/>
                  <a:gd name="T89" fmla="*/ 228 h 897"/>
                  <a:gd name="T90" fmla="*/ 413 w 724"/>
                  <a:gd name="T91" fmla="*/ 301 h 897"/>
                  <a:gd name="T92" fmla="*/ 447 w 724"/>
                  <a:gd name="T93" fmla="*/ 336 h 897"/>
                  <a:gd name="T94" fmla="*/ 497 w 724"/>
                  <a:gd name="T95" fmla="*/ 294 h 897"/>
                  <a:gd name="T96" fmla="*/ 515 w 724"/>
                  <a:gd name="T97" fmla="*/ 321 h 897"/>
                  <a:gd name="T98" fmla="*/ 545 w 724"/>
                  <a:gd name="T99" fmla="*/ 276 h 897"/>
                  <a:gd name="T100" fmla="*/ 549 w 724"/>
                  <a:gd name="T101" fmla="*/ 225 h 897"/>
                  <a:gd name="T102" fmla="*/ 630 w 724"/>
                  <a:gd name="T103" fmla="*/ 217 h 897"/>
                  <a:gd name="T104" fmla="*/ 659 w 724"/>
                  <a:gd name="T105" fmla="*/ 261 h 897"/>
                  <a:gd name="T106" fmla="*/ 697 w 724"/>
                  <a:gd name="T107" fmla="*/ 267 h 897"/>
                  <a:gd name="T108" fmla="*/ 711 w 724"/>
                  <a:gd name="T109" fmla="*/ 313 h 897"/>
                  <a:gd name="T110" fmla="*/ 234 w 724"/>
                  <a:gd name="T111" fmla="*/ 721 h 897"/>
                  <a:gd name="T112" fmla="*/ 236 w 724"/>
                  <a:gd name="T113" fmla="*/ 769 h 897"/>
                  <a:gd name="T114" fmla="*/ 269 w 724"/>
                  <a:gd name="T115" fmla="*/ 769 h 897"/>
                  <a:gd name="T116" fmla="*/ 301 w 724"/>
                  <a:gd name="T117" fmla="*/ 767 h 897"/>
                  <a:gd name="T118" fmla="*/ 328 w 724"/>
                  <a:gd name="T119" fmla="*/ 809 h 897"/>
                  <a:gd name="T120" fmla="*/ 365 w 724"/>
                  <a:gd name="T121" fmla="*/ 746 h 897"/>
                  <a:gd name="T122" fmla="*/ 328 w 724"/>
                  <a:gd name="T123" fmla="*/ 736 h 897"/>
                  <a:gd name="T124" fmla="*/ 286 w 724"/>
                  <a:gd name="T125" fmla="*/ 703 h 8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24" h="897">
                    <a:moveTo>
                      <a:pt x="724" y="334"/>
                    </a:moveTo>
                    <a:lnTo>
                      <a:pt x="722" y="332"/>
                    </a:lnTo>
                    <a:lnTo>
                      <a:pt x="720" y="334"/>
                    </a:lnTo>
                    <a:lnTo>
                      <a:pt x="718" y="336"/>
                    </a:lnTo>
                    <a:lnTo>
                      <a:pt x="716" y="336"/>
                    </a:lnTo>
                    <a:lnTo>
                      <a:pt x="714" y="336"/>
                    </a:lnTo>
                    <a:lnTo>
                      <a:pt x="714" y="338"/>
                    </a:lnTo>
                    <a:lnTo>
                      <a:pt x="712" y="340"/>
                    </a:lnTo>
                    <a:lnTo>
                      <a:pt x="711" y="340"/>
                    </a:lnTo>
                    <a:lnTo>
                      <a:pt x="709" y="340"/>
                    </a:lnTo>
                    <a:lnTo>
                      <a:pt x="709" y="338"/>
                    </a:lnTo>
                    <a:lnTo>
                      <a:pt x="707" y="338"/>
                    </a:lnTo>
                    <a:lnTo>
                      <a:pt x="705" y="340"/>
                    </a:lnTo>
                    <a:lnTo>
                      <a:pt x="705" y="338"/>
                    </a:lnTo>
                    <a:lnTo>
                      <a:pt x="705" y="336"/>
                    </a:lnTo>
                    <a:lnTo>
                      <a:pt x="703" y="336"/>
                    </a:lnTo>
                    <a:lnTo>
                      <a:pt x="701" y="336"/>
                    </a:lnTo>
                    <a:lnTo>
                      <a:pt x="701" y="334"/>
                    </a:lnTo>
                    <a:lnTo>
                      <a:pt x="699" y="334"/>
                    </a:lnTo>
                    <a:lnTo>
                      <a:pt x="699" y="332"/>
                    </a:lnTo>
                    <a:lnTo>
                      <a:pt x="697" y="332"/>
                    </a:lnTo>
                    <a:lnTo>
                      <a:pt x="697" y="330"/>
                    </a:lnTo>
                    <a:lnTo>
                      <a:pt x="695" y="330"/>
                    </a:lnTo>
                    <a:lnTo>
                      <a:pt x="693" y="330"/>
                    </a:lnTo>
                    <a:lnTo>
                      <a:pt x="691" y="330"/>
                    </a:lnTo>
                    <a:lnTo>
                      <a:pt x="691" y="332"/>
                    </a:lnTo>
                    <a:lnTo>
                      <a:pt x="689" y="332"/>
                    </a:lnTo>
                    <a:lnTo>
                      <a:pt x="689" y="330"/>
                    </a:lnTo>
                    <a:lnTo>
                      <a:pt x="687" y="330"/>
                    </a:lnTo>
                    <a:lnTo>
                      <a:pt x="686" y="330"/>
                    </a:lnTo>
                    <a:lnTo>
                      <a:pt x="684" y="330"/>
                    </a:lnTo>
                    <a:lnTo>
                      <a:pt x="684" y="332"/>
                    </a:lnTo>
                    <a:lnTo>
                      <a:pt x="684" y="330"/>
                    </a:lnTo>
                    <a:lnTo>
                      <a:pt x="682" y="330"/>
                    </a:lnTo>
                    <a:lnTo>
                      <a:pt x="682" y="332"/>
                    </a:lnTo>
                    <a:lnTo>
                      <a:pt x="680" y="332"/>
                    </a:lnTo>
                    <a:lnTo>
                      <a:pt x="678" y="332"/>
                    </a:lnTo>
                    <a:lnTo>
                      <a:pt x="676" y="332"/>
                    </a:lnTo>
                    <a:lnTo>
                      <a:pt x="678" y="332"/>
                    </a:lnTo>
                    <a:lnTo>
                      <a:pt x="676" y="334"/>
                    </a:lnTo>
                    <a:lnTo>
                      <a:pt x="676" y="336"/>
                    </a:lnTo>
                    <a:lnTo>
                      <a:pt x="674" y="338"/>
                    </a:lnTo>
                    <a:lnTo>
                      <a:pt x="672" y="340"/>
                    </a:lnTo>
                    <a:lnTo>
                      <a:pt x="674" y="342"/>
                    </a:lnTo>
                    <a:lnTo>
                      <a:pt x="676" y="344"/>
                    </a:lnTo>
                    <a:lnTo>
                      <a:pt x="676" y="346"/>
                    </a:lnTo>
                    <a:lnTo>
                      <a:pt x="678" y="348"/>
                    </a:lnTo>
                    <a:lnTo>
                      <a:pt x="678" y="350"/>
                    </a:lnTo>
                    <a:lnTo>
                      <a:pt x="678" y="351"/>
                    </a:lnTo>
                    <a:lnTo>
                      <a:pt x="676" y="351"/>
                    </a:lnTo>
                    <a:lnTo>
                      <a:pt x="674" y="351"/>
                    </a:lnTo>
                    <a:lnTo>
                      <a:pt x="674" y="350"/>
                    </a:lnTo>
                    <a:lnTo>
                      <a:pt x="674" y="351"/>
                    </a:lnTo>
                    <a:lnTo>
                      <a:pt x="674" y="353"/>
                    </a:lnTo>
                    <a:lnTo>
                      <a:pt x="674" y="355"/>
                    </a:lnTo>
                    <a:lnTo>
                      <a:pt x="674" y="357"/>
                    </a:lnTo>
                    <a:lnTo>
                      <a:pt x="674" y="359"/>
                    </a:lnTo>
                    <a:lnTo>
                      <a:pt x="674" y="361"/>
                    </a:lnTo>
                    <a:lnTo>
                      <a:pt x="676" y="365"/>
                    </a:lnTo>
                    <a:lnTo>
                      <a:pt x="678" y="365"/>
                    </a:lnTo>
                    <a:lnTo>
                      <a:pt x="678" y="367"/>
                    </a:lnTo>
                    <a:lnTo>
                      <a:pt x="676" y="367"/>
                    </a:lnTo>
                    <a:lnTo>
                      <a:pt x="676" y="369"/>
                    </a:lnTo>
                    <a:lnTo>
                      <a:pt x="676" y="371"/>
                    </a:lnTo>
                    <a:lnTo>
                      <a:pt x="674" y="371"/>
                    </a:lnTo>
                    <a:lnTo>
                      <a:pt x="672" y="371"/>
                    </a:lnTo>
                    <a:lnTo>
                      <a:pt x="674" y="371"/>
                    </a:lnTo>
                    <a:lnTo>
                      <a:pt x="672" y="373"/>
                    </a:lnTo>
                    <a:lnTo>
                      <a:pt x="670" y="373"/>
                    </a:lnTo>
                    <a:lnTo>
                      <a:pt x="668" y="373"/>
                    </a:lnTo>
                    <a:lnTo>
                      <a:pt x="668" y="374"/>
                    </a:lnTo>
                    <a:lnTo>
                      <a:pt x="668" y="376"/>
                    </a:lnTo>
                    <a:lnTo>
                      <a:pt x="670" y="378"/>
                    </a:lnTo>
                    <a:lnTo>
                      <a:pt x="670" y="376"/>
                    </a:lnTo>
                    <a:lnTo>
                      <a:pt x="670" y="378"/>
                    </a:lnTo>
                    <a:lnTo>
                      <a:pt x="672" y="378"/>
                    </a:lnTo>
                    <a:lnTo>
                      <a:pt x="672" y="380"/>
                    </a:lnTo>
                    <a:lnTo>
                      <a:pt x="672" y="382"/>
                    </a:lnTo>
                    <a:lnTo>
                      <a:pt x="672" y="384"/>
                    </a:lnTo>
                    <a:lnTo>
                      <a:pt x="672" y="386"/>
                    </a:lnTo>
                    <a:lnTo>
                      <a:pt x="674" y="386"/>
                    </a:lnTo>
                    <a:lnTo>
                      <a:pt x="676" y="386"/>
                    </a:lnTo>
                    <a:lnTo>
                      <a:pt x="678" y="386"/>
                    </a:lnTo>
                    <a:lnTo>
                      <a:pt x="678" y="388"/>
                    </a:lnTo>
                    <a:lnTo>
                      <a:pt x="680" y="390"/>
                    </a:lnTo>
                    <a:lnTo>
                      <a:pt x="680" y="392"/>
                    </a:lnTo>
                    <a:lnTo>
                      <a:pt x="678" y="392"/>
                    </a:lnTo>
                    <a:lnTo>
                      <a:pt x="678" y="394"/>
                    </a:lnTo>
                    <a:lnTo>
                      <a:pt x="678" y="396"/>
                    </a:lnTo>
                    <a:lnTo>
                      <a:pt x="680" y="396"/>
                    </a:lnTo>
                    <a:lnTo>
                      <a:pt x="680" y="398"/>
                    </a:lnTo>
                    <a:lnTo>
                      <a:pt x="680" y="396"/>
                    </a:lnTo>
                    <a:lnTo>
                      <a:pt x="682" y="398"/>
                    </a:lnTo>
                    <a:lnTo>
                      <a:pt x="682" y="399"/>
                    </a:lnTo>
                    <a:lnTo>
                      <a:pt x="682" y="401"/>
                    </a:lnTo>
                    <a:lnTo>
                      <a:pt x="684" y="401"/>
                    </a:lnTo>
                    <a:lnTo>
                      <a:pt x="682" y="401"/>
                    </a:lnTo>
                    <a:lnTo>
                      <a:pt x="682" y="403"/>
                    </a:lnTo>
                    <a:lnTo>
                      <a:pt x="684" y="403"/>
                    </a:lnTo>
                    <a:lnTo>
                      <a:pt x="684" y="405"/>
                    </a:lnTo>
                    <a:lnTo>
                      <a:pt x="686" y="405"/>
                    </a:lnTo>
                    <a:lnTo>
                      <a:pt x="686" y="403"/>
                    </a:lnTo>
                    <a:lnTo>
                      <a:pt x="687" y="403"/>
                    </a:lnTo>
                    <a:lnTo>
                      <a:pt x="687" y="405"/>
                    </a:lnTo>
                    <a:lnTo>
                      <a:pt x="687" y="407"/>
                    </a:lnTo>
                    <a:lnTo>
                      <a:pt x="686" y="409"/>
                    </a:lnTo>
                    <a:lnTo>
                      <a:pt x="687" y="409"/>
                    </a:lnTo>
                    <a:lnTo>
                      <a:pt x="689" y="411"/>
                    </a:lnTo>
                    <a:lnTo>
                      <a:pt x="689" y="409"/>
                    </a:lnTo>
                    <a:lnTo>
                      <a:pt x="691" y="409"/>
                    </a:lnTo>
                    <a:lnTo>
                      <a:pt x="691" y="407"/>
                    </a:lnTo>
                    <a:lnTo>
                      <a:pt x="691" y="405"/>
                    </a:lnTo>
                    <a:lnTo>
                      <a:pt x="689" y="403"/>
                    </a:lnTo>
                    <a:lnTo>
                      <a:pt x="691" y="403"/>
                    </a:lnTo>
                    <a:lnTo>
                      <a:pt x="693" y="405"/>
                    </a:lnTo>
                    <a:lnTo>
                      <a:pt x="695" y="405"/>
                    </a:lnTo>
                    <a:lnTo>
                      <a:pt x="695" y="403"/>
                    </a:lnTo>
                    <a:lnTo>
                      <a:pt x="697" y="403"/>
                    </a:lnTo>
                    <a:lnTo>
                      <a:pt x="697" y="405"/>
                    </a:lnTo>
                    <a:lnTo>
                      <a:pt x="697" y="407"/>
                    </a:lnTo>
                    <a:lnTo>
                      <a:pt x="697" y="409"/>
                    </a:lnTo>
                    <a:lnTo>
                      <a:pt x="697" y="411"/>
                    </a:lnTo>
                    <a:lnTo>
                      <a:pt x="697" y="413"/>
                    </a:lnTo>
                    <a:lnTo>
                      <a:pt x="695" y="413"/>
                    </a:lnTo>
                    <a:lnTo>
                      <a:pt x="693" y="415"/>
                    </a:lnTo>
                    <a:lnTo>
                      <a:pt x="693" y="417"/>
                    </a:lnTo>
                    <a:lnTo>
                      <a:pt x="695" y="417"/>
                    </a:lnTo>
                    <a:lnTo>
                      <a:pt x="695" y="419"/>
                    </a:lnTo>
                    <a:lnTo>
                      <a:pt x="697" y="419"/>
                    </a:lnTo>
                    <a:lnTo>
                      <a:pt x="697" y="421"/>
                    </a:lnTo>
                    <a:lnTo>
                      <a:pt x="697" y="423"/>
                    </a:lnTo>
                    <a:lnTo>
                      <a:pt x="699" y="423"/>
                    </a:lnTo>
                    <a:lnTo>
                      <a:pt x="699" y="424"/>
                    </a:lnTo>
                    <a:lnTo>
                      <a:pt x="699" y="426"/>
                    </a:lnTo>
                    <a:lnTo>
                      <a:pt x="697" y="428"/>
                    </a:lnTo>
                    <a:lnTo>
                      <a:pt x="697" y="430"/>
                    </a:lnTo>
                    <a:lnTo>
                      <a:pt x="695" y="430"/>
                    </a:lnTo>
                    <a:lnTo>
                      <a:pt x="697" y="430"/>
                    </a:lnTo>
                    <a:lnTo>
                      <a:pt x="697" y="432"/>
                    </a:lnTo>
                    <a:lnTo>
                      <a:pt x="697" y="434"/>
                    </a:lnTo>
                    <a:lnTo>
                      <a:pt x="697" y="436"/>
                    </a:lnTo>
                    <a:lnTo>
                      <a:pt x="697" y="434"/>
                    </a:lnTo>
                    <a:lnTo>
                      <a:pt x="695" y="434"/>
                    </a:lnTo>
                    <a:lnTo>
                      <a:pt x="695" y="436"/>
                    </a:lnTo>
                    <a:lnTo>
                      <a:pt x="693" y="436"/>
                    </a:lnTo>
                    <a:lnTo>
                      <a:pt x="695" y="436"/>
                    </a:lnTo>
                    <a:lnTo>
                      <a:pt x="695" y="438"/>
                    </a:lnTo>
                    <a:lnTo>
                      <a:pt x="693" y="438"/>
                    </a:lnTo>
                    <a:lnTo>
                      <a:pt x="693" y="436"/>
                    </a:lnTo>
                    <a:lnTo>
                      <a:pt x="691" y="436"/>
                    </a:lnTo>
                    <a:lnTo>
                      <a:pt x="691" y="434"/>
                    </a:lnTo>
                    <a:lnTo>
                      <a:pt x="689" y="434"/>
                    </a:lnTo>
                    <a:lnTo>
                      <a:pt x="691" y="434"/>
                    </a:lnTo>
                    <a:lnTo>
                      <a:pt x="689" y="434"/>
                    </a:lnTo>
                    <a:lnTo>
                      <a:pt x="689" y="432"/>
                    </a:lnTo>
                    <a:lnTo>
                      <a:pt x="689" y="430"/>
                    </a:lnTo>
                    <a:lnTo>
                      <a:pt x="687" y="430"/>
                    </a:lnTo>
                    <a:lnTo>
                      <a:pt x="687" y="432"/>
                    </a:lnTo>
                    <a:lnTo>
                      <a:pt x="687" y="434"/>
                    </a:lnTo>
                    <a:lnTo>
                      <a:pt x="686" y="434"/>
                    </a:lnTo>
                    <a:lnTo>
                      <a:pt x="686" y="436"/>
                    </a:lnTo>
                    <a:lnTo>
                      <a:pt x="686" y="438"/>
                    </a:lnTo>
                    <a:lnTo>
                      <a:pt x="686" y="440"/>
                    </a:lnTo>
                    <a:lnTo>
                      <a:pt x="684" y="440"/>
                    </a:lnTo>
                    <a:lnTo>
                      <a:pt x="684" y="442"/>
                    </a:lnTo>
                    <a:lnTo>
                      <a:pt x="682" y="442"/>
                    </a:lnTo>
                    <a:lnTo>
                      <a:pt x="680" y="442"/>
                    </a:lnTo>
                    <a:lnTo>
                      <a:pt x="682" y="444"/>
                    </a:lnTo>
                    <a:lnTo>
                      <a:pt x="680" y="444"/>
                    </a:lnTo>
                    <a:lnTo>
                      <a:pt x="680" y="446"/>
                    </a:lnTo>
                    <a:lnTo>
                      <a:pt x="678" y="446"/>
                    </a:lnTo>
                    <a:lnTo>
                      <a:pt x="676" y="448"/>
                    </a:lnTo>
                    <a:lnTo>
                      <a:pt x="674" y="448"/>
                    </a:lnTo>
                    <a:lnTo>
                      <a:pt x="674" y="449"/>
                    </a:lnTo>
                    <a:lnTo>
                      <a:pt x="672" y="449"/>
                    </a:lnTo>
                    <a:lnTo>
                      <a:pt x="672" y="448"/>
                    </a:lnTo>
                    <a:lnTo>
                      <a:pt x="670" y="448"/>
                    </a:lnTo>
                    <a:lnTo>
                      <a:pt x="670" y="449"/>
                    </a:lnTo>
                    <a:lnTo>
                      <a:pt x="668" y="449"/>
                    </a:lnTo>
                    <a:lnTo>
                      <a:pt x="666" y="449"/>
                    </a:lnTo>
                    <a:lnTo>
                      <a:pt x="666" y="448"/>
                    </a:lnTo>
                    <a:lnTo>
                      <a:pt x="664" y="448"/>
                    </a:lnTo>
                    <a:lnTo>
                      <a:pt x="664" y="446"/>
                    </a:lnTo>
                    <a:lnTo>
                      <a:pt x="663" y="448"/>
                    </a:lnTo>
                    <a:lnTo>
                      <a:pt x="663" y="446"/>
                    </a:lnTo>
                    <a:lnTo>
                      <a:pt x="661" y="446"/>
                    </a:lnTo>
                    <a:lnTo>
                      <a:pt x="661" y="444"/>
                    </a:lnTo>
                    <a:lnTo>
                      <a:pt x="659" y="444"/>
                    </a:lnTo>
                    <a:lnTo>
                      <a:pt x="659" y="446"/>
                    </a:lnTo>
                    <a:lnTo>
                      <a:pt x="657" y="446"/>
                    </a:lnTo>
                    <a:lnTo>
                      <a:pt x="657" y="448"/>
                    </a:lnTo>
                    <a:lnTo>
                      <a:pt x="655" y="448"/>
                    </a:lnTo>
                    <a:lnTo>
                      <a:pt x="653" y="448"/>
                    </a:lnTo>
                    <a:lnTo>
                      <a:pt x="651" y="448"/>
                    </a:lnTo>
                    <a:lnTo>
                      <a:pt x="649" y="448"/>
                    </a:lnTo>
                    <a:lnTo>
                      <a:pt x="649" y="446"/>
                    </a:lnTo>
                    <a:lnTo>
                      <a:pt x="647" y="446"/>
                    </a:lnTo>
                    <a:lnTo>
                      <a:pt x="645" y="446"/>
                    </a:lnTo>
                    <a:lnTo>
                      <a:pt x="645" y="444"/>
                    </a:lnTo>
                    <a:lnTo>
                      <a:pt x="643" y="444"/>
                    </a:lnTo>
                    <a:lnTo>
                      <a:pt x="641" y="442"/>
                    </a:lnTo>
                    <a:lnTo>
                      <a:pt x="639" y="442"/>
                    </a:lnTo>
                    <a:lnTo>
                      <a:pt x="639" y="440"/>
                    </a:lnTo>
                    <a:lnTo>
                      <a:pt x="641" y="440"/>
                    </a:lnTo>
                    <a:lnTo>
                      <a:pt x="641" y="438"/>
                    </a:lnTo>
                    <a:lnTo>
                      <a:pt x="643" y="438"/>
                    </a:lnTo>
                    <a:lnTo>
                      <a:pt x="643" y="436"/>
                    </a:lnTo>
                    <a:lnTo>
                      <a:pt x="645" y="436"/>
                    </a:lnTo>
                    <a:lnTo>
                      <a:pt x="645" y="434"/>
                    </a:lnTo>
                    <a:lnTo>
                      <a:pt x="647" y="434"/>
                    </a:lnTo>
                    <a:lnTo>
                      <a:pt x="647" y="432"/>
                    </a:lnTo>
                    <a:lnTo>
                      <a:pt x="649" y="432"/>
                    </a:lnTo>
                    <a:lnTo>
                      <a:pt x="649" y="430"/>
                    </a:lnTo>
                    <a:lnTo>
                      <a:pt x="649" y="428"/>
                    </a:lnTo>
                    <a:lnTo>
                      <a:pt x="651" y="430"/>
                    </a:lnTo>
                    <a:lnTo>
                      <a:pt x="651" y="428"/>
                    </a:lnTo>
                    <a:lnTo>
                      <a:pt x="653" y="428"/>
                    </a:lnTo>
                    <a:lnTo>
                      <a:pt x="653" y="426"/>
                    </a:lnTo>
                    <a:lnTo>
                      <a:pt x="651" y="426"/>
                    </a:lnTo>
                    <a:lnTo>
                      <a:pt x="651" y="424"/>
                    </a:lnTo>
                    <a:lnTo>
                      <a:pt x="649" y="424"/>
                    </a:lnTo>
                    <a:lnTo>
                      <a:pt x="649" y="423"/>
                    </a:lnTo>
                    <a:lnTo>
                      <a:pt x="649" y="421"/>
                    </a:lnTo>
                    <a:lnTo>
                      <a:pt x="647" y="421"/>
                    </a:lnTo>
                    <a:lnTo>
                      <a:pt x="645" y="421"/>
                    </a:lnTo>
                    <a:lnTo>
                      <a:pt x="645" y="423"/>
                    </a:lnTo>
                    <a:lnTo>
                      <a:pt x="643" y="423"/>
                    </a:lnTo>
                    <a:lnTo>
                      <a:pt x="643" y="421"/>
                    </a:lnTo>
                    <a:lnTo>
                      <a:pt x="641" y="421"/>
                    </a:lnTo>
                    <a:lnTo>
                      <a:pt x="641" y="423"/>
                    </a:lnTo>
                    <a:lnTo>
                      <a:pt x="639" y="423"/>
                    </a:lnTo>
                    <a:lnTo>
                      <a:pt x="638" y="423"/>
                    </a:lnTo>
                    <a:lnTo>
                      <a:pt x="638" y="424"/>
                    </a:lnTo>
                    <a:lnTo>
                      <a:pt x="636" y="424"/>
                    </a:lnTo>
                    <a:lnTo>
                      <a:pt x="636" y="426"/>
                    </a:lnTo>
                    <a:lnTo>
                      <a:pt x="638" y="426"/>
                    </a:lnTo>
                    <a:lnTo>
                      <a:pt x="636" y="428"/>
                    </a:lnTo>
                    <a:lnTo>
                      <a:pt x="636" y="430"/>
                    </a:lnTo>
                    <a:lnTo>
                      <a:pt x="634" y="432"/>
                    </a:lnTo>
                    <a:lnTo>
                      <a:pt x="634" y="430"/>
                    </a:lnTo>
                    <a:lnTo>
                      <a:pt x="632" y="430"/>
                    </a:lnTo>
                    <a:lnTo>
                      <a:pt x="632" y="432"/>
                    </a:lnTo>
                    <a:lnTo>
                      <a:pt x="630" y="432"/>
                    </a:lnTo>
                    <a:lnTo>
                      <a:pt x="630" y="434"/>
                    </a:lnTo>
                    <a:lnTo>
                      <a:pt x="628" y="434"/>
                    </a:lnTo>
                    <a:lnTo>
                      <a:pt x="626" y="434"/>
                    </a:lnTo>
                    <a:lnTo>
                      <a:pt x="624" y="436"/>
                    </a:lnTo>
                    <a:lnTo>
                      <a:pt x="622" y="436"/>
                    </a:lnTo>
                    <a:lnTo>
                      <a:pt x="622" y="434"/>
                    </a:lnTo>
                    <a:lnTo>
                      <a:pt x="620" y="434"/>
                    </a:lnTo>
                    <a:lnTo>
                      <a:pt x="620" y="436"/>
                    </a:lnTo>
                    <a:lnTo>
                      <a:pt x="618" y="436"/>
                    </a:lnTo>
                    <a:lnTo>
                      <a:pt x="616" y="436"/>
                    </a:lnTo>
                    <a:lnTo>
                      <a:pt x="616" y="438"/>
                    </a:lnTo>
                    <a:lnTo>
                      <a:pt x="614" y="438"/>
                    </a:lnTo>
                    <a:lnTo>
                      <a:pt x="616" y="440"/>
                    </a:lnTo>
                    <a:lnTo>
                      <a:pt x="614" y="440"/>
                    </a:lnTo>
                    <a:lnTo>
                      <a:pt x="614" y="442"/>
                    </a:lnTo>
                    <a:lnTo>
                      <a:pt x="616" y="444"/>
                    </a:lnTo>
                    <a:lnTo>
                      <a:pt x="618" y="444"/>
                    </a:lnTo>
                    <a:lnTo>
                      <a:pt x="618" y="446"/>
                    </a:lnTo>
                    <a:lnTo>
                      <a:pt x="616" y="446"/>
                    </a:lnTo>
                    <a:lnTo>
                      <a:pt x="616" y="448"/>
                    </a:lnTo>
                    <a:lnTo>
                      <a:pt x="614" y="448"/>
                    </a:lnTo>
                    <a:lnTo>
                      <a:pt x="614" y="449"/>
                    </a:lnTo>
                    <a:lnTo>
                      <a:pt x="614" y="451"/>
                    </a:lnTo>
                    <a:lnTo>
                      <a:pt x="614" y="453"/>
                    </a:lnTo>
                    <a:lnTo>
                      <a:pt x="613" y="455"/>
                    </a:lnTo>
                    <a:lnTo>
                      <a:pt x="613" y="457"/>
                    </a:lnTo>
                    <a:lnTo>
                      <a:pt x="613" y="459"/>
                    </a:lnTo>
                    <a:lnTo>
                      <a:pt x="613" y="461"/>
                    </a:lnTo>
                    <a:lnTo>
                      <a:pt x="613" y="463"/>
                    </a:lnTo>
                    <a:lnTo>
                      <a:pt x="613" y="465"/>
                    </a:lnTo>
                    <a:lnTo>
                      <a:pt x="613" y="467"/>
                    </a:lnTo>
                    <a:lnTo>
                      <a:pt x="611" y="467"/>
                    </a:lnTo>
                    <a:lnTo>
                      <a:pt x="609" y="467"/>
                    </a:lnTo>
                    <a:lnTo>
                      <a:pt x="607" y="469"/>
                    </a:lnTo>
                    <a:lnTo>
                      <a:pt x="607" y="467"/>
                    </a:lnTo>
                    <a:lnTo>
                      <a:pt x="605" y="467"/>
                    </a:lnTo>
                    <a:lnTo>
                      <a:pt x="605" y="469"/>
                    </a:lnTo>
                    <a:lnTo>
                      <a:pt x="603" y="467"/>
                    </a:lnTo>
                    <a:lnTo>
                      <a:pt x="603" y="469"/>
                    </a:lnTo>
                    <a:lnTo>
                      <a:pt x="605" y="469"/>
                    </a:lnTo>
                    <a:lnTo>
                      <a:pt x="603" y="471"/>
                    </a:lnTo>
                    <a:lnTo>
                      <a:pt x="601" y="471"/>
                    </a:lnTo>
                    <a:lnTo>
                      <a:pt x="599" y="471"/>
                    </a:lnTo>
                    <a:lnTo>
                      <a:pt x="599" y="469"/>
                    </a:lnTo>
                    <a:lnTo>
                      <a:pt x="599" y="471"/>
                    </a:lnTo>
                    <a:lnTo>
                      <a:pt x="597" y="471"/>
                    </a:lnTo>
                    <a:lnTo>
                      <a:pt x="597" y="469"/>
                    </a:lnTo>
                    <a:lnTo>
                      <a:pt x="595" y="471"/>
                    </a:lnTo>
                    <a:lnTo>
                      <a:pt x="593" y="471"/>
                    </a:lnTo>
                    <a:lnTo>
                      <a:pt x="593" y="469"/>
                    </a:lnTo>
                    <a:lnTo>
                      <a:pt x="591" y="471"/>
                    </a:lnTo>
                    <a:lnTo>
                      <a:pt x="591" y="473"/>
                    </a:lnTo>
                    <a:lnTo>
                      <a:pt x="591" y="474"/>
                    </a:lnTo>
                    <a:lnTo>
                      <a:pt x="591" y="476"/>
                    </a:lnTo>
                    <a:lnTo>
                      <a:pt x="590" y="476"/>
                    </a:lnTo>
                    <a:lnTo>
                      <a:pt x="590" y="478"/>
                    </a:lnTo>
                    <a:lnTo>
                      <a:pt x="588" y="478"/>
                    </a:lnTo>
                    <a:lnTo>
                      <a:pt x="588" y="480"/>
                    </a:lnTo>
                    <a:lnTo>
                      <a:pt x="590" y="480"/>
                    </a:lnTo>
                    <a:lnTo>
                      <a:pt x="588" y="482"/>
                    </a:lnTo>
                    <a:lnTo>
                      <a:pt x="586" y="482"/>
                    </a:lnTo>
                    <a:lnTo>
                      <a:pt x="586" y="484"/>
                    </a:lnTo>
                    <a:lnTo>
                      <a:pt x="584" y="482"/>
                    </a:lnTo>
                    <a:lnTo>
                      <a:pt x="584" y="480"/>
                    </a:lnTo>
                    <a:lnTo>
                      <a:pt x="582" y="480"/>
                    </a:lnTo>
                    <a:lnTo>
                      <a:pt x="584" y="480"/>
                    </a:lnTo>
                    <a:lnTo>
                      <a:pt x="582" y="478"/>
                    </a:lnTo>
                    <a:lnTo>
                      <a:pt x="580" y="478"/>
                    </a:lnTo>
                    <a:lnTo>
                      <a:pt x="578" y="478"/>
                    </a:lnTo>
                    <a:lnTo>
                      <a:pt x="578" y="476"/>
                    </a:lnTo>
                    <a:lnTo>
                      <a:pt x="576" y="476"/>
                    </a:lnTo>
                    <a:lnTo>
                      <a:pt x="576" y="474"/>
                    </a:lnTo>
                    <a:lnTo>
                      <a:pt x="574" y="474"/>
                    </a:lnTo>
                    <a:lnTo>
                      <a:pt x="572" y="474"/>
                    </a:lnTo>
                    <a:lnTo>
                      <a:pt x="570" y="474"/>
                    </a:lnTo>
                    <a:lnTo>
                      <a:pt x="570" y="476"/>
                    </a:lnTo>
                    <a:lnTo>
                      <a:pt x="570" y="478"/>
                    </a:lnTo>
                    <a:lnTo>
                      <a:pt x="568" y="478"/>
                    </a:lnTo>
                    <a:lnTo>
                      <a:pt x="566" y="480"/>
                    </a:lnTo>
                    <a:lnTo>
                      <a:pt x="566" y="478"/>
                    </a:lnTo>
                    <a:lnTo>
                      <a:pt x="565" y="478"/>
                    </a:lnTo>
                    <a:lnTo>
                      <a:pt x="563" y="478"/>
                    </a:lnTo>
                    <a:lnTo>
                      <a:pt x="563" y="480"/>
                    </a:lnTo>
                    <a:lnTo>
                      <a:pt x="561" y="480"/>
                    </a:lnTo>
                    <a:lnTo>
                      <a:pt x="561" y="478"/>
                    </a:lnTo>
                    <a:lnTo>
                      <a:pt x="559" y="478"/>
                    </a:lnTo>
                    <a:lnTo>
                      <a:pt x="559" y="476"/>
                    </a:lnTo>
                    <a:lnTo>
                      <a:pt x="557" y="478"/>
                    </a:lnTo>
                    <a:lnTo>
                      <a:pt x="557" y="476"/>
                    </a:lnTo>
                    <a:lnTo>
                      <a:pt x="555" y="476"/>
                    </a:lnTo>
                    <a:lnTo>
                      <a:pt x="555" y="478"/>
                    </a:lnTo>
                    <a:lnTo>
                      <a:pt x="553" y="478"/>
                    </a:lnTo>
                    <a:lnTo>
                      <a:pt x="551" y="478"/>
                    </a:lnTo>
                    <a:lnTo>
                      <a:pt x="551" y="476"/>
                    </a:lnTo>
                    <a:lnTo>
                      <a:pt x="549" y="476"/>
                    </a:lnTo>
                    <a:lnTo>
                      <a:pt x="549" y="474"/>
                    </a:lnTo>
                    <a:lnTo>
                      <a:pt x="547" y="474"/>
                    </a:lnTo>
                    <a:lnTo>
                      <a:pt x="547" y="473"/>
                    </a:lnTo>
                    <a:lnTo>
                      <a:pt x="545" y="473"/>
                    </a:lnTo>
                    <a:lnTo>
                      <a:pt x="547" y="473"/>
                    </a:lnTo>
                    <a:lnTo>
                      <a:pt x="545" y="473"/>
                    </a:lnTo>
                    <a:lnTo>
                      <a:pt x="545" y="471"/>
                    </a:lnTo>
                    <a:lnTo>
                      <a:pt x="545" y="469"/>
                    </a:lnTo>
                    <a:lnTo>
                      <a:pt x="543" y="469"/>
                    </a:lnTo>
                    <a:lnTo>
                      <a:pt x="543" y="467"/>
                    </a:lnTo>
                    <a:lnTo>
                      <a:pt x="543" y="465"/>
                    </a:lnTo>
                    <a:lnTo>
                      <a:pt x="545" y="465"/>
                    </a:lnTo>
                    <a:lnTo>
                      <a:pt x="545" y="463"/>
                    </a:lnTo>
                    <a:lnTo>
                      <a:pt x="545" y="461"/>
                    </a:lnTo>
                    <a:lnTo>
                      <a:pt x="543" y="461"/>
                    </a:lnTo>
                    <a:lnTo>
                      <a:pt x="541" y="461"/>
                    </a:lnTo>
                    <a:lnTo>
                      <a:pt x="540" y="463"/>
                    </a:lnTo>
                    <a:lnTo>
                      <a:pt x="540" y="461"/>
                    </a:lnTo>
                    <a:lnTo>
                      <a:pt x="540" y="463"/>
                    </a:lnTo>
                    <a:lnTo>
                      <a:pt x="538" y="463"/>
                    </a:lnTo>
                    <a:lnTo>
                      <a:pt x="538" y="465"/>
                    </a:lnTo>
                    <a:lnTo>
                      <a:pt x="536" y="467"/>
                    </a:lnTo>
                    <a:lnTo>
                      <a:pt x="536" y="469"/>
                    </a:lnTo>
                    <a:lnTo>
                      <a:pt x="534" y="469"/>
                    </a:lnTo>
                    <a:lnTo>
                      <a:pt x="532" y="469"/>
                    </a:lnTo>
                    <a:lnTo>
                      <a:pt x="530" y="469"/>
                    </a:lnTo>
                    <a:lnTo>
                      <a:pt x="530" y="471"/>
                    </a:lnTo>
                    <a:lnTo>
                      <a:pt x="528" y="471"/>
                    </a:lnTo>
                    <a:lnTo>
                      <a:pt x="528" y="469"/>
                    </a:lnTo>
                    <a:lnTo>
                      <a:pt x="526" y="467"/>
                    </a:lnTo>
                    <a:lnTo>
                      <a:pt x="524" y="467"/>
                    </a:lnTo>
                    <a:lnTo>
                      <a:pt x="524" y="465"/>
                    </a:lnTo>
                    <a:lnTo>
                      <a:pt x="522" y="465"/>
                    </a:lnTo>
                    <a:lnTo>
                      <a:pt x="522" y="467"/>
                    </a:lnTo>
                    <a:lnTo>
                      <a:pt x="520" y="465"/>
                    </a:lnTo>
                    <a:lnTo>
                      <a:pt x="520" y="467"/>
                    </a:lnTo>
                    <a:lnTo>
                      <a:pt x="518" y="467"/>
                    </a:lnTo>
                    <a:lnTo>
                      <a:pt x="518" y="465"/>
                    </a:lnTo>
                    <a:lnTo>
                      <a:pt x="518" y="467"/>
                    </a:lnTo>
                    <a:lnTo>
                      <a:pt x="517" y="467"/>
                    </a:lnTo>
                    <a:lnTo>
                      <a:pt x="517" y="469"/>
                    </a:lnTo>
                    <a:lnTo>
                      <a:pt x="515" y="469"/>
                    </a:lnTo>
                    <a:lnTo>
                      <a:pt x="515" y="467"/>
                    </a:lnTo>
                    <a:lnTo>
                      <a:pt x="513" y="467"/>
                    </a:lnTo>
                    <a:lnTo>
                      <a:pt x="513" y="465"/>
                    </a:lnTo>
                    <a:lnTo>
                      <a:pt x="511" y="465"/>
                    </a:lnTo>
                    <a:lnTo>
                      <a:pt x="511" y="463"/>
                    </a:lnTo>
                    <a:lnTo>
                      <a:pt x="509" y="463"/>
                    </a:lnTo>
                    <a:lnTo>
                      <a:pt x="507" y="463"/>
                    </a:lnTo>
                    <a:lnTo>
                      <a:pt x="507" y="461"/>
                    </a:lnTo>
                    <a:lnTo>
                      <a:pt x="507" y="459"/>
                    </a:lnTo>
                    <a:lnTo>
                      <a:pt x="507" y="457"/>
                    </a:lnTo>
                    <a:lnTo>
                      <a:pt x="505" y="457"/>
                    </a:lnTo>
                    <a:lnTo>
                      <a:pt x="505" y="455"/>
                    </a:lnTo>
                    <a:lnTo>
                      <a:pt x="503" y="457"/>
                    </a:lnTo>
                    <a:lnTo>
                      <a:pt x="503" y="459"/>
                    </a:lnTo>
                    <a:lnTo>
                      <a:pt x="503" y="461"/>
                    </a:lnTo>
                    <a:lnTo>
                      <a:pt x="501" y="463"/>
                    </a:lnTo>
                    <a:lnTo>
                      <a:pt x="501" y="465"/>
                    </a:lnTo>
                    <a:lnTo>
                      <a:pt x="501" y="467"/>
                    </a:lnTo>
                    <a:lnTo>
                      <a:pt x="499" y="467"/>
                    </a:lnTo>
                    <a:lnTo>
                      <a:pt x="499" y="469"/>
                    </a:lnTo>
                    <a:lnTo>
                      <a:pt x="501" y="469"/>
                    </a:lnTo>
                    <a:lnTo>
                      <a:pt x="501" y="471"/>
                    </a:lnTo>
                    <a:lnTo>
                      <a:pt x="501" y="473"/>
                    </a:lnTo>
                    <a:lnTo>
                      <a:pt x="499" y="473"/>
                    </a:lnTo>
                    <a:lnTo>
                      <a:pt x="499" y="474"/>
                    </a:lnTo>
                    <a:lnTo>
                      <a:pt x="497" y="474"/>
                    </a:lnTo>
                    <a:lnTo>
                      <a:pt x="497" y="476"/>
                    </a:lnTo>
                    <a:lnTo>
                      <a:pt x="495" y="478"/>
                    </a:lnTo>
                    <a:lnTo>
                      <a:pt x="493" y="478"/>
                    </a:lnTo>
                    <a:lnTo>
                      <a:pt x="493" y="480"/>
                    </a:lnTo>
                    <a:lnTo>
                      <a:pt x="493" y="478"/>
                    </a:lnTo>
                    <a:lnTo>
                      <a:pt x="492" y="478"/>
                    </a:lnTo>
                    <a:lnTo>
                      <a:pt x="492" y="476"/>
                    </a:lnTo>
                    <a:lnTo>
                      <a:pt x="490" y="476"/>
                    </a:lnTo>
                    <a:lnTo>
                      <a:pt x="488" y="478"/>
                    </a:lnTo>
                    <a:lnTo>
                      <a:pt x="486" y="478"/>
                    </a:lnTo>
                    <a:lnTo>
                      <a:pt x="484" y="478"/>
                    </a:lnTo>
                    <a:lnTo>
                      <a:pt x="484" y="476"/>
                    </a:lnTo>
                    <a:lnTo>
                      <a:pt x="482" y="476"/>
                    </a:lnTo>
                    <a:lnTo>
                      <a:pt x="480" y="476"/>
                    </a:lnTo>
                    <a:lnTo>
                      <a:pt x="480" y="478"/>
                    </a:lnTo>
                    <a:lnTo>
                      <a:pt x="480" y="480"/>
                    </a:lnTo>
                    <a:lnTo>
                      <a:pt x="478" y="480"/>
                    </a:lnTo>
                    <a:lnTo>
                      <a:pt x="476" y="480"/>
                    </a:lnTo>
                    <a:lnTo>
                      <a:pt x="474" y="480"/>
                    </a:lnTo>
                    <a:lnTo>
                      <a:pt x="474" y="478"/>
                    </a:lnTo>
                    <a:lnTo>
                      <a:pt x="474" y="476"/>
                    </a:lnTo>
                    <a:lnTo>
                      <a:pt x="472" y="476"/>
                    </a:lnTo>
                    <a:lnTo>
                      <a:pt x="470" y="476"/>
                    </a:lnTo>
                    <a:lnTo>
                      <a:pt x="470" y="474"/>
                    </a:lnTo>
                    <a:lnTo>
                      <a:pt x="468" y="474"/>
                    </a:lnTo>
                    <a:lnTo>
                      <a:pt x="467" y="474"/>
                    </a:lnTo>
                    <a:lnTo>
                      <a:pt x="465" y="474"/>
                    </a:lnTo>
                    <a:lnTo>
                      <a:pt x="465" y="476"/>
                    </a:lnTo>
                    <a:lnTo>
                      <a:pt x="463" y="476"/>
                    </a:lnTo>
                    <a:lnTo>
                      <a:pt x="463" y="474"/>
                    </a:lnTo>
                    <a:lnTo>
                      <a:pt x="461" y="474"/>
                    </a:lnTo>
                    <a:lnTo>
                      <a:pt x="461" y="473"/>
                    </a:lnTo>
                    <a:lnTo>
                      <a:pt x="459" y="474"/>
                    </a:lnTo>
                    <a:lnTo>
                      <a:pt x="457" y="474"/>
                    </a:lnTo>
                    <a:lnTo>
                      <a:pt x="457" y="476"/>
                    </a:lnTo>
                    <a:lnTo>
                      <a:pt x="457" y="478"/>
                    </a:lnTo>
                    <a:lnTo>
                      <a:pt x="455" y="478"/>
                    </a:lnTo>
                    <a:lnTo>
                      <a:pt x="455" y="480"/>
                    </a:lnTo>
                    <a:lnTo>
                      <a:pt x="455" y="482"/>
                    </a:lnTo>
                    <a:lnTo>
                      <a:pt x="455" y="484"/>
                    </a:lnTo>
                    <a:lnTo>
                      <a:pt x="455" y="486"/>
                    </a:lnTo>
                    <a:lnTo>
                      <a:pt x="455" y="488"/>
                    </a:lnTo>
                    <a:lnTo>
                      <a:pt x="455" y="490"/>
                    </a:lnTo>
                    <a:lnTo>
                      <a:pt x="453" y="490"/>
                    </a:lnTo>
                    <a:lnTo>
                      <a:pt x="453" y="492"/>
                    </a:lnTo>
                    <a:lnTo>
                      <a:pt x="453" y="494"/>
                    </a:lnTo>
                    <a:lnTo>
                      <a:pt x="451" y="494"/>
                    </a:lnTo>
                    <a:lnTo>
                      <a:pt x="449" y="494"/>
                    </a:lnTo>
                    <a:lnTo>
                      <a:pt x="447" y="494"/>
                    </a:lnTo>
                    <a:lnTo>
                      <a:pt x="447" y="496"/>
                    </a:lnTo>
                    <a:lnTo>
                      <a:pt x="447" y="494"/>
                    </a:lnTo>
                    <a:lnTo>
                      <a:pt x="445" y="494"/>
                    </a:lnTo>
                    <a:lnTo>
                      <a:pt x="445" y="492"/>
                    </a:lnTo>
                    <a:lnTo>
                      <a:pt x="444" y="492"/>
                    </a:lnTo>
                    <a:lnTo>
                      <a:pt x="444" y="494"/>
                    </a:lnTo>
                    <a:lnTo>
                      <a:pt x="442" y="494"/>
                    </a:lnTo>
                    <a:lnTo>
                      <a:pt x="440" y="494"/>
                    </a:lnTo>
                    <a:lnTo>
                      <a:pt x="440" y="496"/>
                    </a:lnTo>
                    <a:lnTo>
                      <a:pt x="440" y="498"/>
                    </a:lnTo>
                    <a:lnTo>
                      <a:pt x="438" y="498"/>
                    </a:lnTo>
                    <a:lnTo>
                      <a:pt x="438" y="499"/>
                    </a:lnTo>
                    <a:lnTo>
                      <a:pt x="436" y="499"/>
                    </a:lnTo>
                    <a:lnTo>
                      <a:pt x="434" y="499"/>
                    </a:lnTo>
                    <a:lnTo>
                      <a:pt x="434" y="498"/>
                    </a:lnTo>
                    <a:lnTo>
                      <a:pt x="432" y="499"/>
                    </a:lnTo>
                    <a:lnTo>
                      <a:pt x="432" y="501"/>
                    </a:lnTo>
                    <a:lnTo>
                      <a:pt x="432" y="503"/>
                    </a:lnTo>
                    <a:lnTo>
                      <a:pt x="430" y="503"/>
                    </a:lnTo>
                    <a:lnTo>
                      <a:pt x="430" y="501"/>
                    </a:lnTo>
                    <a:lnTo>
                      <a:pt x="428" y="501"/>
                    </a:lnTo>
                    <a:lnTo>
                      <a:pt x="428" y="503"/>
                    </a:lnTo>
                    <a:lnTo>
                      <a:pt x="428" y="505"/>
                    </a:lnTo>
                    <a:lnTo>
                      <a:pt x="426" y="505"/>
                    </a:lnTo>
                    <a:lnTo>
                      <a:pt x="424" y="505"/>
                    </a:lnTo>
                    <a:lnTo>
                      <a:pt x="424" y="507"/>
                    </a:lnTo>
                    <a:lnTo>
                      <a:pt x="422" y="507"/>
                    </a:lnTo>
                    <a:lnTo>
                      <a:pt x="420" y="507"/>
                    </a:lnTo>
                    <a:lnTo>
                      <a:pt x="419" y="507"/>
                    </a:lnTo>
                    <a:lnTo>
                      <a:pt x="419" y="509"/>
                    </a:lnTo>
                    <a:lnTo>
                      <a:pt x="420" y="509"/>
                    </a:lnTo>
                    <a:lnTo>
                      <a:pt x="420" y="511"/>
                    </a:lnTo>
                    <a:lnTo>
                      <a:pt x="422" y="511"/>
                    </a:lnTo>
                    <a:lnTo>
                      <a:pt x="422" y="513"/>
                    </a:lnTo>
                    <a:lnTo>
                      <a:pt x="420" y="513"/>
                    </a:lnTo>
                    <a:lnTo>
                      <a:pt x="420" y="515"/>
                    </a:lnTo>
                    <a:lnTo>
                      <a:pt x="420" y="517"/>
                    </a:lnTo>
                    <a:lnTo>
                      <a:pt x="420" y="519"/>
                    </a:lnTo>
                    <a:lnTo>
                      <a:pt x="419" y="519"/>
                    </a:lnTo>
                    <a:lnTo>
                      <a:pt x="419" y="521"/>
                    </a:lnTo>
                    <a:lnTo>
                      <a:pt x="419" y="523"/>
                    </a:lnTo>
                    <a:lnTo>
                      <a:pt x="417" y="524"/>
                    </a:lnTo>
                    <a:lnTo>
                      <a:pt x="419" y="524"/>
                    </a:lnTo>
                    <a:lnTo>
                      <a:pt x="419" y="526"/>
                    </a:lnTo>
                    <a:lnTo>
                      <a:pt x="420" y="528"/>
                    </a:lnTo>
                    <a:lnTo>
                      <a:pt x="420" y="530"/>
                    </a:lnTo>
                    <a:lnTo>
                      <a:pt x="422" y="530"/>
                    </a:lnTo>
                    <a:lnTo>
                      <a:pt x="422" y="528"/>
                    </a:lnTo>
                    <a:lnTo>
                      <a:pt x="424" y="530"/>
                    </a:lnTo>
                    <a:lnTo>
                      <a:pt x="424" y="528"/>
                    </a:lnTo>
                    <a:lnTo>
                      <a:pt x="426" y="528"/>
                    </a:lnTo>
                    <a:lnTo>
                      <a:pt x="426" y="530"/>
                    </a:lnTo>
                    <a:lnTo>
                      <a:pt x="426" y="532"/>
                    </a:lnTo>
                    <a:lnTo>
                      <a:pt x="428" y="532"/>
                    </a:lnTo>
                    <a:lnTo>
                      <a:pt x="428" y="534"/>
                    </a:lnTo>
                    <a:lnTo>
                      <a:pt x="430" y="534"/>
                    </a:lnTo>
                    <a:lnTo>
                      <a:pt x="430" y="536"/>
                    </a:lnTo>
                    <a:lnTo>
                      <a:pt x="432" y="536"/>
                    </a:lnTo>
                    <a:lnTo>
                      <a:pt x="430" y="538"/>
                    </a:lnTo>
                    <a:lnTo>
                      <a:pt x="430" y="540"/>
                    </a:lnTo>
                    <a:lnTo>
                      <a:pt x="432" y="540"/>
                    </a:lnTo>
                    <a:lnTo>
                      <a:pt x="434" y="542"/>
                    </a:lnTo>
                    <a:lnTo>
                      <a:pt x="432" y="542"/>
                    </a:lnTo>
                    <a:lnTo>
                      <a:pt x="434" y="544"/>
                    </a:lnTo>
                    <a:lnTo>
                      <a:pt x="436" y="546"/>
                    </a:lnTo>
                    <a:lnTo>
                      <a:pt x="438" y="544"/>
                    </a:lnTo>
                    <a:lnTo>
                      <a:pt x="440" y="544"/>
                    </a:lnTo>
                    <a:lnTo>
                      <a:pt x="440" y="546"/>
                    </a:lnTo>
                    <a:lnTo>
                      <a:pt x="442" y="546"/>
                    </a:lnTo>
                    <a:lnTo>
                      <a:pt x="442" y="544"/>
                    </a:lnTo>
                    <a:lnTo>
                      <a:pt x="444" y="544"/>
                    </a:lnTo>
                    <a:lnTo>
                      <a:pt x="444" y="546"/>
                    </a:lnTo>
                    <a:lnTo>
                      <a:pt x="444" y="548"/>
                    </a:lnTo>
                    <a:lnTo>
                      <a:pt x="444" y="549"/>
                    </a:lnTo>
                    <a:lnTo>
                      <a:pt x="442" y="549"/>
                    </a:lnTo>
                    <a:lnTo>
                      <a:pt x="440" y="551"/>
                    </a:lnTo>
                    <a:lnTo>
                      <a:pt x="440" y="549"/>
                    </a:lnTo>
                    <a:lnTo>
                      <a:pt x="438" y="549"/>
                    </a:lnTo>
                    <a:lnTo>
                      <a:pt x="436" y="549"/>
                    </a:lnTo>
                    <a:lnTo>
                      <a:pt x="436" y="551"/>
                    </a:lnTo>
                    <a:lnTo>
                      <a:pt x="436" y="549"/>
                    </a:lnTo>
                    <a:lnTo>
                      <a:pt x="434" y="549"/>
                    </a:lnTo>
                    <a:lnTo>
                      <a:pt x="434" y="551"/>
                    </a:lnTo>
                    <a:lnTo>
                      <a:pt x="434" y="553"/>
                    </a:lnTo>
                    <a:lnTo>
                      <a:pt x="432" y="553"/>
                    </a:lnTo>
                    <a:lnTo>
                      <a:pt x="432" y="555"/>
                    </a:lnTo>
                    <a:lnTo>
                      <a:pt x="430" y="555"/>
                    </a:lnTo>
                    <a:lnTo>
                      <a:pt x="430" y="557"/>
                    </a:lnTo>
                    <a:lnTo>
                      <a:pt x="432" y="557"/>
                    </a:lnTo>
                    <a:lnTo>
                      <a:pt x="430" y="559"/>
                    </a:lnTo>
                    <a:lnTo>
                      <a:pt x="430" y="561"/>
                    </a:lnTo>
                    <a:lnTo>
                      <a:pt x="430" y="563"/>
                    </a:lnTo>
                    <a:lnTo>
                      <a:pt x="432" y="565"/>
                    </a:lnTo>
                    <a:lnTo>
                      <a:pt x="432" y="567"/>
                    </a:lnTo>
                    <a:lnTo>
                      <a:pt x="432" y="569"/>
                    </a:lnTo>
                    <a:lnTo>
                      <a:pt x="432" y="571"/>
                    </a:lnTo>
                    <a:lnTo>
                      <a:pt x="432" y="573"/>
                    </a:lnTo>
                    <a:lnTo>
                      <a:pt x="430" y="573"/>
                    </a:lnTo>
                    <a:lnTo>
                      <a:pt x="428" y="573"/>
                    </a:lnTo>
                    <a:lnTo>
                      <a:pt x="428" y="574"/>
                    </a:lnTo>
                    <a:lnTo>
                      <a:pt x="430" y="574"/>
                    </a:lnTo>
                    <a:lnTo>
                      <a:pt x="428" y="574"/>
                    </a:lnTo>
                    <a:lnTo>
                      <a:pt x="428" y="576"/>
                    </a:lnTo>
                    <a:lnTo>
                      <a:pt x="430" y="576"/>
                    </a:lnTo>
                    <a:lnTo>
                      <a:pt x="430" y="578"/>
                    </a:lnTo>
                    <a:lnTo>
                      <a:pt x="430" y="580"/>
                    </a:lnTo>
                    <a:lnTo>
                      <a:pt x="428" y="580"/>
                    </a:lnTo>
                    <a:lnTo>
                      <a:pt x="428" y="582"/>
                    </a:lnTo>
                    <a:lnTo>
                      <a:pt x="428" y="584"/>
                    </a:lnTo>
                    <a:lnTo>
                      <a:pt x="428" y="586"/>
                    </a:lnTo>
                    <a:lnTo>
                      <a:pt x="430" y="586"/>
                    </a:lnTo>
                    <a:lnTo>
                      <a:pt x="430" y="588"/>
                    </a:lnTo>
                    <a:lnTo>
                      <a:pt x="430" y="590"/>
                    </a:lnTo>
                    <a:lnTo>
                      <a:pt x="430" y="592"/>
                    </a:lnTo>
                    <a:lnTo>
                      <a:pt x="430" y="594"/>
                    </a:lnTo>
                    <a:lnTo>
                      <a:pt x="432" y="594"/>
                    </a:lnTo>
                    <a:lnTo>
                      <a:pt x="432" y="596"/>
                    </a:lnTo>
                    <a:lnTo>
                      <a:pt x="432" y="598"/>
                    </a:lnTo>
                    <a:lnTo>
                      <a:pt x="434" y="598"/>
                    </a:lnTo>
                    <a:lnTo>
                      <a:pt x="436" y="598"/>
                    </a:lnTo>
                    <a:lnTo>
                      <a:pt x="436" y="599"/>
                    </a:lnTo>
                    <a:lnTo>
                      <a:pt x="436" y="601"/>
                    </a:lnTo>
                    <a:lnTo>
                      <a:pt x="436" y="603"/>
                    </a:lnTo>
                    <a:lnTo>
                      <a:pt x="434" y="605"/>
                    </a:lnTo>
                    <a:lnTo>
                      <a:pt x="436" y="607"/>
                    </a:lnTo>
                    <a:lnTo>
                      <a:pt x="434" y="607"/>
                    </a:lnTo>
                    <a:lnTo>
                      <a:pt x="434" y="609"/>
                    </a:lnTo>
                    <a:lnTo>
                      <a:pt x="434" y="611"/>
                    </a:lnTo>
                    <a:lnTo>
                      <a:pt x="434" y="613"/>
                    </a:lnTo>
                    <a:lnTo>
                      <a:pt x="434" y="615"/>
                    </a:lnTo>
                    <a:lnTo>
                      <a:pt x="438" y="617"/>
                    </a:lnTo>
                    <a:lnTo>
                      <a:pt x="438" y="619"/>
                    </a:lnTo>
                    <a:lnTo>
                      <a:pt x="436" y="621"/>
                    </a:lnTo>
                    <a:lnTo>
                      <a:pt x="436" y="622"/>
                    </a:lnTo>
                    <a:lnTo>
                      <a:pt x="438" y="622"/>
                    </a:lnTo>
                    <a:lnTo>
                      <a:pt x="438" y="624"/>
                    </a:lnTo>
                    <a:lnTo>
                      <a:pt x="438" y="626"/>
                    </a:lnTo>
                    <a:lnTo>
                      <a:pt x="436" y="626"/>
                    </a:lnTo>
                    <a:lnTo>
                      <a:pt x="438" y="628"/>
                    </a:lnTo>
                    <a:lnTo>
                      <a:pt x="438" y="630"/>
                    </a:lnTo>
                    <a:lnTo>
                      <a:pt x="438" y="632"/>
                    </a:lnTo>
                    <a:lnTo>
                      <a:pt x="438" y="634"/>
                    </a:lnTo>
                    <a:lnTo>
                      <a:pt x="438" y="636"/>
                    </a:lnTo>
                    <a:lnTo>
                      <a:pt x="438" y="638"/>
                    </a:lnTo>
                    <a:lnTo>
                      <a:pt x="438" y="636"/>
                    </a:lnTo>
                    <a:lnTo>
                      <a:pt x="438" y="638"/>
                    </a:lnTo>
                    <a:lnTo>
                      <a:pt x="436" y="638"/>
                    </a:lnTo>
                    <a:lnTo>
                      <a:pt x="436" y="640"/>
                    </a:lnTo>
                    <a:lnTo>
                      <a:pt x="438" y="640"/>
                    </a:lnTo>
                    <a:lnTo>
                      <a:pt x="436" y="640"/>
                    </a:lnTo>
                    <a:lnTo>
                      <a:pt x="436" y="642"/>
                    </a:lnTo>
                    <a:lnTo>
                      <a:pt x="436" y="644"/>
                    </a:lnTo>
                    <a:lnTo>
                      <a:pt x="434" y="644"/>
                    </a:lnTo>
                    <a:lnTo>
                      <a:pt x="434" y="646"/>
                    </a:lnTo>
                    <a:lnTo>
                      <a:pt x="436" y="646"/>
                    </a:lnTo>
                    <a:lnTo>
                      <a:pt x="438" y="646"/>
                    </a:lnTo>
                    <a:lnTo>
                      <a:pt x="438" y="644"/>
                    </a:lnTo>
                    <a:lnTo>
                      <a:pt x="451" y="647"/>
                    </a:lnTo>
                    <a:lnTo>
                      <a:pt x="451" y="651"/>
                    </a:lnTo>
                    <a:lnTo>
                      <a:pt x="442" y="680"/>
                    </a:lnTo>
                    <a:lnTo>
                      <a:pt x="436" y="701"/>
                    </a:lnTo>
                    <a:lnTo>
                      <a:pt x="432" y="719"/>
                    </a:lnTo>
                    <a:lnTo>
                      <a:pt x="430" y="740"/>
                    </a:lnTo>
                    <a:lnTo>
                      <a:pt x="424" y="746"/>
                    </a:lnTo>
                    <a:lnTo>
                      <a:pt x="417" y="753"/>
                    </a:lnTo>
                    <a:lnTo>
                      <a:pt x="407" y="761"/>
                    </a:lnTo>
                    <a:lnTo>
                      <a:pt x="401" y="767"/>
                    </a:lnTo>
                    <a:lnTo>
                      <a:pt x="399" y="771"/>
                    </a:lnTo>
                    <a:lnTo>
                      <a:pt x="390" y="782"/>
                    </a:lnTo>
                    <a:lnTo>
                      <a:pt x="382" y="788"/>
                    </a:lnTo>
                    <a:lnTo>
                      <a:pt x="376" y="796"/>
                    </a:lnTo>
                    <a:lnTo>
                      <a:pt x="372" y="799"/>
                    </a:lnTo>
                    <a:lnTo>
                      <a:pt x="365" y="819"/>
                    </a:lnTo>
                    <a:lnTo>
                      <a:pt x="359" y="828"/>
                    </a:lnTo>
                    <a:lnTo>
                      <a:pt x="355" y="834"/>
                    </a:lnTo>
                    <a:lnTo>
                      <a:pt x="349" y="842"/>
                    </a:lnTo>
                    <a:lnTo>
                      <a:pt x="349" y="844"/>
                    </a:lnTo>
                    <a:lnTo>
                      <a:pt x="342" y="849"/>
                    </a:lnTo>
                    <a:lnTo>
                      <a:pt x="336" y="855"/>
                    </a:lnTo>
                    <a:lnTo>
                      <a:pt x="330" y="859"/>
                    </a:lnTo>
                    <a:lnTo>
                      <a:pt x="322" y="861"/>
                    </a:lnTo>
                    <a:lnTo>
                      <a:pt x="322" y="871"/>
                    </a:lnTo>
                    <a:lnTo>
                      <a:pt x="322" y="872"/>
                    </a:lnTo>
                    <a:lnTo>
                      <a:pt x="324" y="872"/>
                    </a:lnTo>
                    <a:lnTo>
                      <a:pt x="322" y="872"/>
                    </a:lnTo>
                    <a:lnTo>
                      <a:pt x="322" y="874"/>
                    </a:lnTo>
                    <a:lnTo>
                      <a:pt x="324" y="874"/>
                    </a:lnTo>
                    <a:lnTo>
                      <a:pt x="324" y="876"/>
                    </a:lnTo>
                    <a:lnTo>
                      <a:pt x="324" y="878"/>
                    </a:lnTo>
                    <a:lnTo>
                      <a:pt x="324" y="880"/>
                    </a:lnTo>
                    <a:lnTo>
                      <a:pt x="326" y="880"/>
                    </a:lnTo>
                    <a:lnTo>
                      <a:pt x="324" y="882"/>
                    </a:lnTo>
                    <a:lnTo>
                      <a:pt x="324" y="884"/>
                    </a:lnTo>
                    <a:lnTo>
                      <a:pt x="322" y="884"/>
                    </a:lnTo>
                    <a:lnTo>
                      <a:pt x="321" y="884"/>
                    </a:lnTo>
                    <a:lnTo>
                      <a:pt x="319" y="882"/>
                    </a:lnTo>
                    <a:lnTo>
                      <a:pt x="319" y="884"/>
                    </a:lnTo>
                    <a:lnTo>
                      <a:pt x="317" y="884"/>
                    </a:lnTo>
                    <a:lnTo>
                      <a:pt x="315" y="886"/>
                    </a:lnTo>
                    <a:lnTo>
                      <a:pt x="313" y="886"/>
                    </a:lnTo>
                    <a:lnTo>
                      <a:pt x="311" y="886"/>
                    </a:lnTo>
                    <a:lnTo>
                      <a:pt x="309" y="886"/>
                    </a:lnTo>
                    <a:lnTo>
                      <a:pt x="307" y="888"/>
                    </a:lnTo>
                    <a:lnTo>
                      <a:pt x="307" y="890"/>
                    </a:lnTo>
                    <a:lnTo>
                      <a:pt x="305" y="892"/>
                    </a:lnTo>
                    <a:lnTo>
                      <a:pt x="303" y="892"/>
                    </a:lnTo>
                    <a:lnTo>
                      <a:pt x="301" y="892"/>
                    </a:lnTo>
                    <a:lnTo>
                      <a:pt x="301" y="894"/>
                    </a:lnTo>
                    <a:lnTo>
                      <a:pt x="301" y="895"/>
                    </a:lnTo>
                    <a:lnTo>
                      <a:pt x="299" y="895"/>
                    </a:lnTo>
                    <a:lnTo>
                      <a:pt x="297" y="897"/>
                    </a:lnTo>
                    <a:lnTo>
                      <a:pt x="296" y="897"/>
                    </a:lnTo>
                    <a:lnTo>
                      <a:pt x="296" y="895"/>
                    </a:lnTo>
                    <a:lnTo>
                      <a:pt x="296" y="892"/>
                    </a:lnTo>
                    <a:lnTo>
                      <a:pt x="296" y="882"/>
                    </a:lnTo>
                    <a:lnTo>
                      <a:pt x="294" y="880"/>
                    </a:lnTo>
                    <a:lnTo>
                      <a:pt x="294" y="878"/>
                    </a:lnTo>
                    <a:lnTo>
                      <a:pt x="294" y="876"/>
                    </a:lnTo>
                    <a:lnTo>
                      <a:pt x="292" y="876"/>
                    </a:lnTo>
                    <a:lnTo>
                      <a:pt x="290" y="876"/>
                    </a:lnTo>
                    <a:lnTo>
                      <a:pt x="288" y="874"/>
                    </a:lnTo>
                    <a:lnTo>
                      <a:pt x="286" y="874"/>
                    </a:lnTo>
                    <a:lnTo>
                      <a:pt x="284" y="874"/>
                    </a:lnTo>
                    <a:lnTo>
                      <a:pt x="284" y="876"/>
                    </a:lnTo>
                    <a:lnTo>
                      <a:pt x="282" y="874"/>
                    </a:lnTo>
                    <a:lnTo>
                      <a:pt x="282" y="876"/>
                    </a:lnTo>
                    <a:lnTo>
                      <a:pt x="280" y="876"/>
                    </a:lnTo>
                    <a:lnTo>
                      <a:pt x="278" y="876"/>
                    </a:lnTo>
                    <a:lnTo>
                      <a:pt x="278" y="878"/>
                    </a:lnTo>
                    <a:lnTo>
                      <a:pt x="276" y="878"/>
                    </a:lnTo>
                    <a:lnTo>
                      <a:pt x="276" y="876"/>
                    </a:lnTo>
                    <a:lnTo>
                      <a:pt x="276" y="874"/>
                    </a:lnTo>
                    <a:lnTo>
                      <a:pt x="274" y="874"/>
                    </a:lnTo>
                    <a:lnTo>
                      <a:pt x="273" y="874"/>
                    </a:lnTo>
                    <a:lnTo>
                      <a:pt x="273" y="872"/>
                    </a:lnTo>
                    <a:lnTo>
                      <a:pt x="273" y="871"/>
                    </a:lnTo>
                    <a:lnTo>
                      <a:pt x="273" y="869"/>
                    </a:lnTo>
                    <a:lnTo>
                      <a:pt x="271" y="869"/>
                    </a:lnTo>
                    <a:lnTo>
                      <a:pt x="271" y="867"/>
                    </a:lnTo>
                    <a:lnTo>
                      <a:pt x="271" y="865"/>
                    </a:lnTo>
                    <a:lnTo>
                      <a:pt x="271" y="863"/>
                    </a:lnTo>
                    <a:lnTo>
                      <a:pt x="273" y="863"/>
                    </a:lnTo>
                    <a:lnTo>
                      <a:pt x="271" y="863"/>
                    </a:lnTo>
                    <a:lnTo>
                      <a:pt x="271" y="861"/>
                    </a:lnTo>
                    <a:lnTo>
                      <a:pt x="271" y="859"/>
                    </a:lnTo>
                    <a:lnTo>
                      <a:pt x="271" y="857"/>
                    </a:lnTo>
                    <a:lnTo>
                      <a:pt x="271" y="855"/>
                    </a:lnTo>
                    <a:lnTo>
                      <a:pt x="271" y="853"/>
                    </a:lnTo>
                    <a:lnTo>
                      <a:pt x="269" y="851"/>
                    </a:lnTo>
                    <a:lnTo>
                      <a:pt x="267" y="851"/>
                    </a:lnTo>
                    <a:lnTo>
                      <a:pt x="265" y="851"/>
                    </a:lnTo>
                    <a:lnTo>
                      <a:pt x="265" y="849"/>
                    </a:lnTo>
                    <a:lnTo>
                      <a:pt x="267" y="849"/>
                    </a:lnTo>
                    <a:lnTo>
                      <a:pt x="265" y="849"/>
                    </a:lnTo>
                    <a:lnTo>
                      <a:pt x="265" y="847"/>
                    </a:lnTo>
                    <a:lnTo>
                      <a:pt x="263" y="847"/>
                    </a:lnTo>
                    <a:lnTo>
                      <a:pt x="261" y="847"/>
                    </a:lnTo>
                    <a:lnTo>
                      <a:pt x="259" y="847"/>
                    </a:lnTo>
                    <a:lnTo>
                      <a:pt x="259" y="846"/>
                    </a:lnTo>
                    <a:lnTo>
                      <a:pt x="257" y="846"/>
                    </a:lnTo>
                    <a:lnTo>
                      <a:pt x="257" y="844"/>
                    </a:lnTo>
                    <a:lnTo>
                      <a:pt x="255" y="844"/>
                    </a:lnTo>
                    <a:lnTo>
                      <a:pt x="255" y="842"/>
                    </a:lnTo>
                    <a:lnTo>
                      <a:pt x="253" y="842"/>
                    </a:lnTo>
                    <a:lnTo>
                      <a:pt x="253" y="840"/>
                    </a:lnTo>
                    <a:lnTo>
                      <a:pt x="251" y="840"/>
                    </a:lnTo>
                    <a:lnTo>
                      <a:pt x="251" y="838"/>
                    </a:lnTo>
                    <a:lnTo>
                      <a:pt x="249" y="838"/>
                    </a:lnTo>
                    <a:lnTo>
                      <a:pt x="249" y="836"/>
                    </a:lnTo>
                    <a:lnTo>
                      <a:pt x="248" y="836"/>
                    </a:lnTo>
                    <a:lnTo>
                      <a:pt x="248" y="834"/>
                    </a:lnTo>
                    <a:lnTo>
                      <a:pt x="246" y="832"/>
                    </a:lnTo>
                    <a:lnTo>
                      <a:pt x="246" y="830"/>
                    </a:lnTo>
                    <a:lnTo>
                      <a:pt x="246" y="828"/>
                    </a:lnTo>
                    <a:lnTo>
                      <a:pt x="246" y="826"/>
                    </a:lnTo>
                    <a:lnTo>
                      <a:pt x="244" y="826"/>
                    </a:lnTo>
                    <a:lnTo>
                      <a:pt x="242" y="826"/>
                    </a:lnTo>
                    <a:lnTo>
                      <a:pt x="240" y="826"/>
                    </a:lnTo>
                    <a:lnTo>
                      <a:pt x="240" y="824"/>
                    </a:lnTo>
                    <a:lnTo>
                      <a:pt x="238" y="824"/>
                    </a:lnTo>
                    <a:lnTo>
                      <a:pt x="238" y="826"/>
                    </a:lnTo>
                    <a:lnTo>
                      <a:pt x="236" y="826"/>
                    </a:lnTo>
                    <a:lnTo>
                      <a:pt x="234" y="826"/>
                    </a:lnTo>
                    <a:lnTo>
                      <a:pt x="234" y="824"/>
                    </a:lnTo>
                    <a:lnTo>
                      <a:pt x="232" y="824"/>
                    </a:lnTo>
                    <a:lnTo>
                      <a:pt x="230" y="822"/>
                    </a:lnTo>
                    <a:lnTo>
                      <a:pt x="230" y="824"/>
                    </a:lnTo>
                    <a:lnTo>
                      <a:pt x="228" y="824"/>
                    </a:lnTo>
                    <a:lnTo>
                      <a:pt x="228" y="826"/>
                    </a:lnTo>
                    <a:lnTo>
                      <a:pt x="228" y="828"/>
                    </a:lnTo>
                    <a:lnTo>
                      <a:pt x="226" y="828"/>
                    </a:lnTo>
                    <a:lnTo>
                      <a:pt x="224" y="828"/>
                    </a:lnTo>
                    <a:lnTo>
                      <a:pt x="223" y="828"/>
                    </a:lnTo>
                    <a:lnTo>
                      <a:pt x="223" y="826"/>
                    </a:lnTo>
                    <a:lnTo>
                      <a:pt x="221" y="824"/>
                    </a:lnTo>
                    <a:lnTo>
                      <a:pt x="221" y="822"/>
                    </a:lnTo>
                    <a:lnTo>
                      <a:pt x="223" y="822"/>
                    </a:lnTo>
                    <a:lnTo>
                      <a:pt x="223" y="821"/>
                    </a:lnTo>
                    <a:lnTo>
                      <a:pt x="221" y="821"/>
                    </a:lnTo>
                    <a:lnTo>
                      <a:pt x="219" y="819"/>
                    </a:lnTo>
                    <a:lnTo>
                      <a:pt x="217" y="819"/>
                    </a:lnTo>
                    <a:lnTo>
                      <a:pt x="215" y="817"/>
                    </a:lnTo>
                    <a:lnTo>
                      <a:pt x="213" y="817"/>
                    </a:lnTo>
                    <a:lnTo>
                      <a:pt x="213" y="815"/>
                    </a:lnTo>
                    <a:lnTo>
                      <a:pt x="213" y="813"/>
                    </a:lnTo>
                    <a:lnTo>
                      <a:pt x="213" y="811"/>
                    </a:lnTo>
                    <a:lnTo>
                      <a:pt x="211" y="811"/>
                    </a:lnTo>
                    <a:lnTo>
                      <a:pt x="209" y="811"/>
                    </a:lnTo>
                    <a:lnTo>
                      <a:pt x="209" y="809"/>
                    </a:lnTo>
                    <a:lnTo>
                      <a:pt x="207" y="809"/>
                    </a:lnTo>
                    <a:lnTo>
                      <a:pt x="207" y="807"/>
                    </a:lnTo>
                    <a:lnTo>
                      <a:pt x="205" y="807"/>
                    </a:lnTo>
                    <a:lnTo>
                      <a:pt x="205" y="805"/>
                    </a:lnTo>
                    <a:lnTo>
                      <a:pt x="203" y="805"/>
                    </a:lnTo>
                    <a:lnTo>
                      <a:pt x="203" y="803"/>
                    </a:lnTo>
                    <a:lnTo>
                      <a:pt x="203" y="801"/>
                    </a:lnTo>
                    <a:lnTo>
                      <a:pt x="201" y="801"/>
                    </a:lnTo>
                    <a:lnTo>
                      <a:pt x="200" y="801"/>
                    </a:lnTo>
                    <a:lnTo>
                      <a:pt x="198" y="801"/>
                    </a:lnTo>
                    <a:lnTo>
                      <a:pt x="198" y="799"/>
                    </a:lnTo>
                    <a:lnTo>
                      <a:pt x="196" y="799"/>
                    </a:lnTo>
                    <a:lnTo>
                      <a:pt x="196" y="797"/>
                    </a:lnTo>
                    <a:lnTo>
                      <a:pt x="194" y="797"/>
                    </a:lnTo>
                    <a:lnTo>
                      <a:pt x="192" y="796"/>
                    </a:lnTo>
                    <a:lnTo>
                      <a:pt x="190" y="794"/>
                    </a:lnTo>
                    <a:lnTo>
                      <a:pt x="188" y="794"/>
                    </a:lnTo>
                    <a:lnTo>
                      <a:pt x="188" y="792"/>
                    </a:lnTo>
                    <a:lnTo>
                      <a:pt x="186" y="792"/>
                    </a:lnTo>
                    <a:lnTo>
                      <a:pt x="184" y="792"/>
                    </a:lnTo>
                    <a:lnTo>
                      <a:pt x="182" y="790"/>
                    </a:lnTo>
                    <a:lnTo>
                      <a:pt x="182" y="788"/>
                    </a:lnTo>
                    <a:lnTo>
                      <a:pt x="180" y="788"/>
                    </a:lnTo>
                    <a:lnTo>
                      <a:pt x="180" y="786"/>
                    </a:lnTo>
                    <a:lnTo>
                      <a:pt x="178" y="786"/>
                    </a:lnTo>
                    <a:lnTo>
                      <a:pt x="178" y="784"/>
                    </a:lnTo>
                    <a:lnTo>
                      <a:pt x="176" y="784"/>
                    </a:lnTo>
                    <a:lnTo>
                      <a:pt x="176" y="782"/>
                    </a:lnTo>
                    <a:lnTo>
                      <a:pt x="176" y="784"/>
                    </a:lnTo>
                    <a:lnTo>
                      <a:pt x="175" y="782"/>
                    </a:lnTo>
                    <a:lnTo>
                      <a:pt x="173" y="782"/>
                    </a:lnTo>
                    <a:lnTo>
                      <a:pt x="173" y="780"/>
                    </a:lnTo>
                    <a:lnTo>
                      <a:pt x="173" y="778"/>
                    </a:lnTo>
                    <a:lnTo>
                      <a:pt x="171" y="778"/>
                    </a:lnTo>
                    <a:lnTo>
                      <a:pt x="171" y="776"/>
                    </a:lnTo>
                    <a:lnTo>
                      <a:pt x="171" y="774"/>
                    </a:lnTo>
                    <a:lnTo>
                      <a:pt x="169" y="776"/>
                    </a:lnTo>
                    <a:lnTo>
                      <a:pt x="169" y="774"/>
                    </a:lnTo>
                    <a:lnTo>
                      <a:pt x="167" y="774"/>
                    </a:lnTo>
                    <a:lnTo>
                      <a:pt x="167" y="772"/>
                    </a:lnTo>
                    <a:lnTo>
                      <a:pt x="165" y="772"/>
                    </a:lnTo>
                    <a:lnTo>
                      <a:pt x="165" y="771"/>
                    </a:lnTo>
                    <a:lnTo>
                      <a:pt x="165" y="769"/>
                    </a:lnTo>
                    <a:lnTo>
                      <a:pt x="163" y="769"/>
                    </a:lnTo>
                    <a:lnTo>
                      <a:pt x="165" y="769"/>
                    </a:lnTo>
                    <a:lnTo>
                      <a:pt x="165" y="767"/>
                    </a:lnTo>
                    <a:lnTo>
                      <a:pt x="163" y="767"/>
                    </a:lnTo>
                    <a:lnTo>
                      <a:pt x="165" y="765"/>
                    </a:lnTo>
                    <a:lnTo>
                      <a:pt x="165" y="763"/>
                    </a:lnTo>
                    <a:lnTo>
                      <a:pt x="165" y="761"/>
                    </a:lnTo>
                    <a:lnTo>
                      <a:pt x="163" y="757"/>
                    </a:lnTo>
                    <a:lnTo>
                      <a:pt x="163" y="755"/>
                    </a:lnTo>
                    <a:lnTo>
                      <a:pt x="161" y="755"/>
                    </a:lnTo>
                    <a:lnTo>
                      <a:pt x="161" y="753"/>
                    </a:lnTo>
                    <a:lnTo>
                      <a:pt x="159" y="751"/>
                    </a:lnTo>
                    <a:lnTo>
                      <a:pt x="157" y="751"/>
                    </a:lnTo>
                    <a:lnTo>
                      <a:pt x="157" y="753"/>
                    </a:lnTo>
                    <a:lnTo>
                      <a:pt x="155" y="755"/>
                    </a:lnTo>
                    <a:lnTo>
                      <a:pt x="155" y="757"/>
                    </a:lnTo>
                    <a:lnTo>
                      <a:pt x="153" y="757"/>
                    </a:lnTo>
                    <a:lnTo>
                      <a:pt x="151" y="757"/>
                    </a:lnTo>
                    <a:lnTo>
                      <a:pt x="150" y="757"/>
                    </a:lnTo>
                    <a:lnTo>
                      <a:pt x="148" y="759"/>
                    </a:lnTo>
                    <a:lnTo>
                      <a:pt x="146" y="759"/>
                    </a:lnTo>
                    <a:lnTo>
                      <a:pt x="146" y="761"/>
                    </a:lnTo>
                    <a:lnTo>
                      <a:pt x="146" y="763"/>
                    </a:lnTo>
                    <a:lnTo>
                      <a:pt x="146" y="765"/>
                    </a:lnTo>
                    <a:lnTo>
                      <a:pt x="144" y="765"/>
                    </a:lnTo>
                    <a:lnTo>
                      <a:pt x="144" y="767"/>
                    </a:lnTo>
                    <a:lnTo>
                      <a:pt x="142" y="767"/>
                    </a:lnTo>
                    <a:lnTo>
                      <a:pt x="140" y="769"/>
                    </a:lnTo>
                    <a:lnTo>
                      <a:pt x="138" y="769"/>
                    </a:lnTo>
                    <a:lnTo>
                      <a:pt x="138" y="771"/>
                    </a:lnTo>
                    <a:lnTo>
                      <a:pt x="136" y="771"/>
                    </a:lnTo>
                    <a:lnTo>
                      <a:pt x="136" y="772"/>
                    </a:lnTo>
                    <a:lnTo>
                      <a:pt x="134" y="772"/>
                    </a:lnTo>
                    <a:lnTo>
                      <a:pt x="132" y="772"/>
                    </a:lnTo>
                    <a:lnTo>
                      <a:pt x="130" y="772"/>
                    </a:lnTo>
                    <a:lnTo>
                      <a:pt x="128" y="772"/>
                    </a:lnTo>
                    <a:lnTo>
                      <a:pt x="128" y="774"/>
                    </a:lnTo>
                    <a:lnTo>
                      <a:pt x="128" y="776"/>
                    </a:lnTo>
                    <a:lnTo>
                      <a:pt x="130" y="776"/>
                    </a:lnTo>
                    <a:lnTo>
                      <a:pt x="128" y="776"/>
                    </a:lnTo>
                    <a:lnTo>
                      <a:pt x="128" y="778"/>
                    </a:lnTo>
                    <a:lnTo>
                      <a:pt x="128" y="780"/>
                    </a:lnTo>
                    <a:lnTo>
                      <a:pt x="127" y="780"/>
                    </a:lnTo>
                    <a:lnTo>
                      <a:pt x="125" y="782"/>
                    </a:lnTo>
                    <a:lnTo>
                      <a:pt x="127" y="784"/>
                    </a:lnTo>
                    <a:lnTo>
                      <a:pt x="125" y="782"/>
                    </a:lnTo>
                    <a:lnTo>
                      <a:pt x="123" y="782"/>
                    </a:lnTo>
                    <a:lnTo>
                      <a:pt x="123" y="780"/>
                    </a:lnTo>
                    <a:lnTo>
                      <a:pt x="121" y="782"/>
                    </a:lnTo>
                    <a:lnTo>
                      <a:pt x="121" y="780"/>
                    </a:lnTo>
                    <a:lnTo>
                      <a:pt x="119" y="780"/>
                    </a:lnTo>
                    <a:lnTo>
                      <a:pt x="117" y="778"/>
                    </a:lnTo>
                    <a:lnTo>
                      <a:pt x="117" y="776"/>
                    </a:lnTo>
                    <a:lnTo>
                      <a:pt x="119" y="774"/>
                    </a:lnTo>
                    <a:lnTo>
                      <a:pt x="119" y="772"/>
                    </a:lnTo>
                    <a:lnTo>
                      <a:pt x="117" y="772"/>
                    </a:lnTo>
                    <a:lnTo>
                      <a:pt x="115" y="772"/>
                    </a:lnTo>
                    <a:lnTo>
                      <a:pt x="115" y="771"/>
                    </a:lnTo>
                    <a:lnTo>
                      <a:pt x="113" y="771"/>
                    </a:lnTo>
                    <a:lnTo>
                      <a:pt x="113" y="772"/>
                    </a:lnTo>
                    <a:lnTo>
                      <a:pt x="111" y="772"/>
                    </a:lnTo>
                    <a:lnTo>
                      <a:pt x="109" y="772"/>
                    </a:lnTo>
                    <a:lnTo>
                      <a:pt x="109" y="771"/>
                    </a:lnTo>
                    <a:lnTo>
                      <a:pt x="107" y="771"/>
                    </a:lnTo>
                    <a:lnTo>
                      <a:pt x="105" y="771"/>
                    </a:lnTo>
                    <a:lnTo>
                      <a:pt x="103" y="772"/>
                    </a:lnTo>
                    <a:lnTo>
                      <a:pt x="105" y="772"/>
                    </a:lnTo>
                    <a:lnTo>
                      <a:pt x="103" y="772"/>
                    </a:lnTo>
                    <a:lnTo>
                      <a:pt x="103" y="774"/>
                    </a:lnTo>
                    <a:lnTo>
                      <a:pt x="102" y="774"/>
                    </a:lnTo>
                    <a:lnTo>
                      <a:pt x="100" y="774"/>
                    </a:lnTo>
                    <a:lnTo>
                      <a:pt x="98" y="774"/>
                    </a:lnTo>
                    <a:lnTo>
                      <a:pt x="96" y="774"/>
                    </a:lnTo>
                    <a:lnTo>
                      <a:pt x="96" y="772"/>
                    </a:lnTo>
                    <a:lnTo>
                      <a:pt x="96" y="774"/>
                    </a:lnTo>
                    <a:lnTo>
                      <a:pt x="94" y="774"/>
                    </a:lnTo>
                    <a:lnTo>
                      <a:pt x="92" y="774"/>
                    </a:lnTo>
                    <a:lnTo>
                      <a:pt x="92" y="772"/>
                    </a:lnTo>
                    <a:lnTo>
                      <a:pt x="92" y="771"/>
                    </a:lnTo>
                    <a:lnTo>
                      <a:pt x="92" y="769"/>
                    </a:lnTo>
                    <a:lnTo>
                      <a:pt x="92" y="767"/>
                    </a:lnTo>
                    <a:lnTo>
                      <a:pt x="92" y="765"/>
                    </a:lnTo>
                    <a:lnTo>
                      <a:pt x="90" y="767"/>
                    </a:lnTo>
                    <a:lnTo>
                      <a:pt x="90" y="765"/>
                    </a:lnTo>
                    <a:lnTo>
                      <a:pt x="88" y="765"/>
                    </a:lnTo>
                    <a:lnTo>
                      <a:pt x="86" y="765"/>
                    </a:lnTo>
                    <a:lnTo>
                      <a:pt x="84" y="765"/>
                    </a:lnTo>
                    <a:lnTo>
                      <a:pt x="82" y="765"/>
                    </a:lnTo>
                    <a:lnTo>
                      <a:pt x="82" y="763"/>
                    </a:lnTo>
                    <a:lnTo>
                      <a:pt x="80" y="763"/>
                    </a:lnTo>
                    <a:lnTo>
                      <a:pt x="80" y="761"/>
                    </a:lnTo>
                    <a:lnTo>
                      <a:pt x="80" y="759"/>
                    </a:lnTo>
                    <a:lnTo>
                      <a:pt x="80" y="757"/>
                    </a:lnTo>
                    <a:lnTo>
                      <a:pt x="78" y="757"/>
                    </a:lnTo>
                    <a:lnTo>
                      <a:pt x="77" y="757"/>
                    </a:lnTo>
                    <a:lnTo>
                      <a:pt x="75" y="757"/>
                    </a:lnTo>
                    <a:lnTo>
                      <a:pt x="75" y="755"/>
                    </a:lnTo>
                    <a:lnTo>
                      <a:pt x="75" y="757"/>
                    </a:lnTo>
                    <a:lnTo>
                      <a:pt x="73" y="757"/>
                    </a:lnTo>
                    <a:lnTo>
                      <a:pt x="73" y="755"/>
                    </a:lnTo>
                    <a:lnTo>
                      <a:pt x="71" y="755"/>
                    </a:lnTo>
                    <a:lnTo>
                      <a:pt x="71" y="757"/>
                    </a:lnTo>
                    <a:lnTo>
                      <a:pt x="69" y="757"/>
                    </a:lnTo>
                    <a:lnTo>
                      <a:pt x="67" y="755"/>
                    </a:lnTo>
                    <a:lnTo>
                      <a:pt x="67" y="753"/>
                    </a:lnTo>
                    <a:lnTo>
                      <a:pt x="67" y="751"/>
                    </a:lnTo>
                    <a:lnTo>
                      <a:pt x="65" y="751"/>
                    </a:lnTo>
                    <a:lnTo>
                      <a:pt x="63" y="751"/>
                    </a:lnTo>
                    <a:lnTo>
                      <a:pt x="61" y="751"/>
                    </a:lnTo>
                    <a:lnTo>
                      <a:pt x="61" y="749"/>
                    </a:lnTo>
                    <a:lnTo>
                      <a:pt x="61" y="747"/>
                    </a:lnTo>
                    <a:lnTo>
                      <a:pt x="59" y="747"/>
                    </a:lnTo>
                    <a:lnTo>
                      <a:pt x="59" y="746"/>
                    </a:lnTo>
                    <a:lnTo>
                      <a:pt x="59" y="744"/>
                    </a:lnTo>
                    <a:lnTo>
                      <a:pt x="57" y="744"/>
                    </a:lnTo>
                    <a:lnTo>
                      <a:pt x="57" y="742"/>
                    </a:lnTo>
                    <a:lnTo>
                      <a:pt x="55" y="742"/>
                    </a:lnTo>
                    <a:lnTo>
                      <a:pt x="54" y="742"/>
                    </a:lnTo>
                    <a:lnTo>
                      <a:pt x="54" y="740"/>
                    </a:lnTo>
                    <a:lnTo>
                      <a:pt x="52" y="740"/>
                    </a:lnTo>
                    <a:lnTo>
                      <a:pt x="50" y="740"/>
                    </a:lnTo>
                    <a:lnTo>
                      <a:pt x="50" y="738"/>
                    </a:lnTo>
                    <a:lnTo>
                      <a:pt x="48" y="738"/>
                    </a:lnTo>
                    <a:lnTo>
                      <a:pt x="46" y="738"/>
                    </a:lnTo>
                    <a:lnTo>
                      <a:pt x="46" y="736"/>
                    </a:lnTo>
                    <a:lnTo>
                      <a:pt x="44" y="734"/>
                    </a:lnTo>
                    <a:lnTo>
                      <a:pt x="42" y="732"/>
                    </a:lnTo>
                    <a:lnTo>
                      <a:pt x="40" y="732"/>
                    </a:lnTo>
                    <a:lnTo>
                      <a:pt x="38" y="732"/>
                    </a:lnTo>
                    <a:lnTo>
                      <a:pt x="36" y="732"/>
                    </a:lnTo>
                    <a:lnTo>
                      <a:pt x="36" y="734"/>
                    </a:lnTo>
                    <a:lnTo>
                      <a:pt x="36" y="736"/>
                    </a:lnTo>
                    <a:lnTo>
                      <a:pt x="36" y="738"/>
                    </a:lnTo>
                    <a:lnTo>
                      <a:pt x="34" y="738"/>
                    </a:lnTo>
                    <a:lnTo>
                      <a:pt x="34" y="736"/>
                    </a:lnTo>
                    <a:lnTo>
                      <a:pt x="32" y="736"/>
                    </a:lnTo>
                    <a:lnTo>
                      <a:pt x="32" y="738"/>
                    </a:lnTo>
                    <a:lnTo>
                      <a:pt x="30" y="738"/>
                    </a:lnTo>
                    <a:lnTo>
                      <a:pt x="30" y="736"/>
                    </a:lnTo>
                    <a:lnTo>
                      <a:pt x="29" y="736"/>
                    </a:lnTo>
                    <a:lnTo>
                      <a:pt x="29" y="734"/>
                    </a:lnTo>
                    <a:lnTo>
                      <a:pt x="29" y="732"/>
                    </a:lnTo>
                    <a:lnTo>
                      <a:pt x="27" y="730"/>
                    </a:lnTo>
                    <a:lnTo>
                      <a:pt x="25" y="730"/>
                    </a:lnTo>
                    <a:lnTo>
                      <a:pt x="25" y="728"/>
                    </a:lnTo>
                    <a:lnTo>
                      <a:pt x="23" y="726"/>
                    </a:lnTo>
                    <a:lnTo>
                      <a:pt x="23" y="724"/>
                    </a:lnTo>
                    <a:lnTo>
                      <a:pt x="21" y="724"/>
                    </a:lnTo>
                    <a:lnTo>
                      <a:pt x="21" y="722"/>
                    </a:lnTo>
                    <a:lnTo>
                      <a:pt x="19" y="722"/>
                    </a:lnTo>
                    <a:lnTo>
                      <a:pt x="19" y="721"/>
                    </a:lnTo>
                    <a:lnTo>
                      <a:pt x="17" y="721"/>
                    </a:lnTo>
                    <a:lnTo>
                      <a:pt x="17" y="719"/>
                    </a:lnTo>
                    <a:lnTo>
                      <a:pt x="17" y="717"/>
                    </a:lnTo>
                    <a:lnTo>
                      <a:pt x="15" y="717"/>
                    </a:lnTo>
                    <a:lnTo>
                      <a:pt x="15" y="715"/>
                    </a:lnTo>
                    <a:lnTo>
                      <a:pt x="13" y="715"/>
                    </a:lnTo>
                    <a:lnTo>
                      <a:pt x="15" y="713"/>
                    </a:lnTo>
                    <a:lnTo>
                      <a:pt x="13" y="713"/>
                    </a:lnTo>
                    <a:lnTo>
                      <a:pt x="13" y="711"/>
                    </a:lnTo>
                    <a:lnTo>
                      <a:pt x="13" y="709"/>
                    </a:lnTo>
                    <a:lnTo>
                      <a:pt x="11" y="709"/>
                    </a:lnTo>
                    <a:lnTo>
                      <a:pt x="11" y="707"/>
                    </a:lnTo>
                    <a:lnTo>
                      <a:pt x="9" y="707"/>
                    </a:lnTo>
                    <a:lnTo>
                      <a:pt x="7" y="707"/>
                    </a:lnTo>
                    <a:lnTo>
                      <a:pt x="7" y="705"/>
                    </a:lnTo>
                    <a:lnTo>
                      <a:pt x="7" y="703"/>
                    </a:lnTo>
                    <a:lnTo>
                      <a:pt x="5" y="701"/>
                    </a:lnTo>
                    <a:lnTo>
                      <a:pt x="7" y="701"/>
                    </a:lnTo>
                    <a:lnTo>
                      <a:pt x="5" y="701"/>
                    </a:lnTo>
                    <a:lnTo>
                      <a:pt x="5" y="699"/>
                    </a:lnTo>
                    <a:lnTo>
                      <a:pt x="4" y="699"/>
                    </a:lnTo>
                    <a:lnTo>
                      <a:pt x="2" y="699"/>
                    </a:lnTo>
                    <a:lnTo>
                      <a:pt x="2" y="697"/>
                    </a:lnTo>
                    <a:lnTo>
                      <a:pt x="0" y="697"/>
                    </a:lnTo>
                    <a:lnTo>
                      <a:pt x="0" y="696"/>
                    </a:lnTo>
                    <a:lnTo>
                      <a:pt x="0" y="694"/>
                    </a:lnTo>
                    <a:lnTo>
                      <a:pt x="0" y="692"/>
                    </a:lnTo>
                    <a:lnTo>
                      <a:pt x="0" y="690"/>
                    </a:lnTo>
                    <a:lnTo>
                      <a:pt x="2" y="688"/>
                    </a:lnTo>
                    <a:lnTo>
                      <a:pt x="0" y="688"/>
                    </a:lnTo>
                    <a:lnTo>
                      <a:pt x="2" y="686"/>
                    </a:lnTo>
                    <a:lnTo>
                      <a:pt x="4" y="686"/>
                    </a:lnTo>
                    <a:lnTo>
                      <a:pt x="5" y="686"/>
                    </a:lnTo>
                    <a:lnTo>
                      <a:pt x="5" y="688"/>
                    </a:lnTo>
                    <a:lnTo>
                      <a:pt x="7" y="688"/>
                    </a:lnTo>
                    <a:lnTo>
                      <a:pt x="9" y="686"/>
                    </a:lnTo>
                    <a:lnTo>
                      <a:pt x="7" y="686"/>
                    </a:lnTo>
                    <a:lnTo>
                      <a:pt x="9" y="686"/>
                    </a:lnTo>
                    <a:lnTo>
                      <a:pt x="9" y="684"/>
                    </a:lnTo>
                    <a:lnTo>
                      <a:pt x="11" y="684"/>
                    </a:lnTo>
                    <a:lnTo>
                      <a:pt x="9" y="684"/>
                    </a:lnTo>
                    <a:lnTo>
                      <a:pt x="9" y="682"/>
                    </a:lnTo>
                    <a:lnTo>
                      <a:pt x="9" y="680"/>
                    </a:lnTo>
                    <a:lnTo>
                      <a:pt x="11" y="680"/>
                    </a:lnTo>
                    <a:lnTo>
                      <a:pt x="9" y="680"/>
                    </a:lnTo>
                    <a:lnTo>
                      <a:pt x="11" y="680"/>
                    </a:lnTo>
                    <a:lnTo>
                      <a:pt x="9" y="680"/>
                    </a:lnTo>
                    <a:lnTo>
                      <a:pt x="11" y="680"/>
                    </a:lnTo>
                    <a:lnTo>
                      <a:pt x="11" y="678"/>
                    </a:lnTo>
                    <a:lnTo>
                      <a:pt x="13" y="678"/>
                    </a:lnTo>
                    <a:lnTo>
                      <a:pt x="11" y="676"/>
                    </a:lnTo>
                    <a:lnTo>
                      <a:pt x="13" y="674"/>
                    </a:lnTo>
                    <a:lnTo>
                      <a:pt x="13" y="676"/>
                    </a:lnTo>
                    <a:lnTo>
                      <a:pt x="15" y="676"/>
                    </a:lnTo>
                    <a:lnTo>
                      <a:pt x="17" y="676"/>
                    </a:lnTo>
                    <a:lnTo>
                      <a:pt x="17" y="678"/>
                    </a:lnTo>
                    <a:lnTo>
                      <a:pt x="17" y="676"/>
                    </a:lnTo>
                    <a:lnTo>
                      <a:pt x="19" y="676"/>
                    </a:lnTo>
                    <a:lnTo>
                      <a:pt x="21" y="676"/>
                    </a:lnTo>
                    <a:lnTo>
                      <a:pt x="23" y="676"/>
                    </a:lnTo>
                    <a:lnTo>
                      <a:pt x="27" y="678"/>
                    </a:lnTo>
                    <a:lnTo>
                      <a:pt x="29" y="678"/>
                    </a:lnTo>
                    <a:lnTo>
                      <a:pt x="30" y="678"/>
                    </a:lnTo>
                    <a:lnTo>
                      <a:pt x="30" y="676"/>
                    </a:lnTo>
                    <a:lnTo>
                      <a:pt x="29" y="676"/>
                    </a:lnTo>
                    <a:lnTo>
                      <a:pt x="29" y="674"/>
                    </a:lnTo>
                    <a:lnTo>
                      <a:pt x="30" y="674"/>
                    </a:lnTo>
                    <a:lnTo>
                      <a:pt x="30" y="672"/>
                    </a:lnTo>
                    <a:lnTo>
                      <a:pt x="30" y="669"/>
                    </a:lnTo>
                    <a:lnTo>
                      <a:pt x="30" y="667"/>
                    </a:lnTo>
                    <a:lnTo>
                      <a:pt x="32" y="663"/>
                    </a:lnTo>
                    <a:lnTo>
                      <a:pt x="32" y="661"/>
                    </a:lnTo>
                    <a:lnTo>
                      <a:pt x="34" y="659"/>
                    </a:lnTo>
                    <a:lnTo>
                      <a:pt x="34" y="657"/>
                    </a:lnTo>
                    <a:lnTo>
                      <a:pt x="34" y="655"/>
                    </a:lnTo>
                    <a:lnTo>
                      <a:pt x="34" y="653"/>
                    </a:lnTo>
                    <a:lnTo>
                      <a:pt x="34" y="651"/>
                    </a:lnTo>
                    <a:lnTo>
                      <a:pt x="34" y="649"/>
                    </a:lnTo>
                    <a:lnTo>
                      <a:pt x="32" y="647"/>
                    </a:lnTo>
                    <a:lnTo>
                      <a:pt x="30" y="646"/>
                    </a:lnTo>
                    <a:lnTo>
                      <a:pt x="30" y="644"/>
                    </a:lnTo>
                    <a:lnTo>
                      <a:pt x="32" y="642"/>
                    </a:lnTo>
                    <a:lnTo>
                      <a:pt x="32" y="640"/>
                    </a:lnTo>
                    <a:lnTo>
                      <a:pt x="34" y="640"/>
                    </a:lnTo>
                    <a:lnTo>
                      <a:pt x="32" y="638"/>
                    </a:lnTo>
                    <a:lnTo>
                      <a:pt x="32" y="636"/>
                    </a:lnTo>
                    <a:lnTo>
                      <a:pt x="32" y="634"/>
                    </a:lnTo>
                    <a:lnTo>
                      <a:pt x="34" y="634"/>
                    </a:lnTo>
                    <a:lnTo>
                      <a:pt x="34" y="632"/>
                    </a:lnTo>
                    <a:lnTo>
                      <a:pt x="34" y="630"/>
                    </a:lnTo>
                    <a:lnTo>
                      <a:pt x="34" y="628"/>
                    </a:lnTo>
                    <a:lnTo>
                      <a:pt x="34" y="626"/>
                    </a:lnTo>
                    <a:lnTo>
                      <a:pt x="36" y="626"/>
                    </a:lnTo>
                    <a:lnTo>
                      <a:pt x="40" y="624"/>
                    </a:lnTo>
                    <a:lnTo>
                      <a:pt x="42" y="624"/>
                    </a:lnTo>
                    <a:lnTo>
                      <a:pt x="42" y="622"/>
                    </a:lnTo>
                    <a:lnTo>
                      <a:pt x="40" y="621"/>
                    </a:lnTo>
                    <a:lnTo>
                      <a:pt x="40" y="617"/>
                    </a:lnTo>
                    <a:lnTo>
                      <a:pt x="38" y="617"/>
                    </a:lnTo>
                    <a:lnTo>
                      <a:pt x="38" y="615"/>
                    </a:lnTo>
                    <a:lnTo>
                      <a:pt x="38" y="613"/>
                    </a:lnTo>
                    <a:lnTo>
                      <a:pt x="38" y="611"/>
                    </a:lnTo>
                    <a:lnTo>
                      <a:pt x="38" y="609"/>
                    </a:lnTo>
                    <a:lnTo>
                      <a:pt x="36" y="607"/>
                    </a:lnTo>
                    <a:lnTo>
                      <a:pt x="38" y="607"/>
                    </a:lnTo>
                    <a:lnTo>
                      <a:pt x="38" y="605"/>
                    </a:lnTo>
                    <a:lnTo>
                      <a:pt x="38" y="603"/>
                    </a:lnTo>
                    <a:lnTo>
                      <a:pt x="36" y="601"/>
                    </a:lnTo>
                    <a:lnTo>
                      <a:pt x="34" y="601"/>
                    </a:lnTo>
                    <a:lnTo>
                      <a:pt x="36" y="599"/>
                    </a:lnTo>
                    <a:lnTo>
                      <a:pt x="38" y="598"/>
                    </a:lnTo>
                    <a:lnTo>
                      <a:pt x="36" y="598"/>
                    </a:lnTo>
                    <a:lnTo>
                      <a:pt x="36" y="596"/>
                    </a:lnTo>
                    <a:lnTo>
                      <a:pt x="34" y="596"/>
                    </a:lnTo>
                    <a:lnTo>
                      <a:pt x="34" y="594"/>
                    </a:lnTo>
                    <a:lnTo>
                      <a:pt x="36" y="592"/>
                    </a:lnTo>
                    <a:lnTo>
                      <a:pt x="38" y="590"/>
                    </a:lnTo>
                    <a:lnTo>
                      <a:pt x="40" y="588"/>
                    </a:lnTo>
                    <a:lnTo>
                      <a:pt x="40" y="586"/>
                    </a:lnTo>
                    <a:lnTo>
                      <a:pt x="42" y="586"/>
                    </a:lnTo>
                    <a:lnTo>
                      <a:pt x="42" y="582"/>
                    </a:lnTo>
                    <a:lnTo>
                      <a:pt x="42" y="576"/>
                    </a:lnTo>
                    <a:lnTo>
                      <a:pt x="44" y="576"/>
                    </a:lnTo>
                    <a:lnTo>
                      <a:pt x="46" y="571"/>
                    </a:lnTo>
                    <a:lnTo>
                      <a:pt x="48" y="569"/>
                    </a:lnTo>
                    <a:lnTo>
                      <a:pt x="52" y="571"/>
                    </a:lnTo>
                    <a:lnTo>
                      <a:pt x="54" y="573"/>
                    </a:lnTo>
                    <a:lnTo>
                      <a:pt x="54" y="574"/>
                    </a:lnTo>
                    <a:lnTo>
                      <a:pt x="55" y="574"/>
                    </a:lnTo>
                    <a:lnTo>
                      <a:pt x="55" y="573"/>
                    </a:lnTo>
                    <a:lnTo>
                      <a:pt x="57" y="571"/>
                    </a:lnTo>
                    <a:lnTo>
                      <a:pt x="57" y="567"/>
                    </a:lnTo>
                    <a:lnTo>
                      <a:pt x="55" y="567"/>
                    </a:lnTo>
                    <a:lnTo>
                      <a:pt x="55" y="565"/>
                    </a:lnTo>
                    <a:lnTo>
                      <a:pt x="57" y="565"/>
                    </a:lnTo>
                    <a:lnTo>
                      <a:pt x="57" y="563"/>
                    </a:lnTo>
                    <a:lnTo>
                      <a:pt x="59" y="563"/>
                    </a:lnTo>
                    <a:lnTo>
                      <a:pt x="61" y="563"/>
                    </a:lnTo>
                    <a:lnTo>
                      <a:pt x="61" y="561"/>
                    </a:lnTo>
                    <a:lnTo>
                      <a:pt x="61" y="557"/>
                    </a:lnTo>
                    <a:lnTo>
                      <a:pt x="59" y="557"/>
                    </a:lnTo>
                    <a:lnTo>
                      <a:pt x="59" y="553"/>
                    </a:lnTo>
                    <a:lnTo>
                      <a:pt x="59" y="549"/>
                    </a:lnTo>
                    <a:lnTo>
                      <a:pt x="67" y="549"/>
                    </a:lnTo>
                    <a:lnTo>
                      <a:pt x="71" y="549"/>
                    </a:lnTo>
                    <a:lnTo>
                      <a:pt x="71" y="538"/>
                    </a:lnTo>
                    <a:lnTo>
                      <a:pt x="67" y="538"/>
                    </a:lnTo>
                    <a:lnTo>
                      <a:pt x="67" y="536"/>
                    </a:lnTo>
                    <a:lnTo>
                      <a:pt x="67" y="534"/>
                    </a:lnTo>
                    <a:lnTo>
                      <a:pt x="65" y="534"/>
                    </a:lnTo>
                    <a:lnTo>
                      <a:pt x="65" y="532"/>
                    </a:lnTo>
                    <a:lnTo>
                      <a:pt x="67" y="532"/>
                    </a:lnTo>
                    <a:lnTo>
                      <a:pt x="67" y="530"/>
                    </a:lnTo>
                    <a:lnTo>
                      <a:pt x="67" y="528"/>
                    </a:lnTo>
                    <a:lnTo>
                      <a:pt x="67" y="526"/>
                    </a:lnTo>
                    <a:lnTo>
                      <a:pt x="65" y="526"/>
                    </a:lnTo>
                    <a:lnTo>
                      <a:pt x="67" y="526"/>
                    </a:lnTo>
                    <a:lnTo>
                      <a:pt x="67" y="524"/>
                    </a:lnTo>
                    <a:lnTo>
                      <a:pt x="67" y="523"/>
                    </a:lnTo>
                    <a:lnTo>
                      <a:pt x="65" y="521"/>
                    </a:lnTo>
                    <a:lnTo>
                      <a:pt x="63" y="521"/>
                    </a:lnTo>
                    <a:lnTo>
                      <a:pt x="61" y="523"/>
                    </a:lnTo>
                    <a:lnTo>
                      <a:pt x="59" y="523"/>
                    </a:lnTo>
                    <a:lnTo>
                      <a:pt x="57" y="521"/>
                    </a:lnTo>
                    <a:lnTo>
                      <a:pt x="57" y="519"/>
                    </a:lnTo>
                    <a:lnTo>
                      <a:pt x="57" y="517"/>
                    </a:lnTo>
                    <a:lnTo>
                      <a:pt x="59" y="515"/>
                    </a:lnTo>
                    <a:lnTo>
                      <a:pt x="61" y="513"/>
                    </a:lnTo>
                    <a:lnTo>
                      <a:pt x="63" y="511"/>
                    </a:lnTo>
                    <a:lnTo>
                      <a:pt x="63" y="509"/>
                    </a:lnTo>
                    <a:lnTo>
                      <a:pt x="61" y="511"/>
                    </a:lnTo>
                    <a:lnTo>
                      <a:pt x="61" y="509"/>
                    </a:lnTo>
                    <a:lnTo>
                      <a:pt x="59" y="509"/>
                    </a:lnTo>
                    <a:lnTo>
                      <a:pt x="59" y="511"/>
                    </a:lnTo>
                    <a:lnTo>
                      <a:pt x="57" y="509"/>
                    </a:lnTo>
                    <a:lnTo>
                      <a:pt x="57" y="511"/>
                    </a:lnTo>
                    <a:lnTo>
                      <a:pt x="55" y="511"/>
                    </a:lnTo>
                    <a:lnTo>
                      <a:pt x="55" y="509"/>
                    </a:lnTo>
                    <a:lnTo>
                      <a:pt x="55" y="507"/>
                    </a:lnTo>
                    <a:lnTo>
                      <a:pt x="54" y="507"/>
                    </a:lnTo>
                    <a:lnTo>
                      <a:pt x="52" y="507"/>
                    </a:lnTo>
                    <a:lnTo>
                      <a:pt x="54" y="505"/>
                    </a:lnTo>
                    <a:lnTo>
                      <a:pt x="55" y="498"/>
                    </a:lnTo>
                    <a:lnTo>
                      <a:pt x="55" y="496"/>
                    </a:lnTo>
                    <a:lnTo>
                      <a:pt x="57" y="492"/>
                    </a:lnTo>
                    <a:lnTo>
                      <a:pt x="59" y="484"/>
                    </a:lnTo>
                    <a:lnTo>
                      <a:pt x="61" y="480"/>
                    </a:lnTo>
                    <a:lnTo>
                      <a:pt x="61" y="478"/>
                    </a:lnTo>
                    <a:lnTo>
                      <a:pt x="63" y="473"/>
                    </a:lnTo>
                    <a:lnTo>
                      <a:pt x="65" y="469"/>
                    </a:lnTo>
                    <a:lnTo>
                      <a:pt x="67" y="463"/>
                    </a:lnTo>
                    <a:lnTo>
                      <a:pt x="67" y="461"/>
                    </a:lnTo>
                    <a:lnTo>
                      <a:pt x="67" y="459"/>
                    </a:lnTo>
                    <a:lnTo>
                      <a:pt x="69" y="457"/>
                    </a:lnTo>
                    <a:lnTo>
                      <a:pt x="69" y="455"/>
                    </a:lnTo>
                    <a:lnTo>
                      <a:pt x="71" y="451"/>
                    </a:lnTo>
                    <a:lnTo>
                      <a:pt x="73" y="451"/>
                    </a:lnTo>
                    <a:lnTo>
                      <a:pt x="75" y="451"/>
                    </a:lnTo>
                    <a:lnTo>
                      <a:pt x="77" y="451"/>
                    </a:lnTo>
                    <a:lnTo>
                      <a:pt x="77" y="453"/>
                    </a:lnTo>
                    <a:lnTo>
                      <a:pt x="77" y="451"/>
                    </a:lnTo>
                    <a:lnTo>
                      <a:pt x="77" y="453"/>
                    </a:lnTo>
                    <a:lnTo>
                      <a:pt x="77" y="451"/>
                    </a:lnTo>
                    <a:lnTo>
                      <a:pt x="78" y="453"/>
                    </a:lnTo>
                    <a:lnTo>
                      <a:pt x="80" y="453"/>
                    </a:lnTo>
                    <a:lnTo>
                      <a:pt x="82" y="453"/>
                    </a:lnTo>
                    <a:lnTo>
                      <a:pt x="84" y="453"/>
                    </a:lnTo>
                    <a:lnTo>
                      <a:pt x="86" y="453"/>
                    </a:lnTo>
                    <a:lnTo>
                      <a:pt x="88" y="453"/>
                    </a:lnTo>
                    <a:lnTo>
                      <a:pt x="90" y="453"/>
                    </a:lnTo>
                    <a:lnTo>
                      <a:pt x="90" y="455"/>
                    </a:lnTo>
                    <a:lnTo>
                      <a:pt x="92" y="455"/>
                    </a:lnTo>
                    <a:lnTo>
                      <a:pt x="94" y="455"/>
                    </a:lnTo>
                    <a:lnTo>
                      <a:pt x="94" y="453"/>
                    </a:lnTo>
                    <a:lnTo>
                      <a:pt x="96" y="453"/>
                    </a:lnTo>
                    <a:lnTo>
                      <a:pt x="98" y="455"/>
                    </a:lnTo>
                    <a:lnTo>
                      <a:pt x="98" y="457"/>
                    </a:lnTo>
                    <a:lnTo>
                      <a:pt x="100" y="457"/>
                    </a:lnTo>
                    <a:lnTo>
                      <a:pt x="100" y="459"/>
                    </a:lnTo>
                    <a:lnTo>
                      <a:pt x="102" y="459"/>
                    </a:lnTo>
                    <a:lnTo>
                      <a:pt x="102" y="457"/>
                    </a:lnTo>
                    <a:lnTo>
                      <a:pt x="103" y="457"/>
                    </a:lnTo>
                    <a:lnTo>
                      <a:pt x="105" y="455"/>
                    </a:lnTo>
                    <a:lnTo>
                      <a:pt x="105" y="453"/>
                    </a:lnTo>
                    <a:lnTo>
                      <a:pt x="107" y="453"/>
                    </a:lnTo>
                    <a:lnTo>
                      <a:pt x="109" y="455"/>
                    </a:lnTo>
                    <a:lnTo>
                      <a:pt x="111" y="453"/>
                    </a:lnTo>
                    <a:lnTo>
                      <a:pt x="113" y="453"/>
                    </a:lnTo>
                    <a:lnTo>
                      <a:pt x="115" y="451"/>
                    </a:lnTo>
                    <a:lnTo>
                      <a:pt x="115" y="453"/>
                    </a:lnTo>
                    <a:lnTo>
                      <a:pt x="117" y="453"/>
                    </a:lnTo>
                    <a:lnTo>
                      <a:pt x="117" y="451"/>
                    </a:lnTo>
                    <a:lnTo>
                      <a:pt x="117" y="449"/>
                    </a:lnTo>
                    <a:lnTo>
                      <a:pt x="119" y="449"/>
                    </a:lnTo>
                    <a:lnTo>
                      <a:pt x="119" y="448"/>
                    </a:lnTo>
                    <a:lnTo>
                      <a:pt x="119" y="446"/>
                    </a:lnTo>
                    <a:lnTo>
                      <a:pt x="119" y="444"/>
                    </a:lnTo>
                    <a:lnTo>
                      <a:pt x="121" y="442"/>
                    </a:lnTo>
                    <a:lnTo>
                      <a:pt x="121" y="440"/>
                    </a:lnTo>
                    <a:lnTo>
                      <a:pt x="123" y="438"/>
                    </a:lnTo>
                    <a:lnTo>
                      <a:pt x="123" y="436"/>
                    </a:lnTo>
                    <a:lnTo>
                      <a:pt x="123" y="434"/>
                    </a:lnTo>
                    <a:lnTo>
                      <a:pt x="125" y="432"/>
                    </a:lnTo>
                    <a:lnTo>
                      <a:pt x="127" y="432"/>
                    </a:lnTo>
                    <a:lnTo>
                      <a:pt x="127" y="434"/>
                    </a:lnTo>
                    <a:lnTo>
                      <a:pt x="128" y="434"/>
                    </a:lnTo>
                    <a:lnTo>
                      <a:pt x="130" y="432"/>
                    </a:lnTo>
                    <a:lnTo>
                      <a:pt x="132" y="432"/>
                    </a:lnTo>
                    <a:lnTo>
                      <a:pt x="134" y="432"/>
                    </a:lnTo>
                    <a:lnTo>
                      <a:pt x="136" y="432"/>
                    </a:lnTo>
                    <a:lnTo>
                      <a:pt x="136" y="434"/>
                    </a:lnTo>
                    <a:lnTo>
                      <a:pt x="136" y="436"/>
                    </a:lnTo>
                    <a:lnTo>
                      <a:pt x="136" y="438"/>
                    </a:lnTo>
                    <a:lnTo>
                      <a:pt x="136" y="440"/>
                    </a:lnTo>
                    <a:lnTo>
                      <a:pt x="136" y="442"/>
                    </a:lnTo>
                    <a:lnTo>
                      <a:pt x="138" y="442"/>
                    </a:lnTo>
                    <a:lnTo>
                      <a:pt x="138" y="444"/>
                    </a:lnTo>
                    <a:lnTo>
                      <a:pt x="138" y="446"/>
                    </a:lnTo>
                    <a:lnTo>
                      <a:pt x="140" y="446"/>
                    </a:lnTo>
                    <a:lnTo>
                      <a:pt x="138" y="448"/>
                    </a:lnTo>
                    <a:lnTo>
                      <a:pt x="140" y="448"/>
                    </a:lnTo>
                    <a:lnTo>
                      <a:pt x="142" y="448"/>
                    </a:lnTo>
                    <a:lnTo>
                      <a:pt x="142" y="449"/>
                    </a:lnTo>
                    <a:lnTo>
                      <a:pt x="144" y="449"/>
                    </a:lnTo>
                    <a:lnTo>
                      <a:pt x="146" y="451"/>
                    </a:lnTo>
                    <a:lnTo>
                      <a:pt x="144" y="451"/>
                    </a:lnTo>
                    <a:lnTo>
                      <a:pt x="144" y="453"/>
                    </a:lnTo>
                    <a:lnTo>
                      <a:pt x="146" y="453"/>
                    </a:lnTo>
                    <a:lnTo>
                      <a:pt x="146" y="455"/>
                    </a:lnTo>
                    <a:lnTo>
                      <a:pt x="148" y="455"/>
                    </a:lnTo>
                    <a:lnTo>
                      <a:pt x="146" y="455"/>
                    </a:lnTo>
                    <a:lnTo>
                      <a:pt x="146" y="457"/>
                    </a:lnTo>
                    <a:lnTo>
                      <a:pt x="146" y="459"/>
                    </a:lnTo>
                    <a:lnTo>
                      <a:pt x="148" y="459"/>
                    </a:lnTo>
                    <a:lnTo>
                      <a:pt x="146" y="461"/>
                    </a:lnTo>
                    <a:lnTo>
                      <a:pt x="148" y="463"/>
                    </a:lnTo>
                    <a:lnTo>
                      <a:pt x="148" y="465"/>
                    </a:lnTo>
                    <a:lnTo>
                      <a:pt x="150" y="465"/>
                    </a:lnTo>
                    <a:lnTo>
                      <a:pt x="150" y="467"/>
                    </a:lnTo>
                    <a:lnTo>
                      <a:pt x="150" y="469"/>
                    </a:lnTo>
                    <a:lnTo>
                      <a:pt x="151" y="469"/>
                    </a:lnTo>
                    <a:lnTo>
                      <a:pt x="153" y="471"/>
                    </a:lnTo>
                    <a:lnTo>
                      <a:pt x="155" y="471"/>
                    </a:lnTo>
                    <a:lnTo>
                      <a:pt x="155" y="473"/>
                    </a:lnTo>
                    <a:lnTo>
                      <a:pt x="157" y="473"/>
                    </a:lnTo>
                    <a:lnTo>
                      <a:pt x="159" y="474"/>
                    </a:lnTo>
                    <a:lnTo>
                      <a:pt x="159" y="476"/>
                    </a:lnTo>
                    <a:lnTo>
                      <a:pt x="161" y="476"/>
                    </a:lnTo>
                    <a:lnTo>
                      <a:pt x="161" y="474"/>
                    </a:lnTo>
                    <a:lnTo>
                      <a:pt x="163" y="474"/>
                    </a:lnTo>
                    <a:lnTo>
                      <a:pt x="163" y="473"/>
                    </a:lnTo>
                    <a:lnTo>
                      <a:pt x="165" y="473"/>
                    </a:lnTo>
                    <a:lnTo>
                      <a:pt x="165" y="474"/>
                    </a:lnTo>
                    <a:lnTo>
                      <a:pt x="165" y="473"/>
                    </a:lnTo>
                    <a:lnTo>
                      <a:pt x="167" y="473"/>
                    </a:lnTo>
                    <a:lnTo>
                      <a:pt x="165" y="473"/>
                    </a:lnTo>
                    <a:lnTo>
                      <a:pt x="167" y="473"/>
                    </a:lnTo>
                    <a:lnTo>
                      <a:pt x="167" y="471"/>
                    </a:lnTo>
                    <a:lnTo>
                      <a:pt x="165" y="469"/>
                    </a:lnTo>
                    <a:lnTo>
                      <a:pt x="167" y="469"/>
                    </a:lnTo>
                    <a:lnTo>
                      <a:pt x="165" y="469"/>
                    </a:lnTo>
                    <a:lnTo>
                      <a:pt x="167" y="469"/>
                    </a:lnTo>
                    <a:lnTo>
                      <a:pt x="165" y="467"/>
                    </a:lnTo>
                    <a:lnTo>
                      <a:pt x="167" y="467"/>
                    </a:lnTo>
                    <a:lnTo>
                      <a:pt x="165" y="467"/>
                    </a:lnTo>
                    <a:lnTo>
                      <a:pt x="167" y="467"/>
                    </a:lnTo>
                    <a:lnTo>
                      <a:pt x="167" y="465"/>
                    </a:lnTo>
                    <a:lnTo>
                      <a:pt x="165" y="465"/>
                    </a:lnTo>
                    <a:lnTo>
                      <a:pt x="167" y="465"/>
                    </a:lnTo>
                    <a:lnTo>
                      <a:pt x="165" y="465"/>
                    </a:lnTo>
                    <a:lnTo>
                      <a:pt x="165" y="463"/>
                    </a:lnTo>
                    <a:lnTo>
                      <a:pt x="163" y="463"/>
                    </a:lnTo>
                    <a:lnTo>
                      <a:pt x="161" y="461"/>
                    </a:lnTo>
                    <a:lnTo>
                      <a:pt x="163" y="459"/>
                    </a:lnTo>
                    <a:lnTo>
                      <a:pt x="161" y="459"/>
                    </a:lnTo>
                    <a:lnTo>
                      <a:pt x="161" y="457"/>
                    </a:lnTo>
                    <a:lnTo>
                      <a:pt x="163" y="457"/>
                    </a:lnTo>
                    <a:lnTo>
                      <a:pt x="161" y="457"/>
                    </a:lnTo>
                    <a:lnTo>
                      <a:pt x="163" y="457"/>
                    </a:lnTo>
                    <a:lnTo>
                      <a:pt x="161" y="455"/>
                    </a:lnTo>
                    <a:lnTo>
                      <a:pt x="163" y="455"/>
                    </a:lnTo>
                    <a:lnTo>
                      <a:pt x="163" y="453"/>
                    </a:lnTo>
                    <a:lnTo>
                      <a:pt x="163" y="451"/>
                    </a:lnTo>
                    <a:lnTo>
                      <a:pt x="163" y="449"/>
                    </a:lnTo>
                    <a:lnTo>
                      <a:pt x="161" y="449"/>
                    </a:lnTo>
                    <a:lnTo>
                      <a:pt x="163" y="448"/>
                    </a:lnTo>
                    <a:lnTo>
                      <a:pt x="161" y="448"/>
                    </a:lnTo>
                    <a:lnTo>
                      <a:pt x="161" y="446"/>
                    </a:lnTo>
                    <a:lnTo>
                      <a:pt x="161" y="444"/>
                    </a:lnTo>
                    <a:lnTo>
                      <a:pt x="163" y="444"/>
                    </a:lnTo>
                    <a:lnTo>
                      <a:pt x="165" y="446"/>
                    </a:lnTo>
                    <a:lnTo>
                      <a:pt x="167" y="444"/>
                    </a:lnTo>
                    <a:lnTo>
                      <a:pt x="167" y="442"/>
                    </a:lnTo>
                    <a:lnTo>
                      <a:pt x="167" y="440"/>
                    </a:lnTo>
                    <a:lnTo>
                      <a:pt x="169" y="440"/>
                    </a:lnTo>
                    <a:lnTo>
                      <a:pt x="171" y="438"/>
                    </a:lnTo>
                    <a:lnTo>
                      <a:pt x="171" y="436"/>
                    </a:lnTo>
                    <a:lnTo>
                      <a:pt x="171" y="434"/>
                    </a:lnTo>
                    <a:lnTo>
                      <a:pt x="171" y="432"/>
                    </a:lnTo>
                    <a:lnTo>
                      <a:pt x="169" y="430"/>
                    </a:lnTo>
                    <a:lnTo>
                      <a:pt x="169" y="428"/>
                    </a:lnTo>
                    <a:lnTo>
                      <a:pt x="171" y="426"/>
                    </a:lnTo>
                    <a:lnTo>
                      <a:pt x="173" y="424"/>
                    </a:lnTo>
                    <a:lnTo>
                      <a:pt x="173" y="423"/>
                    </a:lnTo>
                    <a:lnTo>
                      <a:pt x="175" y="423"/>
                    </a:lnTo>
                    <a:lnTo>
                      <a:pt x="175" y="421"/>
                    </a:lnTo>
                    <a:lnTo>
                      <a:pt x="176" y="421"/>
                    </a:lnTo>
                    <a:lnTo>
                      <a:pt x="176" y="419"/>
                    </a:lnTo>
                    <a:lnTo>
                      <a:pt x="178" y="419"/>
                    </a:lnTo>
                    <a:lnTo>
                      <a:pt x="180" y="419"/>
                    </a:lnTo>
                    <a:lnTo>
                      <a:pt x="182" y="419"/>
                    </a:lnTo>
                    <a:lnTo>
                      <a:pt x="182" y="417"/>
                    </a:lnTo>
                    <a:lnTo>
                      <a:pt x="182" y="415"/>
                    </a:lnTo>
                    <a:lnTo>
                      <a:pt x="184" y="413"/>
                    </a:lnTo>
                    <a:lnTo>
                      <a:pt x="184" y="411"/>
                    </a:lnTo>
                    <a:lnTo>
                      <a:pt x="186" y="411"/>
                    </a:lnTo>
                    <a:lnTo>
                      <a:pt x="186" y="409"/>
                    </a:lnTo>
                    <a:lnTo>
                      <a:pt x="184" y="409"/>
                    </a:lnTo>
                    <a:lnTo>
                      <a:pt x="186" y="409"/>
                    </a:lnTo>
                    <a:lnTo>
                      <a:pt x="184" y="409"/>
                    </a:lnTo>
                    <a:lnTo>
                      <a:pt x="184" y="407"/>
                    </a:lnTo>
                    <a:lnTo>
                      <a:pt x="186" y="407"/>
                    </a:lnTo>
                    <a:lnTo>
                      <a:pt x="186" y="405"/>
                    </a:lnTo>
                    <a:lnTo>
                      <a:pt x="188" y="405"/>
                    </a:lnTo>
                    <a:lnTo>
                      <a:pt x="188" y="403"/>
                    </a:lnTo>
                    <a:lnTo>
                      <a:pt x="190" y="403"/>
                    </a:lnTo>
                    <a:lnTo>
                      <a:pt x="192" y="403"/>
                    </a:lnTo>
                    <a:lnTo>
                      <a:pt x="192" y="401"/>
                    </a:lnTo>
                    <a:lnTo>
                      <a:pt x="194" y="401"/>
                    </a:lnTo>
                    <a:lnTo>
                      <a:pt x="196" y="401"/>
                    </a:lnTo>
                    <a:lnTo>
                      <a:pt x="198" y="401"/>
                    </a:lnTo>
                    <a:lnTo>
                      <a:pt x="198" y="399"/>
                    </a:lnTo>
                    <a:lnTo>
                      <a:pt x="200" y="399"/>
                    </a:lnTo>
                    <a:lnTo>
                      <a:pt x="200" y="398"/>
                    </a:lnTo>
                    <a:lnTo>
                      <a:pt x="201" y="398"/>
                    </a:lnTo>
                    <a:lnTo>
                      <a:pt x="201" y="396"/>
                    </a:lnTo>
                    <a:lnTo>
                      <a:pt x="203" y="396"/>
                    </a:lnTo>
                    <a:lnTo>
                      <a:pt x="203" y="394"/>
                    </a:lnTo>
                    <a:lnTo>
                      <a:pt x="203" y="392"/>
                    </a:lnTo>
                    <a:lnTo>
                      <a:pt x="203" y="390"/>
                    </a:lnTo>
                    <a:lnTo>
                      <a:pt x="205" y="390"/>
                    </a:lnTo>
                    <a:lnTo>
                      <a:pt x="205" y="388"/>
                    </a:lnTo>
                    <a:lnTo>
                      <a:pt x="207" y="388"/>
                    </a:lnTo>
                    <a:lnTo>
                      <a:pt x="207" y="386"/>
                    </a:lnTo>
                    <a:lnTo>
                      <a:pt x="209" y="386"/>
                    </a:lnTo>
                    <a:lnTo>
                      <a:pt x="209" y="384"/>
                    </a:lnTo>
                    <a:lnTo>
                      <a:pt x="209" y="386"/>
                    </a:lnTo>
                    <a:lnTo>
                      <a:pt x="209" y="384"/>
                    </a:lnTo>
                    <a:lnTo>
                      <a:pt x="211" y="384"/>
                    </a:lnTo>
                    <a:lnTo>
                      <a:pt x="211" y="382"/>
                    </a:lnTo>
                    <a:lnTo>
                      <a:pt x="211" y="380"/>
                    </a:lnTo>
                    <a:lnTo>
                      <a:pt x="211" y="378"/>
                    </a:lnTo>
                    <a:lnTo>
                      <a:pt x="209" y="376"/>
                    </a:lnTo>
                    <a:lnTo>
                      <a:pt x="209" y="374"/>
                    </a:lnTo>
                    <a:lnTo>
                      <a:pt x="209" y="373"/>
                    </a:lnTo>
                    <a:lnTo>
                      <a:pt x="207" y="371"/>
                    </a:lnTo>
                    <a:lnTo>
                      <a:pt x="207" y="369"/>
                    </a:lnTo>
                    <a:lnTo>
                      <a:pt x="205" y="369"/>
                    </a:lnTo>
                    <a:lnTo>
                      <a:pt x="205" y="367"/>
                    </a:lnTo>
                    <a:lnTo>
                      <a:pt x="205" y="365"/>
                    </a:lnTo>
                    <a:lnTo>
                      <a:pt x="205" y="363"/>
                    </a:lnTo>
                    <a:lnTo>
                      <a:pt x="203" y="361"/>
                    </a:lnTo>
                    <a:lnTo>
                      <a:pt x="203" y="359"/>
                    </a:lnTo>
                    <a:lnTo>
                      <a:pt x="205" y="357"/>
                    </a:lnTo>
                    <a:lnTo>
                      <a:pt x="205" y="355"/>
                    </a:lnTo>
                    <a:lnTo>
                      <a:pt x="207" y="353"/>
                    </a:lnTo>
                    <a:lnTo>
                      <a:pt x="209" y="351"/>
                    </a:lnTo>
                    <a:lnTo>
                      <a:pt x="211" y="351"/>
                    </a:lnTo>
                    <a:lnTo>
                      <a:pt x="213" y="351"/>
                    </a:lnTo>
                    <a:lnTo>
                      <a:pt x="215" y="351"/>
                    </a:lnTo>
                    <a:lnTo>
                      <a:pt x="217" y="351"/>
                    </a:lnTo>
                    <a:lnTo>
                      <a:pt x="217" y="350"/>
                    </a:lnTo>
                    <a:lnTo>
                      <a:pt x="217" y="348"/>
                    </a:lnTo>
                    <a:lnTo>
                      <a:pt x="219" y="346"/>
                    </a:lnTo>
                    <a:lnTo>
                      <a:pt x="221" y="346"/>
                    </a:lnTo>
                    <a:lnTo>
                      <a:pt x="223" y="344"/>
                    </a:lnTo>
                    <a:lnTo>
                      <a:pt x="223" y="346"/>
                    </a:lnTo>
                    <a:lnTo>
                      <a:pt x="226" y="348"/>
                    </a:lnTo>
                    <a:lnTo>
                      <a:pt x="226" y="346"/>
                    </a:lnTo>
                    <a:lnTo>
                      <a:pt x="228" y="344"/>
                    </a:lnTo>
                    <a:lnTo>
                      <a:pt x="230" y="346"/>
                    </a:lnTo>
                    <a:lnTo>
                      <a:pt x="232" y="346"/>
                    </a:lnTo>
                    <a:lnTo>
                      <a:pt x="232" y="348"/>
                    </a:lnTo>
                    <a:lnTo>
                      <a:pt x="230" y="348"/>
                    </a:lnTo>
                    <a:lnTo>
                      <a:pt x="228" y="348"/>
                    </a:lnTo>
                    <a:lnTo>
                      <a:pt x="228" y="350"/>
                    </a:lnTo>
                    <a:lnTo>
                      <a:pt x="230" y="351"/>
                    </a:lnTo>
                    <a:lnTo>
                      <a:pt x="230" y="353"/>
                    </a:lnTo>
                    <a:lnTo>
                      <a:pt x="232" y="353"/>
                    </a:lnTo>
                    <a:lnTo>
                      <a:pt x="232" y="355"/>
                    </a:lnTo>
                    <a:lnTo>
                      <a:pt x="232" y="357"/>
                    </a:lnTo>
                    <a:lnTo>
                      <a:pt x="234" y="357"/>
                    </a:lnTo>
                    <a:lnTo>
                      <a:pt x="234" y="359"/>
                    </a:lnTo>
                    <a:lnTo>
                      <a:pt x="234" y="361"/>
                    </a:lnTo>
                    <a:lnTo>
                      <a:pt x="236" y="361"/>
                    </a:lnTo>
                    <a:lnTo>
                      <a:pt x="236" y="363"/>
                    </a:lnTo>
                    <a:lnTo>
                      <a:pt x="238" y="363"/>
                    </a:lnTo>
                    <a:lnTo>
                      <a:pt x="240" y="363"/>
                    </a:lnTo>
                    <a:lnTo>
                      <a:pt x="240" y="365"/>
                    </a:lnTo>
                    <a:lnTo>
                      <a:pt x="240" y="363"/>
                    </a:lnTo>
                    <a:lnTo>
                      <a:pt x="240" y="365"/>
                    </a:lnTo>
                    <a:lnTo>
                      <a:pt x="242" y="363"/>
                    </a:lnTo>
                    <a:lnTo>
                      <a:pt x="242" y="365"/>
                    </a:lnTo>
                    <a:lnTo>
                      <a:pt x="242" y="367"/>
                    </a:lnTo>
                    <a:lnTo>
                      <a:pt x="242" y="369"/>
                    </a:lnTo>
                    <a:lnTo>
                      <a:pt x="242" y="367"/>
                    </a:lnTo>
                    <a:lnTo>
                      <a:pt x="242" y="369"/>
                    </a:lnTo>
                    <a:lnTo>
                      <a:pt x="244" y="367"/>
                    </a:lnTo>
                    <a:lnTo>
                      <a:pt x="246" y="367"/>
                    </a:lnTo>
                    <a:lnTo>
                      <a:pt x="246" y="369"/>
                    </a:lnTo>
                    <a:lnTo>
                      <a:pt x="248" y="369"/>
                    </a:lnTo>
                    <a:lnTo>
                      <a:pt x="249" y="369"/>
                    </a:lnTo>
                    <a:lnTo>
                      <a:pt x="249" y="367"/>
                    </a:lnTo>
                    <a:lnTo>
                      <a:pt x="251" y="367"/>
                    </a:lnTo>
                    <a:lnTo>
                      <a:pt x="251" y="369"/>
                    </a:lnTo>
                    <a:lnTo>
                      <a:pt x="253" y="369"/>
                    </a:lnTo>
                    <a:lnTo>
                      <a:pt x="253" y="371"/>
                    </a:lnTo>
                    <a:lnTo>
                      <a:pt x="251" y="371"/>
                    </a:lnTo>
                    <a:lnTo>
                      <a:pt x="253" y="373"/>
                    </a:lnTo>
                    <a:lnTo>
                      <a:pt x="253" y="374"/>
                    </a:lnTo>
                    <a:lnTo>
                      <a:pt x="253" y="376"/>
                    </a:lnTo>
                    <a:lnTo>
                      <a:pt x="253" y="378"/>
                    </a:lnTo>
                    <a:lnTo>
                      <a:pt x="253" y="380"/>
                    </a:lnTo>
                    <a:lnTo>
                      <a:pt x="255" y="380"/>
                    </a:lnTo>
                    <a:lnTo>
                      <a:pt x="255" y="378"/>
                    </a:lnTo>
                    <a:lnTo>
                      <a:pt x="255" y="376"/>
                    </a:lnTo>
                    <a:lnTo>
                      <a:pt x="257" y="376"/>
                    </a:lnTo>
                    <a:lnTo>
                      <a:pt x="259" y="376"/>
                    </a:lnTo>
                    <a:lnTo>
                      <a:pt x="261" y="376"/>
                    </a:lnTo>
                    <a:lnTo>
                      <a:pt x="261" y="374"/>
                    </a:lnTo>
                    <a:lnTo>
                      <a:pt x="261" y="376"/>
                    </a:lnTo>
                    <a:lnTo>
                      <a:pt x="261" y="378"/>
                    </a:lnTo>
                    <a:lnTo>
                      <a:pt x="263" y="378"/>
                    </a:lnTo>
                    <a:lnTo>
                      <a:pt x="263" y="380"/>
                    </a:lnTo>
                    <a:lnTo>
                      <a:pt x="265" y="380"/>
                    </a:lnTo>
                    <a:lnTo>
                      <a:pt x="265" y="378"/>
                    </a:lnTo>
                    <a:lnTo>
                      <a:pt x="267" y="378"/>
                    </a:lnTo>
                    <a:lnTo>
                      <a:pt x="267" y="380"/>
                    </a:lnTo>
                    <a:lnTo>
                      <a:pt x="267" y="382"/>
                    </a:lnTo>
                    <a:lnTo>
                      <a:pt x="269" y="384"/>
                    </a:lnTo>
                    <a:lnTo>
                      <a:pt x="269" y="386"/>
                    </a:lnTo>
                    <a:lnTo>
                      <a:pt x="271" y="386"/>
                    </a:lnTo>
                    <a:lnTo>
                      <a:pt x="273" y="384"/>
                    </a:lnTo>
                    <a:lnTo>
                      <a:pt x="274" y="384"/>
                    </a:lnTo>
                    <a:lnTo>
                      <a:pt x="274" y="382"/>
                    </a:lnTo>
                    <a:lnTo>
                      <a:pt x="274" y="384"/>
                    </a:lnTo>
                    <a:lnTo>
                      <a:pt x="276" y="384"/>
                    </a:lnTo>
                    <a:lnTo>
                      <a:pt x="276" y="382"/>
                    </a:lnTo>
                    <a:lnTo>
                      <a:pt x="278" y="382"/>
                    </a:lnTo>
                    <a:lnTo>
                      <a:pt x="278" y="380"/>
                    </a:lnTo>
                    <a:lnTo>
                      <a:pt x="280" y="380"/>
                    </a:lnTo>
                    <a:lnTo>
                      <a:pt x="282" y="380"/>
                    </a:lnTo>
                    <a:lnTo>
                      <a:pt x="282" y="378"/>
                    </a:lnTo>
                    <a:lnTo>
                      <a:pt x="282" y="376"/>
                    </a:lnTo>
                    <a:lnTo>
                      <a:pt x="280" y="376"/>
                    </a:lnTo>
                    <a:lnTo>
                      <a:pt x="280" y="374"/>
                    </a:lnTo>
                    <a:lnTo>
                      <a:pt x="278" y="373"/>
                    </a:lnTo>
                    <a:lnTo>
                      <a:pt x="278" y="371"/>
                    </a:lnTo>
                    <a:lnTo>
                      <a:pt x="278" y="369"/>
                    </a:lnTo>
                    <a:lnTo>
                      <a:pt x="280" y="367"/>
                    </a:lnTo>
                    <a:lnTo>
                      <a:pt x="282" y="365"/>
                    </a:lnTo>
                    <a:lnTo>
                      <a:pt x="282" y="363"/>
                    </a:lnTo>
                    <a:lnTo>
                      <a:pt x="282" y="361"/>
                    </a:lnTo>
                    <a:lnTo>
                      <a:pt x="284" y="361"/>
                    </a:lnTo>
                    <a:lnTo>
                      <a:pt x="286" y="359"/>
                    </a:lnTo>
                    <a:lnTo>
                      <a:pt x="286" y="357"/>
                    </a:lnTo>
                    <a:lnTo>
                      <a:pt x="288" y="357"/>
                    </a:lnTo>
                    <a:lnTo>
                      <a:pt x="288" y="355"/>
                    </a:lnTo>
                    <a:lnTo>
                      <a:pt x="290" y="355"/>
                    </a:lnTo>
                    <a:lnTo>
                      <a:pt x="292" y="353"/>
                    </a:lnTo>
                    <a:lnTo>
                      <a:pt x="294" y="353"/>
                    </a:lnTo>
                    <a:lnTo>
                      <a:pt x="294" y="351"/>
                    </a:lnTo>
                    <a:lnTo>
                      <a:pt x="294" y="350"/>
                    </a:lnTo>
                    <a:lnTo>
                      <a:pt x="294" y="348"/>
                    </a:lnTo>
                    <a:lnTo>
                      <a:pt x="292" y="348"/>
                    </a:lnTo>
                    <a:lnTo>
                      <a:pt x="292" y="346"/>
                    </a:lnTo>
                    <a:lnTo>
                      <a:pt x="294" y="346"/>
                    </a:lnTo>
                    <a:lnTo>
                      <a:pt x="294" y="344"/>
                    </a:lnTo>
                    <a:lnTo>
                      <a:pt x="292" y="344"/>
                    </a:lnTo>
                    <a:lnTo>
                      <a:pt x="292" y="342"/>
                    </a:lnTo>
                    <a:lnTo>
                      <a:pt x="292" y="340"/>
                    </a:lnTo>
                    <a:lnTo>
                      <a:pt x="290" y="340"/>
                    </a:lnTo>
                    <a:lnTo>
                      <a:pt x="288" y="340"/>
                    </a:lnTo>
                    <a:lnTo>
                      <a:pt x="288" y="338"/>
                    </a:lnTo>
                    <a:lnTo>
                      <a:pt x="288" y="336"/>
                    </a:lnTo>
                    <a:lnTo>
                      <a:pt x="290" y="334"/>
                    </a:lnTo>
                    <a:lnTo>
                      <a:pt x="288" y="332"/>
                    </a:lnTo>
                    <a:lnTo>
                      <a:pt x="288" y="330"/>
                    </a:lnTo>
                    <a:lnTo>
                      <a:pt x="288" y="328"/>
                    </a:lnTo>
                    <a:lnTo>
                      <a:pt x="286" y="328"/>
                    </a:lnTo>
                    <a:lnTo>
                      <a:pt x="286" y="326"/>
                    </a:lnTo>
                    <a:lnTo>
                      <a:pt x="284" y="326"/>
                    </a:lnTo>
                    <a:lnTo>
                      <a:pt x="282" y="328"/>
                    </a:lnTo>
                    <a:lnTo>
                      <a:pt x="280" y="328"/>
                    </a:lnTo>
                    <a:lnTo>
                      <a:pt x="280" y="326"/>
                    </a:lnTo>
                    <a:lnTo>
                      <a:pt x="278" y="325"/>
                    </a:lnTo>
                    <a:lnTo>
                      <a:pt x="276" y="323"/>
                    </a:lnTo>
                    <a:lnTo>
                      <a:pt x="276" y="321"/>
                    </a:lnTo>
                    <a:lnTo>
                      <a:pt x="276" y="319"/>
                    </a:lnTo>
                    <a:lnTo>
                      <a:pt x="274" y="319"/>
                    </a:lnTo>
                    <a:lnTo>
                      <a:pt x="274" y="317"/>
                    </a:lnTo>
                    <a:lnTo>
                      <a:pt x="273" y="317"/>
                    </a:lnTo>
                    <a:lnTo>
                      <a:pt x="274" y="315"/>
                    </a:lnTo>
                    <a:lnTo>
                      <a:pt x="273" y="315"/>
                    </a:lnTo>
                    <a:lnTo>
                      <a:pt x="273" y="313"/>
                    </a:lnTo>
                    <a:lnTo>
                      <a:pt x="274" y="313"/>
                    </a:lnTo>
                    <a:lnTo>
                      <a:pt x="274" y="311"/>
                    </a:lnTo>
                    <a:lnTo>
                      <a:pt x="274" y="309"/>
                    </a:lnTo>
                    <a:lnTo>
                      <a:pt x="276" y="309"/>
                    </a:lnTo>
                    <a:lnTo>
                      <a:pt x="274" y="309"/>
                    </a:lnTo>
                    <a:lnTo>
                      <a:pt x="276" y="307"/>
                    </a:lnTo>
                    <a:lnTo>
                      <a:pt x="278" y="307"/>
                    </a:lnTo>
                    <a:lnTo>
                      <a:pt x="280" y="307"/>
                    </a:lnTo>
                    <a:lnTo>
                      <a:pt x="280" y="305"/>
                    </a:lnTo>
                    <a:lnTo>
                      <a:pt x="278" y="305"/>
                    </a:lnTo>
                    <a:lnTo>
                      <a:pt x="280" y="305"/>
                    </a:lnTo>
                    <a:lnTo>
                      <a:pt x="278" y="303"/>
                    </a:lnTo>
                    <a:lnTo>
                      <a:pt x="278" y="301"/>
                    </a:lnTo>
                    <a:lnTo>
                      <a:pt x="278" y="303"/>
                    </a:lnTo>
                    <a:lnTo>
                      <a:pt x="280" y="301"/>
                    </a:lnTo>
                    <a:lnTo>
                      <a:pt x="280" y="300"/>
                    </a:lnTo>
                    <a:lnTo>
                      <a:pt x="280" y="301"/>
                    </a:lnTo>
                    <a:lnTo>
                      <a:pt x="282" y="301"/>
                    </a:lnTo>
                    <a:lnTo>
                      <a:pt x="282" y="300"/>
                    </a:lnTo>
                    <a:lnTo>
                      <a:pt x="284" y="300"/>
                    </a:lnTo>
                    <a:lnTo>
                      <a:pt x="282" y="300"/>
                    </a:lnTo>
                    <a:lnTo>
                      <a:pt x="284" y="300"/>
                    </a:lnTo>
                    <a:lnTo>
                      <a:pt x="284" y="301"/>
                    </a:lnTo>
                    <a:lnTo>
                      <a:pt x="286" y="300"/>
                    </a:lnTo>
                    <a:lnTo>
                      <a:pt x="286" y="301"/>
                    </a:lnTo>
                    <a:lnTo>
                      <a:pt x="288" y="301"/>
                    </a:lnTo>
                    <a:lnTo>
                      <a:pt x="290" y="301"/>
                    </a:lnTo>
                    <a:lnTo>
                      <a:pt x="292" y="300"/>
                    </a:lnTo>
                    <a:lnTo>
                      <a:pt x="292" y="301"/>
                    </a:lnTo>
                    <a:lnTo>
                      <a:pt x="292" y="300"/>
                    </a:lnTo>
                    <a:lnTo>
                      <a:pt x="292" y="301"/>
                    </a:lnTo>
                    <a:lnTo>
                      <a:pt x="294" y="301"/>
                    </a:lnTo>
                    <a:lnTo>
                      <a:pt x="292" y="301"/>
                    </a:lnTo>
                    <a:lnTo>
                      <a:pt x="294" y="301"/>
                    </a:lnTo>
                    <a:lnTo>
                      <a:pt x="294" y="300"/>
                    </a:lnTo>
                    <a:lnTo>
                      <a:pt x="292" y="300"/>
                    </a:lnTo>
                    <a:lnTo>
                      <a:pt x="294" y="300"/>
                    </a:lnTo>
                    <a:lnTo>
                      <a:pt x="292" y="300"/>
                    </a:lnTo>
                    <a:lnTo>
                      <a:pt x="292" y="298"/>
                    </a:lnTo>
                    <a:lnTo>
                      <a:pt x="290" y="296"/>
                    </a:lnTo>
                    <a:lnTo>
                      <a:pt x="292" y="296"/>
                    </a:lnTo>
                    <a:lnTo>
                      <a:pt x="290" y="296"/>
                    </a:lnTo>
                    <a:lnTo>
                      <a:pt x="290" y="294"/>
                    </a:lnTo>
                    <a:lnTo>
                      <a:pt x="290" y="292"/>
                    </a:lnTo>
                    <a:lnTo>
                      <a:pt x="292" y="292"/>
                    </a:lnTo>
                    <a:lnTo>
                      <a:pt x="292" y="290"/>
                    </a:lnTo>
                    <a:lnTo>
                      <a:pt x="292" y="288"/>
                    </a:lnTo>
                    <a:lnTo>
                      <a:pt x="292" y="286"/>
                    </a:lnTo>
                    <a:lnTo>
                      <a:pt x="290" y="286"/>
                    </a:lnTo>
                    <a:lnTo>
                      <a:pt x="290" y="284"/>
                    </a:lnTo>
                    <a:lnTo>
                      <a:pt x="290" y="282"/>
                    </a:lnTo>
                    <a:lnTo>
                      <a:pt x="290" y="280"/>
                    </a:lnTo>
                    <a:lnTo>
                      <a:pt x="290" y="278"/>
                    </a:lnTo>
                    <a:lnTo>
                      <a:pt x="290" y="276"/>
                    </a:lnTo>
                    <a:lnTo>
                      <a:pt x="292" y="276"/>
                    </a:lnTo>
                    <a:lnTo>
                      <a:pt x="290" y="276"/>
                    </a:lnTo>
                    <a:lnTo>
                      <a:pt x="290" y="275"/>
                    </a:lnTo>
                    <a:lnTo>
                      <a:pt x="288" y="275"/>
                    </a:lnTo>
                    <a:lnTo>
                      <a:pt x="288" y="273"/>
                    </a:lnTo>
                    <a:lnTo>
                      <a:pt x="286" y="273"/>
                    </a:lnTo>
                    <a:lnTo>
                      <a:pt x="286" y="275"/>
                    </a:lnTo>
                    <a:lnTo>
                      <a:pt x="288" y="275"/>
                    </a:lnTo>
                    <a:lnTo>
                      <a:pt x="286" y="275"/>
                    </a:lnTo>
                    <a:lnTo>
                      <a:pt x="286" y="273"/>
                    </a:lnTo>
                    <a:lnTo>
                      <a:pt x="286" y="271"/>
                    </a:lnTo>
                    <a:lnTo>
                      <a:pt x="284" y="273"/>
                    </a:lnTo>
                    <a:lnTo>
                      <a:pt x="282" y="273"/>
                    </a:lnTo>
                    <a:lnTo>
                      <a:pt x="280" y="273"/>
                    </a:lnTo>
                    <a:lnTo>
                      <a:pt x="278" y="273"/>
                    </a:lnTo>
                    <a:lnTo>
                      <a:pt x="276" y="273"/>
                    </a:lnTo>
                    <a:lnTo>
                      <a:pt x="274" y="273"/>
                    </a:lnTo>
                    <a:lnTo>
                      <a:pt x="273" y="273"/>
                    </a:lnTo>
                    <a:lnTo>
                      <a:pt x="271" y="273"/>
                    </a:lnTo>
                    <a:lnTo>
                      <a:pt x="271" y="271"/>
                    </a:lnTo>
                    <a:lnTo>
                      <a:pt x="271" y="269"/>
                    </a:lnTo>
                    <a:lnTo>
                      <a:pt x="271" y="271"/>
                    </a:lnTo>
                    <a:lnTo>
                      <a:pt x="271" y="269"/>
                    </a:lnTo>
                    <a:lnTo>
                      <a:pt x="269" y="269"/>
                    </a:lnTo>
                    <a:lnTo>
                      <a:pt x="271" y="269"/>
                    </a:lnTo>
                    <a:lnTo>
                      <a:pt x="269" y="269"/>
                    </a:lnTo>
                    <a:lnTo>
                      <a:pt x="269" y="267"/>
                    </a:lnTo>
                    <a:lnTo>
                      <a:pt x="267" y="267"/>
                    </a:lnTo>
                    <a:lnTo>
                      <a:pt x="265" y="267"/>
                    </a:lnTo>
                    <a:lnTo>
                      <a:pt x="265" y="265"/>
                    </a:lnTo>
                    <a:lnTo>
                      <a:pt x="263" y="265"/>
                    </a:lnTo>
                    <a:lnTo>
                      <a:pt x="265" y="265"/>
                    </a:lnTo>
                    <a:lnTo>
                      <a:pt x="263" y="265"/>
                    </a:lnTo>
                    <a:lnTo>
                      <a:pt x="265" y="265"/>
                    </a:lnTo>
                    <a:lnTo>
                      <a:pt x="265" y="263"/>
                    </a:lnTo>
                    <a:lnTo>
                      <a:pt x="263" y="263"/>
                    </a:lnTo>
                    <a:lnTo>
                      <a:pt x="263" y="261"/>
                    </a:lnTo>
                    <a:lnTo>
                      <a:pt x="263" y="259"/>
                    </a:lnTo>
                    <a:lnTo>
                      <a:pt x="263" y="257"/>
                    </a:lnTo>
                    <a:lnTo>
                      <a:pt x="261" y="257"/>
                    </a:lnTo>
                    <a:lnTo>
                      <a:pt x="261" y="255"/>
                    </a:lnTo>
                    <a:lnTo>
                      <a:pt x="259" y="255"/>
                    </a:lnTo>
                    <a:lnTo>
                      <a:pt x="259" y="253"/>
                    </a:lnTo>
                    <a:lnTo>
                      <a:pt x="259" y="251"/>
                    </a:lnTo>
                    <a:lnTo>
                      <a:pt x="259" y="250"/>
                    </a:lnTo>
                    <a:lnTo>
                      <a:pt x="259" y="248"/>
                    </a:lnTo>
                    <a:lnTo>
                      <a:pt x="261" y="248"/>
                    </a:lnTo>
                    <a:lnTo>
                      <a:pt x="261" y="246"/>
                    </a:lnTo>
                    <a:lnTo>
                      <a:pt x="261" y="244"/>
                    </a:lnTo>
                    <a:lnTo>
                      <a:pt x="259" y="244"/>
                    </a:lnTo>
                    <a:lnTo>
                      <a:pt x="259" y="242"/>
                    </a:lnTo>
                    <a:lnTo>
                      <a:pt x="257" y="242"/>
                    </a:lnTo>
                    <a:lnTo>
                      <a:pt x="257" y="240"/>
                    </a:lnTo>
                    <a:lnTo>
                      <a:pt x="255" y="240"/>
                    </a:lnTo>
                    <a:lnTo>
                      <a:pt x="255" y="238"/>
                    </a:lnTo>
                    <a:lnTo>
                      <a:pt x="257" y="236"/>
                    </a:lnTo>
                    <a:lnTo>
                      <a:pt x="259" y="236"/>
                    </a:lnTo>
                    <a:lnTo>
                      <a:pt x="261" y="236"/>
                    </a:lnTo>
                    <a:lnTo>
                      <a:pt x="261" y="234"/>
                    </a:lnTo>
                    <a:lnTo>
                      <a:pt x="261" y="232"/>
                    </a:lnTo>
                    <a:lnTo>
                      <a:pt x="259" y="232"/>
                    </a:lnTo>
                    <a:lnTo>
                      <a:pt x="259" y="230"/>
                    </a:lnTo>
                    <a:lnTo>
                      <a:pt x="259" y="228"/>
                    </a:lnTo>
                    <a:lnTo>
                      <a:pt x="259" y="226"/>
                    </a:lnTo>
                    <a:lnTo>
                      <a:pt x="259" y="225"/>
                    </a:lnTo>
                    <a:lnTo>
                      <a:pt x="259" y="223"/>
                    </a:lnTo>
                    <a:lnTo>
                      <a:pt x="261" y="221"/>
                    </a:lnTo>
                    <a:lnTo>
                      <a:pt x="261" y="219"/>
                    </a:lnTo>
                    <a:lnTo>
                      <a:pt x="263" y="219"/>
                    </a:lnTo>
                    <a:lnTo>
                      <a:pt x="263" y="217"/>
                    </a:lnTo>
                    <a:lnTo>
                      <a:pt x="265" y="217"/>
                    </a:lnTo>
                    <a:lnTo>
                      <a:pt x="265" y="215"/>
                    </a:lnTo>
                    <a:lnTo>
                      <a:pt x="267" y="213"/>
                    </a:lnTo>
                    <a:lnTo>
                      <a:pt x="267" y="215"/>
                    </a:lnTo>
                    <a:lnTo>
                      <a:pt x="267" y="213"/>
                    </a:lnTo>
                    <a:lnTo>
                      <a:pt x="269" y="215"/>
                    </a:lnTo>
                    <a:lnTo>
                      <a:pt x="269" y="213"/>
                    </a:lnTo>
                    <a:lnTo>
                      <a:pt x="271" y="215"/>
                    </a:lnTo>
                    <a:lnTo>
                      <a:pt x="271" y="213"/>
                    </a:lnTo>
                    <a:lnTo>
                      <a:pt x="271" y="211"/>
                    </a:lnTo>
                    <a:lnTo>
                      <a:pt x="269" y="211"/>
                    </a:lnTo>
                    <a:lnTo>
                      <a:pt x="269" y="209"/>
                    </a:lnTo>
                    <a:lnTo>
                      <a:pt x="267" y="207"/>
                    </a:lnTo>
                    <a:lnTo>
                      <a:pt x="267" y="205"/>
                    </a:lnTo>
                    <a:lnTo>
                      <a:pt x="265" y="205"/>
                    </a:lnTo>
                    <a:lnTo>
                      <a:pt x="263" y="205"/>
                    </a:lnTo>
                    <a:lnTo>
                      <a:pt x="261" y="203"/>
                    </a:lnTo>
                    <a:lnTo>
                      <a:pt x="263" y="203"/>
                    </a:lnTo>
                    <a:lnTo>
                      <a:pt x="265" y="203"/>
                    </a:lnTo>
                    <a:lnTo>
                      <a:pt x="265" y="201"/>
                    </a:lnTo>
                    <a:lnTo>
                      <a:pt x="267" y="200"/>
                    </a:lnTo>
                    <a:lnTo>
                      <a:pt x="269" y="200"/>
                    </a:lnTo>
                    <a:lnTo>
                      <a:pt x="271" y="200"/>
                    </a:lnTo>
                    <a:lnTo>
                      <a:pt x="273" y="198"/>
                    </a:lnTo>
                    <a:lnTo>
                      <a:pt x="274" y="198"/>
                    </a:lnTo>
                    <a:lnTo>
                      <a:pt x="276" y="198"/>
                    </a:lnTo>
                    <a:lnTo>
                      <a:pt x="276" y="196"/>
                    </a:lnTo>
                    <a:lnTo>
                      <a:pt x="274" y="196"/>
                    </a:lnTo>
                    <a:lnTo>
                      <a:pt x="276" y="194"/>
                    </a:lnTo>
                    <a:lnTo>
                      <a:pt x="276" y="192"/>
                    </a:lnTo>
                    <a:lnTo>
                      <a:pt x="276" y="190"/>
                    </a:lnTo>
                    <a:lnTo>
                      <a:pt x="278" y="190"/>
                    </a:lnTo>
                    <a:lnTo>
                      <a:pt x="278" y="188"/>
                    </a:lnTo>
                    <a:lnTo>
                      <a:pt x="280" y="188"/>
                    </a:lnTo>
                    <a:lnTo>
                      <a:pt x="282" y="186"/>
                    </a:lnTo>
                    <a:lnTo>
                      <a:pt x="284" y="186"/>
                    </a:lnTo>
                    <a:lnTo>
                      <a:pt x="284" y="184"/>
                    </a:lnTo>
                    <a:lnTo>
                      <a:pt x="284" y="182"/>
                    </a:lnTo>
                    <a:lnTo>
                      <a:pt x="286" y="180"/>
                    </a:lnTo>
                    <a:lnTo>
                      <a:pt x="288" y="180"/>
                    </a:lnTo>
                    <a:lnTo>
                      <a:pt x="290" y="182"/>
                    </a:lnTo>
                    <a:lnTo>
                      <a:pt x="290" y="180"/>
                    </a:lnTo>
                    <a:lnTo>
                      <a:pt x="292" y="178"/>
                    </a:lnTo>
                    <a:lnTo>
                      <a:pt x="294" y="178"/>
                    </a:lnTo>
                    <a:lnTo>
                      <a:pt x="294" y="176"/>
                    </a:lnTo>
                    <a:lnTo>
                      <a:pt x="294" y="175"/>
                    </a:lnTo>
                    <a:lnTo>
                      <a:pt x="292" y="173"/>
                    </a:lnTo>
                    <a:lnTo>
                      <a:pt x="292" y="171"/>
                    </a:lnTo>
                    <a:lnTo>
                      <a:pt x="290" y="169"/>
                    </a:lnTo>
                    <a:lnTo>
                      <a:pt x="292" y="169"/>
                    </a:lnTo>
                    <a:lnTo>
                      <a:pt x="292" y="167"/>
                    </a:lnTo>
                    <a:lnTo>
                      <a:pt x="292" y="165"/>
                    </a:lnTo>
                    <a:lnTo>
                      <a:pt x="294" y="165"/>
                    </a:lnTo>
                    <a:lnTo>
                      <a:pt x="294" y="163"/>
                    </a:lnTo>
                    <a:lnTo>
                      <a:pt x="296" y="161"/>
                    </a:lnTo>
                    <a:lnTo>
                      <a:pt x="296" y="159"/>
                    </a:lnTo>
                    <a:lnTo>
                      <a:pt x="297" y="159"/>
                    </a:lnTo>
                    <a:lnTo>
                      <a:pt x="299" y="159"/>
                    </a:lnTo>
                    <a:lnTo>
                      <a:pt x="299" y="157"/>
                    </a:lnTo>
                    <a:lnTo>
                      <a:pt x="299" y="155"/>
                    </a:lnTo>
                    <a:lnTo>
                      <a:pt x="301" y="155"/>
                    </a:lnTo>
                    <a:lnTo>
                      <a:pt x="301" y="153"/>
                    </a:lnTo>
                    <a:lnTo>
                      <a:pt x="301" y="155"/>
                    </a:lnTo>
                    <a:lnTo>
                      <a:pt x="301" y="153"/>
                    </a:lnTo>
                    <a:lnTo>
                      <a:pt x="303" y="153"/>
                    </a:lnTo>
                    <a:lnTo>
                      <a:pt x="303" y="151"/>
                    </a:lnTo>
                    <a:lnTo>
                      <a:pt x="303" y="150"/>
                    </a:lnTo>
                    <a:lnTo>
                      <a:pt x="303" y="148"/>
                    </a:lnTo>
                    <a:lnTo>
                      <a:pt x="303" y="146"/>
                    </a:lnTo>
                    <a:lnTo>
                      <a:pt x="303" y="144"/>
                    </a:lnTo>
                    <a:lnTo>
                      <a:pt x="303" y="142"/>
                    </a:lnTo>
                    <a:lnTo>
                      <a:pt x="303" y="140"/>
                    </a:lnTo>
                    <a:lnTo>
                      <a:pt x="301" y="140"/>
                    </a:lnTo>
                    <a:lnTo>
                      <a:pt x="301" y="138"/>
                    </a:lnTo>
                    <a:lnTo>
                      <a:pt x="299" y="138"/>
                    </a:lnTo>
                    <a:lnTo>
                      <a:pt x="301" y="138"/>
                    </a:lnTo>
                    <a:lnTo>
                      <a:pt x="301" y="136"/>
                    </a:lnTo>
                    <a:lnTo>
                      <a:pt x="303" y="134"/>
                    </a:lnTo>
                    <a:lnTo>
                      <a:pt x="303" y="132"/>
                    </a:lnTo>
                    <a:lnTo>
                      <a:pt x="301" y="132"/>
                    </a:lnTo>
                    <a:lnTo>
                      <a:pt x="301" y="130"/>
                    </a:lnTo>
                    <a:lnTo>
                      <a:pt x="303" y="130"/>
                    </a:lnTo>
                    <a:lnTo>
                      <a:pt x="305" y="130"/>
                    </a:lnTo>
                    <a:lnTo>
                      <a:pt x="305" y="128"/>
                    </a:lnTo>
                    <a:lnTo>
                      <a:pt x="307" y="126"/>
                    </a:lnTo>
                    <a:lnTo>
                      <a:pt x="307" y="125"/>
                    </a:lnTo>
                    <a:lnTo>
                      <a:pt x="311" y="125"/>
                    </a:lnTo>
                    <a:lnTo>
                      <a:pt x="311" y="123"/>
                    </a:lnTo>
                    <a:lnTo>
                      <a:pt x="309" y="123"/>
                    </a:lnTo>
                    <a:lnTo>
                      <a:pt x="309" y="121"/>
                    </a:lnTo>
                    <a:lnTo>
                      <a:pt x="309" y="119"/>
                    </a:lnTo>
                    <a:lnTo>
                      <a:pt x="307" y="119"/>
                    </a:lnTo>
                    <a:lnTo>
                      <a:pt x="309" y="117"/>
                    </a:lnTo>
                    <a:lnTo>
                      <a:pt x="311" y="117"/>
                    </a:lnTo>
                    <a:lnTo>
                      <a:pt x="311" y="115"/>
                    </a:lnTo>
                    <a:lnTo>
                      <a:pt x="309" y="113"/>
                    </a:lnTo>
                    <a:lnTo>
                      <a:pt x="307" y="113"/>
                    </a:lnTo>
                    <a:lnTo>
                      <a:pt x="305" y="113"/>
                    </a:lnTo>
                    <a:lnTo>
                      <a:pt x="303" y="111"/>
                    </a:lnTo>
                    <a:lnTo>
                      <a:pt x="301" y="111"/>
                    </a:lnTo>
                    <a:lnTo>
                      <a:pt x="299" y="111"/>
                    </a:lnTo>
                    <a:lnTo>
                      <a:pt x="301" y="109"/>
                    </a:lnTo>
                    <a:lnTo>
                      <a:pt x="301" y="107"/>
                    </a:lnTo>
                    <a:lnTo>
                      <a:pt x="299" y="105"/>
                    </a:lnTo>
                    <a:lnTo>
                      <a:pt x="299" y="103"/>
                    </a:lnTo>
                    <a:lnTo>
                      <a:pt x="299" y="102"/>
                    </a:lnTo>
                    <a:lnTo>
                      <a:pt x="297" y="100"/>
                    </a:lnTo>
                    <a:lnTo>
                      <a:pt x="296" y="100"/>
                    </a:lnTo>
                    <a:lnTo>
                      <a:pt x="294" y="98"/>
                    </a:lnTo>
                    <a:lnTo>
                      <a:pt x="292" y="98"/>
                    </a:lnTo>
                    <a:lnTo>
                      <a:pt x="292" y="96"/>
                    </a:lnTo>
                    <a:lnTo>
                      <a:pt x="290" y="96"/>
                    </a:lnTo>
                    <a:lnTo>
                      <a:pt x="290" y="94"/>
                    </a:lnTo>
                    <a:lnTo>
                      <a:pt x="290" y="92"/>
                    </a:lnTo>
                    <a:lnTo>
                      <a:pt x="288" y="90"/>
                    </a:lnTo>
                    <a:lnTo>
                      <a:pt x="288" y="88"/>
                    </a:lnTo>
                    <a:lnTo>
                      <a:pt x="290" y="86"/>
                    </a:lnTo>
                    <a:lnTo>
                      <a:pt x="292" y="86"/>
                    </a:lnTo>
                    <a:lnTo>
                      <a:pt x="294" y="86"/>
                    </a:lnTo>
                    <a:lnTo>
                      <a:pt x="294" y="84"/>
                    </a:lnTo>
                    <a:lnTo>
                      <a:pt x="296" y="84"/>
                    </a:lnTo>
                    <a:lnTo>
                      <a:pt x="296" y="82"/>
                    </a:lnTo>
                    <a:lnTo>
                      <a:pt x="296" y="80"/>
                    </a:lnTo>
                    <a:lnTo>
                      <a:pt x="296" y="78"/>
                    </a:lnTo>
                    <a:lnTo>
                      <a:pt x="296" y="77"/>
                    </a:lnTo>
                    <a:lnTo>
                      <a:pt x="294" y="77"/>
                    </a:lnTo>
                    <a:lnTo>
                      <a:pt x="294" y="75"/>
                    </a:lnTo>
                    <a:lnTo>
                      <a:pt x="294" y="73"/>
                    </a:lnTo>
                    <a:lnTo>
                      <a:pt x="294" y="71"/>
                    </a:lnTo>
                    <a:lnTo>
                      <a:pt x="294" y="69"/>
                    </a:lnTo>
                    <a:lnTo>
                      <a:pt x="296" y="69"/>
                    </a:lnTo>
                    <a:lnTo>
                      <a:pt x="297" y="69"/>
                    </a:lnTo>
                    <a:lnTo>
                      <a:pt x="297" y="71"/>
                    </a:lnTo>
                    <a:lnTo>
                      <a:pt x="299" y="71"/>
                    </a:lnTo>
                    <a:lnTo>
                      <a:pt x="301" y="71"/>
                    </a:lnTo>
                    <a:lnTo>
                      <a:pt x="301" y="69"/>
                    </a:lnTo>
                    <a:lnTo>
                      <a:pt x="301" y="67"/>
                    </a:lnTo>
                    <a:lnTo>
                      <a:pt x="303" y="67"/>
                    </a:lnTo>
                    <a:lnTo>
                      <a:pt x="301" y="67"/>
                    </a:lnTo>
                    <a:lnTo>
                      <a:pt x="303" y="65"/>
                    </a:lnTo>
                    <a:lnTo>
                      <a:pt x="301" y="65"/>
                    </a:lnTo>
                    <a:lnTo>
                      <a:pt x="301" y="63"/>
                    </a:lnTo>
                    <a:lnTo>
                      <a:pt x="299" y="63"/>
                    </a:lnTo>
                    <a:lnTo>
                      <a:pt x="297" y="61"/>
                    </a:lnTo>
                    <a:lnTo>
                      <a:pt x="297" y="59"/>
                    </a:lnTo>
                    <a:lnTo>
                      <a:pt x="296" y="57"/>
                    </a:lnTo>
                    <a:lnTo>
                      <a:pt x="294" y="57"/>
                    </a:lnTo>
                    <a:lnTo>
                      <a:pt x="296" y="55"/>
                    </a:lnTo>
                    <a:lnTo>
                      <a:pt x="297" y="55"/>
                    </a:lnTo>
                    <a:lnTo>
                      <a:pt x="297" y="53"/>
                    </a:lnTo>
                    <a:lnTo>
                      <a:pt x="297" y="52"/>
                    </a:lnTo>
                    <a:lnTo>
                      <a:pt x="299" y="52"/>
                    </a:lnTo>
                    <a:lnTo>
                      <a:pt x="299" y="50"/>
                    </a:lnTo>
                    <a:lnTo>
                      <a:pt x="299" y="48"/>
                    </a:lnTo>
                    <a:lnTo>
                      <a:pt x="297" y="48"/>
                    </a:lnTo>
                    <a:lnTo>
                      <a:pt x="297" y="46"/>
                    </a:lnTo>
                    <a:lnTo>
                      <a:pt x="297" y="44"/>
                    </a:lnTo>
                    <a:lnTo>
                      <a:pt x="297" y="42"/>
                    </a:lnTo>
                    <a:lnTo>
                      <a:pt x="297" y="40"/>
                    </a:lnTo>
                    <a:lnTo>
                      <a:pt x="297" y="38"/>
                    </a:lnTo>
                    <a:lnTo>
                      <a:pt x="299" y="38"/>
                    </a:lnTo>
                    <a:lnTo>
                      <a:pt x="299" y="36"/>
                    </a:lnTo>
                    <a:lnTo>
                      <a:pt x="301" y="34"/>
                    </a:lnTo>
                    <a:lnTo>
                      <a:pt x="299" y="32"/>
                    </a:lnTo>
                    <a:lnTo>
                      <a:pt x="299" y="30"/>
                    </a:lnTo>
                    <a:lnTo>
                      <a:pt x="297" y="30"/>
                    </a:lnTo>
                    <a:lnTo>
                      <a:pt x="296" y="27"/>
                    </a:lnTo>
                    <a:lnTo>
                      <a:pt x="296" y="25"/>
                    </a:lnTo>
                    <a:lnTo>
                      <a:pt x="297" y="25"/>
                    </a:lnTo>
                    <a:lnTo>
                      <a:pt x="297" y="27"/>
                    </a:lnTo>
                    <a:lnTo>
                      <a:pt x="299" y="27"/>
                    </a:lnTo>
                    <a:lnTo>
                      <a:pt x="299" y="25"/>
                    </a:lnTo>
                    <a:lnTo>
                      <a:pt x="299" y="27"/>
                    </a:lnTo>
                    <a:lnTo>
                      <a:pt x="299" y="28"/>
                    </a:lnTo>
                    <a:lnTo>
                      <a:pt x="301" y="28"/>
                    </a:lnTo>
                    <a:lnTo>
                      <a:pt x="301" y="27"/>
                    </a:lnTo>
                    <a:lnTo>
                      <a:pt x="303" y="28"/>
                    </a:lnTo>
                    <a:lnTo>
                      <a:pt x="303" y="27"/>
                    </a:lnTo>
                    <a:lnTo>
                      <a:pt x="303" y="28"/>
                    </a:lnTo>
                    <a:lnTo>
                      <a:pt x="305" y="28"/>
                    </a:lnTo>
                    <a:lnTo>
                      <a:pt x="305" y="30"/>
                    </a:lnTo>
                    <a:lnTo>
                      <a:pt x="307" y="28"/>
                    </a:lnTo>
                    <a:lnTo>
                      <a:pt x="307" y="30"/>
                    </a:lnTo>
                    <a:lnTo>
                      <a:pt x="309" y="30"/>
                    </a:lnTo>
                    <a:lnTo>
                      <a:pt x="309" y="28"/>
                    </a:lnTo>
                    <a:lnTo>
                      <a:pt x="311" y="28"/>
                    </a:lnTo>
                    <a:lnTo>
                      <a:pt x="309" y="28"/>
                    </a:lnTo>
                    <a:lnTo>
                      <a:pt x="311" y="28"/>
                    </a:lnTo>
                    <a:lnTo>
                      <a:pt x="311" y="27"/>
                    </a:lnTo>
                    <a:lnTo>
                      <a:pt x="313" y="27"/>
                    </a:lnTo>
                    <a:lnTo>
                      <a:pt x="315" y="27"/>
                    </a:lnTo>
                    <a:lnTo>
                      <a:pt x="315" y="28"/>
                    </a:lnTo>
                    <a:lnTo>
                      <a:pt x="317" y="28"/>
                    </a:lnTo>
                    <a:lnTo>
                      <a:pt x="317" y="30"/>
                    </a:lnTo>
                    <a:lnTo>
                      <a:pt x="315" y="30"/>
                    </a:lnTo>
                    <a:lnTo>
                      <a:pt x="317" y="30"/>
                    </a:lnTo>
                    <a:lnTo>
                      <a:pt x="319" y="30"/>
                    </a:lnTo>
                    <a:lnTo>
                      <a:pt x="319" y="28"/>
                    </a:lnTo>
                    <a:lnTo>
                      <a:pt x="321" y="28"/>
                    </a:lnTo>
                    <a:lnTo>
                      <a:pt x="319" y="28"/>
                    </a:lnTo>
                    <a:lnTo>
                      <a:pt x="321" y="30"/>
                    </a:lnTo>
                    <a:lnTo>
                      <a:pt x="322" y="30"/>
                    </a:lnTo>
                    <a:lnTo>
                      <a:pt x="322" y="28"/>
                    </a:lnTo>
                    <a:lnTo>
                      <a:pt x="322" y="27"/>
                    </a:lnTo>
                    <a:lnTo>
                      <a:pt x="322" y="25"/>
                    </a:lnTo>
                    <a:lnTo>
                      <a:pt x="324" y="25"/>
                    </a:lnTo>
                    <a:lnTo>
                      <a:pt x="324" y="23"/>
                    </a:lnTo>
                    <a:lnTo>
                      <a:pt x="326" y="23"/>
                    </a:lnTo>
                    <a:lnTo>
                      <a:pt x="328" y="23"/>
                    </a:lnTo>
                    <a:lnTo>
                      <a:pt x="328" y="21"/>
                    </a:lnTo>
                    <a:lnTo>
                      <a:pt x="328" y="23"/>
                    </a:lnTo>
                    <a:lnTo>
                      <a:pt x="330" y="23"/>
                    </a:lnTo>
                    <a:lnTo>
                      <a:pt x="332" y="21"/>
                    </a:lnTo>
                    <a:lnTo>
                      <a:pt x="334" y="23"/>
                    </a:lnTo>
                    <a:lnTo>
                      <a:pt x="334" y="21"/>
                    </a:lnTo>
                    <a:lnTo>
                      <a:pt x="336" y="21"/>
                    </a:lnTo>
                    <a:lnTo>
                      <a:pt x="338" y="21"/>
                    </a:lnTo>
                    <a:lnTo>
                      <a:pt x="340" y="21"/>
                    </a:lnTo>
                    <a:lnTo>
                      <a:pt x="342" y="21"/>
                    </a:lnTo>
                    <a:lnTo>
                      <a:pt x="342" y="19"/>
                    </a:lnTo>
                    <a:lnTo>
                      <a:pt x="342" y="17"/>
                    </a:lnTo>
                    <a:lnTo>
                      <a:pt x="342" y="15"/>
                    </a:lnTo>
                    <a:lnTo>
                      <a:pt x="342" y="13"/>
                    </a:lnTo>
                    <a:lnTo>
                      <a:pt x="340" y="13"/>
                    </a:lnTo>
                    <a:lnTo>
                      <a:pt x="340" y="11"/>
                    </a:lnTo>
                    <a:lnTo>
                      <a:pt x="340" y="9"/>
                    </a:lnTo>
                    <a:lnTo>
                      <a:pt x="338" y="9"/>
                    </a:lnTo>
                    <a:lnTo>
                      <a:pt x="338" y="7"/>
                    </a:lnTo>
                    <a:lnTo>
                      <a:pt x="338" y="5"/>
                    </a:lnTo>
                    <a:lnTo>
                      <a:pt x="336" y="5"/>
                    </a:lnTo>
                    <a:lnTo>
                      <a:pt x="334" y="5"/>
                    </a:lnTo>
                    <a:lnTo>
                      <a:pt x="332" y="7"/>
                    </a:lnTo>
                    <a:lnTo>
                      <a:pt x="334" y="5"/>
                    </a:lnTo>
                    <a:lnTo>
                      <a:pt x="336" y="3"/>
                    </a:lnTo>
                    <a:lnTo>
                      <a:pt x="336" y="5"/>
                    </a:lnTo>
                    <a:lnTo>
                      <a:pt x="336" y="3"/>
                    </a:lnTo>
                    <a:lnTo>
                      <a:pt x="338" y="3"/>
                    </a:lnTo>
                    <a:lnTo>
                      <a:pt x="340" y="3"/>
                    </a:lnTo>
                    <a:lnTo>
                      <a:pt x="342" y="3"/>
                    </a:lnTo>
                    <a:lnTo>
                      <a:pt x="342" y="2"/>
                    </a:lnTo>
                    <a:lnTo>
                      <a:pt x="340" y="2"/>
                    </a:lnTo>
                    <a:lnTo>
                      <a:pt x="342" y="0"/>
                    </a:lnTo>
                    <a:lnTo>
                      <a:pt x="342" y="2"/>
                    </a:lnTo>
                    <a:lnTo>
                      <a:pt x="344" y="2"/>
                    </a:lnTo>
                    <a:lnTo>
                      <a:pt x="344" y="3"/>
                    </a:lnTo>
                    <a:lnTo>
                      <a:pt x="346" y="3"/>
                    </a:lnTo>
                    <a:lnTo>
                      <a:pt x="346" y="5"/>
                    </a:lnTo>
                    <a:lnTo>
                      <a:pt x="344" y="5"/>
                    </a:lnTo>
                    <a:lnTo>
                      <a:pt x="346" y="7"/>
                    </a:lnTo>
                    <a:lnTo>
                      <a:pt x="347" y="7"/>
                    </a:lnTo>
                    <a:lnTo>
                      <a:pt x="347" y="9"/>
                    </a:lnTo>
                    <a:lnTo>
                      <a:pt x="346" y="9"/>
                    </a:lnTo>
                    <a:lnTo>
                      <a:pt x="346" y="11"/>
                    </a:lnTo>
                    <a:lnTo>
                      <a:pt x="347" y="13"/>
                    </a:lnTo>
                    <a:lnTo>
                      <a:pt x="347" y="15"/>
                    </a:lnTo>
                    <a:lnTo>
                      <a:pt x="349" y="15"/>
                    </a:lnTo>
                    <a:lnTo>
                      <a:pt x="351" y="17"/>
                    </a:lnTo>
                    <a:lnTo>
                      <a:pt x="351" y="19"/>
                    </a:lnTo>
                    <a:lnTo>
                      <a:pt x="353" y="19"/>
                    </a:lnTo>
                    <a:lnTo>
                      <a:pt x="353" y="21"/>
                    </a:lnTo>
                    <a:lnTo>
                      <a:pt x="353" y="23"/>
                    </a:lnTo>
                    <a:lnTo>
                      <a:pt x="353" y="25"/>
                    </a:lnTo>
                    <a:lnTo>
                      <a:pt x="355" y="27"/>
                    </a:lnTo>
                    <a:lnTo>
                      <a:pt x="355" y="28"/>
                    </a:lnTo>
                    <a:lnTo>
                      <a:pt x="353" y="28"/>
                    </a:lnTo>
                    <a:lnTo>
                      <a:pt x="353" y="30"/>
                    </a:lnTo>
                    <a:lnTo>
                      <a:pt x="351" y="30"/>
                    </a:lnTo>
                    <a:lnTo>
                      <a:pt x="349" y="30"/>
                    </a:lnTo>
                    <a:lnTo>
                      <a:pt x="347" y="32"/>
                    </a:lnTo>
                    <a:lnTo>
                      <a:pt x="346" y="32"/>
                    </a:lnTo>
                    <a:lnTo>
                      <a:pt x="344" y="32"/>
                    </a:lnTo>
                    <a:lnTo>
                      <a:pt x="344" y="30"/>
                    </a:lnTo>
                    <a:lnTo>
                      <a:pt x="342" y="30"/>
                    </a:lnTo>
                    <a:lnTo>
                      <a:pt x="342" y="32"/>
                    </a:lnTo>
                    <a:lnTo>
                      <a:pt x="342" y="34"/>
                    </a:lnTo>
                    <a:lnTo>
                      <a:pt x="342" y="36"/>
                    </a:lnTo>
                    <a:lnTo>
                      <a:pt x="342" y="38"/>
                    </a:lnTo>
                    <a:lnTo>
                      <a:pt x="342" y="40"/>
                    </a:lnTo>
                    <a:lnTo>
                      <a:pt x="342" y="42"/>
                    </a:lnTo>
                    <a:lnTo>
                      <a:pt x="340" y="42"/>
                    </a:lnTo>
                    <a:lnTo>
                      <a:pt x="340" y="44"/>
                    </a:lnTo>
                    <a:lnTo>
                      <a:pt x="340" y="46"/>
                    </a:lnTo>
                    <a:lnTo>
                      <a:pt x="340" y="48"/>
                    </a:lnTo>
                    <a:lnTo>
                      <a:pt x="342" y="48"/>
                    </a:lnTo>
                    <a:lnTo>
                      <a:pt x="342" y="46"/>
                    </a:lnTo>
                    <a:lnTo>
                      <a:pt x="344" y="46"/>
                    </a:lnTo>
                    <a:lnTo>
                      <a:pt x="346" y="46"/>
                    </a:lnTo>
                    <a:lnTo>
                      <a:pt x="347" y="44"/>
                    </a:lnTo>
                    <a:lnTo>
                      <a:pt x="349" y="44"/>
                    </a:lnTo>
                    <a:lnTo>
                      <a:pt x="351" y="44"/>
                    </a:lnTo>
                    <a:lnTo>
                      <a:pt x="353" y="44"/>
                    </a:lnTo>
                    <a:lnTo>
                      <a:pt x="355" y="44"/>
                    </a:lnTo>
                    <a:lnTo>
                      <a:pt x="357" y="44"/>
                    </a:lnTo>
                    <a:lnTo>
                      <a:pt x="359" y="44"/>
                    </a:lnTo>
                    <a:lnTo>
                      <a:pt x="359" y="46"/>
                    </a:lnTo>
                    <a:lnTo>
                      <a:pt x="361" y="46"/>
                    </a:lnTo>
                    <a:lnTo>
                      <a:pt x="363" y="46"/>
                    </a:lnTo>
                    <a:lnTo>
                      <a:pt x="365" y="46"/>
                    </a:lnTo>
                    <a:lnTo>
                      <a:pt x="367" y="46"/>
                    </a:lnTo>
                    <a:lnTo>
                      <a:pt x="369" y="46"/>
                    </a:lnTo>
                    <a:lnTo>
                      <a:pt x="367" y="46"/>
                    </a:lnTo>
                    <a:lnTo>
                      <a:pt x="369" y="48"/>
                    </a:lnTo>
                    <a:lnTo>
                      <a:pt x="369" y="50"/>
                    </a:lnTo>
                    <a:lnTo>
                      <a:pt x="370" y="50"/>
                    </a:lnTo>
                    <a:lnTo>
                      <a:pt x="369" y="50"/>
                    </a:lnTo>
                    <a:lnTo>
                      <a:pt x="370" y="50"/>
                    </a:lnTo>
                    <a:lnTo>
                      <a:pt x="370" y="52"/>
                    </a:lnTo>
                    <a:lnTo>
                      <a:pt x="372" y="52"/>
                    </a:lnTo>
                    <a:lnTo>
                      <a:pt x="372" y="53"/>
                    </a:lnTo>
                    <a:lnTo>
                      <a:pt x="372" y="55"/>
                    </a:lnTo>
                    <a:lnTo>
                      <a:pt x="374" y="55"/>
                    </a:lnTo>
                    <a:lnTo>
                      <a:pt x="372" y="55"/>
                    </a:lnTo>
                    <a:lnTo>
                      <a:pt x="374" y="55"/>
                    </a:lnTo>
                    <a:lnTo>
                      <a:pt x="372" y="55"/>
                    </a:lnTo>
                    <a:lnTo>
                      <a:pt x="372" y="57"/>
                    </a:lnTo>
                    <a:lnTo>
                      <a:pt x="374" y="57"/>
                    </a:lnTo>
                    <a:lnTo>
                      <a:pt x="372" y="57"/>
                    </a:lnTo>
                    <a:lnTo>
                      <a:pt x="374" y="57"/>
                    </a:lnTo>
                    <a:lnTo>
                      <a:pt x="376" y="57"/>
                    </a:lnTo>
                    <a:lnTo>
                      <a:pt x="376" y="59"/>
                    </a:lnTo>
                    <a:lnTo>
                      <a:pt x="378" y="59"/>
                    </a:lnTo>
                    <a:lnTo>
                      <a:pt x="376" y="59"/>
                    </a:lnTo>
                    <a:lnTo>
                      <a:pt x="378" y="61"/>
                    </a:lnTo>
                    <a:lnTo>
                      <a:pt x="376" y="61"/>
                    </a:lnTo>
                    <a:lnTo>
                      <a:pt x="378" y="61"/>
                    </a:lnTo>
                    <a:lnTo>
                      <a:pt x="378" y="63"/>
                    </a:lnTo>
                    <a:lnTo>
                      <a:pt x="380" y="65"/>
                    </a:lnTo>
                    <a:lnTo>
                      <a:pt x="378" y="65"/>
                    </a:lnTo>
                    <a:lnTo>
                      <a:pt x="378" y="67"/>
                    </a:lnTo>
                    <a:lnTo>
                      <a:pt x="380" y="67"/>
                    </a:lnTo>
                    <a:lnTo>
                      <a:pt x="378" y="67"/>
                    </a:lnTo>
                    <a:lnTo>
                      <a:pt x="380" y="67"/>
                    </a:lnTo>
                    <a:lnTo>
                      <a:pt x="380" y="69"/>
                    </a:lnTo>
                    <a:lnTo>
                      <a:pt x="380" y="71"/>
                    </a:lnTo>
                    <a:lnTo>
                      <a:pt x="382" y="71"/>
                    </a:lnTo>
                    <a:lnTo>
                      <a:pt x="382" y="73"/>
                    </a:lnTo>
                    <a:lnTo>
                      <a:pt x="380" y="73"/>
                    </a:lnTo>
                    <a:lnTo>
                      <a:pt x="382" y="73"/>
                    </a:lnTo>
                    <a:lnTo>
                      <a:pt x="382" y="75"/>
                    </a:lnTo>
                    <a:lnTo>
                      <a:pt x="382" y="77"/>
                    </a:lnTo>
                    <a:lnTo>
                      <a:pt x="382" y="78"/>
                    </a:lnTo>
                    <a:lnTo>
                      <a:pt x="382" y="80"/>
                    </a:lnTo>
                    <a:lnTo>
                      <a:pt x="384" y="78"/>
                    </a:lnTo>
                    <a:lnTo>
                      <a:pt x="382" y="78"/>
                    </a:lnTo>
                    <a:lnTo>
                      <a:pt x="384" y="78"/>
                    </a:lnTo>
                    <a:lnTo>
                      <a:pt x="384" y="80"/>
                    </a:lnTo>
                    <a:lnTo>
                      <a:pt x="382" y="80"/>
                    </a:lnTo>
                    <a:lnTo>
                      <a:pt x="382" y="82"/>
                    </a:lnTo>
                    <a:lnTo>
                      <a:pt x="384" y="82"/>
                    </a:lnTo>
                    <a:lnTo>
                      <a:pt x="382" y="82"/>
                    </a:lnTo>
                    <a:lnTo>
                      <a:pt x="384" y="84"/>
                    </a:lnTo>
                    <a:lnTo>
                      <a:pt x="384" y="86"/>
                    </a:lnTo>
                    <a:lnTo>
                      <a:pt x="386" y="86"/>
                    </a:lnTo>
                    <a:lnTo>
                      <a:pt x="386" y="84"/>
                    </a:lnTo>
                    <a:lnTo>
                      <a:pt x="386" y="86"/>
                    </a:lnTo>
                    <a:lnTo>
                      <a:pt x="388" y="86"/>
                    </a:lnTo>
                    <a:lnTo>
                      <a:pt x="388" y="88"/>
                    </a:lnTo>
                    <a:lnTo>
                      <a:pt x="390" y="88"/>
                    </a:lnTo>
                    <a:lnTo>
                      <a:pt x="388" y="88"/>
                    </a:lnTo>
                    <a:lnTo>
                      <a:pt x="388" y="90"/>
                    </a:lnTo>
                    <a:lnTo>
                      <a:pt x="390" y="90"/>
                    </a:lnTo>
                    <a:lnTo>
                      <a:pt x="388" y="90"/>
                    </a:lnTo>
                    <a:lnTo>
                      <a:pt x="388" y="92"/>
                    </a:lnTo>
                    <a:lnTo>
                      <a:pt x="386" y="92"/>
                    </a:lnTo>
                    <a:lnTo>
                      <a:pt x="386" y="94"/>
                    </a:lnTo>
                    <a:lnTo>
                      <a:pt x="384" y="94"/>
                    </a:lnTo>
                    <a:lnTo>
                      <a:pt x="386" y="94"/>
                    </a:lnTo>
                    <a:lnTo>
                      <a:pt x="384" y="94"/>
                    </a:lnTo>
                    <a:lnTo>
                      <a:pt x="384" y="96"/>
                    </a:lnTo>
                    <a:lnTo>
                      <a:pt x="384" y="98"/>
                    </a:lnTo>
                    <a:lnTo>
                      <a:pt x="384" y="100"/>
                    </a:lnTo>
                    <a:lnTo>
                      <a:pt x="386" y="100"/>
                    </a:lnTo>
                    <a:lnTo>
                      <a:pt x="384" y="100"/>
                    </a:lnTo>
                    <a:lnTo>
                      <a:pt x="384" y="102"/>
                    </a:lnTo>
                    <a:lnTo>
                      <a:pt x="382" y="102"/>
                    </a:lnTo>
                    <a:lnTo>
                      <a:pt x="382" y="103"/>
                    </a:lnTo>
                    <a:lnTo>
                      <a:pt x="382" y="105"/>
                    </a:lnTo>
                    <a:lnTo>
                      <a:pt x="384" y="105"/>
                    </a:lnTo>
                    <a:lnTo>
                      <a:pt x="382" y="105"/>
                    </a:lnTo>
                    <a:lnTo>
                      <a:pt x="380" y="107"/>
                    </a:lnTo>
                    <a:lnTo>
                      <a:pt x="380" y="109"/>
                    </a:lnTo>
                    <a:lnTo>
                      <a:pt x="380" y="111"/>
                    </a:lnTo>
                    <a:lnTo>
                      <a:pt x="382" y="113"/>
                    </a:lnTo>
                    <a:lnTo>
                      <a:pt x="384" y="115"/>
                    </a:lnTo>
                    <a:lnTo>
                      <a:pt x="386" y="115"/>
                    </a:lnTo>
                    <a:lnTo>
                      <a:pt x="388" y="117"/>
                    </a:lnTo>
                    <a:lnTo>
                      <a:pt x="390" y="115"/>
                    </a:lnTo>
                    <a:lnTo>
                      <a:pt x="392" y="115"/>
                    </a:lnTo>
                    <a:lnTo>
                      <a:pt x="394" y="117"/>
                    </a:lnTo>
                    <a:lnTo>
                      <a:pt x="395" y="115"/>
                    </a:lnTo>
                    <a:lnTo>
                      <a:pt x="397" y="115"/>
                    </a:lnTo>
                    <a:lnTo>
                      <a:pt x="399" y="115"/>
                    </a:lnTo>
                    <a:lnTo>
                      <a:pt x="401" y="115"/>
                    </a:lnTo>
                    <a:lnTo>
                      <a:pt x="399" y="117"/>
                    </a:lnTo>
                    <a:lnTo>
                      <a:pt x="399" y="119"/>
                    </a:lnTo>
                    <a:lnTo>
                      <a:pt x="401" y="119"/>
                    </a:lnTo>
                    <a:lnTo>
                      <a:pt x="401" y="121"/>
                    </a:lnTo>
                    <a:lnTo>
                      <a:pt x="403" y="121"/>
                    </a:lnTo>
                    <a:lnTo>
                      <a:pt x="403" y="123"/>
                    </a:lnTo>
                    <a:lnTo>
                      <a:pt x="403" y="125"/>
                    </a:lnTo>
                    <a:lnTo>
                      <a:pt x="401" y="125"/>
                    </a:lnTo>
                    <a:lnTo>
                      <a:pt x="401" y="126"/>
                    </a:lnTo>
                    <a:lnTo>
                      <a:pt x="403" y="126"/>
                    </a:lnTo>
                    <a:lnTo>
                      <a:pt x="403" y="128"/>
                    </a:lnTo>
                    <a:lnTo>
                      <a:pt x="405" y="130"/>
                    </a:lnTo>
                    <a:lnTo>
                      <a:pt x="405" y="132"/>
                    </a:lnTo>
                    <a:lnTo>
                      <a:pt x="403" y="132"/>
                    </a:lnTo>
                    <a:lnTo>
                      <a:pt x="403" y="134"/>
                    </a:lnTo>
                    <a:lnTo>
                      <a:pt x="401" y="136"/>
                    </a:lnTo>
                    <a:lnTo>
                      <a:pt x="403" y="136"/>
                    </a:lnTo>
                    <a:lnTo>
                      <a:pt x="403" y="138"/>
                    </a:lnTo>
                    <a:lnTo>
                      <a:pt x="401" y="140"/>
                    </a:lnTo>
                    <a:lnTo>
                      <a:pt x="401" y="142"/>
                    </a:lnTo>
                    <a:lnTo>
                      <a:pt x="399" y="142"/>
                    </a:lnTo>
                    <a:lnTo>
                      <a:pt x="399" y="144"/>
                    </a:lnTo>
                    <a:lnTo>
                      <a:pt x="399" y="146"/>
                    </a:lnTo>
                    <a:lnTo>
                      <a:pt x="397" y="146"/>
                    </a:lnTo>
                    <a:lnTo>
                      <a:pt x="397" y="148"/>
                    </a:lnTo>
                    <a:lnTo>
                      <a:pt x="397" y="150"/>
                    </a:lnTo>
                    <a:lnTo>
                      <a:pt x="395" y="150"/>
                    </a:lnTo>
                    <a:lnTo>
                      <a:pt x="395" y="151"/>
                    </a:lnTo>
                    <a:lnTo>
                      <a:pt x="395" y="153"/>
                    </a:lnTo>
                    <a:lnTo>
                      <a:pt x="397" y="153"/>
                    </a:lnTo>
                    <a:lnTo>
                      <a:pt x="395" y="153"/>
                    </a:lnTo>
                    <a:lnTo>
                      <a:pt x="395" y="155"/>
                    </a:lnTo>
                    <a:lnTo>
                      <a:pt x="397" y="157"/>
                    </a:lnTo>
                    <a:lnTo>
                      <a:pt x="395" y="157"/>
                    </a:lnTo>
                    <a:lnTo>
                      <a:pt x="397" y="157"/>
                    </a:lnTo>
                    <a:lnTo>
                      <a:pt x="397" y="159"/>
                    </a:lnTo>
                    <a:lnTo>
                      <a:pt x="397" y="161"/>
                    </a:lnTo>
                    <a:lnTo>
                      <a:pt x="399" y="161"/>
                    </a:lnTo>
                    <a:lnTo>
                      <a:pt x="399" y="163"/>
                    </a:lnTo>
                    <a:lnTo>
                      <a:pt x="401" y="163"/>
                    </a:lnTo>
                    <a:lnTo>
                      <a:pt x="401" y="165"/>
                    </a:lnTo>
                    <a:lnTo>
                      <a:pt x="401" y="167"/>
                    </a:lnTo>
                    <a:lnTo>
                      <a:pt x="403" y="167"/>
                    </a:lnTo>
                    <a:lnTo>
                      <a:pt x="405" y="167"/>
                    </a:lnTo>
                    <a:lnTo>
                      <a:pt x="405" y="169"/>
                    </a:lnTo>
                    <a:lnTo>
                      <a:pt x="407" y="171"/>
                    </a:lnTo>
                    <a:lnTo>
                      <a:pt x="407" y="173"/>
                    </a:lnTo>
                    <a:lnTo>
                      <a:pt x="407" y="175"/>
                    </a:lnTo>
                    <a:lnTo>
                      <a:pt x="407" y="176"/>
                    </a:lnTo>
                    <a:lnTo>
                      <a:pt x="407" y="178"/>
                    </a:lnTo>
                    <a:lnTo>
                      <a:pt x="407" y="180"/>
                    </a:lnTo>
                    <a:lnTo>
                      <a:pt x="407" y="182"/>
                    </a:lnTo>
                    <a:lnTo>
                      <a:pt x="407" y="184"/>
                    </a:lnTo>
                    <a:lnTo>
                      <a:pt x="407" y="186"/>
                    </a:lnTo>
                    <a:lnTo>
                      <a:pt x="407" y="188"/>
                    </a:lnTo>
                    <a:lnTo>
                      <a:pt x="409" y="188"/>
                    </a:lnTo>
                    <a:lnTo>
                      <a:pt x="411" y="188"/>
                    </a:lnTo>
                    <a:lnTo>
                      <a:pt x="413" y="188"/>
                    </a:lnTo>
                    <a:lnTo>
                      <a:pt x="415" y="188"/>
                    </a:lnTo>
                    <a:lnTo>
                      <a:pt x="417" y="188"/>
                    </a:lnTo>
                    <a:lnTo>
                      <a:pt x="417" y="190"/>
                    </a:lnTo>
                    <a:lnTo>
                      <a:pt x="419" y="192"/>
                    </a:lnTo>
                    <a:lnTo>
                      <a:pt x="419" y="194"/>
                    </a:lnTo>
                    <a:lnTo>
                      <a:pt x="420" y="194"/>
                    </a:lnTo>
                    <a:lnTo>
                      <a:pt x="420" y="196"/>
                    </a:lnTo>
                    <a:lnTo>
                      <a:pt x="422" y="196"/>
                    </a:lnTo>
                    <a:lnTo>
                      <a:pt x="424" y="196"/>
                    </a:lnTo>
                    <a:lnTo>
                      <a:pt x="424" y="194"/>
                    </a:lnTo>
                    <a:lnTo>
                      <a:pt x="426" y="194"/>
                    </a:lnTo>
                    <a:lnTo>
                      <a:pt x="426" y="192"/>
                    </a:lnTo>
                    <a:lnTo>
                      <a:pt x="428" y="194"/>
                    </a:lnTo>
                    <a:lnTo>
                      <a:pt x="430" y="194"/>
                    </a:lnTo>
                    <a:lnTo>
                      <a:pt x="430" y="196"/>
                    </a:lnTo>
                    <a:lnTo>
                      <a:pt x="432" y="198"/>
                    </a:lnTo>
                    <a:lnTo>
                      <a:pt x="432" y="200"/>
                    </a:lnTo>
                    <a:lnTo>
                      <a:pt x="430" y="200"/>
                    </a:lnTo>
                    <a:lnTo>
                      <a:pt x="430" y="201"/>
                    </a:lnTo>
                    <a:lnTo>
                      <a:pt x="430" y="203"/>
                    </a:lnTo>
                    <a:lnTo>
                      <a:pt x="430" y="205"/>
                    </a:lnTo>
                    <a:lnTo>
                      <a:pt x="430" y="207"/>
                    </a:lnTo>
                    <a:lnTo>
                      <a:pt x="428" y="207"/>
                    </a:lnTo>
                    <a:lnTo>
                      <a:pt x="428" y="209"/>
                    </a:lnTo>
                    <a:lnTo>
                      <a:pt x="428" y="211"/>
                    </a:lnTo>
                    <a:lnTo>
                      <a:pt x="426" y="213"/>
                    </a:lnTo>
                    <a:lnTo>
                      <a:pt x="426" y="215"/>
                    </a:lnTo>
                    <a:lnTo>
                      <a:pt x="426" y="217"/>
                    </a:lnTo>
                    <a:lnTo>
                      <a:pt x="426" y="219"/>
                    </a:lnTo>
                    <a:lnTo>
                      <a:pt x="426" y="221"/>
                    </a:lnTo>
                    <a:lnTo>
                      <a:pt x="428" y="223"/>
                    </a:lnTo>
                    <a:lnTo>
                      <a:pt x="428" y="225"/>
                    </a:lnTo>
                    <a:lnTo>
                      <a:pt x="428" y="226"/>
                    </a:lnTo>
                    <a:lnTo>
                      <a:pt x="426" y="226"/>
                    </a:lnTo>
                    <a:lnTo>
                      <a:pt x="424" y="226"/>
                    </a:lnTo>
                    <a:lnTo>
                      <a:pt x="422" y="226"/>
                    </a:lnTo>
                    <a:lnTo>
                      <a:pt x="422" y="228"/>
                    </a:lnTo>
                    <a:lnTo>
                      <a:pt x="422" y="230"/>
                    </a:lnTo>
                    <a:lnTo>
                      <a:pt x="424" y="230"/>
                    </a:lnTo>
                    <a:lnTo>
                      <a:pt x="424" y="232"/>
                    </a:lnTo>
                    <a:lnTo>
                      <a:pt x="424" y="234"/>
                    </a:lnTo>
                    <a:lnTo>
                      <a:pt x="422" y="234"/>
                    </a:lnTo>
                    <a:lnTo>
                      <a:pt x="422" y="236"/>
                    </a:lnTo>
                    <a:lnTo>
                      <a:pt x="422" y="238"/>
                    </a:lnTo>
                    <a:lnTo>
                      <a:pt x="420" y="240"/>
                    </a:lnTo>
                    <a:lnTo>
                      <a:pt x="420" y="242"/>
                    </a:lnTo>
                    <a:lnTo>
                      <a:pt x="420" y="244"/>
                    </a:lnTo>
                    <a:lnTo>
                      <a:pt x="420" y="246"/>
                    </a:lnTo>
                    <a:lnTo>
                      <a:pt x="420" y="248"/>
                    </a:lnTo>
                    <a:lnTo>
                      <a:pt x="419" y="250"/>
                    </a:lnTo>
                    <a:lnTo>
                      <a:pt x="419" y="251"/>
                    </a:lnTo>
                    <a:lnTo>
                      <a:pt x="417" y="251"/>
                    </a:lnTo>
                    <a:lnTo>
                      <a:pt x="417" y="253"/>
                    </a:lnTo>
                    <a:lnTo>
                      <a:pt x="419" y="253"/>
                    </a:lnTo>
                    <a:lnTo>
                      <a:pt x="419" y="255"/>
                    </a:lnTo>
                    <a:lnTo>
                      <a:pt x="419" y="257"/>
                    </a:lnTo>
                    <a:lnTo>
                      <a:pt x="417" y="257"/>
                    </a:lnTo>
                    <a:lnTo>
                      <a:pt x="417" y="259"/>
                    </a:lnTo>
                    <a:lnTo>
                      <a:pt x="417" y="261"/>
                    </a:lnTo>
                    <a:lnTo>
                      <a:pt x="417" y="263"/>
                    </a:lnTo>
                    <a:lnTo>
                      <a:pt x="417" y="265"/>
                    </a:lnTo>
                    <a:lnTo>
                      <a:pt x="417" y="267"/>
                    </a:lnTo>
                    <a:lnTo>
                      <a:pt x="417" y="269"/>
                    </a:lnTo>
                    <a:lnTo>
                      <a:pt x="417" y="271"/>
                    </a:lnTo>
                    <a:lnTo>
                      <a:pt x="419" y="271"/>
                    </a:lnTo>
                    <a:lnTo>
                      <a:pt x="419" y="273"/>
                    </a:lnTo>
                    <a:lnTo>
                      <a:pt x="419" y="275"/>
                    </a:lnTo>
                    <a:lnTo>
                      <a:pt x="417" y="275"/>
                    </a:lnTo>
                    <a:lnTo>
                      <a:pt x="417" y="276"/>
                    </a:lnTo>
                    <a:lnTo>
                      <a:pt x="417" y="278"/>
                    </a:lnTo>
                    <a:lnTo>
                      <a:pt x="417" y="280"/>
                    </a:lnTo>
                    <a:lnTo>
                      <a:pt x="417" y="282"/>
                    </a:lnTo>
                    <a:lnTo>
                      <a:pt x="419" y="282"/>
                    </a:lnTo>
                    <a:lnTo>
                      <a:pt x="417" y="284"/>
                    </a:lnTo>
                    <a:lnTo>
                      <a:pt x="415" y="286"/>
                    </a:lnTo>
                    <a:lnTo>
                      <a:pt x="415" y="288"/>
                    </a:lnTo>
                    <a:lnTo>
                      <a:pt x="413" y="290"/>
                    </a:lnTo>
                    <a:lnTo>
                      <a:pt x="413" y="292"/>
                    </a:lnTo>
                    <a:lnTo>
                      <a:pt x="413" y="294"/>
                    </a:lnTo>
                    <a:lnTo>
                      <a:pt x="415" y="296"/>
                    </a:lnTo>
                    <a:lnTo>
                      <a:pt x="417" y="296"/>
                    </a:lnTo>
                    <a:lnTo>
                      <a:pt x="417" y="298"/>
                    </a:lnTo>
                    <a:lnTo>
                      <a:pt x="415" y="300"/>
                    </a:lnTo>
                    <a:lnTo>
                      <a:pt x="413" y="301"/>
                    </a:lnTo>
                    <a:lnTo>
                      <a:pt x="413" y="303"/>
                    </a:lnTo>
                    <a:lnTo>
                      <a:pt x="413" y="305"/>
                    </a:lnTo>
                    <a:lnTo>
                      <a:pt x="411" y="307"/>
                    </a:lnTo>
                    <a:lnTo>
                      <a:pt x="411" y="309"/>
                    </a:lnTo>
                    <a:lnTo>
                      <a:pt x="411" y="311"/>
                    </a:lnTo>
                    <a:lnTo>
                      <a:pt x="409" y="311"/>
                    </a:lnTo>
                    <a:lnTo>
                      <a:pt x="409" y="313"/>
                    </a:lnTo>
                    <a:lnTo>
                      <a:pt x="411" y="313"/>
                    </a:lnTo>
                    <a:lnTo>
                      <a:pt x="413" y="313"/>
                    </a:lnTo>
                    <a:lnTo>
                      <a:pt x="413" y="315"/>
                    </a:lnTo>
                    <a:lnTo>
                      <a:pt x="411" y="317"/>
                    </a:lnTo>
                    <a:lnTo>
                      <a:pt x="409" y="317"/>
                    </a:lnTo>
                    <a:lnTo>
                      <a:pt x="411" y="319"/>
                    </a:lnTo>
                    <a:lnTo>
                      <a:pt x="411" y="321"/>
                    </a:lnTo>
                    <a:lnTo>
                      <a:pt x="413" y="321"/>
                    </a:lnTo>
                    <a:lnTo>
                      <a:pt x="415" y="321"/>
                    </a:lnTo>
                    <a:lnTo>
                      <a:pt x="415" y="323"/>
                    </a:lnTo>
                    <a:lnTo>
                      <a:pt x="417" y="321"/>
                    </a:lnTo>
                    <a:lnTo>
                      <a:pt x="419" y="321"/>
                    </a:lnTo>
                    <a:lnTo>
                      <a:pt x="419" y="323"/>
                    </a:lnTo>
                    <a:lnTo>
                      <a:pt x="419" y="325"/>
                    </a:lnTo>
                    <a:lnTo>
                      <a:pt x="420" y="325"/>
                    </a:lnTo>
                    <a:lnTo>
                      <a:pt x="420" y="328"/>
                    </a:lnTo>
                    <a:lnTo>
                      <a:pt x="422" y="328"/>
                    </a:lnTo>
                    <a:lnTo>
                      <a:pt x="422" y="330"/>
                    </a:lnTo>
                    <a:lnTo>
                      <a:pt x="424" y="330"/>
                    </a:lnTo>
                    <a:lnTo>
                      <a:pt x="424" y="332"/>
                    </a:lnTo>
                    <a:lnTo>
                      <a:pt x="424" y="334"/>
                    </a:lnTo>
                    <a:lnTo>
                      <a:pt x="424" y="336"/>
                    </a:lnTo>
                    <a:lnTo>
                      <a:pt x="426" y="334"/>
                    </a:lnTo>
                    <a:lnTo>
                      <a:pt x="428" y="334"/>
                    </a:lnTo>
                    <a:lnTo>
                      <a:pt x="428" y="336"/>
                    </a:lnTo>
                    <a:lnTo>
                      <a:pt x="428" y="338"/>
                    </a:lnTo>
                    <a:lnTo>
                      <a:pt x="430" y="338"/>
                    </a:lnTo>
                    <a:lnTo>
                      <a:pt x="430" y="340"/>
                    </a:lnTo>
                    <a:lnTo>
                      <a:pt x="432" y="340"/>
                    </a:lnTo>
                    <a:lnTo>
                      <a:pt x="434" y="338"/>
                    </a:lnTo>
                    <a:lnTo>
                      <a:pt x="436" y="338"/>
                    </a:lnTo>
                    <a:lnTo>
                      <a:pt x="438" y="340"/>
                    </a:lnTo>
                    <a:lnTo>
                      <a:pt x="438" y="338"/>
                    </a:lnTo>
                    <a:lnTo>
                      <a:pt x="440" y="338"/>
                    </a:lnTo>
                    <a:lnTo>
                      <a:pt x="440" y="340"/>
                    </a:lnTo>
                    <a:lnTo>
                      <a:pt x="442" y="340"/>
                    </a:lnTo>
                    <a:lnTo>
                      <a:pt x="444" y="338"/>
                    </a:lnTo>
                    <a:lnTo>
                      <a:pt x="445" y="338"/>
                    </a:lnTo>
                    <a:lnTo>
                      <a:pt x="445" y="336"/>
                    </a:lnTo>
                    <a:lnTo>
                      <a:pt x="447" y="336"/>
                    </a:lnTo>
                    <a:lnTo>
                      <a:pt x="449" y="334"/>
                    </a:lnTo>
                    <a:lnTo>
                      <a:pt x="451" y="334"/>
                    </a:lnTo>
                    <a:lnTo>
                      <a:pt x="451" y="332"/>
                    </a:lnTo>
                    <a:lnTo>
                      <a:pt x="453" y="332"/>
                    </a:lnTo>
                    <a:lnTo>
                      <a:pt x="451" y="330"/>
                    </a:lnTo>
                    <a:lnTo>
                      <a:pt x="451" y="328"/>
                    </a:lnTo>
                    <a:lnTo>
                      <a:pt x="453" y="328"/>
                    </a:lnTo>
                    <a:lnTo>
                      <a:pt x="453" y="326"/>
                    </a:lnTo>
                    <a:lnTo>
                      <a:pt x="453" y="325"/>
                    </a:lnTo>
                    <a:lnTo>
                      <a:pt x="453" y="323"/>
                    </a:lnTo>
                    <a:lnTo>
                      <a:pt x="453" y="321"/>
                    </a:lnTo>
                    <a:lnTo>
                      <a:pt x="455" y="317"/>
                    </a:lnTo>
                    <a:lnTo>
                      <a:pt x="459" y="317"/>
                    </a:lnTo>
                    <a:lnTo>
                      <a:pt x="461" y="317"/>
                    </a:lnTo>
                    <a:lnTo>
                      <a:pt x="461" y="319"/>
                    </a:lnTo>
                    <a:lnTo>
                      <a:pt x="463" y="319"/>
                    </a:lnTo>
                    <a:lnTo>
                      <a:pt x="465" y="319"/>
                    </a:lnTo>
                    <a:lnTo>
                      <a:pt x="465" y="321"/>
                    </a:lnTo>
                    <a:lnTo>
                      <a:pt x="467" y="319"/>
                    </a:lnTo>
                    <a:lnTo>
                      <a:pt x="467" y="317"/>
                    </a:lnTo>
                    <a:lnTo>
                      <a:pt x="468" y="319"/>
                    </a:lnTo>
                    <a:lnTo>
                      <a:pt x="470" y="321"/>
                    </a:lnTo>
                    <a:lnTo>
                      <a:pt x="472" y="321"/>
                    </a:lnTo>
                    <a:lnTo>
                      <a:pt x="472" y="319"/>
                    </a:lnTo>
                    <a:lnTo>
                      <a:pt x="472" y="317"/>
                    </a:lnTo>
                    <a:lnTo>
                      <a:pt x="472" y="315"/>
                    </a:lnTo>
                    <a:lnTo>
                      <a:pt x="476" y="313"/>
                    </a:lnTo>
                    <a:lnTo>
                      <a:pt x="478" y="313"/>
                    </a:lnTo>
                    <a:lnTo>
                      <a:pt x="480" y="313"/>
                    </a:lnTo>
                    <a:lnTo>
                      <a:pt x="480" y="315"/>
                    </a:lnTo>
                    <a:lnTo>
                      <a:pt x="482" y="317"/>
                    </a:lnTo>
                    <a:lnTo>
                      <a:pt x="484" y="317"/>
                    </a:lnTo>
                    <a:lnTo>
                      <a:pt x="488" y="311"/>
                    </a:lnTo>
                    <a:lnTo>
                      <a:pt x="490" y="311"/>
                    </a:lnTo>
                    <a:lnTo>
                      <a:pt x="490" y="309"/>
                    </a:lnTo>
                    <a:lnTo>
                      <a:pt x="492" y="309"/>
                    </a:lnTo>
                    <a:lnTo>
                      <a:pt x="492" y="311"/>
                    </a:lnTo>
                    <a:lnTo>
                      <a:pt x="493" y="311"/>
                    </a:lnTo>
                    <a:lnTo>
                      <a:pt x="493" y="309"/>
                    </a:lnTo>
                    <a:lnTo>
                      <a:pt x="492" y="307"/>
                    </a:lnTo>
                    <a:lnTo>
                      <a:pt x="493" y="305"/>
                    </a:lnTo>
                    <a:lnTo>
                      <a:pt x="493" y="303"/>
                    </a:lnTo>
                    <a:lnTo>
                      <a:pt x="495" y="301"/>
                    </a:lnTo>
                    <a:lnTo>
                      <a:pt x="495" y="300"/>
                    </a:lnTo>
                    <a:lnTo>
                      <a:pt x="497" y="298"/>
                    </a:lnTo>
                    <a:lnTo>
                      <a:pt x="497" y="296"/>
                    </a:lnTo>
                    <a:lnTo>
                      <a:pt x="497" y="294"/>
                    </a:lnTo>
                    <a:lnTo>
                      <a:pt x="499" y="294"/>
                    </a:lnTo>
                    <a:lnTo>
                      <a:pt x="501" y="294"/>
                    </a:lnTo>
                    <a:lnTo>
                      <a:pt x="499" y="294"/>
                    </a:lnTo>
                    <a:lnTo>
                      <a:pt x="501" y="296"/>
                    </a:lnTo>
                    <a:lnTo>
                      <a:pt x="501" y="298"/>
                    </a:lnTo>
                    <a:lnTo>
                      <a:pt x="503" y="298"/>
                    </a:lnTo>
                    <a:lnTo>
                      <a:pt x="503" y="300"/>
                    </a:lnTo>
                    <a:lnTo>
                      <a:pt x="503" y="301"/>
                    </a:lnTo>
                    <a:lnTo>
                      <a:pt x="501" y="303"/>
                    </a:lnTo>
                    <a:lnTo>
                      <a:pt x="503" y="305"/>
                    </a:lnTo>
                    <a:lnTo>
                      <a:pt x="501" y="307"/>
                    </a:lnTo>
                    <a:lnTo>
                      <a:pt x="503" y="307"/>
                    </a:lnTo>
                    <a:lnTo>
                      <a:pt x="505" y="307"/>
                    </a:lnTo>
                    <a:lnTo>
                      <a:pt x="505" y="305"/>
                    </a:lnTo>
                    <a:lnTo>
                      <a:pt x="507" y="305"/>
                    </a:lnTo>
                    <a:lnTo>
                      <a:pt x="509" y="303"/>
                    </a:lnTo>
                    <a:lnTo>
                      <a:pt x="511" y="303"/>
                    </a:lnTo>
                    <a:lnTo>
                      <a:pt x="511" y="305"/>
                    </a:lnTo>
                    <a:lnTo>
                      <a:pt x="513" y="305"/>
                    </a:lnTo>
                    <a:lnTo>
                      <a:pt x="513" y="307"/>
                    </a:lnTo>
                    <a:lnTo>
                      <a:pt x="513" y="309"/>
                    </a:lnTo>
                    <a:lnTo>
                      <a:pt x="511" y="309"/>
                    </a:lnTo>
                    <a:lnTo>
                      <a:pt x="509" y="311"/>
                    </a:lnTo>
                    <a:lnTo>
                      <a:pt x="509" y="315"/>
                    </a:lnTo>
                    <a:lnTo>
                      <a:pt x="509" y="317"/>
                    </a:lnTo>
                    <a:lnTo>
                      <a:pt x="509" y="319"/>
                    </a:lnTo>
                    <a:lnTo>
                      <a:pt x="511" y="321"/>
                    </a:lnTo>
                    <a:lnTo>
                      <a:pt x="511" y="323"/>
                    </a:lnTo>
                    <a:lnTo>
                      <a:pt x="511" y="325"/>
                    </a:lnTo>
                    <a:lnTo>
                      <a:pt x="511" y="326"/>
                    </a:lnTo>
                    <a:lnTo>
                      <a:pt x="511" y="328"/>
                    </a:lnTo>
                    <a:lnTo>
                      <a:pt x="511" y="330"/>
                    </a:lnTo>
                    <a:lnTo>
                      <a:pt x="513" y="334"/>
                    </a:lnTo>
                    <a:lnTo>
                      <a:pt x="515" y="334"/>
                    </a:lnTo>
                    <a:lnTo>
                      <a:pt x="515" y="332"/>
                    </a:lnTo>
                    <a:lnTo>
                      <a:pt x="515" y="330"/>
                    </a:lnTo>
                    <a:lnTo>
                      <a:pt x="517" y="330"/>
                    </a:lnTo>
                    <a:lnTo>
                      <a:pt x="517" y="328"/>
                    </a:lnTo>
                    <a:lnTo>
                      <a:pt x="517" y="326"/>
                    </a:lnTo>
                    <a:lnTo>
                      <a:pt x="515" y="326"/>
                    </a:lnTo>
                    <a:lnTo>
                      <a:pt x="515" y="325"/>
                    </a:lnTo>
                    <a:lnTo>
                      <a:pt x="513" y="325"/>
                    </a:lnTo>
                    <a:lnTo>
                      <a:pt x="513" y="323"/>
                    </a:lnTo>
                    <a:lnTo>
                      <a:pt x="513" y="321"/>
                    </a:lnTo>
                    <a:lnTo>
                      <a:pt x="515" y="321"/>
                    </a:lnTo>
                    <a:lnTo>
                      <a:pt x="515" y="319"/>
                    </a:lnTo>
                    <a:lnTo>
                      <a:pt x="515" y="321"/>
                    </a:lnTo>
                    <a:lnTo>
                      <a:pt x="515" y="323"/>
                    </a:lnTo>
                    <a:lnTo>
                      <a:pt x="517" y="323"/>
                    </a:lnTo>
                    <a:lnTo>
                      <a:pt x="518" y="323"/>
                    </a:lnTo>
                    <a:lnTo>
                      <a:pt x="518" y="321"/>
                    </a:lnTo>
                    <a:lnTo>
                      <a:pt x="518" y="319"/>
                    </a:lnTo>
                    <a:lnTo>
                      <a:pt x="520" y="317"/>
                    </a:lnTo>
                    <a:lnTo>
                      <a:pt x="522" y="317"/>
                    </a:lnTo>
                    <a:lnTo>
                      <a:pt x="522" y="315"/>
                    </a:lnTo>
                    <a:lnTo>
                      <a:pt x="524" y="315"/>
                    </a:lnTo>
                    <a:lnTo>
                      <a:pt x="524" y="313"/>
                    </a:lnTo>
                    <a:lnTo>
                      <a:pt x="524" y="315"/>
                    </a:lnTo>
                    <a:lnTo>
                      <a:pt x="526" y="315"/>
                    </a:lnTo>
                    <a:lnTo>
                      <a:pt x="528" y="313"/>
                    </a:lnTo>
                    <a:lnTo>
                      <a:pt x="530" y="313"/>
                    </a:lnTo>
                    <a:lnTo>
                      <a:pt x="530" y="311"/>
                    </a:lnTo>
                    <a:lnTo>
                      <a:pt x="532" y="311"/>
                    </a:lnTo>
                    <a:lnTo>
                      <a:pt x="534" y="311"/>
                    </a:lnTo>
                    <a:lnTo>
                      <a:pt x="536" y="311"/>
                    </a:lnTo>
                    <a:lnTo>
                      <a:pt x="536" y="309"/>
                    </a:lnTo>
                    <a:lnTo>
                      <a:pt x="534" y="307"/>
                    </a:lnTo>
                    <a:lnTo>
                      <a:pt x="536" y="307"/>
                    </a:lnTo>
                    <a:lnTo>
                      <a:pt x="536" y="305"/>
                    </a:lnTo>
                    <a:lnTo>
                      <a:pt x="538" y="305"/>
                    </a:lnTo>
                    <a:lnTo>
                      <a:pt x="538" y="303"/>
                    </a:lnTo>
                    <a:lnTo>
                      <a:pt x="538" y="301"/>
                    </a:lnTo>
                    <a:lnTo>
                      <a:pt x="538" y="300"/>
                    </a:lnTo>
                    <a:lnTo>
                      <a:pt x="540" y="298"/>
                    </a:lnTo>
                    <a:lnTo>
                      <a:pt x="538" y="298"/>
                    </a:lnTo>
                    <a:lnTo>
                      <a:pt x="536" y="298"/>
                    </a:lnTo>
                    <a:lnTo>
                      <a:pt x="536" y="296"/>
                    </a:lnTo>
                    <a:lnTo>
                      <a:pt x="536" y="294"/>
                    </a:lnTo>
                    <a:lnTo>
                      <a:pt x="536" y="292"/>
                    </a:lnTo>
                    <a:lnTo>
                      <a:pt x="538" y="292"/>
                    </a:lnTo>
                    <a:lnTo>
                      <a:pt x="538" y="290"/>
                    </a:lnTo>
                    <a:lnTo>
                      <a:pt x="538" y="288"/>
                    </a:lnTo>
                    <a:lnTo>
                      <a:pt x="540" y="288"/>
                    </a:lnTo>
                    <a:lnTo>
                      <a:pt x="540" y="286"/>
                    </a:lnTo>
                    <a:lnTo>
                      <a:pt x="540" y="284"/>
                    </a:lnTo>
                    <a:lnTo>
                      <a:pt x="540" y="282"/>
                    </a:lnTo>
                    <a:lnTo>
                      <a:pt x="538" y="282"/>
                    </a:lnTo>
                    <a:lnTo>
                      <a:pt x="538" y="280"/>
                    </a:lnTo>
                    <a:lnTo>
                      <a:pt x="540" y="280"/>
                    </a:lnTo>
                    <a:lnTo>
                      <a:pt x="540" y="278"/>
                    </a:lnTo>
                    <a:lnTo>
                      <a:pt x="541" y="278"/>
                    </a:lnTo>
                    <a:lnTo>
                      <a:pt x="543" y="278"/>
                    </a:lnTo>
                    <a:lnTo>
                      <a:pt x="543" y="276"/>
                    </a:lnTo>
                    <a:lnTo>
                      <a:pt x="545" y="276"/>
                    </a:lnTo>
                    <a:lnTo>
                      <a:pt x="545" y="275"/>
                    </a:lnTo>
                    <a:lnTo>
                      <a:pt x="545" y="273"/>
                    </a:lnTo>
                    <a:lnTo>
                      <a:pt x="547" y="273"/>
                    </a:lnTo>
                    <a:lnTo>
                      <a:pt x="547" y="275"/>
                    </a:lnTo>
                    <a:lnTo>
                      <a:pt x="547" y="273"/>
                    </a:lnTo>
                    <a:lnTo>
                      <a:pt x="549" y="273"/>
                    </a:lnTo>
                    <a:lnTo>
                      <a:pt x="549" y="271"/>
                    </a:lnTo>
                    <a:lnTo>
                      <a:pt x="549" y="269"/>
                    </a:lnTo>
                    <a:lnTo>
                      <a:pt x="551" y="267"/>
                    </a:lnTo>
                    <a:lnTo>
                      <a:pt x="553" y="269"/>
                    </a:lnTo>
                    <a:lnTo>
                      <a:pt x="553" y="267"/>
                    </a:lnTo>
                    <a:lnTo>
                      <a:pt x="553" y="265"/>
                    </a:lnTo>
                    <a:lnTo>
                      <a:pt x="555" y="265"/>
                    </a:lnTo>
                    <a:lnTo>
                      <a:pt x="555" y="263"/>
                    </a:lnTo>
                    <a:lnTo>
                      <a:pt x="553" y="263"/>
                    </a:lnTo>
                    <a:lnTo>
                      <a:pt x="553" y="261"/>
                    </a:lnTo>
                    <a:lnTo>
                      <a:pt x="555" y="261"/>
                    </a:lnTo>
                    <a:lnTo>
                      <a:pt x="555" y="259"/>
                    </a:lnTo>
                    <a:lnTo>
                      <a:pt x="555" y="257"/>
                    </a:lnTo>
                    <a:lnTo>
                      <a:pt x="557" y="255"/>
                    </a:lnTo>
                    <a:lnTo>
                      <a:pt x="559" y="253"/>
                    </a:lnTo>
                    <a:lnTo>
                      <a:pt x="559" y="251"/>
                    </a:lnTo>
                    <a:lnTo>
                      <a:pt x="561" y="251"/>
                    </a:lnTo>
                    <a:lnTo>
                      <a:pt x="559" y="251"/>
                    </a:lnTo>
                    <a:lnTo>
                      <a:pt x="559" y="250"/>
                    </a:lnTo>
                    <a:lnTo>
                      <a:pt x="557" y="250"/>
                    </a:lnTo>
                    <a:lnTo>
                      <a:pt x="555" y="250"/>
                    </a:lnTo>
                    <a:lnTo>
                      <a:pt x="553" y="250"/>
                    </a:lnTo>
                    <a:lnTo>
                      <a:pt x="551" y="250"/>
                    </a:lnTo>
                    <a:lnTo>
                      <a:pt x="551" y="248"/>
                    </a:lnTo>
                    <a:lnTo>
                      <a:pt x="549" y="248"/>
                    </a:lnTo>
                    <a:lnTo>
                      <a:pt x="547" y="248"/>
                    </a:lnTo>
                    <a:lnTo>
                      <a:pt x="545" y="248"/>
                    </a:lnTo>
                    <a:lnTo>
                      <a:pt x="545" y="246"/>
                    </a:lnTo>
                    <a:lnTo>
                      <a:pt x="543" y="246"/>
                    </a:lnTo>
                    <a:lnTo>
                      <a:pt x="543" y="244"/>
                    </a:lnTo>
                    <a:lnTo>
                      <a:pt x="541" y="244"/>
                    </a:lnTo>
                    <a:lnTo>
                      <a:pt x="540" y="242"/>
                    </a:lnTo>
                    <a:lnTo>
                      <a:pt x="541" y="240"/>
                    </a:lnTo>
                    <a:lnTo>
                      <a:pt x="543" y="240"/>
                    </a:lnTo>
                    <a:lnTo>
                      <a:pt x="545" y="238"/>
                    </a:lnTo>
                    <a:lnTo>
                      <a:pt x="547" y="236"/>
                    </a:lnTo>
                    <a:lnTo>
                      <a:pt x="547" y="234"/>
                    </a:lnTo>
                    <a:lnTo>
                      <a:pt x="549" y="232"/>
                    </a:lnTo>
                    <a:lnTo>
                      <a:pt x="549" y="230"/>
                    </a:lnTo>
                    <a:lnTo>
                      <a:pt x="549" y="226"/>
                    </a:lnTo>
                    <a:lnTo>
                      <a:pt x="549" y="225"/>
                    </a:lnTo>
                    <a:lnTo>
                      <a:pt x="549" y="223"/>
                    </a:lnTo>
                    <a:lnTo>
                      <a:pt x="551" y="219"/>
                    </a:lnTo>
                    <a:lnTo>
                      <a:pt x="551" y="217"/>
                    </a:lnTo>
                    <a:lnTo>
                      <a:pt x="551" y="215"/>
                    </a:lnTo>
                    <a:lnTo>
                      <a:pt x="553" y="213"/>
                    </a:lnTo>
                    <a:lnTo>
                      <a:pt x="555" y="211"/>
                    </a:lnTo>
                    <a:lnTo>
                      <a:pt x="555" y="209"/>
                    </a:lnTo>
                    <a:lnTo>
                      <a:pt x="557" y="207"/>
                    </a:lnTo>
                    <a:lnTo>
                      <a:pt x="557" y="209"/>
                    </a:lnTo>
                    <a:lnTo>
                      <a:pt x="559" y="207"/>
                    </a:lnTo>
                    <a:lnTo>
                      <a:pt x="561" y="203"/>
                    </a:lnTo>
                    <a:lnTo>
                      <a:pt x="561" y="201"/>
                    </a:lnTo>
                    <a:lnTo>
                      <a:pt x="563" y="201"/>
                    </a:lnTo>
                    <a:lnTo>
                      <a:pt x="565" y="200"/>
                    </a:lnTo>
                    <a:lnTo>
                      <a:pt x="570" y="200"/>
                    </a:lnTo>
                    <a:lnTo>
                      <a:pt x="574" y="198"/>
                    </a:lnTo>
                    <a:lnTo>
                      <a:pt x="574" y="196"/>
                    </a:lnTo>
                    <a:lnTo>
                      <a:pt x="578" y="196"/>
                    </a:lnTo>
                    <a:lnTo>
                      <a:pt x="580" y="196"/>
                    </a:lnTo>
                    <a:lnTo>
                      <a:pt x="582" y="194"/>
                    </a:lnTo>
                    <a:lnTo>
                      <a:pt x="582" y="196"/>
                    </a:lnTo>
                    <a:lnTo>
                      <a:pt x="584" y="196"/>
                    </a:lnTo>
                    <a:lnTo>
                      <a:pt x="586" y="196"/>
                    </a:lnTo>
                    <a:lnTo>
                      <a:pt x="590" y="196"/>
                    </a:lnTo>
                    <a:lnTo>
                      <a:pt x="591" y="198"/>
                    </a:lnTo>
                    <a:lnTo>
                      <a:pt x="593" y="200"/>
                    </a:lnTo>
                    <a:lnTo>
                      <a:pt x="593" y="201"/>
                    </a:lnTo>
                    <a:lnTo>
                      <a:pt x="595" y="203"/>
                    </a:lnTo>
                    <a:lnTo>
                      <a:pt x="597" y="201"/>
                    </a:lnTo>
                    <a:lnTo>
                      <a:pt x="599" y="203"/>
                    </a:lnTo>
                    <a:lnTo>
                      <a:pt x="601" y="205"/>
                    </a:lnTo>
                    <a:lnTo>
                      <a:pt x="603" y="205"/>
                    </a:lnTo>
                    <a:lnTo>
                      <a:pt x="605" y="205"/>
                    </a:lnTo>
                    <a:lnTo>
                      <a:pt x="607" y="205"/>
                    </a:lnTo>
                    <a:lnTo>
                      <a:pt x="609" y="205"/>
                    </a:lnTo>
                    <a:lnTo>
                      <a:pt x="613" y="207"/>
                    </a:lnTo>
                    <a:lnTo>
                      <a:pt x="614" y="207"/>
                    </a:lnTo>
                    <a:lnTo>
                      <a:pt x="616" y="207"/>
                    </a:lnTo>
                    <a:lnTo>
                      <a:pt x="618" y="207"/>
                    </a:lnTo>
                    <a:lnTo>
                      <a:pt x="620" y="207"/>
                    </a:lnTo>
                    <a:lnTo>
                      <a:pt x="622" y="207"/>
                    </a:lnTo>
                    <a:lnTo>
                      <a:pt x="624" y="209"/>
                    </a:lnTo>
                    <a:lnTo>
                      <a:pt x="626" y="211"/>
                    </a:lnTo>
                    <a:lnTo>
                      <a:pt x="628" y="211"/>
                    </a:lnTo>
                    <a:lnTo>
                      <a:pt x="628" y="213"/>
                    </a:lnTo>
                    <a:lnTo>
                      <a:pt x="630" y="215"/>
                    </a:lnTo>
                    <a:lnTo>
                      <a:pt x="630" y="217"/>
                    </a:lnTo>
                    <a:lnTo>
                      <a:pt x="632" y="217"/>
                    </a:lnTo>
                    <a:lnTo>
                      <a:pt x="632" y="219"/>
                    </a:lnTo>
                    <a:lnTo>
                      <a:pt x="632" y="221"/>
                    </a:lnTo>
                    <a:lnTo>
                      <a:pt x="632" y="223"/>
                    </a:lnTo>
                    <a:lnTo>
                      <a:pt x="634" y="223"/>
                    </a:lnTo>
                    <a:lnTo>
                      <a:pt x="634" y="225"/>
                    </a:lnTo>
                    <a:lnTo>
                      <a:pt x="636" y="226"/>
                    </a:lnTo>
                    <a:lnTo>
                      <a:pt x="638" y="226"/>
                    </a:lnTo>
                    <a:lnTo>
                      <a:pt x="639" y="228"/>
                    </a:lnTo>
                    <a:lnTo>
                      <a:pt x="641" y="228"/>
                    </a:lnTo>
                    <a:lnTo>
                      <a:pt x="643" y="230"/>
                    </a:lnTo>
                    <a:lnTo>
                      <a:pt x="641" y="232"/>
                    </a:lnTo>
                    <a:lnTo>
                      <a:pt x="639" y="232"/>
                    </a:lnTo>
                    <a:lnTo>
                      <a:pt x="639" y="234"/>
                    </a:lnTo>
                    <a:lnTo>
                      <a:pt x="638" y="234"/>
                    </a:lnTo>
                    <a:lnTo>
                      <a:pt x="636" y="234"/>
                    </a:lnTo>
                    <a:lnTo>
                      <a:pt x="636" y="236"/>
                    </a:lnTo>
                    <a:lnTo>
                      <a:pt x="636" y="238"/>
                    </a:lnTo>
                    <a:lnTo>
                      <a:pt x="636" y="240"/>
                    </a:lnTo>
                    <a:lnTo>
                      <a:pt x="638" y="240"/>
                    </a:lnTo>
                    <a:lnTo>
                      <a:pt x="638" y="242"/>
                    </a:lnTo>
                    <a:lnTo>
                      <a:pt x="639" y="242"/>
                    </a:lnTo>
                    <a:lnTo>
                      <a:pt x="639" y="240"/>
                    </a:lnTo>
                    <a:lnTo>
                      <a:pt x="641" y="240"/>
                    </a:lnTo>
                    <a:lnTo>
                      <a:pt x="641" y="242"/>
                    </a:lnTo>
                    <a:lnTo>
                      <a:pt x="641" y="244"/>
                    </a:lnTo>
                    <a:lnTo>
                      <a:pt x="643" y="246"/>
                    </a:lnTo>
                    <a:lnTo>
                      <a:pt x="641" y="246"/>
                    </a:lnTo>
                    <a:lnTo>
                      <a:pt x="643" y="246"/>
                    </a:lnTo>
                    <a:lnTo>
                      <a:pt x="643" y="248"/>
                    </a:lnTo>
                    <a:lnTo>
                      <a:pt x="643" y="250"/>
                    </a:lnTo>
                    <a:lnTo>
                      <a:pt x="641" y="251"/>
                    </a:lnTo>
                    <a:lnTo>
                      <a:pt x="643" y="251"/>
                    </a:lnTo>
                    <a:lnTo>
                      <a:pt x="643" y="253"/>
                    </a:lnTo>
                    <a:lnTo>
                      <a:pt x="643" y="255"/>
                    </a:lnTo>
                    <a:lnTo>
                      <a:pt x="643" y="257"/>
                    </a:lnTo>
                    <a:lnTo>
                      <a:pt x="643" y="259"/>
                    </a:lnTo>
                    <a:lnTo>
                      <a:pt x="645" y="261"/>
                    </a:lnTo>
                    <a:lnTo>
                      <a:pt x="647" y="263"/>
                    </a:lnTo>
                    <a:lnTo>
                      <a:pt x="649" y="263"/>
                    </a:lnTo>
                    <a:lnTo>
                      <a:pt x="651" y="263"/>
                    </a:lnTo>
                    <a:lnTo>
                      <a:pt x="653" y="263"/>
                    </a:lnTo>
                    <a:lnTo>
                      <a:pt x="653" y="261"/>
                    </a:lnTo>
                    <a:lnTo>
                      <a:pt x="655" y="263"/>
                    </a:lnTo>
                    <a:lnTo>
                      <a:pt x="657" y="263"/>
                    </a:lnTo>
                    <a:lnTo>
                      <a:pt x="659" y="263"/>
                    </a:lnTo>
                    <a:lnTo>
                      <a:pt x="659" y="261"/>
                    </a:lnTo>
                    <a:lnTo>
                      <a:pt x="659" y="259"/>
                    </a:lnTo>
                    <a:lnTo>
                      <a:pt x="661" y="257"/>
                    </a:lnTo>
                    <a:lnTo>
                      <a:pt x="663" y="257"/>
                    </a:lnTo>
                    <a:lnTo>
                      <a:pt x="664" y="261"/>
                    </a:lnTo>
                    <a:lnTo>
                      <a:pt x="666" y="263"/>
                    </a:lnTo>
                    <a:lnTo>
                      <a:pt x="668" y="263"/>
                    </a:lnTo>
                    <a:lnTo>
                      <a:pt x="668" y="261"/>
                    </a:lnTo>
                    <a:lnTo>
                      <a:pt x="670" y="259"/>
                    </a:lnTo>
                    <a:lnTo>
                      <a:pt x="668" y="259"/>
                    </a:lnTo>
                    <a:lnTo>
                      <a:pt x="668" y="257"/>
                    </a:lnTo>
                    <a:lnTo>
                      <a:pt x="668" y="255"/>
                    </a:lnTo>
                    <a:lnTo>
                      <a:pt x="670" y="255"/>
                    </a:lnTo>
                    <a:lnTo>
                      <a:pt x="670" y="253"/>
                    </a:lnTo>
                    <a:lnTo>
                      <a:pt x="668" y="251"/>
                    </a:lnTo>
                    <a:lnTo>
                      <a:pt x="670" y="250"/>
                    </a:lnTo>
                    <a:lnTo>
                      <a:pt x="670" y="251"/>
                    </a:lnTo>
                    <a:lnTo>
                      <a:pt x="670" y="250"/>
                    </a:lnTo>
                    <a:lnTo>
                      <a:pt x="672" y="250"/>
                    </a:lnTo>
                    <a:lnTo>
                      <a:pt x="674" y="250"/>
                    </a:lnTo>
                    <a:lnTo>
                      <a:pt x="676" y="248"/>
                    </a:lnTo>
                    <a:lnTo>
                      <a:pt x="676" y="250"/>
                    </a:lnTo>
                    <a:lnTo>
                      <a:pt x="678" y="248"/>
                    </a:lnTo>
                    <a:lnTo>
                      <a:pt x="678" y="250"/>
                    </a:lnTo>
                    <a:lnTo>
                      <a:pt x="680" y="250"/>
                    </a:lnTo>
                    <a:lnTo>
                      <a:pt x="680" y="251"/>
                    </a:lnTo>
                    <a:lnTo>
                      <a:pt x="680" y="253"/>
                    </a:lnTo>
                    <a:lnTo>
                      <a:pt x="680" y="255"/>
                    </a:lnTo>
                    <a:lnTo>
                      <a:pt x="682" y="255"/>
                    </a:lnTo>
                    <a:lnTo>
                      <a:pt x="684" y="255"/>
                    </a:lnTo>
                    <a:lnTo>
                      <a:pt x="684" y="257"/>
                    </a:lnTo>
                    <a:lnTo>
                      <a:pt x="686" y="255"/>
                    </a:lnTo>
                    <a:lnTo>
                      <a:pt x="686" y="257"/>
                    </a:lnTo>
                    <a:lnTo>
                      <a:pt x="686" y="255"/>
                    </a:lnTo>
                    <a:lnTo>
                      <a:pt x="686" y="257"/>
                    </a:lnTo>
                    <a:lnTo>
                      <a:pt x="686" y="255"/>
                    </a:lnTo>
                    <a:lnTo>
                      <a:pt x="686" y="257"/>
                    </a:lnTo>
                    <a:lnTo>
                      <a:pt x="687" y="257"/>
                    </a:lnTo>
                    <a:lnTo>
                      <a:pt x="689" y="259"/>
                    </a:lnTo>
                    <a:lnTo>
                      <a:pt x="689" y="257"/>
                    </a:lnTo>
                    <a:lnTo>
                      <a:pt x="691" y="259"/>
                    </a:lnTo>
                    <a:lnTo>
                      <a:pt x="693" y="259"/>
                    </a:lnTo>
                    <a:lnTo>
                      <a:pt x="695" y="259"/>
                    </a:lnTo>
                    <a:lnTo>
                      <a:pt x="693" y="261"/>
                    </a:lnTo>
                    <a:lnTo>
                      <a:pt x="695" y="263"/>
                    </a:lnTo>
                    <a:lnTo>
                      <a:pt x="695" y="265"/>
                    </a:lnTo>
                    <a:lnTo>
                      <a:pt x="697" y="265"/>
                    </a:lnTo>
                    <a:lnTo>
                      <a:pt x="697" y="267"/>
                    </a:lnTo>
                    <a:lnTo>
                      <a:pt x="697" y="269"/>
                    </a:lnTo>
                    <a:lnTo>
                      <a:pt x="697" y="271"/>
                    </a:lnTo>
                    <a:lnTo>
                      <a:pt x="695" y="271"/>
                    </a:lnTo>
                    <a:lnTo>
                      <a:pt x="695" y="273"/>
                    </a:lnTo>
                    <a:lnTo>
                      <a:pt x="695" y="275"/>
                    </a:lnTo>
                    <a:lnTo>
                      <a:pt x="695" y="276"/>
                    </a:lnTo>
                    <a:lnTo>
                      <a:pt x="697" y="276"/>
                    </a:lnTo>
                    <a:lnTo>
                      <a:pt x="697" y="278"/>
                    </a:lnTo>
                    <a:lnTo>
                      <a:pt x="697" y="280"/>
                    </a:lnTo>
                    <a:lnTo>
                      <a:pt x="699" y="282"/>
                    </a:lnTo>
                    <a:lnTo>
                      <a:pt x="697" y="282"/>
                    </a:lnTo>
                    <a:lnTo>
                      <a:pt x="697" y="284"/>
                    </a:lnTo>
                    <a:lnTo>
                      <a:pt x="699" y="284"/>
                    </a:lnTo>
                    <a:lnTo>
                      <a:pt x="699" y="282"/>
                    </a:lnTo>
                    <a:lnTo>
                      <a:pt x="701" y="282"/>
                    </a:lnTo>
                    <a:lnTo>
                      <a:pt x="703" y="284"/>
                    </a:lnTo>
                    <a:lnTo>
                      <a:pt x="703" y="286"/>
                    </a:lnTo>
                    <a:lnTo>
                      <a:pt x="705" y="286"/>
                    </a:lnTo>
                    <a:lnTo>
                      <a:pt x="705" y="288"/>
                    </a:lnTo>
                    <a:lnTo>
                      <a:pt x="705" y="290"/>
                    </a:lnTo>
                    <a:lnTo>
                      <a:pt x="703" y="290"/>
                    </a:lnTo>
                    <a:lnTo>
                      <a:pt x="703" y="288"/>
                    </a:lnTo>
                    <a:lnTo>
                      <a:pt x="703" y="290"/>
                    </a:lnTo>
                    <a:lnTo>
                      <a:pt x="701" y="290"/>
                    </a:lnTo>
                    <a:lnTo>
                      <a:pt x="701" y="292"/>
                    </a:lnTo>
                    <a:lnTo>
                      <a:pt x="701" y="290"/>
                    </a:lnTo>
                    <a:lnTo>
                      <a:pt x="701" y="292"/>
                    </a:lnTo>
                    <a:lnTo>
                      <a:pt x="703" y="292"/>
                    </a:lnTo>
                    <a:lnTo>
                      <a:pt x="703" y="294"/>
                    </a:lnTo>
                    <a:lnTo>
                      <a:pt x="705" y="294"/>
                    </a:lnTo>
                    <a:lnTo>
                      <a:pt x="705" y="296"/>
                    </a:lnTo>
                    <a:lnTo>
                      <a:pt x="707" y="296"/>
                    </a:lnTo>
                    <a:lnTo>
                      <a:pt x="707" y="298"/>
                    </a:lnTo>
                    <a:lnTo>
                      <a:pt x="707" y="300"/>
                    </a:lnTo>
                    <a:lnTo>
                      <a:pt x="707" y="301"/>
                    </a:lnTo>
                    <a:lnTo>
                      <a:pt x="709" y="301"/>
                    </a:lnTo>
                    <a:lnTo>
                      <a:pt x="709" y="303"/>
                    </a:lnTo>
                    <a:lnTo>
                      <a:pt x="709" y="305"/>
                    </a:lnTo>
                    <a:lnTo>
                      <a:pt x="709" y="307"/>
                    </a:lnTo>
                    <a:lnTo>
                      <a:pt x="709" y="309"/>
                    </a:lnTo>
                    <a:lnTo>
                      <a:pt x="707" y="309"/>
                    </a:lnTo>
                    <a:lnTo>
                      <a:pt x="707" y="311"/>
                    </a:lnTo>
                    <a:lnTo>
                      <a:pt x="709" y="311"/>
                    </a:lnTo>
                    <a:lnTo>
                      <a:pt x="709" y="313"/>
                    </a:lnTo>
                    <a:lnTo>
                      <a:pt x="709" y="311"/>
                    </a:lnTo>
                    <a:lnTo>
                      <a:pt x="711" y="311"/>
                    </a:lnTo>
                    <a:lnTo>
                      <a:pt x="711" y="313"/>
                    </a:lnTo>
                    <a:lnTo>
                      <a:pt x="712" y="313"/>
                    </a:lnTo>
                    <a:lnTo>
                      <a:pt x="714" y="313"/>
                    </a:lnTo>
                    <a:lnTo>
                      <a:pt x="716" y="315"/>
                    </a:lnTo>
                    <a:lnTo>
                      <a:pt x="718" y="315"/>
                    </a:lnTo>
                    <a:lnTo>
                      <a:pt x="720" y="315"/>
                    </a:lnTo>
                    <a:lnTo>
                      <a:pt x="720" y="317"/>
                    </a:lnTo>
                    <a:lnTo>
                      <a:pt x="720" y="319"/>
                    </a:lnTo>
                    <a:lnTo>
                      <a:pt x="720" y="321"/>
                    </a:lnTo>
                    <a:lnTo>
                      <a:pt x="720" y="323"/>
                    </a:lnTo>
                    <a:lnTo>
                      <a:pt x="720" y="325"/>
                    </a:lnTo>
                    <a:lnTo>
                      <a:pt x="720" y="326"/>
                    </a:lnTo>
                    <a:lnTo>
                      <a:pt x="722" y="326"/>
                    </a:lnTo>
                    <a:lnTo>
                      <a:pt x="722" y="328"/>
                    </a:lnTo>
                    <a:lnTo>
                      <a:pt x="724" y="328"/>
                    </a:lnTo>
                    <a:lnTo>
                      <a:pt x="724" y="330"/>
                    </a:lnTo>
                    <a:lnTo>
                      <a:pt x="724" y="332"/>
                    </a:lnTo>
                    <a:lnTo>
                      <a:pt x="724" y="334"/>
                    </a:lnTo>
                    <a:close/>
                    <a:moveTo>
                      <a:pt x="248" y="703"/>
                    </a:moveTo>
                    <a:lnTo>
                      <a:pt x="249" y="701"/>
                    </a:lnTo>
                    <a:lnTo>
                      <a:pt x="248" y="701"/>
                    </a:lnTo>
                    <a:lnTo>
                      <a:pt x="246" y="701"/>
                    </a:lnTo>
                    <a:lnTo>
                      <a:pt x="244" y="699"/>
                    </a:lnTo>
                    <a:lnTo>
                      <a:pt x="244" y="701"/>
                    </a:lnTo>
                    <a:lnTo>
                      <a:pt x="244" y="703"/>
                    </a:lnTo>
                    <a:lnTo>
                      <a:pt x="242" y="703"/>
                    </a:lnTo>
                    <a:lnTo>
                      <a:pt x="242" y="705"/>
                    </a:lnTo>
                    <a:lnTo>
                      <a:pt x="240" y="705"/>
                    </a:lnTo>
                    <a:lnTo>
                      <a:pt x="238" y="705"/>
                    </a:lnTo>
                    <a:lnTo>
                      <a:pt x="238" y="703"/>
                    </a:lnTo>
                    <a:lnTo>
                      <a:pt x="236" y="705"/>
                    </a:lnTo>
                    <a:lnTo>
                      <a:pt x="234" y="705"/>
                    </a:lnTo>
                    <a:lnTo>
                      <a:pt x="234" y="707"/>
                    </a:lnTo>
                    <a:lnTo>
                      <a:pt x="234" y="709"/>
                    </a:lnTo>
                    <a:lnTo>
                      <a:pt x="234" y="711"/>
                    </a:lnTo>
                    <a:lnTo>
                      <a:pt x="234" y="713"/>
                    </a:lnTo>
                    <a:lnTo>
                      <a:pt x="232" y="713"/>
                    </a:lnTo>
                    <a:lnTo>
                      <a:pt x="230" y="713"/>
                    </a:lnTo>
                    <a:lnTo>
                      <a:pt x="230" y="711"/>
                    </a:lnTo>
                    <a:lnTo>
                      <a:pt x="230" y="713"/>
                    </a:lnTo>
                    <a:lnTo>
                      <a:pt x="230" y="715"/>
                    </a:lnTo>
                    <a:lnTo>
                      <a:pt x="228" y="715"/>
                    </a:lnTo>
                    <a:lnTo>
                      <a:pt x="228" y="717"/>
                    </a:lnTo>
                    <a:lnTo>
                      <a:pt x="228" y="719"/>
                    </a:lnTo>
                    <a:lnTo>
                      <a:pt x="230" y="719"/>
                    </a:lnTo>
                    <a:lnTo>
                      <a:pt x="232" y="719"/>
                    </a:lnTo>
                    <a:lnTo>
                      <a:pt x="232" y="721"/>
                    </a:lnTo>
                    <a:lnTo>
                      <a:pt x="234" y="721"/>
                    </a:lnTo>
                    <a:lnTo>
                      <a:pt x="236" y="721"/>
                    </a:lnTo>
                    <a:lnTo>
                      <a:pt x="236" y="722"/>
                    </a:lnTo>
                    <a:lnTo>
                      <a:pt x="238" y="724"/>
                    </a:lnTo>
                    <a:lnTo>
                      <a:pt x="236" y="726"/>
                    </a:lnTo>
                    <a:lnTo>
                      <a:pt x="236" y="728"/>
                    </a:lnTo>
                    <a:lnTo>
                      <a:pt x="236" y="730"/>
                    </a:lnTo>
                    <a:lnTo>
                      <a:pt x="238" y="730"/>
                    </a:lnTo>
                    <a:lnTo>
                      <a:pt x="240" y="730"/>
                    </a:lnTo>
                    <a:lnTo>
                      <a:pt x="242" y="730"/>
                    </a:lnTo>
                    <a:lnTo>
                      <a:pt x="242" y="732"/>
                    </a:lnTo>
                    <a:lnTo>
                      <a:pt x="244" y="734"/>
                    </a:lnTo>
                    <a:lnTo>
                      <a:pt x="244" y="736"/>
                    </a:lnTo>
                    <a:lnTo>
                      <a:pt x="242" y="736"/>
                    </a:lnTo>
                    <a:lnTo>
                      <a:pt x="242" y="738"/>
                    </a:lnTo>
                    <a:lnTo>
                      <a:pt x="244" y="740"/>
                    </a:lnTo>
                    <a:lnTo>
                      <a:pt x="242" y="740"/>
                    </a:lnTo>
                    <a:lnTo>
                      <a:pt x="242" y="742"/>
                    </a:lnTo>
                    <a:lnTo>
                      <a:pt x="240" y="744"/>
                    </a:lnTo>
                    <a:lnTo>
                      <a:pt x="240" y="746"/>
                    </a:lnTo>
                    <a:lnTo>
                      <a:pt x="238" y="746"/>
                    </a:lnTo>
                    <a:lnTo>
                      <a:pt x="240" y="746"/>
                    </a:lnTo>
                    <a:lnTo>
                      <a:pt x="240" y="747"/>
                    </a:lnTo>
                    <a:lnTo>
                      <a:pt x="236" y="749"/>
                    </a:lnTo>
                    <a:lnTo>
                      <a:pt x="236" y="747"/>
                    </a:lnTo>
                    <a:lnTo>
                      <a:pt x="234" y="747"/>
                    </a:lnTo>
                    <a:lnTo>
                      <a:pt x="232" y="747"/>
                    </a:lnTo>
                    <a:lnTo>
                      <a:pt x="232" y="749"/>
                    </a:lnTo>
                    <a:lnTo>
                      <a:pt x="230" y="751"/>
                    </a:lnTo>
                    <a:lnTo>
                      <a:pt x="228" y="753"/>
                    </a:lnTo>
                    <a:lnTo>
                      <a:pt x="226" y="753"/>
                    </a:lnTo>
                    <a:lnTo>
                      <a:pt x="224" y="753"/>
                    </a:lnTo>
                    <a:lnTo>
                      <a:pt x="224" y="755"/>
                    </a:lnTo>
                    <a:lnTo>
                      <a:pt x="226" y="755"/>
                    </a:lnTo>
                    <a:lnTo>
                      <a:pt x="224" y="757"/>
                    </a:lnTo>
                    <a:lnTo>
                      <a:pt x="224" y="759"/>
                    </a:lnTo>
                    <a:lnTo>
                      <a:pt x="226" y="759"/>
                    </a:lnTo>
                    <a:lnTo>
                      <a:pt x="224" y="761"/>
                    </a:lnTo>
                    <a:lnTo>
                      <a:pt x="226" y="763"/>
                    </a:lnTo>
                    <a:lnTo>
                      <a:pt x="228" y="763"/>
                    </a:lnTo>
                    <a:lnTo>
                      <a:pt x="228" y="761"/>
                    </a:lnTo>
                    <a:lnTo>
                      <a:pt x="230" y="761"/>
                    </a:lnTo>
                    <a:lnTo>
                      <a:pt x="230" y="763"/>
                    </a:lnTo>
                    <a:lnTo>
                      <a:pt x="232" y="763"/>
                    </a:lnTo>
                    <a:lnTo>
                      <a:pt x="234" y="765"/>
                    </a:lnTo>
                    <a:lnTo>
                      <a:pt x="234" y="767"/>
                    </a:lnTo>
                    <a:lnTo>
                      <a:pt x="236" y="767"/>
                    </a:lnTo>
                    <a:lnTo>
                      <a:pt x="236" y="769"/>
                    </a:lnTo>
                    <a:lnTo>
                      <a:pt x="238" y="769"/>
                    </a:lnTo>
                    <a:lnTo>
                      <a:pt x="238" y="771"/>
                    </a:lnTo>
                    <a:lnTo>
                      <a:pt x="240" y="771"/>
                    </a:lnTo>
                    <a:lnTo>
                      <a:pt x="240" y="772"/>
                    </a:lnTo>
                    <a:lnTo>
                      <a:pt x="242" y="771"/>
                    </a:lnTo>
                    <a:lnTo>
                      <a:pt x="242" y="772"/>
                    </a:lnTo>
                    <a:lnTo>
                      <a:pt x="242" y="771"/>
                    </a:lnTo>
                    <a:lnTo>
                      <a:pt x="242" y="772"/>
                    </a:lnTo>
                    <a:lnTo>
                      <a:pt x="242" y="771"/>
                    </a:lnTo>
                    <a:lnTo>
                      <a:pt x="242" y="772"/>
                    </a:lnTo>
                    <a:lnTo>
                      <a:pt x="244" y="772"/>
                    </a:lnTo>
                    <a:lnTo>
                      <a:pt x="246" y="772"/>
                    </a:lnTo>
                    <a:lnTo>
                      <a:pt x="246" y="774"/>
                    </a:lnTo>
                    <a:lnTo>
                      <a:pt x="246" y="772"/>
                    </a:lnTo>
                    <a:lnTo>
                      <a:pt x="248" y="769"/>
                    </a:lnTo>
                    <a:lnTo>
                      <a:pt x="248" y="767"/>
                    </a:lnTo>
                    <a:lnTo>
                      <a:pt x="248" y="765"/>
                    </a:lnTo>
                    <a:lnTo>
                      <a:pt x="249" y="763"/>
                    </a:lnTo>
                    <a:lnTo>
                      <a:pt x="249" y="761"/>
                    </a:lnTo>
                    <a:lnTo>
                      <a:pt x="249" y="759"/>
                    </a:lnTo>
                    <a:lnTo>
                      <a:pt x="251" y="759"/>
                    </a:lnTo>
                    <a:lnTo>
                      <a:pt x="251" y="757"/>
                    </a:lnTo>
                    <a:lnTo>
                      <a:pt x="251" y="755"/>
                    </a:lnTo>
                    <a:lnTo>
                      <a:pt x="251" y="753"/>
                    </a:lnTo>
                    <a:lnTo>
                      <a:pt x="253" y="751"/>
                    </a:lnTo>
                    <a:lnTo>
                      <a:pt x="253" y="753"/>
                    </a:lnTo>
                    <a:lnTo>
                      <a:pt x="255" y="755"/>
                    </a:lnTo>
                    <a:lnTo>
                      <a:pt x="257" y="755"/>
                    </a:lnTo>
                    <a:lnTo>
                      <a:pt x="259" y="755"/>
                    </a:lnTo>
                    <a:lnTo>
                      <a:pt x="259" y="753"/>
                    </a:lnTo>
                    <a:lnTo>
                      <a:pt x="259" y="751"/>
                    </a:lnTo>
                    <a:lnTo>
                      <a:pt x="261" y="751"/>
                    </a:lnTo>
                    <a:lnTo>
                      <a:pt x="263" y="751"/>
                    </a:lnTo>
                    <a:lnTo>
                      <a:pt x="263" y="749"/>
                    </a:lnTo>
                    <a:lnTo>
                      <a:pt x="265" y="749"/>
                    </a:lnTo>
                    <a:lnTo>
                      <a:pt x="267" y="749"/>
                    </a:lnTo>
                    <a:lnTo>
                      <a:pt x="269" y="749"/>
                    </a:lnTo>
                    <a:lnTo>
                      <a:pt x="269" y="751"/>
                    </a:lnTo>
                    <a:lnTo>
                      <a:pt x="267" y="753"/>
                    </a:lnTo>
                    <a:lnTo>
                      <a:pt x="267" y="755"/>
                    </a:lnTo>
                    <a:lnTo>
                      <a:pt x="267" y="757"/>
                    </a:lnTo>
                    <a:lnTo>
                      <a:pt x="267" y="759"/>
                    </a:lnTo>
                    <a:lnTo>
                      <a:pt x="269" y="761"/>
                    </a:lnTo>
                    <a:lnTo>
                      <a:pt x="269" y="763"/>
                    </a:lnTo>
                    <a:lnTo>
                      <a:pt x="269" y="765"/>
                    </a:lnTo>
                    <a:lnTo>
                      <a:pt x="269" y="767"/>
                    </a:lnTo>
                    <a:lnTo>
                      <a:pt x="269" y="769"/>
                    </a:lnTo>
                    <a:lnTo>
                      <a:pt x="269" y="771"/>
                    </a:lnTo>
                    <a:lnTo>
                      <a:pt x="271" y="771"/>
                    </a:lnTo>
                    <a:lnTo>
                      <a:pt x="271" y="772"/>
                    </a:lnTo>
                    <a:lnTo>
                      <a:pt x="273" y="772"/>
                    </a:lnTo>
                    <a:lnTo>
                      <a:pt x="274" y="772"/>
                    </a:lnTo>
                    <a:lnTo>
                      <a:pt x="276" y="772"/>
                    </a:lnTo>
                    <a:lnTo>
                      <a:pt x="276" y="774"/>
                    </a:lnTo>
                    <a:lnTo>
                      <a:pt x="278" y="774"/>
                    </a:lnTo>
                    <a:lnTo>
                      <a:pt x="280" y="774"/>
                    </a:lnTo>
                    <a:lnTo>
                      <a:pt x="280" y="776"/>
                    </a:lnTo>
                    <a:lnTo>
                      <a:pt x="280" y="778"/>
                    </a:lnTo>
                    <a:lnTo>
                      <a:pt x="282" y="778"/>
                    </a:lnTo>
                    <a:lnTo>
                      <a:pt x="282" y="780"/>
                    </a:lnTo>
                    <a:lnTo>
                      <a:pt x="282" y="782"/>
                    </a:lnTo>
                    <a:lnTo>
                      <a:pt x="282" y="784"/>
                    </a:lnTo>
                    <a:lnTo>
                      <a:pt x="282" y="786"/>
                    </a:lnTo>
                    <a:lnTo>
                      <a:pt x="284" y="788"/>
                    </a:lnTo>
                    <a:lnTo>
                      <a:pt x="284" y="790"/>
                    </a:lnTo>
                    <a:lnTo>
                      <a:pt x="286" y="790"/>
                    </a:lnTo>
                    <a:lnTo>
                      <a:pt x="286" y="792"/>
                    </a:lnTo>
                    <a:lnTo>
                      <a:pt x="286" y="790"/>
                    </a:lnTo>
                    <a:lnTo>
                      <a:pt x="288" y="790"/>
                    </a:lnTo>
                    <a:lnTo>
                      <a:pt x="288" y="788"/>
                    </a:lnTo>
                    <a:lnTo>
                      <a:pt x="290" y="788"/>
                    </a:lnTo>
                    <a:lnTo>
                      <a:pt x="290" y="790"/>
                    </a:lnTo>
                    <a:lnTo>
                      <a:pt x="292" y="790"/>
                    </a:lnTo>
                    <a:lnTo>
                      <a:pt x="292" y="788"/>
                    </a:lnTo>
                    <a:lnTo>
                      <a:pt x="290" y="788"/>
                    </a:lnTo>
                    <a:lnTo>
                      <a:pt x="290" y="786"/>
                    </a:lnTo>
                    <a:lnTo>
                      <a:pt x="290" y="784"/>
                    </a:lnTo>
                    <a:lnTo>
                      <a:pt x="288" y="780"/>
                    </a:lnTo>
                    <a:lnTo>
                      <a:pt x="288" y="778"/>
                    </a:lnTo>
                    <a:lnTo>
                      <a:pt x="288" y="776"/>
                    </a:lnTo>
                    <a:lnTo>
                      <a:pt x="288" y="774"/>
                    </a:lnTo>
                    <a:lnTo>
                      <a:pt x="288" y="772"/>
                    </a:lnTo>
                    <a:lnTo>
                      <a:pt x="288" y="771"/>
                    </a:lnTo>
                    <a:lnTo>
                      <a:pt x="290" y="771"/>
                    </a:lnTo>
                    <a:lnTo>
                      <a:pt x="290" y="769"/>
                    </a:lnTo>
                    <a:lnTo>
                      <a:pt x="292" y="769"/>
                    </a:lnTo>
                    <a:lnTo>
                      <a:pt x="292" y="767"/>
                    </a:lnTo>
                    <a:lnTo>
                      <a:pt x="294" y="767"/>
                    </a:lnTo>
                    <a:lnTo>
                      <a:pt x="296" y="767"/>
                    </a:lnTo>
                    <a:lnTo>
                      <a:pt x="297" y="767"/>
                    </a:lnTo>
                    <a:lnTo>
                      <a:pt x="299" y="767"/>
                    </a:lnTo>
                    <a:lnTo>
                      <a:pt x="299" y="765"/>
                    </a:lnTo>
                    <a:lnTo>
                      <a:pt x="301" y="765"/>
                    </a:lnTo>
                    <a:lnTo>
                      <a:pt x="301" y="767"/>
                    </a:lnTo>
                    <a:lnTo>
                      <a:pt x="301" y="765"/>
                    </a:lnTo>
                    <a:lnTo>
                      <a:pt x="303" y="765"/>
                    </a:lnTo>
                    <a:lnTo>
                      <a:pt x="303" y="767"/>
                    </a:lnTo>
                    <a:lnTo>
                      <a:pt x="303" y="765"/>
                    </a:lnTo>
                    <a:lnTo>
                      <a:pt x="305" y="765"/>
                    </a:lnTo>
                    <a:lnTo>
                      <a:pt x="305" y="767"/>
                    </a:lnTo>
                    <a:lnTo>
                      <a:pt x="307" y="767"/>
                    </a:lnTo>
                    <a:lnTo>
                      <a:pt x="307" y="765"/>
                    </a:lnTo>
                    <a:lnTo>
                      <a:pt x="307" y="767"/>
                    </a:lnTo>
                    <a:lnTo>
                      <a:pt x="307" y="769"/>
                    </a:lnTo>
                    <a:lnTo>
                      <a:pt x="305" y="771"/>
                    </a:lnTo>
                    <a:lnTo>
                      <a:pt x="305" y="772"/>
                    </a:lnTo>
                    <a:lnTo>
                      <a:pt x="303" y="772"/>
                    </a:lnTo>
                    <a:lnTo>
                      <a:pt x="301" y="772"/>
                    </a:lnTo>
                    <a:lnTo>
                      <a:pt x="303" y="774"/>
                    </a:lnTo>
                    <a:lnTo>
                      <a:pt x="303" y="776"/>
                    </a:lnTo>
                    <a:lnTo>
                      <a:pt x="303" y="778"/>
                    </a:lnTo>
                    <a:lnTo>
                      <a:pt x="305" y="778"/>
                    </a:lnTo>
                    <a:lnTo>
                      <a:pt x="305" y="780"/>
                    </a:lnTo>
                    <a:lnTo>
                      <a:pt x="307" y="780"/>
                    </a:lnTo>
                    <a:lnTo>
                      <a:pt x="307" y="778"/>
                    </a:lnTo>
                    <a:lnTo>
                      <a:pt x="307" y="780"/>
                    </a:lnTo>
                    <a:lnTo>
                      <a:pt x="309" y="780"/>
                    </a:lnTo>
                    <a:lnTo>
                      <a:pt x="309" y="782"/>
                    </a:lnTo>
                    <a:lnTo>
                      <a:pt x="309" y="784"/>
                    </a:lnTo>
                    <a:lnTo>
                      <a:pt x="311" y="784"/>
                    </a:lnTo>
                    <a:lnTo>
                      <a:pt x="313" y="786"/>
                    </a:lnTo>
                    <a:lnTo>
                      <a:pt x="311" y="786"/>
                    </a:lnTo>
                    <a:lnTo>
                      <a:pt x="311" y="788"/>
                    </a:lnTo>
                    <a:lnTo>
                      <a:pt x="313" y="788"/>
                    </a:lnTo>
                    <a:lnTo>
                      <a:pt x="313" y="790"/>
                    </a:lnTo>
                    <a:lnTo>
                      <a:pt x="315" y="792"/>
                    </a:lnTo>
                    <a:lnTo>
                      <a:pt x="317" y="794"/>
                    </a:lnTo>
                    <a:lnTo>
                      <a:pt x="317" y="796"/>
                    </a:lnTo>
                    <a:lnTo>
                      <a:pt x="319" y="796"/>
                    </a:lnTo>
                    <a:lnTo>
                      <a:pt x="319" y="797"/>
                    </a:lnTo>
                    <a:lnTo>
                      <a:pt x="321" y="797"/>
                    </a:lnTo>
                    <a:lnTo>
                      <a:pt x="319" y="797"/>
                    </a:lnTo>
                    <a:lnTo>
                      <a:pt x="319" y="799"/>
                    </a:lnTo>
                    <a:lnTo>
                      <a:pt x="321" y="799"/>
                    </a:lnTo>
                    <a:lnTo>
                      <a:pt x="321" y="801"/>
                    </a:lnTo>
                    <a:lnTo>
                      <a:pt x="321" y="803"/>
                    </a:lnTo>
                    <a:lnTo>
                      <a:pt x="322" y="803"/>
                    </a:lnTo>
                    <a:lnTo>
                      <a:pt x="322" y="805"/>
                    </a:lnTo>
                    <a:lnTo>
                      <a:pt x="324" y="805"/>
                    </a:lnTo>
                    <a:lnTo>
                      <a:pt x="326" y="807"/>
                    </a:lnTo>
                    <a:lnTo>
                      <a:pt x="328" y="809"/>
                    </a:lnTo>
                    <a:lnTo>
                      <a:pt x="330" y="807"/>
                    </a:lnTo>
                    <a:lnTo>
                      <a:pt x="332" y="807"/>
                    </a:lnTo>
                    <a:lnTo>
                      <a:pt x="332" y="805"/>
                    </a:lnTo>
                    <a:lnTo>
                      <a:pt x="334" y="805"/>
                    </a:lnTo>
                    <a:lnTo>
                      <a:pt x="334" y="803"/>
                    </a:lnTo>
                    <a:lnTo>
                      <a:pt x="336" y="803"/>
                    </a:lnTo>
                    <a:lnTo>
                      <a:pt x="336" y="801"/>
                    </a:lnTo>
                    <a:lnTo>
                      <a:pt x="336" y="799"/>
                    </a:lnTo>
                    <a:lnTo>
                      <a:pt x="338" y="799"/>
                    </a:lnTo>
                    <a:lnTo>
                      <a:pt x="338" y="797"/>
                    </a:lnTo>
                    <a:lnTo>
                      <a:pt x="338" y="796"/>
                    </a:lnTo>
                    <a:lnTo>
                      <a:pt x="338" y="794"/>
                    </a:lnTo>
                    <a:lnTo>
                      <a:pt x="340" y="794"/>
                    </a:lnTo>
                    <a:lnTo>
                      <a:pt x="340" y="792"/>
                    </a:lnTo>
                    <a:lnTo>
                      <a:pt x="342" y="792"/>
                    </a:lnTo>
                    <a:lnTo>
                      <a:pt x="344" y="790"/>
                    </a:lnTo>
                    <a:lnTo>
                      <a:pt x="344" y="788"/>
                    </a:lnTo>
                    <a:lnTo>
                      <a:pt x="346" y="788"/>
                    </a:lnTo>
                    <a:lnTo>
                      <a:pt x="346" y="786"/>
                    </a:lnTo>
                    <a:lnTo>
                      <a:pt x="346" y="784"/>
                    </a:lnTo>
                    <a:lnTo>
                      <a:pt x="346" y="782"/>
                    </a:lnTo>
                    <a:lnTo>
                      <a:pt x="347" y="782"/>
                    </a:lnTo>
                    <a:lnTo>
                      <a:pt x="349" y="782"/>
                    </a:lnTo>
                    <a:lnTo>
                      <a:pt x="351" y="780"/>
                    </a:lnTo>
                    <a:lnTo>
                      <a:pt x="353" y="780"/>
                    </a:lnTo>
                    <a:lnTo>
                      <a:pt x="351" y="780"/>
                    </a:lnTo>
                    <a:lnTo>
                      <a:pt x="351" y="778"/>
                    </a:lnTo>
                    <a:lnTo>
                      <a:pt x="353" y="776"/>
                    </a:lnTo>
                    <a:lnTo>
                      <a:pt x="353" y="772"/>
                    </a:lnTo>
                    <a:lnTo>
                      <a:pt x="353" y="771"/>
                    </a:lnTo>
                    <a:lnTo>
                      <a:pt x="353" y="769"/>
                    </a:lnTo>
                    <a:lnTo>
                      <a:pt x="353" y="767"/>
                    </a:lnTo>
                    <a:lnTo>
                      <a:pt x="355" y="765"/>
                    </a:lnTo>
                    <a:lnTo>
                      <a:pt x="355" y="763"/>
                    </a:lnTo>
                    <a:lnTo>
                      <a:pt x="355" y="761"/>
                    </a:lnTo>
                    <a:lnTo>
                      <a:pt x="357" y="761"/>
                    </a:lnTo>
                    <a:lnTo>
                      <a:pt x="357" y="759"/>
                    </a:lnTo>
                    <a:lnTo>
                      <a:pt x="357" y="757"/>
                    </a:lnTo>
                    <a:lnTo>
                      <a:pt x="357" y="755"/>
                    </a:lnTo>
                    <a:lnTo>
                      <a:pt x="357" y="753"/>
                    </a:lnTo>
                    <a:lnTo>
                      <a:pt x="359" y="751"/>
                    </a:lnTo>
                    <a:lnTo>
                      <a:pt x="359" y="749"/>
                    </a:lnTo>
                    <a:lnTo>
                      <a:pt x="361" y="749"/>
                    </a:lnTo>
                    <a:lnTo>
                      <a:pt x="363" y="749"/>
                    </a:lnTo>
                    <a:lnTo>
                      <a:pt x="363" y="747"/>
                    </a:lnTo>
                    <a:lnTo>
                      <a:pt x="365" y="747"/>
                    </a:lnTo>
                    <a:lnTo>
                      <a:pt x="365" y="746"/>
                    </a:lnTo>
                    <a:lnTo>
                      <a:pt x="365" y="744"/>
                    </a:lnTo>
                    <a:lnTo>
                      <a:pt x="363" y="744"/>
                    </a:lnTo>
                    <a:lnTo>
                      <a:pt x="361" y="744"/>
                    </a:lnTo>
                    <a:lnTo>
                      <a:pt x="361" y="742"/>
                    </a:lnTo>
                    <a:lnTo>
                      <a:pt x="359" y="742"/>
                    </a:lnTo>
                    <a:lnTo>
                      <a:pt x="359" y="740"/>
                    </a:lnTo>
                    <a:lnTo>
                      <a:pt x="357" y="738"/>
                    </a:lnTo>
                    <a:lnTo>
                      <a:pt x="357" y="736"/>
                    </a:lnTo>
                    <a:lnTo>
                      <a:pt x="359" y="736"/>
                    </a:lnTo>
                    <a:lnTo>
                      <a:pt x="359" y="734"/>
                    </a:lnTo>
                    <a:lnTo>
                      <a:pt x="357" y="734"/>
                    </a:lnTo>
                    <a:lnTo>
                      <a:pt x="357" y="736"/>
                    </a:lnTo>
                    <a:lnTo>
                      <a:pt x="355" y="738"/>
                    </a:lnTo>
                    <a:lnTo>
                      <a:pt x="355" y="740"/>
                    </a:lnTo>
                    <a:lnTo>
                      <a:pt x="353" y="740"/>
                    </a:lnTo>
                    <a:lnTo>
                      <a:pt x="349" y="736"/>
                    </a:lnTo>
                    <a:lnTo>
                      <a:pt x="347" y="734"/>
                    </a:lnTo>
                    <a:lnTo>
                      <a:pt x="349" y="734"/>
                    </a:lnTo>
                    <a:lnTo>
                      <a:pt x="349" y="732"/>
                    </a:lnTo>
                    <a:lnTo>
                      <a:pt x="351" y="730"/>
                    </a:lnTo>
                    <a:lnTo>
                      <a:pt x="349" y="728"/>
                    </a:lnTo>
                    <a:lnTo>
                      <a:pt x="349" y="726"/>
                    </a:lnTo>
                    <a:lnTo>
                      <a:pt x="349" y="724"/>
                    </a:lnTo>
                    <a:lnTo>
                      <a:pt x="349" y="722"/>
                    </a:lnTo>
                    <a:lnTo>
                      <a:pt x="347" y="721"/>
                    </a:lnTo>
                    <a:lnTo>
                      <a:pt x="346" y="721"/>
                    </a:lnTo>
                    <a:lnTo>
                      <a:pt x="344" y="721"/>
                    </a:lnTo>
                    <a:lnTo>
                      <a:pt x="344" y="722"/>
                    </a:lnTo>
                    <a:lnTo>
                      <a:pt x="344" y="724"/>
                    </a:lnTo>
                    <a:lnTo>
                      <a:pt x="344" y="726"/>
                    </a:lnTo>
                    <a:lnTo>
                      <a:pt x="342" y="726"/>
                    </a:lnTo>
                    <a:lnTo>
                      <a:pt x="344" y="726"/>
                    </a:lnTo>
                    <a:lnTo>
                      <a:pt x="344" y="728"/>
                    </a:lnTo>
                    <a:lnTo>
                      <a:pt x="346" y="728"/>
                    </a:lnTo>
                    <a:lnTo>
                      <a:pt x="344" y="732"/>
                    </a:lnTo>
                    <a:lnTo>
                      <a:pt x="342" y="734"/>
                    </a:lnTo>
                    <a:lnTo>
                      <a:pt x="342" y="736"/>
                    </a:lnTo>
                    <a:lnTo>
                      <a:pt x="340" y="734"/>
                    </a:lnTo>
                    <a:lnTo>
                      <a:pt x="338" y="732"/>
                    </a:lnTo>
                    <a:lnTo>
                      <a:pt x="336" y="732"/>
                    </a:lnTo>
                    <a:lnTo>
                      <a:pt x="336" y="734"/>
                    </a:lnTo>
                    <a:lnTo>
                      <a:pt x="334" y="734"/>
                    </a:lnTo>
                    <a:lnTo>
                      <a:pt x="332" y="732"/>
                    </a:lnTo>
                    <a:lnTo>
                      <a:pt x="332" y="734"/>
                    </a:lnTo>
                    <a:lnTo>
                      <a:pt x="330" y="734"/>
                    </a:lnTo>
                    <a:lnTo>
                      <a:pt x="328" y="734"/>
                    </a:lnTo>
                    <a:lnTo>
                      <a:pt x="328" y="736"/>
                    </a:lnTo>
                    <a:lnTo>
                      <a:pt x="326" y="736"/>
                    </a:lnTo>
                    <a:lnTo>
                      <a:pt x="324" y="736"/>
                    </a:lnTo>
                    <a:lnTo>
                      <a:pt x="322" y="738"/>
                    </a:lnTo>
                    <a:lnTo>
                      <a:pt x="321" y="738"/>
                    </a:lnTo>
                    <a:lnTo>
                      <a:pt x="319" y="738"/>
                    </a:lnTo>
                    <a:lnTo>
                      <a:pt x="317" y="740"/>
                    </a:lnTo>
                    <a:lnTo>
                      <a:pt x="317" y="738"/>
                    </a:lnTo>
                    <a:lnTo>
                      <a:pt x="315" y="738"/>
                    </a:lnTo>
                    <a:lnTo>
                      <a:pt x="313" y="740"/>
                    </a:lnTo>
                    <a:lnTo>
                      <a:pt x="313" y="738"/>
                    </a:lnTo>
                    <a:lnTo>
                      <a:pt x="313" y="736"/>
                    </a:lnTo>
                    <a:lnTo>
                      <a:pt x="313" y="734"/>
                    </a:lnTo>
                    <a:lnTo>
                      <a:pt x="313" y="732"/>
                    </a:lnTo>
                    <a:lnTo>
                      <a:pt x="313" y="730"/>
                    </a:lnTo>
                    <a:lnTo>
                      <a:pt x="311" y="730"/>
                    </a:lnTo>
                    <a:lnTo>
                      <a:pt x="309" y="730"/>
                    </a:lnTo>
                    <a:lnTo>
                      <a:pt x="307" y="728"/>
                    </a:lnTo>
                    <a:lnTo>
                      <a:pt x="305" y="728"/>
                    </a:lnTo>
                    <a:lnTo>
                      <a:pt x="305" y="726"/>
                    </a:lnTo>
                    <a:lnTo>
                      <a:pt x="303" y="726"/>
                    </a:lnTo>
                    <a:lnTo>
                      <a:pt x="305" y="724"/>
                    </a:lnTo>
                    <a:lnTo>
                      <a:pt x="303" y="724"/>
                    </a:lnTo>
                    <a:lnTo>
                      <a:pt x="303" y="722"/>
                    </a:lnTo>
                    <a:lnTo>
                      <a:pt x="301" y="722"/>
                    </a:lnTo>
                    <a:lnTo>
                      <a:pt x="301" y="721"/>
                    </a:lnTo>
                    <a:lnTo>
                      <a:pt x="299" y="721"/>
                    </a:lnTo>
                    <a:lnTo>
                      <a:pt x="299" y="719"/>
                    </a:lnTo>
                    <a:lnTo>
                      <a:pt x="299" y="717"/>
                    </a:lnTo>
                    <a:lnTo>
                      <a:pt x="301" y="717"/>
                    </a:lnTo>
                    <a:lnTo>
                      <a:pt x="299" y="715"/>
                    </a:lnTo>
                    <a:lnTo>
                      <a:pt x="299" y="713"/>
                    </a:lnTo>
                    <a:lnTo>
                      <a:pt x="297" y="711"/>
                    </a:lnTo>
                    <a:lnTo>
                      <a:pt x="297" y="709"/>
                    </a:lnTo>
                    <a:lnTo>
                      <a:pt x="297" y="707"/>
                    </a:lnTo>
                    <a:lnTo>
                      <a:pt x="297" y="705"/>
                    </a:lnTo>
                    <a:lnTo>
                      <a:pt x="297" y="703"/>
                    </a:lnTo>
                    <a:lnTo>
                      <a:pt x="297" y="701"/>
                    </a:lnTo>
                    <a:lnTo>
                      <a:pt x="297" y="699"/>
                    </a:lnTo>
                    <a:lnTo>
                      <a:pt x="297" y="697"/>
                    </a:lnTo>
                    <a:lnTo>
                      <a:pt x="296" y="697"/>
                    </a:lnTo>
                    <a:lnTo>
                      <a:pt x="296" y="696"/>
                    </a:lnTo>
                    <a:lnTo>
                      <a:pt x="294" y="696"/>
                    </a:lnTo>
                    <a:lnTo>
                      <a:pt x="290" y="697"/>
                    </a:lnTo>
                    <a:lnTo>
                      <a:pt x="290" y="699"/>
                    </a:lnTo>
                    <a:lnTo>
                      <a:pt x="290" y="701"/>
                    </a:lnTo>
                    <a:lnTo>
                      <a:pt x="288" y="705"/>
                    </a:lnTo>
                    <a:lnTo>
                      <a:pt x="286" y="703"/>
                    </a:lnTo>
                    <a:lnTo>
                      <a:pt x="284" y="703"/>
                    </a:lnTo>
                    <a:lnTo>
                      <a:pt x="282" y="705"/>
                    </a:lnTo>
                    <a:lnTo>
                      <a:pt x="280" y="705"/>
                    </a:lnTo>
                    <a:lnTo>
                      <a:pt x="280" y="707"/>
                    </a:lnTo>
                    <a:lnTo>
                      <a:pt x="280" y="709"/>
                    </a:lnTo>
                    <a:lnTo>
                      <a:pt x="280" y="711"/>
                    </a:lnTo>
                    <a:lnTo>
                      <a:pt x="278" y="713"/>
                    </a:lnTo>
                    <a:lnTo>
                      <a:pt x="276" y="713"/>
                    </a:lnTo>
                    <a:lnTo>
                      <a:pt x="276" y="715"/>
                    </a:lnTo>
                    <a:lnTo>
                      <a:pt x="274" y="715"/>
                    </a:lnTo>
                    <a:lnTo>
                      <a:pt x="274" y="717"/>
                    </a:lnTo>
                    <a:lnTo>
                      <a:pt x="273" y="717"/>
                    </a:lnTo>
                    <a:lnTo>
                      <a:pt x="271" y="717"/>
                    </a:lnTo>
                    <a:lnTo>
                      <a:pt x="271" y="715"/>
                    </a:lnTo>
                    <a:lnTo>
                      <a:pt x="271" y="717"/>
                    </a:lnTo>
                    <a:lnTo>
                      <a:pt x="269" y="717"/>
                    </a:lnTo>
                    <a:lnTo>
                      <a:pt x="269" y="719"/>
                    </a:lnTo>
                    <a:lnTo>
                      <a:pt x="271" y="721"/>
                    </a:lnTo>
                    <a:lnTo>
                      <a:pt x="271" y="722"/>
                    </a:lnTo>
                    <a:lnTo>
                      <a:pt x="271" y="724"/>
                    </a:lnTo>
                    <a:lnTo>
                      <a:pt x="271" y="726"/>
                    </a:lnTo>
                    <a:lnTo>
                      <a:pt x="271" y="728"/>
                    </a:lnTo>
                    <a:lnTo>
                      <a:pt x="269" y="728"/>
                    </a:lnTo>
                    <a:lnTo>
                      <a:pt x="265" y="728"/>
                    </a:lnTo>
                    <a:lnTo>
                      <a:pt x="265" y="726"/>
                    </a:lnTo>
                    <a:lnTo>
                      <a:pt x="265" y="724"/>
                    </a:lnTo>
                    <a:lnTo>
                      <a:pt x="265" y="722"/>
                    </a:lnTo>
                    <a:lnTo>
                      <a:pt x="263" y="722"/>
                    </a:lnTo>
                    <a:lnTo>
                      <a:pt x="263" y="721"/>
                    </a:lnTo>
                    <a:lnTo>
                      <a:pt x="263" y="719"/>
                    </a:lnTo>
                    <a:lnTo>
                      <a:pt x="261" y="715"/>
                    </a:lnTo>
                    <a:lnTo>
                      <a:pt x="261" y="713"/>
                    </a:lnTo>
                    <a:lnTo>
                      <a:pt x="259" y="713"/>
                    </a:lnTo>
                    <a:lnTo>
                      <a:pt x="257" y="713"/>
                    </a:lnTo>
                    <a:lnTo>
                      <a:pt x="255" y="713"/>
                    </a:lnTo>
                    <a:lnTo>
                      <a:pt x="253" y="713"/>
                    </a:lnTo>
                    <a:lnTo>
                      <a:pt x="253" y="711"/>
                    </a:lnTo>
                    <a:lnTo>
                      <a:pt x="251" y="711"/>
                    </a:lnTo>
                    <a:lnTo>
                      <a:pt x="251" y="709"/>
                    </a:lnTo>
                    <a:lnTo>
                      <a:pt x="249" y="709"/>
                    </a:lnTo>
                    <a:lnTo>
                      <a:pt x="249" y="711"/>
                    </a:lnTo>
                    <a:lnTo>
                      <a:pt x="248" y="709"/>
                    </a:lnTo>
                    <a:lnTo>
                      <a:pt x="248" y="707"/>
                    </a:lnTo>
                    <a:lnTo>
                      <a:pt x="248" y="70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26">
                <a:extLst>
                  <a:ext uri="{FF2B5EF4-FFF2-40B4-BE49-F238E27FC236}">
                    <a16:creationId xmlns="" xmlns:a16="http://schemas.microsoft.com/office/drawing/2014/main" id="{C9D1E81E-ED41-447A-B49D-AC6518F78A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52650" y="3408363"/>
                <a:ext cx="211138" cy="152400"/>
              </a:xfrm>
              <a:custGeom>
                <a:avLst/>
                <a:gdLst>
                  <a:gd name="T0" fmla="*/ 112 w 133"/>
                  <a:gd name="T1" fmla="*/ 67 h 96"/>
                  <a:gd name="T2" fmla="*/ 108 w 133"/>
                  <a:gd name="T3" fmla="*/ 77 h 96"/>
                  <a:gd name="T4" fmla="*/ 98 w 133"/>
                  <a:gd name="T5" fmla="*/ 77 h 96"/>
                  <a:gd name="T6" fmla="*/ 95 w 133"/>
                  <a:gd name="T7" fmla="*/ 79 h 96"/>
                  <a:gd name="T8" fmla="*/ 93 w 133"/>
                  <a:gd name="T9" fmla="*/ 85 h 96"/>
                  <a:gd name="T10" fmla="*/ 87 w 133"/>
                  <a:gd name="T11" fmla="*/ 92 h 96"/>
                  <a:gd name="T12" fmla="*/ 77 w 133"/>
                  <a:gd name="T13" fmla="*/ 94 h 96"/>
                  <a:gd name="T14" fmla="*/ 73 w 133"/>
                  <a:gd name="T15" fmla="*/ 92 h 96"/>
                  <a:gd name="T16" fmla="*/ 68 w 133"/>
                  <a:gd name="T17" fmla="*/ 87 h 96"/>
                  <a:gd name="T18" fmla="*/ 62 w 133"/>
                  <a:gd name="T19" fmla="*/ 89 h 96"/>
                  <a:gd name="T20" fmla="*/ 58 w 133"/>
                  <a:gd name="T21" fmla="*/ 87 h 96"/>
                  <a:gd name="T22" fmla="*/ 60 w 133"/>
                  <a:gd name="T23" fmla="*/ 79 h 96"/>
                  <a:gd name="T24" fmla="*/ 56 w 133"/>
                  <a:gd name="T25" fmla="*/ 75 h 96"/>
                  <a:gd name="T26" fmla="*/ 47 w 133"/>
                  <a:gd name="T27" fmla="*/ 71 h 96"/>
                  <a:gd name="T28" fmla="*/ 41 w 133"/>
                  <a:gd name="T29" fmla="*/ 67 h 96"/>
                  <a:gd name="T30" fmla="*/ 35 w 133"/>
                  <a:gd name="T31" fmla="*/ 64 h 96"/>
                  <a:gd name="T32" fmla="*/ 33 w 133"/>
                  <a:gd name="T33" fmla="*/ 60 h 96"/>
                  <a:gd name="T34" fmla="*/ 31 w 133"/>
                  <a:gd name="T35" fmla="*/ 52 h 96"/>
                  <a:gd name="T36" fmla="*/ 22 w 133"/>
                  <a:gd name="T37" fmla="*/ 50 h 96"/>
                  <a:gd name="T38" fmla="*/ 16 w 133"/>
                  <a:gd name="T39" fmla="*/ 50 h 96"/>
                  <a:gd name="T40" fmla="*/ 10 w 133"/>
                  <a:gd name="T41" fmla="*/ 48 h 96"/>
                  <a:gd name="T42" fmla="*/ 6 w 133"/>
                  <a:gd name="T43" fmla="*/ 42 h 96"/>
                  <a:gd name="T44" fmla="*/ 8 w 133"/>
                  <a:gd name="T45" fmla="*/ 35 h 96"/>
                  <a:gd name="T46" fmla="*/ 12 w 133"/>
                  <a:gd name="T47" fmla="*/ 27 h 96"/>
                  <a:gd name="T48" fmla="*/ 6 w 133"/>
                  <a:gd name="T49" fmla="*/ 19 h 96"/>
                  <a:gd name="T50" fmla="*/ 0 w 133"/>
                  <a:gd name="T51" fmla="*/ 19 h 96"/>
                  <a:gd name="T52" fmla="*/ 4 w 133"/>
                  <a:gd name="T53" fmla="*/ 16 h 96"/>
                  <a:gd name="T54" fmla="*/ 12 w 133"/>
                  <a:gd name="T55" fmla="*/ 10 h 96"/>
                  <a:gd name="T56" fmla="*/ 14 w 133"/>
                  <a:gd name="T57" fmla="*/ 8 h 96"/>
                  <a:gd name="T58" fmla="*/ 22 w 133"/>
                  <a:gd name="T59" fmla="*/ 8 h 96"/>
                  <a:gd name="T60" fmla="*/ 27 w 133"/>
                  <a:gd name="T61" fmla="*/ 4 h 96"/>
                  <a:gd name="T62" fmla="*/ 35 w 133"/>
                  <a:gd name="T63" fmla="*/ 6 h 96"/>
                  <a:gd name="T64" fmla="*/ 39 w 133"/>
                  <a:gd name="T65" fmla="*/ 6 h 96"/>
                  <a:gd name="T66" fmla="*/ 43 w 133"/>
                  <a:gd name="T67" fmla="*/ 4 h 96"/>
                  <a:gd name="T68" fmla="*/ 47 w 133"/>
                  <a:gd name="T69" fmla="*/ 8 h 96"/>
                  <a:gd name="T70" fmla="*/ 52 w 133"/>
                  <a:gd name="T71" fmla="*/ 8 h 96"/>
                  <a:gd name="T72" fmla="*/ 58 w 133"/>
                  <a:gd name="T73" fmla="*/ 12 h 96"/>
                  <a:gd name="T74" fmla="*/ 64 w 133"/>
                  <a:gd name="T75" fmla="*/ 16 h 96"/>
                  <a:gd name="T76" fmla="*/ 72 w 133"/>
                  <a:gd name="T77" fmla="*/ 14 h 96"/>
                  <a:gd name="T78" fmla="*/ 81 w 133"/>
                  <a:gd name="T79" fmla="*/ 14 h 96"/>
                  <a:gd name="T80" fmla="*/ 89 w 133"/>
                  <a:gd name="T81" fmla="*/ 12 h 96"/>
                  <a:gd name="T82" fmla="*/ 93 w 133"/>
                  <a:gd name="T83" fmla="*/ 6 h 96"/>
                  <a:gd name="T84" fmla="*/ 98 w 133"/>
                  <a:gd name="T85" fmla="*/ 4 h 96"/>
                  <a:gd name="T86" fmla="*/ 102 w 133"/>
                  <a:gd name="T87" fmla="*/ 14 h 96"/>
                  <a:gd name="T88" fmla="*/ 102 w 133"/>
                  <a:gd name="T89" fmla="*/ 19 h 96"/>
                  <a:gd name="T90" fmla="*/ 108 w 133"/>
                  <a:gd name="T91" fmla="*/ 21 h 96"/>
                  <a:gd name="T92" fmla="*/ 114 w 133"/>
                  <a:gd name="T93" fmla="*/ 21 h 96"/>
                  <a:gd name="T94" fmla="*/ 121 w 133"/>
                  <a:gd name="T95" fmla="*/ 25 h 96"/>
                  <a:gd name="T96" fmla="*/ 125 w 133"/>
                  <a:gd name="T97" fmla="*/ 23 h 96"/>
                  <a:gd name="T98" fmla="*/ 125 w 133"/>
                  <a:gd name="T99" fmla="*/ 29 h 96"/>
                  <a:gd name="T100" fmla="*/ 120 w 133"/>
                  <a:gd name="T101" fmla="*/ 33 h 96"/>
                  <a:gd name="T102" fmla="*/ 116 w 133"/>
                  <a:gd name="T103" fmla="*/ 39 h 96"/>
                  <a:gd name="T104" fmla="*/ 127 w 133"/>
                  <a:gd name="T105" fmla="*/ 44 h 96"/>
                  <a:gd name="T106" fmla="*/ 133 w 133"/>
                  <a:gd name="T107" fmla="*/ 35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33" h="96">
                    <a:moveTo>
                      <a:pt x="129" y="46"/>
                    </a:moveTo>
                    <a:lnTo>
                      <a:pt x="123" y="50"/>
                    </a:lnTo>
                    <a:lnTo>
                      <a:pt x="121" y="52"/>
                    </a:lnTo>
                    <a:lnTo>
                      <a:pt x="121" y="54"/>
                    </a:lnTo>
                    <a:lnTo>
                      <a:pt x="118" y="58"/>
                    </a:lnTo>
                    <a:lnTo>
                      <a:pt x="114" y="64"/>
                    </a:lnTo>
                    <a:lnTo>
                      <a:pt x="112" y="67"/>
                    </a:lnTo>
                    <a:lnTo>
                      <a:pt x="112" y="71"/>
                    </a:lnTo>
                    <a:lnTo>
                      <a:pt x="112" y="75"/>
                    </a:lnTo>
                    <a:lnTo>
                      <a:pt x="110" y="77"/>
                    </a:lnTo>
                    <a:lnTo>
                      <a:pt x="108" y="79"/>
                    </a:lnTo>
                    <a:lnTo>
                      <a:pt x="108" y="77"/>
                    </a:lnTo>
                    <a:lnTo>
                      <a:pt x="108" y="75"/>
                    </a:lnTo>
                    <a:lnTo>
                      <a:pt x="108" y="77"/>
                    </a:lnTo>
                    <a:lnTo>
                      <a:pt x="106" y="77"/>
                    </a:lnTo>
                    <a:lnTo>
                      <a:pt x="104" y="77"/>
                    </a:lnTo>
                    <a:lnTo>
                      <a:pt x="102" y="77"/>
                    </a:lnTo>
                    <a:lnTo>
                      <a:pt x="102" y="75"/>
                    </a:lnTo>
                    <a:lnTo>
                      <a:pt x="100" y="75"/>
                    </a:lnTo>
                    <a:lnTo>
                      <a:pt x="100" y="77"/>
                    </a:lnTo>
                    <a:lnTo>
                      <a:pt x="98" y="77"/>
                    </a:lnTo>
                    <a:lnTo>
                      <a:pt x="98" y="75"/>
                    </a:lnTo>
                    <a:lnTo>
                      <a:pt x="96" y="75"/>
                    </a:lnTo>
                    <a:lnTo>
                      <a:pt x="96" y="77"/>
                    </a:lnTo>
                    <a:lnTo>
                      <a:pt x="95" y="77"/>
                    </a:lnTo>
                    <a:lnTo>
                      <a:pt x="95" y="79"/>
                    </a:lnTo>
                    <a:lnTo>
                      <a:pt x="93" y="79"/>
                    </a:lnTo>
                    <a:lnTo>
                      <a:pt x="95" y="79"/>
                    </a:lnTo>
                    <a:lnTo>
                      <a:pt x="93" y="79"/>
                    </a:lnTo>
                    <a:lnTo>
                      <a:pt x="93" y="81"/>
                    </a:lnTo>
                    <a:lnTo>
                      <a:pt x="91" y="81"/>
                    </a:lnTo>
                    <a:lnTo>
                      <a:pt x="91" y="83"/>
                    </a:lnTo>
                    <a:lnTo>
                      <a:pt x="91" y="85"/>
                    </a:lnTo>
                    <a:lnTo>
                      <a:pt x="93" y="87"/>
                    </a:lnTo>
                    <a:lnTo>
                      <a:pt x="93" y="85"/>
                    </a:lnTo>
                    <a:lnTo>
                      <a:pt x="93" y="87"/>
                    </a:lnTo>
                    <a:lnTo>
                      <a:pt x="93" y="89"/>
                    </a:lnTo>
                    <a:lnTo>
                      <a:pt x="91" y="89"/>
                    </a:lnTo>
                    <a:lnTo>
                      <a:pt x="91" y="91"/>
                    </a:lnTo>
                    <a:lnTo>
                      <a:pt x="89" y="91"/>
                    </a:lnTo>
                    <a:lnTo>
                      <a:pt x="87" y="91"/>
                    </a:lnTo>
                    <a:lnTo>
                      <a:pt x="87" y="92"/>
                    </a:lnTo>
                    <a:lnTo>
                      <a:pt x="89" y="92"/>
                    </a:lnTo>
                    <a:lnTo>
                      <a:pt x="87" y="94"/>
                    </a:lnTo>
                    <a:lnTo>
                      <a:pt x="87" y="96"/>
                    </a:lnTo>
                    <a:lnTo>
                      <a:pt x="83" y="94"/>
                    </a:lnTo>
                    <a:lnTo>
                      <a:pt x="79" y="92"/>
                    </a:lnTo>
                    <a:lnTo>
                      <a:pt x="79" y="94"/>
                    </a:lnTo>
                    <a:lnTo>
                      <a:pt x="77" y="94"/>
                    </a:lnTo>
                    <a:lnTo>
                      <a:pt x="77" y="92"/>
                    </a:lnTo>
                    <a:lnTo>
                      <a:pt x="77" y="94"/>
                    </a:lnTo>
                    <a:lnTo>
                      <a:pt x="75" y="94"/>
                    </a:lnTo>
                    <a:lnTo>
                      <a:pt x="77" y="94"/>
                    </a:lnTo>
                    <a:lnTo>
                      <a:pt x="75" y="94"/>
                    </a:lnTo>
                    <a:lnTo>
                      <a:pt x="75" y="92"/>
                    </a:lnTo>
                    <a:lnTo>
                      <a:pt x="73" y="92"/>
                    </a:lnTo>
                    <a:lnTo>
                      <a:pt x="73" y="91"/>
                    </a:lnTo>
                    <a:lnTo>
                      <a:pt x="72" y="91"/>
                    </a:lnTo>
                    <a:lnTo>
                      <a:pt x="72" y="89"/>
                    </a:lnTo>
                    <a:lnTo>
                      <a:pt x="70" y="89"/>
                    </a:lnTo>
                    <a:lnTo>
                      <a:pt x="70" y="87"/>
                    </a:lnTo>
                    <a:lnTo>
                      <a:pt x="68" y="89"/>
                    </a:lnTo>
                    <a:lnTo>
                      <a:pt x="68" y="87"/>
                    </a:lnTo>
                    <a:lnTo>
                      <a:pt x="66" y="87"/>
                    </a:lnTo>
                    <a:lnTo>
                      <a:pt x="66" y="85"/>
                    </a:lnTo>
                    <a:lnTo>
                      <a:pt x="66" y="87"/>
                    </a:lnTo>
                    <a:lnTo>
                      <a:pt x="64" y="87"/>
                    </a:lnTo>
                    <a:lnTo>
                      <a:pt x="64" y="89"/>
                    </a:lnTo>
                    <a:lnTo>
                      <a:pt x="62" y="87"/>
                    </a:lnTo>
                    <a:lnTo>
                      <a:pt x="62" y="89"/>
                    </a:lnTo>
                    <a:lnTo>
                      <a:pt x="60" y="89"/>
                    </a:lnTo>
                    <a:lnTo>
                      <a:pt x="58" y="89"/>
                    </a:lnTo>
                    <a:lnTo>
                      <a:pt x="58" y="87"/>
                    </a:lnTo>
                    <a:lnTo>
                      <a:pt x="60" y="87"/>
                    </a:lnTo>
                    <a:lnTo>
                      <a:pt x="58" y="87"/>
                    </a:lnTo>
                    <a:lnTo>
                      <a:pt x="56" y="87"/>
                    </a:lnTo>
                    <a:lnTo>
                      <a:pt x="58" y="87"/>
                    </a:lnTo>
                    <a:lnTo>
                      <a:pt x="58" y="85"/>
                    </a:lnTo>
                    <a:lnTo>
                      <a:pt x="58" y="83"/>
                    </a:lnTo>
                    <a:lnTo>
                      <a:pt x="60" y="83"/>
                    </a:lnTo>
                    <a:lnTo>
                      <a:pt x="60" y="81"/>
                    </a:lnTo>
                    <a:lnTo>
                      <a:pt x="60" y="83"/>
                    </a:lnTo>
                    <a:lnTo>
                      <a:pt x="60" y="81"/>
                    </a:lnTo>
                    <a:lnTo>
                      <a:pt x="60" y="79"/>
                    </a:lnTo>
                    <a:lnTo>
                      <a:pt x="60" y="77"/>
                    </a:lnTo>
                    <a:lnTo>
                      <a:pt x="62" y="77"/>
                    </a:lnTo>
                    <a:lnTo>
                      <a:pt x="60" y="77"/>
                    </a:lnTo>
                    <a:lnTo>
                      <a:pt x="60" y="75"/>
                    </a:lnTo>
                    <a:lnTo>
                      <a:pt x="58" y="75"/>
                    </a:lnTo>
                    <a:lnTo>
                      <a:pt x="58" y="77"/>
                    </a:lnTo>
                    <a:lnTo>
                      <a:pt x="56" y="75"/>
                    </a:lnTo>
                    <a:lnTo>
                      <a:pt x="54" y="75"/>
                    </a:lnTo>
                    <a:lnTo>
                      <a:pt x="54" y="73"/>
                    </a:lnTo>
                    <a:lnTo>
                      <a:pt x="52" y="73"/>
                    </a:lnTo>
                    <a:lnTo>
                      <a:pt x="50" y="73"/>
                    </a:lnTo>
                    <a:lnTo>
                      <a:pt x="50" y="71"/>
                    </a:lnTo>
                    <a:lnTo>
                      <a:pt x="48" y="71"/>
                    </a:lnTo>
                    <a:lnTo>
                      <a:pt x="47" y="71"/>
                    </a:lnTo>
                    <a:lnTo>
                      <a:pt x="47" y="69"/>
                    </a:lnTo>
                    <a:lnTo>
                      <a:pt x="45" y="69"/>
                    </a:lnTo>
                    <a:lnTo>
                      <a:pt x="45" y="67"/>
                    </a:lnTo>
                    <a:lnTo>
                      <a:pt x="45" y="69"/>
                    </a:lnTo>
                    <a:lnTo>
                      <a:pt x="45" y="67"/>
                    </a:lnTo>
                    <a:lnTo>
                      <a:pt x="43" y="67"/>
                    </a:lnTo>
                    <a:lnTo>
                      <a:pt x="41" y="67"/>
                    </a:lnTo>
                    <a:lnTo>
                      <a:pt x="41" y="66"/>
                    </a:lnTo>
                    <a:lnTo>
                      <a:pt x="39" y="66"/>
                    </a:lnTo>
                    <a:lnTo>
                      <a:pt x="37" y="66"/>
                    </a:lnTo>
                    <a:lnTo>
                      <a:pt x="37" y="64"/>
                    </a:lnTo>
                    <a:lnTo>
                      <a:pt x="37" y="66"/>
                    </a:lnTo>
                    <a:lnTo>
                      <a:pt x="37" y="64"/>
                    </a:lnTo>
                    <a:lnTo>
                      <a:pt x="35" y="64"/>
                    </a:lnTo>
                    <a:lnTo>
                      <a:pt x="35" y="62"/>
                    </a:lnTo>
                    <a:lnTo>
                      <a:pt x="37" y="62"/>
                    </a:lnTo>
                    <a:lnTo>
                      <a:pt x="35" y="62"/>
                    </a:lnTo>
                    <a:lnTo>
                      <a:pt x="35" y="60"/>
                    </a:lnTo>
                    <a:lnTo>
                      <a:pt x="33" y="60"/>
                    </a:lnTo>
                    <a:lnTo>
                      <a:pt x="31" y="60"/>
                    </a:lnTo>
                    <a:lnTo>
                      <a:pt x="33" y="60"/>
                    </a:lnTo>
                    <a:lnTo>
                      <a:pt x="33" y="58"/>
                    </a:lnTo>
                    <a:lnTo>
                      <a:pt x="31" y="60"/>
                    </a:lnTo>
                    <a:lnTo>
                      <a:pt x="31" y="58"/>
                    </a:lnTo>
                    <a:lnTo>
                      <a:pt x="33" y="58"/>
                    </a:lnTo>
                    <a:lnTo>
                      <a:pt x="31" y="56"/>
                    </a:lnTo>
                    <a:lnTo>
                      <a:pt x="31" y="54"/>
                    </a:lnTo>
                    <a:lnTo>
                      <a:pt x="31" y="52"/>
                    </a:lnTo>
                    <a:lnTo>
                      <a:pt x="29" y="52"/>
                    </a:lnTo>
                    <a:lnTo>
                      <a:pt x="27" y="52"/>
                    </a:lnTo>
                    <a:lnTo>
                      <a:pt x="27" y="50"/>
                    </a:lnTo>
                    <a:lnTo>
                      <a:pt x="25" y="50"/>
                    </a:lnTo>
                    <a:lnTo>
                      <a:pt x="23" y="48"/>
                    </a:lnTo>
                    <a:lnTo>
                      <a:pt x="23" y="50"/>
                    </a:lnTo>
                    <a:lnTo>
                      <a:pt x="22" y="50"/>
                    </a:lnTo>
                    <a:lnTo>
                      <a:pt x="20" y="50"/>
                    </a:lnTo>
                    <a:lnTo>
                      <a:pt x="22" y="50"/>
                    </a:lnTo>
                    <a:lnTo>
                      <a:pt x="20" y="50"/>
                    </a:lnTo>
                    <a:lnTo>
                      <a:pt x="20" y="52"/>
                    </a:lnTo>
                    <a:lnTo>
                      <a:pt x="20" y="50"/>
                    </a:lnTo>
                    <a:lnTo>
                      <a:pt x="18" y="50"/>
                    </a:lnTo>
                    <a:lnTo>
                      <a:pt x="16" y="50"/>
                    </a:lnTo>
                    <a:lnTo>
                      <a:pt x="14" y="50"/>
                    </a:lnTo>
                    <a:lnTo>
                      <a:pt x="14" y="52"/>
                    </a:lnTo>
                    <a:lnTo>
                      <a:pt x="12" y="52"/>
                    </a:lnTo>
                    <a:lnTo>
                      <a:pt x="10" y="52"/>
                    </a:lnTo>
                    <a:lnTo>
                      <a:pt x="10" y="50"/>
                    </a:lnTo>
                    <a:lnTo>
                      <a:pt x="8" y="48"/>
                    </a:lnTo>
                    <a:lnTo>
                      <a:pt x="10" y="48"/>
                    </a:lnTo>
                    <a:lnTo>
                      <a:pt x="8" y="48"/>
                    </a:lnTo>
                    <a:lnTo>
                      <a:pt x="8" y="46"/>
                    </a:lnTo>
                    <a:lnTo>
                      <a:pt x="6" y="46"/>
                    </a:lnTo>
                    <a:lnTo>
                      <a:pt x="4" y="46"/>
                    </a:lnTo>
                    <a:lnTo>
                      <a:pt x="4" y="44"/>
                    </a:lnTo>
                    <a:lnTo>
                      <a:pt x="6" y="44"/>
                    </a:lnTo>
                    <a:lnTo>
                      <a:pt x="6" y="42"/>
                    </a:lnTo>
                    <a:lnTo>
                      <a:pt x="6" y="41"/>
                    </a:lnTo>
                    <a:lnTo>
                      <a:pt x="6" y="39"/>
                    </a:lnTo>
                    <a:lnTo>
                      <a:pt x="8" y="39"/>
                    </a:lnTo>
                    <a:lnTo>
                      <a:pt x="8" y="37"/>
                    </a:lnTo>
                    <a:lnTo>
                      <a:pt x="6" y="37"/>
                    </a:lnTo>
                    <a:lnTo>
                      <a:pt x="6" y="35"/>
                    </a:lnTo>
                    <a:lnTo>
                      <a:pt x="8" y="35"/>
                    </a:lnTo>
                    <a:lnTo>
                      <a:pt x="10" y="35"/>
                    </a:lnTo>
                    <a:lnTo>
                      <a:pt x="10" y="33"/>
                    </a:lnTo>
                    <a:lnTo>
                      <a:pt x="10" y="31"/>
                    </a:lnTo>
                    <a:lnTo>
                      <a:pt x="12" y="29"/>
                    </a:lnTo>
                    <a:lnTo>
                      <a:pt x="14" y="29"/>
                    </a:lnTo>
                    <a:lnTo>
                      <a:pt x="14" y="27"/>
                    </a:lnTo>
                    <a:lnTo>
                      <a:pt x="12" y="27"/>
                    </a:lnTo>
                    <a:lnTo>
                      <a:pt x="12" y="25"/>
                    </a:lnTo>
                    <a:lnTo>
                      <a:pt x="10" y="25"/>
                    </a:lnTo>
                    <a:lnTo>
                      <a:pt x="10" y="23"/>
                    </a:lnTo>
                    <a:lnTo>
                      <a:pt x="10" y="21"/>
                    </a:lnTo>
                    <a:lnTo>
                      <a:pt x="8" y="21"/>
                    </a:lnTo>
                    <a:lnTo>
                      <a:pt x="6" y="21"/>
                    </a:lnTo>
                    <a:lnTo>
                      <a:pt x="6" y="19"/>
                    </a:lnTo>
                    <a:lnTo>
                      <a:pt x="6" y="21"/>
                    </a:lnTo>
                    <a:lnTo>
                      <a:pt x="4" y="21"/>
                    </a:lnTo>
                    <a:lnTo>
                      <a:pt x="2" y="21"/>
                    </a:lnTo>
                    <a:lnTo>
                      <a:pt x="2" y="23"/>
                    </a:lnTo>
                    <a:lnTo>
                      <a:pt x="2" y="21"/>
                    </a:lnTo>
                    <a:lnTo>
                      <a:pt x="0" y="21"/>
                    </a:lnTo>
                    <a:lnTo>
                      <a:pt x="0" y="19"/>
                    </a:lnTo>
                    <a:lnTo>
                      <a:pt x="0" y="17"/>
                    </a:lnTo>
                    <a:lnTo>
                      <a:pt x="2" y="17"/>
                    </a:lnTo>
                    <a:lnTo>
                      <a:pt x="2" y="16"/>
                    </a:lnTo>
                    <a:lnTo>
                      <a:pt x="4" y="16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4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10" y="12"/>
                    </a:lnTo>
                    <a:lnTo>
                      <a:pt x="12" y="12"/>
                    </a:lnTo>
                    <a:lnTo>
                      <a:pt x="12" y="10"/>
                    </a:lnTo>
                    <a:lnTo>
                      <a:pt x="14" y="8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4" y="6"/>
                    </a:lnTo>
                    <a:lnTo>
                      <a:pt x="16" y="6"/>
                    </a:lnTo>
                    <a:lnTo>
                      <a:pt x="16" y="8"/>
                    </a:lnTo>
                    <a:lnTo>
                      <a:pt x="14" y="8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8" y="6"/>
                    </a:lnTo>
                    <a:lnTo>
                      <a:pt x="20" y="8"/>
                    </a:lnTo>
                    <a:lnTo>
                      <a:pt x="20" y="6"/>
                    </a:lnTo>
                    <a:lnTo>
                      <a:pt x="22" y="6"/>
                    </a:lnTo>
                    <a:lnTo>
                      <a:pt x="22" y="8"/>
                    </a:lnTo>
                    <a:lnTo>
                      <a:pt x="23" y="6"/>
                    </a:lnTo>
                    <a:lnTo>
                      <a:pt x="23" y="8"/>
                    </a:lnTo>
                    <a:lnTo>
                      <a:pt x="23" y="10"/>
                    </a:lnTo>
                    <a:lnTo>
                      <a:pt x="25" y="8"/>
                    </a:lnTo>
                    <a:lnTo>
                      <a:pt x="25" y="6"/>
                    </a:lnTo>
                    <a:lnTo>
                      <a:pt x="25" y="4"/>
                    </a:lnTo>
                    <a:lnTo>
                      <a:pt x="27" y="4"/>
                    </a:lnTo>
                    <a:lnTo>
                      <a:pt x="29" y="4"/>
                    </a:lnTo>
                    <a:lnTo>
                      <a:pt x="29" y="6"/>
                    </a:lnTo>
                    <a:lnTo>
                      <a:pt x="31" y="6"/>
                    </a:lnTo>
                    <a:lnTo>
                      <a:pt x="33" y="6"/>
                    </a:lnTo>
                    <a:lnTo>
                      <a:pt x="33" y="4"/>
                    </a:lnTo>
                    <a:lnTo>
                      <a:pt x="33" y="6"/>
                    </a:lnTo>
                    <a:lnTo>
                      <a:pt x="35" y="6"/>
                    </a:lnTo>
                    <a:lnTo>
                      <a:pt x="35" y="8"/>
                    </a:lnTo>
                    <a:lnTo>
                      <a:pt x="37" y="8"/>
                    </a:lnTo>
                    <a:lnTo>
                      <a:pt x="39" y="6"/>
                    </a:lnTo>
                    <a:lnTo>
                      <a:pt x="39" y="8"/>
                    </a:lnTo>
                    <a:lnTo>
                      <a:pt x="39" y="6"/>
                    </a:lnTo>
                    <a:lnTo>
                      <a:pt x="39" y="8"/>
                    </a:lnTo>
                    <a:lnTo>
                      <a:pt x="39" y="6"/>
                    </a:lnTo>
                    <a:lnTo>
                      <a:pt x="39" y="8"/>
                    </a:lnTo>
                    <a:lnTo>
                      <a:pt x="39" y="6"/>
                    </a:lnTo>
                    <a:lnTo>
                      <a:pt x="41" y="6"/>
                    </a:lnTo>
                    <a:lnTo>
                      <a:pt x="39" y="6"/>
                    </a:lnTo>
                    <a:lnTo>
                      <a:pt x="39" y="4"/>
                    </a:lnTo>
                    <a:lnTo>
                      <a:pt x="41" y="4"/>
                    </a:lnTo>
                    <a:lnTo>
                      <a:pt x="43" y="4"/>
                    </a:lnTo>
                    <a:lnTo>
                      <a:pt x="43" y="6"/>
                    </a:lnTo>
                    <a:lnTo>
                      <a:pt x="43" y="4"/>
                    </a:lnTo>
                    <a:lnTo>
                      <a:pt x="43" y="6"/>
                    </a:lnTo>
                    <a:lnTo>
                      <a:pt x="45" y="4"/>
                    </a:lnTo>
                    <a:lnTo>
                      <a:pt x="45" y="6"/>
                    </a:lnTo>
                    <a:lnTo>
                      <a:pt x="45" y="8"/>
                    </a:lnTo>
                    <a:lnTo>
                      <a:pt x="47" y="8"/>
                    </a:lnTo>
                    <a:lnTo>
                      <a:pt x="48" y="8"/>
                    </a:lnTo>
                    <a:lnTo>
                      <a:pt x="48" y="10"/>
                    </a:lnTo>
                    <a:lnTo>
                      <a:pt x="48" y="8"/>
                    </a:lnTo>
                    <a:lnTo>
                      <a:pt x="48" y="10"/>
                    </a:lnTo>
                    <a:lnTo>
                      <a:pt x="48" y="8"/>
                    </a:lnTo>
                    <a:lnTo>
                      <a:pt x="50" y="8"/>
                    </a:lnTo>
                    <a:lnTo>
                      <a:pt x="52" y="8"/>
                    </a:lnTo>
                    <a:lnTo>
                      <a:pt x="52" y="10"/>
                    </a:lnTo>
                    <a:lnTo>
                      <a:pt x="54" y="10"/>
                    </a:lnTo>
                    <a:lnTo>
                      <a:pt x="54" y="12"/>
                    </a:lnTo>
                    <a:lnTo>
                      <a:pt x="54" y="10"/>
                    </a:lnTo>
                    <a:lnTo>
                      <a:pt x="56" y="10"/>
                    </a:lnTo>
                    <a:lnTo>
                      <a:pt x="58" y="10"/>
                    </a:lnTo>
                    <a:lnTo>
                      <a:pt x="58" y="12"/>
                    </a:lnTo>
                    <a:lnTo>
                      <a:pt x="60" y="12"/>
                    </a:lnTo>
                    <a:lnTo>
                      <a:pt x="60" y="10"/>
                    </a:lnTo>
                    <a:lnTo>
                      <a:pt x="60" y="12"/>
                    </a:lnTo>
                    <a:lnTo>
                      <a:pt x="62" y="12"/>
                    </a:lnTo>
                    <a:lnTo>
                      <a:pt x="62" y="14"/>
                    </a:lnTo>
                    <a:lnTo>
                      <a:pt x="64" y="14"/>
                    </a:lnTo>
                    <a:lnTo>
                      <a:pt x="64" y="16"/>
                    </a:lnTo>
                    <a:lnTo>
                      <a:pt x="66" y="16"/>
                    </a:lnTo>
                    <a:lnTo>
                      <a:pt x="66" y="14"/>
                    </a:lnTo>
                    <a:lnTo>
                      <a:pt x="68" y="14"/>
                    </a:lnTo>
                    <a:lnTo>
                      <a:pt x="70" y="14"/>
                    </a:lnTo>
                    <a:lnTo>
                      <a:pt x="72" y="14"/>
                    </a:lnTo>
                    <a:lnTo>
                      <a:pt x="72" y="12"/>
                    </a:lnTo>
                    <a:lnTo>
                      <a:pt x="72" y="14"/>
                    </a:lnTo>
                    <a:lnTo>
                      <a:pt x="73" y="14"/>
                    </a:lnTo>
                    <a:lnTo>
                      <a:pt x="75" y="14"/>
                    </a:lnTo>
                    <a:lnTo>
                      <a:pt x="77" y="14"/>
                    </a:lnTo>
                    <a:lnTo>
                      <a:pt x="77" y="16"/>
                    </a:lnTo>
                    <a:lnTo>
                      <a:pt x="79" y="16"/>
                    </a:lnTo>
                    <a:lnTo>
                      <a:pt x="79" y="14"/>
                    </a:lnTo>
                    <a:lnTo>
                      <a:pt x="81" y="14"/>
                    </a:lnTo>
                    <a:lnTo>
                      <a:pt x="83" y="14"/>
                    </a:lnTo>
                    <a:lnTo>
                      <a:pt x="83" y="16"/>
                    </a:lnTo>
                    <a:lnTo>
                      <a:pt x="85" y="16"/>
                    </a:lnTo>
                    <a:lnTo>
                      <a:pt x="87" y="16"/>
                    </a:lnTo>
                    <a:lnTo>
                      <a:pt x="87" y="14"/>
                    </a:lnTo>
                    <a:lnTo>
                      <a:pt x="89" y="14"/>
                    </a:lnTo>
                    <a:lnTo>
                      <a:pt x="89" y="12"/>
                    </a:lnTo>
                    <a:lnTo>
                      <a:pt x="87" y="12"/>
                    </a:lnTo>
                    <a:lnTo>
                      <a:pt x="89" y="12"/>
                    </a:lnTo>
                    <a:lnTo>
                      <a:pt x="89" y="10"/>
                    </a:lnTo>
                    <a:lnTo>
                      <a:pt x="91" y="10"/>
                    </a:lnTo>
                    <a:lnTo>
                      <a:pt x="91" y="8"/>
                    </a:lnTo>
                    <a:lnTo>
                      <a:pt x="91" y="6"/>
                    </a:lnTo>
                    <a:lnTo>
                      <a:pt x="93" y="6"/>
                    </a:lnTo>
                    <a:lnTo>
                      <a:pt x="93" y="4"/>
                    </a:lnTo>
                    <a:lnTo>
                      <a:pt x="93" y="2"/>
                    </a:lnTo>
                    <a:lnTo>
                      <a:pt x="95" y="2"/>
                    </a:lnTo>
                    <a:lnTo>
                      <a:pt x="95" y="0"/>
                    </a:lnTo>
                    <a:lnTo>
                      <a:pt x="96" y="0"/>
                    </a:lnTo>
                    <a:lnTo>
                      <a:pt x="96" y="2"/>
                    </a:lnTo>
                    <a:lnTo>
                      <a:pt x="98" y="4"/>
                    </a:lnTo>
                    <a:lnTo>
                      <a:pt x="98" y="6"/>
                    </a:lnTo>
                    <a:lnTo>
                      <a:pt x="100" y="6"/>
                    </a:lnTo>
                    <a:lnTo>
                      <a:pt x="100" y="8"/>
                    </a:lnTo>
                    <a:lnTo>
                      <a:pt x="100" y="10"/>
                    </a:lnTo>
                    <a:lnTo>
                      <a:pt x="100" y="12"/>
                    </a:lnTo>
                    <a:lnTo>
                      <a:pt x="100" y="14"/>
                    </a:lnTo>
                    <a:lnTo>
                      <a:pt x="102" y="14"/>
                    </a:lnTo>
                    <a:lnTo>
                      <a:pt x="102" y="16"/>
                    </a:lnTo>
                    <a:lnTo>
                      <a:pt x="100" y="16"/>
                    </a:lnTo>
                    <a:lnTo>
                      <a:pt x="102" y="17"/>
                    </a:lnTo>
                    <a:lnTo>
                      <a:pt x="104" y="17"/>
                    </a:lnTo>
                    <a:lnTo>
                      <a:pt x="102" y="17"/>
                    </a:lnTo>
                    <a:lnTo>
                      <a:pt x="104" y="17"/>
                    </a:lnTo>
                    <a:lnTo>
                      <a:pt x="102" y="19"/>
                    </a:lnTo>
                    <a:lnTo>
                      <a:pt x="104" y="19"/>
                    </a:lnTo>
                    <a:lnTo>
                      <a:pt x="104" y="21"/>
                    </a:lnTo>
                    <a:lnTo>
                      <a:pt x="104" y="19"/>
                    </a:lnTo>
                    <a:lnTo>
                      <a:pt x="106" y="21"/>
                    </a:lnTo>
                    <a:lnTo>
                      <a:pt x="104" y="21"/>
                    </a:lnTo>
                    <a:lnTo>
                      <a:pt x="106" y="21"/>
                    </a:lnTo>
                    <a:lnTo>
                      <a:pt x="108" y="21"/>
                    </a:lnTo>
                    <a:lnTo>
                      <a:pt x="108" y="23"/>
                    </a:lnTo>
                    <a:lnTo>
                      <a:pt x="108" y="21"/>
                    </a:lnTo>
                    <a:lnTo>
                      <a:pt x="110" y="21"/>
                    </a:lnTo>
                    <a:lnTo>
                      <a:pt x="110" y="23"/>
                    </a:lnTo>
                    <a:lnTo>
                      <a:pt x="110" y="21"/>
                    </a:lnTo>
                    <a:lnTo>
                      <a:pt x="112" y="21"/>
                    </a:lnTo>
                    <a:lnTo>
                      <a:pt x="114" y="21"/>
                    </a:lnTo>
                    <a:lnTo>
                      <a:pt x="116" y="21"/>
                    </a:lnTo>
                    <a:lnTo>
                      <a:pt x="114" y="21"/>
                    </a:lnTo>
                    <a:lnTo>
                      <a:pt x="116" y="21"/>
                    </a:lnTo>
                    <a:lnTo>
                      <a:pt x="118" y="23"/>
                    </a:lnTo>
                    <a:lnTo>
                      <a:pt x="120" y="23"/>
                    </a:lnTo>
                    <a:lnTo>
                      <a:pt x="121" y="23"/>
                    </a:lnTo>
                    <a:lnTo>
                      <a:pt x="121" y="25"/>
                    </a:lnTo>
                    <a:lnTo>
                      <a:pt x="121" y="23"/>
                    </a:lnTo>
                    <a:lnTo>
                      <a:pt x="123" y="23"/>
                    </a:lnTo>
                    <a:lnTo>
                      <a:pt x="123" y="21"/>
                    </a:lnTo>
                    <a:lnTo>
                      <a:pt x="125" y="21"/>
                    </a:lnTo>
                    <a:lnTo>
                      <a:pt x="125" y="23"/>
                    </a:lnTo>
                    <a:lnTo>
                      <a:pt x="127" y="23"/>
                    </a:lnTo>
                    <a:lnTo>
                      <a:pt x="125" y="23"/>
                    </a:lnTo>
                    <a:lnTo>
                      <a:pt x="125" y="25"/>
                    </a:lnTo>
                    <a:lnTo>
                      <a:pt x="127" y="25"/>
                    </a:lnTo>
                    <a:lnTo>
                      <a:pt x="127" y="27"/>
                    </a:lnTo>
                    <a:lnTo>
                      <a:pt x="125" y="27"/>
                    </a:lnTo>
                    <a:lnTo>
                      <a:pt x="125" y="29"/>
                    </a:lnTo>
                    <a:lnTo>
                      <a:pt x="123" y="29"/>
                    </a:lnTo>
                    <a:lnTo>
                      <a:pt x="125" y="29"/>
                    </a:lnTo>
                    <a:lnTo>
                      <a:pt x="123" y="29"/>
                    </a:lnTo>
                    <a:lnTo>
                      <a:pt x="125" y="29"/>
                    </a:lnTo>
                    <a:lnTo>
                      <a:pt x="123" y="29"/>
                    </a:lnTo>
                    <a:lnTo>
                      <a:pt x="123" y="31"/>
                    </a:lnTo>
                    <a:lnTo>
                      <a:pt x="121" y="31"/>
                    </a:lnTo>
                    <a:lnTo>
                      <a:pt x="121" y="33"/>
                    </a:lnTo>
                    <a:lnTo>
                      <a:pt x="120" y="33"/>
                    </a:lnTo>
                    <a:lnTo>
                      <a:pt x="121" y="33"/>
                    </a:lnTo>
                    <a:lnTo>
                      <a:pt x="121" y="35"/>
                    </a:lnTo>
                    <a:lnTo>
                      <a:pt x="120" y="35"/>
                    </a:lnTo>
                    <a:lnTo>
                      <a:pt x="120" y="37"/>
                    </a:lnTo>
                    <a:lnTo>
                      <a:pt x="118" y="37"/>
                    </a:lnTo>
                    <a:lnTo>
                      <a:pt x="118" y="39"/>
                    </a:lnTo>
                    <a:lnTo>
                      <a:pt x="116" y="39"/>
                    </a:lnTo>
                    <a:lnTo>
                      <a:pt x="118" y="41"/>
                    </a:lnTo>
                    <a:lnTo>
                      <a:pt x="118" y="42"/>
                    </a:lnTo>
                    <a:lnTo>
                      <a:pt x="118" y="44"/>
                    </a:lnTo>
                    <a:lnTo>
                      <a:pt x="121" y="44"/>
                    </a:lnTo>
                    <a:lnTo>
                      <a:pt x="125" y="46"/>
                    </a:lnTo>
                    <a:lnTo>
                      <a:pt x="125" y="44"/>
                    </a:lnTo>
                    <a:lnTo>
                      <a:pt x="127" y="44"/>
                    </a:lnTo>
                    <a:lnTo>
                      <a:pt x="127" y="42"/>
                    </a:lnTo>
                    <a:lnTo>
                      <a:pt x="129" y="42"/>
                    </a:lnTo>
                    <a:lnTo>
                      <a:pt x="129" y="41"/>
                    </a:lnTo>
                    <a:lnTo>
                      <a:pt x="131" y="41"/>
                    </a:lnTo>
                    <a:lnTo>
                      <a:pt x="131" y="39"/>
                    </a:lnTo>
                    <a:lnTo>
                      <a:pt x="131" y="37"/>
                    </a:lnTo>
                    <a:lnTo>
                      <a:pt x="133" y="35"/>
                    </a:lnTo>
                    <a:lnTo>
                      <a:pt x="133" y="37"/>
                    </a:lnTo>
                    <a:lnTo>
                      <a:pt x="131" y="39"/>
                    </a:lnTo>
                    <a:lnTo>
                      <a:pt x="131" y="41"/>
                    </a:lnTo>
                    <a:lnTo>
                      <a:pt x="129" y="42"/>
                    </a:lnTo>
                    <a:lnTo>
                      <a:pt x="127" y="44"/>
                    </a:lnTo>
                    <a:lnTo>
                      <a:pt x="129" y="46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27">
                <a:extLst>
                  <a:ext uri="{FF2B5EF4-FFF2-40B4-BE49-F238E27FC236}">
                    <a16:creationId xmlns="" xmlns:a16="http://schemas.microsoft.com/office/drawing/2014/main" id="{89460109-0B25-4E62-BB3F-E64DC6A58F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8763" y="4751388"/>
                <a:ext cx="157163" cy="112713"/>
              </a:xfrm>
              <a:custGeom>
                <a:avLst/>
                <a:gdLst>
                  <a:gd name="T0" fmla="*/ 84 w 99"/>
                  <a:gd name="T1" fmla="*/ 38 h 71"/>
                  <a:gd name="T2" fmla="*/ 84 w 99"/>
                  <a:gd name="T3" fmla="*/ 44 h 71"/>
                  <a:gd name="T4" fmla="*/ 86 w 99"/>
                  <a:gd name="T5" fmla="*/ 42 h 71"/>
                  <a:gd name="T6" fmla="*/ 86 w 99"/>
                  <a:gd name="T7" fmla="*/ 46 h 71"/>
                  <a:gd name="T8" fmla="*/ 84 w 99"/>
                  <a:gd name="T9" fmla="*/ 54 h 71"/>
                  <a:gd name="T10" fmla="*/ 78 w 99"/>
                  <a:gd name="T11" fmla="*/ 58 h 71"/>
                  <a:gd name="T12" fmla="*/ 75 w 99"/>
                  <a:gd name="T13" fmla="*/ 62 h 71"/>
                  <a:gd name="T14" fmla="*/ 76 w 99"/>
                  <a:gd name="T15" fmla="*/ 56 h 71"/>
                  <a:gd name="T16" fmla="*/ 67 w 99"/>
                  <a:gd name="T17" fmla="*/ 60 h 71"/>
                  <a:gd name="T18" fmla="*/ 69 w 99"/>
                  <a:gd name="T19" fmla="*/ 54 h 71"/>
                  <a:gd name="T20" fmla="*/ 65 w 99"/>
                  <a:gd name="T21" fmla="*/ 54 h 71"/>
                  <a:gd name="T22" fmla="*/ 61 w 99"/>
                  <a:gd name="T23" fmla="*/ 63 h 71"/>
                  <a:gd name="T24" fmla="*/ 55 w 99"/>
                  <a:gd name="T25" fmla="*/ 62 h 71"/>
                  <a:gd name="T26" fmla="*/ 53 w 99"/>
                  <a:gd name="T27" fmla="*/ 60 h 71"/>
                  <a:gd name="T28" fmla="*/ 51 w 99"/>
                  <a:gd name="T29" fmla="*/ 54 h 71"/>
                  <a:gd name="T30" fmla="*/ 48 w 99"/>
                  <a:gd name="T31" fmla="*/ 58 h 71"/>
                  <a:gd name="T32" fmla="*/ 46 w 99"/>
                  <a:gd name="T33" fmla="*/ 62 h 71"/>
                  <a:gd name="T34" fmla="*/ 38 w 99"/>
                  <a:gd name="T35" fmla="*/ 65 h 71"/>
                  <a:gd name="T36" fmla="*/ 36 w 99"/>
                  <a:gd name="T37" fmla="*/ 67 h 71"/>
                  <a:gd name="T38" fmla="*/ 30 w 99"/>
                  <a:gd name="T39" fmla="*/ 71 h 71"/>
                  <a:gd name="T40" fmla="*/ 26 w 99"/>
                  <a:gd name="T41" fmla="*/ 67 h 71"/>
                  <a:gd name="T42" fmla="*/ 21 w 99"/>
                  <a:gd name="T43" fmla="*/ 71 h 71"/>
                  <a:gd name="T44" fmla="*/ 19 w 99"/>
                  <a:gd name="T45" fmla="*/ 65 h 71"/>
                  <a:gd name="T46" fmla="*/ 17 w 99"/>
                  <a:gd name="T47" fmla="*/ 60 h 71"/>
                  <a:gd name="T48" fmla="*/ 15 w 99"/>
                  <a:gd name="T49" fmla="*/ 54 h 71"/>
                  <a:gd name="T50" fmla="*/ 17 w 99"/>
                  <a:gd name="T51" fmla="*/ 48 h 71"/>
                  <a:gd name="T52" fmla="*/ 13 w 99"/>
                  <a:gd name="T53" fmla="*/ 44 h 71"/>
                  <a:gd name="T54" fmla="*/ 9 w 99"/>
                  <a:gd name="T55" fmla="*/ 38 h 71"/>
                  <a:gd name="T56" fmla="*/ 5 w 99"/>
                  <a:gd name="T57" fmla="*/ 40 h 71"/>
                  <a:gd name="T58" fmla="*/ 1 w 99"/>
                  <a:gd name="T59" fmla="*/ 37 h 71"/>
                  <a:gd name="T60" fmla="*/ 0 w 99"/>
                  <a:gd name="T61" fmla="*/ 31 h 71"/>
                  <a:gd name="T62" fmla="*/ 0 w 99"/>
                  <a:gd name="T63" fmla="*/ 27 h 71"/>
                  <a:gd name="T64" fmla="*/ 3 w 99"/>
                  <a:gd name="T65" fmla="*/ 21 h 71"/>
                  <a:gd name="T66" fmla="*/ 7 w 99"/>
                  <a:gd name="T67" fmla="*/ 17 h 71"/>
                  <a:gd name="T68" fmla="*/ 11 w 99"/>
                  <a:gd name="T69" fmla="*/ 12 h 71"/>
                  <a:gd name="T70" fmla="*/ 13 w 99"/>
                  <a:gd name="T71" fmla="*/ 10 h 71"/>
                  <a:gd name="T72" fmla="*/ 21 w 99"/>
                  <a:gd name="T73" fmla="*/ 8 h 71"/>
                  <a:gd name="T74" fmla="*/ 25 w 99"/>
                  <a:gd name="T75" fmla="*/ 8 h 71"/>
                  <a:gd name="T76" fmla="*/ 26 w 99"/>
                  <a:gd name="T77" fmla="*/ 2 h 71"/>
                  <a:gd name="T78" fmla="*/ 32 w 99"/>
                  <a:gd name="T79" fmla="*/ 2 h 71"/>
                  <a:gd name="T80" fmla="*/ 36 w 99"/>
                  <a:gd name="T81" fmla="*/ 4 h 71"/>
                  <a:gd name="T82" fmla="*/ 42 w 99"/>
                  <a:gd name="T83" fmla="*/ 2 h 71"/>
                  <a:gd name="T84" fmla="*/ 48 w 99"/>
                  <a:gd name="T85" fmla="*/ 6 h 71"/>
                  <a:gd name="T86" fmla="*/ 53 w 99"/>
                  <a:gd name="T87" fmla="*/ 4 h 71"/>
                  <a:gd name="T88" fmla="*/ 51 w 99"/>
                  <a:gd name="T89" fmla="*/ 15 h 71"/>
                  <a:gd name="T90" fmla="*/ 57 w 99"/>
                  <a:gd name="T91" fmla="*/ 14 h 71"/>
                  <a:gd name="T92" fmla="*/ 63 w 99"/>
                  <a:gd name="T93" fmla="*/ 17 h 71"/>
                  <a:gd name="T94" fmla="*/ 65 w 99"/>
                  <a:gd name="T95" fmla="*/ 21 h 71"/>
                  <a:gd name="T96" fmla="*/ 69 w 99"/>
                  <a:gd name="T97" fmla="*/ 19 h 71"/>
                  <a:gd name="T98" fmla="*/ 76 w 99"/>
                  <a:gd name="T99" fmla="*/ 15 h 71"/>
                  <a:gd name="T100" fmla="*/ 80 w 99"/>
                  <a:gd name="T101" fmla="*/ 14 h 71"/>
                  <a:gd name="T102" fmla="*/ 82 w 99"/>
                  <a:gd name="T103" fmla="*/ 17 h 71"/>
                  <a:gd name="T104" fmla="*/ 88 w 99"/>
                  <a:gd name="T105" fmla="*/ 27 h 71"/>
                  <a:gd name="T106" fmla="*/ 96 w 99"/>
                  <a:gd name="T107" fmla="*/ 25 h 71"/>
                  <a:gd name="T108" fmla="*/ 98 w 99"/>
                  <a:gd name="T109" fmla="*/ 25 h 71"/>
                  <a:gd name="T110" fmla="*/ 90 w 99"/>
                  <a:gd name="T111" fmla="*/ 29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9" h="71">
                    <a:moveTo>
                      <a:pt x="86" y="35"/>
                    </a:moveTo>
                    <a:lnTo>
                      <a:pt x="86" y="33"/>
                    </a:lnTo>
                    <a:lnTo>
                      <a:pt x="84" y="37"/>
                    </a:lnTo>
                    <a:lnTo>
                      <a:pt x="84" y="38"/>
                    </a:lnTo>
                    <a:lnTo>
                      <a:pt x="82" y="40"/>
                    </a:lnTo>
                    <a:lnTo>
                      <a:pt x="82" y="42"/>
                    </a:lnTo>
                    <a:lnTo>
                      <a:pt x="84" y="42"/>
                    </a:lnTo>
                    <a:lnTo>
                      <a:pt x="84" y="44"/>
                    </a:lnTo>
                    <a:lnTo>
                      <a:pt x="86" y="44"/>
                    </a:lnTo>
                    <a:lnTo>
                      <a:pt x="86" y="42"/>
                    </a:lnTo>
                    <a:lnTo>
                      <a:pt x="86" y="44"/>
                    </a:lnTo>
                    <a:lnTo>
                      <a:pt x="86" y="42"/>
                    </a:lnTo>
                    <a:lnTo>
                      <a:pt x="86" y="44"/>
                    </a:lnTo>
                    <a:lnTo>
                      <a:pt x="88" y="44"/>
                    </a:lnTo>
                    <a:lnTo>
                      <a:pt x="88" y="46"/>
                    </a:lnTo>
                    <a:lnTo>
                      <a:pt x="86" y="46"/>
                    </a:lnTo>
                    <a:lnTo>
                      <a:pt x="86" y="48"/>
                    </a:lnTo>
                    <a:lnTo>
                      <a:pt x="84" y="50"/>
                    </a:lnTo>
                    <a:lnTo>
                      <a:pt x="84" y="52"/>
                    </a:lnTo>
                    <a:lnTo>
                      <a:pt x="84" y="54"/>
                    </a:lnTo>
                    <a:lnTo>
                      <a:pt x="82" y="54"/>
                    </a:lnTo>
                    <a:lnTo>
                      <a:pt x="82" y="56"/>
                    </a:lnTo>
                    <a:lnTo>
                      <a:pt x="80" y="58"/>
                    </a:lnTo>
                    <a:lnTo>
                      <a:pt x="78" y="58"/>
                    </a:lnTo>
                    <a:lnTo>
                      <a:pt x="78" y="60"/>
                    </a:lnTo>
                    <a:lnTo>
                      <a:pt x="76" y="60"/>
                    </a:lnTo>
                    <a:lnTo>
                      <a:pt x="76" y="62"/>
                    </a:lnTo>
                    <a:lnTo>
                      <a:pt x="75" y="62"/>
                    </a:lnTo>
                    <a:lnTo>
                      <a:pt x="76" y="60"/>
                    </a:lnTo>
                    <a:lnTo>
                      <a:pt x="75" y="60"/>
                    </a:lnTo>
                    <a:lnTo>
                      <a:pt x="76" y="58"/>
                    </a:lnTo>
                    <a:lnTo>
                      <a:pt x="76" y="56"/>
                    </a:lnTo>
                    <a:lnTo>
                      <a:pt x="75" y="56"/>
                    </a:lnTo>
                    <a:lnTo>
                      <a:pt x="73" y="58"/>
                    </a:lnTo>
                    <a:lnTo>
                      <a:pt x="71" y="58"/>
                    </a:lnTo>
                    <a:lnTo>
                      <a:pt x="67" y="60"/>
                    </a:lnTo>
                    <a:lnTo>
                      <a:pt x="67" y="58"/>
                    </a:lnTo>
                    <a:lnTo>
                      <a:pt x="69" y="58"/>
                    </a:lnTo>
                    <a:lnTo>
                      <a:pt x="69" y="56"/>
                    </a:lnTo>
                    <a:lnTo>
                      <a:pt x="69" y="54"/>
                    </a:lnTo>
                    <a:lnTo>
                      <a:pt x="69" y="52"/>
                    </a:lnTo>
                    <a:lnTo>
                      <a:pt x="67" y="52"/>
                    </a:lnTo>
                    <a:lnTo>
                      <a:pt x="67" y="54"/>
                    </a:lnTo>
                    <a:lnTo>
                      <a:pt x="65" y="54"/>
                    </a:lnTo>
                    <a:lnTo>
                      <a:pt x="63" y="56"/>
                    </a:lnTo>
                    <a:lnTo>
                      <a:pt x="61" y="56"/>
                    </a:lnTo>
                    <a:lnTo>
                      <a:pt x="61" y="62"/>
                    </a:lnTo>
                    <a:lnTo>
                      <a:pt x="61" y="63"/>
                    </a:lnTo>
                    <a:lnTo>
                      <a:pt x="59" y="63"/>
                    </a:lnTo>
                    <a:lnTo>
                      <a:pt x="57" y="63"/>
                    </a:lnTo>
                    <a:lnTo>
                      <a:pt x="55" y="65"/>
                    </a:lnTo>
                    <a:lnTo>
                      <a:pt x="55" y="62"/>
                    </a:lnTo>
                    <a:lnTo>
                      <a:pt x="57" y="62"/>
                    </a:lnTo>
                    <a:lnTo>
                      <a:pt x="57" y="58"/>
                    </a:lnTo>
                    <a:lnTo>
                      <a:pt x="55" y="60"/>
                    </a:lnTo>
                    <a:lnTo>
                      <a:pt x="53" y="60"/>
                    </a:lnTo>
                    <a:lnTo>
                      <a:pt x="53" y="58"/>
                    </a:lnTo>
                    <a:lnTo>
                      <a:pt x="53" y="56"/>
                    </a:lnTo>
                    <a:lnTo>
                      <a:pt x="53" y="54"/>
                    </a:lnTo>
                    <a:lnTo>
                      <a:pt x="51" y="54"/>
                    </a:lnTo>
                    <a:lnTo>
                      <a:pt x="51" y="56"/>
                    </a:lnTo>
                    <a:lnTo>
                      <a:pt x="50" y="56"/>
                    </a:lnTo>
                    <a:lnTo>
                      <a:pt x="50" y="58"/>
                    </a:lnTo>
                    <a:lnTo>
                      <a:pt x="48" y="58"/>
                    </a:lnTo>
                    <a:lnTo>
                      <a:pt x="48" y="60"/>
                    </a:lnTo>
                    <a:lnTo>
                      <a:pt x="46" y="60"/>
                    </a:lnTo>
                    <a:lnTo>
                      <a:pt x="44" y="62"/>
                    </a:lnTo>
                    <a:lnTo>
                      <a:pt x="46" y="62"/>
                    </a:lnTo>
                    <a:lnTo>
                      <a:pt x="44" y="63"/>
                    </a:lnTo>
                    <a:lnTo>
                      <a:pt x="42" y="63"/>
                    </a:lnTo>
                    <a:lnTo>
                      <a:pt x="40" y="63"/>
                    </a:lnTo>
                    <a:lnTo>
                      <a:pt x="38" y="65"/>
                    </a:lnTo>
                    <a:lnTo>
                      <a:pt x="36" y="65"/>
                    </a:lnTo>
                    <a:lnTo>
                      <a:pt x="36" y="67"/>
                    </a:lnTo>
                    <a:lnTo>
                      <a:pt x="36" y="65"/>
                    </a:lnTo>
                    <a:lnTo>
                      <a:pt x="36" y="67"/>
                    </a:lnTo>
                    <a:lnTo>
                      <a:pt x="34" y="69"/>
                    </a:lnTo>
                    <a:lnTo>
                      <a:pt x="32" y="69"/>
                    </a:lnTo>
                    <a:lnTo>
                      <a:pt x="32" y="71"/>
                    </a:lnTo>
                    <a:lnTo>
                      <a:pt x="30" y="71"/>
                    </a:lnTo>
                    <a:lnTo>
                      <a:pt x="30" y="69"/>
                    </a:lnTo>
                    <a:lnTo>
                      <a:pt x="28" y="69"/>
                    </a:lnTo>
                    <a:lnTo>
                      <a:pt x="28" y="67"/>
                    </a:lnTo>
                    <a:lnTo>
                      <a:pt x="26" y="67"/>
                    </a:lnTo>
                    <a:lnTo>
                      <a:pt x="25" y="69"/>
                    </a:lnTo>
                    <a:lnTo>
                      <a:pt x="23" y="71"/>
                    </a:lnTo>
                    <a:lnTo>
                      <a:pt x="23" y="69"/>
                    </a:lnTo>
                    <a:lnTo>
                      <a:pt x="21" y="71"/>
                    </a:lnTo>
                    <a:lnTo>
                      <a:pt x="21" y="69"/>
                    </a:lnTo>
                    <a:lnTo>
                      <a:pt x="21" y="67"/>
                    </a:lnTo>
                    <a:lnTo>
                      <a:pt x="19" y="67"/>
                    </a:lnTo>
                    <a:lnTo>
                      <a:pt x="19" y="65"/>
                    </a:lnTo>
                    <a:lnTo>
                      <a:pt x="17" y="65"/>
                    </a:lnTo>
                    <a:lnTo>
                      <a:pt x="17" y="63"/>
                    </a:lnTo>
                    <a:lnTo>
                      <a:pt x="17" y="62"/>
                    </a:lnTo>
                    <a:lnTo>
                      <a:pt x="17" y="60"/>
                    </a:lnTo>
                    <a:lnTo>
                      <a:pt x="17" y="58"/>
                    </a:lnTo>
                    <a:lnTo>
                      <a:pt x="15" y="58"/>
                    </a:lnTo>
                    <a:lnTo>
                      <a:pt x="15" y="56"/>
                    </a:lnTo>
                    <a:lnTo>
                      <a:pt x="15" y="54"/>
                    </a:lnTo>
                    <a:lnTo>
                      <a:pt x="15" y="52"/>
                    </a:lnTo>
                    <a:lnTo>
                      <a:pt x="17" y="52"/>
                    </a:lnTo>
                    <a:lnTo>
                      <a:pt x="17" y="50"/>
                    </a:lnTo>
                    <a:lnTo>
                      <a:pt x="17" y="48"/>
                    </a:lnTo>
                    <a:lnTo>
                      <a:pt x="15" y="48"/>
                    </a:lnTo>
                    <a:lnTo>
                      <a:pt x="15" y="46"/>
                    </a:lnTo>
                    <a:lnTo>
                      <a:pt x="15" y="44"/>
                    </a:lnTo>
                    <a:lnTo>
                      <a:pt x="13" y="44"/>
                    </a:lnTo>
                    <a:lnTo>
                      <a:pt x="13" y="42"/>
                    </a:lnTo>
                    <a:lnTo>
                      <a:pt x="11" y="42"/>
                    </a:lnTo>
                    <a:lnTo>
                      <a:pt x="11" y="40"/>
                    </a:lnTo>
                    <a:lnTo>
                      <a:pt x="9" y="38"/>
                    </a:lnTo>
                    <a:lnTo>
                      <a:pt x="9" y="40"/>
                    </a:lnTo>
                    <a:lnTo>
                      <a:pt x="7" y="38"/>
                    </a:lnTo>
                    <a:lnTo>
                      <a:pt x="5" y="38"/>
                    </a:lnTo>
                    <a:lnTo>
                      <a:pt x="5" y="40"/>
                    </a:lnTo>
                    <a:lnTo>
                      <a:pt x="5" y="38"/>
                    </a:lnTo>
                    <a:lnTo>
                      <a:pt x="3" y="38"/>
                    </a:lnTo>
                    <a:lnTo>
                      <a:pt x="3" y="37"/>
                    </a:lnTo>
                    <a:lnTo>
                      <a:pt x="1" y="37"/>
                    </a:lnTo>
                    <a:lnTo>
                      <a:pt x="1" y="35"/>
                    </a:lnTo>
                    <a:lnTo>
                      <a:pt x="1" y="33"/>
                    </a:lnTo>
                    <a:lnTo>
                      <a:pt x="0" y="33"/>
                    </a:lnTo>
                    <a:lnTo>
                      <a:pt x="0" y="31"/>
                    </a:lnTo>
                    <a:lnTo>
                      <a:pt x="1" y="31"/>
                    </a:lnTo>
                    <a:lnTo>
                      <a:pt x="1" y="29"/>
                    </a:lnTo>
                    <a:lnTo>
                      <a:pt x="0" y="29"/>
                    </a:lnTo>
                    <a:lnTo>
                      <a:pt x="0" y="27"/>
                    </a:lnTo>
                    <a:lnTo>
                      <a:pt x="1" y="27"/>
                    </a:lnTo>
                    <a:lnTo>
                      <a:pt x="1" y="25"/>
                    </a:lnTo>
                    <a:lnTo>
                      <a:pt x="3" y="23"/>
                    </a:lnTo>
                    <a:lnTo>
                      <a:pt x="3" y="21"/>
                    </a:lnTo>
                    <a:lnTo>
                      <a:pt x="5" y="21"/>
                    </a:lnTo>
                    <a:lnTo>
                      <a:pt x="5" y="19"/>
                    </a:lnTo>
                    <a:lnTo>
                      <a:pt x="7" y="19"/>
                    </a:lnTo>
                    <a:lnTo>
                      <a:pt x="7" y="17"/>
                    </a:lnTo>
                    <a:lnTo>
                      <a:pt x="9" y="17"/>
                    </a:lnTo>
                    <a:lnTo>
                      <a:pt x="9" y="15"/>
                    </a:lnTo>
                    <a:lnTo>
                      <a:pt x="11" y="14"/>
                    </a:lnTo>
                    <a:lnTo>
                      <a:pt x="11" y="12"/>
                    </a:lnTo>
                    <a:lnTo>
                      <a:pt x="13" y="12"/>
                    </a:lnTo>
                    <a:lnTo>
                      <a:pt x="13" y="10"/>
                    </a:lnTo>
                    <a:lnTo>
                      <a:pt x="13" y="12"/>
                    </a:lnTo>
                    <a:lnTo>
                      <a:pt x="13" y="10"/>
                    </a:lnTo>
                    <a:lnTo>
                      <a:pt x="13" y="8"/>
                    </a:lnTo>
                    <a:lnTo>
                      <a:pt x="15" y="8"/>
                    </a:lnTo>
                    <a:lnTo>
                      <a:pt x="17" y="8"/>
                    </a:lnTo>
                    <a:lnTo>
                      <a:pt x="21" y="8"/>
                    </a:lnTo>
                    <a:lnTo>
                      <a:pt x="23" y="8"/>
                    </a:lnTo>
                    <a:lnTo>
                      <a:pt x="25" y="8"/>
                    </a:lnTo>
                    <a:lnTo>
                      <a:pt x="25" y="6"/>
                    </a:lnTo>
                    <a:lnTo>
                      <a:pt x="25" y="8"/>
                    </a:lnTo>
                    <a:lnTo>
                      <a:pt x="25" y="6"/>
                    </a:lnTo>
                    <a:lnTo>
                      <a:pt x="26" y="6"/>
                    </a:lnTo>
                    <a:lnTo>
                      <a:pt x="26" y="4"/>
                    </a:lnTo>
                    <a:lnTo>
                      <a:pt x="26" y="2"/>
                    </a:lnTo>
                    <a:lnTo>
                      <a:pt x="28" y="2"/>
                    </a:lnTo>
                    <a:lnTo>
                      <a:pt x="28" y="0"/>
                    </a:lnTo>
                    <a:lnTo>
                      <a:pt x="30" y="0"/>
                    </a:lnTo>
                    <a:lnTo>
                      <a:pt x="32" y="2"/>
                    </a:lnTo>
                    <a:lnTo>
                      <a:pt x="32" y="4"/>
                    </a:lnTo>
                    <a:lnTo>
                      <a:pt x="34" y="4"/>
                    </a:lnTo>
                    <a:lnTo>
                      <a:pt x="36" y="6"/>
                    </a:lnTo>
                    <a:lnTo>
                      <a:pt x="36" y="4"/>
                    </a:lnTo>
                    <a:lnTo>
                      <a:pt x="36" y="2"/>
                    </a:lnTo>
                    <a:lnTo>
                      <a:pt x="38" y="2"/>
                    </a:lnTo>
                    <a:lnTo>
                      <a:pt x="40" y="2"/>
                    </a:lnTo>
                    <a:lnTo>
                      <a:pt x="42" y="2"/>
                    </a:lnTo>
                    <a:lnTo>
                      <a:pt x="44" y="2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48" y="6"/>
                    </a:lnTo>
                    <a:lnTo>
                      <a:pt x="50" y="4"/>
                    </a:lnTo>
                    <a:lnTo>
                      <a:pt x="51" y="2"/>
                    </a:lnTo>
                    <a:lnTo>
                      <a:pt x="53" y="2"/>
                    </a:lnTo>
                    <a:lnTo>
                      <a:pt x="53" y="4"/>
                    </a:lnTo>
                    <a:lnTo>
                      <a:pt x="53" y="6"/>
                    </a:lnTo>
                    <a:lnTo>
                      <a:pt x="51" y="10"/>
                    </a:lnTo>
                    <a:lnTo>
                      <a:pt x="51" y="12"/>
                    </a:lnTo>
                    <a:lnTo>
                      <a:pt x="51" y="15"/>
                    </a:lnTo>
                    <a:lnTo>
                      <a:pt x="51" y="14"/>
                    </a:lnTo>
                    <a:lnTo>
                      <a:pt x="53" y="14"/>
                    </a:lnTo>
                    <a:lnTo>
                      <a:pt x="55" y="14"/>
                    </a:lnTo>
                    <a:lnTo>
                      <a:pt x="57" y="14"/>
                    </a:lnTo>
                    <a:lnTo>
                      <a:pt x="59" y="14"/>
                    </a:lnTo>
                    <a:lnTo>
                      <a:pt x="61" y="15"/>
                    </a:lnTo>
                    <a:lnTo>
                      <a:pt x="61" y="17"/>
                    </a:lnTo>
                    <a:lnTo>
                      <a:pt x="63" y="17"/>
                    </a:lnTo>
                    <a:lnTo>
                      <a:pt x="63" y="19"/>
                    </a:lnTo>
                    <a:lnTo>
                      <a:pt x="65" y="19"/>
                    </a:lnTo>
                    <a:lnTo>
                      <a:pt x="67" y="19"/>
                    </a:lnTo>
                    <a:lnTo>
                      <a:pt x="65" y="21"/>
                    </a:lnTo>
                    <a:lnTo>
                      <a:pt x="67" y="21"/>
                    </a:lnTo>
                    <a:lnTo>
                      <a:pt x="67" y="23"/>
                    </a:lnTo>
                    <a:lnTo>
                      <a:pt x="69" y="21"/>
                    </a:lnTo>
                    <a:lnTo>
                      <a:pt x="69" y="19"/>
                    </a:lnTo>
                    <a:lnTo>
                      <a:pt x="71" y="19"/>
                    </a:lnTo>
                    <a:lnTo>
                      <a:pt x="73" y="15"/>
                    </a:lnTo>
                    <a:lnTo>
                      <a:pt x="75" y="15"/>
                    </a:lnTo>
                    <a:lnTo>
                      <a:pt x="76" y="15"/>
                    </a:lnTo>
                    <a:lnTo>
                      <a:pt x="78" y="14"/>
                    </a:lnTo>
                    <a:lnTo>
                      <a:pt x="78" y="15"/>
                    </a:lnTo>
                    <a:lnTo>
                      <a:pt x="78" y="14"/>
                    </a:lnTo>
                    <a:lnTo>
                      <a:pt x="80" y="14"/>
                    </a:lnTo>
                    <a:lnTo>
                      <a:pt x="80" y="15"/>
                    </a:lnTo>
                    <a:lnTo>
                      <a:pt x="82" y="15"/>
                    </a:lnTo>
                    <a:lnTo>
                      <a:pt x="80" y="15"/>
                    </a:lnTo>
                    <a:lnTo>
                      <a:pt x="82" y="17"/>
                    </a:lnTo>
                    <a:lnTo>
                      <a:pt x="88" y="21"/>
                    </a:lnTo>
                    <a:lnTo>
                      <a:pt x="86" y="23"/>
                    </a:lnTo>
                    <a:lnTo>
                      <a:pt x="88" y="25"/>
                    </a:lnTo>
                    <a:lnTo>
                      <a:pt x="88" y="27"/>
                    </a:lnTo>
                    <a:lnTo>
                      <a:pt x="90" y="27"/>
                    </a:lnTo>
                    <a:lnTo>
                      <a:pt x="92" y="25"/>
                    </a:lnTo>
                    <a:lnTo>
                      <a:pt x="94" y="25"/>
                    </a:lnTo>
                    <a:lnTo>
                      <a:pt x="96" y="25"/>
                    </a:lnTo>
                    <a:lnTo>
                      <a:pt x="96" y="23"/>
                    </a:lnTo>
                    <a:lnTo>
                      <a:pt x="98" y="23"/>
                    </a:lnTo>
                    <a:lnTo>
                      <a:pt x="99" y="23"/>
                    </a:lnTo>
                    <a:lnTo>
                      <a:pt x="98" y="25"/>
                    </a:lnTo>
                    <a:lnTo>
                      <a:pt x="96" y="29"/>
                    </a:lnTo>
                    <a:lnTo>
                      <a:pt x="94" y="27"/>
                    </a:lnTo>
                    <a:lnTo>
                      <a:pt x="92" y="29"/>
                    </a:lnTo>
                    <a:lnTo>
                      <a:pt x="90" y="29"/>
                    </a:lnTo>
                    <a:lnTo>
                      <a:pt x="86" y="3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28">
                <a:extLst>
                  <a:ext uri="{FF2B5EF4-FFF2-40B4-BE49-F238E27FC236}">
                    <a16:creationId xmlns="" xmlns:a16="http://schemas.microsoft.com/office/drawing/2014/main" id="{F996FEB7-2B58-49AB-BB15-F5BD5EA665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82688" y="2965451"/>
                <a:ext cx="161925" cy="153988"/>
              </a:xfrm>
              <a:custGeom>
                <a:avLst/>
                <a:gdLst>
                  <a:gd name="T0" fmla="*/ 4 w 102"/>
                  <a:gd name="T1" fmla="*/ 18 h 97"/>
                  <a:gd name="T2" fmla="*/ 12 w 102"/>
                  <a:gd name="T3" fmla="*/ 16 h 97"/>
                  <a:gd name="T4" fmla="*/ 12 w 102"/>
                  <a:gd name="T5" fmla="*/ 16 h 97"/>
                  <a:gd name="T6" fmla="*/ 4 w 102"/>
                  <a:gd name="T7" fmla="*/ 18 h 97"/>
                  <a:gd name="T8" fmla="*/ 50 w 102"/>
                  <a:gd name="T9" fmla="*/ 20 h 97"/>
                  <a:gd name="T10" fmla="*/ 54 w 102"/>
                  <a:gd name="T11" fmla="*/ 25 h 97"/>
                  <a:gd name="T12" fmla="*/ 60 w 102"/>
                  <a:gd name="T13" fmla="*/ 31 h 97"/>
                  <a:gd name="T14" fmla="*/ 66 w 102"/>
                  <a:gd name="T15" fmla="*/ 27 h 97"/>
                  <a:gd name="T16" fmla="*/ 72 w 102"/>
                  <a:gd name="T17" fmla="*/ 22 h 97"/>
                  <a:gd name="T18" fmla="*/ 75 w 102"/>
                  <a:gd name="T19" fmla="*/ 18 h 97"/>
                  <a:gd name="T20" fmla="*/ 75 w 102"/>
                  <a:gd name="T21" fmla="*/ 20 h 97"/>
                  <a:gd name="T22" fmla="*/ 77 w 102"/>
                  <a:gd name="T23" fmla="*/ 16 h 97"/>
                  <a:gd name="T24" fmla="*/ 83 w 102"/>
                  <a:gd name="T25" fmla="*/ 16 h 97"/>
                  <a:gd name="T26" fmla="*/ 81 w 102"/>
                  <a:gd name="T27" fmla="*/ 20 h 97"/>
                  <a:gd name="T28" fmla="*/ 83 w 102"/>
                  <a:gd name="T29" fmla="*/ 27 h 97"/>
                  <a:gd name="T30" fmla="*/ 83 w 102"/>
                  <a:gd name="T31" fmla="*/ 33 h 97"/>
                  <a:gd name="T32" fmla="*/ 87 w 102"/>
                  <a:gd name="T33" fmla="*/ 41 h 97"/>
                  <a:gd name="T34" fmla="*/ 87 w 102"/>
                  <a:gd name="T35" fmla="*/ 47 h 97"/>
                  <a:gd name="T36" fmla="*/ 95 w 102"/>
                  <a:gd name="T37" fmla="*/ 50 h 97"/>
                  <a:gd name="T38" fmla="*/ 100 w 102"/>
                  <a:gd name="T39" fmla="*/ 54 h 97"/>
                  <a:gd name="T40" fmla="*/ 100 w 102"/>
                  <a:gd name="T41" fmla="*/ 62 h 97"/>
                  <a:gd name="T42" fmla="*/ 100 w 102"/>
                  <a:gd name="T43" fmla="*/ 64 h 97"/>
                  <a:gd name="T44" fmla="*/ 100 w 102"/>
                  <a:gd name="T45" fmla="*/ 70 h 97"/>
                  <a:gd name="T46" fmla="*/ 98 w 102"/>
                  <a:gd name="T47" fmla="*/ 73 h 97"/>
                  <a:gd name="T48" fmla="*/ 95 w 102"/>
                  <a:gd name="T49" fmla="*/ 75 h 97"/>
                  <a:gd name="T50" fmla="*/ 89 w 102"/>
                  <a:gd name="T51" fmla="*/ 79 h 97"/>
                  <a:gd name="T52" fmla="*/ 83 w 102"/>
                  <a:gd name="T53" fmla="*/ 83 h 97"/>
                  <a:gd name="T54" fmla="*/ 77 w 102"/>
                  <a:gd name="T55" fmla="*/ 91 h 97"/>
                  <a:gd name="T56" fmla="*/ 64 w 102"/>
                  <a:gd name="T57" fmla="*/ 87 h 97"/>
                  <a:gd name="T58" fmla="*/ 56 w 102"/>
                  <a:gd name="T59" fmla="*/ 81 h 97"/>
                  <a:gd name="T60" fmla="*/ 43 w 102"/>
                  <a:gd name="T61" fmla="*/ 70 h 97"/>
                  <a:gd name="T62" fmla="*/ 37 w 102"/>
                  <a:gd name="T63" fmla="*/ 64 h 97"/>
                  <a:gd name="T64" fmla="*/ 33 w 102"/>
                  <a:gd name="T65" fmla="*/ 58 h 97"/>
                  <a:gd name="T66" fmla="*/ 24 w 102"/>
                  <a:gd name="T67" fmla="*/ 48 h 97"/>
                  <a:gd name="T68" fmla="*/ 14 w 102"/>
                  <a:gd name="T69" fmla="*/ 35 h 97"/>
                  <a:gd name="T70" fmla="*/ 4 w 102"/>
                  <a:gd name="T71" fmla="*/ 23 h 97"/>
                  <a:gd name="T72" fmla="*/ 10 w 102"/>
                  <a:gd name="T73" fmla="*/ 23 h 97"/>
                  <a:gd name="T74" fmla="*/ 16 w 102"/>
                  <a:gd name="T75" fmla="*/ 20 h 97"/>
                  <a:gd name="T76" fmla="*/ 22 w 102"/>
                  <a:gd name="T77" fmla="*/ 23 h 97"/>
                  <a:gd name="T78" fmla="*/ 25 w 102"/>
                  <a:gd name="T79" fmla="*/ 25 h 97"/>
                  <a:gd name="T80" fmla="*/ 27 w 102"/>
                  <a:gd name="T81" fmla="*/ 23 h 97"/>
                  <a:gd name="T82" fmla="*/ 31 w 102"/>
                  <a:gd name="T83" fmla="*/ 25 h 97"/>
                  <a:gd name="T84" fmla="*/ 29 w 102"/>
                  <a:gd name="T85" fmla="*/ 22 h 97"/>
                  <a:gd name="T86" fmla="*/ 25 w 102"/>
                  <a:gd name="T87" fmla="*/ 20 h 97"/>
                  <a:gd name="T88" fmla="*/ 24 w 102"/>
                  <a:gd name="T89" fmla="*/ 14 h 97"/>
                  <a:gd name="T90" fmla="*/ 18 w 102"/>
                  <a:gd name="T91" fmla="*/ 16 h 97"/>
                  <a:gd name="T92" fmla="*/ 22 w 102"/>
                  <a:gd name="T93" fmla="*/ 12 h 97"/>
                  <a:gd name="T94" fmla="*/ 29 w 102"/>
                  <a:gd name="T95" fmla="*/ 4 h 97"/>
                  <a:gd name="T96" fmla="*/ 33 w 102"/>
                  <a:gd name="T97" fmla="*/ 2 h 97"/>
                  <a:gd name="T98" fmla="*/ 39 w 102"/>
                  <a:gd name="T99" fmla="*/ 8 h 97"/>
                  <a:gd name="T100" fmla="*/ 45 w 102"/>
                  <a:gd name="T101" fmla="*/ 12 h 97"/>
                  <a:gd name="T102" fmla="*/ 52 w 102"/>
                  <a:gd name="T103" fmla="*/ 12 h 97"/>
                  <a:gd name="T104" fmla="*/ 68 w 102"/>
                  <a:gd name="T105" fmla="*/ 10 h 97"/>
                  <a:gd name="T106" fmla="*/ 72 w 102"/>
                  <a:gd name="T107" fmla="*/ 8 h 97"/>
                  <a:gd name="T108" fmla="*/ 64 w 102"/>
                  <a:gd name="T109" fmla="*/ 10 h 97"/>
                  <a:gd name="T110" fmla="*/ 56 w 102"/>
                  <a:gd name="T111" fmla="*/ 12 h 97"/>
                  <a:gd name="T112" fmla="*/ 50 w 102"/>
                  <a:gd name="T113" fmla="*/ 14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02" h="97">
                    <a:moveTo>
                      <a:pt x="4" y="18"/>
                    </a:moveTo>
                    <a:lnTo>
                      <a:pt x="2" y="18"/>
                    </a:lnTo>
                    <a:lnTo>
                      <a:pt x="0" y="18"/>
                    </a:lnTo>
                    <a:lnTo>
                      <a:pt x="2" y="18"/>
                    </a:lnTo>
                    <a:lnTo>
                      <a:pt x="4" y="18"/>
                    </a:lnTo>
                    <a:lnTo>
                      <a:pt x="6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2" y="16"/>
                    </a:lnTo>
                    <a:lnTo>
                      <a:pt x="14" y="16"/>
                    </a:lnTo>
                    <a:lnTo>
                      <a:pt x="16" y="14"/>
                    </a:lnTo>
                    <a:lnTo>
                      <a:pt x="16" y="16"/>
                    </a:lnTo>
                    <a:lnTo>
                      <a:pt x="14" y="16"/>
                    </a:lnTo>
                    <a:lnTo>
                      <a:pt x="12" y="16"/>
                    </a:lnTo>
                    <a:lnTo>
                      <a:pt x="10" y="16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6" y="18"/>
                    </a:lnTo>
                    <a:lnTo>
                      <a:pt x="4" y="18"/>
                    </a:lnTo>
                    <a:close/>
                    <a:moveTo>
                      <a:pt x="47" y="16"/>
                    </a:moveTo>
                    <a:lnTo>
                      <a:pt x="49" y="16"/>
                    </a:lnTo>
                    <a:lnTo>
                      <a:pt x="49" y="18"/>
                    </a:lnTo>
                    <a:lnTo>
                      <a:pt x="49" y="20"/>
                    </a:lnTo>
                    <a:lnTo>
                      <a:pt x="50" y="20"/>
                    </a:lnTo>
                    <a:lnTo>
                      <a:pt x="52" y="20"/>
                    </a:lnTo>
                    <a:lnTo>
                      <a:pt x="52" y="22"/>
                    </a:lnTo>
                    <a:lnTo>
                      <a:pt x="52" y="23"/>
                    </a:lnTo>
                    <a:lnTo>
                      <a:pt x="52" y="25"/>
                    </a:lnTo>
                    <a:lnTo>
                      <a:pt x="54" y="25"/>
                    </a:lnTo>
                    <a:lnTo>
                      <a:pt x="54" y="27"/>
                    </a:lnTo>
                    <a:lnTo>
                      <a:pt x="56" y="27"/>
                    </a:lnTo>
                    <a:lnTo>
                      <a:pt x="56" y="29"/>
                    </a:lnTo>
                    <a:lnTo>
                      <a:pt x="58" y="29"/>
                    </a:lnTo>
                    <a:lnTo>
                      <a:pt x="60" y="31"/>
                    </a:lnTo>
                    <a:lnTo>
                      <a:pt x="62" y="31"/>
                    </a:lnTo>
                    <a:lnTo>
                      <a:pt x="64" y="31"/>
                    </a:lnTo>
                    <a:lnTo>
                      <a:pt x="64" y="29"/>
                    </a:lnTo>
                    <a:lnTo>
                      <a:pt x="66" y="29"/>
                    </a:lnTo>
                    <a:lnTo>
                      <a:pt x="66" y="27"/>
                    </a:lnTo>
                    <a:lnTo>
                      <a:pt x="68" y="25"/>
                    </a:lnTo>
                    <a:lnTo>
                      <a:pt x="68" y="23"/>
                    </a:lnTo>
                    <a:lnTo>
                      <a:pt x="70" y="23"/>
                    </a:lnTo>
                    <a:lnTo>
                      <a:pt x="70" y="22"/>
                    </a:lnTo>
                    <a:lnTo>
                      <a:pt x="72" y="22"/>
                    </a:lnTo>
                    <a:lnTo>
                      <a:pt x="72" y="20"/>
                    </a:lnTo>
                    <a:lnTo>
                      <a:pt x="73" y="18"/>
                    </a:lnTo>
                    <a:lnTo>
                      <a:pt x="73" y="16"/>
                    </a:lnTo>
                    <a:lnTo>
                      <a:pt x="73" y="18"/>
                    </a:lnTo>
                    <a:lnTo>
                      <a:pt x="75" y="18"/>
                    </a:lnTo>
                    <a:lnTo>
                      <a:pt x="73" y="18"/>
                    </a:lnTo>
                    <a:lnTo>
                      <a:pt x="75" y="18"/>
                    </a:lnTo>
                    <a:lnTo>
                      <a:pt x="75" y="20"/>
                    </a:lnTo>
                    <a:lnTo>
                      <a:pt x="75" y="18"/>
                    </a:lnTo>
                    <a:lnTo>
                      <a:pt x="75" y="20"/>
                    </a:lnTo>
                    <a:lnTo>
                      <a:pt x="75" y="18"/>
                    </a:lnTo>
                    <a:lnTo>
                      <a:pt x="75" y="20"/>
                    </a:lnTo>
                    <a:lnTo>
                      <a:pt x="77" y="18"/>
                    </a:lnTo>
                    <a:lnTo>
                      <a:pt x="79" y="18"/>
                    </a:lnTo>
                    <a:lnTo>
                      <a:pt x="77" y="16"/>
                    </a:lnTo>
                    <a:lnTo>
                      <a:pt x="79" y="16"/>
                    </a:lnTo>
                    <a:lnTo>
                      <a:pt x="79" y="18"/>
                    </a:lnTo>
                    <a:lnTo>
                      <a:pt x="79" y="16"/>
                    </a:lnTo>
                    <a:lnTo>
                      <a:pt x="81" y="16"/>
                    </a:lnTo>
                    <a:lnTo>
                      <a:pt x="83" y="16"/>
                    </a:lnTo>
                    <a:lnTo>
                      <a:pt x="83" y="18"/>
                    </a:lnTo>
                    <a:lnTo>
                      <a:pt x="83" y="16"/>
                    </a:lnTo>
                    <a:lnTo>
                      <a:pt x="83" y="18"/>
                    </a:lnTo>
                    <a:lnTo>
                      <a:pt x="83" y="20"/>
                    </a:lnTo>
                    <a:lnTo>
                      <a:pt x="81" y="20"/>
                    </a:lnTo>
                    <a:lnTo>
                      <a:pt x="81" y="22"/>
                    </a:lnTo>
                    <a:lnTo>
                      <a:pt x="81" y="23"/>
                    </a:lnTo>
                    <a:lnTo>
                      <a:pt x="81" y="25"/>
                    </a:lnTo>
                    <a:lnTo>
                      <a:pt x="83" y="25"/>
                    </a:lnTo>
                    <a:lnTo>
                      <a:pt x="83" y="27"/>
                    </a:lnTo>
                    <a:lnTo>
                      <a:pt x="85" y="27"/>
                    </a:lnTo>
                    <a:lnTo>
                      <a:pt x="85" y="29"/>
                    </a:lnTo>
                    <a:lnTo>
                      <a:pt x="85" y="31"/>
                    </a:lnTo>
                    <a:lnTo>
                      <a:pt x="85" y="33"/>
                    </a:lnTo>
                    <a:lnTo>
                      <a:pt x="83" y="33"/>
                    </a:lnTo>
                    <a:lnTo>
                      <a:pt x="85" y="33"/>
                    </a:lnTo>
                    <a:lnTo>
                      <a:pt x="85" y="35"/>
                    </a:lnTo>
                    <a:lnTo>
                      <a:pt x="85" y="37"/>
                    </a:lnTo>
                    <a:lnTo>
                      <a:pt x="87" y="39"/>
                    </a:lnTo>
                    <a:lnTo>
                      <a:pt x="87" y="41"/>
                    </a:lnTo>
                    <a:lnTo>
                      <a:pt x="89" y="41"/>
                    </a:lnTo>
                    <a:lnTo>
                      <a:pt x="89" y="43"/>
                    </a:lnTo>
                    <a:lnTo>
                      <a:pt x="87" y="43"/>
                    </a:lnTo>
                    <a:lnTo>
                      <a:pt x="87" y="45"/>
                    </a:lnTo>
                    <a:lnTo>
                      <a:pt x="87" y="47"/>
                    </a:lnTo>
                    <a:lnTo>
                      <a:pt x="89" y="47"/>
                    </a:lnTo>
                    <a:lnTo>
                      <a:pt x="91" y="47"/>
                    </a:lnTo>
                    <a:lnTo>
                      <a:pt x="93" y="47"/>
                    </a:lnTo>
                    <a:lnTo>
                      <a:pt x="95" y="48"/>
                    </a:lnTo>
                    <a:lnTo>
                      <a:pt x="95" y="50"/>
                    </a:lnTo>
                    <a:lnTo>
                      <a:pt x="97" y="50"/>
                    </a:lnTo>
                    <a:lnTo>
                      <a:pt x="97" y="52"/>
                    </a:lnTo>
                    <a:lnTo>
                      <a:pt x="98" y="52"/>
                    </a:lnTo>
                    <a:lnTo>
                      <a:pt x="98" y="54"/>
                    </a:lnTo>
                    <a:lnTo>
                      <a:pt x="100" y="54"/>
                    </a:lnTo>
                    <a:lnTo>
                      <a:pt x="102" y="54"/>
                    </a:lnTo>
                    <a:lnTo>
                      <a:pt x="102" y="56"/>
                    </a:lnTo>
                    <a:lnTo>
                      <a:pt x="100" y="58"/>
                    </a:lnTo>
                    <a:lnTo>
                      <a:pt x="100" y="60"/>
                    </a:lnTo>
                    <a:lnTo>
                      <a:pt x="100" y="62"/>
                    </a:lnTo>
                    <a:lnTo>
                      <a:pt x="98" y="62"/>
                    </a:lnTo>
                    <a:lnTo>
                      <a:pt x="100" y="62"/>
                    </a:lnTo>
                    <a:lnTo>
                      <a:pt x="98" y="62"/>
                    </a:lnTo>
                    <a:lnTo>
                      <a:pt x="100" y="62"/>
                    </a:lnTo>
                    <a:lnTo>
                      <a:pt x="100" y="64"/>
                    </a:lnTo>
                    <a:lnTo>
                      <a:pt x="100" y="66"/>
                    </a:lnTo>
                    <a:lnTo>
                      <a:pt x="100" y="68"/>
                    </a:lnTo>
                    <a:lnTo>
                      <a:pt x="100" y="66"/>
                    </a:lnTo>
                    <a:lnTo>
                      <a:pt x="100" y="68"/>
                    </a:lnTo>
                    <a:lnTo>
                      <a:pt x="100" y="70"/>
                    </a:lnTo>
                    <a:lnTo>
                      <a:pt x="100" y="72"/>
                    </a:lnTo>
                    <a:lnTo>
                      <a:pt x="98" y="72"/>
                    </a:lnTo>
                    <a:lnTo>
                      <a:pt x="100" y="72"/>
                    </a:lnTo>
                    <a:lnTo>
                      <a:pt x="100" y="73"/>
                    </a:lnTo>
                    <a:lnTo>
                      <a:pt x="98" y="73"/>
                    </a:lnTo>
                    <a:lnTo>
                      <a:pt x="98" y="75"/>
                    </a:lnTo>
                    <a:lnTo>
                      <a:pt x="97" y="75"/>
                    </a:lnTo>
                    <a:lnTo>
                      <a:pt x="95" y="75"/>
                    </a:lnTo>
                    <a:lnTo>
                      <a:pt x="95" y="77"/>
                    </a:lnTo>
                    <a:lnTo>
                      <a:pt x="95" y="75"/>
                    </a:lnTo>
                    <a:lnTo>
                      <a:pt x="93" y="75"/>
                    </a:lnTo>
                    <a:lnTo>
                      <a:pt x="91" y="75"/>
                    </a:lnTo>
                    <a:lnTo>
                      <a:pt x="89" y="75"/>
                    </a:lnTo>
                    <a:lnTo>
                      <a:pt x="89" y="77"/>
                    </a:lnTo>
                    <a:lnTo>
                      <a:pt x="89" y="79"/>
                    </a:lnTo>
                    <a:lnTo>
                      <a:pt x="87" y="79"/>
                    </a:lnTo>
                    <a:lnTo>
                      <a:pt x="87" y="81"/>
                    </a:lnTo>
                    <a:lnTo>
                      <a:pt x="85" y="81"/>
                    </a:lnTo>
                    <a:lnTo>
                      <a:pt x="83" y="81"/>
                    </a:lnTo>
                    <a:lnTo>
                      <a:pt x="83" y="83"/>
                    </a:lnTo>
                    <a:lnTo>
                      <a:pt x="81" y="83"/>
                    </a:lnTo>
                    <a:lnTo>
                      <a:pt x="79" y="85"/>
                    </a:lnTo>
                    <a:lnTo>
                      <a:pt x="79" y="87"/>
                    </a:lnTo>
                    <a:lnTo>
                      <a:pt x="77" y="89"/>
                    </a:lnTo>
                    <a:lnTo>
                      <a:pt x="77" y="91"/>
                    </a:lnTo>
                    <a:lnTo>
                      <a:pt x="75" y="95"/>
                    </a:lnTo>
                    <a:lnTo>
                      <a:pt x="75" y="97"/>
                    </a:lnTo>
                    <a:lnTo>
                      <a:pt x="72" y="93"/>
                    </a:lnTo>
                    <a:lnTo>
                      <a:pt x="66" y="89"/>
                    </a:lnTo>
                    <a:lnTo>
                      <a:pt x="64" y="87"/>
                    </a:lnTo>
                    <a:lnTo>
                      <a:pt x="62" y="87"/>
                    </a:lnTo>
                    <a:lnTo>
                      <a:pt x="62" y="85"/>
                    </a:lnTo>
                    <a:lnTo>
                      <a:pt x="60" y="83"/>
                    </a:lnTo>
                    <a:lnTo>
                      <a:pt x="58" y="83"/>
                    </a:lnTo>
                    <a:lnTo>
                      <a:pt x="56" y="81"/>
                    </a:lnTo>
                    <a:lnTo>
                      <a:pt x="54" y="79"/>
                    </a:lnTo>
                    <a:lnTo>
                      <a:pt x="52" y="77"/>
                    </a:lnTo>
                    <a:lnTo>
                      <a:pt x="49" y="75"/>
                    </a:lnTo>
                    <a:lnTo>
                      <a:pt x="45" y="72"/>
                    </a:lnTo>
                    <a:lnTo>
                      <a:pt x="43" y="70"/>
                    </a:lnTo>
                    <a:lnTo>
                      <a:pt x="41" y="68"/>
                    </a:lnTo>
                    <a:lnTo>
                      <a:pt x="39" y="68"/>
                    </a:lnTo>
                    <a:lnTo>
                      <a:pt x="39" y="66"/>
                    </a:lnTo>
                    <a:lnTo>
                      <a:pt x="39" y="64"/>
                    </a:lnTo>
                    <a:lnTo>
                      <a:pt x="37" y="64"/>
                    </a:lnTo>
                    <a:lnTo>
                      <a:pt x="37" y="62"/>
                    </a:lnTo>
                    <a:lnTo>
                      <a:pt x="35" y="62"/>
                    </a:lnTo>
                    <a:lnTo>
                      <a:pt x="35" y="60"/>
                    </a:lnTo>
                    <a:lnTo>
                      <a:pt x="33" y="60"/>
                    </a:lnTo>
                    <a:lnTo>
                      <a:pt x="33" y="58"/>
                    </a:lnTo>
                    <a:lnTo>
                      <a:pt x="31" y="56"/>
                    </a:lnTo>
                    <a:lnTo>
                      <a:pt x="29" y="56"/>
                    </a:lnTo>
                    <a:lnTo>
                      <a:pt x="27" y="50"/>
                    </a:lnTo>
                    <a:lnTo>
                      <a:pt x="25" y="50"/>
                    </a:lnTo>
                    <a:lnTo>
                      <a:pt x="24" y="48"/>
                    </a:lnTo>
                    <a:lnTo>
                      <a:pt x="24" y="47"/>
                    </a:lnTo>
                    <a:lnTo>
                      <a:pt x="22" y="47"/>
                    </a:lnTo>
                    <a:lnTo>
                      <a:pt x="22" y="45"/>
                    </a:lnTo>
                    <a:lnTo>
                      <a:pt x="18" y="41"/>
                    </a:lnTo>
                    <a:lnTo>
                      <a:pt x="14" y="35"/>
                    </a:lnTo>
                    <a:lnTo>
                      <a:pt x="12" y="33"/>
                    </a:lnTo>
                    <a:lnTo>
                      <a:pt x="10" y="29"/>
                    </a:lnTo>
                    <a:lnTo>
                      <a:pt x="8" y="27"/>
                    </a:lnTo>
                    <a:lnTo>
                      <a:pt x="6" y="25"/>
                    </a:lnTo>
                    <a:lnTo>
                      <a:pt x="4" y="23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8" y="22"/>
                    </a:lnTo>
                    <a:lnTo>
                      <a:pt x="8" y="23"/>
                    </a:lnTo>
                    <a:lnTo>
                      <a:pt x="10" y="23"/>
                    </a:lnTo>
                    <a:lnTo>
                      <a:pt x="12" y="23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4" y="20"/>
                    </a:lnTo>
                    <a:lnTo>
                      <a:pt x="16" y="20"/>
                    </a:lnTo>
                    <a:lnTo>
                      <a:pt x="16" y="22"/>
                    </a:lnTo>
                    <a:lnTo>
                      <a:pt x="16" y="23"/>
                    </a:lnTo>
                    <a:lnTo>
                      <a:pt x="18" y="23"/>
                    </a:lnTo>
                    <a:lnTo>
                      <a:pt x="20" y="23"/>
                    </a:lnTo>
                    <a:lnTo>
                      <a:pt x="22" y="23"/>
                    </a:lnTo>
                    <a:lnTo>
                      <a:pt x="24" y="23"/>
                    </a:lnTo>
                    <a:lnTo>
                      <a:pt x="24" y="25"/>
                    </a:lnTo>
                    <a:lnTo>
                      <a:pt x="25" y="25"/>
                    </a:lnTo>
                    <a:lnTo>
                      <a:pt x="25" y="23"/>
                    </a:lnTo>
                    <a:lnTo>
                      <a:pt x="25" y="25"/>
                    </a:lnTo>
                    <a:lnTo>
                      <a:pt x="25" y="23"/>
                    </a:lnTo>
                    <a:lnTo>
                      <a:pt x="25" y="25"/>
                    </a:lnTo>
                    <a:lnTo>
                      <a:pt x="27" y="23"/>
                    </a:lnTo>
                    <a:lnTo>
                      <a:pt x="25" y="23"/>
                    </a:lnTo>
                    <a:lnTo>
                      <a:pt x="27" y="23"/>
                    </a:lnTo>
                    <a:lnTo>
                      <a:pt x="27" y="25"/>
                    </a:lnTo>
                    <a:lnTo>
                      <a:pt x="29" y="25"/>
                    </a:lnTo>
                    <a:lnTo>
                      <a:pt x="29" y="23"/>
                    </a:lnTo>
                    <a:lnTo>
                      <a:pt x="31" y="23"/>
                    </a:lnTo>
                    <a:lnTo>
                      <a:pt x="31" y="25"/>
                    </a:lnTo>
                    <a:lnTo>
                      <a:pt x="33" y="25"/>
                    </a:lnTo>
                    <a:lnTo>
                      <a:pt x="31" y="25"/>
                    </a:lnTo>
                    <a:lnTo>
                      <a:pt x="31" y="23"/>
                    </a:lnTo>
                    <a:lnTo>
                      <a:pt x="29" y="23"/>
                    </a:lnTo>
                    <a:lnTo>
                      <a:pt x="29" y="22"/>
                    </a:lnTo>
                    <a:lnTo>
                      <a:pt x="27" y="22"/>
                    </a:lnTo>
                    <a:lnTo>
                      <a:pt x="27" y="20"/>
                    </a:lnTo>
                    <a:lnTo>
                      <a:pt x="25" y="20"/>
                    </a:lnTo>
                    <a:lnTo>
                      <a:pt x="27" y="20"/>
                    </a:lnTo>
                    <a:lnTo>
                      <a:pt x="25" y="20"/>
                    </a:lnTo>
                    <a:lnTo>
                      <a:pt x="24" y="20"/>
                    </a:lnTo>
                    <a:lnTo>
                      <a:pt x="22" y="20"/>
                    </a:lnTo>
                    <a:lnTo>
                      <a:pt x="22" y="18"/>
                    </a:lnTo>
                    <a:lnTo>
                      <a:pt x="24" y="16"/>
                    </a:lnTo>
                    <a:lnTo>
                      <a:pt x="24" y="14"/>
                    </a:lnTo>
                    <a:lnTo>
                      <a:pt x="22" y="12"/>
                    </a:lnTo>
                    <a:lnTo>
                      <a:pt x="22" y="14"/>
                    </a:lnTo>
                    <a:lnTo>
                      <a:pt x="20" y="14"/>
                    </a:lnTo>
                    <a:lnTo>
                      <a:pt x="18" y="14"/>
                    </a:lnTo>
                    <a:lnTo>
                      <a:pt x="18" y="16"/>
                    </a:lnTo>
                    <a:lnTo>
                      <a:pt x="16" y="16"/>
                    </a:lnTo>
                    <a:lnTo>
                      <a:pt x="16" y="14"/>
                    </a:lnTo>
                    <a:lnTo>
                      <a:pt x="18" y="14"/>
                    </a:lnTo>
                    <a:lnTo>
                      <a:pt x="20" y="14"/>
                    </a:lnTo>
                    <a:lnTo>
                      <a:pt x="22" y="12"/>
                    </a:lnTo>
                    <a:lnTo>
                      <a:pt x="24" y="10"/>
                    </a:lnTo>
                    <a:lnTo>
                      <a:pt x="25" y="8"/>
                    </a:lnTo>
                    <a:lnTo>
                      <a:pt x="27" y="6"/>
                    </a:lnTo>
                    <a:lnTo>
                      <a:pt x="27" y="4"/>
                    </a:lnTo>
                    <a:lnTo>
                      <a:pt x="29" y="4"/>
                    </a:lnTo>
                    <a:lnTo>
                      <a:pt x="29" y="2"/>
                    </a:lnTo>
                    <a:lnTo>
                      <a:pt x="31" y="2"/>
                    </a:lnTo>
                    <a:lnTo>
                      <a:pt x="33" y="2"/>
                    </a:lnTo>
                    <a:lnTo>
                      <a:pt x="33" y="0"/>
                    </a:lnTo>
                    <a:lnTo>
                      <a:pt x="33" y="2"/>
                    </a:lnTo>
                    <a:lnTo>
                      <a:pt x="35" y="2"/>
                    </a:lnTo>
                    <a:lnTo>
                      <a:pt x="35" y="4"/>
                    </a:lnTo>
                    <a:lnTo>
                      <a:pt x="37" y="6"/>
                    </a:lnTo>
                    <a:lnTo>
                      <a:pt x="39" y="6"/>
                    </a:lnTo>
                    <a:lnTo>
                      <a:pt x="39" y="8"/>
                    </a:lnTo>
                    <a:lnTo>
                      <a:pt x="41" y="8"/>
                    </a:lnTo>
                    <a:lnTo>
                      <a:pt x="41" y="10"/>
                    </a:lnTo>
                    <a:lnTo>
                      <a:pt x="41" y="12"/>
                    </a:lnTo>
                    <a:lnTo>
                      <a:pt x="43" y="12"/>
                    </a:lnTo>
                    <a:lnTo>
                      <a:pt x="45" y="12"/>
                    </a:lnTo>
                    <a:lnTo>
                      <a:pt x="47" y="12"/>
                    </a:lnTo>
                    <a:lnTo>
                      <a:pt x="49" y="12"/>
                    </a:lnTo>
                    <a:lnTo>
                      <a:pt x="50" y="14"/>
                    </a:lnTo>
                    <a:lnTo>
                      <a:pt x="50" y="12"/>
                    </a:lnTo>
                    <a:lnTo>
                      <a:pt x="52" y="12"/>
                    </a:lnTo>
                    <a:lnTo>
                      <a:pt x="54" y="12"/>
                    </a:lnTo>
                    <a:lnTo>
                      <a:pt x="58" y="12"/>
                    </a:lnTo>
                    <a:lnTo>
                      <a:pt x="62" y="10"/>
                    </a:lnTo>
                    <a:lnTo>
                      <a:pt x="66" y="10"/>
                    </a:lnTo>
                    <a:lnTo>
                      <a:pt x="68" y="10"/>
                    </a:lnTo>
                    <a:lnTo>
                      <a:pt x="72" y="8"/>
                    </a:lnTo>
                    <a:lnTo>
                      <a:pt x="73" y="8"/>
                    </a:lnTo>
                    <a:lnTo>
                      <a:pt x="72" y="8"/>
                    </a:lnTo>
                    <a:lnTo>
                      <a:pt x="72" y="10"/>
                    </a:lnTo>
                    <a:lnTo>
                      <a:pt x="72" y="8"/>
                    </a:lnTo>
                    <a:lnTo>
                      <a:pt x="70" y="8"/>
                    </a:lnTo>
                    <a:lnTo>
                      <a:pt x="70" y="10"/>
                    </a:lnTo>
                    <a:lnTo>
                      <a:pt x="68" y="10"/>
                    </a:lnTo>
                    <a:lnTo>
                      <a:pt x="66" y="10"/>
                    </a:lnTo>
                    <a:lnTo>
                      <a:pt x="64" y="10"/>
                    </a:lnTo>
                    <a:lnTo>
                      <a:pt x="64" y="12"/>
                    </a:lnTo>
                    <a:lnTo>
                      <a:pt x="62" y="12"/>
                    </a:lnTo>
                    <a:lnTo>
                      <a:pt x="60" y="12"/>
                    </a:lnTo>
                    <a:lnTo>
                      <a:pt x="58" y="12"/>
                    </a:lnTo>
                    <a:lnTo>
                      <a:pt x="56" y="12"/>
                    </a:lnTo>
                    <a:lnTo>
                      <a:pt x="56" y="14"/>
                    </a:lnTo>
                    <a:lnTo>
                      <a:pt x="54" y="14"/>
                    </a:lnTo>
                    <a:lnTo>
                      <a:pt x="52" y="12"/>
                    </a:lnTo>
                    <a:lnTo>
                      <a:pt x="52" y="14"/>
                    </a:lnTo>
                    <a:lnTo>
                      <a:pt x="50" y="14"/>
                    </a:lnTo>
                    <a:lnTo>
                      <a:pt x="49" y="14"/>
                    </a:lnTo>
                    <a:lnTo>
                      <a:pt x="47" y="14"/>
                    </a:lnTo>
                    <a:lnTo>
                      <a:pt x="47" y="16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29">
                <a:extLst>
                  <a:ext uri="{FF2B5EF4-FFF2-40B4-BE49-F238E27FC236}">
                    <a16:creationId xmlns="" xmlns:a16="http://schemas.microsoft.com/office/drawing/2014/main" id="{9F0707C9-DA2F-4CB0-B672-199F5E85E91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08088" y="2990851"/>
                <a:ext cx="20638" cy="11113"/>
              </a:xfrm>
              <a:custGeom>
                <a:avLst/>
                <a:gdLst>
                  <a:gd name="T0" fmla="*/ 0 w 13"/>
                  <a:gd name="T1" fmla="*/ 0 h 7"/>
                  <a:gd name="T2" fmla="*/ 0 w 13"/>
                  <a:gd name="T3" fmla="*/ 0 h 7"/>
                  <a:gd name="T4" fmla="*/ 0 w 13"/>
                  <a:gd name="T5" fmla="*/ 0 h 7"/>
                  <a:gd name="T6" fmla="*/ 0 w 13"/>
                  <a:gd name="T7" fmla="*/ 0 h 7"/>
                  <a:gd name="T8" fmla="*/ 0 w 13"/>
                  <a:gd name="T9" fmla="*/ 0 h 7"/>
                  <a:gd name="T10" fmla="*/ 2 w 13"/>
                  <a:gd name="T11" fmla="*/ 0 h 7"/>
                  <a:gd name="T12" fmla="*/ 2 w 13"/>
                  <a:gd name="T13" fmla="*/ 0 h 7"/>
                  <a:gd name="T14" fmla="*/ 0 w 13"/>
                  <a:gd name="T15" fmla="*/ 0 h 7"/>
                  <a:gd name="T16" fmla="*/ 0 w 13"/>
                  <a:gd name="T17" fmla="*/ 0 h 7"/>
                  <a:gd name="T18" fmla="*/ 6 w 13"/>
                  <a:gd name="T19" fmla="*/ 4 h 7"/>
                  <a:gd name="T20" fmla="*/ 6 w 13"/>
                  <a:gd name="T21" fmla="*/ 4 h 7"/>
                  <a:gd name="T22" fmla="*/ 6 w 13"/>
                  <a:gd name="T23" fmla="*/ 4 h 7"/>
                  <a:gd name="T24" fmla="*/ 6 w 13"/>
                  <a:gd name="T25" fmla="*/ 4 h 7"/>
                  <a:gd name="T26" fmla="*/ 6 w 13"/>
                  <a:gd name="T27" fmla="*/ 4 h 7"/>
                  <a:gd name="T28" fmla="*/ 6 w 13"/>
                  <a:gd name="T29" fmla="*/ 4 h 7"/>
                  <a:gd name="T30" fmla="*/ 6 w 13"/>
                  <a:gd name="T31" fmla="*/ 4 h 7"/>
                  <a:gd name="T32" fmla="*/ 8 w 13"/>
                  <a:gd name="T33" fmla="*/ 4 h 7"/>
                  <a:gd name="T34" fmla="*/ 8 w 13"/>
                  <a:gd name="T35" fmla="*/ 4 h 7"/>
                  <a:gd name="T36" fmla="*/ 8 w 13"/>
                  <a:gd name="T37" fmla="*/ 4 h 7"/>
                  <a:gd name="T38" fmla="*/ 8 w 13"/>
                  <a:gd name="T39" fmla="*/ 4 h 7"/>
                  <a:gd name="T40" fmla="*/ 8 w 13"/>
                  <a:gd name="T41" fmla="*/ 4 h 7"/>
                  <a:gd name="T42" fmla="*/ 8 w 13"/>
                  <a:gd name="T43" fmla="*/ 4 h 7"/>
                  <a:gd name="T44" fmla="*/ 6 w 13"/>
                  <a:gd name="T45" fmla="*/ 4 h 7"/>
                  <a:gd name="T46" fmla="*/ 6 w 13"/>
                  <a:gd name="T47" fmla="*/ 4 h 7"/>
                  <a:gd name="T48" fmla="*/ 11 w 13"/>
                  <a:gd name="T49" fmla="*/ 6 h 7"/>
                  <a:gd name="T50" fmla="*/ 11 w 13"/>
                  <a:gd name="T51" fmla="*/ 6 h 7"/>
                  <a:gd name="T52" fmla="*/ 13 w 13"/>
                  <a:gd name="T53" fmla="*/ 7 h 7"/>
                  <a:gd name="T54" fmla="*/ 13 w 13"/>
                  <a:gd name="T55" fmla="*/ 7 h 7"/>
                  <a:gd name="T56" fmla="*/ 11 w 13"/>
                  <a:gd name="T57" fmla="*/ 6 h 7"/>
                  <a:gd name="T58" fmla="*/ 11 w 13"/>
                  <a:gd name="T59" fmla="*/ 6 h 7"/>
                  <a:gd name="T60" fmla="*/ 11 w 13"/>
                  <a:gd name="T61" fmla="*/ 6 h 7"/>
                  <a:gd name="T62" fmla="*/ 9 w 13"/>
                  <a:gd name="T63" fmla="*/ 4 h 7"/>
                  <a:gd name="T64" fmla="*/ 11 w 13"/>
                  <a:gd name="T65" fmla="*/ 6 h 7"/>
                  <a:gd name="T66" fmla="*/ 9 w 13"/>
                  <a:gd name="T67" fmla="*/ 4 h 7"/>
                  <a:gd name="T68" fmla="*/ 9 w 13"/>
                  <a:gd name="T69" fmla="*/ 4 h 7"/>
                  <a:gd name="T70" fmla="*/ 9 w 13"/>
                  <a:gd name="T71" fmla="*/ 4 h 7"/>
                  <a:gd name="T72" fmla="*/ 9 w 13"/>
                  <a:gd name="T73" fmla="*/ 4 h 7"/>
                  <a:gd name="T74" fmla="*/ 9 w 13"/>
                  <a:gd name="T75" fmla="*/ 4 h 7"/>
                  <a:gd name="T76" fmla="*/ 9 w 13"/>
                  <a:gd name="T77" fmla="*/ 4 h 7"/>
                  <a:gd name="T78" fmla="*/ 9 w 13"/>
                  <a:gd name="T79" fmla="*/ 4 h 7"/>
                  <a:gd name="T80" fmla="*/ 8 w 13"/>
                  <a:gd name="T81" fmla="*/ 4 h 7"/>
                  <a:gd name="T82" fmla="*/ 8 w 13"/>
                  <a:gd name="T83" fmla="*/ 4 h 7"/>
                  <a:gd name="T84" fmla="*/ 9 w 13"/>
                  <a:gd name="T85" fmla="*/ 4 h 7"/>
                  <a:gd name="T86" fmla="*/ 9 w 13"/>
                  <a:gd name="T87" fmla="*/ 4 h 7"/>
                  <a:gd name="T88" fmla="*/ 9 w 13"/>
                  <a:gd name="T89" fmla="*/ 4 h 7"/>
                  <a:gd name="T90" fmla="*/ 9 w 13"/>
                  <a:gd name="T91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3" h="7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6" y="4"/>
                    </a:move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6" y="4"/>
                    </a:lnTo>
                    <a:lnTo>
                      <a:pt x="6" y="4"/>
                    </a:lnTo>
                    <a:close/>
                    <a:moveTo>
                      <a:pt x="11" y="6"/>
                    </a:moveTo>
                    <a:lnTo>
                      <a:pt x="11" y="6"/>
                    </a:lnTo>
                    <a:lnTo>
                      <a:pt x="13" y="7"/>
                    </a:lnTo>
                    <a:lnTo>
                      <a:pt x="13" y="7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11" y="6"/>
                    </a:lnTo>
                    <a:close/>
                    <a:moveTo>
                      <a:pt x="9" y="4"/>
                    </a:moveTo>
                    <a:lnTo>
                      <a:pt x="11" y="6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9" y="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30">
                <a:extLst>
                  <a:ext uri="{FF2B5EF4-FFF2-40B4-BE49-F238E27FC236}">
                    <a16:creationId xmlns="" xmlns:a16="http://schemas.microsoft.com/office/drawing/2014/main" id="{8EF0E2EA-6CA1-4844-83E6-09EDCDFE0D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11263" y="2990851"/>
                <a:ext cx="17463" cy="11113"/>
              </a:xfrm>
              <a:custGeom>
                <a:avLst/>
                <a:gdLst>
                  <a:gd name="T0" fmla="*/ 0 w 11"/>
                  <a:gd name="T1" fmla="*/ 2 h 7"/>
                  <a:gd name="T2" fmla="*/ 0 w 11"/>
                  <a:gd name="T3" fmla="*/ 2 h 7"/>
                  <a:gd name="T4" fmla="*/ 0 w 11"/>
                  <a:gd name="T5" fmla="*/ 2 h 7"/>
                  <a:gd name="T6" fmla="*/ 0 w 11"/>
                  <a:gd name="T7" fmla="*/ 0 h 7"/>
                  <a:gd name="T8" fmla="*/ 2 w 11"/>
                  <a:gd name="T9" fmla="*/ 2 h 7"/>
                  <a:gd name="T10" fmla="*/ 0 w 11"/>
                  <a:gd name="T11" fmla="*/ 2 h 7"/>
                  <a:gd name="T12" fmla="*/ 2 w 11"/>
                  <a:gd name="T13" fmla="*/ 2 h 7"/>
                  <a:gd name="T14" fmla="*/ 0 w 11"/>
                  <a:gd name="T15" fmla="*/ 2 h 7"/>
                  <a:gd name="T16" fmla="*/ 0 w 11"/>
                  <a:gd name="T17" fmla="*/ 2 h 7"/>
                  <a:gd name="T18" fmla="*/ 0 w 11"/>
                  <a:gd name="T19" fmla="*/ 0 h 7"/>
                  <a:gd name="T20" fmla="*/ 0 w 11"/>
                  <a:gd name="T21" fmla="*/ 0 h 7"/>
                  <a:gd name="T22" fmla="*/ 0 w 11"/>
                  <a:gd name="T23" fmla="*/ 2 h 7"/>
                  <a:gd name="T24" fmla="*/ 0 w 11"/>
                  <a:gd name="T25" fmla="*/ 2 h 7"/>
                  <a:gd name="T26" fmla="*/ 0 w 11"/>
                  <a:gd name="T27" fmla="*/ 2 h 7"/>
                  <a:gd name="T28" fmla="*/ 2 w 11"/>
                  <a:gd name="T29" fmla="*/ 2 h 7"/>
                  <a:gd name="T30" fmla="*/ 2 w 11"/>
                  <a:gd name="T31" fmla="*/ 2 h 7"/>
                  <a:gd name="T32" fmla="*/ 11 w 11"/>
                  <a:gd name="T33" fmla="*/ 7 h 7"/>
                  <a:gd name="T34" fmla="*/ 11 w 11"/>
                  <a:gd name="T35" fmla="*/ 7 h 7"/>
                  <a:gd name="T36" fmla="*/ 11 w 11"/>
                  <a:gd name="T37" fmla="*/ 7 h 7"/>
                  <a:gd name="T38" fmla="*/ 11 w 11"/>
                  <a:gd name="T39" fmla="*/ 7 h 7"/>
                  <a:gd name="T40" fmla="*/ 11 w 11"/>
                  <a:gd name="T41" fmla="*/ 7 h 7"/>
                  <a:gd name="T42" fmla="*/ 11 w 11"/>
                  <a:gd name="T43" fmla="*/ 7 h 7"/>
                  <a:gd name="T44" fmla="*/ 11 w 11"/>
                  <a:gd name="T45" fmla="*/ 7 h 7"/>
                  <a:gd name="T46" fmla="*/ 11 w 11"/>
                  <a:gd name="T47" fmla="*/ 7 h 7"/>
                  <a:gd name="T48" fmla="*/ 11 w 11"/>
                  <a:gd name="T49" fmla="*/ 7 h 7"/>
                  <a:gd name="T50" fmla="*/ 11 w 11"/>
                  <a:gd name="T51" fmla="*/ 7 h 7"/>
                  <a:gd name="T52" fmla="*/ 11 w 11"/>
                  <a:gd name="T53" fmla="*/ 7 h 7"/>
                  <a:gd name="T54" fmla="*/ 11 w 11"/>
                  <a:gd name="T55" fmla="*/ 7 h 7"/>
                  <a:gd name="T56" fmla="*/ 11 w 11"/>
                  <a:gd name="T57" fmla="*/ 7 h 7"/>
                  <a:gd name="T58" fmla="*/ 11 w 11"/>
                  <a:gd name="T59" fmla="*/ 7 h 7"/>
                  <a:gd name="T60" fmla="*/ 11 w 11"/>
                  <a:gd name="T6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" h="7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2"/>
                    </a:lnTo>
                    <a:lnTo>
                      <a:pt x="0" y="2"/>
                    </a:lnTo>
                    <a:close/>
                    <a:moveTo>
                      <a:pt x="2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  <a:moveTo>
                      <a:pt x="11" y="7"/>
                    </a:move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close/>
                    <a:moveTo>
                      <a:pt x="11" y="7"/>
                    </a:move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11" y="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31">
                <a:extLst>
                  <a:ext uri="{FF2B5EF4-FFF2-40B4-BE49-F238E27FC236}">
                    <a16:creationId xmlns="" xmlns:a16="http://schemas.microsoft.com/office/drawing/2014/main" id="{A38153A5-619B-4CEC-9364-0500A2313E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5613" y="3460751"/>
                <a:ext cx="230188" cy="169863"/>
              </a:xfrm>
              <a:custGeom>
                <a:avLst/>
                <a:gdLst>
                  <a:gd name="T0" fmla="*/ 131 w 145"/>
                  <a:gd name="T1" fmla="*/ 65 h 107"/>
                  <a:gd name="T2" fmla="*/ 123 w 145"/>
                  <a:gd name="T3" fmla="*/ 69 h 107"/>
                  <a:gd name="T4" fmla="*/ 118 w 145"/>
                  <a:gd name="T5" fmla="*/ 69 h 107"/>
                  <a:gd name="T6" fmla="*/ 116 w 145"/>
                  <a:gd name="T7" fmla="*/ 75 h 107"/>
                  <a:gd name="T8" fmla="*/ 110 w 145"/>
                  <a:gd name="T9" fmla="*/ 82 h 107"/>
                  <a:gd name="T10" fmla="*/ 102 w 145"/>
                  <a:gd name="T11" fmla="*/ 81 h 107"/>
                  <a:gd name="T12" fmla="*/ 97 w 145"/>
                  <a:gd name="T13" fmla="*/ 77 h 107"/>
                  <a:gd name="T14" fmla="*/ 89 w 145"/>
                  <a:gd name="T15" fmla="*/ 79 h 107"/>
                  <a:gd name="T16" fmla="*/ 81 w 145"/>
                  <a:gd name="T17" fmla="*/ 75 h 107"/>
                  <a:gd name="T18" fmla="*/ 77 w 145"/>
                  <a:gd name="T19" fmla="*/ 79 h 107"/>
                  <a:gd name="T20" fmla="*/ 77 w 145"/>
                  <a:gd name="T21" fmla="*/ 82 h 107"/>
                  <a:gd name="T22" fmla="*/ 70 w 145"/>
                  <a:gd name="T23" fmla="*/ 86 h 107"/>
                  <a:gd name="T24" fmla="*/ 64 w 145"/>
                  <a:gd name="T25" fmla="*/ 92 h 107"/>
                  <a:gd name="T26" fmla="*/ 62 w 145"/>
                  <a:gd name="T27" fmla="*/ 98 h 107"/>
                  <a:gd name="T28" fmla="*/ 54 w 145"/>
                  <a:gd name="T29" fmla="*/ 102 h 107"/>
                  <a:gd name="T30" fmla="*/ 47 w 145"/>
                  <a:gd name="T31" fmla="*/ 106 h 107"/>
                  <a:gd name="T32" fmla="*/ 39 w 145"/>
                  <a:gd name="T33" fmla="*/ 104 h 107"/>
                  <a:gd name="T34" fmla="*/ 27 w 145"/>
                  <a:gd name="T35" fmla="*/ 107 h 107"/>
                  <a:gd name="T36" fmla="*/ 20 w 145"/>
                  <a:gd name="T37" fmla="*/ 102 h 107"/>
                  <a:gd name="T38" fmla="*/ 10 w 145"/>
                  <a:gd name="T39" fmla="*/ 92 h 107"/>
                  <a:gd name="T40" fmla="*/ 10 w 145"/>
                  <a:gd name="T41" fmla="*/ 81 h 107"/>
                  <a:gd name="T42" fmla="*/ 14 w 145"/>
                  <a:gd name="T43" fmla="*/ 75 h 107"/>
                  <a:gd name="T44" fmla="*/ 14 w 145"/>
                  <a:gd name="T45" fmla="*/ 69 h 107"/>
                  <a:gd name="T46" fmla="*/ 16 w 145"/>
                  <a:gd name="T47" fmla="*/ 59 h 107"/>
                  <a:gd name="T48" fmla="*/ 16 w 145"/>
                  <a:gd name="T49" fmla="*/ 52 h 107"/>
                  <a:gd name="T50" fmla="*/ 10 w 145"/>
                  <a:gd name="T51" fmla="*/ 48 h 107"/>
                  <a:gd name="T52" fmla="*/ 6 w 145"/>
                  <a:gd name="T53" fmla="*/ 44 h 107"/>
                  <a:gd name="T54" fmla="*/ 8 w 145"/>
                  <a:gd name="T55" fmla="*/ 42 h 107"/>
                  <a:gd name="T56" fmla="*/ 4 w 145"/>
                  <a:gd name="T57" fmla="*/ 34 h 107"/>
                  <a:gd name="T58" fmla="*/ 2 w 145"/>
                  <a:gd name="T59" fmla="*/ 29 h 107"/>
                  <a:gd name="T60" fmla="*/ 8 w 145"/>
                  <a:gd name="T61" fmla="*/ 27 h 107"/>
                  <a:gd name="T62" fmla="*/ 14 w 145"/>
                  <a:gd name="T63" fmla="*/ 21 h 107"/>
                  <a:gd name="T64" fmla="*/ 20 w 145"/>
                  <a:gd name="T65" fmla="*/ 15 h 107"/>
                  <a:gd name="T66" fmla="*/ 24 w 145"/>
                  <a:gd name="T67" fmla="*/ 11 h 107"/>
                  <a:gd name="T68" fmla="*/ 29 w 145"/>
                  <a:gd name="T69" fmla="*/ 6 h 107"/>
                  <a:gd name="T70" fmla="*/ 39 w 145"/>
                  <a:gd name="T71" fmla="*/ 11 h 107"/>
                  <a:gd name="T72" fmla="*/ 45 w 145"/>
                  <a:gd name="T73" fmla="*/ 21 h 107"/>
                  <a:gd name="T74" fmla="*/ 54 w 145"/>
                  <a:gd name="T75" fmla="*/ 15 h 107"/>
                  <a:gd name="T76" fmla="*/ 58 w 145"/>
                  <a:gd name="T77" fmla="*/ 17 h 107"/>
                  <a:gd name="T78" fmla="*/ 66 w 145"/>
                  <a:gd name="T79" fmla="*/ 21 h 107"/>
                  <a:gd name="T80" fmla="*/ 73 w 145"/>
                  <a:gd name="T81" fmla="*/ 11 h 107"/>
                  <a:gd name="T82" fmla="*/ 79 w 145"/>
                  <a:gd name="T83" fmla="*/ 9 h 107"/>
                  <a:gd name="T84" fmla="*/ 87 w 145"/>
                  <a:gd name="T85" fmla="*/ 6 h 107"/>
                  <a:gd name="T86" fmla="*/ 91 w 145"/>
                  <a:gd name="T87" fmla="*/ 6 h 107"/>
                  <a:gd name="T88" fmla="*/ 100 w 145"/>
                  <a:gd name="T89" fmla="*/ 2 h 107"/>
                  <a:gd name="T90" fmla="*/ 110 w 145"/>
                  <a:gd name="T91" fmla="*/ 0 h 107"/>
                  <a:gd name="T92" fmla="*/ 118 w 145"/>
                  <a:gd name="T93" fmla="*/ 9 h 107"/>
                  <a:gd name="T94" fmla="*/ 120 w 145"/>
                  <a:gd name="T95" fmla="*/ 19 h 107"/>
                  <a:gd name="T96" fmla="*/ 127 w 145"/>
                  <a:gd name="T97" fmla="*/ 17 h 107"/>
                  <a:gd name="T98" fmla="*/ 135 w 145"/>
                  <a:gd name="T99" fmla="*/ 19 h 107"/>
                  <a:gd name="T100" fmla="*/ 139 w 145"/>
                  <a:gd name="T101" fmla="*/ 23 h 107"/>
                  <a:gd name="T102" fmla="*/ 141 w 145"/>
                  <a:gd name="T103" fmla="*/ 31 h 107"/>
                  <a:gd name="T104" fmla="*/ 145 w 145"/>
                  <a:gd name="T105" fmla="*/ 33 h 107"/>
                  <a:gd name="T106" fmla="*/ 143 w 145"/>
                  <a:gd name="T107" fmla="*/ 42 h 107"/>
                  <a:gd name="T108" fmla="*/ 141 w 145"/>
                  <a:gd name="T109" fmla="*/ 52 h 107"/>
                  <a:gd name="T110" fmla="*/ 137 w 145"/>
                  <a:gd name="T111" fmla="*/ 56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5" h="107">
                    <a:moveTo>
                      <a:pt x="139" y="58"/>
                    </a:moveTo>
                    <a:lnTo>
                      <a:pt x="139" y="59"/>
                    </a:lnTo>
                    <a:lnTo>
                      <a:pt x="137" y="59"/>
                    </a:lnTo>
                    <a:lnTo>
                      <a:pt x="135" y="61"/>
                    </a:lnTo>
                    <a:lnTo>
                      <a:pt x="135" y="63"/>
                    </a:lnTo>
                    <a:lnTo>
                      <a:pt x="133" y="63"/>
                    </a:lnTo>
                    <a:lnTo>
                      <a:pt x="133" y="65"/>
                    </a:lnTo>
                    <a:lnTo>
                      <a:pt x="131" y="65"/>
                    </a:lnTo>
                    <a:lnTo>
                      <a:pt x="131" y="67"/>
                    </a:lnTo>
                    <a:lnTo>
                      <a:pt x="129" y="69"/>
                    </a:lnTo>
                    <a:lnTo>
                      <a:pt x="127" y="69"/>
                    </a:lnTo>
                    <a:lnTo>
                      <a:pt x="125" y="71"/>
                    </a:lnTo>
                    <a:lnTo>
                      <a:pt x="123" y="73"/>
                    </a:lnTo>
                    <a:lnTo>
                      <a:pt x="123" y="71"/>
                    </a:lnTo>
                    <a:lnTo>
                      <a:pt x="121" y="71"/>
                    </a:lnTo>
                    <a:lnTo>
                      <a:pt x="123" y="69"/>
                    </a:lnTo>
                    <a:lnTo>
                      <a:pt x="123" y="67"/>
                    </a:lnTo>
                    <a:lnTo>
                      <a:pt x="121" y="67"/>
                    </a:lnTo>
                    <a:lnTo>
                      <a:pt x="121" y="65"/>
                    </a:lnTo>
                    <a:lnTo>
                      <a:pt x="120" y="67"/>
                    </a:lnTo>
                    <a:lnTo>
                      <a:pt x="120" y="65"/>
                    </a:lnTo>
                    <a:lnTo>
                      <a:pt x="120" y="67"/>
                    </a:lnTo>
                    <a:lnTo>
                      <a:pt x="118" y="67"/>
                    </a:lnTo>
                    <a:lnTo>
                      <a:pt x="118" y="69"/>
                    </a:lnTo>
                    <a:lnTo>
                      <a:pt x="116" y="71"/>
                    </a:lnTo>
                    <a:lnTo>
                      <a:pt x="116" y="69"/>
                    </a:lnTo>
                    <a:lnTo>
                      <a:pt x="114" y="71"/>
                    </a:lnTo>
                    <a:lnTo>
                      <a:pt x="114" y="73"/>
                    </a:lnTo>
                    <a:lnTo>
                      <a:pt x="112" y="73"/>
                    </a:lnTo>
                    <a:lnTo>
                      <a:pt x="112" y="75"/>
                    </a:lnTo>
                    <a:lnTo>
                      <a:pt x="114" y="75"/>
                    </a:lnTo>
                    <a:lnTo>
                      <a:pt x="116" y="75"/>
                    </a:lnTo>
                    <a:lnTo>
                      <a:pt x="114" y="75"/>
                    </a:lnTo>
                    <a:lnTo>
                      <a:pt x="116" y="77"/>
                    </a:lnTo>
                    <a:lnTo>
                      <a:pt x="114" y="77"/>
                    </a:lnTo>
                    <a:lnTo>
                      <a:pt x="114" y="79"/>
                    </a:lnTo>
                    <a:lnTo>
                      <a:pt x="112" y="79"/>
                    </a:lnTo>
                    <a:lnTo>
                      <a:pt x="112" y="81"/>
                    </a:lnTo>
                    <a:lnTo>
                      <a:pt x="110" y="81"/>
                    </a:lnTo>
                    <a:lnTo>
                      <a:pt x="110" y="82"/>
                    </a:lnTo>
                    <a:lnTo>
                      <a:pt x="110" y="84"/>
                    </a:lnTo>
                    <a:lnTo>
                      <a:pt x="108" y="82"/>
                    </a:lnTo>
                    <a:lnTo>
                      <a:pt x="106" y="82"/>
                    </a:lnTo>
                    <a:lnTo>
                      <a:pt x="104" y="82"/>
                    </a:lnTo>
                    <a:lnTo>
                      <a:pt x="104" y="81"/>
                    </a:lnTo>
                    <a:lnTo>
                      <a:pt x="104" y="82"/>
                    </a:lnTo>
                    <a:lnTo>
                      <a:pt x="102" y="82"/>
                    </a:lnTo>
                    <a:lnTo>
                      <a:pt x="102" y="81"/>
                    </a:lnTo>
                    <a:lnTo>
                      <a:pt x="104" y="81"/>
                    </a:lnTo>
                    <a:lnTo>
                      <a:pt x="102" y="81"/>
                    </a:lnTo>
                    <a:lnTo>
                      <a:pt x="102" y="79"/>
                    </a:lnTo>
                    <a:lnTo>
                      <a:pt x="102" y="77"/>
                    </a:lnTo>
                    <a:lnTo>
                      <a:pt x="100" y="79"/>
                    </a:lnTo>
                    <a:lnTo>
                      <a:pt x="100" y="77"/>
                    </a:lnTo>
                    <a:lnTo>
                      <a:pt x="98" y="77"/>
                    </a:lnTo>
                    <a:lnTo>
                      <a:pt x="97" y="77"/>
                    </a:lnTo>
                    <a:lnTo>
                      <a:pt x="97" y="75"/>
                    </a:lnTo>
                    <a:lnTo>
                      <a:pt x="97" y="77"/>
                    </a:lnTo>
                    <a:lnTo>
                      <a:pt x="95" y="77"/>
                    </a:lnTo>
                    <a:lnTo>
                      <a:pt x="93" y="77"/>
                    </a:lnTo>
                    <a:lnTo>
                      <a:pt x="91" y="79"/>
                    </a:lnTo>
                    <a:lnTo>
                      <a:pt x="91" y="77"/>
                    </a:lnTo>
                    <a:lnTo>
                      <a:pt x="89" y="77"/>
                    </a:lnTo>
                    <a:lnTo>
                      <a:pt x="89" y="79"/>
                    </a:lnTo>
                    <a:lnTo>
                      <a:pt x="89" y="77"/>
                    </a:lnTo>
                    <a:lnTo>
                      <a:pt x="89" y="75"/>
                    </a:lnTo>
                    <a:lnTo>
                      <a:pt x="87" y="75"/>
                    </a:lnTo>
                    <a:lnTo>
                      <a:pt x="85" y="75"/>
                    </a:lnTo>
                    <a:lnTo>
                      <a:pt x="85" y="77"/>
                    </a:lnTo>
                    <a:lnTo>
                      <a:pt x="83" y="77"/>
                    </a:lnTo>
                    <a:lnTo>
                      <a:pt x="83" y="75"/>
                    </a:lnTo>
                    <a:lnTo>
                      <a:pt x="81" y="75"/>
                    </a:lnTo>
                    <a:lnTo>
                      <a:pt x="81" y="73"/>
                    </a:lnTo>
                    <a:lnTo>
                      <a:pt x="79" y="73"/>
                    </a:lnTo>
                    <a:lnTo>
                      <a:pt x="79" y="75"/>
                    </a:lnTo>
                    <a:lnTo>
                      <a:pt x="77" y="75"/>
                    </a:lnTo>
                    <a:lnTo>
                      <a:pt x="77" y="77"/>
                    </a:lnTo>
                    <a:lnTo>
                      <a:pt x="79" y="77"/>
                    </a:lnTo>
                    <a:lnTo>
                      <a:pt x="79" y="79"/>
                    </a:lnTo>
                    <a:lnTo>
                      <a:pt x="77" y="79"/>
                    </a:lnTo>
                    <a:lnTo>
                      <a:pt x="77" y="77"/>
                    </a:lnTo>
                    <a:lnTo>
                      <a:pt x="79" y="77"/>
                    </a:lnTo>
                    <a:lnTo>
                      <a:pt x="77" y="77"/>
                    </a:lnTo>
                    <a:lnTo>
                      <a:pt x="77" y="79"/>
                    </a:lnTo>
                    <a:lnTo>
                      <a:pt x="79" y="79"/>
                    </a:lnTo>
                    <a:lnTo>
                      <a:pt x="81" y="81"/>
                    </a:lnTo>
                    <a:lnTo>
                      <a:pt x="79" y="82"/>
                    </a:lnTo>
                    <a:lnTo>
                      <a:pt x="77" y="82"/>
                    </a:lnTo>
                    <a:lnTo>
                      <a:pt x="75" y="82"/>
                    </a:lnTo>
                    <a:lnTo>
                      <a:pt x="75" y="84"/>
                    </a:lnTo>
                    <a:lnTo>
                      <a:pt x="73" y="84"/>
                    </a:lnTo>
                    <a:lnTo>
                      <a:pt x="73" y="86"/>
                    </a:lnTo>
                    <a:lnTo>
                      <a:pt x="73" y="88"/>
                    </a:lnTo>
                    <a:lnTo>
                      <a:pt x="72" y="88"/>
                    </a:lnTo>
                    <a:lnTo>
                      <a:pt x="72" y="86"/>
                    </a:lnTo>
                    <a:lnTo>
                      <a:pt x="70" y="86"/>
                    </a:lnTo>
                    <a:lnTo>
                      <a:pt x="68" y="86"/>
                    </a:lnTo>
                    <a:lnTo>
                      <a:pt x="66" y="88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4" y="88"/>
                    </a:lnTo>
                    <a:lnTo>
                      <a:pt x="62" y="88"/>
                    </a:lnTo>
                    <a:lnTo>
                      <a:pt x="62" y="90"/>
                    </a:lnTo>
                    <a:lnTo>
                      <a:pt x="64" y="92"/>
                    </a:lnTo>
                    <a:lnTo>
                      <a:pt x="62" y="92"/>
                    </a:lnTo>
                    <a:lnTo>
                      <a:pt x="62" y="94"/>
                    </a:lnTo>
                    <a:lnTo>
                      <a:pt x="60" y="92"/>
                    </a:lnTo>
                    <a:lnTo>
                      <a:pt x="60" y="94"/>
                    </a:lnTo>
                    <a:lnTo>
                      <a:pt x="60" y="96"/>
                    </a:lnTo>
                    <a:lnTo>
                      <a:pt x="58" y="98"/>
                    </a:lnTo>
                    <a:lnTo>
                      <a:pt x="60" y="98"/>
                    </a:lnTo>
                    <a:lnTo>
                      <a:pt x="62" y="98"/>
                    </a:lnTo>
                    <a:lnTo>
                      <a:pt x="60" y="98"/>
                    </a:lnTo>
                    <a:lnTo>
                      <a:pt x="60" y="100"/>
                    </a:lnTo>
                    <a:lnTo>
                      <a:pt x="62" y="100"/>
                    </a:lnTo>
                    <a:lnTo>
                      <a:pt x="60" y="102"/>
                    </a:lnTo>
                    <a:lnTo>
                      <a:pt x="58" y="102"/>
                    </a:lnTo>
                    <a:lnTo>
                      <a:pt x="56" y="102"/>
                    </a:lnTo>
                    <a:lnTo>
                      <a:pt x="56" y="104"/>
                    </a:lnTo>
                    <a:lnTo>
                      <a:pt x="54" y="102"/>
                    </a:lnTo>
                    <a:lnTo>
                      <a:pt x="56" y="102"/>
                    </a:lnTo>
                    <a:lnTo>
                      <a:pt x="54" y="102"/>
                    </a:lnTo>
                    <a:lnTo>
                      <a:pt x="52" y="102"/>
                    </a:lnTo>
                    <a:lnTo>
                      <a:pt x="50" y="102"/>
                    </a:lnTo>
                    <a:lnTo>
                      <a:pt x="48" y="102"/>
                    </a:lnTo>
                    <a:lnTo>
                      <a:pt x="48" y="104"/>
                    </a:lnTo>
                    <a:lnTo>
                      <a:pt x="47" y="104"/>
                    </a:lnTo>
                    <a:lnTo>
                      <a:pt x="47" y="106"/>
                    </a:lnTo>
                    <a:lnTo>
                      <a:pt x="45" y="106"/>
                    </a:lnTo>
                    <a:lnTo>
                      <a:pt x="45" y="104"/>
                    </a:lnTo>
                    <a:lnTo>
                      <a:pt x="45" y="102"/>
                    </a:lnTo>
                    <a:lnTo>
                      <a:pt x="43" y="100"/>
                    </a:lnTo>
                    <a:lnTo>
                      <a:pt x="43" y="102"/>
                    </a:lnTo>
                    <a:lnTo>
                      <a:pt x="41" y="102"/>
                    </a:lnTo>
                    <a:lnTo>
                      <a:pt x="39" y="102"/>
                    </a:lnTo>
                    <a:lnTo>
                      <a:pt x="39" y="104"/>
                    </a:lnTo>
                    <a:lnTo>
                      <a:pt x="37" y="104"/>
                    </a:lnTo>
                    <a:lnTo>
                      <a:pt x="35" y="102"/>
                    </a:lnTo>
                    <a:lnTo>
                      <a:pt x="33" y="102"/>
                    </a:lnTo>
                    <a:lnTo>
                      <a:pt x="33" y="104"/>
                    </a:lnTo>
                    <a:lnTo>
                      <a:pt x="31" y="104"/>
                    </a:lnTo>
                    <a:lnTo>
                      <a:pt x="31" y="106"/>
                    </a:lnTo>
                    <a:lnTo>
                      <a:pt x="29" y="104"/>
                    </a:lnTo>
                    <a:lnTo>
                      <a:pt x="27" y="107"/>
                    </a:lnTo>
                    <a:lnTo>
                      <a:pt x="25" y="106"/>
                    </a:lnTo>
                    <a:lnTo>
                      <a:pt x="24" y="106"/>
                    </a:lnTo>
                    <a:lnTo>
                      <a:pt x="22" y="107"/>
                    </a:lnTo>
                    <a:lnTo>
                      <a:pt x="20" y="107"/>
                    </a:lnTo>
                    <a:lnTo>
                      <a:pt x="22" y="107"/>
                    </a:lnTo>
                    <a:lnTo>
                      <a:pt x="20" y="106"/>
                    </a:lnTo>
                    <a:lnTo>
                      <a:pt x="20" y="104"/>
                    </a:lnTo>
                    <a:lnTo>
                      <a:pt x="20" y="102"/>
                    </a:lnTo>
                    <a:lnTo>
                      <a:pt x="18" y="100"/>
                    </a:lnTo>
                    <a:lnTo>
                      <a:pt x="18" y="98"/>
                    </a:lnTo>
                    <a:lnTo>
                      <a:pt x="18" y="96"/>
                    </a:lnTo>
                    <a:lnTo>
                      <a:pt x="16" y="96"/>
                    </a:lnTo>
                    <a:lnTo>
                      <a:pt x="16" y="94"/>
                    </a:lnTo>
                    <a:lnTo>
                      <a:pt x="14" y="94"/>
                    </a:lnTo>
                    <a:lnTo>
                      <a:pt x="12" y="92"/>
                    </a:lnTo>
                    <a:lnTo>
                      <a:pt x="10" y="92"/>
                    </a:lnTo>
                    <a:lnTo>
                      <a:pt x="10" y="90"/>
                    </a:lnTo>
                    <a:lnTo>
                      <a:pt x="8" y="90"/>
                    </a:lnTo>
                    <a:lnTo>
                      <a:pt x="8" y="88"/>
                    </a:lnTo>
                    <a:lnTo>
                      <a:pt x="8" y="86"/>
                    </a:lnTo>
                    <a:lnTo>
                      <a:pt x="8" y="84"/>
                    </a:lnTo>
                    <a:lnTo>
                      <a:pt x="10" y="84"/>
                    </a:lnTo>
                    <a:lnTo>
                      <a:pt x="10" y="82"/>
                    </a:lnTo>
                    <a:lnTo>
                      <a:pt x="10" y="81"/>
                    </a:lnTo>
                    <a:lnTo>
                      <a:pt x="10" y="79"/>
                    </a:lnTo>
                    <a:lnTo>
                      <a:pt x="12" y="79"/>
                    </a:lnTo>
                    <a:lnTo>
                      <a:pt x="10" y="79"/>
                    </a:lnTo>
                    <a:lnTo>
                      <a:pt x="12" y="79"/>
                    </a:lnTo>
                    <a:lnTo>
                      <a:pt x="12" y="77"/>
                    </a:lnTo>
                    <a:lnTo>
                      <a:pt x="14" y="77"/>
                    </a:lnTo>
                    <a:lnTo>
                      <a:pt x="12" y="75"/>
                    </a:lnTo>
                    <a:lnTo>
                      <a:pt x="14" y="75"/>
                    </a:lnTo>
                    <a:lnTo>
                      <a:pt x="14" y="73"/>
                    </a:lnTo>
                    <a:lnTo>
                      <a:pt x="16" y="73"/>
                    </a:lnTo>
                    <a:lnTo>
                      <a:pt x="14" y="73"/>
                    </a:lnTo>
                    <a:lnTo>
                      <a:pt x="16" y="73"/>
                    </a:lnTo>
                    <a:lnTo>
                      <a:pt x="14" y="73"/>
                    </a:lnTo>
                    <a:lnTo>
                      <a:pt x="16" y="71"/>
                    </a:lnTo>
                    <a:lnTo>
                      <a:pt x="16" y="69"/>
                    </a:lnTo>
                    <a:lnTo>
                      <a:pt x="14" y="69"/>
                    </a:lnTo>
                    <a:lnTo>
                      <a:pt x="14" y="67"/>
                    </a:lnTo>
                    <a:lnTo>
                      <a:pt x="16" y="67"/>
                    </a:lnTo>
                    <a:lnTo>
                      <a:pt x="16" y="65"/>
                    </a:lnTo>
                    <a:lnTo>
                      <a:pt x="14" y="65"/>
                    </a:lnTo>
                    <a:lnTo>
                      <a:pt x="14" y="63"/>
                    </a:lnTo>
                    <a:lnTo>
                      <a:pt x="16" y="63"/>
                    </a:lnTo>
                    <a:lnTo>
                      <a:pt x="16" y="61"/>
                    </a:lnTo>
                    <a:lnTo>
                      <a:pt x="16" y="59"/>
                    </a:lnTo>
                    <a:lnTo>
                      <a:pt x="16" y="58"/>
                    </a:lnTo>
                    <a:lnTo>
                      <a:pt x="14" y="58"/>
                    </a:lnTo>
                    <a:lnTo>
                      <a:pt x="16" y="56"/>
                    </a:lnTo>
                    <a:lnTo>
                      <a:pt x="18" y="54"/>
                    </a:lnTo>
                    <a:lnTo>
                      <a:pt x="16" y="54"/>
                    </a:lnTo>
                    <a:lnTo>
                      <a:pt x="18" y="54"/>
                    </a:lnTo>
                    <a:lnTo>
                      <a:pt x="18" y="52"/>
                    </a:lnTo>
                    <a:lnTo>
                      <a:pt x="16" y="52"/>
                    </a:lnTo>
                    <a:lnTo>
                      <a:pt x="14" y="52"/>
                    </a:lnTo>
                    <a:lnTo>
                      <a:pt x="14" y="50"/>
                    </a:lnTo>
                    <a:lnTo>
                      <a:pt x="14" y="52"/>
                    </a:lnTo>
                    <a:lnTo>
                      <a:pt x="12" y="52"/>
                    </a:lnTo>
                    <a:lnTo>
                      <a:pt x="12" y="50"/>
                    </a:lnTo>
                    <a:lnTo>
                      <a:pt x="10" y="52"/>
                    </a:lnTo>
                    <a:lnTo>
                      <a:pt x="10" y="50"/>
                    </a:lnTo>
                    <a:lnTo>
                      <a:pt x="10" y="48"/>
                    </a:lnTo>
                    <a:lnTo>
                      <a:pt x="10" y="50"/>
                    </a:lnTo>
                    <a:lnTo>
                      <a:pt x="10" y="48"/>
                    </a:lnTo>
                    <a:lnTo>
                      <a:pt x="8" y="48"/>
                    </a:lnTo>
                    <a:lnTo>
                      <a:pt x="8" y="50"/>
                    </a:lnTo>
                    <a:lnTo>
                      <a:pt x="8" y="48"/>
                    </a:lnTo>
                    <a:lnTo>
                      <a:pt x="6" y="48"/>
                    </a:lnTo>
                    <a:lnTo>
                      <a:pt x="6" y="46"/>
                    </a:lnTo>
                    <a:lnTo>
                      <a:pt x="6" y="44"/>
                    </a:lnTo>
                    <a:lnTo>
                      <a:pt x="4" y="44"/>
                    </a:lnTo>
                    <a:lnTo>
                      <a:pt x="6" y="44"/>
                    </a:lnTo>
                    <a:lnTo>
                      <a:pt x="6" y="42"/>
                    </a:lnTo>
                    <a:lnTo>
                      <a:pt x="8" y="42"/>
                    </a:lnTo>
                    <a:lnTo>
                      <a:pt x="8" y="44"/>
                    </a:lnTo>
                    <a:lnTo>
                      <a:pt x="8" y="42"/>
                    </a:lnTo>
                    <a:lnTo>
                      <a:pt x="8" y="40"/>
                    </a:lnTo>
                    <a:lnTo>
                      <a:pt x="8" y="42"/>
                    </a:lnTo>
                    <a:lnTo>
                      <a:pt x="10" y="40"/>
                    </a:lnTo>
                    <a:lnTo>
                      <a:pt x="8" y="40"/>
                    </a:lnTo>
                    <a:lnTo>
                      <a:pt x="8" y="38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6" y="34"/>
                    </a:lnTo>
                    <a:lnTo>
                      <a:pt x="6" y="33"/>
                    </a:lnTo>
                    <a:lnTo>
                      <a:pt x="4" y="34"/>
                    </a:lnTo>
                    <a:lnTo>
                      <a:pt x="4" y="33"/>
                    </a:lnTo>
                    <a:lnTo>
                      <a:pt x="2" y="33"/>
                    </a:lnTo>
                    <a:lnTo>
                      <a:pt x="2" y="31"/>
                    </a:lnTo>
                    <a:lnTo>
                      <a:pt x="0" y="31"/>
                    </a:lnTo>
                    <a:lnTo>
                      <a:pt x="2" y="31"/>
                    </a:lnTo>
                    <a:lnTo>
                      <a:pt x="2" y="29"/>
                    </a:lnTo>
                    <a:lnTo>
                      <a:pt x="0" y="29"/>
                    </a:lnTo>
                    <a:lnTo>
                      <a:pt x="2" y="29"/>
                    </a:lnTo>
                    <a:lnTo>
                      <a:pt x="2" y="27"/>
                    </a:lnTo>
                    <a:lnTo>
                      <a:pt x="4" y="27"/>
                    </a:lnTo>
                    <a:lnTo>
                      <a:pt x="4" y="29"/>
                    </a:lnTo>
                    <a:lnTo>
                      <a:pt x="4" y="27"/>
                    </a:lnTo>
                    <a:lnTo>
                      <a:pt x="6" y="29"/>
                    </a:lnTo>
                    <a:lnTo>
                      <a:pt x="8" y="29"/>
                    </a:lnTo>
                    <a:lnTo>
                      <a:pt x="6" y="27"/>
                    </a:lnTo>
                    <a:lnTo>
                      <a:pt x="8" y="27"/>
                    </a:lnTo>
                    <a:lnTo>
                      <a:pt x="8" y="25"/>
                    </a:lnTo>
                    <a:lnTo>
                      <a:pt x="10" y="25"/>
                    </a:lnTo>
                    <a:lnTo>
                      <a:pt x="10" y="23"/>
                    </a:lnTo>
                    <a:lnTo>
                      <a:pt x="10" y="25"/>
                    </a:lnTo>
                    <a:lnTo>
                      <a:pt x="12" y="25"/>
                    </a:lnTo>
                    <a:lnTo>
                      <a:pt x="12" y="23"/>
                    </a:lnTo>
                    <a:lnTo>
                      <a:pt x="14" y="23"/>
                    </a:lnTo>
                    <a:lnTo>
                      <a:pt x="14" y="21"/>
                    </a:lnTo>
                    <a:lnTo>
                      <a:pt x="16" y="21"/>
                    </a:lnTo>
                    <a:lnTo>
                      <a:pt x="16" y="19"/>
                    </a:lnTo>
                    <a:lnTo>
                      <a:pt x="18" y="19"/>
                    </a:lnTo>
                    <a:lnTo>
                      <a:pt x="18" y="21"/>
                    </a:lnTo>
                    <a:lnTo>
                      <a:pt x="18" y="19"/>
                    </a:lnTo>
                    <a:lnTo>
                      <a:pt x="20" y="19"/>
                    </a:lnTo>
                    <a:lnTo>
                      <a:pt x="20" y="17"/>
                    </a:lnTo>
                    <a:lnTo>
                      <a:pt x="20" y="15"/>
                    </a:lnTo>
                    <a:lnTo>
                      <a:pt x="20" y="13"/>
                    </a:lnTo>
                    <a:lnTo>
                      <a:pt x="20" y="11"/>
                    </a:lnTo>
                    <a:lnTo>
                      <a:pt x="20" y="13"/>
                    </a:lnTo>
                    <a:lnTo>
                      <a:pt x="22" y="13"/>
                    </a:lnTo>
                    <a:lnTo>
                      <a:pt x="22" y="11"/>
                    </a:lnTo>
                    <a:lnTo>
                      <a:pt x="22" y="9"/>
                    </a:lnTo>
                    <a:lnTo>
                      <a:pt x="22" y="11"/>
                    </a:lnTo>
                    <a:lnTo>
                      <a:pt x="24" y="11"/>
                    </a:lnTo>
                    <a:lnTo>
                      <a:pt x="25" y="11"/>
                    </a:lnTo>
                    <a:lnTo>
                      <a:pt x="25" y="9"/>
                    </a:lnTo>
                    <a:lnTo>
                      <a:pt x="24" y="9"/>
                    </a:lnTo>
                    <a:lnTo>
                      <a:pt x="25" y="8"/>
                    </a:lnTo>
                    <a:lnTo>
                      <a:pt x="27" y="8"/>
                    </a:lnTo>
                    <a:lnTo>
                      <a:pt x="27" y="6"/>
                    </a:lnTo>
                    <a:lnTo>
                      <a:pt x="29" y="8"/>
                    </a:lnTo>
                    <a:lnTo>
                      <a:pt x="29" y="6"/>
                    </a:lnTo>
                    <a:lnTo>
                      <a:pt x="31" y="6"/>
                    </a:lnTo>
                    <a:lnTo>
                      <a:pt x="31" y="8"/>
                    </a:lnTo>
                    <a:lnTo>
                      <a:pt x="33" y="8"/>
                    </a:lnTo>
                    <a:lnTo>
                      <a:pt x="33" y="9"/>
                    </a:lnTo>
                    <a:lnTo>
                      <a:pt x="35" y="9"/>
                    </a:lnTo>
                    <a:lnTo>
                      <a:pt x="37" y="9"/>
                    </a:lnTo>
                    <a:lnTo>
                      <a:pt x="37" y="11"/>
                    </a:lnTo>
                    <a:lnTo>
                      <a:pt x="39" y="11"/>
                    </a:lnTo>
                    <a:lnTo>
                      <a:pt x="39" y="13"/>
                    </a:lnTo>
                    <a:lnTo>
                      <a:pt x="41" y="13"/>
                    </a:lnTo>
                    <a:lnTo>
                      <a:pt x="41" y="15"/>
                    </a:lnTo>
                    <a:lnTo>
                      <a:pt x="41" y="17"/>
                    </a:lnTo>
                    <a:lnTo>
                      <a:pt x="41" y="19"/>
                    </a:lnTo>
                    <a:lnTo>
                      <a:pt x="43" y="19"/>
                    </a:lnTo>
                    <a:lnTo>
                      <a:pt x="43" y="21"/>
                    </a:lnTo>
                    <a:lnTo>
                      <a:pt x="45" y="21"/>
                    </a:lnTo>
                    <a:lnTo>
                      <a:pt x="48" y="23"/>
                    </a:lnTo>
                    <a:lnTo>
                      <a:pt x="48" y="21"/>
                    </a:lnTo>
                    <a:lnTo>
                      <a:pt x="50" y="21"/>
                    </a:lnTo>
                    <a:lnTo>
                      <a:pt x="50" y="19"/>
                    </a:lnTo>
                    <a:lnTo>
                      <a:pt x="52" y="19"/>
                    </a:lnTo>
                    <a:lnTo>
                      <a:pt x="54" y="17"/>
                    </a:lnTo>
                    <a:lnTo>
                      <a:pt x="56" y="15"/>
                    </a:lnTo>
                    <a:lnTo>
                      <a:pt x="54" y="15"/>
                    </a:lnTo>
                    <a:lnTo>
                      <a:pt x="54" y="13"/>
                    </a:lnTo>
                    <a:lnTo>
                      <a:pt x="52" y="13"/>
                    </a:lnTo>
                    <a:lnTo>
                      <a:pt x="54" y="11"/>
                    </a:lnTo>
                    <a:lnTo>
                      <a:pt x="54" y="13"/>
                    </a:lnTo>
                    <a:lnTo>
                      <a:pt x="56" y="13"/>
                    </a:lnTo>
                    <a:lnTo>
                      <a:pt x="56" y="15"/>
                    </a:lnTo>
                    <a:lnTo>
                      <a:pt x="58" y="15"/>
                    </a:lnTo>
                    <a:lnTo>
                      <a:pt x="58" y="17"/>
                    </a:lnTo>
                    <a:lnTo>
                      <a:pt x="60" y="17"/>
                    </a:lnTo>
                    <a:lnTo>
                      <a:pt x="60" y="19"/>
                    </a:lnTo>
                    <a:lnTo>
                      <a:pt x="62" y="19"/>
                    </a:lnTo>
                    <a:lnTo>
                      <a:pt x="62" y="17"/>
                    </a:lnTo>
                    <a:lnTo>
                      <a:pt x="64" y="17"/>
                    </a:lnTo>
                    <a:lnTo>
                      <a:pt x="64" y="19"/>
                    </a:lnTo>
                    <a:lnTo>
                      <a:pt x="66" y="19"/>
                    </a:lnTo>
                    <a:lnTo>
                      <a:pt x="66" y="21"/>
                    </a:lnTo>
                    <a:lnTo>
                      <a:pt x="66" y="19"/>
                    </a:lnTo>
                    <a:lnTo>
                      <a:pt x="68" y="19"/>
                    </a:lnTo>
                    <a:lnTo>
                      <a:pt x="70" y="17"/>
                    </a:lnTo>
                    <a:lnTo>
                      <a:pt x="72" y="17"/>
                    </a:lnTo>
                    <a:lnTo>
                      <a:pt x="72" y="15"/>
                    </a:lnTo>
                    <a:lnTo>
                      <a:pt x="72" y="13"/>
                    </a:lnTo>
                    <a:lnTo>
                      <a:pt x="73" y="13"/>
                    </a:lnTo>
                    <a:lnTo>
                      <a:pt x="73" y="11"/>
                    </a:lnTo>
                    <a:lnTo>
                      <a:pt x="73" y="9"/>
                    </a:lnTo>
                    <a:lnTo>
                      <a:pt x="75" y="9"/>
                    </a:lnTo>
                    <a:lnTo>
                      <a:pt x="77" y="9"/>
                    </a:lnTo>
                    <a:lnTo>
                      <a:pt x="77" y="8"/>
                    </a:lnTo>
                    <a:lnTo>
                      <a:pt x="77" y="9"/>
                    </a:lnTo>
                    <a:lnTo>
                      <a:pt x="77" y="11"/>
                    </a:lnTo>
                    <a:lnTo>
                      <a:pt x="79" y="11"/>
                    </a:lnTo>
                    <a:lnTo>
                      <a:pt x="79" y="9"/>
                    </a:lnTo>
                    <a:lnTo>
                      <a:pt x="81" y="9"/>
                    </a:lnTo>
                    <a:lnTo>
                      <a:pt x="83" y="9"/>
                    </a:lnTo>
                    <a:lnTo>
                      <a:pt x="85" y="9"/>
                    </a:lnTo>
                    <a:lnTo>
                      <a:pt x="85" y="8"/>
                    </a:lnTo>
                    <a:lnTo>
                      <a:pt x="87" y="8"/>
                    </a:lnTo>
                    <a:lnTo>
                      <a:pt x="85" y="8"/>
                    </a:lnTo>
                    <a:lnTo>
                      <a:pt x="87" y="8"/>
                    </a:lnTo>
                    <a:lnTo>
                      <a:pt x="87" y="6"/>
                    </a:lnTo>
                    <a:lnTo>
                      <a:pt x="87" y="8"/>
                    </a:lnTo>
                    <a:lnTo>
                      <a:pt x="89" y="8"/>
                    </a:lnTo>
                    <a:lnTo>
                      <a:pt x="89" y="6"/>
                    </a:lnTo>
                    <a:lnTo>
                      <a:pt x="89" y="8"/>
                    </a:lnTo>
                    <a:lnTo>
                      <a:pt x="89" y="6"/>
                    </a:lnTo>
                    <a:lnTo>
                      <a:pt x="89" y="8"/>
                    </a:lnTo>
                    <a:lnTo>
                      <a:pt x="91" y="8"/>
                    </a:lnTo>
                    <a:lnTo>
                      <a:pt x="91" y="6"/>
                    </a:lnTo>
                    <a:lnTo>
                      <a:pt x="93" y="6"/>
                    </a:lnTo>
                    <a:lnTo>
                      <a:pt x="95" y="6"/>
                    </a:lnTo>
                    <a:lnTo>
                      <a:pt x="95" y="4"/>
                    </a:lnTo>
                    <a:lnTo>
                      <a:pt x="97" y="4"/>
                    </a:lnTo>
                    <a:lnTo>
                      <a:pt x="95" y="4"/>
                    </a:lnTo>
                    <a:lnTo>
                      <a:pt x="97" y="2"/>
                    </a:lnTo>
                    <a:lnTo>
                      <a:pt x="98" y="2"/>
                    </a:lnTo>
                    <a:lnTo>
                      <a:pt x="100" y="2"/>
                    </a:lnTo>
                    <a:lnTo>
                      <a:pt x="100" y="0"/>
                    </a:lnTo>
                    <a:lnTo>
                      <a:pt x="102" y="0"/>
                    </a:lnTo>
                    <a:lnTo>
                      <a:pt x="102" y="2"/>
                    </a:lnTo>
                    <a:lnTo>
                      <a:pt x="104" y="2"/>
                    </a:lnTo>
                    <a:lnTo>
                      <a:pt x="106" y="2"/>
                    </a:lnTo>
                    <a:lnTo>
                      <a:pt x="108" y="4"/>
                    </a:lnTo>
                    <a:lnTo>
                      <a:pt x="108" y="2"/>
                    </a:lnTo>
                    <a:lnTo>
                      <a:pt x="110" y="0"/>
                    </a:lnTo>
                    <a:lnTo>
                      <a:pt x="110" y="2"/>
                    </a:lnTo>
                    <a:lnTo>
                      <a:pt x="112" y="4"/>
                    </a:lnTo>
                    <a:lnTo>
                      <a:pt x="114" y="4"/>
                    </a:lnTo>
                    <a:lnTo>
                      <a:pt x="114" y="6"/>
                    </a:lnTo>
                    <a:lnTo>
                      <a:pt x="114" y="8"/>
                    </a:lnTo>
                    <a:lnTo>
                      <a:pt x="114" y="9"/>
                    </a:lnTo>
                    <a:lnTo>
                      <a:pt x="116" y="9"/>
                    </a:lnTo>
                    <a:lnTo>
                      <a:pt x="118" y="9"/>
                    </a:lnTo>
                    <a:lnTo>
                      <a:pt x="118" y="11"/>
                    </a:lnTo>
                    <a:lnTo>
                      <a:pt x="118" y="13"/>
                    </a:lnTo>
                    <a:lnTo>
                      <a:pt x="120" y="13"/>
                    </a:lnTo>
                    <a:lnTo>
                      <a:pt x="120" y="15"/>
                    </a:lnTo>
                    <a:lnTo>
                      <a:pt x="121" y="15"/>
                    </a:lnTo>
                    <a:lnTo>
                      <a:pt x="120" y="15"/>
                    </a:lnTo>
                    <a:lnTo>
                      <a:pt x="120" y="17"/>
                    </a:lnTo>
                    <a:lnTo>
                      <a:pt x="120" y="19"/>
                    </a:lnTo>
                    <a:lnTo>
                      <a:pt x="121" y="17"/>
                    </a:lnTo>
                    <a:lnTo>
                      <a:pt x="123" y="17"/>
                    </a:lnTo>
                    <a:lnTo>
                      <a:pt x="123" y="19"/>
                    </a:lnTo>
                    <a:lnTo>
                      <a:pt x="125" y="19"/>
                    </a:lnTo>
                    <a:lnTo>
                      <a:pt x="125" y="21"/>
                    </a:lnTo>
                    <a:lnTo>
                      <a:pt x="125" y="19"/>
                    </a:lnTo>
                    <a:lnTo>
                      <a:pt x="127" y="19"/>
                    </a:lnTo>
                    <a:lnTo>
                      <a:pt x="127" y="17"/>
                    </a:lnTo>
                    <a:lnTo>
                      <a:pt x="129" y="19"/>
                    </a:lnTo>
                    <a:lnTo>
                      <a:pt x="129" y="17"/>
                    </a:lnTo>
                    <a:lnTo>
                      <a:pt x="131" y="17"/>
                    </a:lnTo>
                    <a:lnTo>
                      <a:pt x="131" y="15"/>
                    </a:lnTo>
                    <a:lnTo>
                      <a:pt x="133" y="15"/>
                    </a:lnTo>
                    <a:lnTo>
                      <a:pt x="133" y="17"/>
                    </a:lnTo>
                    <a:lnTo>
                      <a:pt x="135" y="17"/>
                    </a:lnTo>
                    <a:lnTo>
                      <a:pt x="135" y="19"/>
                    </a:lnTo>
                    <a:lnTo>
                      <a:pt x="137" y="17"/>
                    </a:lnTo>
                    <a:lnTo>
                      <a:pt x="137" y="15"/>
                    </a:lnTo>
                    <a:lnTo>
                      <a:pt x="139" y="15"/>
                    </a:lnTo>
                    <a:lnTo>
                      <a:pt x="139" y="17"/>
                    </a:lnTo>
                    <a:lnTo>
                      <a:pt x="139" y="19"/>
                    </a:lnTo>
                    <a:lnTo>
                      <a:pt x="137" y="21"/>
                    </a:lnTo>
                    <a:lnTo>
                      <a:pt x="137" y="23"/>
                    </a:lnTo>
                    <a:lnTo>
                      <a:pt x="139" y="23"/>
                    </a:lnTo>
                    <a:lnTo>
                      <a:pt x="139" y="21"/>
                    </a:lnTo>
                    <a:lnTo>
                      <a:pt x="139" y="23"/>
                    </a:lnTo>
                    <a:lnTo>
                      <a:pt x="139" y="25"/>
                    </a:lnTo>
                    <a:lnTo>
                      <a:pt x="141" y="25"/>
                    </a:lnTo>
                    <a:lnTo>
                      <a:pt x="141" y="27"/>
                    </a:lnTo>
                    <a:lnTo>
                      <a:pt x="141" y="29"/>
                    </a:lnTo>
                    <a:lnTo>
                      <a:pt x="139" y="29"/>
                    </a:lnTo>
                    <a:lnTo>
                      <a:pt x="141" y="31"/>
                    </a:lnTo>
                    <a:lnTo>
                      <a:pt x="141" y="29"/>
                    </a:lnTo>
                    <a:lnTo>
                      <a:pt x="143" y="31"/>
                    </a:lnTo>
                    <a:lnTo>
                      <a:pt x="143" y="29"/>
                    </a:lnTo>
                    <a:lnTo>
                      <a:pt x="145" y="29"/>
                    </a:lnTo>
                    <a:lnTo>
                      <a:pt x="145" y="31"/>
                    </a:lnTo>
                    <a:lnTo>
                      <a:pt x="145" y="29"/>
                    </a:lnTo>
                    <a:lnTo>
                      <a:pt x="145" y="31"/>
                    </a:lnTo>
                    <a:lnTo>
                      <a:pt x="145" y="33"/>
                    </a:lnTo>
                    <a:lnTo>
                      <a:pt x="145" y="34"/>
                    </a:lnTo>
                    <a:lnTo>
                      <a:pt x="145" y="36"/>
                    </a:lnTo>
                    <a:lnTo>
                      <a:pt x="145" y="38"/>
                    </a:lnTo>
                    <a:lnTo>
                      <a:pt x="143" y="38"/>
                    </a:lnTo>
                    <a:lnTo>
                      <a:pt x="145" y="38"/>
                    </a:lnTo>
                    <a:lnTo>
                      <a:pt x="145" y="40"/>
                    </a:lnTo>
                    <a:lnTo>
                      <a:pt x="145" y="42"/>
                    </a:lnTo>
                    <a:lnTo>
                      <a:pt x="143" y="42"/>
                    </a:lnTo>
                    <a:lnTo>
                      <a:pt x="143" y="44"/>
                    </a:lnTo>
                    <a:lnTo>
                      <a:pt x="141" y="44"/>
                    </a:lnTo>
                    <a:lnTo>
                      <a:pt x="141" y="46"/>
                    </a:lnTo>
                    <a:lnTo>
                      <a:pt x="141" y="48"/>
                    </a:lnTo>
                    <a:lnTo>
                      <a:pt x="141" y="50"/>
                    </a:lnTo>
                    <a:lnTo>
                      <a:pt x="139" y="50"/>
                    </a:lnTo>
                    <a:lnTo>
                      <a:pt x="141" y="50"/>
                    </a:lnTo>
                    <a:lnTo>
                      <a:pt x="141" y="52"/>
                    </a:lnTo>
                    <a:lnTo>
                      <a:pt x="139" y="52"/>
                    </a:lnTo>
                    <a:lnTo>
                      <a:pt x="141" y="52"/>
                    </a:lnTo>
                    <a:lnTo>
                      <a:pt x="139" y="52"/>
                    </a:lnTo>
                    <a:lnTo>
                      <a:pt x="139" y="54"/>
                    </a:lnTo>
                    <a:lnTo>
                      <a:pt x="137" y="54"/>
                    </a:lnTo>
                    <a:lnTo>
                      <a:pt x="137" y="56"/>
                    </a:lnTo>
                    <a:lnTo>
                      <a:pt x="137" y="58"/>
                    </a:lnTo>
                    <a:lnTo>
                      <a:pt x="137" y="56"/>
                    </a:lnTo>
                    <a:lnTo>
                      <a:pt x="139" y="58"/>
                    </a:lnTo>
                    <a:lnTo>
                      <a:pt x="137" y="58"/>
                    </a:lnTo>
                    <a:lnTo>
                      <a:pt x="139" y="58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32">
                <a:extLst>
                  <a:ext uri="{FF2B5EF4-FFF2-40B4-BE49-F238E27FC236}">
                    <a16:creationId xmlns="" xmlns:a16="http://schemas.microsoft.com/office/drawing/2014/main" id="{9170BC0F-C354-4F4D-A71D-F0EB6A013C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42263" y="2809876"/>
                <a:ext cx="417513" cy="303213"/>
              </a:xfrm>
              <a:custGeom>
                <a:avLst/>
                <a:gdLst>
                  <a:gd name="T0" fmla="*/ 221 w 263"/>
                  <a:gd name="T1" fmla="*/ 170 h 191"/>
                  <a:gd name="T2" fmla="*/ 225 w 263"/>
                  <a:gd name="T3" fmla="*/ 166 h 191"/>
                  <a:gd name="T4" fmla="*/ 227 w 263"/>
                  <a:gd name="T5" fmla="*/ 168 h 191"/>
                  <a:gd name="T6" fmla="*/ 230 w 263"/>
                  <a:gd name="T7" fmla="*/ 173 h 191"/>
                  <a:gd name="T8" fmla="*/ 236 w 263"/>
                  <a:gd name="T9" fmla="*/ 177 h 191"/>
                  <a:gd name="T10" fmla="*/ 244 w 263"/>
                  <a:gd name="T11" fmla="*/ 179 h 191"/>
                  <a:gd name="T12" fmla="*/ 248 w 263"/>
                  <a:gd name="T13" fmla="*/ 179 h 191"/>
                  <a:gd name="T14" fmla="*/ 251 w 263"/>
                  <a:gd name="T15" fmla="*/ 181 h 191"/>
                  <a:gd name="T16" fmla="*/ 257 w 263"/>
                  <a:gd name="T17" fmla="*/ 183 h 191"/>
                  <a:gd name="T18" fmla="*/ 261 w 263"/>
                  <a:gd name="T19" fmla="*/ 187 h 191"/>
                  <a:gd name="T20" fmla="*/ 261 w 263"/>
                  <a:gd name="T21" fmla="*/ 191 h 191"/>
                  <a:gd name="T22" fmla="*/ 257 w 263"/>
                  <a:gd name="T23" fmla="*/ 189 h 191"/>
                  <a:gd name="T24" fmla="*/ 251 w 263"/>
                  <a:gd name="T25" fmla="*/ 185 h 191"/>
                  <a:gd name="T26" fmla="*/ 250 w 263"/>
                  <a:gd name="T27" fmla="*/ 187 h 191"/>
                  <a:gd name="T28" fmla="*/ 250 w 263"/>
                  <a:gd name="T29" fmla="*/ 187 h 191"/>
                  <a:gd name="T30" fmla="*/ 246 w 263"/>
                  <a:gd name="T31" fmla="*/ 189 h 191"/>
                  <a:gd name="T32" fmla="*/ 242 w 263"/>
                  <a:gd name="T33" fmla="*/ 187 h 191"/>
                  <a:gd name="T34" fmla="*/ 236 w 263"/>
                  <a:gd name="T35" fmla="*/ 185 h 191"/>
                  <a:gd name="T36" fmla="*/ 232 w 263"/>
                  <a:gd name="T37" fmla="*/ 183 h 191"/>
                  <a:gd name="T38" fmla="*/ 228 w 263"/>
                  <a:gd name="T39" fmla="*/ 179 h 191"/>
                  <a:gd name="T40" fmla="*/ 223 w 263"/>
                  <a:gd name="T41" fmla="*/ 177 h 191"/>
                  <a:gd name="T42" fmla="*/ 215 w 263"/>
                  <a:gd name="T43" fmla="*/ 177 h 191"/>
                  <a:gd name="T44" fmla="*/ 213 w 263"/>
                  <a:gd name="T45" fmla="*/ 175 h 191"/>
                  <a:gd name="T46" fmla="*/ 215 w 263"/>
                  <a:gd name="T47" fmla="*/ 170 h 191"/>
                  <a:gd name="T48" fmla="*/ 13 w 263"/>
                  <a:gd name="T49" fmla="*/ 4 h 191"/>
                  <a:gd name="T50" fmla="*/ 15 w 263"/>
                  <a:gd name="T51" fmla="*/ 6 h 191"/>
                  <a:gd name="T52" fmla="*/ 21 w 263"/>
                  <a:gd name="T53" fmla="*/ 8 h 191"/>
                  <a:gd name="T54" fmla="*/ 23 w 263"/>
                  <a:gd name="T55" fmla="*/ 14 h 191"/>
                  <a:gd name="T56" fmla="*/ 27 w 263"/>
                  <a:gd name="T57" fmla="*/ 20 h 191"/>
                  <a:gd name="T58" fmla="*/ 23 w 263"/>
                  <a:gd name="T59" fmla="*/ 23 h 191"/>
                  <a:gd name="T60" fmla="*/ 21 w 263"/>
                  <a:gd name="T61" fmla="*/ 31 h 191"/>
                  <a:gd name="T62" fmla="*/ 19 w 263"/>
                  <a:gd name="T63" fmla="*/ 33 h 191"/>
                  <a:gd name="T64" fmla="*/ 17 w 263"/>
                  <a:gd name="T65" fmla="*/ 39 h 191"/>
                  <a:gd name="T66" fmla="*/ 15 w 263"/>
                  <a:gd name="T67" fmla="*/ 45 h 191"/>
                  <a:gd name="T68" fmla="*/ 15 w 263"/>
                  <a:gd name="T69" fmla="*/ 52 h 191"/>
                  <a:gd name="T70" fmla="*/ 15 w 263"/>
                  <a:gd name="T71" fmla="*/ 60 h 191"/>
                  <a:gd name="T72" fmla="*/ 13 w 263"/>
                  <a:gd name="T73" fmla="*/ 62 h 191"/>
                  <a:gd name="T74" fmla="*/ 13 w 263"/>
                  <a:gd name="T75" fmla="*/ 58 h 191"/>
                  <a:gd name="T76" fmla="*/ 13 w 263"/>
                  <a:gd name="T77" fmla="*/ 50 h 191"/>
                  <a:gd name="T78" fmla="*/ 9 w 263"/>
                  <a:gd name="T79" fmla="*/ 43 h 191"/>
                  <a:gd name="T80" fmla="*/ 7 w 263"/>
                  <a:gd name="T81" fmla="*/ 37 h 191"/>
                  <a:gd name="T82" fmla="*/ 6 w 263"/>
                  <a:gd name="T83" fmla="*/ 31 h 191"/>
                  <a:gd name="T84" fmla="*/ 4 w 263"/>
                  <a:gd name="T85" fmla="*/ 25 h 191"/>
                  <a:gd name="T86" fmla="*/ 2 w 263"/>
                  <a:gd name="T87" fmla="*/ 29 h 191"/>
                  <a:gd name="T88" fmla="*/ 2 w 263"/>
                  <a:gd name="T89" fmla="*/ 27 h 191"/>
                  <a:gd name="T90" fmla="*/ 6 w 263"/>
                  <a:gd name="T91" fmla="*/ 21 h 191"/>
                  <a:gd name="T92" fmla="*/ 7 w 263"/>
                  <a:gd name="T93" fmla="*/ 16 h 191"/>
                  <a:gd name="T94" fmla="*/ 7 w 263"/>
                  <a:gd name="T95" fmla="*/ 8 h 191"/>
                  <a:gd name="T96" fmla="*/ 9 w 263"/>
                  <a:gd name="T97" fmla="*/ 2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63" h="191">
                    <a:moveTo>
                      <a:pt x="215" y="170"/>
                    </a:moveTo>
                    <a:lnTo>
                      <a:pt x="217" y="170"/>
                    </a:lnTo>
                    <a:lnTo>
                      <a:pt x="219" y="170"/>
                    </a:lnTo>
                    <a:lnTo>
                      <a:pt x="221" y="170"/>
                    </a:lnTo>
                    <a:lnTo>
                      <a:pt x="221" y="168"/>
                    </a:lnTo>
                    <a:lnTo>
                      <a:pt x="223" y="168"/>
                    </a:lnTo>
                    <a:lnTo>
                      <a:pt x="223" y="166"/>
                    </a:lnTo>
                    <a:lnTo>
                      <a:pt x="225" y="166"/>
                    </a:lnTo>
                    <a:lnTo>
                      <a:pt x="227" y="166"/>
                    </a:lnTo>
                    <a:lnTo>
                      <a:pt x="227" y="168"/>
                    </a:lnTo>
                    <a:lnTo>
                      <a:pt x="225" y="168"/>
                    </a:lnTo>
                    <a:lnTo>
                      <a:pt x="227" y="168"/>
                    </a:lnTo>
                    <a:lnTo>
                      <a:pt x="227" y="170"/>
                    </a:lnTo>
                    <a:lnTo>
                      <a:pt x="228" y="171"/>
                    </a:lnTo>
                    <a:lnTo>
                      <a:pt x="228" y="173"/>
                    </a:lnTo>
                    <a:lnTo>
                      <a:pt x="230" y="173"/>
                    </a:lnTo>
                    <a:lnTo>
                      <a:pt x="232" y="175"/>
                    </a:lnTo>
                    <a:lnTo>
                      <a:pt x="234" y="175"/>
                    </a:lnTo>
                    <a:lnTo>
                      <a:pt x="236" y="175"/>
                    </a:lnTo>
                    <a:lnTo>
                      <a:pt x="236" y="177"/>
                    </a:lnTo>
                    <a:lnTo>
                      <a:pt x="238" y="177"/>
                    </a:lnTo>
                    <a:lnTo>
                      <a:pt x="240" y="177"/>
                    </a:lnTo>
                    <a:lnTo>
                      <a:pt x="242" y="179"/>
                    </a:lnTo>
                    <a:lnTo>
                      <a:pt x="244" y="179"/>
                    </a:lnTo>
                    <a:lnTo>
                      <a:pt x="244" y="181"/>
                    </a:lnTo>
                    <a:lnTo>
                      <a:pt x="246" y="181"/>
                    </a:lnTo>
                    <a:lnTo>
                      <a:pt x="248" y="181"/>
                    </a:lnTo>
                    <a:lnTo>
                      <a:pt x="248" y="179"/>
                    </a:lnTo>
                    <a:lnTo>
                      <a:pt x="250" y="181"/>
                    </a:lnTo>
                    <a:lnTo>
                      <a:pt x="250" y="179"/>
                    </a:lnTo>
                    <a:lnTo>
                      <a:pt x="251" y="179"/>
                    </a:lnTo>
                    <a:lnTo>
                      <a:pt x="251" y="181"/>
                    </a:lnTo>
                    <a:lnTo>
                      <a:pt x="253" y="181"/>
                    </a:lnTo>
                    <a:lnTo>
                      <a:pt x="255" y="181"/>
                    </a:lnTo>
                    <a:lnTo>
                      <a:pt x="255" y="183"/>
                    </a:lnTo>
                    <a:lnTo>
                      <a:pt x="257" y="183"/>
                    </a:lnTo>
                    <a:lnTo>
                      <a:pt x="257" y="185"/>
                    </a:lnTo>
                    <a:lnTo>
                      <a:pt x="259" y="185"/>
                    </a:lnTo>
                    <a:lnTo>
                      <a:pt x="259" y="187"/>
                    </a:lnTo>
                    <a:lnTo>
                      <a:pt x="261" y="187"/>
                    </a:lnTo>
                    <a:lnTo>
                      <a:pt x="261" y="189"/>
                    </a:lnTo>
                    <a:lnTo>
                      <a:pt x="263" y="189"/>
                    </a:lnTo>
                    <a:lnTo>
                      <a:pt x="263" y="191"/>
                    </a:lnTo>
                    <a:lnTo>
                      <a:pt x="261" y="191"/>
                    </a:lnTo>
                    <a:lnTo>
                      <a:pt x="261" y="189"/>
                    </a:lnTo>
                    <a:lnTo>
                      <a:pt x="259" y="189"/>
                    </a:lnTo>
                    <a:lnTo>
                      <a:pt x="259" y="191"/>
                    </a:lnTo>
                    <a:lnTo>
                      <a:pt x="257" y="189"/>
                    </a:lnTo>
                    <a:lnTo>
                      <a:pt x="255" y="189"/>
                    </a:lnTo>
                    <a:lnTo>
                      <a:pt x="253" y="189"/>
                    </a:lnTo>
                    <a:lnTo>
                      <a:pt x="253" y="187"/>
                    </a:lnTo>
                    <a:lnTo>
                      <a:pt x="251" y="185"/>
                    </a:lnTo>
                    <a:lnTo>
                      <a:pt x="251" y="187"/>
                    </a:lnTo>
                    <a:lnTo>
                      <a:pt x="250" y="187"/>
                    </a:lnTo>
                    <a:lnTo>
                      <a:pt x="251" y="187"/>
                    </a:lnTo>
                    <a:lnTo>
                      <a:pt x="250" y="187"/>
                    </a:lnTo>
                    <a:lnTo>
                      <a:pt x="250" y="189"/>
                    </a:lnTo>
                    <a:lnTo>
                      <a:pt x="250" y="187"/>
                    </a:lnTo>
                    <a:lnTo>
                      <a:pt x="250" y="189"/>
                    </a:lnTo>
                    <a:lnTo>
                      <a:pt x="250" y="187"/>
                    </a:lnTo>
                    <a:lnTo>
                      <a:pt x="248" y="187"/>
                    </a:lnTo>
                    <a:lnTo>
                      <a:pt x="250" y="189"/>
                    </a:lnTo>
                    <a:lnTo>
                      <a:pt x="248" y="189"/>
                    </a:lnTo>
                    <a:lnTo>
                      <a:pt x="246" y="189"/>
                    </a:lnTo>
                    <a:lnTo>
                      <a:pt x="246" y="187"/>
                    </a:lnTo>
                    <a:lnTo>
                      <a:pt x="246" y="189"/>
                    </a:lnTo>
                    <a:lnTo>
                      <a:pt x="244" y="187"/>
                    </a:lnTo>
                    <a:lnTo>
                      <a:pt x="242" y="187"/>
                    </a:lnTo>
                    <a:lnTo>
                      <a:pt x="240" y="187"/>
                    </a:lnTo>
                    <a:lnTo>
                      <a:pt x="238" y="187"/>
                    </a:lnTo>
                    <a:lnTo>
                      <a:pt x="238" y="185"/>
                    </a:lnTo>
                    <a:lnTo>
                      <a:pt x="236" y="185"/>
                    </a:lnTo>
                    <a:lnTo>
                      <a:pt x="234" y="185"/>
                    </a:lnTo>
                    <a:lnTo>
                      <a:pt x="232" y="183"/>
                    </a:lnTo>
                    <a:lnTo>
                      <a:pt x="232" y="185"/>
                    </a:lnTo>
                    <a:lnTo>
                      <a:pt x="232" y="183"/>
                    </a:lnTo>
                    <a:lnTo>
                      <a:pt x="230" y="183"/>
                    </a:lnTo>
                    <a:lnTo>
                      <a:pt x="230" y="181"/>
                    </a:lnTo>
                    <a:lnTo>
                      <a:pt x="228" y="181"/>
                    </a:lnTo>
                    <a:lnTo>
                      <a:pt x="228" y="179"/>
                    </a:lnTo>
                    <a:lnTo>
                      <a:pt x="227" y="179"/>
                    </a:lnTo>
                    <a:lnTo>
                      <a:pt x="225" y="179"/>
                    </a:lnTo>
                    <a:lnTo>
                      <a:pt x="223" y="179"/>
                    </a:lnTo>
                    <a:lnTo>
                      <a:pt x="223" y="177"/>
                    </a:lnTo>
                    <a:lnTo>
                      <a:pt x="221" y="177"/>
                    </a:lnTo>
                    <a:lnTo>
                      <a:pt x="219" y="177"/>
                    </a:lnTo>
                    <a:lnTo>
                      <a:pt x="217" y="177"/>
                    </a:lnTo>
                    <a:lnTo>
                      <a:pt x="215" y="177"/>
                    </a:lnTo>
                    <a:lnTo>
                      <a:pt x="215" y="179"/>
                    </a:lnTo>
                    <a:lnTo>
                      <a:pt x="213" y="179"/>
                    </a:lnTo>
                    <a:lnTo>
                      <a:pt x="213" y="177"/>
                    </a:lnTo>
                    <a:lnTo>
                      <a:pt x="213" y="175"/>
                    </a:lnTo>
                    <a:lnTo>
                      <a:pt x="215" y="175"/>
                    </a:lnTo>
                    <a:lnTo>
                      <a:pt x="215" y="173"/>
                    </a:lnTo>
                    <a:lnTo>
                      <a:pt x="215" y="171"/>
                    </a:lnTo>
                    <a:lnTo>
                      <a:pt x="215" y="170"/>
                    </a:lnTo>
                    <a:close/>
                    <a:moveTo>
                      <a:pt x="9" y="2"/>
                    </a:moveTo>
                    <a:lnTo>
                      <a:pt x="11" y="2"/>
                    </a:lnTo>
                    <a:lnTo>
                      <a:pt x="11" y="4"/>
                    </a:lnTo>
                    <a:lnTo>
                      <a:pt x="13" y="4"/>
                    </a:lnTo>
                    <a:lnTo>
                      <a:pt x="13" y="2"/>
                    </a:lnTo>
                    <a:lnTo>
                      <a:pt x="13" y="4"/>
                    </a:lnTo>
                    <a:lnTo>
                      <a:pt x="15" y="4"/>
                    </a:lnTo>
                    <a:lnTo>
                      <a:pt x="15" y="6"/>
                    </a:lnTo>
                    <a:lnTo>
                      <a:pt x="17" y="6"/>
                    </a:lnTo>
                    <a:lnTo>
                      <a:pt x="19" y="6"/>
                    </a:lnTo>
                    <a:lnTo>
                      <a:pt x="19" y="8"/>
                    </a:lnTo>
                    <a:lnTo>
                      <a:pt x="21" y="8"/>
                    </a:lnTo>
                    <a:lnTo>
                      <a:pt x="21" y="10"/>
                    </a:lnTo>
                    <a:lnTo>
                      <a:pt x="23" y="10"/>
                    </a:lnTo>
                    <a:lnTo>
                      <a:pt x="23" y="12"/>
                    </a:lnTo>
                    <a:lnTo>
                      <a:pt x="23" y="14"/>
                    </a:lnTo>
                    <a:lnTo>
                      <a:pt x="25" y="14"/>
                    </a:lnTo>
                    <a:lnTo>
                      <a:pt x="27" y="16"/>
                    </a:lnTo>
                    <a:lnTo>
                      <a:pt x="27" y="18"/>
                    </a:lnTo>
                    <a:lnTo>
                      <a:pt x="27" y="20"/>
                    </a:lnTo>
                    <a:lnTo>
                      <a:pt x="25" y="20"/>
                    </a:lnTo>
                    <a:lnTo>
                      <a:pt x="25" y="21"/>
                    </a:lnTo>
                    <a:lnTo>
                      <a:pt x="23" y="21"/>
                    </a:lnTo>
                    <a:lnTo>
                      <a:pt x="23" y="23"/>
                    </a:lnTo>
                    <a:lnTo>
                      <a:pt x="21" y="25"/>
                    </a:lnTo>
                    <a:lnTo>
                      <a:pt x="21" y="27"/>
                    </a:lnTo>
                    <a:lnTo>
                      <a:pt x="21" y="29"/>
                    </a:lnTo>
                    <a:lnTo>
                      <a:pt x="21" y="31"/>
                    </a:lnTo>
                    <a:lnTo>
                      <a:pt x="19" y="29"/>
                    </a:lnTo>
                    <a:lnTo>
                      <a:pt x="19" y="31"/>
                    </a:lnTo>
                    <a:lnTo>
                      <a:pt x="17" y="33"/>
                    </a:lnTo>
                    <a:lnTo>
                      <a:pt x="19" y="33"/>
                    </a:lnTo>
                    <a:lnTo>
                      <a:pt x="19" y="35"/>
                    </a:lnTo>
                    <a:lnTo>
                      <a:pt x="17" y="35"/>
                    </a:lnTo>
                    <a:lnTo>
                      <a:pt x="17" y="37"/>
                    </a:lnTo>
                    <a:lnTo>
                      <a:pt x="17" y="39"/>
                    </a:lnTo>
                    <a:lnTo>
                      <a:pt x="17" y="41"/>
                    </a:lnTo>
                    <a:lnTo>
                      <a:pt x="17" y="43"/>
                    </a:lnTo>
                    <a:lnTo>
                      <a:pt x="15" y="43"/>
                    </a:lnTo>
                    <a:lnTo>
                      <a:pt x="15" y="45"/>
                    </a:lnTo>
                    <a:lnTo>
                      <a:pt x="15" y="46"/>
                    </a:lnTo>
                    <a:lnTo>
                      <a:pt x="15" y="48"/>
                    </a:lnTo>
                    <a:lnTo>
                      <a:pt x="15" y="50"/>
                    </a:lnTo>
                    <a:lnTo>
                      <a:pt x="15" y="52"/>
                    </a:lnTo>
                    <a:lnTo>
                      <a:pt x="15" y="54"/>
                    </a:lnTo>
                    <a:lnTo>
                      <a:pt x="15" y="56"/>
                    </a:lnTo>
                    <a:lnTo>
                      <a:pt x="15" y="58"/>
                    </a:lnTo>
                    <a:lnTo>
                      <a:pt x="15" y="60"/>
                    </a:lnTo>
                    <a:lnTo>
                      <a:pt x="17" y="62"/>
                    </a:lnTo>
                    <a:lnTo>
                      <a:pt x="17" y="64"/>
                    </a:lnTo>
                    <a:lnTo>
                      <a:pt x="15" y="62"/>
                    </a:lnTo>
                    <a:lnTo>
                      <a:pt x="13" y="62"/>
                    </a:lnTo>
                    <a:lnTo>
                      <a:pt x="13" y="60"/>
                    </a:lnTo>
                    <a:lnTo>
                      <a:pt x="11" y="60"/>
                    </a:lnTo>
                    <a:lnTo>
                      <a:pt x="11" y="58"/>
                    </a:lnTo>
                    <a:lnTo>
                      <a:pt x="13" y="58"/>
                    </a:lnTo>
                    <a:lnTo>
                      <a:pt x="13" y="56"/>
                    </a:lnTo>
                    <a:lnTo>
                      <a:pt x="13" y="54"/>
                    </a:lnTo>
                    <a:lnTo>
                      <a:pt x="13" y="52"/>
                    </a:lnTo>
                    <a:lnTo>
                      <a:pt x="13" y="50"/>
                    </a:lnTo>
                    <a:lnTo>
                      <a:pt x="11" y="48"/>
                    </a:lnTo>
                    <a:lnTo>
                      <a:pt x="11" y="46"/>
                    </a:lnTo>
                    <a:lnTo>
                      <a:pt x="11" y="45"/>
                    </a:lnTo>
                    <a:lnTo>
                      <a:pt x="9" y="43"/>
                    </a:lnTo>
                    <a:lnTo>
                      <a:pt x="9" y="41"/>
                    </a:lnTo>
                    <a:lnTo>
                      <a:pt x="9" y="39"/>
                    </a:lnTo>
                    <a:lnTo>
                      <a:pt x="7" y="39"/>
                    </a:lnTo>
                    <a:lnTo>
                      <a:pt x="7" y="37"/>
                    </a:lnTo>
                    <a:lnTo>
                      <a:pt x="6" y="37"/>
                    </a:lnTo>
                    <a:lnTo>
                      <a:pt x="6" y="35"/>
                    </a:lnTo>
                    <a:lnTo>
                      <a:pt x="6" y="33"/>
                    </a:lnTo>
                    <a:lnTo>
                      <a:pt x="6" y="31"/>
                    </a:lnTo>
                    <a:lnTo>
                      <a:pt x="4" y="31"/>
                    </a:lnTo>
                    <a:lnTo>
                      <a:pt x="4" y="29"/>
                    </a:lnTo>
                    <a:lnTo>
                      <a:pt x="4" y="27"/>
                    </a:lnTo>
                    <a:lnTo>
                      <a:pt x="4" y="25"/>
                    </a:lnTo>
                    <a:lnTo>
                      <a:pt x="2" y="27"/>
                    </a:lnTo>
                    <a:lnTo>
                      <a:pt x="0" y="27"/>
                    </a:lnTo>
                    <a:lnTo>
                      <a:pt x="0" y="29"/>
                    </a:lnTo>
                    <a:lnTo>
                      <a:pt x="2" y="29"/>
                    </a:lnTo>
                    <a:lnTo>
                      <a:pt x="0" y="29"/>
                    </a:lnTo>
                    <a:lnTo>
                      <a:pt x="0" y="31"/>
                    </a:lnTo>
                    <a:lnTo>
                      <a:pt x="0" y="29"/>
                    </a:lnTo>
                    <a:lnTo>
                      <a:pt x="2" y="27"/>
                    </a:lnTo>
                    <a:lnTo>
                      <a:pt x="2" y="25"/>
                    </a:lnTo>
                    <a:lnTo>
                      <a:pt x="4" y="23"/>
                    </a:lnTo>
                    <a:lnTo>
                      <a:pt x="6" y="23"/>
                    </a:lnTo>
                    <a:lnTo>
                      <a:pt x="6" y="21"/>
                    </a:lnTo>
                    <a:lnTo>
                      <a:pt x="6" y="20"/>
                    </a:lnTo>
                    <a:lnTo>
                      <a:pt x="6" y="18"/>
                    </a:lnTo>
                    <a:lnTo>
                      <a:pt x="7" y="18"/>
                    </a:lnTo>
                    <a:lnTo>
                      <a:pt x="7" y="16"/>
                    </a:lnTo>
                    <a:lnTo>
                      <a:pt x="7" y="14"/>
                    </a:lnTo>
                    <a:lnTo>
                      <a:pt x="9" y="12"/>
                    </a:lnTo>
                    <a:lnTo>
                      <a:pt x="7" y="10"/>
                    </a:lnTo>
                    <a:lnTo>
                      <a:pt x="7" y="8"/>
                    </a:lnTo>
                    <a:lnTo>
                      <a:pt x="7" y="6"/>
                    </a:lnTo>
                    <a:lnTo>
                      <a:pt x="9" y="6"/>
                    </a:lnTo>
                    <a:lnTo>
                      <a:pt x="9" y="4"/>
                    </a:lnTo>
                    <a:lnTo>
                      <a:pt x="9" y="2"/>
                    </a:lnTo>
                    <a:lnTo>
                      <a:pt x="9" y="0"/>
                    </a:lnTo>
                    <a:lnTo>
                      <a:pt x="9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33">
                <a:extLst>
                  <a:ext uri="{FF2B5EF4-FFF2-40B4-BE49-F238E27FC236}">
                    <a16:creationId xmlns="" xmlns:a16="http://schemas.microsoft.com/office/drawing/2014/main" id="{DCDBCA71-0E30-4FA9-A4FB-6DE82960DF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32688" y="2257426"/>
                <a:ext cx="661988" cy="1527175"/>
              </a:xfrm>
              <a:custGeom>
                <a:avLst/>
                <a:gdLst>
                  <a:gd name="T0" fmla="*/ 135 w 417"/>
                  <a:gd name="T1" fmla="*/ 256 h 962"/>
                  <a:gd name="T2" fmla="*/ 96 w 417"/>
                  <a:gd name="T3" fmla="*/ 246 h 962"/>
                  <a:gd name="T4" fmla="*/ 356 w 417"/>
                  <a:gd name="T5" fmla="*/ 43 h 962"/>
                  <a:gd name="T6" fmla="*/ 352 w 417"/>
                  <a:gd name="T7" fmla="*/ 72 h 962"/>
                  <a:gd name="T8" fmla="*/ 350 w 417"/>
                  <a:gd name="T9" fmla="*/ 95 h 962"/>
                  <a:gd name="T10" fmla="*/ 356 w 417"/>
                  <a:gd name="T11" fmla="*/ 120 h 962"/>
                  <a:gd name="T12" fmla="*/ 352 w 417"/>
                  <a:gd name="T13" fmla="*/ 164 h 962"/>
                  <a:gd name="T14" fmla="*/ 344 w 417"/>
                  <a:gd name="T15" fmla="*/ 196 h 962"/>
                  <a:gd name="T16" fmla="*/ 329 w 417"/>
                  <a:gd name="T17" fmla="*/ 185 h 962"/>
                  <a:gd name="T18" fmla="*/ 312 w 417"/>
                  <a:gd name="T19" fmla="*/ 193 h 962"/>
                  <a:gd name="T20" fmla="*/ 273 w 417"/>
                  <a:gd name="T21" fmla="*/ 243 h 962"/>
                  <a:gd name="T22" fmla="*/ 260 w 417"/>
                  <a:gd name="T23" fmla="*/ 264 h 962"/>
                  <a:gd name="T24" fmla="*/ 242 w 417"/>
                  <a:gd name="T25" fmla="*/ 271 h 962"/>
                  <a:gd name="T26" fmla="*/ 248 w 417"/>
                  <a:gd name="T27" fmla="*/ 318 h 962"/>
                  <a:gd name="T28" fmla="*/ 221 w 417"/>
                  <a:gd name="T29" fmla="*/ 321 h 962"/>
                  <a:gd name="T30" fmla="*/ 223 w 417"/>
                  <a:gd name="T31" fmla="*/ 364 h 962"/>
                  <a:gd name="T32" fmla="*/ 233 w 417"/>
                  <a:gd name="T33" fmla="*/ 383 h 962"/>
                  <a:gd name="T34" fmla="*/ 241 w 417"/>
                  <a:gd name="T35" fmla="*/ 408 h 962"/>
                  <a:gd name="T36" fmla="*/ 254 w 417"/>
                  <a:gd name="T37" fmla="*/ 460 h 962"/>
                  <a:gd name="T38" fmla="*/ 273 w 417"/>
                  <a:gd name="T39" fmla="*/ 473 h 962"/>
                  <a:gd name="T40" fmla="*/ 283 w 417"/>
                  <a:gd name="T41" fmla="*/ 454 h 962"/>
                  <a:gd name="T42" fmla="*/ 308 w 417"/>
                  <a:gd name="T43" fmla="*/ 485 h 962"/>
                  <a:gd name="T44" fmla="*/ 363 w 417"/>
                  <a:gd name="T45" fmla="*/ 523 h 962"/>
                  <a:gd name="T46" fmla="*/ 350 w 417"/>
                  <a:gd name="T47" fmla="*/ 519 h 962"/>
                  <a:gd name="T48" fmla="*/ 327 w 417"/>
                  <a:gd name="T49" fmla="*/ 560 h 962"/>
                  <a:gd name="T50" fmla="*/ 348 w 417"/>
                  <a:gd name="T51" fmla="*/ 548 h 962"/>
                  <a:gd name="T52" fmla="*/ 377 w 417"/>
                  <a:gd name="T53" fmla="*/ 619 h 962"/>
                  <a:gd name="T54" fmla="*/ 379 w 417"/>
                  <a:gd name="T55" fmla="*/ 667 h 962"/>
                  <a:gd name="T56" fmla="*/ 385 w 417"/>
                  <a:gd name="T57" fmla="*/ 739 h 962"/>
                  <a:gd name="T58" fmla="*/ 392 w 417"/>
                  <a:gd name="T59" fmla="*/ 748 h 962"/>
                  <a:gd name="T60" fmla="*/ 396 w 417"/>
                  <a:gd name="T61" fmla="*/ 777 h 962"/>
                  <a:gd name="T62" fmla="*/ 371 w 417"/>
                  <a:gd name="T63" fmla="*/ 802 h 962"/>
                  <a:gd name="T64" fmla="*/ 390 w 417"/>
                  <a:gd name="T65" fmla="*/ 829 h 962"/>
                  <a:gd name="T66" fmla="*/ 411 w 417"/>
                  <a:gd name="T67" fmla="*/ 864 h 962"/>
                  <a:gd name="T68" fmla="*/ 413 w 417"/>
                  <a:gd name="T69" fmla="*/ 937 h 962"/>
                  <a:gd name="T70" fmla="*/ 363 w 417"/>
                  <a:gd name="T71" fmla="*/ 906 h 962"/>
                  <a:gd name="T72" fmla="*/ 333 w 417"/>
                  <a:gd name="T73" fmla="*/ 875 h 962"/>
                  <a:gd name="T74" fmla="*/ 287 w 417"/>
                  <a:gd name="T75" fmla="*/ 827 h 962"/>
                  <a:gd name="T76" fmla="*/ 206 w 417"/>
                  <a:gd name="T77" fmla="*/ 741 h 962"/>
                  <a:gd name="T78" fmla="*/ 162 w 417"/>
                  <a:gd name="T79" fmla="*/ 658 h 962"/>
                  <a:gd name="T80" fmla="*/ 160 w 417"/>
                  <a:gd name="T81" fmla="*/ 621 h 962"/>
                  <a:gd name="T82" fmla="*/ 175 w 417"/>
                  <a:gd name="T83" fmla="*/ 619 h 962"/>
                  <a:gd name="T84" fmla="*/ 143 w 417"/>
                  <a:gd name="T85" fmla="*/ 569 h 962"/>
                  <a:gd name="T86" fmla="*/ 177 w 417"/>
                  <a:gd name="T87" fmla="*/ 541 h 962"/>
                  <a:gd name="T88" fmla="*/ 168 w 417"/>
                  <a:gd name="T89" fmla="*/ 471 h 962"/>
                  <a:gd name="T90" fmla="*/ 164 w 417"/>
                  <a:gd name="T91" fmla="*/ 394 h 962"/>
                  <a:gd name="T92" fmla="*/ 162 w 417"/>
                  <a:gd name="T93" fmla="*/ 323 h 962"/>
                  <a:gd name="T94" fmla="*/ 175 w 417"/>
                  <a:gd name="T95" fmla="*/ 281 h 962"/>
                  <a:gd name="T96" fmla="*/ 143 w 417"/>
                  <a:gd name="T97" fmla="*/ 229 h 962"/>
                  <a:gd name="T98" fmla="*/ 152 w 417"/>
                  <a:gd name="T99" fmla="*/ 189 h 962"/>
                  <a:gd name="T100" fmla="*/ 150 w 417"/>
                  <a:gd name="T101" fmla="*/ 179 h 962"/>
                  <a:gd name="T102" fmla="*/ 171 w 417"/>
                  <a:gd name="T103" fmla="*/ 139 h 962"/>
                  <a:gd name="T104" fmla="*/ 169 w 417"/>
                  <a:gd name="T105" fmla="*/ 133 h 962"/>
                  <a:gd name="T106" fmla="*/ 144 w 417"/>
                  <a:gd name="T107" fmla="*/ 171 h 962"/>
                  <a:gd name="T108" fmla="*/ 89 w 417"/>
                  <a:gd name="T109" fmla="*/ 196 h 962"/>
                  <a:gd name="T110" fmla="*/ 56 w 417"/>
                  <a:gd name="T111" fmla="*/ 193 h 962"/>
                  <a:gd name="T112" fmla="*/ 22 w 417"/>
                  <a:gd name="T113" fmla="*/ 135 h 962"/>
                  <a:gd name="T114" fmla="*/ 16 w 417"/>
                  <a:gd name="T115" fmla="*/ 77 h 962"/>
                  <a:gd name="T116" fmla="*/ 100 w 417"/>
                  <a:gd name="T117" fmla="*/ 37 h 962"/>
                  <a:gd name="T118" fmla="*/ 181 w 417"/>
                  <a:gd name="T119" fmla="*/ 73 h 962"/>
                  <a:gd name="T120" fmla="*/ 260 w 417"/>
                  <a:gd name="T121" fmla="*/ 83 h 962"/>
                  <a:gd name="T122" fmla="*/ 300 w 417"/>
                  <a:gd name="T123" fmla="*/ 31 h 962"/>
                  <a:gd name="T124" fmla="*/ 356 w 417"/>
                  <a:gd name="T125" fmla="*/ 16 h 9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17" h="962">
                    <a:moveTo>
                      <a:pt x="96" y="218"/>
                    </a:moveTo>
                    <a:lnTo>
                      <a:pt x="98" y="218"/>
                    </a:lnTo>
                    <a:lnTo>
                      <a:pt x="98" y="216"/>
                    </a:lnTo>
                    <a:lnTo>
                      <a:pt x="100" y="216"/>
                    </a:lnTo>
                    <a:lnTo>
                      <a:pt x="100" y="214"/>
                    </a:lnTo>
                    <a:lnTo>
                      <a:pt x="102" y="214"/>
                    </a:lnTo>
                    <a:lnTo>
                      <a:pt x="102" y="216"/>
                    </a:lnTo>
                    <a:lnTo>
                      <a:pt x="104" y="216"/>
                    </a:lnTo>
                    <a:lnTo>
                      <a:pt x="106" y="216"/>
                    </a:lnTo>
                    <a:lnTo>
                      <a:pt x="108" y="216"/>
                    </a:lnTo>
                    <a:lnTo>
                      <a:pt x="108" y="218"/>
                    </a:lnTo>
                    <a:lnTo>
                      <a:pt x="106" y="218"/>
                    </a:lnTo>
                    <a:lnTo>
                      <a:pt x="106" y="220"/>
                    </a:lnTo>
                    <a:lnTo>
                      <a:pt x="106" y="221"/>
                    </a:lnTo>
                    <a:lnTo>
                      <a:pt x="106" y="223"/>
                    </a:lnTo>
                    <a:lnTo>
                      <a:pt x="106" y="225"/>
                    </a:lnTo>
                    <a:lnTo>
                      <a:pt x="106" y="227"/>
                    </a:lnTo>
                    <a:lnTo>
                      <a:pt x="108" y="227"/>
                    </a:lnTo>
                    <a:lnTo>
                      <a:pt x="108" y="229"/>
                    </a:lnTo>
                    <a:lnTo>
                      <a:pt x="110" y="229"/>
                    </a:lnTo>
                    <a:lnTo>
                      <a:pt x="110" y="231"/>
                    </a:lnTo>
                    <a:lnTo>
                      <a:pt x="112" y="231"/>
                    </a:lnTo>
                    <a:lnTo>
                      <a:pt x="112" y="233"/>
                    </a:lnTo>
                    <a:lnTo>
                      <a:pt x="114" y="233"/>
                    </a:lnTo>
                    <a:lnTo>
                      <a:pt x="114" y="235"/>
                    </a:lnTo>
                    <a:lnTo>
                      <a:pt x="114" y="233"/>
                    </a:lnTo>
                    <a:lnTo>
                      <a:pt x="116" y="233"/>
                    </a:lnTo>
                    <a:lnTo>
                      <a:pt x="116" y="235"/>
                    </a:lnTo>
                    <a:lnTo>
                      <a:pt x="116" y="237"/>
                    </a:lnTo>
                    <a:lnTo>
                      <a:pt x="116" y="239"/>
                    </a:lnTo>
                    <a:lnTo>
                      <a:pt x="118" y="239"/>
                    </a:lnTo>
                    <a:lnTo>
                      <a:pt x="116" y="239"/>
                    </a:lnTo>
                    <a:lnTo>
                      <a:pt x="116" y="241"/>
                    </a:lnTo>
                    <a:lnTo>
                      <a:pt x="118" y="241"/>
                    </a:lnTo>
                    <a:lnTo>
                      <a:pt x="118" y="243"/>
                    </a:lnTo>
                    <a:lnTo>
                      <a:pt x="119" y="243"/>
                    </a:lnTo>
                    <a:lnTo>
                      <a:pt x="118" y="243"/>
                    </a:lnTo>
                    <a:lnTo>
                      <a:pt x="119" y="245"/>
                    </a:lnTo>
                    <a:lnTo>
                      <a:pt x="119" y="243"/>
                    </a:lnTo>
                    <a:lnTo>
                      <a:pt x="119" y="245"/>
                    </a:lnTo>
                    <a:lnTo>
                      <a:pt x="119" y="246"/>
                    </a:lnTo>
                    <a:lnTo>
                      <a:pt x="119" y="248"/>
                    </a:lnTo>
                    <a:lnTo>
                      <a:pt x="121" y="248"/>
                    </a:lnTo>
                    <a:lnTo>
                      <a:pt x="121" y="250"/>
                    </a:lnTo>
                    <a:lnTo>
                      <a:pt x="123" y="250"/>
                    </a:lnTo>
                    <a:lnTo>
                      <a:pt x="125" y="250"/>
                    </a:lnTo>
                    <a:lnTo>
                      <a:pt x="127" y="250"/>
                    </a:lnTo>
                    <a:lnTo>
                      <a:pt x="129" y="250"/>
                    </a:lnTo>
                    <a:lnTo>
                      <a:pt x="129" y="248"/>
                    </a:lnTo>
                    <a:lnTo>
                      <a:pt x="131" y="248"/>
                    </a:lnTo>
                    <a:lnTo>
                      <a:pt x="133" y="248"/>
                    </a:lnTo>
                    <a:lnTo>
                      <a:pt x="133" y="250"/>
                    </a:lnTo>
                    <a:lnTo>
                      <a:pt x="135" y="250"/>
                    </a:lnTo>
                    <a:lnTo>
                      <a:pt x="135" y="252"/>
                    </a:lnTo>
                    <a:lnTo>
                      <a:pt x="133" y="252"/>
                    </a:lnTo>
                    <a:lnTo>
                      <a:pt x="133" y="254"/>
                    </a:lnTo>
                    <a:lnTo>
                      <a:pt x="135" y="254"/>
                    </a:lnTo>
                    <a:lnTo>
                      <a:pt x="135" y="256"/>
                    </a:lnTo>
                    <a:lnTo>
                      <a:pt x="133" y="256"/>
                    </a:lnTo>
                    <a:lnTo>
                      <a:pt x="133" y="254"/>
                    </a:lnTo>
                    <a:lnTo>
                      <a:pt x="133" y="256"/>
                    </a:lnTo>
                    <a:lnTo>
                      <a:pt x="133" y="258"/>
                    </a:lnTo>
                    <a:lnTo>
                      <a:pt x="133" y="260"/>
                    </a:lnTo>
                    <a:lnTo>
                      <a:pt x="135" y="260"/>
                    </a:lnTo>
                    <a:lnTo>
                      <a:pt x="135" y="262"/>
                    </a:lnTo>
                    <a:lnTo>
                      <a:pt x="135" y="264"/>
                    </a:lnTo>
                    <a:lnTo>
                      <a:pt x="133" y="264"/>
                    </a:lnTo>
                    <a:lnTo>
                      <a:pt x="133" y="262"/>
                    </a:lnTo>
                    <a:lnTo>
                      <a:pt x="131" y="262"/>
                    </a:lnTo>
                    <a:lnTo>
                      <a:pt x="129" y="262"/>
                    </a:lnTo>
                    <a:lnTo>
                      <a:pt x="127" y="262"/>
                    </a:lnTo>
                    <a:lnTo>
                      <a:pt x="127" y="260"/>
                    </a:lnTo>
                    <a:lnTo>
                      <a:pt x="127" y="258"/>
                    </a:lnTo>
                    <a:lnTo>
                      <a:pt x="125" y="258"/>
                    </a:lnTo>
                    <a:lnTo>
                      <a:pt x="123" y="258"/>
                    </a:lnTo>
                    <a:lnTo>
                      <a:pt x="123" y="256"/>
                    </a:lnTo>
                    <a:lnTo>
                      <a:pt x="121" y="258"/>
                    </a:lnTo>
                    <a:lnTo>
                      <a:pt x="119" y="260"/>
                    </a:lnTo>
                    <a:lnTo>
                      <a:pt x="119" y="262"/>
                    </a:lnTo>
                    <a:lnTo>
                      <a:pt x="119" y="264"/>
                    </a:lnTo>
                    <a:lnTo>
                      <a:pt x="121" y="264"/>
                    </a:lnTo>
                    <a:lnTo>
                      <a:pt x="123" y="264"/>
                    </a:lnTo>
                    <a:lnTo>
                      <a:pt x="125" y="264"/>
                    </a:lnTo>
                    <a:lnTo>
                      <a:pt x="125" y="266"/>
                    </a:lnTo>
                    <a:lnTo>
                      <a:pt x="125" y="264"/>
                    </a:lnTo>
                    <a:lnTo>
                      <a:pt x="123" y="264"/>
                    </a:lnTo>
                    <a:lnTo>
                      <a:pt x="123" y="266"/>
                    </a:lnTo>
                    <a:lnTo>
                      <a:pt x="121" y="266"/>
                    </a:lnTo>
                    <a:lnTo>
                      <a:pt x="119" y="266"/>
                    </a:lnTo>
                    <a:lnTo>
                      <a:pt x="116" y="266"/>
                    </a:lnTo>
                    <a:lnTo>
                      <a:pt x="114" y="266"/>
                    </a:lnTo>
                    <a:lnTo>
                      <a:pt x="114" y="264"/>
                    </a:lnTo>
                    <a:lnTo>
                      <a:pt x="112" y="262"/>
                    </a:lnTo>
                    <a:lnTo>
                      <a:pt x="112" y="264"/>
                    </a:lnTo>
                    <a:lnTo>
                      <a:pt x="110" y="264"/>
                    </a:lnTo>
                    <a:lnTo>
                      <a:pt x="110" y="262"/>
                    </a:lnTo>
                    <a:lnTo>
                      <a:pt x="110" y="260"/>
                    </a:lnTo>
                    <a:lnTo>
                      <a:pt x="108" y="260"/>
                    </a:lnTo>
                    <a:lnTo>
                      <a:pt x="108" y="258"/>
                    </a:lnTo>
                    <a:lnTo>
                      <a:pt x="106" y="260"/>
                    </a:lnTo>
                    <a:lnTo>
                      <a:pt x="106" y="258"/>
                    </a:lnTo>
                    <a:lnTo>
                      <a:pt x="104" y="256"/>
                    </a:lnTo>
                    <a:lnTo>
                      <a:pt x="102" y="256"/>
                    </a:lnTo>
                    <a:lnTo>
                      <a:pt x="100" y="256"/>
                    </a:lnTo>
                    <a:lnTo>
                      <a:pt x="100" y="254"/>
                    </a:lnTo>
                    <a:lnTo>
                      <a:pt x="100" y="252"/>
                    </a:lnTo>
                    <a:lnTo>
                      <a:pt x="102" y="252"/>
                    </a:lnTo>
                    <a:lnTo>
                      <a:pt x="104" y="252"/>
                    </a:lnTo>
                    <a:lnTo>
                      <a:pt x="104" y="250"/>
                    </a:lnTo>
                    <a:lnTo>
                      <a:pt x="102" y="248"/>
                    </a:lnTo>
                    <a:lnTo>
                      <a:pt x="102" y="246"/>
                    </a:lnTo>
                    <a:lnTo>
                      <a:pt x="100" y="246"/>
                    </a:lnTo>
                    <a:lnTo>
                      <a:pt x="100" y="245"/>
                    </a:lnTo>
                    <a:lnTo>
                      <a:pt x="98" y="245"/>
                    </a:lnTo>
                    <a:lnTo>
                      <a:pt x="96" y="245"/>
                    </a:lnTo>
                    <a:lnTo>
                      <a:pt x="96" y="246"/>
                    </a:lnTo>
                    <a:lnTo>
                      <a:pt x="95" y="246"/>
                    </a:lnTo>
                    <a:lnTo>
                      <a:pt x="93" y="246"/>
                    </a:lnTo>
                    <a:lnTo>
                      <a:pt x="91" y="246"/>
                    </a:lnTo>
                    <a:lnTo>
                      <a:pt x="89" y="246"/>
                    </a:lnTo>
                    <a:lnTo>
                      <a:pt x="89" y="245"/>
                    </a:lnTo>
                    <a:lnTo>
                      <a:pt x="89" y="243"/>
                    </a:lnTo>
                    <a:lnTo>
                      <a:pt x="91" y="243"/>
                    </a:lnTo>
                    <a:lnTo>
                      <a:pt x="91" y="241"/>
                    </a:lnTo>
                    <a:lnTo>
                      <a:pt x="91" y="239"/>
                    </a:lnTo>
                    <a:lnTo>
                      <a:pt x="91" y="237"/>
                    </a:lnTo>
                    <a:lnTo>
                      <a:pt x="93" y="237"/>
                    </a:lnTo>
                    <a:lnTo>
                      <a:pt x="93" y="235"/>
                    </a:lnTo>
                    <a:lnTo>
                      <a:pt x="93" y="233"/>
                    </a:lnTo>
                    <a:lnTo>
                      <a:pt x="95" y="233"/>
                    </a:lnTo>
                    <a:lnTo>
                      <a:pt x="96" y="233"/>
                    </a:lnTo>
                    <a:lnTo>
                      <a:pt x="96" y="231"/>
                    </a:lnTo>
                    <a:lnTo>
                      <a:pt x="96" y="229"/>
                    </a:lnTo>
                    <a:lnTo>
                      <a:pt x="96" y="227"/>
                    </a:lnTo>
                    <a:lnTo>
                      <a:pt x="95" y="227"/>
                    </a:lnTo>
                    <a:lnTo>
                      <a:pt x="95" y="225"/>
                    </a:lnTo>
                    <a:lnTo>
                      <a:pt x="93" y="225"/>
                    </a:lnTo>
                    <a:lnTo>
                      <a:pt x="93" y="223"/>
                    </a:lnTo>
                    <a:lnTo>
                      <a:pt x="91" y="223"/>
                    </a:lnTo>
                    <a:lnTo>
                      <a:pt x="89" y="220"/>
                    </a:lnTo>
                    <a:lnTo>
                      <a:pt x="91" y="220"/>
                    </a:lnTo>
                    <a:lnTo>
                      <a:pt x="93" y="220"/>
                    </a:lnTo>
                    <a:lnTo>
                      <a:pt x="95" y="220"/>
                    </a:lnTo>
                    <a:lnTo>
                      <a:pt x="95" y="218"/>
                    </a:lnTo>
                    <a:lnTo>
                      <a:pt x="96" y="218"/>
                    </a:lnTo>
                    <a:close/>
                    <a:moveTo>
                      <a:pt x="348" y="29"/>
                    </a:moveTo>
                    <a:lnTo>
                      <a:pt x="348" y="31"/>
                    </a:lnTo>
                    <a:lnTo>
                      <a:pt x="350" y="31"/>
                    </a:lnTo>
                    <a:lnTo>
                      <a:pt x="352" y="31"/>
                    </a:lnTo>
                    <a:lnTo>
                      <a:pt x="354" y="31"/>
                    </a:lnTo>
                    <a:lnTo>
                      <a:pt x="352" y="31"/>
                    </a:lnTo>
                    <a:lnTo>
                      <a:pt x="354" y="31"/>
                    </a:lnTo>
                    <a:lnTo>
                      <a:pt x="356" y="31"/>
                    </a:lnTo>
                    <a:lnTo>
                      <a:pt x="354" y="31"/>
                    </a:lnTo>
                    <a:lnTo>
                      <a:pt x="354" y="33"/>
                    </a:lnTo>
                    <a:lnTo>
                      <a:pt x="356" y="33"/>
                    </a:lnTo>
                    <a:lnTo>
                      <a:pt x="356" y="35"/>
                    </a:lnTo>
                    <a:lnTo>
                      <a:pt x="356" y="33"/>
                    </a:lnTo>
                    <a:lnTo>
                      <a:pt x="358" y="35"/>
                    </a:lnTo>
                    <a:lnTo>
                      <a:pt x="358" y="33"/>
                    </a:lnTo>
                    <a:lnTo>
                      <a:pt x="358" y="31"/>
                    </a:lnTo>
                    <a:lnTo>
                      <a:pt x="358" y="33"/>
                    </a:lnTo>
                    <a:lnTo>
                      <a:pt x="358" y="35"/>
                    </a:lnTo>
                    <a:lnTo>
                      <a:pt x="358" y="37"/>
                    </a:lnTo>
                    <a:lnTo>
                      <a:pt x="360" y="37"/>
                    </a:lnTo>
                    <a:lnTo>
                      <a:pt x="358" y="37"/>
                    </a:lnTo>
                    <a:lnTo>
                      <a:pt x="360" y="37"/>
                    </a:lnTo>
                    <a:lnTo>
                      <a:pt x="360" y="39"/>
                    </a:lnTo>
                    <a:lnTo>
                      <a:pt x="358" y="39"/>
                    </a:lnTo>
                    <a:lnTo>
                      <a:pt x="358" y="41"/>
                    </a:lnTo>
                    <a:lnTo>
                      <a:pt x="358" y="43"/>
                    </a:lnTo>
                    <a:lnTo>
                      <a:pt x="358" y="45"/>
                    </a:lnTo>
                    <a:lnTo>
                      <a:pt x="358" y="43"/>
                    </a:lnTo>
                    <a:lnTo>
                      <a:pt x="356" y="43"/>
                    </a:lnTo>
                    <a:lnTo>
                      <a:pt x="356" y="45"/>
                    </a:lnTo>
                    <a:lnTo>
                      <a:pt x="354" y="45"/>
                    </a:lnTo>
                    <a:lnTo>
                      <a:pt x="352" y="45"/>
                    </a:lnTo>
                    <a:lnTo>
                      <a:pt x="350" y="45"/>
                    </a:lnTo>
                    <a:lnTo>
                      <a:pt x="348" y="47"/>
                    </a:lnTo>
                    <a:lnTo>
                      <a:pt x="348" y="45"/>
                    </a:lnTo>
                    <a:lnTo>
                      <a:pt x="348" y="43"/>
                    </a:lnTo>
                    <a:lnTo>
                      <a:pt x="346" y="43"/>
                    </a:lnTo>
                    <a:lnTo>
                      <a:pt x="348" y="43"/>
                    </a:lnTo>
                    <a:lnTo>
                      <a:pt x="348" y="45"/>
                    </a:lnTo>
                    <a:lnTo>
                      <a:pt x="346" y="45"/>
                    </a:lnTo>
                    <a:lnTo>
                      <a:pt x="348" y="45"/>
                    </a:lnTo>
                    <a:lnTo>
                      <a:pt x="348" y="47"/>
                    </a:lnTo>
                    <a:lnTo>
                      <a:pt x="346" y="47"/>
                    </a:lnTo>
                    <a:lnTo>
                      <a:pt x="348" y="47"/>
                    </a:lnTo>
                    <a:lnTo>
                      <a:pt x="346" y="47"/>
                    </a:lnTo>
                    <a:lnTo>
                      <a:pt x="344" y="47"/>
                    </a:lnTo>
                    <a:lnTo>
                      <a:pt x="342" y="47"/>
                    </a:lnTo>
                    <a:lnTo>
                      <a:pt x="340" y="47"/>
                    </a:lnTo>
                    <a:lnTo>
                      <a:pt x="340" y="45"/>
                    </a:lnTo>
                    <a:lnTo>
                      <a:pt x="342" y="47"/>
                    </a:lnTo>
                    <a:lnTo>
                      <a:pt x="344" y="47"/>
                    </a:lnTo>
                    <a:lnTo>
                      <a:pt x="346" y="47"/>
                    </a:lnTo>
                    <a:lnTo>
                      <a:pt x="348" y="47"/>
                    </a:lnTo>
                    <a:lnTo>
                      <a:pt x="346" y="47"/>
                    </a:lnTo>
                    <a:lnTo>
                      <a:pt x="348" y="47"/>
                    </a:lnTo>
                    <a:lnTo>
                      <a:pt x="348" y="48"/>
                    </a:lnTo>
                    <a:lnTo>
                      <a:pt x="348" y="47"/>
                    </a:lnTo>
                    <a:lnTo>
                      <a:pt x="348" y="48"/>
                    </a:lnTo>
                    <a:lnTo>
                      <a:pt x="348" y="47"/>
                    </a:lnTo>
                    <a:lnTo>
                      <a:pt x="348" y="48"/>
                    </a:lnTo>
                    <a:lnTo>
                      <a:pt x="350" y="48"/>
                    </a:lnTo>
                    <a:lnTo>
                      <a:pt x="350" y="50"/>
                    </a:lnTo>
                    <a:lnTo>
                      <a:pt x="352" y="50"/>
                    </a:lnTo>
                    <a:lnTo>
                      <a:pt x="352" y="52"/>
                    </a:lnTo>
                    <a:lnTo>
                      <a:pt x="354" y="52"/>
                    </a:lnTo>
                    <a:lnTo>
                      <a:pt x="354" y="54"/>
                    </a:lnTo>
                    <a:lnTo>
                      <a:pt x="356" y="54"/>
                    </a:lnTo>
                    <a:lnTo>
                      <a:pt x="356" y="56"/>
                    </a:lnTo>
                    <a:lnTo>
                      <a:pt x="356" y="58"/>
                    </a:lnTo>
                    <a:lnTo>
                      <a:pt x="354" y="58"/>
                    </a:lnTo>
                    <a:lnTo>
                      <a:pt x="354" y="60"/>
                    </a:lnTo>
                    <a:lnTo>
                      <a:pt x="352" y="60"/>
                    </a:lnTo>
                    <a:lnTo>
                      <a:pt x="354" y="60"/>
                    </a:lnTo>
                    <a:lnTo>
                      <a:pt x="354" y="62"/>
                    </a:lnTo>
                    <a:lnTo>
                      <a:pt x="356" y="62"/>
                    </a:lnTo>
                    <a:lnTo>
                      <a:pt x="356" y="64"/>
                    </a:lnTo>
                    <a:lnTo>
                      <a:pt x="358" y="64"/>
                    </a:lnTo>
                    <a:lnTo>
                      <a:pt x="358" y="66"/>
                    </a:lnTo>
                    <a:lnTo>
                      <a:pt x="358" y="68"/>
                    </a:lnTo>
                    <a:lnTo>
                      <a:pt x="356" y="68"/>
                    </a:lnTo>
                    <a:lnTo>
                      <a:pt x="358" y="68"/>
                    </a:lnTo>
                    <a:lnTo>
                      <a:pt x="356" y="70"/>
                    </a:lnTo>
                    <a:lnTo>
                      <a:pt x="358" y="70"/>
                    </a:lnTo>
                    <a:lnTo>
                      <a:pt x="356" y="70"/>
                    </a:lnTo>
                    <a:lnTo>
                      <a:pt x="356" y="72"/>
                    </a:lnTo>
                    <a:lnTo>
                      <a:pt x="354" y="72"/>
                    </a:lnTo>
                    <a:lnTo>
                      <a:pt x="352" y="72"/>
                    </a:lnTo>
                    <a:lnTo>
                      <a:pt x="350" y="72"/>
                    </a:lnTo>
                    <a:lnTo>
                      <a:pt x="350" y="73"/>
                    </a:lnTo>
                    <a:lnTo>
                      <a:pt x="350" y="72"/>
                    </a:lnTo>
                    <a:lnTo>
                      <a:pt x="348" y="72"/>
                    </a:lnTo>
                    <a:lnTo>
                      <a:pt x="346" y="72"/>
                    </a:lnTo>
                    <a:lnTo>
                      <a:pt x="346" y="73"/>
                    </a:lnTo>
                    <a:lnTo>
                      <a:pt x="346" y="72"/>
                    </a:lnTo>
                    <a:lnTo>
                      <a:pt x="346" y="73"/>
                    </a:lnTo>
                    <a:lnTo>
                      <a:pt x="344" y="73"/>
                    </a:lnTo>
                    <a:lnTo>
                      <a:pt x="346" y="73"/>
                    </a:lnTo>
                    <a:lnTo>
                      <a:pt x="346" y="72"/>
                    </a:lnTo>
                    <a:lnTo>
                      <a:pt x="348" y="72"/>
                    </a:lnTo>
                    <a:lnTo>
                      <a:pt x="346" y="73"/>
                    </a:lnTo>
                    <a:lnTo>
                      <a:pt x="348" y="73"/>
                    </a:lnTo>
                    <a:lnTo>
                      <a:pt x="348" y="72"/>
                    </a:lnTo>
                    <a:lnTo>
                      <a:pt x="348" y="73"/>
                    </a:lnTo>
                    <a:lnTo>
                      <a:pt x="346" y="75"/>
                    </a:lnTo>
                    <a:lnTo>
                      <a:pt x="346" y="77"/>
                    </a:lnTo>
                    <a:lnTo>
                      <a:pt x="348" y="77"/>
                    </a:lnTo>
                    <a:lnTo>
                      <a:pt x="346" y="77"/>
                    </a:lnTo>
                    <a:lnTo>
                      <a:pt x="346" y="75"/>
                    </a:lnTo>
                    <a:lnTo>
                      <a:pt x="346" y="77"/>
                    </a:lnTo>
                    <a:lnTo>
                      <a:pt x="346" y="79"/>
                    </a:lnTo>
                    <a:lnTo>
                      <a:pt x="346" y="77"/>
                    </a:lnTo>
                    <a:lnTo>
                      <a:pt x="344" y="79"/>
                    </a:lnTo>
                    <a:lnTo>
                      <a:pt x="344" y="77"/>
                    </a:lnTo>
                    <a:lnTo>
                      <a:pt x="344" y="79"/>
                    </a:lnTo>
                    <a:lnTo>
                      <a:pt x="346" y="77"/>
                    </a:lnTo>
                    <a:lnTo>
                      <a:pt x="346" y="79"/>
                    </a:lnTo>
                    <a:lnTo>
                      <a:pt x="348" y="79"/>
                    </a:lnTo>
                    <a:lnTo>
                      <a:pt x="348" y="77"/>
                    </a:lnTo>
                    <a:lnTo>
                      <a:pt x="348" y="79"/>
                    </a:lnTo>
                    <a:lnTo>
                      <a:pt x="348" y="77"/>
                    </a:lnTo>
                    <a:lnTo>
                      <a:pt x="350" y="77"/>
                    </a:lnTo>
                    <a:lnTo>
                      <a:pt x="352" y="77"/>
                    </a:lnTo>
                    <a:lnTo>
                      <a:pt x="354" y="77"/>
                    </a:lnTo>
                    <a:lnTo>
                      <a:pt x="352" y="77"/>
                    </a:lnTo>
                    <a:lnTo>
                      <a:pt x="354" y="77"/>
                    </a:lnTo>
                    <a:lnTo>
                      <a:pt x="356" y="77"/>
                    </a:lnTo>
                    <a:lnTo>
                      <a:pt x="356" y="79"/>
                    </a:lnTo>
                    <a:lnTo>
                      <a:pt x="356" y="77"/>
                    </a:lnTo>
                    <a:lnTo>
                      <a:pt x="358" y="77"/>
                    </a:lnTo>
                    <a:lnTo>
                      <a:pt x="358" y="79"/>
                    </a:lnTo>
                    <a:lnTo>
                      <a:pt x="358" y="81"/>
                    </a:lnTo>
                    <a:lnTo>
                      <a:pt x="356" y="81"/>
                    </a:lnTo>
                    <a:lnTo>
                      <a:pt x="356" y="83"/>
                    </a:lnTo>
                    <a:lnTo>
                      <a:pt x="356" y="85"/>
                    </a:lnTo>
                    <a:lnTo>
                      <a:pt x="356" y="87"/>
                    </a:lnTo>
                    <a:lnTo>
                      <a:pt x="356" y="89"/>
                    </a:lnTo>
                    <a:lnTo>
                      <a:pt x="356" y="91"/>
                    </a:lnTo>
                    <a:lnTo>
                      <a:pt x="358" y="91"/>
                    </a:lnTo>
                    <a:lnTo>
                      <a:pt x="356" y="91"/>
                    </a:lnTo>
                    <a:lnTo>
                      <a:pt x="356" y="93"/>
                    </a:lnTo>
                    <a:lnTo>
                      <a:pt x="354" y="93"/>
                    </a:lnTo>
                    <a:lnTo>
                      <a:pt x="352" y="93"/>
                    </a:lnTo>
                    <a:lnTo>
                      <a:pt x="352" y="95"/>
                    </a:lnTo>
                    <a:lnTo>
                      <a:pt x="350" y="93"/>
                    </a:lnTo>
                    <a:lnTo>
                      <a:pt x="350" y="95"/>
                    </a:lnTo>
                    <a:lnTo>
                      <a:pt x="350" y="93"/>
                    </a:lnTo>
                    <a:lnTo>
                      <a:pt x="348" y="95"/>
                    </a:lnTo>
                    <a:lnTo>
                      <a:pt x="350" y="95"/>
                    </a:lnTo>
                    <a:lnTo>
                      <a:pt x="348" y="95"/>
                    </a:lnTo>
                    <a:lnTo>
                      <a:pt x="348" y="96"/>
                    </a:lnTo>
                    <a:lnTo>
                      <a:pt x="350" y="96"/>
                    </a:lnTo>
                    <a:lnTo>
                      <a:pt x="352" y="96"/>
                    </a:lnTo>
                    <a:lnTo>
                      <a:pt x="354" y="96"/>
                    </a:lnTo>
                    <a:lnTo>
                      <a:pt x="354" y="98"/>
                    </a:lnTo>
                    <a:lnTo>
                      <a:pt x="354" y="100"/>
                    </a:lnTo>
                    <a:lnTo>
                      <a:pt x="352" y="100"/>
                    </a:lnTo>
                    <a:lnTo>
                      <a:pt x="350" y="100"/>
                    </a:lnTo>
                    <a:lnTo>
                      <a:pt x="352" y="100"/>
                    </a:lnTo>
                    <a:lnTo>
                      <a:pt x="352" y="102"/>
                    </a:lnTo>
                    <a:lnTo>
                      <a:pt x="354" y="100"/>
                    </a:lnTo>
                    <a:lnTo>
                      <a:pt x="354" y="98"/>
                    </a:lnTo>
                    <a:lnTo>
                      <a:pt x="356" y="98"/>
                    </a:lnTo>
                    <a:lnTo>
                      <a:pt x="356" y="100"/>
                    </a:lnTo>
                    <a:lnTo>
                      <a:pt x="358" y="100"/>
                    </a:lnTo>
                    <a:lnTo>
                      <a:pt x="358" y="102"/>
                    </a:lnTo>
                    <a:lnTo>
                      <a:pt x="358" y="100"/>
                    </a:lnTo>
                    <a:lnTo>
                      <a:pt x="358" y="98"/>
                    </a:lnTo>
                    <a:lnTo>
                      <a:pt x="358" y="100"/>
                    </a:lnTo>
                    <a:lnTo>
                      <a:pt x="358" y="98"/>
                    </a:lnTo>
                    <a:lnTo>
                      <a:pt x="358" y="100"/>
                    </a:lnTo>
                    <a:lnTo>
                      <a:pt x="360" y="100"/>
                    </a:lnTo>
                    <a:lnTo>
                      <a:pt x="360" y="102"/>
                    </a:lnTo>
                    <a:lnTo>
                      <a:pt x="360" y="104"/>
                    </a:lnTo>
                    <a:lnTo>
                      <a:pt x="358" y="104"/>
                    </a:lnTo>
                    <a:lnTo>
                      <a:pt x="358" y="106"/>
                    </a:lnTo>
                    <a:lnTo>
                      <a:pt x="356" y="106"/>
                    </a:lnTo>
                    <a:lnTo>
                      <a:pt x="354" y="106"/>
                    </a:lnTo>
                    <a:lnTo>
                      <a:pt x="352" y="106"/>
                    </a:lnTo>
                    <a:lnTo>
                      <a:pt x="350" y="106"/>
                    </a:lnTo>
                    <a:lnTo>
                      <a:pt x="348" y="106"/>
                    </a:lnTo>
                    <a:lnTo>
                      <a:pt x="348" y="108"/>
                    </a:lnTo>
                    <a:lnTo>
                      <a:pt x="350" y="108"/>
                    </a:lnTo>
                    <a:lnTo>
                      <a:pt x="348" y="108"/>
                    </a:lnTo>
                    <a:lnTo>
                      <a:pt x="350" y="108"/>
                    </a:lnTo>
                    <a:lnTo>
                      <a:pt x="352" y="108"/>
                    </a:lnTo>
                    <a:lnTo>
                      <a:pt x="352" y="110"/>
                    </a:lnTo>
                    <a:lnTo>
                      <a:pt x="352" y="108"/>
                    </a:lnTo>
                    <a:lnTo>
                      <a:pt x="354" y="108"/>
                    </a:lnTo>
                    <a:lnTo>
                      <a:pt x="356" y="108"/>
                    </a:lnTo>
                    <a:lnTo>
                      <a:pt x="356" y="110"/>
                    </a:lnTo>
                    <a:lnTo>
                      <a:pt x="358" y="110"/>
                    </a:lnTo>
                    <a:lnTo>
                      <a:pt x="358" y="112"/>
                    </a:lnTo>
                    <a:lnTo>
                      <a:pt x="358" y="114"/>
                    </a:lnTo>
                    <a:lnTo>
                      <a:pt x="358" y="116"/>
                    </a:lnTo>
                    <a:lnTo>
                      <a:pt x="360" y="116"/>
                    </a:lnTo>
                    <a:lnTo>
                      <a:pt x="360" y="118"/>
                    </a:lnTo>
                    <a:lnTo>
                      <a:pt x="360" y="116"/>
                    </a:lnTo>
                    <a:lnTo>
                      <a:pt x="360" y="118"/>
                    </a:lnTo>
                    <a:lnTo>
                      <a:pt x="360" y="120"/>
                    </a:lnTo>
                    <a:lnTo>
                      <a:pt x="360" y="118"/>
                    </a:lnTo>
                    <a:lnTo>
                      <a:pt x="358" y="118"/>
                    </a:lnTo>
                    <a:lnTo>
                      <a:pt x="356" y="118"/>
                    </a:lnTo>
                    <a:lnTo>
                      <a:pt x="356" y="120"/>
                    </a:lnTo>
                    <a:lnTo>
                      <a:pt x="358" y="120"/>
                    </a:lnTo>
                    <a:lnTo>
                      <a:pt x="358" y="121"/>
                    </a:lnTo>
                    <a:lnTo>
                      <a:pt x="358" y="123"/>
                    </a:lnTo>
                    <a:lnTo>
                      <a:pt x="356" y="123"/>
                    </a:lnTo>
                    <a:lnTo>
                      <a:pt x="354" y="123"/>
                    </a:lnTo>
                    <a:lnTo>
                      <a:pt x="354" y="125"/>
                    </a:lnTo>
                    <a:lnTo>
                      <a:pt x="352" y="125"/>
                    </a:lnTo>
                    <a:lnTo>
                      <a:pt x="354" y="125"/>
                    </a:lnTo>
                    <a:lnTo>
                      <a:pt x="354" y="123"/>
                    </a:lnTo>
                    <a:lnTo>
                      <a:pt x="354" y="125"/>
                    </a:lnTo>
                    <a:lnTo>
                      <a:pt x="352" y="125"/>
                    </a:lnTo>
                    <a:lnTo>
                      <a:pt x="352" y="123"/>
                    </a:lnTo>
                    <a:lnTo>
                      <a:pt x="354" y="123"/>
                    </a:lnTo>
                    <a:lnTo>
                      <a:pt x="354" y="121"/>
                    </a:lnTo>
                    <a:lnTo>
                      <a:pt x="352" y="121"/>
                    </a:lnTo>
                    <a:lnTo>
                      <a:pt x="352" y="123"/>
                    </a:lnTo>
                    <a:lnTo>
                      <a:pt x="350" y="123"/>
                    </a:lnTo>
                    <a:lnTo>
                      <a:pt x="350" y="121"/>
                    </a:lnTo>
                    <a:lnTo>
                      <a:pt x="348" y="121"/>
                    </a:lnTo>
                    <a:lnTo>
                      <a:pt x="348" y="120"/>
                    </a:lnTo>
                    <a:lnTo>
                      <a:pt x="348" y="121"/>
                    </a:lnTo>
                    <a:lnTo>
                      <a:pt x="348" y="123"/>
                    </a:lnTo>
                    <a:lnTo>
                      <a:pt x="350" y="123"/>
                    </a:lnTo>
                    <a:lnTo>
                      <a:pt x="352" y="123"/>
                    </a:lnTo>
                    <a:lnTo>
                      <a:pt x="352" y="125"/>
                    </a:lnTo>
                    <a:lnTo>
                      <a:pt x="352" y="123"/>
                    </a:lnTo>
                    <a:lnTo>
                      <a:pt x="354" y="123"/>
                    </a:lnTo>
                    <a:lnTo>
                      <a:pt x="352" y="125"/>
                    </a:lnTo>
                    <a:lnTo>
                      <a:pt x="354" y="125"/>
                    </a:lnTo>
                    <a:lnTo>
                      <a:pt x="354" y="123"/>
                    </a:lnTo>
                    <a:lnTo>
                      <a:pt x="354" y="125"/>
                    </a:lnTo>
                    <a:lnTo>
                      <a:pt x="352" y="125"/>
                    </a:lnTo>
                    <a:lnTo>
                      <a:pt x="354" y="125"/>
                    </a:lnTo>
                    <a:lnTo>
                      <a:pt x="354" y="127"/>
                    </a:lnTo>
                    <a:lnTo>
                      <a:pt x="354" y="129"/>
                    </a:lnTo>
                    <a:lnTo>
                      <a:pt x="354" y="131"/>
                    </a:lnTo>
                    <a:lnTo>
                      <a:pt x="356" y="131"/>
                    </a:lnTo>
                    <a:lnTo>
                      <a:pt x="356" y="133"/>
                    </a:lnTo>
                    <a:lnTo>
                      <a:pt x="356" y="135"/>
                    </a:lnTo>
                    <a:lnTo>
                      <a:pt x="354" y="135"/>
                    </a:lnTo>
                    <a:lnTo>
                      <a:pt x="354" y="137"/>
                    </a:lnTo>
                    <a:lnTo>
                      <a:pt x="354" y="139"/>
                    </a:lnTo>
                    <a:lnTo>
                      <a:pt x="354" y="141"/>
                    </a:lnTo>
                    <a:lnTo>
                      <a:pt x="356" y="141"/>
                    </a:lnTo>
                    <a:lnTo>
                      <a:pt x="356" y="143"/>
                    </a:lnTo>
                    <a:lnTo>
                      <a:pt x="356" y="145"/>
                    </a:lnTo>
                    <a:lnTo>
                      <a:pt x="356" y="146"/>
                    </a:lnTo>
                    <a:lnTo>
                      <a:pt x="356" y="148"/>
                    </a:lnTo>
                    <a:lnTo>
                      <a:pt x="356" y="150"/>
                    </a:lnTo>
                    <a:lnTo>
                      <a:pt x="354" y="150"/>
                    </a:lnTo>
                    <a:lnTo>
                      <a:pt x="354" y="152"/>
                    </a:lnTo>
                    <a:lnTo>
                      <a:pt x="352" y="154"/>
                    </a:lnTo>
                    <a:lnTo>
                      <a:pt x="354" y="156"/>
                    </a:lnTo>
                    <a:lnTo>
                      <a:pt x="352" y="156"/>
                    </a:lnTo>
                    <a:lnTo>
                      <a:pt x="352" y="158"/>
                    </a:lnTo>
                    <a:lnTo>
                      <a:pt x="352" y="160"/>
                    </a:lnTo>
                    <a:lnTo>
                      <a:pt x="352" y="162"/>
                    </a:lnTo>
                    <a:lnTo>
                      <a:pt x="352" y="164"/>
                    </a:lnTo>
                    <a:lnTo>
                      <a:pt x="352" y="166"/>
                    </a:lnTo>
                    <a:lnTo>
                      <a:pt x="352" y="168"/>
                    </a:lnTo>
                    <a:lnTo>
                      <a:pt x="350" y="168"/>
                    </a:lnTo>
                    <a:lnTo>
                      <a:pt x="350" y="170"/>
                    </a:lnTo>
                    <a:lnTo>
                      <a:pt x="352" y="170"/>
                    </a:lnTo>
                    <a:lnTo>
                      <a:pt x="352" y="171"/>
                    </a:lnTo>
                    <a:lnTo>
                      <a:pt x="354" y="171"/>
                    </a:lnTo>
                    <a:lnTo>
                      <a:pt x="354" y="170"/>
                    </a:lnTo>
                    <a:lnTo>
                      <a:pt x="354" y="171"/>
                    </a:lnTo>
                    <a:lnTo>
                      <a:pt x="356" y="171"/>
                    </a:lnTo>
                    <a:lnTo>
                      <a:pt x="356" y="173"/>
                    </a:lnTo>
                    <a:lnTo>
                      <a:pt x="356" y="175"/>
                    </a:lnTo>
                    <a:lnTo>
                      <a:pt x="354" y="175"/>
                    </a:lnTo>
                    <a:lnTo>
                      <a:pt x="354" y="177"/>
                    </a:lnTo>
                    <a:lnTo>
                      <a:pt x="354" y="179"/>
                    </a:lnTo>
                    <a:lnTo>
                      <a:pt x="356" y="181"/>
                    </a:lnTo>
                    <a:lnTo>
                      <a:pt x="358" y="183"/>
                    </a:lnTo>
                    <a:lnTo>
                      <a:pt x="356" y="181"/>
                    </a:lnTo>
                    <a:lnTo>
                      <a:pt x="356" y="179"/>
                    </a:lnTo>
                    <a:lnTo>
                      <a:pt x="354" y="179"/>
                    </a:lnTo>
                    <a:lnTo>
                      <a:pt x="354" y="177"/>
                    </a:lnTo>
                    <a:lnTo>
                      <a:pt x="352" y="177"/>
                    </a:lnTo>
                    <a:lnTo>
                      <a:pt x="350" y="177"/>
                    </a:lnTo>
                    <a:lnTo>
                      <a:pt x="350" y="179"/>
                    </a:lnTo>
                    <a:lnTo>
                      <a:pt x="352" y="179"/>
                    </a:lnTo>
                    <a:lnTo>
                      <a:pt x="354" y="179"/>
                    </a:lnTo>
                    <a:lnTo>
                      <a:pt x="352" y="179"/>
                    </a:lnTo>
                    <a:lnTo>
                      <a:pt x="354" y="179"/>
                    </a:lnTo>
                    <a:lnTo>
                      <a:pt x="356" y="179"/>
                    </a:lnTo>
                    <a:lnTo>
                      <a:pt x="356" y="181"/>
                    </a:lnTo>
                    <a:lnTo>
                      <a:pt x="354" y="183"/>
                    </a:lnTo>
                    <a:lnTo>
                      <a:pt x="356" y="183"/>
                    </a:lnTo>
                    <a:lnTo>
                      <a:pt x="358" y="183"/>
                    </a:lnTo>
                    <a:lnTo>
                      <a:pt x="358" y="185"/>
                    </a:lnTo>
                    <a:lnTo>
                      <a:pt x="360" y="185"/>
                    </a:lnTo>
                    <a:lnTo>
                      <a:pt x="360" y="187"/>
                    </a:lnTo>
                    <a:lnTo>
                      <a:pt x="362" y="189"/>
                    </a:lnTo>
                    <a:lnTo>
                      <a:pt x="363" y="189"/>
                    </a:lnTo>
                    <a:lnTo>
                      <a:pt x="363" y="191"/>
                    </a:lnTo>
                    <a:lnTo>
                      <a:pt x="363" y="193"/>
                    </a:lnTo>
                    <a:lnTo>
                      <a:pt x="365" y="193"/>
                    </a:lnTo>
                    <a:lnTo>
                      <a:pt x="365" y="195"/>
                    </a:lnTo>
                    <a:lnTo>
                      <a:pt x="365" y="196"/>
                    </a:lnTo>
                    <a:lnTo>
                      <a:pt x="365" y="198"/>
                    </a:lnTo>
                    <a:lnTo>
                      <a:pt x="363" y="198"/>
                    </a:lnTo>
                    <a:lnTo>
                      <a:pt x="362" y="198"/>
                    </a:lnTo>
                    <a:lnTo>
                      <a:pt x="360" y="200"/>
                    </a:lnTo>
                    <a:lnTo>
                      <a:pt x="358" y="200"/>
                    </a:lnTo>
                    <a:lnTo>
                      <a:pt x="358" y="198"/>
                    </a:lnTo>
                    <a:lnTo>
                      <a:pt x="358" y="196"/>
                    </a:lnTo>
                    <a:lnTo>
                      <a:pt x="356" y="196"/>
                    </a:lnTo>
                    <a:lnTo>
                      <a:pt x="354" y="196"/>
                    </a:lnTo>
                    <a:lnTo>
                      <a:pt x="354" y="198"/>
                    </a:lnTo>
                    <a:lnTo>
                      <a:pt x="352" y="198"/>
                    </a:lnTo>
                    <a:lnTo>
                      <a:pt x="350" y="198"/>
                    </a:lnTo>
                    <a:lnTo>
                      <a:pt x="348" y="196"/>
                    </a:lnTo>
                    <a:lnTo>
                      <a:pt x="346" y="196"/>
                    </a:lnTo>
                    <a:lnTo>
                      <a:pt x="344" y="196"/>
                    </a:lnTo>
                    <a:lnTo>
                      <a:pt x="344" y="195"/>
                    </a:lnTo>
                    <a:lnTo>
                      <a:pt x="342" y="195"/>
                    </a:lnTo>
                    <a:lnTo>
                      <a:pt x="342" y="193"/>
                    </a:lnTo>
                    <a:lnTo>
                      <a:pt x="342" y="195"/>
                    </a:lnTo>
                    <a:lnTo>
                      <a:pt x="342" y="193"/>
                    </a:lnTo>
                    <a:lnTo>
                      <a:pt x="344" y="193"/>
                    </a:lnTo>
                    <a:lnTo>
                      <a:pt x="342" y="193"/>
                    </a:lnTo>
                    <a:lnTo>
                      <a:pt x="344" y="191"/>
                    </a:lnTo>
                    <a:lnTo>
                      <a:pt x="344" y="189"/>
                    </a:lnTo>
                    <a:lnTo>
                      <a:pt x="346" y="189"/>
                    </a:lnTo>
                    <a:lnTo>
                      <a:pt x="344" y="189"/>
                    </a:lnTo>
                    <a:lnTo>
                      <a:pt x="344" y="191"/>
                    </a:lnTo>
                    <a:lnTo>
                      <a:pt x="342" y="191"/>
                    </a:lnTo>
                    <a:lnTo>
                      <a:pt x="340" y="191"/>
                    </a:lnTo>
                    <a:lnTo>
                      <a:pt x="340" y="193"/>
                    </a:lnTo>
                    <a:lnTo>
                      <a:pt x="342" y="193"/>
                    </a:lnTo>
                    <a:lnTo>
                      <a:pt x="340" y="193"/>
                    </a:lnTo>
                    <a:lnTo>
                      <a:pt x="338" y="193"/>
                    </a:lnTo>
                    <a:lnTo>
                      <a:pt x="337" y="193"/>
                    </a:lnTo>
                    <a:lnTo>
                      <a:pt x="337" y="191"/>
                    </a:lnTo>
                    <a:lnTo>
                      <a:pt x="335" y="191"/>
                    </a:lnTo>
                    <a:lnTo>
                      <a:pt x="333" y="191"/>
                    </a:lnTo>
                    <a:lnTo>
                      <a:pt x="333" y="189"/>
                    </a:lnTo>
                    <a:lnTo>
                      <a:pt x="331" y="187"/>
                    </a:lnTo>
                    <a:lnTo>
                      <a:pt x="329" y="187"/>
                    </a:lnTo>
                    <a:lnTo>
                      <a:pt x="327" y="189"/>
                    </a:lnTo>
                    <a:lnTo>
                      <a:pt x="325" y="189"/>
                    </a:lnTo>
                    <a:lnTo>
                      <a:pt x="327" y="187"/>
                    </a:lnTo>
                    <a:lnTo>
                      <a:pt x="329" y="187"/>
                    </a:lnTo>
                    <a:lnTo>
                      <a:pt x="329" y="185"/>
                    </a:lnTo>
                    <a:lnTo>
                      <a:pt x="329" y="187"/>
                    </a:lnTo>
                    <a:lnTo>
                      <a:pt x="327" y="187"/>
                    </a:lnTo>
                    <a:lnTo>
                      <a:pt x="329" y="185"/>
                    </a:lnTo>
                    <a:lnTo>
                      <a:pt x="329" y="183"/>
                    </a:lnTo>
                    <a:lnTo>
                      <a:pt x="331" y="183"/>
                    </a:lnTo>
                    <a:lnTo>
                      <a:pt x="331" y="181"/>
                    </a:lnTo>
                    <a:lnTo>
                      <a:pt x="329" y="181"/>
                    </a:lnTo>
                    <a:lnTo>
                      <a:pt x="327" y="181"/>
                    </a:lnTo>
                    <a:lnTo>
                      <a:pt x="327" y="179"/>
                    </a:lnTo>
                    <a:lnTo>
                      <a:pt x="329" y="179"/>
                    </a:lnTo>
                    <a:lnTo>
                      <a:pt x="327" y="179"/>
                    </a:lnTo>
                    <a:lnTo>
                      <a:pt x="325" y="179"/>
                    </a:lnTo>
                    <a:lnTo>
                      <a:pt x="325" y="177"/>
                    </a:lnTo>
                    <a:lnTo>
                      <a:pt x="325" y="175"/>
                    </a:lnTo>
                    <a:lnTo>
                      <a:pt x="325" y="177"/>
                    </a:lnTo>
                    <a:lnTo>
                      <a:pt x="325" y="175"/>
                    </a:lnTo>
                    <a:lnTo>
                      <a:pt x="325" y="177"/>
                    </a:lnTo>
                    <a:lnTo>
                      <a:pt x="325" y="179"/>
                    </a:lnTo>
                    <a:lnTo>
                      <a:pt x="327" y="179"/>
                    </a:lnTo>
                    <a:lnTo>
                      <a:pt x="329" y="179"/>
                    </a:lnTo>
                    <a:lnTo>
                      <a:pt x="327" y="179"/>
                    </a:lnTo>
                    <a:lnTo>
                      <a:pt x="327" y="181"/>
                    </a:lnTo>
                    <a:lnTo>
                      <a:pt x="329" y="181"/>
                    </a:lnTo>
                    <a:lnTo>
                      <a:pt x="331" y="183"/>
                    </a:lnTo>
                    <a:lnTo>
                      <a:pt x="329" y="183"/>
                    </a:lnTo>
                    <a:lnTo>
                      <a:pt x="329" y="185"/>
                    </a:lnTo>
                    <a:lnTo>
                      <a:pt x="329" y="183"/>
                    </a:lnTo>
                    <a:lnTo>
                      <a:pt x="329" y="185"/>
                    </a:lnTo>
                    <a:lnTo>
                      <a:pt x="327" y="185"/>
                    </a:lnTo>
                    <a:lnTo>
                      <a:pt x="327" y="187"/>
                    </a:lnTo>
                    <a:lnTo>
                      <a:pt x="325" y="187"/>
                    </a:lnTo>
                    <a:lnTo>
                      <a:pt x="325" y="189"/>
                    </a:lnTo>
                    <a:lnTo>
                      <a:pt x="323" y="189"/>
                    </a:lnTo>
                    <a:lnTo>
                      <a:pt x="321" y="189"/>
                    </a:lnTo>
                    <a:lnTo>
                      <a:pt x="319" y="189"/>
                    </a:lnTo>
                    <a:lnTo>
                      <a:pt x="317" y="189"/>
                    </a:lnTo>
                    <a:lnTo>
                      <a:pt x="315" y="191"/>
                    </a:lnTo>
                    <a:lnTo>
                      <a:pt x="314" y="191"/>
                    </a:lnTo>
                    <a:lnTo>
                      <a:pt x="315" y="191"/>
                    </a:lnTo>
                    <a:lnTo>
                      <a:pt x="315" y="189"/>
                    </a:lnTo>
                    <a:lnTo>
                      <a:pt x="315" y="191"/>
                    </a:lnTo>
                    <a:lnTo>
                      <a:pt x="315" y="189"/>
                    </a:lnTo>
                    <a:lnTo>
                      <a:pt x="317" y="189"/>
                    </a:lnTo>
                    <a:lnTo>
                      <a:pt x="317" y="187"/>
                    </a:lnTo>
                    <a:lnTo>
                      <a:pt x="315" y="187"/>
                    </a:lnTo>
                    <a:lnTo>
                      <a:pt x="317" y="187"/>
                    </a:lnTo>
                    <a:lnTo>
                      <a:pt x="315" y="187"/>
                    </a:lnTo>
                    <a:lnTo>
                      <a:pt x="314" y="187"/>
                    </a:lnTo>
                    <a:lnTo>
                      <a:pt x="314" y="185"/>
                    </a:lnTo>
                    <a:lnTo>
                      <a:pt x="314" y="187"/>
                    </a:lnTo>
                    <a:lnTo>
                      <a:pt x="312" y="187"/>
                    </a:lnTo>
                    <a:lnTo>
                      <a:pt x="310" y="187"/>
                    </a:lnTo>
                    <a:lnTo>
                      <a:pt x="308" y="187"/>
                    </a:lnTo>
                    <a:lnTo>
                      <a:pt x="308" y="185"/>
                    </a:lnTo>
                    <a:lnTo>
                      <a:pt x="308" y="187"/>
                    </a:lnTo>
                    <a:lnTo>
                      <a:pt x="310" y="187"/>
                    </a:lnTo>
                    <a:lnTo>
                      <a:pt x="312" y="189"/>
                    </a:lnTo>
                    <a:lnTo>
                      <a:pt x="312" y="191"/>
                    </a:lnTo>
                    <a:lnTo>
                      <a:pt x="314" y="191"/>
                    </a:lnTo>
                    <a:lnTo>
                      <a:pt x="312" y="191"/>
                    </a:lnTo>
                    <a:lnTo>
                      <a:pt x="310" y="191"/>
                    </a:lnTo>
                    <a:lnTo>
                      <a:pt x="310" y="193"/>
                    </a:lnTo>
                    <a:lnTo>
                      <a:pt x="308" y="193"/>
                    </a:lnTo>
                    <a:lnTo>
                      <a:pt x="310" y="193"/>
                    </a:lnTo>
                    <a:lnTo>
                      <a:pt x="308" y="193"/>
                    </a:lnTo>
                    <a:lnTo>
                      <a:pt x="310" y="193"/>
                    </a:lnTo>
                    <a:lnTo>
                      <a:pt x="310" y="191"/>
                    </a:lnTo>
                    <a:lnTo>
                      <a:pt x="312" y="191"/>
                    </a:lnTo>
                    <a:lnTo>
                      <a:pt x="312" y="193"/>
                    </a:lnTo>
                    <a:lnTo>
                      <a:pt x="310" y="191"/>
                    </a:lnTo>
                    <a:lnTo>
                      <a:pt x="310" y="193"/>
                    </a:lnTo>
                    <a:lnTo>
                      <a:pt x="308" y="193"/>
                    </a:lnTo>
                    <a:lnTo>
                      <a:pt x="306" y="193"/>
                    </a:lnTo>
                    <a:lnTo>
                      <a:pt x="308" y="193"/>
                    </a:lnTo>
                    <a:lnTo>
                      <a:pt x="308" y="195"/>
                    </a:lnTo>
                    <a:lnTo>
                      <a:pt x="306" y="195"/>
                    </a:lnTo>
                    <a:lnTo>
                      <a:pt x="304" y="195"/>
                    </a:lnTo>
                    <a:lnTo>
                      <a:pt x="304" y="196"/>
                    </a:lnTo>
                    <a:lnTo>
                      <a:pt x="304" y="198"/>
                    </a:lnTo>
                    <a:lnTo>
                      <a:pt x="304" y="196"/>
                    </a:lnTo>
                    <a:lnTo>
                      <a:pt x="306" y="196"/>
                    </a:lnTo>
                    <a:lnTo>
                      <a:pt x="306" y="195"/>
                    </a:lnTo>
                    <a:lnTo>
                      <a:pt x="308" y="195"/>
                    </a:lnTo>
                    <a:lnTo>
                      <a:pt x="308" y="193"/>
                    </a:lnTo>
                    <a:lnTo>
                      <a:pt x="310" y="193"/>
                    </a:lnTo>
                    <a:lnTo>
                      <a:pt x="312" y="193"/>
                    </a:lnTo>
                    <a:lnTo>
                      <a:pt x="312" y="191"/>
                    </a:lnTo>
                    <a:lnTo>
                      <a:pt x="314" y="191"/>
                    </a:lnTo>
                    <a:lnTo>
                      <a:pt x="310" y="193"/>
                    </a:lnTo>
                    <a:lnTo>
                      <a:pt x="308" y="195"/>
                    </a:lnTo>
                    <a:lnTo>
                      <a:pt x="306" y="196"/>
                    </a:lnTo>
                    <a:lnTo>
                      <a:pt x="302" y="200"/>
                    </a:lnTo>
                    <a:lnTo>
                      <a:pt x="302" y="202"/>
                    </a:lnTo>
                    <a:lnTo>
                      <a:pt x="300" y="202"/>
                    </a:lnTo>
                    <a:lnTo>
                      <a:pt x="298" y="202"/>
                    </a:lnTo>
                    <a:lnTo>
                      <a:pt x="296" y="202"/>
                    </a:lnTo>
                    <a:lnTo>
                      <a:pt x="294" y="204"/>
                    </a:lnTo>
                    <a:lnTo>
                      <a:pt x="292" y="206"/>
                    </a:lnTo>
                    <a:lnTo>
                      <a:pt x="290" y="208"/>
                    </a:lnTo>
                    <a:lnTo>
                      <a:pt x="290" y="210"/>
                    </a:lnTo>
                    <a:lnTo>
                      <a:pt x="289" y="210"/>
                    </a:lnTo>
                    <a:lnTo>
                      <a:pt x="289" y="212"/>
                    </a:lnTo>
                    <a:lnTo>
                      <a:pt x="289" y="214"/>
                    </a:lnTo>
                    <a:lnTo>
                      <a:pt x="287" y="214"/>
                    </a:lnTo>
                    <a:lnTo>
                      <a:pt x="287" y="216"/>
                    </a:lnTo>
                    <a:lnTo>
                      <a:pt x="287" y="218"/>
                    </a:lnTo>
                    <a:lnTo>
                      <a:pt x="287" y="220"/>
                    </a:lnTo>
                    <a:lnTo>
                      <a:pt x="285" y="221"/>
                    </a:lnTo>
                    <a:lnTo>
                      <a:pt x="283" y="220"/>
                    </a:lnTo>
                    <a:lnTo>
                      <a:pt x="281" y="220"/>
                    </a:lnTo>
                    <a:lnTo>
                      <a:pt x="283" y="220"/>
                    </a:lnTo>
                    <a:lnTo>
                      <a:pt x="283" y="221"/>
                    </a:lnTo>
                    <a:lnTo>
                      <a:pt x="285" y="223"/>
                    </a:lnTo>
                    <a:lnTo>
                      <a:pt x="285" y="221"/>
                    </a:lnTo>
                    <a:lnTo>
                      <a:pt x="285" y="223"/>
                    </a:lnTo>
                    <a:lnTo>
                      <a:pt x="283" y="223"/>
                    </a:lnTo>
                    <a:lnTo>
                      <a:pt x="283" y="225"/>
                    </a:lnTo>
                    <a:lnTo>
                      <a:pt x="285" y="225"/>
                    </a:lnTo>
                    <a:lnTo>
                      <a:pt x="283" y="227"/>
                    </a:lnTo>
                    <a:lnTo>
                      <a:pt x="285" y="227"/>
                    </a:lnTo>
                    <a:lnTo>
                      <a:pt x="283" y="227"/>
                    </a:lnTo>
                    <a:lnTo>
                      <a:pt x="283" y="229"/>
                    </a:lnTo>
                    <a:lnTo>
                      <a:pt x="283" y="231"/>
                    </a:lnTo>
                    <a:lnTo>
                      <a:pt x="281" y="231"/>
                    </a:lnTo>
                    <a:lnTo>
                      <a:pt x="281" y="233"/>
                    </a:lnTo>
                    <a:lnTo>
                      <a:pt x="279" y="235"/>
                    </a:lnTo>
                    <a:lnTo>
                      <a:pt x="279" y="233"/>
                    </a:lnTo>
                    <a:lnTo>
                      <a:pt x="277" y="233"/>
                    </a:lnTo>
                    <a:lnTo>
                      <a:pt x="279" y="235"/>
                    </a:lnTo>
                    <a:lnTo>
                      <a:pt x="281" y="235"/>
                    </a:lnTo>
                    <a:lnTo>
                      <a:pt x="281" y="237"/>
                    </a:lnTo>
                    <a:lnTo>
                      <a:pt x="279" y="237"/>
                    </a:lnTo>
                    <a:lnTo>
                      <a:pt x="279" y="239"/>
                    </a:lnTo>
                    <a:lnTo>
                      <a:pt x="279" y="241"/>
                    </a:lnTo>
                    <a:lnTo>
                      <a:pt x="279" y="243"/>
                    </a:lnTo>
                    <a:lnTo>
                      <a:pt x="277" y="243"/>
                    </a:lnTo>
                    <a:lnTo>
                      <a:pt x="275" y="243"/>
                    </a:lnTo>
                    <a:lnTo>
                      <a:pt x="273" y="243"/>
                    </a:lnTo>
                    <a:lnTo>
                      <a:pt x="273" y="241"/>
                    </a:lnTo>
                    <a:lnTo>
                      <a:pt x="271" y="241"/>
                    </a:lnTo>
                    <a:lnTo>
                      <a:pt x="271" y="243"/>
                    </a:lnTo>
                    <a:lnTo>
                      <a:pt x="271" y="241"/>
                    </a:lnTo>
                    <a:lnTo>
                      <a:pt x="271" y="243"/>
                    </a:lnTo>
                    <a:lnTo>
                      <a:pt x="273" y="243"/>
                    </a:lnTo>
                    <a:lnTo>
                      <a:pt x="273" y="245"/>
                    </a:lnTo>
                    <a:lnTo>
                      <a:pt x="275" y="245"/>
                    </a:lnTo>
                    <a:lnTo>
                      <a:pt x="277" y="245"/>
                    </a:lnTo>
                    <a:lnTo>
                      <a:pt x="277" y="246"/>
                    </a:lnTo>
                    <a:lnTo>
                      <a:pt x="275" y="248"/>
                    </a:lnTo>
                    <a:lnTo>
                      <a:pt x="275" y="250"/>
                    </a:lnTo>
                    <a:lnTo>
                      <a:pt x="277" y="252"/>
                    </a:lnTo>
                    <a:lnTo>
                      <a:pt x="275" y="252"/>
                    </a:lnTo>
                    <a:lnTo>
                      <a:pt x="277" y="252"/>
                    </a:lnTo>
                    <a:lnTo>
                      <a:pt x="277" y="254"/>
                    </a:lnTo>
                    <a:lnTo>
                      <a:pt x="275" y="254"/>
                    </a:lnTo>
                    <a:lnTo>
                      <a:pt x="275" y="256"/>
                    </a:lnTo>
                    <a:lnTo>
                      <a:pt x="273" y="256"/>
                    </a:lnTo>
                    <a:lnTo>
                      <a:pt x="275" y="256"/>
                    </a:lnTo>
                    <a:lnTo>
                      <a:pt x="275" y="254"/>
                    </a:lnTo>
                    <a:lnTo>
                      <a:pt x="277" y="254"/>
                    </a:lnTo>
                    <a:lnTo>
                      <a:pt x="277" y="256"/>
                    </a:lnTo>
                    <a:lnTo>
                      <a:pt x="277" y="258"/>
                    </a:lnTo>
                    <a:lnTo>
                      <a:pt x="277" y="260"/>
                    </a:lnTo>
                    <a:lnTo>
                      <a:pt x="279" y="262"/>
                    </a:lnTo>
                    <a:lnTo>
                      <a:pt x="279" y="264"/>
                    </a:lnTo>
                    <a:lnTo>
                      <a:pt x="279" y="266"/>
                    </a:lnTo>
                    <a:lnTo>
                      <a:pt x="279" y="268"/>
                    </a:lnTo>
                    <a:lnTo>
                      <a:pt x="279" y="270"/>
                    </a:lnTo>
                    <a:lnTo>
                      <a:pt x="279" y="271"/>
                    </a:lnTo>
                    <a:lnTo>
                      <a:pt x="279" y="273"/>
                    </a:lnTo>
                    <a:lnTo>
                      <a:pt x="279" y="275"/>
                    </a:lnTo>
                    <a:lnTo>
                      <a:pt x="279" y="277"/>
                    </a:lnTo>
                    <a:lnTo>
                      <a:pt x="279" y="279"/>
                    </a:lnTo>
                    <a:lnTo>
                      <a:pt x="281" y="281"/>
                    </a:lnTo>
                    <a:lnTo>
                      <a:pt x="281" y="283"/>
                    </a:lnTo>
                    <a:lnTo>
                      <a:pt x="281" y="285"/>
                    </a:lnTo>
                    <a:lnTo>
                      <a:pt x="281" y="287"/>
                    </a:lnTo>
                    <a:lnTo>
                      <a:pt x="279" y="289"/>
                    </a:lnTo>
                    <a:lnTo>
                      <a:pt x="279" y="291"/>
                    </a:lnTo>
                    <a:lnTo>
                      <a:pt x="277" y="291"/>
                    </a:lnTo>
                    <a:lnTo>
                      <a:pt x="277" y="289"/>
                    </a:lnTo>
                    <a:lnTo>
                      <a:pt x="275" y="289"/>
                    </a:lnTo>
                    <a:lnTo>
                      <a:pt x="275" y="287"/>
                    </a:lnTo>
                    <a:lnTo>
                      <a:pt x="273" y="287"/>
                    </a:lnTo>
                    <a:lnTo>
                      <a:pt x="273" y="285"/>
                    </a:lnTo>
                    <a:lnTo>
                      <a:pt x="273" y="283"/>
                    </a:lnTo>
                    <a:lnTo>
                      <a:pt x="271" y="283"/>
                    </a:lnTo>
                    <a:lnTo>
                      <a:pt x="271" y="281"/>
                    </a:lnTo>
                    <a:lnTo>
                      <a:pt x="271" y="279"/>
                    </a:lnTo>
                    <a:lnTo>
                      <a:pt x="269" y="279"/>
                    </a:lnTo>
                    <a:lnTo>
                      <a:pt x="269" y="277"/>
                    </a:lnTo>
                    <a:lnTo>
                      <a:pt x="267" y="277"/>
                    </a:lnTo>
                    <a:lnTo>
                      <a:pt x="267" y="275"/>
                    </a:lnTo>
                    <a:lnTo>
                      <a:pt x="267" y="273"/>
                    </a:lnTo>
                    <a:lnTo>
                      <a:pt x="265" y="273"/>
                    </a:lnTo>
                    <a:lnTo>
                      <a:pt x="265" y="271"/>
                    </a:lnTo>
                    <a:lnTo>
                      <a:pt x="265" y="270"/>
                    </a:lnTo>
                    <a:lnTo>
                      <a:pt x="265" y="268"/>
                    </a:lnTo>
                    <a:lnTo>
                      <a:pt x="264" y="266"/>
                    </a:lnTo>
                    <a:lnTo>
                      <a:pt x="262" y="266"/>
                    </a:lnTo>
                    <a:lnTo>
                      <a:pt x="262" y="264"/>
                    </a:lnTo>
                    <a:lnTo>
                      <a:pt x="260" y="264"/>
                    </a:lnTo>
                    <a:lnTo>
                      <a:pt x="260" y="262"/>
                    </a:lnTo>
                    <a:lnTo>
                      <a:pt x="258" y="262"/>
                    </a:lnTo>
                    <a:lnTo>
                      <a:pt x="258" y="260"/>
                    </a:lnTo>
                    <a:lnTo>
                      <a:pt x="256" y="260"/>
                    </a:lnTo>
                    <a:lnTo>
                      <a:pt x="256" y="258"/>
                    </a:lnTo>
                    <a:lnTo>
                      <a:pt x="254" y="258"/>
                    </a:lnTo>
                    <a:lnTo>
                      <a:pt x="256" y="258"/>
                    </a:lnTo>
                    <a:lnTo>
                      <a:pt x="256" y="260"/>
                    </a:lnTo>
                    <a:lnTo>
                      <a:pt x="256" y="258"/>
                    </a:lnTo>
                    <a:lnTo>
                      <a:pt x="258" y="258"/>
                    </a:lnTo>
                    <a:lnTo>
                      <a:pt x="258" y="256"/>
                    </a:lnTo>
                    <a:lnTo>
                      <a:pt x="258" y="254"/>
                    </a:lnTo>
                    <a:lnTo>
                      <a:pt x="256" y="254"/>
                    </a:lnTo>
                    <a:lnTo>
                      <a:pt x="254" y="254"/>
                    </a:lnTo>
                    <a:lnTo>
                      <a:pt x="256" y="252"/>
                    </a:lnTo>
                    <a:lnTo>
                      <a:pt x="254" y="252"/>
                    </a:lnTo>
                    <a:lnTo>
                      <a:pt x="254" y="254"/>
                    </a:lnTo>
                    <a:lnTo>
                      <a:pt x="252" y="254"/>
                    </a:lnTo>
                    <a:lnTo>
                      <a:pt x="250" y="256"/>
                    </a:lnTo>
                    <a:lnTo>
                      <a:pt x="250" y="258"/>
                    </a:lnTo>
                    <a:lnTo>
                      <a:pt x="252" y="256"/>
                    </a:lnTo>
                    <a:lnTo>
                      <a:pt x="250" y="258"/>
                    </a:lnTo>
                    <a:lnTo>
                      <a:pt x="250" y="260"/>
                    </a:lnTo>
                    <a:lnTo>
                      <a:pt x="248" y="260"/>
                    </a:lnTo>
                    <a:lnTo>
                      <a:pt x="248" y="262"/>
                    </a:lnTo>
                    <a:lnTo>
                      <a:pt x="248" y="264"/>
                    </a:lnTo>
                    <a:lnTo>
                      <a:pt x="250" y="266"/>
                    </a:lnTo>
                    <a:lnTo>
                      <a:pt x="250" y="268"/>
                    </a:lnTo>
                    <a:lnTo>
                      <a:pt x="248" y="268"/>
                    </a:lnTo>
                    <a:lnTo>
                      <a:pt x="250" y="268"/>
                    </a:lnTo>
                    <a:lnTo>
                      <a:pt x="250" y="266"/>
                    </a:lnTo>
                    <a:lnTo>
                      <a:pt x="250" y="264"/>
                    </a:lnTo>
                    <a:lnTo>
                      <a:pt x="248" y="262"/>
                    </a:lnTo>
                    <a:lnTo>
                      <a:pt x="248" y="260"/>
                    </a:lnTo>
                    <a:lnTo>
                      <a:pt x="250" y="260"/>
                    </a:lnTo>
                    <a:lnTo>
                      <a:pt x="250" y="262"/>
                    </a:lnTo>
                    <a:lnTo>
                      <a:pt x="250" y="264"/>
                    </a:lnTo>
                    <a:lnTo>
                      <a:pt x="250" y="266"/>
                    </a:lnTo>
                    <a:lnTo>
                      <a:pt x="250" y="268"/>
                    </a:lnTo>
                    <a:lnTo>
                      <a:pt x="248" y="270"/>
                    </a:lnTo>
                    <a:lnTo>
                      <a:pt x="248" y="271"/>
                    </a:lnTo>
                    <a:lnTo>
                      <a:pt x="250" y="271"/>
                    </a:lnTo>
                    <a:lnTo>
                      <a:pt x="250" y="273"/>
                    </a:lnTo>
                    <a:lnTo>
                      <a:pt x="248" y="275"/>
                    </a:lnTo>
                    <a:lnTo>
                      <a:pt x="248" y="277"/>
                    </a:lnTo>
                    <a:lnTo>
                      <a:pt x="248" y="279"/>
                    </a:lnTo>
                    <a:lnTo>
                      <a:pt x="246" y="281"/>
                    </a:lnTo>
                    <a:lnTo>
                      <a:pt x="246" y="283"/>
                    </a:lnTo>
                    <a:lnTo>
                      <a:pt x="244" y="283"/>
                    </a:lnTo>
                    <a:lnTo>
                      <a:pt x="244" y="281"/>
                    </a:lnTo>
                    <a:lnTo>
                      <a:pt x="242" y="281"/>
                    </a:lnTo>
                    <a:lnTo>
                      <a:pt x="242" y="279"/>
                    </a:lnTo>
                    <a:lnTo>
                      <a:pt x="242" y="277"/>
                    </a:lnTo>
                    <a:lnTo>
                      <a:pt x="242" y="275"/>
                    </a:lnTo>
                    <a:lnTo>
                      <a:pt x="241" y="275"/>
                    </a:lnTo>
                    <a:lnTo>
                      <a:pt x="242" y="275"/>
                    </a:lnTo>
                    <a:lnTo>
                      <a:pt x="242" y="273"/>
                    </a:lnTo>
                    <a:lnTo>
                      <a:pt x="242" y="271"/>
                    </a:lnTo>
                    <a:lnTo>
                      <a:pt x="242" y="270"/>
                    </a:lnTo>
                    <a:lnTo>
                      <a:pt x="242" y="271"/>
                    </a:lnTo>
                    <a:lnTo>
                      <a:pt x="242" y="273"/>
                    </a:lnTo>
                    <a:lnTo>
                      <a:pt x="242" y="275"/>
                    </a:lnTo>
                    <a:lnTo>
                      <a:pt x="241" y="275"/>
                    </a:lnTo>
                    <a:lnTo>
                      <a:pt x="242" y="275"/>
                    </a:lnTo>
                    <a:lnTo>
                      <a:pt x="241" y="275"/>
                    </a:lnTo>
                    <a:lnTo>
                      <a:pt x="242" y="277"/>
                    </a:lnTo>
                    <a:lnTo>
                      <a:pt x="242" y="279"/>
                    </a:lnTo>
                    <a:lnTo>
                      <a:pt x="242" y="277"/>
                    </a:lnTo>
                    <a:lnTo>
                      <a:pt x="241" y="277"/>
                    </a:lnTo>
                    <a:lnTo>
                      <a:pt x="242" y="277"/>
                    </a:lnTo>
                    <a:lnTo>
                      <a:pt x="242" y="279"/>
                    </a:lnTo>
                    <a:lnTo>
                      <a:pt x="242" y="281"/>
                    </a:lnTo>
                    <a:lnTo>
                      <a:pt x="244" y="281"/>
                    </a:lnTo>
                    <a:lnTo>
                      <a:pt x="244" y="283"/>
                    </a:lnTo>
                    <a:lnTo>
                      <a:pt x="246" y="283"/>
                    </a:lnTo>
                    <a:lnTo>
                      <a:pt x="246" y="285"/>
                    </a:lnTo>
                    <a:lnTo>
                      <a:pt x="244" y="287"/>
                    </a:lnTo>
                    <a:lnTo>
                      <a:pt x="244" y="289"/>
                    </a:lnTo>
                    <a:lnTo>
                      <a:pt x="244" y="291"/>
                    </a:lnTo>
                    <a:lnTo>
                      <a:pt x="244" y="293"/>
                    </a:lnTo>
                    <a:lnTo>
                      <a:pt x="244" y="295"/>
                    </a:lnTo>
                    <a:lnTo>
                      <a:pt x="244" y="293"/>
                    </a:lnTo>
                    <a:lnTo>
                      <a:pt x="242" y="295"/>
                    </a:lnTo>
                    <a:lnTo>
                      <a:pt x="242" y="293"/>
                    </a:lnTo>
                    <a:lnTo>
                      <a:pt x="241" y="293"/>
                    </a:lnTo>
                    <a:lnTo>
                      <a:pt x="241" y="295"/>
                    </a:lnTo>
                    <a:lnTo>
                      <a:pt x="242" y="295"/>
                    </a:lnTo>
                    <a:lnTo>
                      <a:pt x="242" y="296"/>
                    </a:lnTo>
                    <a:lnTo>
                      <a:pt x="241" y="296"/>
                    </a:lnTo>
                    <a:lnTo>
                      <a:pt x="241" y="295"/>
                    </a:lnTo>
                    <a:lnTo>
                      <a:pt x="241" y="296"/>
                    </a:lnTo>
                    <a:lnTo>
                      <a:pt x="239" y="296"/>
                    </a:lnTo>
                    <a:lnTo>
                      <a:pt x="241" y="296"/>
                    </a:lnTo>
                    <a:lnTo>
                      <a:pt x="241" y="298"/>
                    </a:lnTo>
                    <a:lnTo>
                      <a:pt x="242" y="298"/>
                    </a:lnTo>
                    <a:lnTo>
                      <a:pt x="242" y="300"/>
                    </a:lnTo>
                    <a:lnTo>
                      <a:pt x="242" y="298"/>
                    </a:lnTo>
                    <a:lnTo>
                      <a:pt x="242" y="296"/>
                    </a:lnTo>
                    <a:lnTo>
                      <a:pt x="244" y="295"/>
                    </a:lnTo>
                    <a:lnTo>
                      <a:pt x="244" y="296"/>
                    </a:lnTo>
                    <a:lnTo>
                      <a:pt x="244" y="298"/>
                    </a:lnTo>
                    <a:lnTo>
                      <a:pt x="246" y="298"/>
                    </a:lnTo>
                    <a:lnTo>
                      <a:pt x="248" y="298"/>
                    </a:lnTo>
                    <a:lnTo>
                      <a:pt x="248" y="300"/>
                    </a:lnTo>
                    <a:lnTo>
                      <a:pt x="250" y="302"/>
                    </a:lnTo>
                    <a:lnTo>
                      <a:pt x="250" y="304"/>
                    </a:lnTo>
                    <a:lnTo>
                      <a:pt x="252" y="304"/>
                    </a:lnTo>
                    <a:lnTo>
                      <a:pt x="252" y="306"/>
                    </a:lnTo>
                    <a:lnTo>
                      <a:pt x="252" y="308"/>
                    </a:lnTo>
                    <a:lnTo>
                      <a:pt x="252" y="310"/>
                    </a:lnTo>
                    <a:lnTo>
                      <a:pt x="250" y="310"/>
                    </a:lnTo>
                    <a:lnTo>
                      <a:pt x="250" y="312"/>
                    </a:lnTo>
                    <a:lnTo>
                      <a:pt x="250" y="314"/>
                    </a:lnTo>
                    <a:lnTo>
                      <a:pt x="250" y="316"/>
                    </a:lnTo>
                    <a:lnTo>
                      <a:pt x="250" y="318"/>
                    </a:lnTo>
                    <a:lnTo>
                      <a:pt x="248" y="318"/>
                    </a:lnTo>
                    <a:lnTo>
                      <a:pt x="248" y="316"/>
                    </a:lnTo>
                    <a:lnTo>
                      <a:pt x="246" y="316"/>
                    </a:lnTo>
                    <a:lnTo>
                      <a:pt x="246" y="314"/>
                    </a:lnTo>
                    <a:lnTo>
                      <a:pt x="244" y="314"/>
                    </a:lnTo>
                    <a:lnTo>
                      <a:pt x="244" y="312"/>
                    </a:lnTo>
                    <a:lnTo>
                      <a:pt x="242" y="312"/>
                    </a:lnTo>
                    <a:lnTo>
                      <a:pt x="242" y="310"/>
                    </a:lnTo>
                    <a:lnTo>
                      <a:pt x="241" y="310"/>
                    </a:lnTo>
                    <a:lnTo>
                      <a:pt x="239" y="310"/>
                    </a:lnTo>
                    <a:lnTo>
                      <a:pt x="239" y="308"/>
                    </a:lnTo>
                    <a:lnTo>
                      <a:pt x="237" y="308"/>
                    </a:lnTo>
                    <a:lnTo>
                      <a:pt x="235" y="308"/>
                    </a:lnTo>
                    <a:lnTo>
                      <a:pt x="235" y="310"/>
                    </a:lnTo>
                    <a:lnTo>
                      <a:pt x="233" y="310"/>
                    </a:lnTo>
                    <a:lnTo>
                      <a:pt x="235" y="310"/>
                    </a:lnTo>
                    <a:lnTo>
                      <a:pt x="233" y="308"/>
                    </a:lnTo>
                    <a:lnTo>
                      <a:pt x="231" y="308"/>
                    </a:lnTo>
                    <a:lnTo>
                      <a:pt x="229" y="308"/>
                    </a:lnTo>
                    <a:lnTo>
                      <a:pt x="227" y="308"/>
                    </a:lnTo>
                    <a:lnTo>
                      <a:pt x="225" y="308"/>
                    </a:lnTo>
                    <a:lnTo>
                      <a:pt x="225" y="310"/>
                    </a:lnTo>
                    <a:lnTo>
                      <a:pt x="225" y="312"/>
                    </a:lnTo>
                    <a:lnTo>
                      <a:pt x="225" y="310"/>
                    </a:lnTo>
                    <a:lnTo>
                      <a:pt x="227" y="312"/>
                    </a:lnTo>
                    <a:lnTo>
                      <a:pt x="225" y="312"/>
                    </a:lnTo>
                    <a:lnTo>
                      <a:pt x="225" y="310"/>
                    </a:lnTo>
                    <a:lnTo>
                      <a:pt x="225" y="312"/>
                    </a:lnTo>
                    <a:lnTo>
                      <a:pt x="225" y="314"/>
                    </a:lnTo>
                    <a:lnTo>
                      <a:pt x="227" y="314"/>
                    </a:lnTo>
                    <a:lnTo>
                      <a:pt x="227" y="316"/>
                    </a:lnTo>
                    <a:lnTo>
                      <a:pt x="229" y="316"/>
                    </a:lnTo>
                    <a:lnTo>
                      <a:pt x="227" y="316"/>
                    </a:lnTo>
                    <a:lnTo>
                      <a:pt x="227" y="314"/>
                    </a:lnTo>
                    <a:lnTo>
                      <a:pt x="227" y="316"/>
                    </a:lnTo>
                    <a:lnTo>
                      <a:pt x="229" y="316"/>
                    </a:lnTo>
                    <a:lnTo>
                      <a:pt x="227" y="320"/>
                    </a:lnTo>
                    <a:lnTo>
                      <a:pt x="227" y="321"/>
                    </a:lnTo>
                    <a:lnTo>
                      <a:pt x="227" y="323"/>
                    </a:lnTo>
                    <a:lnTo>
                      <a:pt x="227" y="325"/>
                    </a:lnTo>
                    <a:lnTo>
                      <a:pt x="229" y="325"/>
                    </a:lnTo>
                    <a:lnTo>
                      <a:pt x="231" y="325"/>
                    </a:lnTo>
                    <a:lnTo>
                      <a:pt x="233" y="325"/>
                    </a:lnTo>
                    <a:lnTo>
                      <a:pt x="231" y="325"/>
                    </a:lnTo>
                    <a:lnTo>
                      <a:pt x="229" y="325"/>
                    </a:lnTo>
                    <a:lnTo>
                      <a:pt x="229" y="327"/>
                    </a:lnTo>
                    <a:lnTo>
                      <a:pt x="227" y="327"/>
                    </a:lnTo>
                    <a:lnTo>
                      <a:pt x="227" y="325"/>
                    </a:lnTo>
                    <a:lnTo>
                      <a:pt x="227" y="323"/>
                    </a:lnTo>
                    <a:lnTo>
                      <a:pt x="227" y="321"/>
                    </a:lnTo>
                    <a:lnTo>
                      <a:pt x="227" y="320"/>
                    </a:lnTo>
                    <a:lnTo>
                      <a:pt x="227" y="318"/>
                    </a:lnTo>
                    <a:lnTo>
                      <a:pt x="225" y="318"/>
                    </a:lnTo>
                    <a:lnTo>
                      <a:pt x="225" y="320"/>
                    </a:lnTo>
                    <a:lnTo>
                      <a:pt x="223" y="320"/>
                    </a:lnTo>
                    <a:lnTo>
                      <a:pt x="223" y="321"/>
                    </a:lnTo>
                    <a:lnTo>
                      <a:pt x="221" y="321"/>
                    </a:lnTo>
                    <a:lnTo>
                      <a:pt x="221" y="320"/>
                    </a:lnTo>
                    <a:lnTo>
                      <a:pt x="221" y="321"/>
                    </a:lnTo>
                    <a:lnTo>
                      <a:pt x="219" y="321"/>
                    </a:lnTo>
                    <a:lnTo>
                      <a:pt x="219" y="320"/>
                    </a:lnTo>
                    <a:lnTo>
                      <a:pt x="219" y="321"/>
                    </a:lnTo>
                    <a:lnTo>
                      <a:pt x="217" y="323"/>
                    </a:lnTo>
                    <a:lnTo>
                      <a:pt x="217" y="325"/>
                    </a:lnTo>
                    <a:lnTo>
                      <a:pt x="217" y="323"/>
                    </a:lnTo>
                    <a:lnTo>
                      <a:pt x="216" y="323"/>
                    </a:lnTo>
                    <a:lnTo>
                      <a:pt x="217" y="323"/>
                    </a:lnTo>
                    <a:lnTo>
                      <a:pt x="216" y="323"/>
                    </a:lnTo>
                    <a:lnTo>
                      <a:pt x="216" y="325"/>
                    </a:lnTo>
                    <a:lnTo>
                      <a:pt x="214" y="325"/>
                    </a:lnTo>
                    <a:lnTo>
                      <a:pt x="212" y="327"/>
                    </a:lnTo>
                    <a:lnTo>
                      <a:pt x="214" y="327"/>
                    </a:lnTo>
                    <a:lnTo>
                      <a:pt x="212" y="327"/>
                    </a:lnTo>
                    <a:lnTo>
                      <a:pt x="212" y="329"/>
                    </a:lnTo>
                    <a:lnTo>
                      <a:pt x="212" y="327"/>
                    </a:lnTo>
                    <a:lnTo>
                      <a:pt x="212" y="329"/>
                    </a:lnTo>
                    <a:lnTo>
                      <a:pt x="212" y="327"/>
                    </a:lnTo>
                    <a:lnTo>
                      <a:pt x="212" y="329"/>
                    </a:lnTo>
                    <a:lnTo>
                      <a:pt x="214" y="329"/>
                    </a:lnTo>
                    <a:lnTo>
                      <a:pt x="216" y="329"/>
                    </a:lnTo>
                    <a:lnTo>
                      <a:pt x="216" y="331"/>
                    </a:lnTo>
                    <a:lnTo>
                      <a:pt x="216" y="329"/>
                    </a:lnTo>
                    <a:lnTo>
                      <a:pt x="217" y="329"/>
                    </a:lnTo>
                    <a:lnTo>
                      <a:pt x="217" y="327"/>
                    </a:lnTo>
                    <a:lnTo>
                      <a:pt x="217" y="325"/>
                    </a:lnTo>
                    <a:lnTo>
                      <a:pt x="216" y="325"/>
                    </a:lnTo>
                    <a:lnTo>
                      <a:pt x="217" y="325"/>
                    </a:lnTo>
                    <a:lnTo>
                      <a:pt x="217" y="327"/>
                    </a:lnTo>
                    <a:lnTo>
                      <a:pt x="217" y="329"/>
                    </a:lnTo>
                    <a:lnTo>
                      <a:pt x="217" y="331"/>
                    </a:lnTo>
                    <a:lnTo>
                      <a:pt x="219" y="331"/>
                    </a:lnTo>
                    <a:lnTo>
                      <a:pt x="219" y="333"/>
                    </a:lnTo>
                    <a:lnTo>
                      <a:pt x="219" y="335"/>
                    </a:lnTo>
                    <a:lnTo>
                      <a:pt x="217" y="335"/>
                    </a:lnTo>
                    <a:lnTo>
                      <a:pt x="216" y="335"/>
                    </a:lnTo>
                    <a:lnTo>
                      <a:pt x="216" y="337"/>
                    </a:lnTo>
                    <a:lnTo>
                      <a:pt x="214" y="337"/>
                    </a:lnTo>
                    <a:lnTo>
                      <a:pt x="216" y="339"/>
                    </a:lnTo>
                    <a:lnTo>
                      <a:pt x="216" y="341"/>
                    </a:lnTo>
                    <a:lnTo>
                      <a:pt x="216" y="343"/>
                    </a:lnTo>
                    <a:lnTo>
                      <a:pt x="216" y="344"/>
                    </a:lnTo>
                    <a:lnTo>
                      <a:pt x="216" y="346"/>
                    </a:lnTo>
                    <a:lnTo>
                      <a:pt x="217" y="348"/>
                    </a:lnTo>
                    <a:lnTo>
                      <a:pt x="219" y="348"/>
                    </a:lnTo>
                    <a:lnTo>
                      <a:pt x="219" y="350"/>
                    </a:lnTo>
                    <a:lnTo>
                      <a:pt x="221" y="350"/>
                    </a:lnTo>
                    <a:lnTo>
                      <a:pt x="223" y="352"/>
                    </a:lnTo>
                    <a:lnTo>
                      <a:pt x="223" y="356"/>
                    </a:lnTo>
                    <a:lnTo>
                      <a:pt x="221" y="358"/>
                    </a:lnTo>
                    <a:lnTo>
                      <a:pt x="221" y="360"/>
                    </a:lnTo>
                    <a:lnTo>
                      <a:pt x="221" y="362"/>
                    </a:lnTo>
                    <a:lnTo>
                      <a:pt x="223" y="362"/>
                    </a:lnTo>
                    <a:lnTo>
                      <a:pt x="223" y="360"/>
                    </a:lnTo>
                    <a:lnTo>
                      <a:pt x="223" y="362"/>
                    </a:lnTo>
                    <a:lnTo>
                      <a:pt x="223" y="364"/>
                    </a:lnTo>
                    <a:lnTo>
                      <a:pt x="225" y="364"/>
                    </a:lnTo>
                    <a:lnTo>
                      <a:pt x="223" y="364"/>
                    </a:lnTo>
                    <a:lnTo>
                      <a:pt x="223" y="366"/>
                    </a:lnTo>
                    <a:lnTo>
                      <a:pt x="223" y="364"/>
                    </a:lnTo>
                    <a:lnTo>
                      <a:pt x="223" y="366"/>
                    </a:lnTo>
                    <a:lnTo>
                      <a:pt x="221" y="366"/>
                    </a:lnTo>
                    <a:lnTo>
                      <a:pt x="223" y="366"/>
                    </a:lnTo>
                    <a:lnTo>
                      <a:pt x="223" y="364"/>
                    </a:lnTo>
                    <a:lnTo>
                      <a:pt x="225" y="364"/>
                    </a:lnTo>
                    <a:lnTo>
                      <a:pt x="223" y="364"/>
                    </a:lnTo>
                    <a:lnTo>
                      <a:pt x="223" y="362"/>
                    </a:lnTo>
                    <a:lnTo>
                      <a:pt x="223" y="364"/>
                    </a:lnTo>
                    <a:lnTo>
                      <a:pt x="225" y="364"/>
                    </a:lnTo>
                    <a:lnTo>
                      <a:pt x="227" y="364"/>
                    </a:lnTo>
                    <a:lnTo>
                      <a:pt x="229" y="364"/>
                    </a:lnTo>
                    <a:lnTo>
                      <a:pt x="229" y="366"/>
                    </a:lnTo>
                    <a:lnTo>
                      <a:pt x="231" y="366"/>
                    </a:lnTo>
                    <a:lnTo>
                      <a:pt x="233" y="366"/>
                    </a:lnTo>
                    <a:lnTo>
                      <a:pt x="233" y="368"/>
                    </a:lnTo>
                    <a:lnTo>
                      <a:pt x="235" y="368"/>
                    </a:lnTo>
                    <a:lnTo>
                      <a:pt x="235" y="369"/>
                    </a:lnTo>
                    <a:lnTo>
                      <a:pt x="237" y="371"/>
                    </a:lnTo>
                    <a:lnTo>
                      <a:pt x="237" y="373"/>
                    </a:lnTo>
                    <a:lnTo>
                      <a:pt x="237" y="375"/>
                    </a:lnTo>
                    <a:lnTo>
                      <a:pt x="237" y="377"/>
                    </a:lnTo>
                    <a:lnTo>
                      <a:pt x="237" y="375"/>
                    </a:lnTo>
                    <a:lnTo>
                      <a:pt x="237" y="373"/>
                    </a:lnTo>
                    <a:lnTo>
                      <a:pt x="237" y="371"/>
                    </a:lnTo>
                    <a:lnTo>
                      <a:pt x="235" y="371"/>
                    </a:lnTo>
                    <a:lnTo>
                      <a:pt x="235" y="373"/>
                    </a:lnTo>
                    <a:lnTo>
                      <a:pt x="233" y="373"/>
                    </a:lnTo>
                    <a:lnTo>
                      <a:pt x="233" y="375"/>
                    </a:lnTo>
                    <a:lnTo>
                      <a:pt x="231" y="377"/>
                    </a:lnTo>
                    <a:lnTo>
                      <a:pt x="231" y="379"/>
                    </a:lnTo>
                    <a:lnTo>
                      <a:pt x="233" y="379"/>
                    </a:lnTo>
                    <a:lnTo>
                      <a:pt x="233" y="381"/>
                    </a:lnTo>
                    <a:lnTo>
                      <a:pt x="235" y="381"/>
                    </a:lnTo>
                    <a:lnTo>
                      <a:pt x="237" y="381"/>
                    </a:lnTo>
                    <a:lnTo>
                      <a:pt x="239" y="381"/>
                    </a:lnTo>
                    <a:lnTo>
                      <a:pt x="241" y="381"/>
                    </a:lnTo>
                    <a:lnTo>
                      <a:pt x="242" y="383"/>
                    </a:lnTo>
                    <a:lnTo>
                      <a:pt x="242" y="385"/>
                    </a:lnTo>
                    <a:lnTo>
                      <a:pt x="244" y="385"/>
                    </a:lnTo>
                    <a:lnTo>
                      <a:pt x="244" y="387"/>
                    </a:lnTo>
                    <a:lnTo>
                      <a:pt x="242" y="389"/>
                    </a:lnTo>
                    <a:lnTo>
                      <a:pt x="242" y="387"/>
                    </a:lnTo>
                    <a:lnTo>
                      <a:pt x="244" y="387"/>
                    </a:lnTo>
                    <a:lnTo>
                      <a:pt x="244" y="385"/>
                    </a:lnTo>
                    <a:lnTo>
                      <a:pt x="242" y="385"/>
                    </a:lnTo>
                    <a:lnTo>
                      <a:pt x="242" y="383"/>
                    </a:lnTo>
                    <a:lnTo>
                      <a:pt x="241" y="385"/>
                    </a:lnTo>
                    <a:lnTo>
                      <a:pt x="239" y="385"/>
                    </a:lnTo>
                    <a:lnTo>
                      <a:pt x="237" y="385"/>
                    </a:lnTo>
                    <a:lnTo>
                      <a:pt x="239" y="385"/>
                    </a:lnTo>
                    <a:lnTo>
                      <a:pt x="239" y="383"/>
                    </a:lnTo>
                    <a:lnTo>
                      <a:pt x="237" y="383"/>
                    </a:lnTo>
                    <a:lnTo>
                      <a:pt x="237" y="385"/>
                    </a:lnTo>
                    <a:lnTo>
                      <a:pt x="235" y="385"/>
                    </a:lnTo>
                    <a:lnTo>
                      <a:pt x="235" y="383"/>
                    </a:lnTo>
                    <a:lnTo>
                      <a:pt x="233" y="383"/>
                    </a:lnTo>
                    <a:lnTo>
                      <a:pt x="235" y="383"/>
                    </a:lnTo>
                    <a:lnTo>
                      <a:pt x="235" y="385"/>
                    </a:lnTo>
                    <a:lnTo>
                      <a:pt x="233" y="385"/>
                    </a:lnTo>
                    <a:lnTo>
                      <a:pt x="231" y="385"/>
                    </a:lnTo>
                    <a:lnTo>
                      <a:pt x="229" y="385"/>
                    </a:lnTo>
                    <a:lnTo>
                      <a:pt x="231" y="385"/>
                    </a:lnTo>
                    <a:lnTo>
                      <a:pt x="233" y="385"/>
                    </a:lnTo>
                    <a:lnTo>
                      <a:pt x="235" y="385"/>
                    </a:lnTo>
                    <a:lnTo>
                      <a:pt x="235" y="387"/>
                    </a:lnTo>
                    <a:lnTo>
                      <a:pt x="233" y="387"/>
                    </a:lnTo>
                    <a:lnTo>
                      <a:pt x="235" y="387"/>
                    </a:lnTo>
                    <a:lnTo>
                      <a:pt x="233" y="387"/>
                    </a:lnTo>
                    <a:lnTo>
                      <a:pt x="233" y="389"/>
                    </a:lnTo>
                    <a:lnTo>
                      <a:pt x="235" y="389"/>
                    </a:lnTo>
                    <a:lnTo>
                      <a:pt x="235" y="391"/>
                    </a:lnTo>
                    <a:lnTo>
                      <a:pt x="237" y="391"/>
                    </a:lnTo>
                    <a:lnTo>
                      <a:pt x="239" y="393"/>
                    </a:lnTo>
                    <a:lnTo>
                      <a:pt x="241" y="393"/>
                    </a:lnTo>
                    <a:lnTo>
                      <a:pt x="242" y="393"/>
                    </a:lnTo>
                    <a:lnTo>
                      <a:pt x="242" y="391"/>
                    </a:lnTo>
                    <a:lnTo>
                      <a:pt x="241" y="391"/>
                    </a:lnTo>
                    <a:lnTo>
                      <a:pt x="242" y="391"/>
                    </a:lnTo>
                    <a:lnTo>
                      <a:pt x="242" y="393"/>
                    </a:lnTo>
                    <a:lnTo>
                      <a:pt x="242" y="394"/>
                    </a:lnTo>
                    <a:lnTo>
                      <a:pt x="242" y="396"/>
                    </a:lnTo>
                    <a:lnTo>
                      <a:pt x="242" y="398"/>
                    </a:lnTo>
                    <a:lnTo>
                      <a:pt x="241" y="398"/>
                    </a:lnTo>
                    <a:lnTo>
                      <a:pt x="241" y="400"/>
                    </a:lnTo>
                    <a:lnTo>
                      <a:pt x="242" y="402"/>
                    </a:lnTo>
                    <a:lnTo>
                      <a:pt x="241" y="402"/>
                    </a:lnTo>
                    <a:lnTo>
                      <a:pt x="241" y="400"/>
                    </a:lnTo>
                    <a:lnTo>
                      <a:pt x="241" y="398"/>
                    </a:lnTo>
                    <a:lnTo>
                      <a:pt x="241" y="400"/>
                    </a:lnTo>
                    <a:lnTo>
                      <a:pt x="241" y="398"/>
                    </a:lnTo>
                    <a:lnTo>
                      <a:pt x="242" y="398"/>
                    </a:lnTo>
                    <a:lnTo>
                      <a:pt x="242" y="396"/>
                    </a:lnTo>
                    <a:lnTo>
                      <a:pt x="241" y="396"/>
                    </a:lnTo>
                    <a:lnTo>
                      <a:pt x="241" y="394"/>
                    </a:lnTo>
                    <a:lnTo>
                      <a:pt x="241" y="396"/>
                    </a:lnTo>
                    <a:lnTo>
                      <a:pt x="241" y="394"/>
                    </a:lnTo>
                    <a:lnTo>
                      <a:pt x="241" y="396"/>
                    </a:lnTo>
                    <a:lnTo>
                      <a:pt x="241" y="394"/>
                    </a:lnTo>
                    <a:lnTo>
                      <a:pt x="241" y="396"/>
                    </a:lnTo>
                    <a:lnTo>
                      <a:pt x="239" y="396"/>
                    </a:lnTo>
                    <a:lnTo>
                      <a:pt x="241" y="396"/>
                    </a:lnTo>
                    <a:lnTo>
                      <a:pt x="241" y="398"/>
                    </a:lnTo>
                    <a:lnTo>
                      <a:pt x="241" y="396"/>
                    </a:lnTo>
                    <a:lnTo>
                      <a:pt x="241" y="398"/>
                    </a:lnTo>
                    <a:lnTo>
                      <a:pt x="241" y="400"/>
                    </a:lnTo>
                    <a:lnTo>
                      <a:pt x="241" y="402"/>
                    </a:lnTo>
                    <a:lnTo>
                      <a:pt x="241" y="404"/>
                    </a:lnTo>
                    <a:lnTo>
                      <a:pt x="241" y="402"/>
                    </a:lnTo>
                    <a:lnTo>
                      <a:pt x="241" y="404"/>
                    </a:lnTo>
                    <a:lnTo>
                      <a:pt x="241" y="406"/>
                    </a:lnTo>
                    <a:lnTo>
                      <a:pt x="239" y="404"/>
                    </a:lnTo>
                    <a:lnTo>
                      <a:pt x="239" y="406"/>
                    </a:lnTo>
                    <a:lnTo>
                      <a:pt x="241" y="406"/>
                    </a:lnTo>
                    <a:lnTo>
                      <a:pt x="241" y="408"/>
                    </a:lnTo>
                    <a:lnTo>
                      <a:pt x="242" y="408"/>
                    </a:lnTo>
                    <a:lnTo>
                      <a:pt x="242" y="406"/>
                    </a:lnTo>
                    <a:lnTo>
                      <a:pt x="241" y="406"/>
                    </a:lnTo>
                    <a:lnTo>
                      <a:pt x="242" y="406"/>
                    </a:lnTo>
                    <a:lnTo>
                      <a:pt x="242" y="404"/>
                    </a:lnTo>
                    <a:lnTo>
                      <a:pt x="242" y="406"/>
                    </a:lnTo>
                    <a:lnTo>
                      <a:pt x="242" y="408"/>
                    </a:lnTo>
                    <a:lnTo>
                      <a:pt x="242" y="410"/>
                    </a:lnTo>
                    <a:lnTo>
                      <a:pt x="241" y="410"/>
                    </a:lnTo>
                    <a:lnTo>
                      <a:pt x="241" y="412"/>
                    </a:lnTo>
                    <a:lnTo>
                      <a:pt x="241" y="414"/>
                    </a:lnTo>
                    <a:lnTo>
                      <a:pt x="241" y="412"/>
                    </a:lnTo>
                    <a:lnTo>
                      <a:pt x="239" y="412"/>
                    </a:lnTo>
                    <a:lnTo>
                      <a:pt x="241" y="414"/>
                    </a:lnTo>
                    <a:lnTo>
                      <a:pt x="241" y="412"/>
                    </a:lnTo>
                    <a:lnTo>
                      <a:pt x="241" y="414"/>
                    </a:lnTo>
                    <a:lnTo>
                      <a:pt x="239" y="414"/>
                    </a:lnTo>
                    <a:lnTo>
                      <a:pt x="239" y="416"/>
                    </a:lnTo>
                    <a:lnTo>
                      <a:pt x="239" y="414"/>
                    </a:lnTo>
                    <a:lnTo>
                      <a:pt x="241" y="414"/>
                    </a:lnTo>
                    <a:lnTo>
                      <a:pt x="241" y="416"/>
                    </a:lnTo>
                    <a:lnTo>
                      <a:pt x="241" y="418"/>
                    </a:lnTo>
                    <a:lnTo>
                      <a:pt x="241" y="419"/>
                    </a:lnTo>
                    <a:lnTo>
                      <a:pt x="241" y="418"/>
                    </a:lnTo>
                    <a:lnTo>
                      <a:pt x="239" y="418"/>
                    </a:lnTo>
                    <a:lnTo>
                      <a:pt x="239" y="419"/>
                    </a:lnTo>
                    <a:lnTo>
                      <a:pt x="239" y="418"/>
                    </a:lnTo>
                    <a:lnTo>
                      <a:pt x="237" y="418"/>
                    </a:lnTo>
                    <a:lnTo>
                      <a:pt x="239" y="418"/>
                    </a:lnTo>
                    <a:lnTo>
                      <a:pt x="239" y="419"/>
                    </a:lnTo>
                    <a:lnTo>
                      <a:pt x="241" y="419"/>
                    </a:lnTo>
                    <a:lnTo>
                      <a:pt x="241" y="418"/>
                    </a:lnTo>
                    <a:lnTo>
                      <a:pt x="241" y="416"/>
                    </a:lnTo>
                    <a:lnTo>
                      <a:pt x="241" y="414"/>
                    </a:lnTo>
                    <a:lnTo>
                      <a:pt x="241" y="412"/>
                    </a:lnTo>
                    <a:lnTo>
                      <a:pt x="241" y="414"/>
                    </a:lnTo>
                    <a:lnTo>
                      <a:pt x="241" y="416"/>
                    </a:lnTo>
                    <a:lnTo>
                      <a:pt x="241" y="418"/>
                    </a:lnTo>
                    <a:lnTo>
                      <a:pt x="241" y="419"/>
                    </a:lnTo>
                    <a:lnTo>
                      <a:pt x="241" y="421"/>
                    </a:lnTo>
                    <a:lnTo>
                      <a:pt x="241" y="423"/>
                    </a:lnTo>
                    <a:lnTo>
                      <a:pt x="242" y="427"/>
                    </a:lnTo>
                    <a:lnTo>
                      <a:pt x="242" y="429"/>
                    </a:lnTo>
                    <a:lnTo>
                      <a:pt x="242" y="431"/>
                    </a:lnTo>
                    <a:lnTo>
                      <a:pt x="244" y="435"/>
                    </a:lnTo>
                    <a:lnTo>
                      <a:pt x="246" y="441"/>
                    </a:lnTo>
                    <a:lnTo>
                      <a:pt x="246" y="443"/>
                    </a:lnTo>
                    <a:lnTo>
                      <a:pt x="246" y="444"/>
                    </a:lnTo>
                    <a:lnTo>
                      <a:pt x="248" y="444"/>
                    </a:lnTo>
                    <a:lnTo>
                      <a:pt x="248" y="446"/>
                    </a:lnTo>
                    <a:lnTo>
                      <a:pt x="248" y="448"/>
                    </a:lnTo>
                    <a:lnTo>
                      <a:pt x="250" y="448"/>
                    </a:lnTo>
                    <a:lnTo>
                      <a:pt x="250" y="450"/>
                    </a:lnTo>
                    <a:lnTo>
                      <a:pt x="250" y="452"/>
                    </a:lnTo>
                    <a:lnTo>
                      <a:pt x="252" y="454"/>
                    </a:lnTo>
                    <a:lnTo>
                      <a:pt x="252" y="456"/>
                    </a:lnTo>
                    <a:lnTo>
                      <a:pt x="254" y="458"/>
                    </a:lnTo>
                    <a:lnTo>
                      <a:pt x="254" y="460"/>
                    </a:lnTo>
                    <a:lnTo>
                      <a:pt x="256" y="460"/>
                    </a:lnTo>
                    <a:lnTo>
                      <a:pt x="256" y="462"/>
                    </a:lnTo>
                    <a:lnTo>
                      <a:pt x="256" y="460"/>
                    </a:lnTo>
                    <a:lnTo>
                      <a:pt x="254" y="460"/>
                    </a:lnTo>
                    <a:lnTo>
                      <a:pt x="254" y="458"/>
                    </a:lnTo>
                    <a:lnTo>
                      <a:pt x="252" y="458"/>
                    </a:lnTo>
                    <a:lnTo>
                      <a:pt x="250" y="458"/>
                    </a:lnTo>
                    <a:lnTo>
                      <a:pt x="250" y="456"/>
                    </a:lnTo>
                    <a:lnTo>
                      <a:pt x="248" y="456"/>
                    </a:lnTo>
                    <a:lnTo>
                      <a:pt x="248" y="458"/>
                    </a:lnTo>
                    <a:lnTo>
                      <a:pt x="248" y="456"/>
                    </a:lnTo>
                    <a:lnTo>
                      <a:pt x="248" y="458"/>
                    </a:lnTo>
                    <a:lnTo>
                      <a:pt x="248" y="456"/>
                    </a:lnTo>
                    <a:lnTo>
                      <a:pt x="250" y="456"/>
                    </a:lnTo>
                    <a:lnTo>
                      <a:pt x="248" y="456"/>
                    </a:lnTo>
                    <a:lnTo>
                      <a:pt x="250" y="456"/>
                    </a:lnTo>
                    <a:lnTo>
                      <a:pt x="250" y="458"/>
                    </a:lnTo>
                    <a:lnTo>
                      <a:pt x="252" y="458"/>
                    </a:lnTo>
                    <a:lnTo>
                      <a:pt x="254" y="458"/>
                    </a:lnTo>
                    <a:lnTo>
                      <a:pt x="254" y="460"/>
                    </a:lnTo>
                    <a:lnTo>
                      <a:pt x="256" y="460"/>
                    </a:lnTo>
                    <a:lnTo>
                      <a:pt x="256" y="462"/>
                    </a:lnTo>
                    <a:lnTo>
                      <a:pt x="258" y="462"/>
                    </a:lnTo>
                    <a:lnTo>
                      <a:pt x="258" y="464"/>
                    </a:lnTo>
                    <a:lnTo>
                      <a:pt x="258" y="466"/>
                    </a:lnTo>
                    <a:lnTo>
                      <a:pt x="258" y="468"/>
                    </a:lnTo>
                    <a:lnTo>
                      <a:pt x="260" y="468"/>
                    </a:lnTo>
                    <a:lnTo>
                      <a:pt x="258" y="468"/>
                    </a:lnTo>
                    <a:lnTo>
                      <a:pt x="258" y="466"/>
                    </a:lnTo>
                    <a:lnTo>
                      <a:pt x="260" y="466"/>
                    </a:lnTo>
                    <a:lnTo>
                      <a:pt x="260" y="468"/>
                    </a:lnTo>
                    <a:lnTo>
                      <a:pt x="262" y="468"/>
                    </a:lnTo>
                    <a:lnTo>
                      <a:pt x="260" y="466"/>
                    </a:lnTo>
                    <a:lnTo>
                      <a:pt x="258" y="464"/>
                    </a:lnTo>
                    <a:lnTo>
                      <a:pt x="260" y="464"/>
                    </a:lnTo>
                    <a:lnTo>
                      <a:pt x="260" y="466"/>
                    </a:lnTo>
                    <a:lnTo>
                      <a:pt x="260" y="464"/>
                    </a:lnTo>
                    <a:lnTo>
                      <a:pt x="258" y="464"/>
                    </a:lnTo>
                    <a:lnTo>
                      <a:pt x="260" y="464"/>
                    </a:lnTo>
                    <a:lnTo>
                      <a:pt x="262" y="466"/>
                    </a:lnTo>
                    <a:lnTo>
                      <a:pt x="262" y="468"/>
                    </a:lnTo>
                    <a:lnTo>
                      <a:pt x="264" y="468"/>
                    </a:lnTo>
                    <a:lnTo>
                      <a:pt x="265" y="469"/>
                    </a:lnTo>
                    <a:lnTo>
                      <a:pt x="267" y="469"/>
                    </a:lnTo>
                    <a:lnTo>
                      <a:pt x="269" y="469"/>
                    </a:lnTo>
                    <a:lnTo>
                      <a:pt x="267" y="469"/>
                    </a:lnTo>
                    <a:lnTo>
                      <a:pt x="267" y="471"/>
                    </a:lnTo>
                    <a:lnTo>
                      <a:pt x="269" y="471"/>
                    </a:lnTo>
                    <a:lnTo>
                      <a:pt x="269" y="473"/>
                    </a:lnTo>
                    <a:lnTo>
                      <a:pt x="267" y="473"/>
                    </a:lnTo>
                    <a:lnTo>
                      <a:pt x="269" y="473"/>
                    </a:lnTo>
                    <a:lnTo>
                      <a:pt x="271" y="473"/>
                    </a:lnTo>
                    <a:lnTo>
                      <a:pt x="271" y="475"/>
                    </a:lnTo>
                    <a:lnTo>
                      <a:pt x="271" y="473"/>
                    </a:lnTo>
                    <a:lnTo>
                      <a:pt x="271" y="475"/>
                    </a:lnTo>
                    <a:lnTo>
                      <a:pt x="271" y="473"/>
                    </a:lnTo>
                    <a:lnTo>
                      <a:pt x="273" y="475"/>
                    </a:lnTo>
                    <a:lnTo>
                      <a:pt x="273" y="473"/>
                    </a:lnTo>
                    <a:lnTo>
                      <a:pt x="273" y="471"/>
                    </a:lnTo>
                    <a:lnTo>
                      <a:pt x="271" y="471"/>
                    </a:lnTo>
                    <a:lnTo>
                      <a:pt x="271" y="469"/>
                    </a:lnTo>
                    <a:lnTo>
                      <a:pt x="271" y="471"/>
                    </a:lnTo>
                    <a:lnTo>
                      <a:pt x="271" y="469"/>
                    </a:lnTo>
                    <a:lnTo>
                      <a:pt x="271" y="471"/>
                    </a:lnTo>
                    <a:lnTo>
                      <a:pt x="271" y="473"/>
                    </a:lnTo>
                    <a:lnTo>
                      <a:pt x="269" y="471"/>
                    </a:lnTo>
                    <a:lnTo>
                      <a:pt x="269" y="469"/>
                    </a:lnTo>
                    <a:lnTo>
                      <a:pt x="271" y="469"/>
                    </a:lnTo>
                    <a:lnTo>
                      <a:pt x="273" y="469"/>
                    </a:lnTo>
                    <a:lnTo>
                      <a:pt x="275" y="469"/>
                    </a:lnTo>
                    <a:lnTo>
                      <a:pt x="277" y="469"/>
                    </a:lnTo>
                    <a:lnTo>
                      <a:pt x="277" y="468"/>
                    </a:lnTo>
                    <a:lnTo>
                      <a:pt x="279" y="468"/>
                    </a:lnTo>
                    <a:lnTo>
                      <a:pt x="281" y="468"/>
                    </a:lnTo>
                    <a:lnTo>
                      <a:pt x="279" y="468"/>
                    </a:lnTo>
                    <a:lnTo>
                      <a:pt x="279" y="469"/>
                    </a:lnTo>
                    <a:lnTo>
                      <a:pt x="279" y="468"/>
                    </a:lnTo>
                    <a:lnTo>
                      <a:pt x="281" y="469"/>
                    </a:lnTo>
                    <a:lnTo>
                      <a:pt x="281" y="471"/>
                    </a:lnTo>
                    <a:lnTo>
                      <a:pt x="281" y="473"/>
                    </a:lnTo>
                    <a:lnTo>
                      <a:pt x="281" y="475"/>
                    </a:lnTo>
                    <a:lnTo>
                      <a:pt x="281" y="473"/>
                    </a:lnTo>
                    <a:lnTo>
                      <a:pt x="279" y="473"/>
                    </a:lnTo>
                    <a:lnTo>
                      <a:pt x="277" y="473"/>
                    </a:lnTo>
                    <a:lnTo>
                      <a:pt x="279" y="473"/>
                    </a:lnTo>
                    <a:lnTo>
                      <a:pt x="281" y="473"/>
                    </a:lnTo>
                    <a:lnTo>
                      <a:pt x="279" y="473"/>
                    </a:lnTo>
                    <a:lnTo>
                      <a:pt x="279" y="475"/>
                    </a:lnTo>
                    <a:lnTo>
                      <a:pt x="279" y="473"/>
                    </a:lnTo>
                    <a:lnTo>
                      <a:pt x="281" y="475"/>
                    </a:lnTo>
                    <a:lnTo>
                      <a:pt x="283" y="475"/>
                    </a:lnTo>
                    <a:lnTo>
                      <a:pt x="283" y="473"/>
                    </a:lnTo>
                    <a:lnTo>
                      <a:pt x="283" y="471"/>
                    </a:lnTo>
                    <a:lnTo>
                      <a:pt x="283" y="469"/>
                    </a:lnTo>
                    <a:lnTo>
                      <a:pt x="283" y="468"/>
                    </a:lnTo>
                    <a:lnTo>
                      <a:pt x="283" y="466"/>
                    </a:lnTo>
                    <a:lnTo>
                      <a:pt x="281" y="466"/>
                    </a:lnTo>
                    <a:lnTo>
                      <a:pt x="281" y="468"/>
                    </a:lnTo>
                    <a:lnTo>
                      <a:pt x="281" y="466"/>
                    </a:lnTo>
                    <a:lnTo>
                      <a:pt x="279" y="466"/>
                    </a:lnTo>
                    <a:lnTo>
                      <a:pt x="279" y="464"/>
                    </a:lnTo>
                    <a:lnTo>
                      <a:pt x="277" y="462"/>
                    </a:lnTo>
                    <a:lnTo>
                      <a:pt x="277" y="460"/>
                    </a:lnTo>
                    <a:lnTo>
                      <a:pt x="275" y="460"/>
                    </a:lnTo>
                    <a:lnTo>
                      <a:pt x="277" y="458"/>
                    </a:lnTo>
                    <a:lnTo>
                      <a:pt x="275" y="458"/>
                    </a:lnTo>
                    <a:lnTo>
                      <a:pt x="275" y="456"/>
                    </a:lnTo>
                    <a:lnTo>
                      <a:pt x="277" y="456"/>
                    </a:lnTo>
                    <a:lnTo>
                      <a:pt x="277" y="454"/>
                    </a:lnTo>
                    <a:lnTo>
                      <a:pt x="279" y="454"/>
                    </a:lnTo>
                    <a:lnTo>
                      <a:pt x="279" y="452"/>
                    </a:lnTo>
                    <a:lnTo>
                      <a:pt x="279" y="454"/>
                    </a:lnTo>
                    <a:lnTo>
                      <a:pt x="281" y="454"/>
                    </a:lnTo>
                    <a:lnTo>
                      <a:pt x="281" y="452"/>
                    </a:lnTo>
                    <a:lnTo>
                      <a:pt x="283" y="452"/>
                    </a:lnTo>
                    <a:lnTo>
                      <a:pt x="283" y="454"/>
                    </a:lnTo>
                    <a:lnTo>
                      <a:pt x="283" y="452"/>
                    </a:lnTo>
                    <a:lnTo>
                      <a:pt x="285" y="452"/>
                    </a:lnTo>
                    <a:lnTo>
                      <a:pt x="287" y="452"/>
                    </a:lnTo>
                    <a:lnTo>
                      <a:pt x="289" y="452"/>
                    </a:lnTo>
                    <a:lnTo>
                      <a:pt x="290" y="452"/>
                    </a:lnTo>
                    <a:lnTo>
                      <a:pt x="292" y="452"/>
                    </a:lnTo>
                    <a:lnTo>
                      <a:pt x="294" y="452"/>
                    </a:lnTo>
                    <a:lnTo>
                      <a:pt x="294" y="450"/>
                    </a:lnTo>
                    <a:lnTo>
                      <a:pt x="296" y="450"/>
                    </a:lnTo>
                    <a:lnTo>
                      <a:pt x="298" y="450"/>
                    </a:lnTo>
                    <a:lnTo>
                      <a:pt x="300" y="450"/>
                    </a:lnTo>
                    <a:lnTo>
                      <a:pt x="300" y="452"/>
                    </a:lnTo>
                    <a:lnTo>
                      <a:pt x="302" y="452"/>
                    </a:lnTo>
                    <a:lnTo>
                      <a:pt x="304" y="452"/>
                    </a:lnTo>
                    <a:lnTo>
                      <a:pt x="302" y="452"/>
                    </a:lnTo>
                    <a:lnTo>
                      <a:pt x="302" y="454"/>
                    </a:lnTo>
                    <a:lnTo>
                      <a:pt x="304" y="454"/>
                    </a:lnTo>
                    <a:lnTo>
                      <a:pt x="304" y="456"/>
                    </a:lnTo>
                    <a:lnTo>
                      <a:pt x="304" y="458"/>
                    </a:lnTo>
                    <a:lnTo>
                      <a:pt x="306" y="458"/>
                    </a:lnTo>
                    <a:lnTo>
                      <a:pt x="306" y="460"/>
                    </a:lnTo>
                    <a:lnTo>
                      <a:pt x="306" y="462"/>
                    </a:lnTo>
                    <a:lnTo>
                      <a:pt x="306" y="464"/>
                    </a:lnTo>
                    <a:lnTo>
                      <a:pt x="306" y="466"/>
                    </a:lnTo>
                    <a:lnTo>
                      <a:pt x="308" y="469"/>
                    </a:lnTo>
                    <a:lnTo>
                      <a:pt x="308" y="471"/>
                    </a:lnTo>
                    <a:lnTo>
                      <a:pt x="308" y="473"/>
                    </a:lnTo>
                    <a:lnTo>
                      <a:pt x="306" y="473"/>
                    </a:lnTo>
                    <a:lnTo>
                      <a:pt x="306" y="475"/>
                    </a:lnTo>
                    <a:lnTo>
                      <a:pt x="306" y="477"/>
                    </a:lnTo>
                    <a:lnTo>
                      <a:pt x="306" y="479"/>
                    </a:lnTo>
                    <a:lnTo>
                      <a:pt x="306" y="481"/>
                    </a:lnTo>
                    <a:lnTo>
                      <a:pt x="306" y="483"/>
                    </a:lnTo>
                    <a:lnTo>
                      <a:pt x="306" y="485"/>
                    </a:lnTo>
                    <a:lnTo>
                      <a:pt x="304" y="485"/>
                    </a:lnTo>
                    <a:lnTo>
                      <a:pt x="304" y="487"/>
                    </a:lnTo>
                    <a:lnTo>
                      <a:pt x="302" y="487"/>
                    </a:lnTo>
                    <a:lnTo>
                      <a:pt x="300" y="487"/>
                    </a:lnTo>
                    <a:lnTo>
                      <a:pt x="298" y="487"/>
                    </a:lnTo>
                    <a:lnTo>
                      <a:pt x="298" y="489"/>
                    </a:lnTo>
                    <a:lnTo>
                      <a:pt x="298" y="491"/>
                    </a:lnTo>
                    <a:lnTo>
                      <a:pt x="296" y="491"/>
                    </a:lnTo>
                    <a:lnTo>
                      <a:pt x="296" y="489"/>
                    </a:lnTo>
                    <a:lnTo>
                      <a:pt x="296" y="491"/>
                    </a:lnTo>
                    <a:lnTo>
                      <a:pt x="294" y="491"/>
                    </a:lnTo>
                    <a:lnTo>
                      <a:pt x="296" y="491"/>
                    </a:lnTo>
                    <a:lnTo>
                      <a:pt x="296" y="489"/>
                    </a:lnTo>
                    <a:lnTo>
                      <a:pt x="296" y="491"/>
                    </a:lnTo>
                    <a:lnTo>
                      <a:pt x="298" y="491"/>
                    </a:lnTo>
                    <a:lnTo>
                      <a:pt x="298" y="489"/>
                    </a:lnTo>
                    <a:lnTo>
                      <a:pt x="298" y="487"/>
                    </a:lnTo>
                    <a:lnTo>
                      <a:pt x="300" y="487"/>
                    </a:lnTo>
                    <a:lnTo>
                      <a:pt x="302" y="487"/>
                    </a:lnTo>
                    <a:lnTo>
                      <a:pt x="304" y="487"/>
                    </a:lnTo>
                    <a:lnTo>
                      <a:pt x="304" y="485"/>
                    </a:lnTo>
                    <a:lnTo>
                      <a:pt x="306" y="485"/>
                    </a:lnTo>
                    <a:lnTo>
                      <a:pt x="306" y="483"/>
                    </a:lnTo>
                    <a:lnTo>
                      <a:pt x="308" y="485"/>
                    </a:lnTo>
                    <a:lnTo>
                      <a:pt x="308" y="487"/>
                    </a:lnTo>
                    <a:lnTo>
                      <a:pt x="310" y="489"/>
                    </a:lnTo>
                    <a:lnTo>
                      <a:pt x="312" y="489"/>
                    </a:lnTo>
                    <a:lnTo>
                      <a:pt x="312" y="491"/>
                    </a:lnTo>
                    <a:lnTo>
                      <a:pt x="314" y="491"/>
                    </a:lnTo>
                    <a:lnTo>
                      <a:pt x="314" y="493"/>
                    </a:lnTo>
                    <a:lnTo>
                      <a:pt x="315" y="493"/>
                    </a:lnTo>
                    <a:lnTo>
                      <a:pt x="315" y="494"/>
                    </a:lnTo>
                    <a:lnTo>
                      <a:pt x="317" y="494"/>
                    </a:lnTo>
                    <a:lnTo>
                      <a:pt x="319" y="496"/>
                    </a:lnTo>
                    <a:lnTo>
                      <a:pt x="321" y="496"/>
                    </a:lnTo>
                    <a:lnTo>
                      <a:pt x="321" y="498"/>
                    </a:lnTo>
                    <a:lnTo>
                      <a:pt x="323" y="500"/>
                    </a:lnTo>
                    <a:lnTo>
                      <a:pt x="323" y="502"/>
                    </a:lnTo>
                    <a:lnTo>
                      <a:pt x="325" y="504"/>
                    </a:lnTo>
                    <a:lnTo>
                      <a:pt x="325" y="506"/>
                    </a:lnTo>
                    <a:lnTo>
                      <a:pt x="327" y="508"/>
                    </a:lnTo>
                    <a:lnTo>
                      <a:pt x="327" y="510"/>
                    </a:lnTo>
                    <a:lnTo>
                      <a:pt x="329" y="510"/>
                    </a:lnTo>
                    <a:lnTo>
                      <a:pt x="329" y="512"/>
                    </a:lnTo>
                    <a:lnTo>
                      <a:pt x="331" y="512"/>
                    </a:lnTo>
                    <a:lnTo>
                      <a:pt x="331" y="514"/>
                    </a:lnTo>
                    <a:lnTo>
                      <a:pt x="333" y="514"/>
                    </a:lnTo>
                    <a:lnTo>
                      <a:pt x="335" y="514"/>
                    </a:lnTo>
                    <a:lnTo>
                      <a:pt x="337" y="514"/>
                    </a:lnTo>
                    <a:lnTo>
                      <a:pt x="338" y="514"/>
                    </a:lnTo>
                    <a:lnTo>
                      <a:pt x="337" y="514"/>
                    </a:lnTo>
                    <a:lnTo>
                      <a:pt x="337" y="516"/>
                    </a:lnTo>
                    <a:lnTo>
                      <a:pt x="335" y="516"/>
                    </a:lnTo>
                    <a:lnTo>
                      <a:pt x="337" y="516"/>
                    </a:lnTo>
                    <a:lnTo>
                      <a:pt x="338" y="516"/>
                    </a:lnTo>
                    <a:lnTo>
                      <a:pt x="338" y="514"/>
                    </a:lnTo>
                    <a:lnTo>
                      <a:pt x="338" y="512"/>
                    </a:lnTo>
                    <a:lnTo>
                      <a:pt x="338" y="510"/>
                    </a:lnTo>
                    <a:lnTo>
                      <a:pt x="340" y="510"/>
                    </a:lnTo>
                    <a:lnTo>
                      <a:pt x="338" y="510"/>
                    </a:lnTo>
                    <a:lnTo>
                      <a:pt x="338" y="508"/>
                    </a:lnTo>
                    <a:lnTo>
                      <a:pt x="340" y="508"/>
                    </a:lnTo>
                    <a:lnTo>
                      <a:pt x="342" y="508"/>
                    </a:lnTo>
                    <a:lnTo>
                      <a:pt x="342" y="506"/>
                    </a:lnTo>
                    <a:lnTo>
                      <a:pt x="344" y="506"/>
                    </a:lnTo>
                    <a:lnTo>
                      <a:pt x="344" y="508"/>
                    </a:lnTo>
                    <a:lnTo>
                      <a:pt x="346" y="508"/>
                    </a:lnTo>
                    <a:lnTo>
                      <a:pt x="348" y="508"/>
                    </a:lnTo>
                    <a:lnTo>
                      <a:pt x="348" y="510"/>
                    </a:lnTo>
                    <a:lnTo>
                      <a:pt x="348" y="512"/>
                    </a:lnTo>
                    <a:lnTo>
                      <a:pt x="350" y="512"/>
                    </a:lnTo>
                    <a:lnTo>
                      <a:pt x="350" y="514"/>
                    </a:lnTo>
                    <a:lnTo>
                      <a:pt x="352" y="514"/>
                    </a:lnTo>
                    <a:lnTo>
                      <a:pt x="352" y="516"/>
                    </a:lnTo>
                    <a:lnTo>
                      <a:pt x="354" y="516"/>
                    </a:lnTo>
                    <a:lnTo>
                      <a:pt x="354" y="518"/>
                    </a:lnTo>
                    <a:lnTo>
                      <a:pt x="356" y="518"/>
                    </a:lnTo>
                    <a:lnTo>
                      <a:pt x="356" y="519"/>
                    </a:lnTo>
                    <a:lnTo>
                      <a:pt x="358" y="521"/>
                    </a:lnTo>
                    <a:lnTo>
                      <a:pt x="360" y="521"/>
                    </a:lnTo>
                    <a:lnTo>
                      <a:pt x="362" y="523"/>
                    </a:lnTo>
                    <a:lnTo>
                      <a:pt x="363" y="523"/>
                    </a:lnTo>
                    <a:lnTo>
                      <a:pt x="363" y="525"/>
                    </a:lnTo>
                    <a:lnTo>
                      <a:pt x="365" y="525"/>
                    </a:lnTo>
                    <a:lnTo>
                      <a:pt x="365" y="527"/>
                    </a:lnTo>
                    <a:lnTo>
                      <a:pt x="367" y="527"/>
                    </a:lnTo>
                    <a:lnTo>
                      <a:pt x="367" y="529"/>
                    </a:lnTo>
                    <a:lnTo>
                      <a:pt x="369" y="529"/>
                    </a:lnTo>
                    <a:lnTo>
                      <a:pt x="369" y="531"/>
                    </a:lnTo>
                    <a:lnTo>
                      <a:pt x="371" y="531"/>
                    </a:lnTo>
                    <a:lnTo>
                      <a:pt x="371" y="533"/>
                    </a:lnTo>
                    <a:lnTo>
                      <a:pt x="371" y="535"/>
                    </a:lnTo>
                    <a:lnTo>
                      <a:pt x="369" y="537"/>
                    </a:lnTo>
                    <a:lnTo>
                      <a:pt x="369" y="539"/>
                    </a:lnTo>
                    <a:lnTo>
                      <a:pt x="369" y="541"/>
                    </a:lnTo>
                    <a:lnTo>
                      <a:pt x="369" y="543"/>
                    </a:lnTo>
                    <a:lnTo>
                      <a:pt x="369" y="544"/>
                    </a:lnTo>
                    <a:lnTo>
                      <a:pt x="369" y="546"/>
                    </a:lnTo>
                    <a:lnTo>
                      <a:pt x="371" y="546"/>
                    </a:lnTo>
                    <a:lnTo>
                      <a:pt x="371" y="548"/>
                    </a:lnTo>
                    <a:lnTo>
                      <a:pt x="369" y="548"/>
                    </a:lnTo>
                    <a:lnTo>
                      <a:pt x="367" y="548"/>
                    </a:lnTo>
                    <a:lnTo>
                      <a:pt x="367" y="550"/>
                    </a:lnTo>
                    <a:lnTo>
                      <a:pt x="365" y="550"/>
                    </a:lnTo>
                    <a:lnTo>
                      <a:pt x="363" y="550"/>
                    </a:lnTo>
                    <a:lnTo>
                      <a:pt x="362" y="550"/>
                    </a:lnTo>
                    <a:lnTo>
                      <a:pt x="362" y="548"/>
                    </a:lnTo>
                    <a:lnTo>
                      <a:pt x="360" y="548"/>
                    </a:lnTo>
                    <a:lnTo>
                      <a:pt x="358" y="548"/>
                    </a:lnTo>
                    <a:lnTo>
                      <a:pt x="358" y="546"/>
                    </a:lnTo>
                    <a:lnTo>
                      <a:pt x="356" y="546"/>
                    </a:lnTo>
                    <a:lnTo>
                      <a:pt x="354" y="546"/>
                    </a:lnTo>
                    <a:lnTo>
                      <a:pt x="352" y="546"/>
                    </a:lnTo>
                    <a:lnTo>
                      <a:pt x="352" y="544"/>
                    </a:lnTo>
                    <a:lnTo>
                      <a:pt x="350" y="544"/>
                    </a:lnTo>
                    <a:lnTo>
                      <a:pt x="348" y="546"/>
                    </a:lnTo>
                    <a:lnTo>
                      <a:pt x="348" y="548"/>
                    </a:lnTo>
                    <a:lnTo>
                      <a:pt x="348" y="546"/>
                    </a:lnTo>
                    <a:lnTo>
                      <a:pt x="350" y="544"/>
                    </a:lnTo>
                    <a:lnTo>
                      <a:pt x="350" y="543"/>
                    </a:lnTo>
                    <a:lnTo>
                      <a:pt x="350" y="541"/>
                    </a:lnTo>
                    <a:lnTo>
                      <a:pt x="350" y="539"/>
                    </a:lnTo>
                    <a:lnTo>
                      <a:pt x="350" y="537"/>
                    </a:lnTo>
                    <a:lnTo>
                      <a:pt x="348" y="537"/>
                    </a:lnTo>
                    <a:lnTo>
                      <a:pt x="348" y="535"/>
                    </a:lnTo>
                    <a:lnTo>
                      <a:pt x="350" y="535"/>
                    </a:lnTo>
                    <a:lnTo>
                      <a:pt x="350" y="533"/>
                    </a:lnTo>
                    <a:lnTo>
                      <a:pt x="352" y="533"/>
                    </a:lnTo>
                    <a:lnTo>
                      <a:pt x="352" y="531"/>
                    </a:lnTo>
                    <a:lnTo>
                      <a:pt x="352" y="529"/>
                    </a:lnTo>
                    <a:lnTo>
                      <a:pt x="350" y="529"/>
                    </a:lnTo>
                    <a:lnTo>
                      <a:pt x="350" y="527"/>
                    </a:lnTo>
                    <a:lnTo>
                      <a:pt x="352" y="527"/>
                    </a:lnTo>
                    <a:lnTo>
                      <a:pt x="352" y="525"/>
                    </a:lnTo>
                    <a:lnTo>
                      <a:pt x="350" y="525"/>
                    </a:lnTo>
                    <a:lnTo>
                      <a:pt x="352" y="525"/>
                    </a:lnTo>
                    <a:lnTo>
                      <a:pt x="352" y="523"/>
                    </a:lnTo>
                    <a:lnTo>
                      <a:pt x="352" y="521"/>
                    </a:lnTo>
                    <a:lnTo>
                      <a:pt x="350" y="521"/>
                    </a:lnTo>
                    <a:lnTo>
                      <a:pt x="350" y="519"/>
                    </a:lnTo>
                    <a:lnTo>
                      <a:pt x="348" y="519"/>
                    </a:lnTo>
                    <a:lnTo>
                      <a:pt x="348" y="521"/>
                    </a:lnTo>
                    <a:lnTo>
                      <a:pt x="346" y="521"/>
                    </a:lnTo>
                    <a:lnTo>
                      <a:pt x="346" y="519"/>
                    </a:lnTo>
                    <a:lnTo>
                      <a:pt x="346" y="521"/>
                    </a:lnTo>
                    <a:lnTo>
                      <a:pt x="346" y="523"/>
                    </a:lnTo>
                    <a:lnTo>
                      <a:pt x="348" y="525"/>
                    </a:lnTo>
                    <a:lnTo>
                      <a:pt x="348" y="527"/>
                    </a:lnTo>
                    <a:lnTo>
                      <a:pt x="350" y="527"/>
                    </a:lnTo>
                    <a:lnTo>
                      <a:pt x="348" y="527"/>
                    </a:lnTo>
                    <a:lnTo>
                      <a:pt x="348" y="529"/>
                    </a:lnTo>
                    <a:lnTo>
                      <a:pt x="350" y="529"/>
                    </a:lnTo>
                    <a:lnTo>
                      <a:pt x="348" y="529"/>
                    </a:lnTo>
                    <a:lnTo>
                      <a:pt x="346" y="529"/>
                    </a:lnTo>
                    <a:lnTo>
                      <a:pt x="344" y="529"/>
                    </a:lnTo>
                    <a:lnTo>
                      <a:pt x="342" y="529"/>
                    </a:lnTo>
                    <a:lnTo>
                      <a:pt x="340" y="531"/>
                    </a:lnTo>
                    <a:lnTo>
                      <a:pt x="340" y="533"/>
                    </a:lnTo>
                    <a:lnTo>
                      <a:pt x="340" y="535"/>
                    </a:lnTo>
                    <a:lnTo>
                      <a:pt x="340" y="537"/>
                    </a:lnTo>
                    <a:lnTo>
                      <a:pt x="338" y="537"/>
                    </a:lnTo>
                    <a:lnTo>
                      <a:pt x="338" y="539"/>
                    </a:lnTo>
                    <a:lnTo>
                      <a:pt x="340" y="539"/>
                    </a:lnTo>
                    <a:lnTo>
                      <a:pt x="338" y="539"/>
                    </a:lnTo>
                    <a:lnTo>
                      <a:pt x="338" y="541"/>
                    </a:lnTo>
                    <a:lnTo>
                      <a:pt x="338" y="543"/>
                    </a:lnTo>
                    <a:lnTo>
                      <a:pt x="340" y="543"/>
                    </a:lnTo>
                    <a:lnTo>
                      <a:pt x="342" y="543"/>
                    </a:lnTo>
                    <a:lnTo>
                      <a:pt x="344" y="543"/>
                    </a:lnTo>
                    <a:lnTo>
                      <a:pt x="344" y="544"/>
                    </a:lnTo>
                    <a:lnTo>
                      <a:pt x="346" y="543"/>
                    </a:lnTo>
                    <a:lnTo>
                      <a:pt x="348" y="543"/>
                    </a:lnTo>
                    <a:lnTo>
                      <a:pt x="348" y="544"/>
                    </a:lnTo>
                    <a:lnTo>
                      <a:pt x="348" y="546"/>
                    </a:lnTo>
                    <a:lnTo>
                      <a:pt x="346" y="546"/>
                    </a:lnTo>
                    <a:lnTo>
                      <a:pt x="344" y="546"/>
                    </a:lnTo>
                    <a:lnTo>
                      <a:pt x="344" y="548"/>
                    </a:lnTo>
                    <a:lnTo>
                      <a:pt x="344" y="546"/>
                    </a:lnTo>
                    <a:lnTo>
                      <a:pt x="344" y="548"/>
                    </a:lnTo>
                    <a:lnTo>
                      <a:pt x="342" y="548"/>
                    </a:lnTo>
                    <a:lnTo>
                      <a:pt x="342" y="550"/>
                    </a:lnTo>
                    <a:lnTo>
                      <a:pt x="340" y="550"/>
                    </a:lnTo>
                    <a:lnTo>
                      <a:pt x="338" y="550"/>
                    </a:lnTo>
                    <a:lnTo>
                      <a:pt x="338" y="552"/>
                    </a:lnTo>
                    <a:lnTo>
                      <a:pt x="338" y="550"/>
                    </a:lnTo>
                    <a:lnTo>
                      <a:pt x="338" y="552"/>
                    </a:lnTo>
                    <a:lnTo>
                      <a:pt x="337" y="552"/>
                    </a:lnTo>
                    <a:lnTo>
                      <a:pt x="337" y="554"/>
                    </a:lnTo>
                    <a:lnTo>
                      <a:pt x="337" y="556"/>
                    </a:lnTo>
                    <a:lnTo>
                      <a:pt x="335" y="556"/>
                    </a:lnTo>
                    <a:lnTo>
                      <a:pt x="337" y="556"/>
                    </a:lnTo>
                    <a:lnTo>
                      <a:pt x="335" y="556"/>
                    </a:lnTo>
                    <a:lnTo>
                      <a:pt x="335" y="558"/>
                    </a:lnTo>
                    <a:lnTo>
                      <a:pt x="335" y="560"/>
                    </a:lnTo>
                    <a:lnTo>
                      <a:pt x="333" y="560"/>
                    </a:lnTo>
                    <a:lnTo>
                      <a:pt x="331" y="560"/>
                    </a:lnTo>
                    <a:lnTo>
                      <a:pt x="329" y="560"/>
                    </a:lnTo>
                    <a:lnTo>
                      <a:pt x="327" y="560"/>
                    </a:lnTo>
                    <a:lnTo>
                      <a:pt x="327" y="562"/>
                    </a:lnTo>
                    <a:lnTo>
                      <a:pt x="325" y="562"/>
                    </a:lnTo>
                    <a:lnTo>
                      <a:pt x="323" y="562"/>
                    </a:lnTo>
                    <a:lnTo>
                      <a:pt x="321" y="564"/>
                    </a:lnTo>
                    <a:lnTo>
                      <a:pt x="319" y="564"/>
                    </a:lnTo>
                    <a:lnTo>
                      <a:pt x="319" y="566"/>
                    </a:lnTo>
                    <a:lnTo>
                      <a:pt x="317" y="564"/>
                    </a:lnTo>
                    <a:lnTo>
                      <a:pt x="317" y="566"/>
                    </a:lnTo>
                    <a:lnTo>
                      <a:pt x="315" y="566"/>
                    </a:lnTo>
                    <a:lnTo>
                      <a:pt x="315" y="564"/>
                    </a:lnTo>
                    <a:lnTo>
                      <a:pt x="315" y="566"/>
                    </a:lnTo>
                    <a:lnTo>
                      <a:pt x="317" y="566"/>
                    </a:lnTo>
                    <a:lnTo>
                      <a:pt x="319" y="566"/>
                    </a:lnTo>
                    <a:lnTo>
                      <a:pt x="319" y="564"/>
                    </a:lnTo>
                    <a:lnTo>
                      <a:pt x="321" y="564"/>
                    </a:lnTo>
                    <a:lnTo>
                      <a:pt x="323" y="564"/>
                    </a:lnTo>
                    <a:lnTo>
                      <a:pt x="323" y="562"/>
                    </a:lnTo>
                    <a:lnTo>
                      <a:pt x="325" y="562"/>
                    </a:lnTo>
                    <a:lnTo>
                      <a:pt x="327" y="562"/>
                    </a:lnTo>
                    <a:lnTo>
                      <a:pt x="327" y="560"/>
                    </a:lnTo>
                    <a:lnTo>
                      <a:pt x="329" y="560"/>
                    </a:lnTo>
                    <a:lnTo>
                      <a:pt x="331" y="560"/>
                    </a:lnTo>
                    <a:lnTo>
                      <a:pt x="333" y="560"/>
                    </a:lnTo>
                    <a:lnTo>
                      <a:pt x="335" y="560"/>
                    </a:lnTo>
                    <a:lnTo>
                      <a:pt x="335" y="558"/>
                    </a:lnTo>
                    <a:lnTo>
                      <a:pt x="337" y="558"/>
                    </a:lnTo>
                    <a:lnTo>
                      <a:pt x="337" y="556"/>
                    </a:lnTo>
                    <a:lnTo>
                      <a:pt x="337" y="558"/>
                    </a:lnTo>
                    <a:lnTo>
                      <a:pt x="337" y="556"/>
                    </a:lnTo>
                    <a:lnTo>
                      <a:pt x="338" y="556"/>
                    </a:lnTo>
                    <a:lnTo>
                      <a:pt x="338" y="554"/>
                    </a:lnTo>
                    <a:lnTo>
                      <a:pt x="338" y="552"/>
                    </a:lnTo>
                    <a:lnTo>
                      <a:pt x="340" y="552"/>
                    </a:lnTo>
                    <a:lnTo>
                      <a:pt x="340" y="550"/>
                    </a:lnTo>
                    <a:lnTo>
                      <a:pt x="342" y="550"/>
                    </a:lnTo>
                    <a:lnTo>
                      <a:pt x="342" y="548"/>
                    </a:lnTo>
                    <a:lnTo>
                      <a:pt x="344" y="548"/>
                    </a:lnTo>
                    <a:lnTo>
                      <a:pt x="346" y="548"/>
                    </a:lnTo>
                    <a:lnTo>
                      <a:pt x="348" y="548"/>
                    </a:lnTo>
                    <a:lnTo>
                      <a:pt x="346" y="550"/>
                    </a:lnTo>
                    <a:lnTo>
                      <a:pt x="346" y="548"/>
                    </a:lnTo>
                    <a:lnTo>
                      <a:pt x="346" y="550"/>
                    </a:lnTo>
                    <a:lnTo>
                      <a:pt x="344" y="552"/>
                    </a:lnTo>
                    <a:lnTo>
                      <a:pt x="346" y="550"/>
                    </a:lnTo>
                    <a:lnTo>
                      <a:pt x="346" y="552"/>
                    </a:lnTo>
                    <a:lnTo>
                      <a:pt x="344" y="552"/>
                    </a:lnTo>
                    <a:lnTo>
                      <a:pt x="346" y="550"/>
                    </a:lnTo>
                    <a:lnTo>
                      <a:pt x="346" y="552"/>
                    </a:lnTo>
                    <a:lnTo>
                      <a:pt x="344" y="552"/>
                    </a:lnTo>
                    <a:lnTo>
                      <a:pt x="346" y="552"/>
                    </a:lnTo>
                    <a:lnTo>
                      <a:pt x="344" y="554"/>
                    </a:lnTo>
                    <a:lnTo>
                      <a:pt x="344" y="556"/>
                    </a:lnTo>
                    <a:lnTo>
                      <a:pt x="344" y="554"/>
                    </a:lnTo>
                    <a:lnTo>
                      <a:pt x="346" y="552"/>
                    </a:lnTo>
                    <a:lnTo>
                      <a:pt x="344" y="554"/>
                    </a:lnTo>
                    <a:lnTo>
                      <a:pt x="346" y="552"/>
                    </a:lnTo>
                    <a:lnTo>
                      <a:pt x="346" y="550"/>
                    </a:lnTo>
                    <a:lnTo>
                      <a:pt x="348" y="548"/>
                    </a:lnTo>
                    <a:lnTo>
                      <a:pt x="348" y="550"/>
                    </a:lnTo>
                    <a:lnTo>
                      <a:pt x="346" y="550"/>
                    </a:lnTo>
                    <a:lnTo>
                      <a:pt x="346" y="552"/>
                    </a:lnTo>
                    <a:lnTo>
                      <a:pt x="344" y="554"/>
                    </a:lnTo>
                    <a:lnTo>
                      <a:pt x="344" y="556"/>
                    </a:lnTo>
                    <a:lnTo>
                      <a:pt x="344" y="558"/>
                    </a:lnTo>
                    <a:lnTo>
                      <a:pt x="342" y="560"/>
                    </a:lnTo>
                    <a:lnTo>
                      <a:pt x="342" y="562"/>
                    </a:lnTo>
                    <a:lnTo>
                      <a:pt x="342" y="564"/>
                    </a:lnTo>
                    <a:lnTo>
                      <a:pt x="342" y="566"/>
                    </a:lnTo>
                    <a:lnTo>
                      <a:pt x="344" y="566"/>
                    </a:lnTo>
                    <a:lnTo>
                      <a:pt x="344" y="568"/>
                    </a:lnTo>
                    <a:lnTo>
                      <a:pt x="346" y="568"/>
                    </a:lnTo>
                    <a:lnTo>
                      <a:pt x="346" y="569"/>
                    </a:lnTo>
                    <a:lnTo>
                      <a:pt x="346" y="571"/>
                    </a:lnTo>
                    <a:lnTo>
                      <a:pt x="348" y="571"/>
                    </a:lnTo>
                    <a:lnTo>
                      <a:pt x="348" y="573"/>
                    </a:lnTo>
                    <a:lnTo>
                      <a:pt x="348" y="575"/>
                    </a:lnTo>
                    <a:lnTo>
                      <a:pt x="348" y="577"/>
                    </a:lnTo>
                    <a:lnTo>
                      <a:pt x="350" y="579"/>
                    </a:lnTo>
                    <a:lnTo>
                      <a:pt x="350" y="581"/>
                    </a:lnTo>
                    <a:lnTo>
                      <a:pt x="352" y="583"/>
                    </a:lnTo>
                    <a:lnTo>
                      <a:pt x="352" y="585"/>
                    </a:lnTo>
                    <a:lnTo>
                      <a:pt x="352" y="587"/>
                    </a:lnTo>
                    <a:lnTo>
                      <a:pt x="352" y="589"/>
                    </a:lnTo>
                    <a:lnTo>
                      <a:pt x="354" y="589"/>
                    </a:lnTo>
                    <a:lnTo>
                      <a:pt x="354" y="591"/>
                    </a:lnTo>
                    <a:lnTo>
                      <a:pt x="354" y="592"/>
                    </a:lnTo>
                    <a:lnTo>
                      <a:pt x="356" y="594"/>
                    </a:lnTo>
                    <a:lnTo>
                      <a:pt x="356" y="596"/>
                    </a:lnTo>
                    <a:lnTo>
                      <a:pt x="358" y="598"/>
                    </a:lnTo>
                    <a:lnTo>
                      <a:pt x="360" y="602"/>
                    </a:lnTo>
                    <a:lnTo>
                      <a:pt x="362" y="604"/>
                    </a:lnTo>
                    <a:lnTo>
                      <a:pt x="362" y="606"/>
                    </a:lnTo>
                    <a:lnTo>
                      <a:pt x="363" y="606"/>
                    </a:lnTo>
                    <a:lnTo>
                      <a:pt x="363" y="608"/>
                    </a:lnTo>
                    <a:lnTo>
                      <a:pt x="362" y="608"/>
                    </a:lnTo>
                    <a:lnTo>
                      <a:pt x="362" y="610"/>
                    </a:lnTo>
                    <a:lnTo>
                      <a:pt x="360" y="610"/>
                    </a:lnTo>
                    <a:lnTo>
                      <a:pt x="358" y="610"/>
                    </a:lnTo>
                    <a:lnTo>
                      <a:pt x="358" y="612"/>
                    </a:lnTo>
                    <a:lnTo>
                      <a:pt x="358" y="610"/>
                    </a:lnTo>
                    <a:lnTo>
                      <a:pt x="360" y="610"/>
                    </a:lnTo>
                    <a:lnTo>
                      <a:pt x="362" y="610"/>
                    </a:lnTo>
                    <a:lnTo>
                      <a:pt x="362" y="608"/>
                    </a:lnTo>
                    <a:lnTo>
                      <a:pt x="363" y="608"/>
                    </a:lnTo>
                    <a:lnTo>
                      <a:pt x="362" y="608"/>
                    </a:lnTo>
                    <a:lnTo>
                      <a:pt x="363" y="608"/>
                    </a:lnTo>
                    <a:lnTo>
                      <a:pt x="365" y="608"/>
                    </a:lnTo>
                    <a:lnTo>
                      <a:pt x="365" y="610"/>
                    </a:lnTo>
                    <a:lnTo>
                      <a:pt x="367" y="610"/>
                    </a:lnTo>
                    <a:lnTo>
                      <a:pt x="367" y="612"/>
                    </a:lnTo>
                    <a:lnTo>
                      <a:pt x="369" y="612"/>
                    </a:lnTo>
                    <a:lnTo>
                      <a:pt x="369" y="614"/>
                    </a:lnTo>
                    <a:lnTo>
                      <a:pt x="373" y="616"/>
                    </a:lnTo>
                    <a:lnTo>
                      <a:pt x="373" y="617"/>
                    </a:lnTo>
                    <a:lnTo>
                      <a:pt x="375" y="617"/>
                    </a:lnTo>
                    <a:lnTo>
                      <a:pt x="377" y="619"/>
                    </a:lnTo>
                    <a:lnTo>
                      <a:pt x="379" y="619"/>
                    </a:lnTo>
                    <a:lnTo>
                      <a:pt x="379" y="621"/>
                    </a:lnTo>
                    <a:lnTo>
                      <a:pt x="381" y="621"/>
                    </a:lnTo>
                    <a:lnTo>
                      <a:pt x="381" y="623"/>
                    </a:lnTo>
                    <a:lnTo>
                      <a:pt x="381" y="621"/>
                    </a:lnTo>
                    <a:lnTo>
                      <a:pt x="383" y="621"/>
                    </a:lnTo>
                    <a:lnTo>
                      <a:pt x="385" y="621"/>
                    </a:lnTo>
                    <a:lnTo>
                      <a:pt x="385" y="623"/>
                    </a:lnTo>
                    <a:lnTo>
                      <a:pt x="387" y="623"/>
                    </a:lnTo>
                    <a:lnTo>
                      <a:pt x="388" y="623"/>
                    </a:lnTo>
                    <a:lnTo>
                      <a:pt x="390" y="625"/>
                    </a:lnTo>
                    <a:lnTo>
                      <a:pt x="392" y="625"/>
                    </a:lnTo>
                    <a:lnTo>
                      <a:pt x="392" y="627"/>
                    </a:lnTo>
                    <a:lnTo>
                      <a:pt x="394" y="627"/>
                    </a:lnTo>
                    <a:lnTo>
                      <a:pt x="396" y="627"/>
                    </a:lnTo>
                    <a:lnTo>
                      <a:pt x="398" y="627"/>
                    </a:lnTo>
                    <a:lnTo>
                      <a:pt x="398" y="629"/>
                    </a:lnTo>
                    <a:lnTo>
                      <a:pt x="398" y="631"/>
                    </a:lnTo>
                    <a:lnTo>
                      <a:pt x="400" y="631"/>
                    </a:lnTo>
                    <a:lnTo>
                      <a:pt x="400" y="633"/>
                    </a:lnTo>
                    <a:lnTo>
                      <a:pt x="402" y="633"/>
                    </a:lnTo>
                    <a:lnTo>
                      <a:pt x="402" y="635"/>
                    </a:lnTo>
                    <a:lnTo>
                      <a:pt x="400" y="635"/>
                    </a:lnTo>
                    <a:lnTo>
                      <a:pt x="400" y="637"/>
                    </a:lnTo>
                    <a:lnTo>
                      <a:pt x="402" y="637"/>
                    </a:lnTo>
                    <a:lnTo>
                      <a:pt x="402" y="639"/>
                    </a:lnTo>
                    <a:lnTo>
                      <a:pt x="400" y="639"/>
                    </a:lnTo>
                    <a:lnTo>
                      <a:pt x="400" y="641"/>
                    </a:lnTo>
                    <a:lnTo>
                      <a:pt x="402" y="641"/>
                    </a:lnTo>
                    <a:lnTo>
                      <a:pt x="402" y="642"/>
                    </a:lnTo>
                    <a:lnTo>
                      <a:pt x="402" y="644"/>
                    </a:lnTo>
                    <a:lnTo>
                      <a:pt x="400" y="644"/>
                    </a:lnTo>
                    <a:lnTo>
                      <a:pt x="400" y="646"/>
                    </a:lnTo>
                    <a:lnTo>
                      <a:pt x="400" y="648"/>
                    </a:lnTo>
                    <a:lnTo>
                      <a:pt x="400" y="650"/>
                    </a:lnTo>
                    <a:lnTo>
                      <a:pt x="402" y="650"/>
                    </a:lnTo>
                    <a:lnTo>
                      <a:pt x="402" y="652"/>
                    </a:lnTo>
                    <a:lnTo>
                      <a:pt x="402" y="654"/>
                    </a:lnTo>
                    <a:lnTo>
                      <a:pt x="402" y="656"/>
                    </a:lnTo>
                    <a:lnTo>
                      <a:pt x="400" y="656"/>
                    </a:lnTo>
                    <a:lnTo>
                      <a:pt x="398" y="656"/>
                    </a:lnTo>
                    <a:lnTo>
                      <a:pt x="398" y="658"/>
                    </a:lnTo>
                    <a:lnTo>
                      <a:pt x="396" y="658"/>
                    </a:lnTo>
                    <a:lnTo>
                      <a:pt x="396" y="660"/>
                    </a:lnTo>
                    <a:lnTo>
                      <a:pt x="394" y="660"/>
                    </a:lnTo>
                    <a:lnTo>
                      <a:pt x="394" y="662"/>
                    </a:lnTo>
                    <a:lnTo>
                      <a:pt x="392" y="664"/>
                    </a:lnTo>
                    <a:lnTo>
                      <a:pt x="390" y="666"/>
                    </a:lnTo>
                    <a:lnTo>
                      <a:pt x="388" y="666"/>
                    </a:lnTo>
                    <a:lnTo>
                      <a:pt x="387" y="666"/>
                    </a:lnTo>
                    <a:lnTo>
                      <a:pt x="387" y="664"/>
                    </a:lnTo>
                    <a:lnTo>
                      <a:pt x="385" y="664"/>
                    </a:lnTo>
                    <a:lnTo>
                      <a:pt x="385" y="662"/>
                    </a:lnTo>
                    <a:lnTo>
                      <a:pt x="383" y="662"/>
                    </a:lnTo>
                    <a:lnTo>
                      <a:pt x="383" y="664"/>
                    </a:lnTo>
                    <a:lnTo>
                      <a:pt x="381" y="664"/>
                    </a:lnTo>
                    <a:lnTo>
                      <a:pt x="379" y="666"/>
                    </a:lnTo>
                    <a:lnTo>
                      <a:pt x="379" y="667"/>
                    </a:lnTo>
                    <a:lnTo>
                      <a:pt x="377" y="667"/>
                    </a:lnTo>
                    <a:lnTo>
                      <a:pt x="377" y="669"/>
                    </a:lnTo>
                    <a:lnTo>
                      <a:pt x="377" y="671"/>
                    </a:lnTo>
                    <a:lnTo>
                      <a:pt x="375" y="671"/>
                    </a:lnTo>
                    <a:lnTo>
                      <a:pt x="375" y="675"/>
                    </a:lnTo>
                    <a:lnTo>
                      <a:pt x="373" y="677"/>
                    </a:lnTo>
                    <a:lnTo>
                      <a:pt x="375" y="679"/>
                    </a:lnTo>
                    <a:lnTo>
                      <a:pt x="373" y="677"/>
                    </a:lnTo>
                    <a:lnTo>
                      <a:pt x="373" y="679"/>
                    </a:lnTo>
                    <a:lnTo>
                      <a:pt x="373" y="681"/>
                    </a:lnTo>
                    <a:lnTo>
                      <a:pt x="373" y="687"/>
                    </a:lnTo>
                    <a:lnTo>
                      <a:pt x="373" y="689"/>
                    </a:lnTo>
                    <a:lnTo>
                      <a:pt x="373" y="691"/>
                    </a:lnTo>
                    <a:lnTo>
                      <a:pt x="371" y="691"/>
                    </a:lnTo>
                    <a:lnTo>
                      <a:pt x="373" y="692"/>
                    </a:lnTo>
                    <a:lnTo>
                      <a:pt x="373" y="694"/>
                    </a:lnTo>
                    <a:lnTo>
                      <a:pt x="373" y="696"/>
                    </a:lnTo>
                    <a:lnTo>
                      <a:pt x="373" y="698"/>
                    </a:lnTo>
                    <a:lnTo>
                      <a:pt x="373" y="700"/>
                    </a:lnTo>
                    <a:lnTo>
                      <a:pt x="371" y="700"/>
                    </a:lnTo>
                    <a:lnTo>
                      <a:pt x="373" y="700"/>
                    </a:lnTo>
                    <a:lnTo>
                      <a:pt x="371" y="700"/>
                    </a:lnTo>
                    <a:lnTo>
                      <a:pt x="371" y="702"/>
                    </a:lnTo>
                    <a:lnTo>
                      <a:pt x="371" y="704"/>
                    </a:lnTo>
                    <a:lnTo>
                      <a:pt x="371" y="706"/>
                    </a:lnTo>
                    <a:lnTo>
                      <a:pt x="371" y="708"/>
                    </a:lnTo>
                    <a:lnTo>
                      <a:pt x="371" y="710"/>
                    </a:lnTo>
                    <a:lnTo>
                      <a:pt x="371" y="712"/>
                    </a:lnTo>
                    <a:lnTo>
                      <a:pt x="373" y="714"/>
                    </a:lnTo>
                    <a:lnTo>
                      <a:pt x="371" y="714"/>
                    </a:lnTo>
                    <a:lnTo>
                      <a:pt x="371" y="712"/>
                    </a:lnTo>
                    <a:lnTo>
                      <a:pt x="371" y="710"/>
                    </a:lnTo>
                    <a:lnTo>
                      <a:pt x="369" y="710"/>
                    </a:lnTo>
                    <a:lnTo>
                      <a:pt x="371" y="710"/>
                    </a:lnTo>
                    <a:lnTo>
                      <a:pt x="371" y="712"/>
                    </a:lnTo>
                    <a:lnTo>
                      <a:pt x="371" y="714"/>
                    </a:lnTo>
                    <a:lnTo>
                      <a:pt x="373" y="714"/>
                    </a:lnTo>
                    <a:lnTo>
                      <a:pt x="373" y="716"/>
                    </a:lnTo>
                    <a:lnTo>
                      <a:pt x="373" y="714"/>
                    </a:lnTo>
                    <a:lnTo>
                      <a:pt x="373" y="716"/>
                    </a:lnTo>
                    <a:lnTo>
                      <a:pt x="373" y="717"/>
                    </a:lnTo>
                    <a:lnTo>
                      <a:pt x="375" y="717"/>
                    </a:lnTo>
                    <a:lnTo>
                      <a:pt x="375" y="719"/>
                    </a:lnTo>
                    <a:lnTo>
                      <a:pt x="375" y="721"/>
                    </a:lnTo>
                    <a:lnTo>
                      <a:pt x="377" y="723"/>
                    </a:lnTo>
                    <a:lnTo>
                      <a:pt x="377" y="725"/>
                    </a:lnTo>
                    <a:lnTo>
                      <a:pt x="377" y="727"/>
                    </a:lnTo>
                    <a:lnTo>
                      <a:pt x="379" y="727"/>
                    </a:lnTo>
                    <a:lnTo>
                      <a:pt x="379" y="729"/>
                    </a:lnTo>
                    <a:lnTo>
                      <a:pt x="381" y="731"/>
                    </a:lnTo>
                    <a:lnTo>
                      <a:pt x="381" y="733"/>
                    </a:lnTo>
                    <a:lnTo>
                      <a:pt x="383" y="735"/>
                    </a:lnTo>
                    <a:lnTo>
                      <a:pt x="385" y="737"/>
                    </a:lnTo>
                    <a:lnTo>
                      <a:pt x="387" y="739"/>
                    </a:lnTo>
                    <a:lnTo>
                      <a:pt x="385" y="739"/>
                    </a:lnTo>
                    <a:lnTo>
                      <a:pt x="387" y="739"/>
                    </a:lnTo>
                    <a:lnTo>
                      <a:pt x="387" y="741"/>
                    </a:lnTo>
                    <a:lnTo>
                      <a:pt x="385" y="739"/>
                    </a:lnTo>
                    <a:lnTo>
                      <a:pt x="383" y="739"/>
                    </a:lnTo>
                    <a:lnTo>
                      <a:pt x="381" y="739"/>
                    </a:lnTo>
                    <a:lnTo>
                      <a:pt x="379" y="739"/>
                    </a:lnTo>
                    <a:lnTo>
                      <a:pt x="377" y="739"/>
                    </a:lnTo>
                    <a:lnTo>
                      <a:pt x="377" y="741"/>
                    </a:lnTo>
                    <a:lnTo>
                      <a:pt x="375" y="741"/>
                    </a:lnTo>
                    <a:lnTo>
                      <a:pt x="375" y="742"/>
                    </a:lnTo>
                    <a:lnTo>
                      <a:pt x="377" y="742"/>
                    </a:lnTo>
                    <a:lnTo>
                      <a:pt x="377" y="744"/>
                    </a:lnTo>
                    <a:lnTo>
                      <a:pt x="375" y="744"/>
                    </a:lnTo>
                    <a:lnTo>
                      <a:pt x="373" y="744"/>
                    </a:lnTo>
                    <a:lnTo>
                      <a:pt x="373" y="746"/>
                    </a:lnTo>
                    <a:lnTo>
                      <a:pt x="371" y="746"/>
                    </a:lnTo>
                    <a:lnTo>
                      <a:pt x="371" y="748"/>
                    </a:lnTo>
                    <a:lnTo>
                      <a:pt x="371" y="746"/>
                    </a:lnTo>
                    <a:lnTo>
                      <a:pt x="373" y="746"/>
                    </a:lnTo>
                    <a:lnTo>
                      <a:pt x="375" y="744"/>
                    </a:lnTo>
                    <a:lnTo>
                      <a:pt x="377" y="744"/>
                    </a:lnTo>
                    <a:lnTo>
                      <a:pt x="377" y="742"/>
                    </a:lnTo>
                    <a:lnTo>
                      <a:pt x="377" y="741"/>
                    </a:lnTo>
                    <a:lnTo>
                      <a:pt x="379" y="741"/>
                    </a:lnTo>
                    <a:lnTo>
                      <a:pt x="377" y="741"/>
                    </a:lnTo>
                    <a:lnTo>
                      <a:pt x="377" y="739"/>
                    </a:lnTo>
                    <a:lnTo>
                      <a:pt x="379" y="739"/>
                    </a:lnTo>
                    <a:lnTo>
                      <a:pt x="381" y="739"/>
                    </a:lnTo>
                    <a:lnTo>
                      <a:pt x="383" y="739"/>
                    </a:lnTo>
                    <a:lnTo>
                      <a:pt x="385" y="739"/>
                    </a:lnTo>
                    <a:lnTo>
                      <a:pt x="387" y="741"/>
                    </a:lnTo>
                    <a:lnTo>
                      <a:pt x="385" y="741"/>
                    </a:lnTo>
                    <a:lnTo>
                      <a:pt x="387" y="741"/>
                    </a:lnTo>
                    <a:lnTo>
                      <a:pt x="387" y="742"/>
                    </a:lnTo>
                    <a:lnTo>
                      <a:pt x="388" y="742"/>
                    </a:lnTo>
                    <a:lnTo>
                      <a:pt x="387" y="742"/>
                    </a:lnTo>
                    <a:lnTo>
                      <a:pt x="387" y="741"/>
                    </a:lnTo>
                    <a:lnTo>
                      <a:pt x="388" y="741"/>
                    </a:lnTo>
                    <a:lnTo>
                      <a:pt x="388" y="742"/>
                    </a:lnTo>
                    <a:lnTo>
                      <a:pt x="390" y="742"/>
                    </a:lnTo>
                    <a:lnTo>
                      <a:pt x="392" y="742"/>
                    </a:lnTo>
                    <a:lnTo>
                      <a:pt x="392" y="744"/>
                    </a:lnTo>
                    <a:lnTo>
                      <a:pt x="392" y="742"/>
                    </a:lnTo>
                    <a:lnTo>
                      <a:pt x="390" y="742"/>
                    </a:lnTo>
                    <a:lnTo>
                      <a:pt x="390" y="741"/>
                    </a:lnTo>
                    <a:lnTo>
                      <a:pt x="388" y="741"/>
                    </a:lnTo>
                    <a:lnTo>
                      <a:pt x="387" y="741"/>
                    </a:lnTo>
                    <a:lnTo>
                      <a:pt x="388" y="741"/>
                    </a:lnTo>
                    <a:lnTo>
                      <a:pt x="388" y="739"/>
                    </a:lnTo>
                    <a:lnTo>
                      <a:pt x="388" y="741"/>
                    </a:lnTo>
                    <a:lnTo>
                      <a:pt x="390" y="741"/>
                    </a:lnTo>
                    <a:lnTo>
                      <a:pt x="392" y="742"/>
                    </a:lnTo>
                    <a:lnTo>
                      <a:pt x="394" y="742"/>
                    </a:lnTo>
                    <a:lnTo>
                      <a:pt x="394" y="744"/>
                    </a:lnTo>
                    <a:lnTo>
                      <a:pt x="396" y="744"/>
                    </a:lnTo>
                    <a:lnTo>
                      <a:pt x="396" y="746"/>
                    </a:lnTo>
                    <a:lnTo>
                      <a:pt x="398" y="746"/>
                    </a:lnTo>
                    <a:lnTo>
                      <a:pt x="398" y="748"/>
                    </a:lnTo>
                    <a:lnTo>
                      <a:pt x="396" y="748"/>
                    </a:lnTo>
                    <a:lnTo>
                      <a:pt x="394" y="748"/>
                    </a:lnTo>
                    <a:lnTo>
                      <a:pt x="392" y="748"/>
                    </a:lnTo>
                    <a:lnTo>
                      <a:pt x="392" y="750"/>
                    </a:lnTo>
                    <a:lnTo>
                      <a:pt x="394" y="750"/>
                    </a:lnTo>
                    <a:lnTo>
                      <a:pt x="394" y="752"/>
                    </a:lnTo>
                    <a:lnTo>
                      <a:pt x="394" y="750"/>
                    </a:lnTo>
                    <a:lnTo>
                      <a:pt x="396" y="750"/>
                    </a:lnTo>
                    <a:lnTo>
                      <a:pt x="396" y="748"/>
                    </a:lnTo>
                    <a:lnTo>
                      <a:pt x="396" y="750"/>
                    </a:lnTo>
                    <a:lnTo>
                      <a:pt x="396" y="752"/>
                    </a:lnTo>
                    <a:lnTo>
                      <a:pt x="398" y="754"/>
                    </a:lnTo>
                    <a:lnTo>
                      <a:pt x="400" y="754"/>
                    </a:lnTo>
                    <a:lnTo>
                      <a:pt x="402" y="754"/>
                    </a:lnTo>
                    <a:lnTo>
                      <a:pt x="402" y="756"/>
                    </a:lnTo>
                    <a:lnTo>
                      <a:pt x="402" y="758"/>
                    </a:lnTo>
                    <a:lnTo>
                      <a:pt x="404" y="758"/>
                    </a:lnTo>
                    <a:lnTo>
                      <a:pt x="404" y="756"/>
                    </a:lnTo>
                    <a:lnTo>
                      <a:pt x="406" y="756"/>
                    </a:lnTo>
                    <a:lnTo>
                      <a:pt x="406" y="758"/>
                    </a:lnTo>
                    <a:lnTo>
                      <a:pt x="406" y="760"/>
                    </a:lnTo>
                    <a:lnTo>
                      <a:pt x="406" y="762"/>
                    </a:lnTo>
                    <a:lnTo>
                      <a:pt x="408" y="762"/>
                    </a:lnTo>
                    <a:lnTo>
                      <a:pt x="410" y="764"/>
                    </a:lnTo>
                    <a:lnTo>
                      <a:pt x="410" y="762"/>
                    </a:lnTo>
                    <a:lnTo>
                      <a:pt x="408" y="762"/>
                    </a:lnTo>
                    <a:lnTo>
                      <a:pt x="408" y="760"/>
                    </a:lnTo>
                    <a:lnTo>
                      <a:pt x="408" y="758"/>
                    </a:lnTo>
                    <a:lnTo>
                      <a:pt x="410" y="758"/>
                    </a:lnTo>
                    <a:lnTo>
                      <a:pt x="410" y="760"/>
                    </a:lnTo>
                    <a:lnTo>
                      <a:pt x="410" y="762"/>
                    </a:lnTo>
                    <a:lnTo>
                      <a:pt x="410" y="760"/>
                    </a:lnTo>
                    <a:lnTo>
                      <a:pt x="411" y="760"/>
                    </a:lnTo>
                    <a:lnTo>
                      <a:pt x="411" y="762"/>
                    </a:lnTo>
                    <a:lnTo>
                      <a:pt x="413" y="762"/>
                    </a:lnTo>
                    <a:lnTo>
                      <a:pt x="413" y="764"/>
                    </a:lnTo>
                    <a:lnTo>
                      <a:pt x="415" y="764"/>
                    </a:lnTo>
                    <a:lnTo>
                      <a:pt x="415" y="766"/>
                    </a:lnTo>
                    <a:lnTo>
                      <a:pt x="415" y="767"/>
                    </a:lnTo>
                    <a:lnTo>
                      <a:pt x="413" y="767"/>
                    </a:lnTo>
                    <a:lnTo>
                      <a:pt x="411" y="767"/>
                    </a:lnTo>
                    <a:lnTo>
                      <a:pt x="410" y="767"/>
                    </a:lnTo>
                    <a:lnTo>
                      <a:pt x="408" y="767"/>
                    </a:lnTo>
                    <a:lnTo>
                      <a:pt x="406" y="767"/>
                    </a:lnTo>
                    <a:lnTo>
                      <a:pt x="404" y="767"/>
                    </a:lnTo>
                    <a:lnTo>
                      <a:pt x="404" y="766"/>
                    </a:lnTo>
                    <a:lnTo>
                      <a:pt x="402" y="766"/>
                    </a:lnTo>
                    <a:lnTo>
                      <a:pt x="404" y="766"/>
                    </a:lnTo>
                    <a:lnTo>
                      <a:pt x="404" y="764"/>
                    </a:lnTo>
                    <a:lnTo>
                      <a:pt x="404" y="762"/>
                    </a:lnTo>
                    <a:lnTo>
                      <a:pt x="402" y="762"/>
                    </a:lnTo>
                    <a:lnTo>
                      <a:pt x="402" y="764"/>
                    </a:lnTo>
                    <a:lnTo>
                      <a:pt x="402" y="766"/>
                    </a:lnTo>
                    <a:lnTo>
                      <a:pt x="402" y="767"/>
                    </a:lnTo>
                    <a:lnTo>
                      <a:pt x="400" y="767"/>
                    </a:lnTo>
                    <a:lnTo>
                      <a:pt x="398" y="767"/>
                    </a:lnTo>
                    <a:lnTo>
                      <a:pt x="396" y="769"/>
                    </a:lnTo>
                    <a:lnTo>
                      <a:pt x="396" y="771"/>
                    </a:lnTo>
                    <a:lnTo>
                      <a:pt x="396" y="773"/>
                    </a:lnTo>
                    <a:lnTo>
                      <a:pt x="396" y="775"/>
                    </a:lnTo>
                    <a:lnTo>
                      <a:pt x="396" y="777"/>
                    </a:lnTo>
                    <a:lnTo>
                      <a:pt x="396" y="779"/>
                    </a:lnTo>
                    <a:lnTo>
                      <a:pt x="394" y="777"/>
                    </a:lnTo>
                    <a:lnTo>
                      <a:pt x="394" y="779"/>
                    </a:lnTo>
                    <a:lnTo>
                      <a:pt x="392" y="779"/>
                    </a:lnTo>
                    <a:lnTo>
                      <a:pt x="392" y="781"/>
                    </a:lnTo>
                    <a:lnTo>
                      <a:pt x="392" y="783"/>
                    </a:lnTo>
                    <a:lnTo>
                      <a:pt x="390" y="785"/>
                    </a:lnTo>
                    <a:lnTo>
                      <a:pt x="390" y="787"/>
                    </a:lnTo>
                    <a:lnTo>
                      <a:pt x="388" y="789"/>
                    </a:lnTo>
                    <a:lnTo>
                      <a:pt x="388" y="792"/>
                    </a:lnTo>
                    <a:lnTo>
                      <a:pt x="388" y="794"/>
                    </a:lnTo>
                    <a:lnTo>
                      <a:pt x="388" y="796"/>
                    </a:lnTo>
                    <a:lnTo>
                      <a:pt x="388" y="800"/>
                    </a:lnTo>
                    <a:lnTo>
                      <a:pt x="388" y="802"/>
                    </a:lnTo>
                    <a:lnTo>
                      <a:pt x="388" y="804"/>
                    </a:lnTo>
                    <a:lnTo>
                      <a:pt x="388" y="806"/>
                    </a:lnTo>
                    <a:lnTo>
                      <a:pt x="388" y="808"/>
                    </a:lnTo>
                    <a:lnTo>
                      <a:pt x="388" y="806"/>
                    </a:lnTo>
                    <a:lnTo>
                      <a:pt x="387" y="806"/>
                    </a:lnTo>
                    <a:lnTo>
                      <a:pt x="387" y="804"/>
                    </a:lnTo>
                    <a:lnTo>
                      <a:pt x="385" y="804"/>
                    </a:lnTo>
                    <a:lnTo>
                      <a:pt x="383" y="804"/>
                    </a:lnTo>
                    <a:lnTo>
                      <a:pt x="385" y="804"/>
                    </a:lnTo>
                    <a:lnTo>
                      <a:pt x="385" y="802"/>
                    </a:lnTo>
                    <a:lnTo>
                      <a:pt x="387" y="802"/>
                    </a:lnTo>
                    <a:lnTo>
                      <a:pt x="385" y="802"/>
                    </a:lnTo>
                    <a:lnTo>
                      <a:pt x="385" y="804"/>
                    </a:lnTo>
                    <a:lnTo>
                      <a:pt x="385" y="802"/>
                    </a:lnTo>
                    <a:lnTo>
                      <a:pt x="383" y="802"/>
                    </a:lnTo>
                    <a:lnTo>
                      <a:pt x="385" y="802"/>
                    </a:lnTo>
                    <a:lnTo>
                      <a:pt x="383" y="802"/>
                    </a:lnTo>
                    <a:lnTo>
                      <a:pt x="381" y="802"/>
                    </a:lnTo>
                    <a:lnTo>
                      <a:pt x="381" y="800"/>
                    </a:lnTo>
                    <a:lnTo>
                      <a:pt x="381" y="802"/>
                    </a:lnTo>
                    <a:lnTo>
                      <a:pt x="381" y="800"/>
                    </a:lnTo>
                    <a:lnTo>
                      <a:pt x="379" y="800"/>
                    </a:lnTo>
                    <a:lnTo>
                      <a:pt x="377" y="800"/>
                    </a:lnTo>
                    <a:lnTo>
                      <a:pt x="375" y="800"/>
                    </a:lnTo>
                    <a:lnTo>
                      <a:pt x="375" y="802"/>
                    </a:lnTo>
                    <a:lnTo>
                      <a:pt x="375" y="800"/>
                    </a:lnTo>
                    <a:lnTo>
                      <a:pt x="375" y="802"/>
                    </a:lnTo>
                    <a:lnTo>
                      <a:pt x="377" y="802"/>
                    </a:lnTo>
                    <a:lnTo>
                      <a:pt x="375" y="802"/>
                    </a:lnTo>
                    <a:lnTo>
                      <a:pt x="373" y="802"/>
                    </a:lnTo>
                    <a:lnTo>
                      <a:pt x="375" y="802"/>
                    </a:lnTo>
                    <a:lnTo>
                      <a:pt x="375" y="804"/>
                    </a:lnTo>
                    <a:lnTo>
                      <a:pt x="373" y="802"/>
                    </a:lnTo>
                    <a:lnTo>
                      <a:pt x="371" y="802"/>
                    </a:lnTo>
                    <a:lnTo>
                      <a:pt x="373" y="802"/>
                    </a:lnTo>
                    <a:lnTo>
                      <a:pt x="371" y="802"/>
                    </a:lnTo>
                    <a:lnTo>
                      <a:pt x="371" y="800"/>
                    </a:lnTo>
                    <a:lnTo>
                      <a:pt x="369" y="800"/>
                    </a:lnTo>
                    <a:lnTo>
                      <a:pt x="367" y="800"/>
                    </a:lnTo>
                    <a:lnTo>
                      <a:pt x="369" y="800"/>
                    </a:lnTo>
                    <a:lnTo>
                      <a:pt x="371" y="800"/>
                    </a:lnTo>
                    <a:lnTo>
                      <a:pt x="371" y="802"/>
                    </a:lnTo>
                    <a:lnTo>
                      <a:pt x="373" y="802"/>
                    </a:lnTo>
                    <a:lnTo>
                      <a:pt x="371" y="802"/>
                    </a:lnTo>
                    <a:lnTo>
                      <a:pt x="373" y="802"/>
                    </a:lnTo>
                    <a:lnTo>
                      <a:pt x="373" y="804"/>
                    </a:lnTo>
                    <a:lnTo>
                      <a:pt x="375" y="804"/>
                    </a:lnTo>
                    <a:lnTo>
                      <a:pt x="375" y="802"/>
                    </a:lnTo>
                    <a:lnTo>
                      <a:pt x="377" y="802"/>
                    </a:lnTo>
                    <a:lnTo>
                      <a:pt x="377" y="804"/>
                    </a:lnTo>
                    <a:lnTo>
                      <a:pt x="375" y="804"/>
                    </a:lnTo>
                    <a:lnTo>
                      <a:pt x="375" y="806"/>
                    </a:lnTo>
                    <a:lnTo>
                      <a:pt x="375" y="808"/>
                    </a:lnTo>
                    <a:lnTo>
                      <a:pt x="377" y="808"/>
                    </a:lnTo>
                    <a:lnTo>
                      <a:pt x="379" y="808"/>
                    </a:lnTo>
                    <a:lnTo>
                      <a:pt x="377" y="810"/>
                    </a:lnTo>
                    <a:lnTo>
                      <a:pt x="379" y="810"/>
                    </a:lnTo>
                    <a:lnTo>
                      <a:pt x="379" y="812"/>
                    </a:lnTo>
                    <a:lnTo>
                      <a:pt x="381" y="812"/>
                    </a:lnTo>
                    <a:lnTo>
                      <a:pt x="383" y="812"/>
                    </a:lnTo>
                    <a:lnTo>
                      <a:pt x="383" y="810"/>
                    </a:lnTo>
                    <a:lnTo>
                      <a:pt x="385" y="810"/>
                    </a:lnTo>
                    <a:lnTo>
                      <a:pt x="383" y="810"/>
                    </a:lnTo>
                    <a:lnTo>
                      <a:pt x="381" y="810"/>
                    </a:lnTo>
                    <a:lnTo>
                      <a:pt x="381" y="808"/>
                    </a:lnTo>
                    <a:lnTo>
                      <a:pt x="383" y="808"/>
                    </a:lnTo>
                    <a:lnTo>
                      <a:pt x="383" y="810"/>
                    </a:lnTo>
                    <a:lnTo>
                      <a:pt x="383" y="808"/>
                    </a:lnTo>
                    <a:lnTo>
                      <a:pt x="385" y="808"/>
                    </a:lnTo>
                    <a:lnTo>
                      <a:pt x="383" y="808"/>
                    </a:lnTo>
                    <a:lnTo>
                      <a:pt x="385" y="808"/>
                    </a:lnTo>
                    <a:lnTo>
                      <a:pt x="385" y="806"/>
                    </a:lnTo>
                    <a:lnTo>
                      <a:pt x="385" y="808"/>
                    </a:lnTo>
                    <a:lnTo>
                      <a:pt x="387" y="808"/>
                    </a:lnTo>
                    <a:lnTo>
                      <a:pt x="387" y="810"/>
                    </a:lnTo>
                    <a:lnTo>
                      <a:pt x="388" y="810"/>
                    </a:lnTo>
                    <a:lnTo>
                      <a:pt x="388" y="812"/>
                    </a:lnTo>
                    <a:lnTo>
                      <a:pt x="388" y="814"/>
                    </a:lnTo>
                    <a:lnTo>
                      <a:pt x="388" y="816"/>
                    </a:lnTo>
                    <a:lnTo>
                      <a:pt x="388" y="817"/>
                    </a:lnTo>
                    <a:lnTo>
                      <a:pt x="387" y="817"/>
                    </a:lnTo>
                    <a:lnTo>
                      <a:pt x="387" y="816"/>
                    </a:lnTo>
                    <a:lnTo>
                      <a:pt x="387" y="817"/>
                    </a:lnTo>
                    <a:lnTo>
                      <a:pt x="388" y="819"/>
                    </a:lnTo>
                    <a:lnTo>
                      <a:pt x="390" y="819"/>
                    </a:lnTo>
                    <a:lnTo>
                      <a:pt x="392" y="819"/>
                    </a:lnTo>
                    <a:lnTo>
                      <a:pt x="394" y="819"/>
                    </a:lnTo>
                    <a:lnTo>
                      <a:pt x="394" y="821"/>
                    </a:lnTo>
                    <a:lnTo>
                      <a:pt x="392" y="821"/>
                    </a:lnTo>
                    <a:lnTo>
                      <a:pt x="394" y="821"/>
                    </a:lnTo>
                    <a:lnTo>
                      <a:pt x="394" y="823"/>
                    </a:lnTo>
                    <a:lnTo>
                      <a:pt x="392" y="823"/>
                    </a:lnTo>
                    <a:lnTo>
                      <a:pt x="394" y="823"/>
                    </a:lnTo>
                    <a:lnTo>
                      <a:pt x="394" y="825"/>
                    </a:lnTo>
                    <a:lnTo>
                      <a:pt x="392" y="825"/>
                    </a:lnTo>
                    <a:lnTo>
                      <a:pt x="390" y="825"/>
                    </a:lnTo>
                    <a:lnTo>
                      <a:pt x="388" y="825"/>
                    </a:lnTo>
                    <a:lnTo>
                      <a:pt x="388" y="827"/>
                    </a:lnTo>
                    <a:lnTo>
                      <a:pt x="390" y="827"/>
                    </a:lnTo>
                    <a:lnTo>
                      <a:pt x="392" y="827"/>
                    </a:lnTo>
                    <a:lnTo>
                      <a:pt x="390" y="827"/>
                    </a:lnTo>
                    <a:lnTo>
                      <a:pt x="390" y="829"/>
                    </a:lnTo>
                    <a:lnTo>
                      <a:pt x="392" y="827"/>
                    </a:lnTo>
                    <a:lnTo>
                      <a:pt x="392" y="829"/>
                    </a:lnTo>
                    <a:lnTo>
                      <a:pt x="394" y="829"/>
                    </a:lnTo>
                    <a:lnTo>
                      <a:pt x="396" y="829"/>
                    </a:lnTo>
                    <a:lnTo>
                      <a:pt x="398" y="829"/>
                    </a:lnTo>
                    <a:lnTo>
                      <a:pt x="398" y="831"/>
                    </a:lnTo>
                    <a:lnTo>
                      <a:pt x="398" y="833"/>
                    </a:lnTo>
                    <a:lnTo>
                      <a:pt x="400" y="833"/>
                    </a:lnTo>
                    <a:lnTo>
                      <a:pt x="400" y="835"/>
                    </a:lnTo>
                    <a:lnTo>
                      <a:pt x="400" y="837"/>
                    </a:lnTo>
                    <a:lnTo>
                      <a:pt x="400" y="835"/>
                    </a:lnTo>
                    <a:lnTo>
                      <a:pt x="400" y="837"/>
                    </a:lnTo>
                    <a:lnTo>
                      <a:pt x="400" y="835"/>
                    </a:lnTo>
                    <a:lnTo>
                      <a:pt x="400" y="837"/>
                    </a:lnTo>
                    <a:lnTo>
                      <a:pt x="400" y="839"/>
                    </a:lnTo>
                    <a:lnTo>
                      <a:pt x="400" y="840"/>
                    </a:lnTo>
                    <a:lnTo>
                      <a:pt x="400" y="839"/>
                    </a:lnTo>
                    <a:lnTo>
                      <a:pt x="402" y="837"/>
                    </a:lnTo>
                    <a:lnTo>
                      <a:pt x="404" y="837"/>
                    </a:lnTo>
                    <a:lnTo>
                      <a:pt x="406" y="837"/>
                    </a:lnTo>
                    <a:lnTo>
                      <a:pt x="406" y="839"/>
                    </a:lnTo>
                    <a:lnTo>
                      <a:pt x="406" y="840"/>
                    </a:lnTo>
                    <a:lnTo>
                      <a:pt x="404" y="840"/>
                    </a:lnTo>
                    <a:lnTo>
                      <a:pt x="406" y="842"/>
                    </a:lnTo>
                    <a:lnTo>
                      <a:pt x="406" y="840"/>
                    </a:lnTo>
                    <a:lnTo>
                      <a:pt x="408" y="840"/>
                    </a:lnTo>
                    <a:lnTo>
                      <a:pt x="408" y="842"/>
                    </a:lnTo>
                    <a:lnTo>
                      <a:pt x="410" y="842"/>
                    </a:lnTo>
                    <a:lnTo>
                      <a:pt x="408" y="844"/>
                    </a:lnTo>
                    <a:lnTo>
                      <a:pt x="410" y="844"/>
                    </a:lnTo>
                    <a:lnTo>
                      <a:pt x="408" y="844"/>
                    </a:lnTo>
                    <a:lnTo>
                      <a:pt x="408" y="846"/>
                    </a:lnTo>
                    <a:lnTo>
                      <a:pt x="406" y="846"/>
                    </a:lnTo>
                    <a:lnTo>
                      <a:pt x="408" y="846"/>
                    </a:lnTo>
                    <a:lnTo>
                      <a:pt x="408" y="848"/>
                    </a:lnTo>
                    <a:lnTo>
                      <a:pt x="408" y="850"/>
                    </a:lnTo>
                    <a:lnTo>
                      <a:pt x="406" y="850"/>
                    </a:lnTo>
                    <a:lnTo>
                      <a:pt x="406" y="852"/>
                    </a:lnTo>
                    <a:lnTo>
                      <a:pt x="408" y="852"/>
                    </a:lnTo>
                    <a:lnTo>
                      <a:pt x="408" y="850"/>
                    </a:lnTo>
                    <a:lnTo>
                      <a:pt x="408" y="852"/>
                    </a:lnTo>
                    <a:lnTo>
                      <a:pt x="410" y="852"/>
                    </a:lnTo>
                    <a:lnTo>
                      <a:pt x="410" y="854"/>
                    </a:lnTo>
                    <a:lnTo>
                      <a:pt x="410" y="856"/>
                    </a:lnTo>
                    <a:lnTo>
                      <a:pt x="410" y="858"/>
                    </a:lnTo>
                    <a:lnTo>
                      <a:pt x="408" y="856"/>
                    </a:lnTo>
                    <a:lnTo>
                      <a:pt x="410" y="856"/>
                    </a:lnTo>
                    <a:lnTo>
                      <a:pt x="408" y="856"/>
                    </a:lnTo>
                    <a:lnTo>
                      <a:pt x="408" y="854"/>
                    </a:lnTo>
                    <a:lnTo>
                      <a:pt x="408" y="856"/>
                    </a:lnTo>
                    <a:lnTo>
                      <a:pt x="410" y="856"/>
                    </a:lnTo>
                    <a:lnTo>
                      <a:pt x="408" y="856"/>
                    </a:lnTo>
                    <a:lnTo>
                      <a:pt x="408" y="858"/>
                    </a:lnTo>
                    <a:lnTo>
                      <a:pt x="410" y="858"/>
                    </a:lnTo>
                    <a:lnTo>
                      <a:pt x="410" y="860"/>
                    </a:lnTo>
                    <a:lnTo>
                      <a:pt x="411" y="860"/>
                    </a:lnTo>
                    <a:lnTo>
                      <a:pt x="411" y="862"/>
                    </a:lnTo>
                    <a:lnTo>
                      <a:pt x="411" y="864"/>
                    </a:lnTo>
                    <a:lnTo>
                      <a:pt x="413" y="864"/>
                    </a:lnTo>
                    <a:lnTo>
                      <a:pt x="411" y="864"/>
                    </a:lnTo>
                    <a:lnTo>
                      <a:pt x="413" y="865"/>
                    </a:lnTo>
                    <a:lnTo>
                      <a:pt x="415" y="867"/>
                    </a:lnTo>
                    <a:lnTo>
                      <a:pt x="413" y="869"/>
                    </a:lnTo>
                    <a:lnTo>
                      <a:pt x="415" y="871"/>
                    </a:lnTo>
                    <a:lnTo>
                      <a:pt x="415" y="873"/>
                    </a:lnTo>
                    <a:lnTo>
                      <a:pt x="415" y="875"/>
                    </a:lnTo>
                    <a:lnTo>
                      <a:pt x="415" y="877"/>
                    </a:lnTo>
                    <a:lnTo>
                      <a:pt x="415" y="879"/>
                    </a:lnTo>
                    <a:lnTo>
                      <a:pt x="415" y="881"/>
                    </a:lnTo>
                    <a:lnTo>
                      <a:pt x="413" y="881"/>
                    </a:lnTo>
                    <a:lnTo>
                      <a:pt x="413" y="883"/>
                    </a:lnTo>
                    <a:lnTo>
                      <a:pt x="411" y="881"/>
                    </a:lnTo>
                    <a:lnTo>
                      <a:pt x="413" y="883"/>
                    </a:lnTo>
                    <a:lnTo>
                      <a:pt x="413" y="881"/>
                    </a:lnTo>
                    <a:lnTo>
                      <a:pt x="415" y="881"/>
                    </a:lnTo>
                    <a:lnTo>
                      <a:pt x="415" y="883"/>
                    </a:lnTo>
                    <a:lnTo>
                      <a:pt x="415" y="885"/>
                    </a:lnTo>
                    <a:lnTo>
                      <a:pt x="415" y="887"/>
                    </a:lnTo>
                    <a:lnTo>
                      <a:pt x="417" y="889"/>
                    </a:lnTo>
                    <a:lnTo>
                      <a:pt x="417" y="890"/>
                    </a:lnTo>
                    <a:lnTo>
                      <a:pt x="417" y="892"/>
                    </a:lnTo>
                    <a:lnTo>
                      <a:pt x="417" y="894"/>
                    </a:lnTo>
                    <a:lnTo>
                      <a:pt x="417" y="896"/>
                    </a:lnTo>
                    <a:lnTo>
                      <a:pt x="417" y="898"/>
                    </a:lnTo>
                    <a:lnTo>
                      <a:pt x="417" y="900"/>
                    </a:lnTo>
                    <a:lnTo>
                      <a:pt x="417" y="902"/>
                    </a:lnTo>
                    <a:lnTo>
                      <a:pt x="415" y="902"/>
                    </a:lnTo>
                    <a:lnTo>
                      <a:pt x="415" y="904"/>
                    </a:lnTo>
                    <a:lnTo>
                      <a:pt x="413" y="904"/>
                    </a:lnTo>
                    <a:lnTo>
                      <a:pt x="413" y="906"/>
                    </a:lnTo>
                    <a:lnTo>
                      <a:pt x="413" y="908"/>
                    </a:lnTo>
                    <a:lnTo>
                      <a:pt x="413" y="910"/>
                    </a:lnTo>
                    <a:lnTo>
                      <a:pt x="413" y="912"/>
                    </a:lnTo>
                    <a:lnTo>
                      <a:pt x="413" y="914"/>
                    </a:lnTo>
                    <a:lnTo>
                      <a:pt x="415" y="915"/>
                    </a:lnTo>
                    <a:lnTo>
                      <a:pt x="415" y="917"/>
                    </a:lnTo>
                    <a:lnTo>
                      <a:pt x="417" y="917"/>
                    </a:lnTo>
                    <a:lnTo>
                      <a:pt x="415" y="917"/>
                    </a:lnTo>
                    <a:lnTo>
                      <a:pt x="415" y="919"/>
                    </a:lnTo>
                    <a:lnTo>
                      <a:pt x="413" y="919"/>
                    </a:lnTo>
                    <a:lnTo>
                      <a:pt x="413" y="921"/>
                    </a:lnTo>
                    <a:lnTo>
                      <a:pt x="413" y="923"/>
                    </a:lnTo>
                    <a:lnTo>
                      <a:pt x="415" y="923"/>
                    </a:lnTo>
                    <a:lnTo>
                      <a:pt x="413" y="923"/>
                    </a:lnTo>
                    <a:lnTo>
                      <a:pt x="413" y="925"/>
                    </a:lnTo>
                    <a:lnTo>
                      <a:pt x="415" y="925"/>
                    </a:lnTo>
                    <a:lnTo>
                      <a:pt x="415" y="927"/>
                    </a:lnTo>
                    <a:lnTo>
                      <a:pt x="413" y="927"/>
                    </a:lnTo>
                    <a:lnTo>
                      <a:pt x="415" y="927"/>
                    </a:lnTo>
                    <a:lnTo>
                      <a:pt x="415" y="929"/>
                    </a:lnTo>
                    <a:lnTo>
                      <a:pt x="415" y="931"/>
                    </a:lnTo>
                    <a:lnTo>
                      <a:pt x="415" y="933"/>
                    </a:lnTo>
                    <a:lnTo>
                      <a:pt x="413" y="933"/>
                    </a:lnTo>
                    <a:lnTo>
                      <a:pt x="415" y="935"/>
                    </a:lnTo>
                    <a:lnTo>
                      <a:pt x="415" y="937"/>
                    </a:lnTo>
                    <a:lnTo>
                      <a:pt x="413" y="937"/>
                    </a:lnTo>
                    <a:lnTo>
                      <a:pt x="413" y="939"/>
                    </a:lnTo>
                    <a:lnTo>
                      <a:pt x="413" y="940"/>
                    </a:lnTo>
                    <a:lnTo>
                      <a:pt x="413" y="942"/>
                    </a:lnTo>
                    <a:lnTo>
                      <a:pt x="413" y="944"/>
                    </a:lnTo>
                    <a:lnTo>
                      <a:pt x="413" y="946"/>
                    </a:lnTo>
                    <a:lnTo>
                      <a:pt x="413" y="948"/>
                    </a:lnTo>
                    <a:lnTo>
                      <a:pt x="413" y="950"/>
                    </a:lnTo>
                    <a:lnTo>
                      <a:pt x="413" y="952"/>
                    </a:lnTo>
                    <a:lnTo>
                      <a:pt x="413" y="954"/>
                    </a:lnTo>
                    <a:lnTo>
                      <a:pt x="413" y="956"/>
                    </a:lnTo>
                    <a:lnTo>
                      <a:pt x="413" y="958"/>
                    </a:lnTo>
                    <a:lnTo>
                      <a:pt x="413" y="960"/>
                    </a:lnTo>
                    <a:lnTo>
                      <a:pt x="413" y="962"/>
                    </a:lnTo>
                    <a:lnTo>
                      <a:pt x="411" y="962"/>
                    </a:lnTo>
                    <a:lnTo>
                      <a:pt x="411" y="960"/>
                    </a:lnTo>
                    <a:lnTo>
                      <a:pt x="411" y="958"/>
                    </a:lnTo>
                    <a:lnTo>
                      <a:pt x="411" y="956"/>
                    </a:lnTo>
                    <a:lnTo>
                      <a:pt x="411" y="954"/>
                    </a:lnTo>
                    <a:lnTo>
                      <a:pt x="410" y="952"/>
                    </a:lnTo>
                    <a:lnTo>
                      <a:pt x="410" y="950"/>
                    </a:lnTo>
                    <a:lnTo>
                      <a:pt x="408" y="950"/>
                    </a:lnTo>
                    <a:lnTo>
                      <a:pt x="408" y="948"/>
                    </a:lnTo>
                    <a:lnTo>
                      <a:pt x="406" y="948"/>
                    </a:lnTo>
                    <a:lnTo>
                      <a:pt x="406" y="950"/>
                    </a:lnTo>
                    <a:lnTo>
                      <a:pt x="404" y="948"/>
                    </a:lnTo>
                    <a:lnTo>
                      <a:pt x="404" y="946"/>
                    </a:lnTo>
                    <a:lnTo>
                      <a:pt x="402" y="944"/>
                    </a:lnTo>
                    <a:lnTo>
                      <a:pt x="402" y="942"/>
                    </a:lnTo>
                    <a:lnTo>
                      <a:pt x="400" y="942"/>
                    </a:lnTo>
                    <a:lnTo>
                      <a:pt x="398" y="942"/>
                    </a:lnTo>
                    <a:lnTo>
                      <a:pt x="396" y="940"/>
                    </a:lnTo>
                    <a:lnTo>
                      <a:pt x="396" y="942"/>
                    </a:lnTo>
                    <a:lnTo>
                      <a:pt x="394" y="942"/>
                    </a:lnTo>
                    <a:lnTo>
                      <a:pt x="392" y="942"/>
                    </a:lnTo>
                    <a:lnTo>
                      <a:pt x="392" y="940"/>
                    </a:lnTo>
                    <a:lnTo>
                      <a:pt x="390" y="940"/>
                    </a:lnTo>
                    <a:lnTo>
                      <a:pt x="390" y="939"/>
                    </a:lnTo>
                    <a:lnTo>
                      <a:pt x="388" y="939"/>
                    </a:lnTo>
                    <a:lnTo>
                      <a:pt x="388" y="937"/>
                    </a:lnTo>
                    <a:lnTo>
                      <a:pt x="387" y="935"/>
                    </a:lnTo>
                    <a:lnTo>
                      <a:pt x="385" y="933"/>
                    </a:lnTo>
                    <a:lnTo>
                      <a:pt x="383" y="931"/>
                    </a:lnTo>
                    <a:lnTo>
                      <a:pt x="381" y="931"/>
                    </a:lnTo>
                    <a:lnTo>
                      <a:pt x="381" y="929"/>
                    </a:lnTo>
                    <a:lnTo>
                      <a:pt x="379" y="927"/>
                    </a:lnTo>
                    <a:lnTo>
                      <a:pt x="381" y="927"/>
                    </a:lnTo>
                    <a:lnTo>
                      <a:pt x="379" y="927"/>
                    </a:lnTo>
                    <a:lnTo>
                      <a:pt x="379" y="925"/>
                    </a:lnTo>
                    <a:lnTo>
                      <a:pt x="377" y="925"/>
                    </a:lnTo>
                    <a:lnTo>
                      <a:pt x="377" y="923"/>
                    </a:lnTo>
                    <a:lnTo>
                      <a:pt x="375" y="921"/>
                    </a:lnTo>
                    <a:lnTo>
                      <a:pt x="373" y="917"/>
                    </a:lnTo>
                    <a:lnTo>
                      <a:pt x="371" y="915"/>
                    </a:lnTo>
                    <a:lnTo>
                      <a:pt x="369" y="912"/>
                    </a:lnTo>
                    <a:lnTo>
                      <a:pt x="367" y="910"/>
                    </a:lnTo>
                    <a:lnTo>
                      <a:pt x="365" y="908"/>
                    </a:lnTo>
                    <a:lnTo>
                      <a:pt x="365" y="906"/>
                    </a:lnTo>
                    <a:lnTo>
                      <a:pt x="363" y="906"/>
                    </a:lnTo>
                    <a:lnTo>
                      <a:pt x="363" y="904"/>
                    </a:lnTo>
                    <a:lnTo>
                      <a:pt x="362" y="902"/>
                    </a:lnTo>
                    <a:lnTo>
                      <a:pt x="360" y="900"/>
                    </a:lnTo>
                    <a:lnTo>
                      <a:pt x="360" y="898"/>
                    </a:lnTo>
                    <a:lnTo>
                      <a:pt x="358" y="896"/>
                    </a:lnTo>
                    <a:lnTo>
                      <a:pt x="356" y="896"/>
                    </a:lnTo>
                    <a:lnTo>
                      <a:pt x="356" y="894"/>
                    </a:lnTo>
                    <a:lnTo>
                      <a:pt x="358" y="894"/>
                    </a:lnTo>
                    <a:lnTo>
                      <a:pt x="358" y="892"/>
                    </a:lnTo>
                    <a:lnTo>
                      <a:pt x="358" y="890"/>
                    </a:lnTo>
                    <a:lnTo>
                      <a:pt x="358" y="889"/>
                    </a:lnTo>
                    <a:lnTo>
                      <a:pt x="358" y="890"/>
                    </a:lnTo>
                    <a:lnTo>
                      <a:pt x="358" y="892"/>
                    </a:lnTo>
                    <a:lnTo>
                      <a:pt x="358" y="894"/>
                    </a:lnTo>
                    <a:lnTo>
                      <a:pt x="356" y="894"/>
                    </a:lnTo>
                    <a:lnTo>
                      <a:pt x="356" y="896"/>
                    </a:lnTo>
                    <a:lnTo>
                      <a:pt x="358" y="896"/>
                    </a:lnTo>
                    <a:lnTo>
                      <a:pt x="358" y="898"/>
                    </a:lnTo>
                    <a:lnTo>
                      <a:pt x="360" y="898"/>
                    </a:lnTo>
                    <a:lnTo>
                      <a:pt x="360" y="900"/>
                    </a:lnTo>
                    <a:lnTo>
                      <a:pt x="362" y="902"/>
                    </a:lnTo>
                    <a:lnTo>
                      <a:pt x="362" y="904"/>
                    </a:lnTo>
                    <a:lnTo>
                      <a:pt x="363" y="904"/>
                    </a:lnTo>
                    <a:lnTo>
                      <a:pt x="363" y="906"/>
                    </a:lnTo>
                    <a:lnTo>
                      <a:pt x="362" y="904"/>
                    </a:lnTo>
                    <a:lnTo>
                      <a:pt x="362" y="902"/>
                    </a:lnTo>
                    <a:lnTo>
                      <a:pt x="360" y="900"/>
                    </a:lnTo>
                    <a:lnTo>
                      <a:pt x="356" y="896"/>
                    </a:lnTo>
                    <a:lnTo>
                      <a:pt x="356" y="894"/>
                    </a:lnTo>
                    <a:lnTo>
                      <a:pt x="354" y="894"/>
                    </a:lnTo>
                    <a:lnTo>
                      <a:pt x="354" y="892"/>
                    </a:lnTo>
                    <a:lnTo>
                      <a:pt x="352" y="892"/>
                    </a:lnTo>
                    <a:lnTo>
                      <a:pt x="352" y="890"/>
                    </a:lnTo>
                    <a:lnTo>
                      <a:pt x="350" y="890"/>
                    </a:lnTo>
                    <a:lnTo>
                      <a:pt x="348" y="889"/>
                    </a:lnTo>
                    <a:lnTo>
                      <a:pt x="348" y="887"/>
                    </a:lnTo>
                    <a:lnTo>
                      <a:pt x="346" y="885"/>
                    </a:lnTo>
                    <a:lnTo>
                      <a:pt x="342" y="883"/>
                    </a:lnTo>
                    <a:lnTo>
                      <a:pt x="340" y="881"/>
                    </a:lnTo>
                    <a:lnTo>
                      <a:pt x="338" y="881"/>
                    </a:lnTo>
                    <a:lnTo>
                      <a:pt x="338" y="879"/>
                    </a:lnTo>
                    <a:lnTo>
                      <a:pt x="337" y="879"/>
                    </a:lnTo>
                    <a:lnTo>
                      <a:pt x="337" y="877"/>
                    </a:lnTo>
                    <a:lnTo>
                      <a:pt x="335" y="877"/>
                    </a:lnTo>
                    <a:lnTo>
                      <a:pt x="337" y="877"/>
                    </a:lnTo>
                    <a:lnTo>
                      <a:pt x="338" y="877"/>
                    </a:lnTo>
                    <a:lnTo>
                      <a:pt x="340" y="877"/>
                    </a:lnTo>
                    <a:lnTo>
                      <a:pt x="340" y="879"/>
                    </a:lnTo>
                    <a:lnTo>
                      <a:pt x="340" y="881"/>
                    </a:lnTo>
                    <a:lnTo>
                      <a:pt x="340" y="879"/>
                    </a:lnTo>
                    <a:lnTo>
                      <a:pt x="340" y="877"/>
                    </a:lnTo>
                    <a:lnTo>
                      <a:pt x="340" y="875"/>
                    </a:lnTo>
                    <a:lnTo>
                      <a:pt x="340" y="873"/>
                    </a:lnTo>
                    <a:lnTo>
                      <a:pt x="338" y="873"/>
                    </a:lnTo>
                    <a:lnTo>
                      <a:pt x="338" y="875"/>
                    </a:lnTo>
                    <a:lnTo>
                      <a:pt x="337" y="875"/>
                    </a:lnTo>
                    <a:lnTo>
                      <a:pt x="335" y="875"/>
                    </a:lnTo>
                    <a:lnTo>
                      <a:pt x="333" y="875"/>
                    </a:lnTo>
                    <a:lnTo>
                      <a:pt x="333" y="873"/>
                    </a:lnTo>
                    <a:lnTo>
                      <a:pt x="331" y="871"/>
                    </a:lnTo>
                    <a:lnTo>
                      <a:pt x="329" y="871"/>
                    </a:lnTo>
                    <a:lnTo>
                      <a:pt x="331" y="871"/>
                    </a:lnTo>
                    <a:lnTo>
                      <a:pt x="329" y="871"/>
                    </a:lnTo>
                    <a:lnTo>
                      <a:pt x="327" y="869"/>
                    </a:lnTo>
                    <a:lnTo>
                      <a:pt x="327" y="867"/>
                    </a:lnTo>
                    <a:lnTo>
                      <a:pt x="325" y="867"/>
                    </a:lnTo>
                    <a:lnTo>
                      <a:pt x="325" y="865"/>
                    </a:lnTo>
                    <a:lnTo>
                      <a:pt x="325" y="864"/>
                    </a:lnTo>
                    <a:lnTo>
                      <a:pt x="325" y="865"/>
                    </a:lnTo>
                    <a:lnTo>
                      <a:pt x="325" y="867"/>
                    </a:lnTo>
                    <a:lnTo>
                      <a:pt x="323" y="867"/>
                    </a:lnTo>
                    <a:lnTo>
                      <a:pt x="323" y="865"/>
                    </a:lnTo>
                    <a:lnTo>
                      <a:pt x="321" y="865"/>
                    </a:lnTo>
                    <a:lnTo>
                      <a:pt x="321" y="864"/>
                    </a:lnTo>
                    <a:lnTo>
                      <a:pt x="321" y="865"/>
                    </a:lnTo>
                    <a:lnTo>
                      <a:pt x="323" y="865"/>
                    </a:lnTo>
                    <a:lnTo>
                      <a:pt x="323" y="867"/>
                    </a:lnTo>
                    <a:lnTo>
                      <a:pt x="325" y="869"/>
                    </a:lnTo>
                    <a:lnTo>
                      <a:pt x="327" y="869"/>
                    </a:lnTo>
                    <a:lnTo>
                      <a:pt x="329" y="871"/>
                    </a:lnTo>
                    <a:lnTo>
                      <a:pt x="331" y="873"/>
                    </a:lnTo>
                    <a:lnTo>
                      <a:pt x="333" y="873"/>
                    </a:lnTo>
                    <a:lnTo>
                      <a:pt x="333" y="875"/>
                    </a:lnTo>
                    <a:lnTo>
                      <a:pt x="335" y="877"/>
                    </a:lnTo>
                    <a:lnTo>
                      <a:pt x="337" y="877"/>
                    </a:lnTo>
                    <a:lnTo>
                      <a:pt x="337" y="879"/>
                    </a:lnTo>
                    <a:lnTo>
                      <a:pt x="337" y="877"/>
                    </a:lnTo>
                    <a:lnTo>
                      <a:pt x="335" y="877"/>
                    </a:lnTo>
                    <a:lnTo>
                      <a:pt x="333" y="875"/>
                    </a:lnTo>
                    <a:lnTo>
                      <a:pt x="331" y="873"/>
                    </a:lnTo>
                    <a:lnTo>
                      <a:pt x="329" y="871"/>
                    </a:lnTo>
                    <a:lnTo>
                      <a:pt x="325" y="867"/>
                    </a:lnTo>
                    <a:lnTo>
                      <a:pt x="323" y="867"/>
                    </a:lnTo>
                    <a:lnTo>
                      <a:pt x="321" y="865"/>
                    </a:lnTo>
                    <a:lnTo>
                      <a:pt x="319" y="864"/>
                    </a:lnTo>
                    <a:lnTo>
                      <a:pt x="317" y="864"/>
                    </a:lnTo>
                    <a:lnTo>
                      <a:pt x="317" y="862"/>
                    </a:lnTo>
                    <a:lnTo>
                      <a:pt x="315" y="860"/>
                    </a:lnTo>
                    <a:lnTo>
                      <a:pt x="314" y="858"/>
                    </a:lnTo>
                    <a:lnTo>
                      <a:pt x="312" y="854"/>
                    </a:lnTo>
                    <a:lnTo>
                      <a:pt x="310" y="854"/>
                    </a:lnTo>
                    <a:lnTo>
                      <a:pt x="310" y="852"/>
                    </a:lnTo>
                    <a:lnTo>
                      <a:pt x="308" y="852"/>
                    </a:lnTo>
                    <a:lnTo>
                      <a:pt x="308" y="850"/>
                    </a:lnTo>
                    <a:lnTo>
                      <a:pt x="306" y="848"/>
                    </a:lnTo>
                    <a:lnTo>
                      <a:pt x="304" y="846"/>
                    </a:lnTo>
                    <a:lnTo>
                      <a:pt x="302" y="844"/>
                    </a:lnTo>
                    <a:lnTo>
                      <a:pt x="300" y="842"/>
                    </a:lnTo>
                    <a:lnTo>
                      <a:pt x="300" y="840"/>
                    </a:lnTo>
                    <a:lnTo>
                      <a:pt x="294" y="835"/>
                    </a:lnTo>
                    <a:lnTo>
                      <a:pt x="292" y="835"/>
                    </a:lnTo>
                    <a:lnTo>
                      <a:pt x="292" y="833"/>
                    </a:lnTo>
                    <a:lnTo>
                      <a:pt x="290" y="831"/>
                    </a:lnTo>
                    <a:lnTo>
                      <a:pt x="289" y="831"/>
                    </a:lnTo>
                    <a:lnTo>
                      <a:pt x="289" y="829"/>
                    </a:lnTo>
                    <a:lnTo>
                      <a:pt x="287" y="827"/>
                    </a:lnTo>
                    <a:lnTo>
                      <a:pt x="287" y="825"/>
                    </a:lnTo>
                    <a:lnTo>
                      <a:pt x="285" y="825"/>
                    </a:lnTo>
                    <a:lnTo>
                      <a:pt x="283" y="823"/>
                    </a:lnTo>
                    <a:lnTo>
                      <a:pt x="283" y="821"/>
                    </a:lnTo>
                    <a:lnTo>
                      <a:pt x="281" y="819"/>
                    </a:lnTo>
                    <a:lnTo>
                      <a:pt x="279" y="819"/>
                    </a:lnTo>
                    <a:lnTo>
                      <a:pt x="279" y="817"/>
                    </a:lnTo>
                    <a:lnTo>
                      <a:pt x="277" y="817"/>
                    </a:lnTo>
                    <a:lnTo>
                      <a:pt x="277" y="816"/>
                    </a:lnTo>
                    <a:lnTo>
                      <a:pt x="275" y="816"/>
                    </a:lnTo>
                    <a:lnTo>
                      <a:pt x="275" y="814"/>
                    </a:lnTo>
                    <a:lnTo>
                      <a:pt x="273" y="812"/>
                    </a:lnTo>
                    <a:lnTo>
                      <a:pt x="271" y="810"/>
                    </a:lnTo>
                    <a:lnTo>
                      <a:pt x="269" y="808"/>
                    </a:lnTo>
                    <a:lnTo>
                      <a:pt x="267" y="806"/>
                    </a:lnTo>
                    <a:lnTo>
                      <a:pt x="265" y="804"/>
                    </a:lnTo>
                    <a:lnTo>
                      <a:pt x="264" y="802"/>
                    </a:lnTo>
                    <a:lnTo>
                      <a:pt x="262" y="800"/>
                    </a:lnTo>
                    <a:lnTo>
                      <a:pt x="260" y="798"/>
                    </a:lnTo>
                    <a:lnTo>
                      <a:pt x="258" y="796"/>
                    </a:lnTo>
                    <a:lnTo>
                      <a:pt x="256" y="794"/>
                    </a:lnTo>
                    <a:lnTo>
                      <a:pt x="254" y="792"/>
                    </a:lnTo>
                    <a:lnTo>
                      <a:pt x="252" y="791"/>
                    </a:lnTo>
                    <a:lnTo>
                      <a:pt x="250" y="791"/>
                    </a:lnTo>
                    <a:lnTo>
                      <a:pt x="250" y="789"/>
                    </a:lnTo>
                    <a:lnTo>
                      <a:pt x="248" y="787"/>
                    </a:lnTo>
                    <a:lnTo>
                      <a:pt x="246" y="787"/>
                    </a:lnTo>
                    <a:lnTo>
                      <a:pt x="246" y="785"/>
                    </a:lnTo>
                    <a:lnTo>
                      <a:pt x="244" y="783"/>
                    </a:lnTo>
                    <a:lnTo>
                      <a:pt x="242" y="783"/>
                    </a:lnTo>
                    <a:lnTo>
                      <a:pt x="242" y="781"/>
                    </a:lnTo>
                    <a:lnTo>
                      <a:pt x="241" y="779"/>
                    </a:lnTo>
                    <a:lnTo>
                      <a:pt x="239" y="777"/>
                    </a:lnTo>
                    <a:lnTo>
                      <a:pt x="237" y="775"/>
                    </a:lnTo>
                    <a:lnTo>
                      <a:pt x="235" y="773"/>
                    </a:lnTo>
                    <a:lnTo>
                      <a:pt x="233" y="771"/>
                    </a:lnTo>
                    <a:lnTo>
                      <a:pt x="231" y="769"/>
                    </a:lnTo>
                    <a:lnTo>
                      <a:pt x="229" y="767"/>
                    </a:lnTo>
                    <a:lnTo>
                      <a:pt x="227" y="766"/>
                    </a:lnTo>
                    <a:lnTo>
                      <a:pt x="227" y="764"/>
                    </a:lnTo>
                    <a:lnTo>
                      <a:pt x="225" y="764"/>
                    </a:lnTo>
                    <a:lnTo>
                      <a:pt x="223" y="762"/>
                    </a:lnTo>
                    <a:lnTo>
                      <a:pt x="223" y="760"/>
                    </a:lnTo>
                    <a:lnTo>
                      <a:pt x="221" y="760"/>
                    </a:lnTo>
                    <a:lnTo>
                      <a:pt x="221" y="758"/>
                    </a:lnTo>
                    <a:lnTo>
                      <a:pt x="219" y="756"/>
                    </a:lnTo>
                    <a:lnTo>
                      <a:pt x="217" y="754"/>
                    </a:lnTo>
                    <a:lnTo>
                      <a:pt x="217" y="752"/>
                    </a:lnTo>
                    <a:lnTo>
                      <a:pt x="216" y="752"/>
                    </a:lnTo>
                    <a:lnTo>
                      <a:pt x="216" y="750"/>
                    </a:lnTo>
                    <a:lnTo>
                      <a:pt x="214" y="750"/>
                    </a:lnTo>
                    <a:lnTo>
                      <a:pt x="214" y="748"/>
                    </a:lnTo>
                    <a:lnTo>
                      <a:pt x="212" y="748"/>
                    </a:lnTo>
                    <a:lnTo>
                      <a:pt x="212" y="746"/>
                    </a:lnTo>
                    <a:lnTo>
                      <a:pt x="210" y="746"/>
                    </a:lnTo>
                    <a:lnTo>
                      <a:pt x="210" y="744"/>
                    </a:lnTo>
                    <a:lnTo>
                      <a:pt x="208" y="742"/>
                    </a:lnTo>
                    <a:lnTo>
                      <a:pt x="206" y="741"/>
                    </a:lnTo>
                    <a:lnTo>
                      <a:pt x="206" y="739"/>
                    </a:lnTo>
                    <a:lnTo>
                      <a:pt x="204" y="739"/>
                    </a:lnTo>
                    <a:lnTo>
                      <a:pt x="204" y="737"/>
                    </a:lnTo>
                    <a:lnTo>
                      <a:pt x="202" y="737"/>
                    </a:lnTo>
                    <a:lnTo>
                      <a:pt x="202" y="735"/>
                    </a:lnTo>
                    <a:lnTo>
                      <a:pt x="200" y="733"/>
                    </a:lnTo>
                    <a:lnTo>
                      <a:pt x="198" y="731"/>
                    </a:lnTo>
                    <a:lnTo>
                      <a:pt x="198" y="729"/>
                    </a:lnTo>
                    <a:lnTo>
                      <a:pt x="198" y="727"/>
                    </a:lnTo>
                    <a:lnTo>
                      <a:pt x="196" y="725"/>
                    </a:lnTo>
                    <a:lnTo>
                      <a:pt x="196" y="723"/>
                    </a:lnTo>
                    <a:lnTo>
                      <a:pt x="194" y="721"/>
                    </a:lnTo>
                    <a:lnTo>
                      <a:pt x="192" y="719"/>
                    </a:lnTo>
                    <a:lnTo>
                      <a:pt x="192" y="717"/>
                    </a:lnTo>
                    <a:lnTo>
                      <a:pt x="191" y="716"/>
                    </a:lnTo>
                    <a:lnTo>
                      <a:pt x="191" y="714"/>
                    </a:lnTo>
                    <a:lnTo>
                      <a:pt x="189" y="712"/>
                    </a:lnTo>
                    <a:lnTo>
                      <a:pt x="189" y="710"/>
                    </a:lnTo>
                    <a:lnTo>
                      <a:pt x="187" y="710"/>
                    </a:lnTo>
                    <a:lnTo>
                      <a:pt x="187" y="708"/>
                    </a:lnTo>
                    <a:lnTo>
                      <a:pt x="185" y="706"/>
                    </a:lnTo>
                    <a:lnTo>
                      <a:pt x="183" y="702"/>
                    </a:lnTo>
                    <a:lnTo>
                      <a:pt x="181" y="700"/>
                    </a:lnTo>
                    <a:lnTo>
                      <a:pt x="179" y="698"/>
                    </a:lnTo>
                    <a:lnTo>
                      <a:pt x="179" y="696"/>
                    </a:lnTo>
                    <a:lnTo>
                      <a:pt x="179" y="694"/>
                    </a:lnTo>
                    <a:lnTo>
                      <a:pt x="177" y="692"/>
                    </a:lnTo>
                    <a:lnTo>
                      <a:pt x="179" y="692"/>
                    </a:lnTo>
                    <a:lnTo>
                      <a:pt x="179" y="694"/>
                    </a:lnTo>
                    <a:lnTo>
                      <a:pt x="179" y="692"/>
                    </a:lnTo>
                    <a:lnTo>
                      <a:pt x="177" y="692"/>
                    </a:lnTo>
                    <a:lnTo>
                      <a:pt x="177" y="691"/>
                    </a:lnTo>
                    <a:lnTo>
                      <a:pt x="179" y="691"/>
                    </a:lnTo>
                    <a:lnTo>
                      <a:pt x="177" y="691"/>
                    </a:lnTo>
                    <a:lnTo>
                      <a:pt x="177" y="689"/>
                    </a:lnTo>
                    <a:lnTo>
                      <a:pt x="179" y="689"/>
                    </a:lnTo>
                    <a:lnTo>
                      <a:pt x="181" y="689"/>
                    </a:lnTo>
                    <a:lnTo>
                      <a:pt x="179" y="687"/>
                    </a:lnTo>
                    <a:lnTo>
                      <a:pt x="179" y="689"/>
                    </a:lnTo>
                    <a:lnTo>
                      <a:pt x="177" y="689"/>
                    </a:lnTo>
                    <a:lnTo>
                      <a:pt x="175" y="687"/>
                    </a:lnTo>
                    <a:lnTo>
                      <a:pt x="175" y="685"/>
                    </a:lnTo>
                    <a:lnTo>
                      <a:pt x="173" y="683"/>
                    </a:lnTo>
                    <a:lnTo>
                      <a:pt x="173" y="681"/>
                    </a:lnTo>
                    <a:lnTo>
                      <a:pt x="173" y="679"/>
                    </a:lnTo>
                    <a:lnTo>
                      <a:pt x="171" y="679"/>
                    </a:lnTo>
                    <a:lnTo>
                      <a:pt x="171" y="677"/>
                    </a:lnTo>
                    <a:lnTo>
                      <a:pt x="171" y="675"/>
                    </a:lnTo>
                    <a:lnTo>
                      <a:pt x="169" y="673"/>
                    </a:lnTo>
                    <a:lnTo>
                      <a:pt x="169" y="671"/>
                    </a:lnTo>
                    <a:lnTo>
                      <a:pt x="168" y="669"/>
                    </a:lnTo>
                    <a:lnTo>
                      <a:pt x="168" y="667"/>
                    </a:lnTo>
                    <a:lnTo>
                      <a:pt x="168" y="666"/>
                    </a:lnTo>
                    <a:lnTo>
                      <a:pt x="166" y="666"/>
                    </a:lnTo>
                    <a:lnTo>
                      <a:pt x="166" y="664"/>
                    </a:lnTo>
                    <a:lnTo>
                      <a:pt x="164" y="660"/>
                    </a:lnTo>
                    <a:lnTo>
                      <a:pt x="164" y="658"/>
                    </a:lnTo>
                    <a:lnTo>
                      <a:pt x="162" y="658"/>
                    </a:lnTo>
                    <a:lnTo>
                      <a:pt x="162" y="654"/>
                    </a:lnTo>
                    <a:lnTo>
                      <a:pt x="162" y="652"/>
                    </a:lnTo>
                    <a:lnTo>
                      <a:pt x="160" y="652"/>
                    </a:lnTo>
                    <a:lnTo>
                      <a:pt x="160" y="650"/>
                    </a:lnTo>
                    <a:lnTo>
                      <a:pt x="160" y="648"/>
                    </a:lnTo>
                    <a:lnTo>
                      <a:pt x="160" y="644"/>
                    </a:lnTo>
                    <a:lnTo>
                      <a:pt x="160" y="642"/>
                    </a:lnTo>
                    <a:lnTo>
                      <a:pt x="160" y="641"/>
                    </a:lnTo>
                    <a:lnTo>
                      <a:pt x="160" y="642"/>
                    </a:lnTo>
                    <a:lnTo>
                      <a:pt x="160" y="644"/>
                    </a:lnTo>
                    <a:lnTo>
                      <a:pt x="160" y="646"/>
                    </a:lnTo>
                    <a:lnTo>
                      <a:pt x="160" y="648"/>
                    </a:lnTo>
                    <a:lnTo>
                      <a:pt x="162" y="648"/>
                    </a:lnTo>
                    <a:lnTo>
                      <a:pt x="162" y="650"/>
                    </a:lnTo>
                    <a:lnTo>
                      <a:pt x="164" y="652"/>
                    </a:lnTo>
                    <a:lnTo>
                      <a:pt x="164" y="654"/>
                    </a:lnTo>
                    <a:lnTo>
                      <a:pt x="166" y="654"/>
                    </a:lnTo>
                    <a:lnTo>
                      <a:pt x="166" y="656"/>
                    </a:lnTo>
                    <a:lnTo>
                      <a:pt x="168" y="656"/>
                    </a:lnTo>
                    <a:lnTo>
                      <a:pt x="168" y="658"/>
                    </a:lnTo>
                    <a:lnTo>
                      <a:pt x="166" y="658"/>
                    </a:lnTo>
                    <a:lnTo>
                      <a:pt x="168" y="658"/>
                    </a:lnTo>
                    <a:lnTo>
                      <a:pt x="168" y="660"/>
                    </a:lnTo>
                    <a:lnTo>
                      <a:pt x="169" y="660"/>
                    </a:lnTo>
                    <a:lnTo>
                      <a:pt x="171" y="660"/>
                    </a:lnTo>
                    <a:lnTo>
                      <a:pt x="169" y="660"/>
                    </a:lnTo>
                    <a:lnTo>
                      <a:pt x="168" y="660"/>
                    </a:lnTo>
                    <a:lnTo>
                      <a:pt x="168" y="658"/>
                    </a:lnTo>
                    <a:lnTo>
                      <a:pt x="166" y="658"/>
                    </a:lnTo>
                    <a:lnTo>
                      <a:pt x="168" y="658"/>
                    </a:lnTo>
                    <a:lnTo>
                      <a:pt x="168" y="656"/>
                    </a:lnTo>
                    <a:lnTo>
                      <a:pt x="166" y="656"/>
                    </a:lnTo>
                    <a:lnTo>
                      <a:pt x="166" y="654"/>
                    </a:lnTo>
                    <a:lnTo>
                      <a:pt x="164" y="654"/>
                    </a:lnTo>
                    <a:lnTo>
                      <a:pt x="164" y="652"/>
                    </a:lnTo>
                    <a:lnTo>
                      <a:pt x="164" y="650"/>
                    </a:lnTo>
                    <a:lnTo>
                      <a:pt x="164" y="652"/>
                    </a:lnTo>
                    <a:lnTo>
                      <a:pt x="164" y="650"/>
                    </a:lnTo>
                    <a:lnTo>
                      <a:pt x="162" y="650"/>
                    </a:lnTo>
                    <a:lnTo>
                      <a:pt x="162" y="648"/>
                    </a:lnTo>
                    <a:lnTo>
                      <a:pt x="160" y="648"/>
                    </a:lnTo>
                    <a:lnTo>
                      <a:pt x="160" y="646"/>
                    </a:lnTo>
                    <a:lnTo>
                      <a:pt x="162" y="646"/>
                    </a:lnTo>
                    <a:lnTo>
                      <a:pt x="160" y="646"/>
                    </a:lnTo>
                    <a:lnTo>
                      <a:pt x="160" y="644"/>
                    </a:lnTo>
                    <a:lnTo>
                      <a:pt x="160" y="642"/>
                    </a:lnTo>
                    <a:lnTo>
                      <a:pt x="162" y="642"/>
                    </a:lnTo>
                    <a:lnTo>
                      <a:pt x="162" y="641"/>
                    </a:lnTo>
                    <a:lnTo>
                      <a:pt x="160" y="639"/>
                    </a:lnTo>
                    <a:lnTo>
                      <a:pt x="160" y="637"/>
                    </a:lnTo>
                    <a:lnTo>
                      <a:pt x="162" y="635"/>
                    </a:lnTo>
                    <a:lnTo>
                      <a:pt x="162" y="633"/>
                    </a:lnTo>
                    <a:lnTo>
                      <a:pt x="162" y="631"/>
                    </a:lnTo>
                    <a:lnTo>
                      <a:pt x="162" y="629"/>
                    </a:lnTo>
                    <a:lnTo>
                      <a:pt x="162" y="627"/>
                    </a:lnTo>
                    <a:lnTo>
                      <a:pt x="162" y="625"/>
                    </a:lnTo>
                    <a:lnTo>
                      <a:pt x="162" y="623"/>
                    </a:lnTo>
                    <a:lnTo>
                      <a:pt x="160" y="621"/>
                    </a:lnTo>
                    <a:lnTo>
                      <a:pt x="160" y="619"/>
                    </a:lnTo>
                    <a:lnTo>
                      <a:pt x="158" y="619"/>
                    </a:lnTo>
                    <a:lnTo>
                      <a:pt x="158" y="617"/>
                    </a:lnTo>
                    <a:lnTo>
                      <a:pt x="160" y="617"/>
                    </a:lnTo>
                    <a:lnTo>
                      <a:pt x="162" y="617"/>
                    </a:lnTo>
                    <a:lnTo>
                      <a:pt x="164" y="617"/>
                    </a:lnTo>
                    <a:lnTo>
                      <a:pt x="164" y="619"/>
                    </a:lnTo>
                    <a:lnTo>
                      <a:pt x="164" y="621"/>
                    </a:lnTo>
                    <a:lnTo>
                      <a:pt x="166" y="621"/>
                    </a:lnTo>
                    <a:lnTo>
                      <a:pt x="166" y="623"/>
                    </a:lnTo>
                    <a:lnTo>
                      <a:pt x="166" y="621"/>
                    </a:lnTo>
                    <a:lnTo>
                      <a:pt x="166" y="619"/>
                    </a:lnTo>
                    <a:lnTo>
                      <a:pt x="166" y="621"/>
                    </a:lnTo>
                    <a:lnTo>
                      <a:pt x="164" y="621"/>
                    </a:lnTo>
                    <a:lnTo>
                      <a:pt x="164" y="619"/>
                    </a:lnTo>
                    <a:lnTo>
                      <a:pt x="166" y="619"/>
                    </a:lnTo>
                    <a:lnTo>
                      <a:pt x="164" y="619"/>
                    </a:lnTo>
                    <a:lnTo>
                      <a:pt x="164" y="617"/>
                    </a:lnTo>
                    <a:lnTo>
                      <a:pt x="164" y="616"/>
                    </a:lnTo>
                    <a:lnTo>
                      <a:pt x="166" y="616"/>
                    </a:lnTo>
                    <a:lnTo>
                      <a:pt x="168" y="616"/>
                    </a:lnTo>
                    <a:lnTo>
                      <a:pt x="169" y="616"/>
                    </a:lnTo>
                    <a:lnTo>
                      <a:pt x="168" y="617"/>
                    </a:lnTo>
                    <a:lnTo>
                      <a:pt x="168" y="616"/>
                    </a:lnTo>
                    <a:lnTo>
                      <a:pt x="168" y="617"/>
                    </a:lnTo>
                    <a:lnTo>
                      <a:pt x="169" y="617"/>
                    </a:lnTo>
                    <a:lnTo>
                      <a:pt x="168" y="617"/>
                    </a:lnTo>
                    <a:lnTo>
                      <a:pt x="169" y="617"/>
                    </a:lnTo>
                    <a:lnTo>
                      <a:pt x="169" y="619"/>
                    </a:lnTo>
                    <a:lnTo>
                      <a:pt x="171" y="619"/>
                    </a:lnTo>
                    <a:lnTo>
                      <a:pt x="173" y="619"/>
                    </a:lnTo>
                    <a:lnTo>
                      <a:pt x="173" y="621"/>
                    </a:lnTo>
                    <a:lnTo>
                      <a:pt x="175" y="621"/>
                    </a:lnTo>
                    <a:lnTo>
                      <a:pt x="175" y="619"/>
                    </a:lnTo>
                    <a:lnTo>
                      <a:pt x="175" y="621"/>
                    </a:lnTo>
                    <a:lnTo>
                      <a:pt x="177" y="621"/>
                    </a:lnTo>
                    <a:lnTo>
                      <a:pt x="177" y="623"/>
                    </a:lnTo>
                    <a:lnTo>
                      <a:pt x="179" y="623"/>
                    </a:lnTo>
                    <a:lnTo>
                      <a:pt x="181" y="623"/>
                    </a:lnTo>
                    <a:lnTo>
                      <a:pt x="183" y="623"/>
                    </a:lnTo>
                    <a:lnTo>
                      <a:pt x="185" y="623"/>
                    </a:lnTo>
                    <a:lnTo>
                      <a:pt x="187" y="623"/>
                    </a:lnTo>
                    <a:lnTo>
                      <a:pt x="187" y="625"/>
                    </a:lnTo>
                    <a:lnTo>
                      <a:pt x="189" y="627"/>
                    </a:lnTo>
                    <a:lnTo>
                      <a:pt x="189" y="625"/>
                    </a:lnTo>
                    <a:lnTo>
                      <a:pt x="191" y="625"/>
                    </a:lnTo>
                    <a:lnTo>
                      <a:pt x="189" y="625"/>
                    </a:lnTo>
                    <a:lnTo>
                      <a:pt x="189" y="627"/>
                    </a:lnTo>
                    <a:lnTo>
                      <a:pt x="189" y="625"/>
                    </a:lnTo>
                    <a:lnTo>
                      <a:pt x="189" y="627"/>
                    </a:lnTo>
                    <a:lnTo>
                      <a:pt x="187" y="625"/>
                    </a:lnTo>
                    <a:lnTo>
                      <a:pt x="185" y="623"/>
                    </a:lnTo>
                    <a:lnTo>
                      <a:pt x="183" y="623"/>
                    </a:lnTo>
                    <a:lnTo>
                      <a:pt x="181" y="623"/>
                    </a:lnTo>
                    <a:lnTo>
                      <a:pt x="179" y="623"/>
                    </a:lnTo>
                    <a:lnTo>
                      <a:pt x="177" y="621"/>
                    </a:lnTo>
                    <a:lnTo>
                      <a:pt x="175" y="621"/>
                    </a:lnTo>
                    <a:lnTo>
                      <a:pt x="175" y="619"/>
                    </a:lnTo>
                    <a:lnTo>
                      <a:pt x="175" y="621"/>
                    </a:lnTo>
                    <a:lnTo>
                      <a:pt x="175" y="619"/>
                    </a:lnTo>
                    <a:lnTo>
                      <a:pt x="173" y="621"/>
                    </a:lnTo>
                    <a:lnTo>
                      <a:pt x="175" y="621"/>
                    </a:lnTo>
                    <a:lnTo>
                      <a:pt x="173" y="621"/>
                    </a:lnTo>
                    <a:lnTo>
                      <a:pt x="173" y="619"/>
                    </a:lnTo>
                    <a:lnTo>
                      <a:pt x="171" y="619"/>
                    </a:lnTo>
                    <a:lnTo>
                      <a:pt x="169" y="617"/>
                    </a:lnTo>
                    <a:lnTo>
                      <a:pt x="168" y="617"/>
                    </a:lnTo>
                    <a:lnTo>
                      <a:pt x="169" y="617"/>
                    </a:lnTo>
                    <a:lnTo>
                      <a:pt x="169" y="616"/>
                    </a:lnTo>
                    <a:lnTo>
                      <a:pt x="168" y="616"/>
                    </a:lnTo>
                    <a:lnTo>
                      <a:pt x="166" y="616"/>
                    </a:lnTo>
                    <a:lnTo>
                      <a:pt x="164" y="616"/>
                    </a:lnTo>
                    <a:lnTo>
                      <a:pt x="164" y="614"/>
                    </a:lnTo>
                    <a:lnTo>
                      <a:pt x="162" y="614"/>
                    </a:lnTo>
                    <a:lnTo>
                      <a:pt x="164" y="614"/>
                    </a:lnTo>
                    <a:lnTo>
                      <a:pt x="162" y="612"/>
                    </a:lnTo>
                    <a:lnTo>
                      <a:pt x="162" y="610"/>
                    </a:lnTo>
                    <a:lnTo>
                      <a:pt x="162" y="608"/>
                    </a:lnTo>
                    <a:lnTo>
                      <a:pt x="162" y="606"/>
                    </a:lnTo>
                    <a:lnTo>
                      <a:pt x="162" y="604"/>
                    </a:lnTo>
                    <a:lnTo>
                      <a:pt x="160" y="602"/>
                    </a:lnTo>
                    <a:lnTo>
                      <a:pt x="160" y="600"/>
                    </a:lnTo>
                    <a:lnTo>
                      <a:pt x="160" y="598"/>
                    </a:lnTo>
                    <a:lnTo>
                      <a:pt x="158" y="596"/>
                    </a:lnTo>
                    <a:lnTo>
                      <a:pt x="158" y="594"/>
                    </a:lnTo>
                    <a:lnTo>
                      <a:pt x="158" y="591"/>
                    </a:lnTo>
                    <a:lnTo>
                      <a:pt x="156" y="591"/>
                    </a:lnTo>
                    <a:lnTo>
                      <a:pt x="156" y="589"/>
                    </a:lnTo>
                    <a:lnTo>
                      <a:pt x="154" y="587"/>
                    </a:lnTo>
                    <a:lnTo>
                      <a:pt x="152" y="587"/>
                    </a:lnTo>
                    <a:lnTo>
                      <a:pt x="150" y="583"/>
                    </a:lnTo>
                    <a:lnTo>
                      <a:pt x="148" y="583"/>
                    </a:lnTo>
                    <a:lnTo>
                      <a:pt x="148" y="581"/>
                    </a:lnTo>
                    <a:lnTo>
                      <a:pt x="148" y="583"/>
                    </a:lnTo>
                    <a:lnTo>
                      <a:pt x="146" y="581"/>
                    </a:lnTo>
                    <a:lnTo>
                      <a:pt x="144" y="581"/>
                    </a:lnTo>
                    <a:lnTo>
                      <a:pt x="144" y="579"/>
                    </a:lnTo>
                    <a:lnTo>
                      <a:pt x="143" y="579"/>
                    </a:lnTo>
                    <a:lnTo>
                      <a:pt x="144" y="579"/>
                    </a:lnTo>
                    <a:lnTo>
                      <a:pt x="146" y="577"/>
                    </a:lnTo>
                    <a:lnTo>
                      <a:pt x="144" y="577"/>
                    </a:lnTo>
                    <a:lnTo>
                      <a:pt x="144" y="579"/>
                    </a:lnTo>
                    <a:lnTo>
                      <a:pt x="143" y="579"/>
                    </a:lnTo>
                    <a:lnTo>
                      <a:pt x="141" y="579"/>
                    </a:lnTo>
                    <a:lnTo>
                      <a:pt x="139" y="579"/>
                    </a:lnTo>
                    <a:lnTo>
                      <a:pt x="139" y="577"/>
                    </a:lnTo>
                    <a:lnTo>
                      <a:pt x="139" y="575"/>
                    </a:lnTo>
                    <a:lnTo>
                      <a:pt x="141" y="575"/>
                    </a:lnTo>
                    <a:lnTo>
                      <a:pt x="139" y="575"/>
                    </a:lnTo>
                    <a:lnTo>
                      <a:pt x="139" y="573"/>
                    </a:lnTo>
                    <a:lnTo>
                      <a:pt x="141" y="573"/>
                    </a:lnTo>
                    <a:lnTo>
                      <a:pt x="141" y="571"/>
                    </a:lnTo>
                    <a:lnTo>
                      <a:pt x="141" y="569"/>
                    </a:lnTo>
                    <a:lnTo>
                      <a:pt x="141" y="568"/>
                    </a:lnTo>
                    <a:lnTo>
                      <a:pt x="141" y="569"/>
                    </a:lnTo>
                    <a:lnTo>
                      <a:pt x="143" y="569"/>
                    </a:lnTo>
                    <a:lnTo>
                      <a:pt x="144" y="571"/>
                    </a:lnTo>
                    <a:lnTo>
                      <a:pt x="146" y="569"/>
                    </a:lnTo>
                    <a:lnTo>
                      <a:pt x="146" y="571"/>
                    </a:lnTo>
                    <a:lnTo>
                      <a:pt x="148" y="571"/>
                    </a:lnTo>
                    <a:lnTo>
                      <a:pt x="150" y="571"/>
                    </a:lnTo>
                    <a:lnTo>
                      <a:pt x="148" y="571"/>
                    </a:lnTo>
                    <a:lnTo>
                      <a:pt x="148" y="569"/>
                    </a:lnTo>
                    <a:lnTo>
                      <a:pt x="146" y="571"/>
                    </a:lnTo>
                    <a:lnTo>
                      <a:pt x="146" y="569"/>
                    </a:lnTo>
                    <a:lnTo>
                      <a:pt x="148" y="569"/>
                    </a:lnTo>
                    <a:lnTo>
                      <a:pt x="150" y="569"/>
                    </a:lnTo>
                    <a:lnTo>
                      <a:pt x="150" y="568"/>
                    </a:lnTo>
                    <a:lnTo>
                      <a:pt x="152" y="568"/>
                    </a:lnTo>
                    <a:lnTo>
                      <a:pt x="152" y="566"/>
                    </a:lnTo>
                    <a:lnTo>
                      <a:pt x="154" y="566"/>
                    </a:lnTo>
                    <a:lnTo>
                      <a:pt x="154" y="564"/>
                    </a:lnTo>
                    <a:lnTo>
                      <a:pt x="154" y="562"/>
                    </a:lnTo>
                    <a:lnTo>
                      <a:pt x="154" y="560"/>
                    </a:lnTo>
                    <a:lnTo>
                      <a:pt x="154" y="558"/>
                    </a:lnTo>
                    <a:lnTo>
                      <a:pt x="154" y="556"/>
                    </a:lnTo>
                    <a:lnTo>
                      <a:pt x="154" y="554"/>
                    </a:lnTo>
                    <a:lnTo>
                      <a:pt x="152" y="554"/>
                    </a:lnTo>
                    <a:lnTo>
                      <a:pt x="152" y="552"/>
                    </a:lnTo>
                    <a:lnTo>
                      <a:pt x="152" y="550"/>
                    </a:lnTo>
                    <a:lnTo>
                      <a:pt x="152" y="548"/>
                    </a:lnTo>
                    <a:lnTo>
                      <a:pt x="150" y="548"/>
                    </a:lnTo>
                    <a:lnTo>
                      <a:pt x="150" y="546"/>
                    </a:lnTo>
                    <a:lnTo>
                      <a:pt x="152" y="546"/>
                    </a:lnTo>
                    <a:lnTo>
                      <a:pt x="152" y="544"/>
                    </a:lnTo>
                    <a:lnTo>
                      <a:pt x="152" y="546"/>
                    </a:lnTo>
                    <a:lnTo>
                      <a:pt x="154" y="546"/>
                    </a:lnTo>
                    <a:lnTo>
                      <a:pt x="156" y="546"/>
                    </a:lnTo>
                    <a:lnTo>
                      <a:pt x="158" y="544"/>
                    </a:lnTo>
                    <a:lnTo>
                      <a:pt x="160" y="544"/>
                    </a:lnTo>
                    <a:lnTo>
                      <a:pt x="160" y="543"/>
                    </a:lnTo>
                    <a:lnTo>
                      <a:pt x="162" y="543"/>
                    </a:lnTo>
                    <a:lnTo>
                      <a:pt x="162" y="541"/>
                    </a:lnTo>
                    <a:lnTo>
                      <a:pt x="164" y="539"/>
                    </a:lnTo>
                    <a:lnTo>
                      <a:pt x="164" y="537"/>
                    </a:lnTo>
                    <a:lnTo>
                      <a:pt x="166" y="537"/>
                    </a:lnTo>
                    <a:lnTo>
                      <a:pt x="166" y="535"/>
                    </a:lnTo>
                    <a:lnTo>
                      <a:pt x="168" y="537"/>
                    </a:lnTo>
                    <a:lnTo>
                      <a:pt x="169" y="537"/>
                    </a:lnTo>
                    <a:lnTo>
                      <a:pt x="171" y="537"/>
                    </a:lnTo>
                    <a:lnTo>
                      <a:pt x="171" y="539"/>
                    </a:lnTo>
                    <a:lnTo>
                      <a:pt x="171" y="541"/>
                    </a:lnTo>
                    <a:lnTo>
                      <a:pt x="171" y="539"/>
                    </a:lnTo>
                    <a:lnTo>
                      <a:pt x="169" y="537"/>
                    </a:lnTo>
                    <a:lnTo>
                      <a:pt x="171" y="537"/>
                    </a:lnTo>
                    <a:lnTo>
                      <a:pt x="173" y="537"/>
                    </a:lnTo>
                    <a:lnTo>
                      <a:pt x="173" y="539"/>
                    </a:lnTo>
                    <a:lnTo>
                      <a:pt x="175" y="539"/>
                    </a:lnTo>
                    <a:lnTo>
                      <a:pt x="177" y="539"/>
                    </a:lnTo>
                    <a:lnTo>
                      <a:pt x="177" y="541"/>
                    </a:lnTo>
                    <a:lnTo>
                      <a:pt x="179" y="541"/>
                    </a:lnTo>
                    <a:lnTo>
                      <a:pt x="181" y="541"/>
                    </a:lnTo>
                    <a:lnTo>
                      <a:pt x="179" y="541"/>
                    </a:lnTo>
                    <a:lnTo>
                      <a:pt x="177" y="541"/>
                    </a:lnTo>
                    <a:lnTo>
                      <a:pt x="177" y="539"/>
                    </a:lnTo>
                    <a:lnTo>
                      <a:pt x="175" y="539"/>
                    </a:lnTo>
                    <a:lnTo>
                      <a:pt x="173" y="539"/>
                    </a:lnTo>
                    <a:lnTo>
                      <a:pt x="173" y="537"/>
                    </a:lnTo>
                    <a:lnTo>
                      <a:pt x="171" y="537"/>
                    </a:lnTo>
                    <a:lnTo>
                      <a:pt x="169" y="537"/>
                    </a:lnTo>
                    <a:lnTo>
                      <a:pt x="168" y="537"/>
                    </a:lnTo>
                    <a:lnTo>
                      <a:pt x="168" y="535"/>
                    </a:lnTo>
                    <a:lnTo>
                      <a:pt x="166" y="535"/>
                    </a:lnTo>
                    <a:lnTo>
                      <a:pt x="164" y="535"/>
                    </a:lnTo>
                    <a:lnTo>
                      <a:pt x="164" y="537"/>
                    </a:lnTo>
                    <a:lnTo>
                      <a:pt x="164" y="535"/>
                    </a:lnTo>
                    <a:lnTo>
                      <a:pt x="166" y="533"/>
                    </a:lnTo>
                    <a:lnTo>
                      <a:pt x="166" y="531"/>
                    </a:lnTo>
                    <a:lnTo>
                      <a:pt x="166" y="529"/>
                    </a:lnTo>
                    <a:lnTo>
                      <a:pt x="166" y="527"/>
                    </a:lnTo>
                    <a:lnTo>
                      <a:pt x="166" y="521"/>
                    </a:lnTo>
                    <a:lnTo>
                      <a:pt x="166" y="519"/>
                    </a:lnTo>
                    <a:lnTo>
                      <a:pt x="166" y="518"/>
                    </a:lnTo>
                    <a:lnTo>
                      <a:pt x="166" y="516"/>
                    </a:lnTo>
                    <a:lnTo>
                      <a:pt x="166" y="514"/>
                    </a:lnTo>
                    <a:lnTo>
                      <a:pt x="166" y="512"/>
                    </a:lnTo>
                    <a:lnTo>
                      <a:pt x="168" y="510"/>
                    </a:lnTo>
                    <a:lnTo>
                      <a:pt x="168" y="508"/>
                    </a:lnTo>
                    <a:lnTo>
                      <a:pt x="168" y="506"/>
                    </a:lnTo>
                    <a:lnTo>
                      <a:pt x="168" y="504"/>
                    </a:lnTo>
                    <a:lnTo>
                      <a:pt x="169" y="502"/>
                    </a:lnTo>
                    <a:lnTo>
                      <a:pt x="169" y="500"/>
                    </a:lnTo>
                    <a:lnTo>
                      <a:pt x="169" y="498"/>
                    </a:lnTo>
                    <a:lnTo>
                      <a:pt x="169" y="496"/>
                    </a:lnTo>
                    <a:lnTo>
                      <a:pt x="169" y="494"/>
                    </a:lnTo>
                    <a:lnTo>
                      <a:pt x="168" y="493"/>
                    </a:lnTo>
                    <a:lnTo>
                      <a:pt x="169" y="493"/>
                    </a:lnTo>
                    <a:lnTo>
                      <a:pt x="171" y="493"/>
                    </a:lnTo>
                    <a:lnTo>
                      <a:pt x="171" y="494"/>
                    </a:lnTo>
                    <a:lnTo>
                      <a:pt x="173" y="494"/>
                    </a:lnTo>
                    <a:lnTo>
                      <a:pt x="171" y="494"/>
                    </a:lnTo>
                    <a:lnTo>
                      <a:pt x="173" y="494"/>
                    </a:lnTo>
                    <a:lnTo>
                      <a:pt x="171" y="494"/>
                    </a:lnTo>
                    <a:lnTo>
                      <a:pt x="171" y="493"/>
                    </a:lnTo>
                    <a:lnTo>
                      <a:pt x="173" y="493"/>
                    </a:lnTo>
                    <a:lnTo>
                      <a:pt x="173" y="494"/>
                    </a:lnTo>
                    <a:lnTo>
                      <a:pt x="173" y="493"/>
                    </a:lnTo>
                    <a:lnTo>
                      <a:pt x="173" y="494"/>
                    </a:lnTo>
                    <a:lnTo>
                      <a:pt x="173" y="493"/>
                    </a:lnTo>
                    <a:lnTo>
                      <a:pt x="171" y="493"/>
                    </a:lnTo>
                    <a:lnTo>
                      <a:pt x="169" y="493"/>
                    </a:lnTo>
                    <a:lnTo>
                      <a:pt x="168" y="493"/>
                    </a:lnTo>
                    <a:lnTo>
                      <a:pt x="168" y="491"/>
                    </a:lnTo>
                    <a:lnTo>
                      <a:pt x="168" y="489"/>
                    </a:lnTo>
                    <a:lnTo>
                      <a:pt x="168" y="487"/>
                    </a:lnTo>
                    <a:lnTo>
                      <a:pt x="168" y="485"/>
                    </a:lnTo>
                    <a:lnTo>
                      <a:pt x="168" y="483"/>
                    </a:lnTo>
                    <a:lnTo>
                      <a:pt x="168" y="479"/>
                    </a:lnTo>
                    <a:lnTo>
                      <a:pt x="168" y="477"/>
                    </a:lnTo>
                    <a:lnTo>
                      <a:pt x="168" y="475"/>
                    </a:lnTo>
                    <a:lnTo>
                      <a:pt x="168" y="473"/>
                    </a:lnTo>
                    <a:lnTo>
                      <a:pt x="168" y="471"/>
                    </a:lnTo>
                    <a:lnTo>
                      <a:pt x="168" y="469"/>
                    </a:lnTo>
                    <a:lnTo>
                      <a:pt x="168" y="468"/>
                    </a:lnTo>
                    <a:lnTo>
                      <a:pt x="166" y="468"/>
                    </a:lnTo>
                    <a:lnTo>
                      <a:pt x="168" y="468"/>
                    </a:lnTo>
                    <a:lnTo>
                      <a:pt x="166" y="466"/>
                    </a:lnTo>
                    <a:lnTo>
                      <a:pt x="168" y="466"/>
                    </a:lnTo>
                    <a:lnTo>
                      <a:pt x="168" y="464"/>
                    </a:lnTo>
                    <a:lnTo>
                      <a:pt x="168" y="462"/>
                    </a:lnTo>
                    <a:lnTo>
                      <a:pt x="166" y="460"/>
                    </a:lnTo>
                    <a:lnTo>
                      <a:pt x="166" y="458"/>
                    </a:lnTo>
                    <a:lnTo>
                      <a:pt x="164" y="458"/>
                    </a:lnTo>
                    <a:lnTo>
                      <a:pt x="164" y="456"/>
                    </a:lnTo>
                    <a:lnTo>
                      <a:pt x="162" y="458"/>
                    </a:lnTo>
                    <a:lnTo>
                      <a:pt x="162" y="456"/>
                    </a:lnTo>
                    <a:lnTo>
                      <a:pt x="162" y="454"/>
                    </a:lnTo>
                    <a:lnTo>
                      <a:pt x="162" y="452"/>
                    </a:lnTo>
                    <a:lnTo>
                      <a:pt x="162" y="450"/>
                    </a:lnTo>
                    <a:lnTo>
                      <a:pt x="160" y="448"/>
                    </a:lnTo>
                    <a:lnTo>
                      <a:pt x="160" y="446"/>
                    </a:lnTo>
                    <a:lnTo>
                      <a:pt x="160" y="444"/>
                    </a:lnTo>
                    <a:lnTo>
                      <a:pt x="160" y="443"/>
                    </a:lnTo>
                    <a:lnTo>
                      <a:pt x="160" y="441"/>
                    </a:lnTo>
                    <a:lnTo>
                      <a:pt x="160" y="439"/>
                    </a:lnTo>
                    <a:lnTo>
                      <a:pt x="160" y="437"/>
                    </a:lnTo>
                    <a:lnTo>
                      <a:pt x="160" y="435"/>
                    </a:lnTo>
                    <a:lnTo>
                      <a:pt x="160" y="433"/>
                    </a:lnTo>
                    <a:lnTo>
                      <a:pt x="160" y="431"/>
                    </a:lnTo>
                    <a:lnTo>
                      <a:pt x="160" y="429"/>
                    </a:lnTo>
                    <a:lnTo>
                      <a:pt x="162" y="429"/>
                    </a:lnTo>
                    <a:lnTo>
                      <a:pt x="162" y="427"/>
                    </a:lnTo>
                    <a:lnTo>
                      <a:pt x="162" y="425"/>
                    </a:lnTo>
                    <a:lnTo>
                      <a:pt x="162" y="423"/>
                    </a:lnTo>
                    <a:lnTo>
                      <a:pt x="162" y="421"/>
                    </a:lnTo>
                    <a:lnTo>
                      <a:pt x="162" y="419"/>
                    </a:lnTo>
                    <a:lnTo>
                      <a:pt x="160" y="419"/>
                    </a:lnTo>
                    <a:lnTo>
                      <a:pt x="160" y="418"/>
                    </a:lnTo>
                    <a:lnTo>
                      <a:pt x="160" y="416"/>
                    </a:lnTo>
                    <a:lnTo>
                      <a:pt x="162" y="416"/>
                    </a:lnTo>
                    <a:lnTo>
                      <a:pt x="160" y="416"/>
                    </a:lnTo>
                    <a:lnTo>
                      <a:pt x="158" y="414"/>
                    </a:lnTo>
                    <a:lnTo>
                      <a:pt x="158" y="412"/>
                    </a:lnTo>
                    <a:lnTo>
                      <a:pt x="158" y="414"/>
                    </a:lnTo>
                    <a:lnTo>
                      <a:pt x="158" y="412"/>
                    </a:lnTo>
                    <a:lnTo>
                      <a:pt x="160" y="410"/>
                    </a:lnTo>
                    <a:lnTo>
                      <a:pt x="160" y="408"/>
                    </a:lnTo>
                    <a:lnTo>
                      <a:pt x="162" y="408"/>
                    </a:lnTo>
                    <a:lnTo>
                      <a:pt x="162" y="406"/>
                    </a:lnTo>
                    <a:lnTo>
                      <a:pt x="160" y="406"/>
                    </a:lnTo>
                    <a:lnTo>
                      <a:pt x="162" y="406"/>
                    </a:lnTo>
                    <a:lnTo>
                      <a:pt x="162" y="404"/>
                    </a:lnTo>
                    <a:lnTo>
                      <a:pt x="164" y="404"/>
                    </a:lnTo>
                    <a:lnTo>
                      <a:pt x="164" y="402"/>
                    </a:lnTo>
                    <a:lnTo>
                      <a:pt x="164" y="400"/>
                    </a:lnTo>
                    <a:lnTo>
                      <a:pt x="164" y="398"/>
                    </a:lnTo>
                    <a:lnTo>
                      <a:pt x="164" y="396"/>
                    </a:lnTo>
                    <a:lnTo>
                      <a:pt x="162" y="396"/>
                    </a:lnTo>
                    <a:lnTo>
                      <a:pt x="162" y="394"/>
                    </a:lnTo>
                    <a:lnTo>
                      <a:pt x="164" y="394"/>
                    </a:lnTo>
                    <a:lnTo>
                      <a:pt x="164" y="393"/>
                    </a:lnTo>
                    <a:lnTo>
                      <a:pt x="164" y="391"/>
                    </a:lnTo>
                    <a:lnTo>
                      <a:pt x="164" y="389"/>
                    </a:lnTo>
                    <a:lnTo>
                      <a:pt x="164" y="387"/>
                    </a:lnTo>
                    <a:lnTo>
                      <a:pt x="164" y="385"/>
                    </a:lnTo>
                    <a:lnTo>
                      <a:pt x="164" y="383"/>
                    </a:lnTo>
                    <a:lnTo>
                      <a:pt x="164" y="381"/>
                    </a:lnTo>
                    <a:lnTo>
                      <a:pt x="164" y="379"/>
                    </a:lnTo>
                    <a:lnTo>
                      <a:pt x="162" y="379"/>
                    </a:lnTo>
                    <a:lnTo>
                      <a:pt x="162" y="377"/>
                    </a:lnTo>
                    <a:lnTo>
                      <a:pt x="162" y="375"/>
                    </a:lnTo>
                    <a:lnTo>
                      <a:pt x="162" y="373"/>
                    </a:lnTo>
                    <a:lnTo>
                      <a:pt x="162" y="371"/>
                    </a:lnTo>
                    <a:lnTo>
                      <a:pt x="162" y="369"/>
                    </a:lnTo>
                    <a:lnTo>
                      <a:pt x="162" y="368"/>
                    </a:lnTo>
                    <a:lnTo>
                      <a:pt x="162" y="366"/>
                    </a:lnTo>
                    <a:lnTo>
                      <a:pt x="162" y="368"/>
                    </a:lnTo>
                    <a:lnTo>
                      <a:pt x="164" y="368"/>
                    </a:lnTo>
                    <a:lnTo>
                      <a:pt x="162" y="368"/>
                    </a:lnTo>
                    <a:lnTo>
                      <a:pt x="162" y="366"/>
                    </a:lnTo>
                    <a:lnTo>
                      <a:pt x="162" y="364"/>
                    </a:lnTo>
                    <a:lnTo>
                      <a:pt x="164" y="362"/>
                    </a:lnTo>
                    <a:lnTo>
                      <a:pt x="164" y="360"/>
                    </a:lnTo>
                    <a:lnTo>
                      <a:pt x="164" y="358"/>
                    </a:lnTo>
                    <a:lnTo>
                      <a:pt x="164" y="356"/>
                    </a:lnTo>
                    <a:lnTo>
                      <a:pt x="164" y="358"/>
                    </a:lnTo>
                    <a:lnTo>
                      <a:pt x="164" y="356"/>
                    </a:lnTo>
                    <a:lnTo>
                      <a:pt x="164" y="354"/>
                    </a:lnTo>
                    <a:lnTo>
                      <a:pt x="164" y="352"/>
                    </a:lnTo>
                    <a:lnTo>
                      <a:pt x="164" y="350"/>
                    </a:lnTo>
                    <a:lnTo>
                      <a:pt x="162" y="348"/>
                    </a:lnTo>
                    <a:lnTo>
                      <a:pt x="162" y="346"/>
                    </a:lnTo>
                    <a:lnTo>
                      <a:pt x="160" y="346"/>
                    </a:lnTo>
                    <a:lnTo>
                      <a:pt x="160" y="344"/>
                    </a:lnTo>
                    <a:lnTo>
                      <a:pt x="160" y="346"/>
                    </a:lnTo>
                    <a:lnTo>
                      <a:pt x="158" y="344"/>
                    </a:lnTo>
                    <a:lnTo>
                      <a:pt x="158" y="343"/>
                    </a:lnTo>
                    <a:lnTo>
                      <a:pt x="158" y="344"/>
                    </a:lnTo>
                    <a:lnTo>
                      <a:pt x="158" y="343"/>
                    </a:lnTo>
                    <a:lnTo>
                      <a:pt x="156" y="343"/>
                    </a:lnTo>
                    <a:lnTo>
                      <a:pt x="156" y="341"/>
                    </a:lnTo>
                    <a:lnTo>
                      <a:pt x="156" y="339"/>
                    </a:lnTo>
                    <a:lnTo>
                      <a:pt x="156" y="341"/>
                    </a:lnTo>
                    <a:lnTo>
                      <a:pt x="156" y="339"/>
                    </a:lnTo>
                    <a:lnTo>
                      <a:pt x="158" y="339"/>
                    </a:lnTo>
                    <a:lnTo>
                      <a:pt x="158" y="337"/>
                    </a:lnTo>
                    <a:lnTo>
                      <a:pt x="156" y="337"/>
                    </a:lnTo>
                    <a:lnTo>
                      <a:pt x="158" y="337"/>
                    </a:lnTo>
                    <a:lnTo>
                      <a:pt x="156" y="335"/>
                    </a:lnTo>
                    <a:lnTo>
                      <a:pt x="158" y="335"/>
                    </a:lnTo>
                    <a:lnTo>
                      <a:pt x="158" y="333"/>
                    </a:lnTo>
                    <a:lnTo>
                      <a:pt x="158" y="331"/>
                    </a:lnTo>
                    <a:lnTo>
                      <a:pt x="158" y="329"/>
                    </a:lnTo>
                    <a:lnTo>
                      <a:pt x="158" y="327"/>
                    </a:lnTo>
                    <a:lnTo>
                      <a:pt x="160" y="327"/>
                    </a:lnTo>
                    <a:lnTo>
                      <a:pt x="160" y="325"/>
                    </a:lnTo>
                    <a:lnTo>
                      <a:pt x="162" y="325"/>
                    </a:lnTo>
                    <a:lnTo>
                      <a:pt x="162" y="323"/>
                    </a:lnTo>
                    <a:lnTo>
                      <a:pt x="162" y="321"/>
                    </a:lnTo>
                    <a:lnTo>
                      <a:pt x="162" y="320"/>
                    </a:lnTo>
                    <a:lnTo>
                      <a:pt x="162" y="318"/>
                    </a:lnTo>
                    <a:lnTo>
                      <a:pt x="162" y="320"/>
                    </a:lnTo>
                    <a:lnTo>
                      <a:pt x="162" y="318"/>
                    </a:lnTo>
                    <a:lnTo>
                      <a:pt x="164" y="318"/>
                    </a:lnTo>
                    <a:lnTo>
                      <a:pt x="166" y="316"/>
                    </a:lnTo>
                    <a:lnTo>
                      <a:pt x="166" y="314"/>
                    </a:lnTo>
                    <a:lnTo>
                      <a:pt x="166" y="312"/>
                    </a:lnTo>
                    <a:lnTo>
                      <a:pt x="166" y="310"/>
                    </a:lnTo>
                    <a:lnTo>
                      <a:pt x="164" y="310"/>
                    </a:lnTo>
                    <a:lnTo>
                      <a:pt x="166" y="310"/>
                    </a:lnTo>
                    <a:lnTo>
                      <a:pt x="166" y="308"/>
                    </a:lnTo>
                    <a:lnTo>
                      <a:pt x="164" y="306"/>
                    </a:lnTo>
                    <a:lnTo>
                      <a:pt x="164" y="304"/>
                    </a:lnTo>
                    <a:lnTo>
                      <a:pt x="164" y="302"/>
                    </a:lnTo>
                    <a:lnTo>
                      <a:pt x="166" y="302"/>
                    </a:lnTo>
                    <a:lnTo>
                      <a:pt x="168" y="302"/>
                    </a:lnTo>
                    <a:lnTo>
                      <a:pt x="168" y="300"/>
                    </a:lnTo>
                    <a:lnTo>
                      <a:pt x="169" y="300"/>
                    </a:lnTo>
                    <a:lnTo>
                      <a:pt x="168" y="300"/>
                    </a:lnTo>
                    <a:lnTo>
                      <a:pt x="168" y="298"/>
                    </a:lnTo>
                    <a:lnTo>
                      <a:pt x="168" y="296"/>
                    </a:lnTo>
                    <a:lnTo>
                      <a:pt x="169" y="296"/>
                    </a:lnTo>
                    <a:lnTo>
                      <a:pt x="171" y="295"/>
                    </a:lnTo>
                    <a:lnTo>
                      <a:pt x="169" y="296"/>
                    </a:lnTo>
                    <a:lnTo>
                      <a:pt x="171" y="295"/>
                    </a:lnTo>
                    <a:lnTo>
                      <a:pt x="173" y="295"/>
                    </a:lnTo>
                    <a:lnTo>
                      <a:pt x="173" y="296"/>
                    </a:lnTo>
                    <a:lnTo>
                      <a:pt x="173" y="298"/>
                    </a:lnTo>
                    <a:lnTo>
                      <a:pt x="175" y="298"/>
                    </a:lnTo>
                    <a:lnTo>
                      <a:pt x="173" y="298"/>
                    </a:lnTo>
                    <a:lnTo>
                      <a:pt x="175" y="298"/>
                    </a:lnTo>
                    <a:lnTo>
                      <a:pt x="175" y="300"/>
                    </a:lnTo>
                    <a:lnTo>
                      <a:pt x="177" y="300"/>
                    </a:lnTo>
                    <a:lnTo>
                      <a:pt x="175" y="300"/>
                    </a:lnTo>
                    <a:lnTo>
                      <a:pt x="175" y="298"/>
                    </a:lnTo>
                    <a:lnTo>
                      <a:pt x="173" y="298"/>
                    </a:lnTo>
                    <a:lnTo>
                      <a:pt x="173" y="296"/>
                    </a:lnTo>
                    <a:lnTo>
                      <a:pt x="173" y="295"/>
                    </a:lnTo>
                    <a:lnTo>
                      <a:pt x="173" y="293"/>
                    </a:lnTo>
                    <a:lnTo>
                      <a:pt x="173" y="291"/>
                    </a:lnTo>
                    <a:lnTo>
                      <a:pt x="173" y="289"/>
                    </a:lnTo>
                    <a:lnTo>
                      <a:pt x="173" y="287"/>
                    </a:lnTo>
                    <a:lnTo>
                      <a:pt x="175" y="287"/>
                    </a:lnTo>
                    <a:lnTo>
                      <a:pt x="175" y="285"/>
                    </a:lnTo>
                    <a:lnTo>
                      <a:pt x="177" y="285"/>
                    </a:lnTo>
                    <a:lnTo>
                      <a:pt x="179" y="285"/>
                    </a:lnTo>
                    <a:lnTo>
                      <a:pt x="179" y="283"/>
                    </a:lnTo>
                    <a:lnTo>
                      <a:pt x="181" y="283"/>
                    </a:lnTo>
                    <a:lnTo>
                      <a:pt x="179" y="283"/>
                    </a:lnTo>
                    <a:lnTo>
                      <a:pt x="179" y="285"/>
                    </a:lnTo>
                    <a:lnTo>
                      <a:pt x="177" y="285"/>
                    </a:lnTo>
                    <a:lnTo>
                      <a:pt x="177" y="283"/>
                    </a:lnTo>
                    <a:lnTo>
                      <a:pt x="175" y="283"/>
                    </a:lnTo>
                    <a:lnTo>
                      <a:pt x="175" y="281"/>
                    </a:lnTo>
                    <a:lnTo>
                      <a:pt x="175" y="283"/>
                    </a:lnTo>
                    <a:lnTo>
                      <a:pt x="175" y="281"/>
                    </a:lnTo>
                    <a:lnTo>
                      <a:pt x="173" y="281"/>
                    </a:lnTo>
                    <a:lnTo>
                      <a:pt x="171" y="281"/>
                    </a:lnTo>
                    <a:lnTo>
                      <a:pt x="169" y="281"/>
                    </a:lnTo>
                    <a:lnTo>
                      <a:pt x="168" y="281"/>
                    </a:lnTo>
                    <a:lnTo>
                      <a:pt x="166" y="281"/>
                    </a:lnTo>
                    <a:lnTo>
                      <a:pt x="166" y="279"/>
                    </a:lnTo>
                    <a:lnTo>
                      <a:pt x="166" y="277"/>
                    </a:lnTo>
                    <a:lnTo>
                      <a:pt x="168" y="277"/>
                    </a:lnTo>
                    <a:lnTo>
                      <a:pt x="168" y="275"/>
                    </a:lnTo>
                    <a:lnTo>
                      <a:pt x="166" y="275"/>
                    </a:lnTo>
                    <a:lnTo>
                      <a:pt x="168" y="275"/>
                    </a:lnTo>
                    <a:lnTo>
                      <a:pt x="166" y="273"/>
                    </a:lnTo>
                    <a:lnTo>
                      <a:pt x="166" y="271"/>
                    </a:lnTo>
                    <a:lnTo>
                      <a:pt x="166" y="270"/>
                    </a:lnTo>
                    <a:lnTo>
                      <a:pt x="166" y="268"/>
                    </a:lnTo>
                    <a:lnTo>
                      <a:pt x="166" y="266"/>
                    </a:lnTo>
                    <a:lnTo>
                      <a:pt x="166" y="264"/>
                    </a:lnTo>
                    <a:lnTo>
                      <a:pt x="168" y="264"/>
                    </a:lnTo>
                    <a:lnTo>
                      <a:pt x="168" y="262"/>
                    </a:lnTo>
                    <a:lnTo>
                      <a:pt x="168" y="260"/>
                    </a:lnTo>
                    <a:lnTo>
                      <a:pt x="166" y="260"/>
                    </a:lnTo>
                    <a:lnTo>
                      <a:pt x="166" y="258"/>
                    </a:lnTo>
                    <a:lnTo>
                      <a:pt x="166" y="256"/>
                    </a:lnTo>
                    <a:lnTo>
                      <a:pt x="164" y="254"/>
                    </a:lnTo>
                    <a:lnTo>
                      <a:pt x="164" y="252"/>
                    </a:lnTo>
                    <a:lnTo>
                      <a:pt x="162" y="252"/>
                    </a:lnTo>
                    <a:lnTo>
                      <a:pt x="160" y="250"/>
                    </a:lnTo>
                    <a:lnTo>
                      <a:pt x="158" y="250"/>
                    </a:lnTo>
                    <a:lnTo>
                      <a:pt x="156" y="250"/>
                    </a:lnTo>
                    <a:lnTo>
                      <a:pt x="156" y="252"/>
                    </a:lnTo>
                    <a:lnTo>
                      <a:pt x="154" y="252"/>
                    </a:lnTo>
                    <a:lnTo>
                      <a:pt x="156" y="254"/>
                    </a:lnTo>
                    <a:lnTo>
                      <a:pt x="154" y="254"/>
                    </a:lnTo>
                    <a:lnTo>
                      <a:pt x="154" y="252"/>
                    </a:lnTo>
                    <a:lnTo>
                      <a:pt x="152" y="252"/>
                    </a:lnTo>
                    <a:lnTo>
                      <a:pt x="152" y="250"/>
                    </a:lnTo>
                    <a:lnTo>
                      <a:pt x="152" y="248"/>
                    </a:lnTo>
                    <a:lnTo>
                      <a:pt x="152" y="250"/>
                    </a:lnTo>
                    <a:lnTo>
                      <a:pt x="152" y="248"/>
                    </a:lnTo>
                    <a:lnTo>
                      <a:pt x="150" y="246"/>
                    </a:lnTo>
                    <a:lnTo>
                      <a:pt x="150" y="245"/>
                    </a:lnTo>
                    <a:lnTo>
                      <a:pt x="148" y="245"/>
                    </a:lnTo>
                    <a:lnTo>
                      <a:pt x="148" y="243"/>
                    </a:lnTo>
                    <a:lnTo>
                      <a:pt x="148" y="241"/>
                    </a:lnTo>
                    <a:lnTo>
                      <a:pt x="148" y="239"/>
                    </a:lnTo>
                    <a:lnTo>
                      <a:pt x="150" y="239"/>
                    </a:lnTo>
                    <a:lnTo>
                      <a:pt x="150" y="237"/>
                    </a:lnTo>
                    <a:lnTo>
                      <a:pt x="150" y="239"/>
                    </a:lnTo>
                    <a:lnTo>
                      <a:pt x="150" y="237"/>
                    </a:lnTo>
                    <a:lnTo>
                      <a:pt x="150" y="239"/>
                    </a:lnTo>
                    <a:lnTo>
                      <a:pt x="150" y="237"/>
                    </a:lnTo>
                    <a:lnTo>
                      <a:pt x="150" y="235"/>
                    </a:lnTo>
                    <a:lnTo>
                      <a:pt x="148" y="235"/>
                    </a:lnTo>
                    <a:lnTo>
                      <a:pt x="148" y="233"/>
                    </a:lnTo>
                    <a:lnTo>
                      <a:pt x="146" y="231"/>
                    </a:lnTo>
                    <a:lnTo>
                      <a:pt x="146" y="229"/>
                    </a:lnTo>
                    <a:lnTo>
                      <a:pt x="144" y="229"/>
                    </a:lnTo>
                    <a:lnTo>
                      <a:pt x="143" y="229"/>
                    </a:lnTo>
                    <a:lnTo>
                      <a:pt x="143" y="227"/>
                    </a:lnTo>
                    <a:lnTo>
                      <a:pt x="143" y="225"/>
                    </a:lnTo>
                    <a:lnTo>
                      <a:pt x="143" y="223"/>
                    </a:lnTo>
                    <a:lnTo>
                      <a:pt x="141" y="223"/>
                    </a:lnTo>
                    <a:lnTo>
                      <a:pt x="141" y="221"/>
                    </a:lnTo>
                    <a:lnTo>
                      <a:pt x="139" y="221"/>
                    </a:lnTo>
                    <a:lnTo>
                      <a:pt x="137" y="220"/>
                    </a:lnTo>
                    <a:lnTo>
                      <a:pt x="137" y="218"/>
                    </a:lnTo>
                    <a:lnTo>
                      <a:pt x="135" y="216"/>
                    </a:lnTo>
                    <a:lnTo>
                      <a:pt x="133" y="216"/>
                    </a:lnTo>
                    <a:lnTo>
                      <a:pt x="133" y="214"/>
                    </a:lnTo>
                    <a:lnTo>
                      <a:pt x="133" y="212"/>
                    </a:lnTo>
                    <a:lnTo>
                      <a:pt x="131" y="212"/>
                    </a:lnTo>
                    <a:lnTo>
                      <a:pt x="131" y="210"/>
                    </a:lnTo>
                    <a:lnTo>
                      <a:pt x="131" y="212"/>
                    </a:lnTo>
                    <a:lnTo>
                      <a:pt x="131" y="210"/>
                    </a:lnTo>
                    <a:lnTo>
                      <a:pt x="129" y="208"/>
                    </a:lnTo>
                    <a:lnTo>
                      <a:pt x="129" y="206"/>
                    </a:lnTo>
                    <a:lnTo>
                      <a:pt x="127" y="206"/>
                    </a:lnTo>
                    <a:lnTo>
                      <a:pt x="127" y="204"/>
                    </a:lnTo>
                    <a:lnTo>
                      <a:pt x="127" y="202"/>
                    </a:lnTo>
                    <a:lnTo>
                      <a:pt x="127" y="200"/>
                    </a:lnTo>
                    <a:lnTo>
                      <a:pt x="129" y="198"/>
                    </a:lnTo>
                    <a:lnTo>
                      <a:pt x="129" y="196"/>
                    </a:lnTo>
                    <a:lnTo>
                      <a:pt x="129" y="195"/>
                    </a:lnTo>
                    <a:lnTo>
                      <a:pt x="129" y="193"/>
                    </a:lnTo>
                    <a:lnTo>
                      <a:pt x="129" y="191"/>
                    </a:lnTo>
                    <a:lnTo>
                      <a:pt x="129" y="189"/>
                    </a:lnTo>
                    <a:lnTo>
                      <a:pt x="129" y="187"/>
                    </a:lnTo>
                    <a:lnTo>
                      <a:pt x="131" y="187"/>
                    </a:lnTo>
                    <a:lnTo>
                      <a:pt x="133" y="185"/>
                    </a:lnTo>
                    <a:lnTo>
                      <a:pt x="135" y="185"/>
                    </a:lnTo>
                    <a:lnTo>
                      <a:pt x="137" y="183"/>
                    </a:lnTo>
                    <a:lnTo>
                      <a:pt x="139" y="183"/>
                    </a:lnTo>
                    <a:lnTo>
                      <a:pt x="139" y="181"/>
                    </a:lnTo>
                    <a:lnTo>
                      <a:pt x="141" y="181"/>
                    </a:lnTo>
                    <a:lnTo>
                      <a:pt x="143" y="181"/>
                    </a:lnTo>
                    <a:lnTo>
                      <a:pt x="143" y="179"/>
                    </a:lnTo>
                    <a:lnTo>
                      <a:pt x="144" y="179"/>
                    </a:lnTo>
                    <a:lnTo>
                      <a:pt x="146" y="179"/>
                    </a:lnTo>
                    <a:lnTo>
                      <a:pt x="148" y="179"/>
                    </a:lnTo>
                    <a:lnTo>
                      <a:pt x="150" y="179"/>
                    </a:lnTo>
                    <a:lnTo>
                      <a:pt x="150" y="181"/>
                    </a:lnTo>
                    <a:lnTo>
                      <a:pt x="150" y="179"/>
                    </a:lnTo>
                    <a:lnTo>
                      <a:pt x="148" y="179"/>
                    </a:lnTo>
                    <a:lnTo>
                      <a:pt x="150" y="179"/>
                    </a:lnTo>
                    <a:lnTo>
                      <a:pt x="150" y="181"/>
                    </a:lnTo>
                    <a:lnTo>
                      <a:pt x="152" y="181"/>
                    </a:lnTo>
                    <a:lnTo>
                      <a:pt x="154" y="181"/>
                    </a:lnTo>
                    <a:lnTo>
                      <a:pt x="152" y="181"/>
                    </a:lnTo>
                    <a:lnTo>
                      <a:pt x="154" y="181"/>
                    </a:lnTo>
                    <a:lnTo>
                      <a:pt x="154" y="183"/>
                    </a:lnTo>
                    <a:lnTo>
                      <a:pt x="154" y="185"/>
                    </a:lnTo>
                    <a:lnTo>
                      <a:pt x="154" y="187"/>
                    </a:lnTo>
                    <a:lnTo>
                      <a:pt x="156" y="187"/>
                    </a:lnTo>
                    <a:lnTo>
                      <a:pt x="154" y="187"/>
                    </a:lnTo>
                    <a:lnTo>
                      <a:pt x="154" y="189"/>
                    </a:lnTo>
                    <a:lnTo>
                      <a:pt x="152" y="189"/>
                    </a:lnTo>
                    <a:lnTo>
                      <a:pt x="152" y="191"/>
                    </a:lnTo>
                    <a:lnTo>
                      <a:pt x="152" y="193"/>
                    </a:lnTo>
                    <a:lnTo>
                      <a:pt x="152" y="195"/>
                    </a:lnTo>
                    <a:lnTo>
                      <a:pt x="154" y="195"/>
                    </a:lnTo>
                    <a:lnTo>
                      <a:pt x="154" y="193"/>
                    </a:lnTo>
                    <a:lnTo>
                      <a:pt x="156" y="193"/>
                    </a:lnTo>
                    <a:lnTo>
                      <a:pt x="156" y="195"/>
                    </a:lnTo>
                    <a:lnTo>
                      <a:pt x="158" y="195"/>
                    </a:lnTo>
                    <a:lnTo>
                      <a:pt x="158" y="196"/>
                    </a:lnTo>
                    <a:lnTo>
                      <a:pt x="158" y="198"/>
                    </a:lnTo>
                    <a:lnTo>
                      <a:pt x="160" y="196"/>
                    </a:lnTo>
                    <a:lnTo>
                      <a:pt x="160" y="195"/>
                    </a:lnTo>
                    <a:lnTo>
                      <a:pt x="162" y="193"/>
                    </a:lnTo>
                    <a:lnTo>
                      <a:pt x="162" y="195"/>
                    </a:lnTo>
                    <a:lnTo>
                      <a:pt x="164" y="195"/>
                    </a:lnTo>
                    <a:lnTo>
                      <a:pt x="166" y="195"/>
                    </a:lnTo>
                    <a:lnTo>
                      <a:pt x="166" y="196"/>
                    </a:lnTo>
                    <a:lnTo>
                      <a:pt x="168" y="196"/>
                    </a:lnTo>
                    <a:lnTo>
                      <a:pt x="168" y="198"/>
                    </a:lnTo>
                    <a:lnTo>
                      <a:pt x="169" y="198"/>
                    </a:lnTo>
                    <a:lnTo>
                      <a:pt x="169" y="196"/>
                    </a:lnTo>
                    <a:lnTo>
                      <a:pt x="171" y="196"/>
                    </a:lnTo>
                    <a:lnTo>
                      <a:pt x="173" y="196"/>
                    </a:lnTo>
                    <a:lnTo>
                      <a:pt x="171" y="196"/>
                    </a:lnTo>
                    <a:lnTo>
                      <a:pt x="169" y="196"/>
                    </a:lnTo>
                    <a:lnTo>
                      <a:pt x="169" y="198"/>
                    </a:lnTo>
                    <a:lnTo>
                      <a:pt x="168" y="198"/>
                    </a:lnTo>
                    <a:lnTo>
                      <a:pt x="168" y="196"/>
                    </a:lnTo>
                    <a:lnTo>
                      <a:pt x="166" y="195"/>
                    </a:lnTo>
                    <a:lnTo>
                      <a:pt x="164" y="195"/>
                    </a:lnTo>
                    <a:lnTo>
                      <a:pt x="162" y="195"/>
                    </a:lnTo>
                    <a:lnTo>
                      <a:pt x="162" y="193"/>
                    </a:lnTo>
                    <a:lnTo>
                      <a:pt x="160" y="195"/>
                    </a:lnTo>
                    <a:lnTo>
                      <a:pt x="160" y="196"/>
                    </a:lnTo>
                    <a:lnTo>
                      <a:pt x="158" y="196"/>
                    </a:lnTo>
                    <a:lnTo>
                      <a:pt x="158" y="198"/>
                    </a:lnTo>
                    <a:lnTo>
                      <a:pt x="158" y="196"/>
                    </a:lnTo>
                    <a:lnTo>
                      <a:pt x="158" y="195"/>
                    </a:lnTo>
                    <a:lnTo>
                      <a:pt x="156" y="195"/>
                    </a:lnTo>
                    <a:lnTo>
                      <a:pt x="156" y="193"/>
                    </a:lnTo>
                    <a:lnTo>
                      <a:pt x="154" y="193"/>
                    </a:lnTo>
                    <a:lnTo>
                      <a:pt x="154" y="195"/>
                    </a:lnTo>
                    <a:lnTo>
                      <a:pt x="154" y="193"/>
                    </a:lnTo>
                    <a:lnTo>
                      <a:pt x="152" y="195"/>
                    </a:lnTo>
                    <a:lnTo>
                      <a:pt x="152" y="193"/>
                    </a:lnTo>
                    <a:lnTo>
                      <a:pt x="152" y="191"/>
                    </a:lnTo>
                    <a:lnTo>
                      <a:pt x="152" y="189"/>
                    </a:lnTo>
                    <a:lnTo>
                      <a:pt x="154" y="189"/>
                    </a:lnTo>
                    <a:lnTo>
                      <a:pt x="154" y="187"/>
                    </a:lnTo>
                    <a:lnTo>
                      <a:pt x="156" y="187"/>
                    </a:lnTo>
                    <a:lnTo>
                      <a:pt x="154" y="187"/>
                    </a:lnTo>
                    <a:lnTo>
                      <a:pt x="154" y="185"/>
                    </a:lnTo>
                    <a:lnTo>
                      <a:pt x="156" y="185"/>
                    </a:lnTo>
                    <a:lnTo>
                      <a:pt x="154" y="183"/>
                    </a:lnTo>
                    <a:lnTo>
                      <a:pt x="154" y="181"/>
                    </a:lnTo>
                    <a:lnTo>
                      <a:pt x="152" y="181"/>
                    </a:lnTo>
                    <a:lnTo>
                      <a:pt x="150" y="181"/>
                    </a:lnTo>
                    <a:lnTo>
                      <a:pt x="150" y="179"/>
                    </a:lnTo>
                    <a:lnTo>
                      <a:pt x="148" y="179"/>
                    </a:lnTo>
                    <a:lnTo>
                      <a:pt x="146" y="179"/>
                    </a:lnTo>
                    <a:lnTo>
                      <a:pt x="144" y="179"/>
                    </a:lnTo>
                    <a:lnTo>
                      <a:pt x="143" y="179"/>
                    </a:lnTo>
                    <a:lnTo>
                      <a:pt x="141" y="179"/>
                    </a:lnTo>
                    <a:lnTo>
                      <a:pt x="141" y="177"/>
                    </a:lnTo>
                    <a:lnTo>
                      <a:pt x="143" y="175"/>
                    </a:lnTo>
                    <a:lnTo>
                      <a:pt x="144" y="175"/>
                    </a:lnTo>
                    <a:lnTo>
                      <a:pt x="144" y="173"/>
                    </a:lnTo>
                    <a:lnTo>
                      <a:pt x="146" y="173"/>
                    </a:lnTo>
                    <a:lnTo>
                      <a:pt x="144" y="173"/>
                    </a:lnTo>
                    <a:lnTo>
                      <a:pt x="144" y="171"/>
                    </a:lnTo>
                    <a:lnTo>
                      <a:pt x="146" y="171"/>
                    </a:lnTo>
                    <a:lnTo>
                      <a:pt x="148" y="171"/>
                    </a:lnTo>
                    <a:lnTo>
                      <a:pt x="150" y="170"/>
                    </a:lnTo>
                    <a:lnTo>
                      <a:pt x="152" y="170"/>
                    </a:lnTo>
                    <a:lnTo>
                      <a:pt x="150" y="170"/>
                    </a:lnTo>
                    <a:lnTo>
                      <a:pt x="152" y="170"/>
                    </a:lnTo>
                    <a:lnTo>
                      <a:pt x="154" y="170"/>
                    </a:lnTo>
                    <a:lnTo>
                      <a:pt x="154" y="168"/>
                    </a:lnTo>
                    <a:lnTo>
                      <a:pt x="156" y="166"/>
                    </a:lnTo>
                    <a:lnTo>
                      <a:pt x="158" y="166"/>
                    </a:lnTo>
                    <a:lnTo>
                      <a:pt x="158" y="164"/>
                    </a:lnTo>
                    <a:lnTo>
                      <a:pt x="160" y="164"/>
                    </a:lnTo>
                    <a:lnTo>
                      <a:pt x="162" y="164"/>
                    </a:lnTo>
                    <a:lnTo>
                      <a:pt x="162" y="162"/>
                    </a:lnTo>
                    <a:lnTo>
                      <a:pt x="162" y="160"/>
                    </a:lnTo>
                    <a:lnTo>
                      <a:pt x="164" y="160"/>
                    </a:lnTo>
                    <a:lnTo>
                      <a:pt x="166" y="160"/>
                    </a:lnTo>
                    <a:lnTo>
                      <a:pt x="166" y="158"/>
                    </a:lnTo>
                    <a:lnTo>
                      <a:pt x="164" y="158"/>
                    </a:lnTo>
                    <a:lnTo>
                      <a:pt x="166" y="158"/>
                    </a:lnTo>
                    <a:lnTo>
                      <a:pt x="164" y="156"/>
                    </a:lnTo>
                    <a:lnTo>
                      <a:pt x="164" y="154"/>
                    </a:lnTo>
                    <a:lnTo>
                      <a:pt x="164" y="156"/>
                    </a:lnTo>
                    <a:lnTo>
                      <a:pt x="164" y="154"/>
                    </a:lnTo>
                    <a:lnTo>
                      <a:pt x="164" y="152"/>
                    </a:lnTo>
                    <a:lnTo>
                      <a:pt x="164" y="154"/>
                    </a:lnTo>
                    <a:lnTo>
                      <a:pt x="164" y="152"/>
                    </a:lnTo>
                    <a:lnTo>
                      <a:pt x="166" y="152"/>
                    </a:lnTo>
                    <a:lnTo>
                      <a:pt x="164" y="152"/>
                    </a:lnTo>
                    <a:lnTo>
                      <a:pt x="166" y="152"/>
                    </a:lnTo>
                    <a:lnTo>
                      <a:pt x="164" y="152"/>
                    </a:lnTo>
                    <a:lnTo>
                      <a:pt x="164" y="150"/>
                    </a:lnTo>
                    <a:lnTo>
                      <a:pt x="166" y="150"/>
                    </a:lnTo>
                    <a:lnTo>
                      <a:pt x="166" y="148"/>
                    </a:lnTo>
                    <a:lnTo>
                      <a:pt x="164" y="148"/>
                    </a:lnTo>
                    <a:lnTo>
                      <a:pt x="164" y="146"/>
                    </a:lnTo>
                    <a:lnTo>
                      <a:pt x="166" y="146"/>
                    </a:lnTo>
                    <a:lnTo>
                      <a:pt x="168" y="146"/>
                    </a:lnTo>
                    <a:lnTo>
                      <a:pt x="168" y="145"/>
                    </a:lnTo>
                    <a:lnTo>
                      <a:pt x="168" y="146"/>
                    </a:lnTo>
                    <a:lnTo>
                      <a:pt x="169" y="146"/>
                    </a:lnTo>
                    <a:lnTo>
                      <a:pt x="169" y="145"/>
                    </a:lnTo>
                    <a:lnTo>
                      <a:pt x="169" y="143"/>
                    </a:lnTo>
                    <a:lnTo>
                      <a:pt x="171" y="143"/>
                    </a:lnTo>
                    <a:lnTo>
                      <a:pt x="171" y="141"/>
                    </a:lnTo>
                    <a:lnTo>
                      <a:pt x="171" y="139"/>
                    </a:lnTo>
                    <a:lnTo>
                      <a:pt x="171" y="137"/>
                    </a:lnTo>
                    <a:lnTo>
                      <a:pt x="169" y="137"/>
                    </a:lnTo>
                    <a:lnTo>
                      <a:pt x="171" y="137"/>
                    </a:lnTo>
                    <a:lnTo>
                      <a:pt x="171" y="135"/>
                    </a:lnTo>
                    <a:lnTo>
                      <a:pt x="169" y="135"/>
                    </a:lnTo>
                    <a:lnTo>
                      <a:pt x="171" y="135"/>
                    </a:lnTo>
                    <a:lnTo>
                      <a:pt x="169" y="135"/>
                    </a:lnTo>
                    <a:lnTo>
                      <a:pt x="169" y="133"/>
                    </a:lnTo>
                    <a:lnTo>
                      <a:pt x="169" y="135"/>
                    </a:lnTo>
                    <a:lnTo>
                      <a:pt x="169" y="133"/>
                    </a:lnTo>
                    <a:lnTo>
                      <a:pt x="171" y="133"/>
                    </a:lnTo>
                    <a:lnTo>
                      <a:pt x="171" y="131"/>
                    </a:lnTo>
                    <a:lnTo>
                      <a:pt x="171" y="129"/>
                    </a:lnTo>
                    <a:lnTo>
                      <a:pt x="169" y="129"/>
                    </a:lnTo>
                    <a:lnTo>
                      <a:pt x="169" y="127"/>
                    </a:lnTo>
                    <a:lnTo>
                      <a:pt x="169" y="125"/>
                    </a:lnTo>
                    <a:lnTo>
                      <a:pt x="168" y="125"/>
                    </a:lnTo>
                    <a:lnTo>
                      <a:pt x="168" y="123"/>
                    </a:lnTo>
                    <a:lnTo>
                      <a:pt x="168" y="121"/>
                    </a:lnTo>
                    <a:lnTo>
                      <a:pt x="168" y="120"/>
                    </a:lnTo>
                    <a:lnTo>
                      <a:pt x="166" y="121"/>
                    </a:lnTo>
                    <a:lnTo>
                      <a:pt x="166" y="120"/>
                    </a:lnTo>
                    <a:lnTo>
                      <a:pt x="166" y="118"/>
                    </a:lnTo>
                    <a:lnTo>
                      <a:pt x="164" y="118"/>
                    </a:lnTo>
                    <a:lnTo>
                      <a:pt x="164" y="116"/>
                    </a:lnTo>
                    <a:lnTo>
                      <a:pt x="166" y="116"/>
                    </a:lnTo>
                    <a:lnTo>
                      <a:pt x="166" y="114"/>
                    </a:lnTo>
                    <a:lnTo>
                      <a:pt x="164" y="114"/>
                    </a:lnTo>
                    <a:lnTo>
                      <a:pt x="166" y="114"/>
                    </a:lnTo>
                    <a:lnTo>
                      <a:pt x="164" y="116"/>
                    </a:lnTo>
                    <a:lnTo>
                      <a:pt x="166" y="116"/>
                    </a:lnTo>
                    <a:lnTo>
                      <a:pt x="164" y="116"/>
                    </a:lnTo>
                    <a:lnTo>
                      <a:pt x="164" y="118"/>
                    </a:lnTo>
                    <a:lnTo>
                      <a:pt x="164" y="116"/>
                    </a:lnTo>
                    <a:lnTo>
                      <a:pt x="162" y="116"/>
                    </a:lnTo>
                    <a:lnTo>
                      <a:pt x="162" y="114"/>
                    </a:lnTo>
                    <a:lnTo>
                      <a:pt x="162" y="112"/>
                    </a:lnTo>
                    <a:lnTo>
                      <a:pt x="164" y="112"/>
                    </a:lnTo>
                    <a:lnTo>
                      <a:pt x="164" y="110"/>
                    </a:lnTo>
                    <a:lnTo>
                      <a:pt x="164" y="112"/>
                    </a:lnTo>
                    <a:lnTo>
                      <a:pt x="162" y="112"/>
                    </a:lnTo>
                    <a:lnTo>
                      <a:pt x="162" y="114"/>
                    </a:lnTo>
                    <a:lnTo>
                      <a:pt x="162" y="116"/>
                    </a:lnTo>
                    <a:lnTo>
                      <a:pt x="164" y="116"/>
                    </a:lnTo>
                    <a:lnTo>
                      <a:pt x="164" y="118"/>
                    </a:lnTo>
                    <a:lnTo>
                      <a:pt x="166" y="118"/>
                    </a:lnTo>
                    <a:lnTo>
                      <a:pt x="166" y="120"/>
                    </a:lnTo>
                    <a:lnTo>
                      <a:pt x="166" y="121"/>
                    </a:lnTo>
                    <a:lnTo>
                      <a:pt x="168" y="121"/>
                    </a:lnTo>
                    <a:lnTo>
                      <a:pt x="168" y="123"/>
                    </a:lnTo>
                    <a:lnTo>
                      <a:pt x="168" y="125"/>
                    </a:lnTo>
                    <a:lnTo>
                      <a:pt x="169" y="125"/>
                    </a:lnTo>
                    <a:lnTo>
                      <a:pt x="169" y="127"/>
                    </a:lnTo>
                    <a:lnTo>
                      <a:pt x="169" y="129"/>
                    </a:lnTo>
                    <a:lnTo>
                      <a:pt x="171" y="129"/>
                    </a:lnTo>
                    <a:lnTo>
                      <a:pt x="171" y="131"/>
                    </a:lnTo>
                    <a:lnTo>
                      <a:pt x="171" y="133"/>
                    </a:lnTo>
                    <a:lnTo>
                      <a:pt x="169" y="133"/>
                    </a:lnTo>
                    <a:lnTo>
                      <a:pt x="169" y="135"/>
                    </a:lnTo>
                    <a:lnTo>
                      <a:pt x="171" y="135"/>
                    </a:lnTo>
                    <a:lnTo>
                      <a:pt x="169" y="135"/>
                    </a:lnTo>
                    <a:lnTo>
                      <a:pt x="169" y="137"/>
                    </a:lnTo>
                    <a:lnTo>
                      <a:pt x="171" y="139"/>
                    </a:lnTo>
                    <a:lnTo>
                      <a:pt x="171" y="141"/>
                    </a:lnTo>
                    <a:lnTo>
                      <a:pt x="171" y="143"/>
                    </a:lnTo>
                    <a:lnTo>
                      <a:pt x="169" y="143"/>
                    </a:lnTo>
                    <a:lnTo>
                      <a:pt x="169" y="145"/>
                    </a:lnTo>
                    <a:lnTo>
                      <a:pt x="168" y="146"/>
                    </a:lnTo>
                    <a:lnTo>
                      <a:pt x="168" y="145"/>
                    </a:lnTo>
                    <a:lnTo>
                      <a:pt x="168" y="146"/>
                    </a:lnTo>
                    <a:lnTo>
                      <a:pt x="168" y="145"/>
                    </a:lnTo>
                    <a:lnTo>
                      <a:pt x="168" y="146"/>
                    </a:lnTo>
                    <a:lnTo>
                      <a:pt x="166" y="146"/>
                    </a:lnTo>
                    <a:lnTo>
                      <a:pt x="164" y="146"/>
                    </a:lnTo>
                    <a:lnTo>
                      <a:pt x="164" y="148"/>
                    </a:lnTo>
                    <a:lnTo>
                      <a:pt x="166" y="148"/>
                    </a:lnTo>
                    <a:lnTo>
                      <a:pt x="164" y="148"/>
                    </a:lnTo>
                    <a:lnTo>
                      <a:pt x="166" y="150"/>
                    </a:lnTo>
                    <a:lnTo>
                      <a:pt x="164" y="150"/>
                    </a:lnTo>
                    <a:lnTo>
                      <a:pt x="166" y="150"/>
                    </a:lnTo>
                    <a:lnTo>
                      <a:pt x="164" y="150"/>
                    </a:lnTo>
                    <a:lnTo>
                      <a:pt x="164" y="148"/>
                    </a:lnTo>
                    <a:lnTo>
                      <a:pt x="164" y="150"/>
                    </a:lnTo>
                    <a:lnTo>
                      <a:pt x="164" y="152"/>
                    </a:lnTo>
                    <a:lnTo>
                      <a:pt x="166" y="152"/>
                    </a:lnTo>
                    <a:lnTo>
                      <a:pt x="164" y="152"/>
                    </a:lnTo>
                    <a:lnTo>
                      <a:pt x="166" y="152"/>
                    </a:lnTo>
                    <a:lnTo>
                      <a:pt x="164" y="152"/>
                    </a:lnTo>
                    <a:lnTo>
                      <a:pt x="166" y="152"/>
                    </a:lnTo>
                    <a:lnTo>
                      <a:pt x="164" y="152"/>
                    </a:lnTo>
                    <a:lnTo>
                      <a:pt x="164" y="154"/>
                    </a:lnTo>
                    <a:lnTo>
                      <a:pt x="164" y="156"/>
                    </a:lnTo>
                    <a:lnTo>
                      <a:pt x="164" y="158"/>
                    </a:lnTo>
                    <a:lnTo>
                      <a:pt x="166" y="158"/>
                    </a:lnTo>
                    <a:lnTo>
                      <a:pt x="164" y="160"/>
                    </a:lnTo>
                    <a:lnTo>
                      <a:pt x="162" y="160"/>
                    </a:lnTo>
                    <a:lnTo>
                      <a:pt x="162" y="162"/>
                    </a:lnTo>
                    <a:lnTo>
                      <a:pt x="160" y="162"/>
                    </a:lnTo>
                    <a:lnTo>
                      <a:pt x="160" y="164"/>
                    </a:lnTo>
                    <a:lnTo>
                      <a:pt x="160" y="162"/>
                    </a:lnTo>
                    <a:lnTo>
                      <a:pt x="160" y="164"/>
                    </a:lnTo>
                    <a:lnTo>
                      <a:pt x="158" y="164"/>
                    </a:lnTo>
                    <a:lnTo>
                      <a:pt x="156" y="166"/>
                    </a:lnTo>
                    <a:lnTo>
                      <a:pt x="158" y="166"/>
                    </a:lnTo>
                    <a:lnTo>
                      <a:pt x="156" y="166"/>
                    </a:lnTo>
                    <a:lnTo>
                      <a:pt x="154" y="168"/>
                    </a:lnTo>
                    <a:lnTo>
                      <a:pt x="154" y="166"/>
                    </a:lnTo>
                    <a:lnTo>
                      <a:pt x="154" y="168"/>
                    </a:lnTo>
                    <a:lnTo>
                      <a:pt x="152" y="170"/>
                    </a:lnTo>
                    <a:lnTo>
                      <a:pt x="150" y="170"/>
                    </a:lnTo>
                    <a:lnTo>
                      <a:pt x="152" y="170"/>
                    </a:lnTo>
                    <a:lnTo>
                      <a:pt x="150" y="170"/>
                    </a:lnTo>
                    <a:lnTo>
                      <a:pt x="148" y="170"/>
                    </a:lnTo>
                    <a:lnTo>
                      <a:pt x="148" y="171"/>
                    </a:lnTo>
                    <a:lnTo>
                      <a:pt x="146" y="171"/>
                    </a:lnTo>
                    <a:lnTo>
                      <a:pt x="144" y="171"/>
                    </a:lnTo>
                    <a:lnTo>
                      <a:pt x="144" y="173"/>
                    </a:lnTo>
                    <a:lnTo>
                      <a:pt x="143" y="173"/>
                    </a:lnTo>
                    <a:lnTo>
                      <a:pt x="141" y="175"/>
                    </a:lnTo>
                    <a:lnTo>
                      <a:pt x="139" y="175"/>
                    </a:lnTo>
                    <a:lnTo>
                      <a:pt x="139" y="177"/>
                    </a:lnTo>
                    <a:lnTo>
                      <a:pt x="137" y="177"/>
                    </a:lnTo>
                    <a:lnTo>
                      <a:pt x="135" y="177"/>
                    </a:lnTo>
                    <a:lnTo>
                      <a:pt x="133" y="177"/>
                    </a:lnTo>
                    <a:lnTo>
                      <a:pt x="131" y="177"/>
                    </a:lnTo>
                    <a:lnTo>
                      <a:pt x="129" y="179"/>
                    </a:lnTo>
                    <a:lnTo>
                      <a:pt x="127" y="179"/>
                    </a:lnTo>
                    <a:lnTo>
                      <a:pt x="125" y="179"/>
                    </a:lnTo>
                    <a:lnTo>
                      <a:pt x="125" y="177"/>
                    </a:lnTo>
                    <a:lnTo>
                      <a:pt x="123" y="177"/>
                    </a:lnTo>
                    <a:lnTo>
                      <a:pt x="121" y="177"/>
                    </a:lnTo>
                    <a:lnTo>
                      <a:pt x="121" y="175"/>
                    </a:lnTo>
                    <a:lnTo>
                      <a:pt x="119" y="175"/>
                    </a:lnTo>
                    <a:lnTo>
                      <a:pt x="119" y="177"/>
                    </a:lnTo>
                    <a:lnTo>
                      <a:pt x="118" y="177"/>
                    </a:lnTo>
                    <a:lnTo>
                      <a:pt x="118" y="179"/>
                    </a:lnTo>
                    <a:lnTo>
                      <a:pt x="118" y="177"/>
                    </a:lnTo>
                    <a:lnTo>
                      <a:pt x="116" y="179"/>
                    </a:lnTo>
                    <a:lnTo>
                      <a:pt x="114" y="179"/>
                    </a:lnTo>
                    <a:lnTo>
                      <a:pt x="114" y="181"/>
                    </a:lnTo>
                    <a:lnTo>
                      <a:pt x="114" y="183"/>
                    </a:lnTo>
                    <a:lnTo>
                      <a:pt x="112" y="185"/>
                    </a:lnTo>
                    <a:lnTo>
                      <a:pt x="112" y="183"/>
                    </a:lnTo>
                    <a:lnTo>
                      <a:pt x="112" y="185"/>
                    </a:lnTo>
                    <a:lnTo>
                      <a:pt x="112" y="183"/>
                    </a:lnTo>
                    <a:lnTo>
                      <a:pt x="112" y="185"/>
                    </a:lnTo>
                    <a:lnTo>
                      <a:pt x="110" y="185"/>
                    </a:lnTo>
                    <a:lnTo>
                      <a:pt x="112" y="185"/>
                    </a:lnTo>
                    <a:lnTo>
                      <a:pt x="110" y="185"/>
                    </a:lnTo>
                    <a:lnTo>
                      <a:pt x="112" y="185"/>
                    </a:lnTo>
                    <a:lnTo>
                      <a:pt x="110" y="187"/>
                    </a:lnTo>
                    <a:lnTo>
                      <a:pt x="108" y="189"/>
                    </a:lnTo>
                    <a:lnTo>
                      <a:pt x="108" y="191"/>
                    </a:lnTo>
                    <a:lnTo>
                      <a:pt x="110" y="193"/>
                    </a:lnTo>
                    <a:lnTo>
                      <a:pt x="110" y="195"/>
                    </a:lnTo>
                    <a:lnTo>
                      <a:pt x="108" y="195"/>
                    </a:lnTo>
                    <a:lnTo>
                      <a:pt x="108" y="193"/>
                    </a:lnTo>
                    <a:lnTo>
                      <a:pt x="106" y="195"/>
                    </a:lnTo>
                    <a:lnTo>
                      <a:pt x="104" y="196"/>
                    </a:lnTo>
                    <a:lnTo>
                      <a:pt x="104" y="198"/>
                    </a:lnTo>
                    <a:lnTo>
                      <a:pt x="102" y="198"/>
                    </a:lnTo>
                    <a:lnTo>
                      <a:pt x="102" y="200"/>
                    </a:lnTo>
                    <a:lnTo>
                      <a:pt x="102" y="202"/>
                    </a:lnTo>
                    <a:lnTo>
                      <a:pt x="100" y="204"/>
                    </a:lnTo>
                    <a:lnTo>
                      <a:pt x="98" y="204"/>
                    </a:lnTo>
                    <a:lnTo>
                      <a:pt x="98" y="202"/>
                    </a:lnTo>
                    <a:lnTo>
                      <a:pt x="96" y="202"/>
                    </a:lnTo>
                    <a:lnTo>
                      <a:pt x="95" y="202"/>
                    </a:lnTo>
                    <a:lnTo>
                      <a:pt x="95" y="200"/>
                    </a:lnTo>
                    <a:lnTo>
                      <a:pt x="93" y="200"/>
                    </a:lnTo>
                    <a:lnTo>
                      <a:pt x="91" y="200"/>
                    </a:lnTo>
                    <a:lnTo>
                      <a:pt x="89" y="200"/>
                    </a:lnTo>
                    <a:lnTo>
                      <a:pt x="89" y="198"/>
                    </a:lnTo>
                    <a:lnTo>
                      <a:pt x="89" y="196"/>
                    </a:lnTo>
                    <a:lnTo>
                      <a:pt x="89" y="198"/>
                    </a:lnTo>
                    <a:lnTo>
                      <a:pt x="89" y="200"/>
                    </a:lnTo>
                    <a:lnTo>
                      <a:pt x="91" y="200"/>
                    </a:lnTo>
                    <a:lnTo>
                      <a:pt x="93" y="200"/>
                    </a:lnTo>
                    <a:lnTo>
                      <a:pt x="95" y="200"/>
                    </a:lnTo>
                    <a:lnTo>
                      <a:pt x="95" y="202"/>
                    </a:lnTo>
                    <a:lnTo>
                      <a:pt x="96" y="202"/>
                    </a:lnTo>
                    <a:lnTo>
                      <a:pt x="98" y="202"/>
                    </a:lnTo>
                    <a:lnTo>
                      <a:pt x="98" y="204"/>
                    </a:lnTo>
                    <a:lnTo>
                      <a:pt x="100" y="204"/>
                    </a:lnTo>
                    <a:lnTo>
                      <a:pt x="98" y="204"/>
                    </a:lnTo>
                    <a:lnTo>
                      <a:pt x="100" y="204"/>
                    </a:lnTo>
                    <a:lnTo>
                      <a:pt x="98" y="206"/>
                    </a:lnTo>
                    <a:lnTo>
                      <a:pt x="98" y="208"/>
                    </a:lnTo>
                    <a:lnTo>
                      <a:pt x="98" y="210"/>
                    </a:lnTo>
                    <a:lnTo>
                      <a:pt x="96" y="210"/>
                    </a:lnTo>
                    <a:lnTo>
                      <a:pt x="98" y="210"/>
                    </a:lnTo>
                    <a:lnTo>
                      <a:pt x="100" y="212"/>
                    </a:lnTo>
                    <a:lnTo>
                      <a:pt x="100" y="214"/>
                    </a:lnTo>
                    <a:lnTo>
                      <a:pt x="98" y="214"/>
                    </a:lnTo>
                    <a:lnTo>
                      <a:pt x="100" y="214"/>
                    </a:lnTo>
                    <a:lnTo>
                      <a:pt x="100" y="216"/>
                    </a:lnTo>
                    <a:lnTo>
                      <a:pt x="98" y="216"/>
                    </a:lnTo>
                    <a:lnTo>
                      <a:pt x="98" y="218"/>
                    </a:lnTo>
                    <a:lnTo>
                      <a:pt x="96" y="218"/>
                    </a:lnTo>
                    <a:lnTo>
                      <a:pt x="95" y="218"/>
                    </a:lnTo>
                    <a:lnTo>
                      <a:pt x="95" y="220"/>
                    </a:lnTo>
                    <a:lnTo>
                      <a:pt x="93" y="220"/>
                    </a:lnTo>
                    <a:lnTo>
                      <a:pt x="91" y="220"/>
                    </a:lnTo>
                    <a:lnTo>
                      <a:pt x="89" y="220"/>
                    </a:lnTo>
                    <a:lnTo>
                      <a:pt x="87" y="220"/>
                    </a:lnTo>
                    <a:lnTo>
                      <a:pt x="85" y="218"/>
                    </a:lnTo>
                    <a:lnTo>
                      <a:pt x="83" y="218"/>
                    </a:lnTo>
                    <a:lnTo>
                      <a:pt x="83" y="216"/>
                    </a:lnTo>
                    <a:lnTo>
                      <a:pt x="81" y="214"/>
                    </a:lnTo>
                    <a:lnTo>
                      <a:pt x="83" y="214"/>
                    </a:lnTo>
                    <a:lnTo>
                      <a:pt x="83" y="212"/>
                    </a:lnTo>
                    <a:lnTo>
                      <a:pt x="81" y="210"/>
                    </a:lnTo>
                    <a:lnTo>
                      <a:pt x="81" y="208"/>
                    </a:lnTo>
                    <a:lnTo>
                      <a:pt x="79" y="208"/>
                    </a:lnTo>
                    <a:lnTo>
                      <a:pt x="77" y="210"/>
                    </a:lnTo>
                    <a:lnTo>
                      <a:pt x="73" y="208"/>
                    </a:lnTo>
                    <a:lnTo>
                      <a:pt x="71" y="206"/>
                    </a:lnTo>
                    <a:lnTo>
                      <a:pt x="68" y="206"/>
                    </a:lnTo>
                    <a:lnTo>
                      <a:pt x="66" y="206"/>
                    </a:lnTo>
                    <a:lnTo>
                      <a:pt x="64" y="206"/>
                    </a:lnTo>
                    <a:lnTo>
                      <a:pt x="62" y="206"/>
                    </a:lnTo>
                    <a:lnTo>
                      <a:pt x="60" y="208"/>
                    </a:lnTo>
                    <a:lnTo>
                      <a:pt x="60" y="206"/>
                    </a:lnTo>
                    <a:lnTo>
                      <a:pt x="58" y="204"/>
                    </a:lnTo>
                    <a:lnTo>
                      <a:pt x="58" y="202"/>
                    </a:lnTo>
                    <a:lnTo>
                      <a:pt x="56" y="202"/>
                    </a:lnTo>
                    <a:lnTo>
                      <a:pt x="56" y="200"/>
                    </a:lnTo>
                    <a:lnTo>
                      <a:pt x="54" y="198"/>
                    </a:lnTo>
                    <a:lnTo>
                      <a:pt x="54" y="196"/>
                    </a:lnTo>
                    <a:lnTo>
                      <a:pt x="54" y="195"/>
                    </a:lnTo>
                    <a:lnTo>
                      <a:pt x="56" y="195"/>
                    </a:lnTo>
                    <a:lnTo>
                      <a:pt x="56" y="193"/>
                    </a:lnTo>
                    <a:lnTo>
                      <a:pt x="58" y="193"/>
                    </a:lnTo>
                    <a:lnTo>
                      <a:pt x="58" y="191"/>
                    </a:lnTo>
                    <a:lnTo>
                      <a:pt x="56" y="191"/>
                    </a:lnTo>
                    <a:lnTo>
                      <a:pt x="56" y="189"/>
                    </a:lnTo>
                    <a:lnTo>
                      <a:pt x="58" y="189"/>
                    </a:lnTo>
                    <a:lnTo>
                      <a:pt x="58" y="187"/>
                    </a:lnTo>
                    <a:lnTo>
                      <a:pt x="60" y="185"/>
                    </a:lnTo>
                    <a:lnTo>
                      <a:pt x="58" y="183"/>
                    </a:lnTo>
                    <a:lnTo>
                      <a:pt x="58" y="181"/>
                    </a:lnTo>
                    <a:lnTo>
                      <a:pt x="56" y="181"/>
                    </a:lnTo>
                    <a:lnTo>
                      <a:pt x="54" y="179"/>
                    </a:lnTo>
                    <a:lnTo>
                      <a:pt x="54" y="177"/>
                    </a:lnTo>
                    <a:lnTo>
                      <a:pt x="52" y="177"/>
                    </a:lnTo>
                    <a:lnTo>
                      <a:pt x="50" y="177"/>
                    </a:lnTo>
                    <a:lnTo>
                      <a:pt x="48" y="177"/>
                    </a:lnTo>
                    <a:lnTo>
                      <a:pt x="48" y="175"/>
                    </a:lnTo>
                    <a:lnTo>
                      <a:pt x="50" y="175"/>
                    </a:lnTo>
                    <a:lnTo>
                      <a:pt x="50" y="173"/>
                    </a:lnTo>
                    <a:lnTo>
                      <a:pt x="50" y="171"/>
                    </a:lnTo>
                    <a:lnTo>
                      <a:pt x="52" y="171"/>
                    </a:lnTo>
                    <a:lnTo>
                      <a:pt x="52" y="170"/>
                    </a:lnTo>
                    <a:lnTo>
                      <a:pt x="52" y="168"/>
                    </a:lnTo>
                    <a:lnTo>
                      <a:pt x="52" y="166"/>
                    </a:lnTo>
                    <a:lnTo>
                      <a:pt x="50" y="166"/>
                    </a:lnTo>
                    <a:lnTo>
                      <a:pt x="48" y="164"/>
                    </a:lnTo>
                    <a:lnTo>
                      <a:pt x="48" y="162"/>
                    </a:lnTo>
                    <a:lnTo>
                      <a:pt x="46" y="160"/>
                    </a:lnTo>
                    <a:lnTo>
                      <a:pt x="46" y="158"/>
                    </a:lnTo>
                    <a:lnTo>
                      <a:pt x="45" y="158"/>
                    </a:lnTo>
                    <a:lnTo>
                      <a:pt x="43" y="158"/>
                    </a:lnTo>
                    <a:lnTo>
                      <a:pt x="41" y="158"/>
                    </a:lnTo>
                    <a:lnTo>
                      <a:pt x="41" y="156"/>
                    </a:lnTo>
                    <a:lnTo>
                      <a:pt x="39" y="156"/>
                    </a:lnTo>
                    <a:lnTo>
                      <a:pt x="37" y="156"/>
                    </a:lnTo>
                    <a:lnTo>
                      <a:pt x="39" y="158"/>
                    </a:lnTo>
                    <a:lnTo>
                      <a:pt x="37" y="158"/>
                    </a:lnTo>
                    <a:lnTo>
                      <a:pt x="35" y="158"/>
                    </a:lnTo>
                    <a:lnTo>
                      <a:pt x="35" y="156"/>
                    </a:lnTo>
                    <a:lnTo>
                      <a:pt x="35" y="154"/>
                    </a:lnTo>
                    <a:lnTo>
                      <a:pt x="33" y="154"/>
                    </a:lnTo>
                    <a:lnTo>
                      <a:pt x="31" y="154"/>
                    </a:lnTo>
                    <a:lnTo>
                      <a:pt x="31" y="152"/>
                    </a:lnTo>
                    <a:lnTo>
                      <a:pt x="33" y="150"/>
                    </a:lnTo>
                    <a:lnTo>
                      <a:pt x="33" y="148"/>
                    </a:lnTo>
                    <a:lnTo>
                      <a:pt x="35" y="148"/>
                    </a:lnTo>
                    <a:lnTo>
                      <a:pt x="35" y="146"/>
                    </a:lnTo>
                    <a:lnTo>
                      <a:pt x="33" y="146"/>
                    </a:lnTo>
                    <a:lnTo>
                      <a:pt x="33" y="145"/>
                    </a:lnTo>
                    <a:lnTo>
                      <a:pt x="31" y="145"/>
                    </a:lnTo>
                    <a:lnTo>
                      <a:pt x="31" y="143"/>
                    </a:lnTo>
                    <a:lnTo>
                      <a:pt x="29" y="143"/>
                    </a:lnTo>
                    <a:lnTo>
                      <a:pt x="27" y="143"/>
                    </a:lnTo>
                    <a:lnTo>
                      <a:pt x="27" y="141"/>
                    </a:lnTo>
                    <a:lnTo>
                      <a:pt x="25" y="141"/>
                    </a:lnTo>
                    <a:lnTo>
                      <a:pt x="25" y="139"/>
                    </a:lnTo>
                    <a:lnTo>
                      <a:pt x="23" y="139"/>
                    </a:lnTo>
                    <a:lnTo>
                      <a:pt x="22" y="137"/>
                    </a:lnTo>
                    <a:lnTo>
                      <a:pt x="22" y="135"/>
                    </a:lnTo>
                    <a:lnTo>
                      <a:pt x="22" y="133"/>
                    </a:lnTo>
                    <a:lnTo>
                      <a:pt x="23" y="133"/>
                    </a:lnTo>
                    <a:lnTo>
                      <a:pt x="22" y="133"/>
                    </a:lnTo>
                    <a:lnTo>
                      <a:pt x="23" y="133"/>
                    </a:lnTo>
                    <a:lnTo>
                      <a:pt x="23" y="131"/>
                    </a:lnTo>
                    <a:lnTo>
                      <a:pt x="23" y="129"/>
                    </a:lnTo>
                    <a:lnTo>
                      <a:pt x="25" y="131"/>
                    </a:lnTo>
                    <a:lnTo>
                      <a:pt x="27" y="129"/>
                    </a:lnTo>
                    <a:lnTo>
                      <a:pt x="27" y="127"/>
                    </a:lnTo>
                    <a:lnTo>
                      <a:pt x="27" y="125"/>
                    </a:lnTo>
                    <a:lnTo>
                      <a:pt x="25" y="125"/>
                    </a:lnTo>
                    <a:lnTo>
                      <a:pt x="25" y="123"/>
                    </a:lnTo>
                    <a:lnTo>
                      <a:pt x="25" y="121"/>
                    </a:lnTo>
                    <a:lnTo>
                      <a:pt x="23" y="121"/>
                    </a:lnTo>
                    <a:lnTo>
                      <a:pt x="23" y="120"/>
                    </a:lnTo>
                    <a:lnTo>
                      <a:pt x="25" y="120"/>
                    </a:lnTo>
                    <a:lnTo>
                      <a:pt x="25" y="118"/>
                    </a:lnTo>
                    <a:lnTo>
                      <a:pt x="25" y="116"/>
                    </a:lnTo>
                    <a:lnTo>
                      <a:pt x="27" y="114"/>
                    </a:lnTo>
                    <a:lnTo>
                      <a:pt x="25" y="114"/>
                    </a:lnTo>
                    <a:lnTo>
                      <a:pt x="23" y="114"/>
                    </a:lnTo>
                    <a:lnTo>
                      <a:pt x="23" y="112"/>
                    </a:lnTo>
                    <a:lnTo>
                      <a:pt x="22" y="112"/>
                    </a:lnTo>
                    <a:lnTo>
                      <a:pt x="22" y="110"/>
                    </a:lnTo>
                    <a:lnTo>
                      <a:pt x="20" y="110"/>
                    </a:lnTo>
                    <a:lnTo>
                      <a:pt x="18" y="110"/>
                    </a:lnTo>
                    <a:lnTo>
                      <a:pt x="16" y="110"/>
                    </a:lnTo>
                    <a:lnTo>
                      <a:pt x="14" y="110"/>
                    </a:lnTo>
                    <a:lnTo>
                      <a:pt x="12" y="110"/>
                    </a:lnTo>
                    <a:lnTo>
                      <a:pt x="12" y="108"/>
                    </a:lnTo>
                    <a:lnTo>
                      <a:pt x="10" y="108"/>
                    </a:lnTo>
                    <a:lnTo>
                      <a:pt x="10" y="106"/>
                    </a:lnTo>
                    <a:lnTo>
                      <a:pt x="10" y="104"/>
                    </a:lnTo>
                    <a:lnTo>
                      <a:pt x="10" y="102"/>
                    </a:lnTo>
                    <a:lnTo>
                      <a:pt x="8" y="102"/>
                    </a:lnTo>
                    <a:lnTo>
                      <a:pt x="8" y="100"/>
                    </a:lnTo>
                    <a:lnTo>
                      <a:pt x="6" y="100"/>
                    </a:lnTo>
                    <a:lnTo>
                      <a:pt x="4" y="100"/>
                    </a:lnTo>
                    <a:lnTo>
                      <a:pt x="2" y="98"/>
                    </a:lnTo>
                    <a:lnTo>
                      <a:pt x="2" y="100"/>
                    </a:lnTo>
                    <a:lnTo>
                      <a:pt x="0" y="98"/>
                    </a:lnTo>
                    <a:lnTo>
                      <a:pt x="0" y="96"/>
                    </a:lnTo>
                    <a:lnTo>
                      <a:pt x="2" y="96"/>
                    </a:lnTo>
                    <a:lnTo>
                      <a:pt x="4" y="95"/>
                    </a:lnTo>
                    <a:lnTo>
                      <a:pt x="4" y="93"/>
                    </a:lnTo>
                    <a:lnTo>
                      <a:pt x="4" y="91"/>
                    </a:lnTo>
                    <a:lnTo>
                      <a:pt x="4" y="89"/>
                    </a:lnTo>
                    <a:lnTo>
                      <a:pt x="4" y="87"/>
                    </a:lnTo>
                    <a:lnTo>
                      <a:pt x="4" y="85"/>
                    </a:lnTo>
                    <a:lnTo>
                      <a:pt x="4" y="83"/>
                    </a:lnTo>
                    <a:lnTo>
                      <a:pt x="6" y="85"/>
                    </a:lnTo>
                    <a:lnTo>
                      <a:pt x="8" y="85"/>
                    </a:lnTo>
                    <a:lnTo>
                      <a:pt x="10" y="83"/>
                    </a:lnTo>
                    <a:lnTo>
                      <a:pt x="10" y="81"/>
                    </a:lnTo>
                    <a:lnTo>
                      <a:pt x="14" y="83"/>
                    </a:lnTo>
                    <a:lnTo>
                      <a:pt x="16" y="81"/>
                    </a:lnTo>
                    <a:lnTo>
                      <a:pt x="16" y="79"/>
                    </a:lnTo>
                    <a:lnTo>
                      <a:pt x="16" y="77"/>
                    </a:lnTo>
                    <a:lnTo>
                      <a:pt x="18" y="77"/>
                    </a:lnTo>
                    <a:lnTo>
                      <a:pt x="18" y="75"/>
                    </a:lnTo>
                    <a:lnTo>
                      <a:pt x="16" y="75"/>
                    </a:lnTo>
                    <a:lnTo>
                      <a:pt x="16" y="73"/>
                    </a:lnTo>
                    <a:lnTo>
                      <a:pt x="18" y="73"/>
                    </a:lnTo>
                    <a:lnTo>
                      <a:pt x="22" y="73"/>
                    </a:lnTo>
                    <a:lnTo>
                      <a:pt x="25" y="72"/>
                    </a:lnTo>
                    <a:lnTo>
                      <a:pt x="27" y="72"/>
                    </a:lnTo>
                    <a:lnTo>
                      <a:pt x="31" y="72"/>
                    </a:lnTo>
                    <a:lnTo>
                      <a:pt x="33" y="72"/>
                    </a:lnTo>
                    <a:lnTo>
                      <a:pt x="35" y="72"/>
                    </a:lnTo>
                    <a:lnTo>
                      <a:pt x="37" y="72"/>
                    </a:lnTo>
                    <a:lnTo>
                      <a:pt x="39" y="72"/>
                    </a:lnTo>
                    <a:lnTo>
                      <a:pt x="41" y="73"/>
                    </a:lnTo>
                    <a:lnTo>
                      <a:pt x="43" y="73"/>
                    </a:lnTo>
                    <a:lnTo>
                      <a:pt x="43" y="72"/>
                    </a:lnTo>
                    <a:lnTo>
                      <a:pt x="45" y="72"/>
                    </a:lnTo>
                    <a:lnTo>
                      <a:pt x="43" y="70"/>
                    </a:lnTo>
                    <a:lnTo>
                      <a:pt x="43" y="68"/>
                    </a:lnTo>
                    <a:lnTo>
                      <a:pt x="41" y="68"/>
                    </a:lnTo>
                    <a:lnTo>
                      <a:pt x="41" y="66"/>
                    </a:lnTo>
                    <a:lnTo>
                      <a:pt x="39" y="64"/>
                    </a:lnTo>
                    <a:lnTo>
                      <a:pt x="39" y="62"/>
                    </a:lnTo>
                    <a:lnTo>
                      <a:pt x="41" y="60"/>
                    </a:lnTo>
                    <a:lnTo>
                      <a:pt x="43" y="58"/>
                    </a:lnTo>
                    <a:lnTo>
                      <a:pt x="46" y="60"/>
                    </a:lnTo>
                    <a:lnTo>
                      <a:pt x="46" y="62"/>
                    </a:lnTo>
                    <a:lnTo>
                      <a:pt x="50" y="60"/>
                    </a:lnTo>
                    <a:lnTo>
                      <a:pt x="52" y="60"/>
                    </a:lnTo>
                    <a:lnTo>
                      <a:pt x="52" y="58"/>
                    </a:lnTo>
                    <a:lnTo>
                      <a:pt x="54" y="56"/>
                    </a:lnTo>
                    <a:lnTo>
                      <a:pt x="58" y="56"/>
                    </a:lnTo>
                    <a:lnTo>
                      <a:pt x="58" y="58"/>
                    </a:lnTo>
                    <a:lnTo>
                      <a:pt x="60" y="58"/>
                    </a:lnTo>
                    <a:lnTo>
                      <a:pt x="62" y="58"/>
                    </a:lnTo>
                    <a:lnTo>
                      <a:pt x="66" y="58"/>
                    </a:lnTo>
                    <a:lnTo>
                      <a:pt x="66" y="60"/>
                    </a:lnTo>
                    <a:lnTo>
                      <a:pt x="66" y="62"/>
                    </a:lnTo>
                    <a:lnTo>
                      <a:pt x="68" y="62"/>
                    </a:lnTo>
                    <a:lnTo>
                      <a:pt x="70" y="60"/>
                    </a:lnTo>
                    <a:lnTo>
                      <a:pt x="71" y="58"/>
                    </a:lnTo>
                    <a:lnTo>
                      <a:pt x="71" y="56"/>
                    </a:lnTo>
                    <a:lnTo>
                      <a:pt x="71" y="54"/>
                    </a:lnTo>
                    <a:lnTo>
                      <a:pt x="73" y="52"/>
                    </a:lnTo>
                    <a:lnTo>
                      <a:pt x="77" y="50"/>
                    </a:lnTo>
                    <a:lnTo>
                      <a:pt x="83" y="48"/>
                    </a:lnTo>
                    <a:lnTo>
                      <a:pt x="85" y="47"/>
                    </a:lnTo>
                    <a:lnTo>
                      <a:pt x="87" y="47"/>
                    </a:lnTo>
                    <a:lnTo>
                      <a:pt x="87" y="45"/>
                    </a:lnTo>
                    <a:lnTo>
                      <a:pt x="89" y="45"/>
                    </a:lnTo>
                    <a:lnTo>
                      <a:pt x="89" y="43"/>
                    </a:lnTo>
                    <a:lnTo>
                      <a:pt x="91" y="43"/>
                    </a:lnTo>
                    <a:lnTo>
                      <a:pt x="91" y="37"/>
                    </a:lnTo>
                    <a:lnTo>
                      <a:pt x="93" y="33"/>
                    </a:lnTo>
                    <a:lnTo>
                      <a:pt x="95" y="35"/>
                    </a:lnTo>
                    <a:lnTo>
                      <a:pt x="96" y="35"/>
                    </a:lnTo>
                    <a:lnTo>
                      <a:pt x="98" y="37"/>
                    </a:lnTo>
                    <a:lnTo>
                      <a:pt x="100" y="37"/>
                    </a:lnTo>
                    <a:lnTo>
                      <a:pt x="100" y="39"/>
                    </a:lnTo>
                    <a:lnTo>
                      <a:pt x="102" y="37"/>
                    </a:lnTo>
                    <a:lnTo>
                      <a:pt x="104" y="37"/>
                    </a:lnTo>
                    <a:lnTo>
                      <a:pt x="108" y="37"/>
                    </a:lnTo>
                    <a:lnTo>
                      <a:pt x="112" y="39"/>
                    </a:lnTo>
                    <a:lnTo>
                      <a:pt x="116" y="37"/>
                    </a:lnTo>
                    <a:lnTo>
                      <a:pt x="121" y="37"/>
                    </a:lnTo>
                    <a:lnTo>
                      <a:pt x="123" y="33"/>
                    </a:lnTo>
                    <a:lnTo>
                      <a:pt x="125" y="33"/>
                    </a:lnTo>
                    <a:lnTo>
                      <a:pt x="123" y="31"/>
                    </a:lnTo>
                    <a:lnTo>
                      <a:pt x="123" y="29"/>
                    </a:lnTo>
                    <a:lnTo>
                      <a:pt x="127" y="29"/>
                    </a:lnTo>
                    <a:lnTo>
                      <a:pt x="129" y="25"/>
                    </a:lnTo>
                    <a:lnTo>
                      <a:pt x="131" y="25"/>
                    </a:lnTo>
                    <a:lnTo>
                      <a:pt x="133" y="27"/>
                    </a:lnTo>
                    <a:lnTo>
                      <a:pt x="139" y="29"/>
                    </a:lnTo>
                    <a:lnTo>
                      <a:pt x="143" y="27"/>
                    </a:lnTo>
                    <a:lnTo>
                      <a:pt x="146" y="29"/>
                    </a:lnTo>
                    <a:lnTo>
                      <a:pt x="148" y="31"/>
                    </a:lnTo>
                    <a:lnTo>
                      <a:pt x="150" y="31"/>
                    </a:lnTo>
                    <a:lnTo>
                      <a:pt x="150" y="33"/>
                    </a:lnTo>
                    <a:lnTo>
                      <a:pt x="152" y="33"/>
                    </a:lnTo>
                    <a:lnTo>
                      <a:pt x="154" y="33"/>
                    </a:lnTo>
                    <a:lnTo>
                      <a:pt x="156" y="31"/>
                    </a:lnTo>
                    <a:lnTo>
                      <a:pt x="158" y="31"/>
                    </a:lnTo>
                    <a:lnTo>
                      <a:pt x="160" y="31"/>
                    </a:lnTo>
                    <a:lnTo>
                      <a:pt x="160" y="29"/>
                    </a:lnTo>
                    <a:lnTo>
                      <a:pt x="162" y="27"/>
                    </a:lnTo>
                    <a:lnTo>
                      <a:pt x="164" y="27"/>
                    </a:lnTo>
                    <a:lnTo>
                      <a:pt x="166" y="27"/>
                    </a:lnTo>
                    <a:lnTo>
                      <a:pt x="168" y="29"/>
                    </a:lnTo>
                    <a:lnTo>
                      <a:pt x="169" y="29"/>
                    </a:lnTo>
                    <a:lnTo>
                      <a:pt x="173" y="29"/>
                    </a:lnTo>
                    <a:lnTo>
                      <a:pt x="175" y="29"/>
                    </a:lnTo>
                    <a:lnTo>
                      <a:pt x="175" y="31"/>
                    </a:lnTo>
                    <a:lnTo>
                      <a:pt x="177" y="31"/>
                    </a:lnTo>
                    <a:lnTo>
                      <a:pt x="177" y="33"/>
                    </a:lnTo>
                    <a:lnTo>
                      <a:pt x="179" y="33"/>
                    </a:lnTo>
                    <a:lnTo>
                      <a:pt x="179" y="35"/>
                    </a:lnTo>
                    <a:lnTo>
                      <a:pt x="181" y="35"/>
                    </a:lnTo>
                    <a:lnTo>
                      <a:pt x="181" y="37"/>
                    </a:lnTo>
                    <a:lnTo>
                      <a:pt x="183" y="39"/>
                    </a:lnTo>
                    <a:lnTo>
                      <a:pt x="183" y="41"/>
                    </a:lnTo>
                    <a:lnTo>
                      <a:pt x="183" y="43"/>
                    </a:lnTo>
                    <a:lnTo>
                      <a:pt x="181" y="45"/>
                    </a:lnTo>
                    <a:lnTo>
                      <a:pt x="181" y="47"/>
                    </a:lnTo>
                    <a:lnTo>
                      <a:pt x="181" y="48"/>
                    </a:lnTo>
                    <a:lnTo>
                      <a:pt x="179" y="50"/>
                    </a:lnTo>
                    <a:lnTo>
                      <a:pt x="181" y="52"/>
                    </a:lnTo>
                    <a:lnTo>
                      <a:pt x="181" y="56"/>
                    </a:lnTo>
                    <a:lnTo>
                      <a:pt x="181" y="58"/>
                    </a:lnTo>
                    <a:lnTo>
                      <a:pt x="181" y="64"/>
                    </a:lnTo>
                    <a:lnTo>
                      <a:pt x="181" y="66"/>
                    </a:lnTo>
                    <a:lnTo>
                      <a:pt x="181" y="68"/>
                    </a:lnTo>
                    <a:lnTo>
                      <a:pt x="183" y="70"/>
                    </a:lnTo>
                    <a:lnTo>
                      <a:pt x="183" y="72"/>
                    </a:lnTo>
                    <a:lnTo>
                      <a:pt x="181" y="72"/>
                    </a:lnTo>
                    <a:lnTo>
                      <a:pt x="181" y="73"/>
                    </a:lnTo>
                    <a:lnTo>
                      <a:pt x="183" y="73"/>
                    </a:lnTo>
                    <a:lnTo>
                      <a:pt x="185" y="73"/>
                    </a:lnTo>
                    <a:lnTo>
                      <a:pt x="185" y="75"/>
                    </a:lnTo>
                    <a:lnTo>
                      <a:pt x="183" y="75"/>
                    </a:lnTo>
                    <a:lnTo>
                      <a:pt x="183" y="77"/>
                    </a:lnTo>
                    <a:lnTo>
                      <a:pt x="183" y="79"/>
                    </a:lnTo>
                    <a:lnTo>
                      <a:pt x="183" y="83"/>
                    </a:lnTo>
                    <a:lnTo>
                      <a:pt x="183" y="85"/>
                    </a:lnTo>
                    <a:lnTo>
                      <a:pt x="187" y="85"/>
                    </a:lnTo>
                    <a:lnTo>
                      <a:pt x="189" y="85"/>
                    </a:lnTo>
                    <a:lnTo>
                      <a:pt x="189" y="83"/>
                    </a:lnTo>
                    <a:lnTo>
                      <a:pt x="191" y="83"/>
                    </a:lnTo>
                    <a:lnTo>
                      <a:pt x="196" y="83"/>
                    </a:lnTo>
                    <a:lnTo>
                      <a:pt x="198" y="81"/>
                    </a:lnTo>
                    <a:lnTo>
                      <a:pt x="200" y="83"/>
                    </a:lnTo>
                    <a:lnTo>
                      <a:pt x="200" y="77"/>
                    </a:lnTo>
                    <a:lnTo>
                      <a:pt x="202" y="77"/>
                    </a:lnTo>
                    <a:lnTo>
                      <a:pt x="204" y="77"/>
                    </a:lnTo>
                    <a:lnTo>
                      <a:pt x="208" y="77"/>
                    </a:lnTo>
                    <a:lnTo>
                      <a:pt x="210" y="77"/>
                    </a:lnTo>
                    <a:lnTo>
                      <a:pt x="212" y="77"/>
                    </a:lnTo>
                    <a:lnTo>
                      <a:pt x="214" y="77"/>
                    </a:lnTo>
                    <a:lnTo>
                      <a:pt x="216" y="77"/>
                    </a:lnTo>
                    <a:lnTo>
                      <a:pt x="219" y="77"/>
                    </a:lnTo>
                    <a:lnTo>
                      <a:pt x="221" y="77"/>
                    </a:lnTo>
                    <a:lnTo>
                      <a:pt x="221" y="79"/>
                    </a:lnTo>
                    <a:lnTo>
                      <a:pt x="223" y="79"/>
                    </a:lnTo>
                    <a:lnTo>
                      <a:pt x="225" y="79"/>
                    </a:lnTo>
                    <a:lnTo>
                      <a:pt x="225" y="77"/>
                    </a:lnTo>
                    <a:lnTo>
                      <a:pt x="229" y="77"/>
                    </a:lnTo>
                    <a:lnTo>
                      <a:pt x="231" y="77"/>
                    </a:lnTo>
                    <a:lnTo>
                      <a:pt x="231" y="75"/>
                    </a:lnTo>
                    <a:lnTo>
                      <a:pt x="233" y="75"/>
                    </a:lnTo>
                    <a:lnTo>
                      <a:pt x="233" y="73"/>
                    </a:lnTo>
                    <a:lnTo>
                      <a:pt x="237" y="73"/>
                    </a:lnTo>
                    <a:lnTo>
                      <a:pt x="237" y="75"/>
                    </a:lnTo>
                    <a:lnTo>
                      <a:pt x="239" y="79"/>
                    </a:lnTo>
                    <a:lnTo>
                      <a:pt x="239" y="81"/>
                    </a:lnTo>
                    <a:lnTo>
                      <a:pt x="241" y="81"/>
                    </a:lnTo>
                    <a:lnTo>
                      <a:pt x="241" y="79"/>
                    </a:lnTo>
                    <a:lnTo>
                      <a:pt x="241" y="81"/>
                    </a:lnTo>
                    <a:lnTo>
                      <a:pt x="242" y="81"/>
                    </a:lnTo>
                    <a:lnTo>
                      <a:pt x="244" y="81"/>
                    </a:lnTo>
                    <a:lnTo>
                      <a:pt x="244" y="83"/>
                    </a:lnTo>
                    <a:lnTo>
                      <a:pt x="244" y="85"/>
                    </a:lnTo>
                    <a:lnTo>
                      <a:pt x="246" y="85"/>
                    </a:lnTo>
                    <a:lnTo>
                      <a:pt x="246" y="83"/>
                    </a:lnTo>
                    <a:lnTo>
                      <a:pt x="248" y="83"/>
                    </a:lnTo>
                    <a:lnTo>
                      <a:pt x="248" y="85"/>
                    </a:lnTo>
                    <a:lnTo>
                      <a:pt x="250" y="85"/>
                    </a:lnTo>
                    <a:lnTo>
                      <a:pt x="250" y="87"/>
                    </a:lnTo>
                    <a:lnTo>
                      <a:pt x="252" y="87"/>
                    </a:lnTo>
                    <a:lnTo>
                      <a:pt x="252" y="85"/>
                    </a:lnTo>
                    <a:lnTo>
                      <a:pt x="254" y="87"/>
                    </a:lnTo>
                    <a:lnTo>
                      <a:pt x="256" y="87"/>
                    </a:lnTo>
                    <a:lnTo>
                      <a:pt x="258" y="85"/>
                    </a:lnTo>
                    <a:lnTo>
                      <a:pt x="258" y="83"/>
                    </a:lnTo>
                    <a:lnTo>
                      <a:pt x="260" y="83"/>
                    </a:lnTo>
                    <a:lnTo>
                      <a:pt x="262" y="83"/>
                    </a:lnTo>
                    <a:lnTo>
                      <a:pt x="262" y="81"/>
                    </a:lnTo>
                    <a:lnTo>
                      <a:pt x="264" y="81"/>
                    </a:lnTo>
                    <a:lnTo>
                      <a:pt x="265" y="79"/>
                    </a:lnTo>
                    <a:lnTo>
                      <a:pt x="267" y="79"/>
                    </a:lnTo>
                    <a:lnTo>
                      <a:pt x="269" y="77"/>
                    </a:lnTo>
                    <a:lnTo>
                      <a:pt x="269" y="75"/>
                    </a:lnTo>
                    <a:lnTo>
                      <a:pt x="269" y="73"/>
                    </a:lnTo>
                    <a:lnTo>
                      <a:pt x="271" y="73"/>
                    </a:lnTo>
                    <a:lnTo>
                      <a:pt x="273" y="72"/>
                    </a:lnTo>
                    <a:lnTo>
                      <a:pt x="273" y="70"/>
                    </a:lnTo>
                    <a:lnTo>
                      <a:pt x="271" y="70"/>
                    </a:lnTo>
                    <a:lnTo>
                      <a:pt x="271" y="68"/>
                    </a:lnTo>
                    <a:lnTo>
                      <a:pt x="271" y="66"/>
                    </a:lnTo>
                    <a:lnTo>
                      <a:pt x="273" y="66"/>
                    </a:lnTo>
                    <a:lnTo>
                      <a:pt x="271" y="64"/>
                    </a:lnTo>
                    <a:lnTo>
                      <a:pt x="271" y="62"/>
                    </a:lnTo>
                    <a:lnTo>
                      <a:pt x="273" y="62"/>
                    </a:lnTo>
                    <a:lnTo>
                      <a:pt x="273" y="64"/>
                    </a:lnTo>
                    <a:lnTo>
                      <a:pt x="273" y="66"/>
                    </a:lnTo>
                    <a:lnTo>
                      <a:pt x="275" y="66"/>
                    </a:lnTo>
                    <a:lnTo>
                      <a:pt x="277" y="64"/>
                    </a:lnTo>
                    <a:lnTo>
                      <a:pt x="275" y="64"/>
                    </a:lnTo>
                    <a:lnTo>
                      <a:pt x="275" y="62"/>
                    </a:lnTo>
                    <a:lnTo>
                      <a:pt x="277" y="62"/>
                    </a:lnTo>
                    <a:lnTo>
                      <a:pt x="279" y="64"/>
                    </a:lnTo>
                    <a:lnTo>
                      <a:pt x="279" y="62"/>
                    </a:lnTo>
                    <a:lnTo>
                      <a:pt x="281" y="62"/>
                    </a:lnTo>
                    <a:lnTo>
                      <a:pt x="281" y="60"/>
                    </a:lnTo>
                    <a:lnTo>
                      <a:pt x="283" y="60"/>
                    </a:lnTo>
                    <a:lnTo>
                      <a:pt x="283" y="58"/>
                    </a:lnTo>
                    <a:lnTo>
                      <a:pt x="281" y="56"/>
                    </a:lnTo>
                    <a:lnTo>
                      <a:pt x="283" y="56"/>
                    </a:lnTo>
                    <a:lnTo>
                      <a:pt x="283" y="54"/>
                    </a:lnTo>
                    <a:lnTo>
                      <a:pt x="285" y="54"/>
                    </a:lnTo>
                    <a:lnTo>
                      <a:pt x="285" y="52"/>
                    </a:lnTo>
                    <a:lnTo>
                      <a:pt x="287" y="50"/>
                    </a:lnTo>
                    <a:lnTo>
                      <a:pt x="285" y="50"/>
                    </a:lnTo>
                    <a:lnTo>
                      <a:pt x="283" y="50"/>
                    </a:lnTo>
                    <a:lnTo>
                      <a:pt x="283" y="48"/>
                    </a:lnTo>
                    <a:lnTo>
                      <a:pt x="285" y="48"/>
                    </a:lnTo>
                    <a:lnTo>
                      <a:pt x="285" y="47"/>
                    </a:lnTo>
                    <a:lnTo>
                      <a:pt x="285" y="45"/>
                    </a:lnTo>
                    <a:lnTo>
                      <a:pt x="283" y="45"/>
                    </a:lnTo>
                    <a:lnTo>
                      <a:pt x="285" y="43"/>
                    </a:lnTo>
                    <a:lnTo>
                      <a:pt x="287" y="41"/>
                    </a:lnTo>
                    <a:lnTo>
                      <a:pt x="289" y="41"/>
                    </a:lnTo>
                    <a:lnTo>
                      <a:pt x="290" y="41"/>
                    </a:lnTo>
                    <a:lnTo>
                      <a:pt x="290" y="43"/>
                    </a:lnTo>
                    <a:lnTo>
                      <a:pt x="292" y="43"/>
                    </a:lnTo>
                    <a:lnTo>
                      <a:pt x="294" y="43"/>
                    </a:lnTo>
                    <a:lnTo>
                      <a:pt x="294" y="41"/>
                    </a:lnTo>
                    <a:lnTo>
                      <a:pt x="294" y="37"/>
                    </a:lnTo>
                    <a:lnTo>
                      <a:pt x="294" y="35"/>
                    </a:lnTo>
                    <a:lnTo>
                      <a:pt x="296" y="33"/>
                    </a:lnTo>
                    <a:lnTo>
                      <a:pt x="298" y="33"/>
                    </a:lnTo>
                    <a:lnTo>
                      <a:pt x="300" y="33"/>
                    </a:lnTo>
                    <a:lnTo>
                      <a:pt x="300" y="31"/>
                    </a:lnTo>
                    <a:lnTo>
                      <a:pt x="302" y="31"/>
                    </a:lnTo>
                    <a:lnTo>
                      <a:pt x="302" y="33"/>
                    </a:lnTo>
                    <a:lnTo>
                      <a:pt x="304" y="33"/>
                    </a:lnTo>
                    <a:lnTo>
                      <a:pt x="306" y="31"/>
                    </a:lnTo>
                    <a:lnTo>
                      <a:pt x="306" y="29"/>
                    </a:lnTo>
                    <a:lnTo>
                      <a:pt x="306" y="27"/>
                    </a:lnTo>
                    <a:lnTo>
                      <a:pt x="308" y="27"/>
                    </a:lnTo>
                    <a:lnTo>
                      <a:pt x="308" y="25"/>
                    </a:lnTo>
                    <a:lnTo>
                      <a:pt x="308" y="23"/>
                    </a:lnTo>
                    <a:lnTo>
                      <a:pt x="308" y="22"/>
                    </a:lnTo>
                    <a:lnTo>
                      <a:pt x="308" y="20"/>
                    </a:lnTo>
                    <a:lnTo>
                      <a:pt x="310" y="20"/>
                    </a:lnTo>
                    <a:lnTo>
                      <a:pt x="310" y="18"/>
                    </a:lnTo>
                    <a:lnTo>
                      <a:pt x="310" y="16"/>
                    </a:lnTo>
                    <a:lnTo>
                      <a:pt x="310" y="14"/>
                    </a:lnTo>
                    <a:lnTo>
                      <a:pt x="310" y="12"/>
                    </a:lnTo>
                    <a:lnTo>
                      <a:pt x="310" y="10"/>
                    </a:lnTo>
                    <a:lnTo>
                      <a:pt x="312" y="10"/>
                    </a:lnTo>
                    <a:lnTo>
                      <a:pt x="314" y="10"/>
                    </a:lnTo>
                    <a:lnTo>
                      <a:pt x="314" y="6"/>
                    </a:lnTo>
                    <a:lnTo>
                      <a:pt x="315" y="6"/>
                    </a:lnTo>
                    <a:lnTo>
                      <a:pt x="315" y="8"/>
                    </a:lnTo>
                    <a:lnTo>
                      <a:pt x="315" y="6"/>
                    </a:lnTo>
                    <a:lnTo>
                      <a:pt x="317" y="6"/>
                    </a:lnTo>
                    <a:lnTo>
                      <a:pt x="317" y="4"/>
                    </a:lnTo>
                    <a:lnTo>
                      <a:pt x="319" y="4"/>
                    </a:lnTo>
                    <a:lnTo>
                      <a:pt x="319" y="6"/>
                    </a:lnTo>
                    <a:lnTo>
                      <a:pt x="321" y="6"/>
                    </a:lnTo>
                    <a:lnTo>
                      <a:pt x="323" y="6"/>
                    </a:lnTo>
                    <a:lnTo>
                      <a:pt x="323" y="4"/>
                    </a:lnTo>
                    <a:lnTo>
                      <a:pt x="325" y="0"/>
                    </a:lnTo>
                    <a:lnTo>
                      <a:pt x="327" y="0"/>
                    </a:lnTo>
                    <a:lnTo>
                      <a:pt x="327" y="2"/>
                    </a:lnTo>
                    <a:lnTo>
                      <a:pt x="329" y="2"/>
                    </a:lnTo>
                    <a:lnTo>
                      <a:pt x="331" y="2"/>
                    </a:lnTo>
                    <a:lnTo>
                      <a:pt x="331" y="4"/>
                    </a:lnTo>
                    <a:lnTo>
                      <a:pt x="333" y="4"/>
                    </a:lnTo>
                    <a:lnTo>
                      <a:pt x="331" y="6"/>
                    </a:lnTo>
                    <a:lnTo>
                      <a:pt x="331" y="8"/>
                    </a:lnTo>
                    <a:lnTo>
                      <a:pt x="331" y="10"/>
                    </a:lnTo>
                    <a:lnTo>
                      <a:pt x="331" y="12"/>
                    </a:lnTo>
                    <a:lnTo>
                      <a:pt x="333" y="12"/>
                    </a:lnTo>
                    <a:lnTo>
                      <a:pt x="335" y="12"/>
                    </a:lnTo>
                    <a:lnTo>
                      <a:pt x="337" y="12"/>
                    </a:lnTo>
                    <a:lnTo>
                      <a:pt x="338" y="12"/>
                    </a:lnTo>
                    <a:lnTo>
                      <a:pt x="338" y="14"/>
                    </a:lnTo>
                    <a:lnTo>
                      <a:pt x="340" y="16"/>
                    </a:lnTo>
                    <a:lnTo>
                      <a:pt x="342" y="16"/>
                    </a:lnTo>
                    <a:lnTo>
                      <a:pt x="344" y="18"/>
                    </a:lnTo>
                    <a:lnTo>
                      <a:pt x="346" y="18"/>
                    </a:lnTo>
                    <a:lnTo>
                      <a:pt x="346" y="16"/>
                    </a:lnTo>
                    <a:lnTo>
                      <a:pt x="346" y="14"/>
                    </a:lnTo>
                    <a:lnTo>
                      <a:pt x="348" y="14"/>
                    </a:lnTo>
                    <a:lnTo>
                      <a:pt x="350" y="16"/>
                    </a:lnTo>
                    <a:lnTo>
                      <a:pt x="352" y="14"/>
                    </a:lnTo>
                    <a:lnTo>
                      <a:pt x="354" y="14"/>
                    </a:lnTo>
                    <a:lnTo>
                      <a:pt x="354" y="16"/>
                    </a:lnTo>
                    <a:lnTo>
                      <a:pt x="356" y="16"/>
                    </a:lnTo>
                    <a:lnTo>
                      <a:pt x="356" y="18"/>
                    </a:lnTo>
                    <a:lnTo>
                      <a:pt x="358" y="18"/>
                    </a:lnTo>
                    <a:lnTo>
                      <a:pt x="358" y="20"/>
                    </a:lnTo>
                    <a:lnTo>
                      <a:pt x="360" y="20"/>
                    </a:lnTo>
                    <a:lnTo>
                      <a:pt x="362" y="20"/>
                    </a:lnTo>
                    <a:lnTo>
                      <a:pt x="362" y="22"/>
                    </a:lnTo>
                    <a:lnTo>
                      <a:pt x="363" y="22"/>
                    </a:lnTo>
                    <a:lnTo>
                      <a:pt x="362" y="22"/>
                    </a:lnTo>
                    <a:lnTo>
                      <a:pt x="362" y="23"/>
                    </a:lnTo>
                    <a:lnTo>
                      <a:pt x="363" y="23"/>
                    </a:lnTo>
                    <a:lnTo>
                      <a:pt x="362" y="23"/>
                    </a:lnTo>
                    <a:lnTo>
                      <a:pt x="362" y="25"/>
                    </a:lnTo>
                    <a:lnTo>
                      <a:pt x="362" y="27"/>
                    </a:lnTo>
                    <a:lnTo>
                      <a:pt x="360" y="27"/>
                    </a:lnTo>
                    <a:lnTo>
                      <a:pt x="360" y="29"/>
                    </a:lnTo>
                    <a:lnTo>
                      <a:pt x="358" y="31"/>
                    </a:lnTo>
                    <a:lnTo>
                      <a:pt x="360" y="29"/>
                    </a:lnTo>
                    <a:lnTo>
                      <a:pt x="358" y="29"/>
                    </a:lnTo>
                    <a:lnTo>
                      <a:pt x="356" y="29"/>
                    </a:lnTo>
                    <a:lnTo>
                      <a:pt x="356" y="31"/>
                    </a:lnTo>
                    <a:lnTo>
                      <a:pt x="354" y="31"/>
                    </a:lnTo>
                    <a:lnTo>
                      <a:pt x="352" y="31"/>
                    </a:lnTo>
                    <a:lnTo>
                      <a:pt x="350" y="31"/>
                    </a:lnTo>
                    <a:lnTo>
                      <a:pt x="348" y="29"/>
                    </a:lnTo>
                    <a:close/>
                    <a:moveTo>
                      <a:pt x="144" y="173"/>
                    </a:moveTo>
                    <a:lnTo>
                      <a:pt x="144" y="171"/>
                    </a:lnTo>
                    <a:lnTo>
                      <a:pt x="144" y="173"/>
                    </a:lnTo>
                    <a:close/>
                    <a:moveTo>
                      <a:pt x="235" y="418"/>
                    </a:moveTo>
                    <a:lnTo>
                      <a:pt x="237" y="418"/>
                    </a:lnTo>
                    <a:lnTo>
                      <a:pt x="235" y="418"/>
                    </a:lnTo>
                    <a:close/>
                    <a:moveTo>
                      <a:pt x="248" y="460"/>
                    </a:moveTo>
                    <a:lnTo>
                      <a:pt x="248" y="458"/>
                    </a:lnTo>
                    <a:lnTo>
                      <a:pt x="248" y="460"/>
                    </a:lnTo>
                    <a:lnTo>
                      <a:pt x="248" y="458"/>
                    </a:lnTo>
                    <a:lnTo>
                      <a:pt x="246" y="458"/>
                    </a:lnTo>
                    <a:lnTo>
                      <a:pt x="248" y="460"/>
                    </a:lnTo>
                    <a:close/>
                    <a:moveTo>
                      <a:pt x="171" y="660"/>
                    </a:moveTo>
                    <a:lnTo>
                      <a:pt x="171" y="662"/>
                    </a:lnTo>
                    <a:lnTo>
                      <a:pt x="173" y="660"/>
                    </a:lnTo>
                    <a:lnTo>
                      <a:pt x="171" y="660"/>
                    </a:lnTo>
                    <a:lnTo>
                      <a:pt x="171" y="662"/>
                    </a:lnTo>
                    <a:lnTo>
                      <a:pt x="171" y="660"/>
                    </a:lnTo>
                    <a:lnTo>
                      <a:pt x="171" y="662"/>
                    </a:lnTo>
                    <a:lnTo>
                      <a:pt x="171" y="66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34">
                <a:extLst>
                  <a:ext uri="{FF2B5EF4-FFF2-40B4-BE49-F238E27FC236}">
                    <a16:creationId xmlns="" xmlns:a16="http://schemas.microsoft.com/office/drawing/2014/main" id="{F4147A8E-4347-4EE3-9297-154D833326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721600" y="2332038"/>
                <a:ext cx="708025" cy="1350963"/>
              </a:xfrm>
              <a:custGeom>
                <a:avLst/>
                <a:gdLst>
                  <a:gd name="T0" fmla="*/ 219 w 446"/>
                  <a:gd name="T1" fmla="*/ 828 h 851"/>
                  <a:gd name="T2" fmla="*/ 216 w 446"/>
                  <a:gd name="T3" fmla="*/ 830 h 851"/>
                  <a:gd name="T4" fmla="*/ 212 w 446"/>
                  <a:gd name="T5" fmla="*/ 826 h 851"/>
                  <a:gd name="T6" fmla="*/ 271 w 446"/>
                  <a:gd name="T7" fmla="*/ 769 h 851"/>
                  <a:gd name="T8" fmla="*/ 279 w 446"/>
                  <a:gd name="T9" fmla="*/ 724 h 851"/>
                  <a:gd name="T10" fmla="*/ 256 w 446"/>
                  <a:gd name="T11" fmla="*/ 695 h 851"/>
                  <a:gd name="T12" fmla="*/ 415 w 446"/>
                  <a:gd name="T13" fmla="*/ 463 h 851"/>
                  <a:gd name="T14" fmla="*/ 421 w 446"/>
                  <a:gd name="T15" fmla="*/ 465 h 851"/>
                  <a:gd name="T16" fmla="*/ 425 w 446"/>
                  <a:gd name="T17" fmla="*/ 463 h 851"/>
                  <a:gd name="T18" fmla="*/ 427 w 446"/>
                  <a:gd name="T19" fmla="*/ 465 h 851"/>
                  <a:gd name="T20" fmla="*/ 431 w 446"/>
                  <a:gd name="T21" fmla="*/ 465 h 851"/>
                  <a:gd name="T22" fmla="*/ 435 w 446"/>
                  <a:gd name="T23" fmla="*/ 465 h 851"/>
                  <a:gd name="T24" fmla="*/ 442 w 446"/>
                  <a:gd name="T25" fmla="*/ 467 h 851"/>
                  <a:gd name="T26" fmla="*/ 446 w 446"/>
                  <a:gd name="T27" fmla="*/ 467 h 851"/>
                  <a:gd name="T28" fmla="*/ 444 w 446"/>
                  <a:gd name="T29" fmla="*/ 469 h 851"/>
                  <a:gd name="T30" fmla="*/ 440 w 446"/>
                  <a:gd name="T31" fmla="*/ 469 h 851"/>
                  <a:gd name="T32" fmla="*/ 437 w 446"/>
                  <a:gd name="T33" fmla="*/ 467 h 851"/>
                  <a:gd name="T34" fmla="*/ 431 w 446"/>
                  <a:gd name="T35" fmla="*/ 469 h 851"/>
                  <a:gd name="T36" fmla="*/ 429 w 446"/>
                  <a:gd name="T37" fmla="*/ 467 h 851"/>
                  <a:gd name="T38" fmla="*/ 421 w 446"/>
                  <a:gd name="T39" fmla="*/ 467 h 851"/>
                  <a:gd name="T40" fmla="*/ 415 w 446"/>
                  <a:gd name="T41" fmla="*/ 465 h 851"/>
                  <a:gd name="T42" fmla="*/ 56 w 446"/>
                  <a:gd name="T43" fmla="*/ 642 h 851"/>
                  <a:gd name="T44" fmla="*/ 227 w 446"/>
                  <a:gd name="T45" fmla="*/ 505 h 851"/>
                  <a:gd name="T46" fmla="*/ 227 w 446"/>
                  <a:gd name="T47" fmla="*/ 499 h 851"/>
                  <a:gd name="T48" fmla="*/ 223 w 446"/>
                  <a:gd name="T49" fmla="*/ 501 h 851"/>
                  <a:gd name="T50" fmla="*/ 225 w 446"/>
                  <a:gd name="T51" fmla="*/ 501 h 851"/>
                  <a:gd name="T52" fmla="*/ 219 w 446"/>
                  <a:gd name="T53" fmla="*/ 507 h 851"/>
                  <a:gd name="T54" fmla="*/ 218 w 446"/>
                  <a:gd name="T55" fmla="*/ 505 h 851"/>
                  <a:gd name="T56" fmla="*/ 198 w 446"/>
                  <a:gd name="T57" fmla="*/ 519 h 851"/>
                  <a:gd name="T58" fmla="*/ 227 w 446"/>
                  <a:gd name="T59" fmla="*/ 488 h 851"/>
                  <a:gd name="T60" fmla="*/ 229 w 446"/>
                  <a:gd name="T61" fmla="*/ 490 h 851"/>
                  <a:gd name="T62" fmla="*/ 221 w 446"/>
                  <a:gd name="T63" fmla="*/ 494 h 851"/>
                  <a:gd name="T64" fmla="*/ 49 w 446"/>
                  <a:gd name="T65" fmla="*/ 569 h 851"/>
                  <a:gd name="T66" fmla="*/ 187 w 446"/>
                  <a:gd name="T67" fmla="*/ 436 h 851"/>
                  <a:gd name="T68" fmla="*/ 158 w 446"/>
                  <a:gd name="T69" fmla="*/ 417 h 851"/>
                  <a:gd name="T70" fmla="*/ 139 w 446"/>
                  <a:gd name="T71" fmla="*/ 417 h 851"/>
                  <a:gd name="T72" fmla="*/ 139 w 446"/>
                  <a:gd name="T73" fmla="*/ 417 h 851"/>
                  <a:gd name="T74" fmla="*/ 52 w 446"/>
                  <a:gd name="T75" fmla="*/ 447 h 851"/>
                  <a:gd name="T76" fmla="*/ 141 w 446"/>
                  <a:gd name="T77" fmla="*/ 328 h 851"/>
                  <a:gd name="T78" fmla="*/ 116 w 446"/>
                  <a:gd name="T79" fmla="*/ 338 h 851"/>
                  <a:gd name="T80" fmla="*/ 104 w 446"/>
                  <a:gd name="T81" fmla="*/ 315 h 851"/>
                  <a:gd name="T82" fmla="*/ 133 w 446"/>
                  <a:gd name="T83" fmla="*/ 282 h 851"/>
                  <a:gd name="T84" fmla="*/ 98 w 446"/>
                  <a:gd name="T85" fmla="*/ 280 h 851"/>
                  <a:gd name="T86" fmla="*/ 98 w 446"/>
                  <a:gd name="T87" fmla="*/ 278 h 851"/>
                  <a:gd name="T88" fmla="*/ 206 w 446"/>
                  <a:gd name="T89" fmla="*/ 140 h 851"/>
                  <a:gd name="T90" fmla="*/ 37 w 446"/>
                  <a:gd name="T91" fmla="*/ 288 h 851"/>
                  <a:gd name="T92" fmla="*/ 35 w 446"/>
                  <a:gd name="T93" fmla="*/ 282 h 851"/>
                  <a:gd name="T94" fmla="*/ 54 w 446"/>
                  <a:gd name="T95" fmla="*/ 249 h 851"/>
                  <a:gd name="T96" fmla="*/ 237 w 446"/>
                  <a:gd name="T97" fmla="*/ 49 h 851"/>
                  <a:gd name="T98" fmla="*/ 18 w 446"/>
                  <a:gd name="T99" fmla="*/ 219 h 851"/>
                  <a:gd name="T100" fmla="*/ 4 w 446"/>
                  <a:gd name="T101" fmla="*/ 223 h 851"/>
                  <a:gd name="T102" fmla="*/ 2 w 446"/>
                  <a:gd name="T103" fmla="*/ 224 h 851"/>
                  <a:gd name="T104" fmla="*/ 2 w 446"/>
                  <a:gd name="T105" fmla="*/ 221 h 851"/>
                  <a:gd name="T106" fmla="*/ 229 w 446"/>
                  <a:gd name="T107" fmla="*/ 0 h 851"/>
                  <a:gd name="T108" fmla="*/ 33 w 446"/>
                  <a:gd name="T109" fmla="*/ 123 h 851"/>
                  <a:gd name="T110" fmla="*/ 25 w 446"/>
                  <a:gd name="T111" fmla="*/ 126 h 851"/>
                  <a:gd name="T112" fmla="*/ 27 w 446"/>
                  <a:gd name="T113" fmla="*/ 124 h 851"/>
                  <a:gd name="T114" fmla="*/ 45 w 446"/>
                  <a:gd name="T115" fmla="*/ 101 h 851"/>
                  <a:gd name="T116" fmla="*/ 50 w 446"/>
                  <a:gd name="T117" fmla="*/ 96 h 8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46" h="851">
                    <a:moveTo>
                      <a:pt x="239" y="851"/>
                    </a:moveTo>
                    <a:lnTo>
                      <a:pt x="239" y="849"/>
                    </a:lnTo>
                    <a:lnTo>
                      <a:pt x="239" y="851"/>
                    </a:lnTo>
                    <a:close/>
                    <a:moveTo>
                      <a:pt x="219" y="828"/>
                    </a:moveTo>
                    <a:lnTo>
                      <a:pt x="219" y="830"/>
                    </a:lnTo>
                    <a:lnTo>
                      <a:pt x="219" y="828"/>
                    </a:lnTo>
                    <a:close/>
                    <a:moveTo>
                      <a:pt x="216" y="828"/>
                    </a:moveTo>
                    <a:lnTo>
                      <a:pt x="216" y="830"/>
                    </a:lnTo>
                    <a:lnTo>
                      <a:pt x="216" y="828"/>
                    </a:lnTo>
                    <a:close/>
                    <a:moveTo>
                      <a:pt x="214" y="828"/>
                    </a:moveTo>
                    <a:lnTo>
                      <a:pt x="214" y="826"/>
                    </a:lnTo>
                    <a:lnTo>
                      <a:pt x="212" y="826"/>
                    </a:lnTo>
                    <a:lnTo>
                      <a:pt x="214" y="826"/>
                    </a:lnTo>
                    <a:lnTo>
                      <a:pt x="214" y="828"/>
                    </a:lnTo>
                    <a:close/>
                    <a:moveTo>
                      <a:pt x="271" y="767"/>
                    </a:moveTo>
                    <a:lnTo>
                      <a:pt x="271" y="769"/>
                    </a:lnTo>
                    <a:lnTo>
                      <a:pt x="271" y="767"/>
                    </a:lnTo>
                    <a:close/>
                    <a:moveTo>
                      <a:pt x="279" y="724"/>
                    </a:moveTo>
                    <a:lnTo>
                      <a:pt x="277" y="724"/>
                    </a:lnTo>
                    <a:lnTo>
                      <a:pt x="279" y="724"/>
                    </a:lnTo>
                    <a:close/>
                    <a:moveTo>
                      <a:pt x="258" y="695"/>
                    </a:moveTo>
                    <a:lnTo>
                      <a:pt x="256" y="695"/>
                    </a:lnTo>
                    <a:lnTo>
                      <a:pt x="258" y="695"/>
                    </a:lnTo>
                    <a:lnTo>
                      <a:pt x="256" y="695"/>
                    </a:lnTo>
                    <a:lnTo>
                      <a:pt x="256" y="694"/>
                    </a:lnTo>
                    <a:lnTo>
                      <a:pt x="258" y="694"/>
                    </a:lnTo>
                    <a:lnTo>
                      <a:pt x="258" y="695"/>
                    </a:lnTo>
                    <a:close/>
                    <a:moveTo>
                      <a:pt x="415" y="463"/>
                    </a:moveTo>
                    <a:lnTo>
                      <a:pt x="417" y="463"/>
                    </a:lnTo>
                    <a:lnTo>
                      <a:pt x="417" y="465"/>
                    </a:lnTo>
                    <a:lnTo>
                      <a:pt x="419" y="465"/>
                    </a:lnTo>
                    <a:lnTo>
                      <a:pt x="421" y="465"/>
                    </a:lnTo>
                    <a:lnTo>
                      <a:pt x="421" y="463"/>
                    </a:lnTo>
                    <a:lnTo>
                      <a:pt x="423" y="463"/>
                    </a:lnTo>
                    <a:lnTo>
                      <a:pt x="423" y="465"/>
                    </a:lnTo>
                    <a:lnTo>
                      <a:pt x="425" y="463"/>
                    </a:lnTo>
                    <a:lnTo>
                      <a:pt x="427" y="463"/>
                    </a:lnTo>
                    <a:lnTo>
                      <a:pt x="427" y="465"/>
                    </a:lnTo>
                    <a:lnTo>
                      <a:pt x="427" y="463"/>
                    </a:lnTo>
                    <a:lnTo>
                      <a:pt x="427" y="465"/>
                    </a:lnTo>
                    <a:lnTo>
                      <a:pt x="429" y="465"/>
                    </a:lnTo>
                    <a:lnTo>
                      <a:pt x="431" y="465"/>
                    </a:lnTo>
                    <a:lnTo>
                      <a:pt x="431" y="463"/>
                    </a:lnTo>
                    <a:lnTo>
                      <a:pt x="431" y="465"/>
                    </a:lnTo>
                    <a:lnTo>
                      <a:pt x="433" y="465"/>
                    </a:lnTo>
                    <a:lnTo>
                      <a:pt x="435" y="465"/>
                    </a:lnTo>
                    <a:lnTo>
                      <a:pt x="435" y="463"/>
                    </a:lnTo>
                    <a:lnTo>
                      <a:pt x="435" y="465"/>
                    </a:lnTo>
                    <a:lnTo>
                      <a:pt x="437" y="465"/>
                    </a:lnTo>
                    <a:lnTo>
                      <a:pt x="439" y="467"/>
                    </a:lnTo>
                    <a:lnTo>
                      <a:pt x="440" y="467"/>
                    </a:lnTo>
                    <a:lnTo>
                      <a:pt x="442" y="467"/>
                    </a:lnTo>
                    <a:lnTo>
                      <a:pt x="444" y="467"/>
                    </a:lnTo>
                    <a:lnTo>
                      <a:pt x="446" y="467"/>
                    </a:lnTo>
                    <a:lnTo>
                      <a:pt x="446" y="469"/>
                    </a:lnTo>
                    <a:lnTo>
                      <a:pt x="446" y="467"/>
                    </a:lnTo>
                    <a:lnTo>
                      <a:pt x="444" y="467"/>
                    </a:lnTo>
                    <a:lnTo>
                      <a:pt x="444" y="469"/>
                    </a:lnTo>
                    <a:lnTo>
                      <a:pt x="444" y="467"/>
                    </a:lnTo>
                    <a:lnTo>
                      <a:pt x="444" y="469"/>
                    </a:lnTo>
                    <a:lnTo>
                      <a:pt x="444" y="467"/>
                    </a:lnTo>
                    <a:lnTo>
                      <a:pt x="442" y="467"/>
                    </a:lnTo>
                    <a:lnTo>
                      <a:pt x="440" y="467"/>
                    </a:lnTo>
                    <a:lnTo>
                      <a:pt x="440" y="469"/>
                    </a:lnTo>
                    <a:lnTo>
                      <a:pt x="440" y="467"/>
                    </a:lnTo>
                    <a:lnTo>
                      <a:pt x="439" y="469"/>
                    </a:lnTo>
                    <a:lnTo>
                      <a:pt x="439" y="467"/>
                    </a:lnTo>
                    <a:lnTo>
                      <a:pt x="437" y="467"/>
                    </a:lnTo>
                    <a:lnTo>
                      <a:pt x="435" y="467"/>
                    </a:lnTo>
                    <a:lnTo>
                      <a:pt x="433" y="467"/>
                    </a:lnTo>
                    <a:lnTo>
                      <a:pt x="431" y="467"/>
                    </a:lnTo>
                    <a:lnTo>
                      <a:pt x="431" y="469"/>
                    </a:lnTo>
                    <a:lnTo>
                      <a:pt x="431" y="467"/>
                    </a:lnTo>
                    <a:lnTo>
                      <a:pt x="429" y="467"/>
                    </a:lnTo>
                    <a:lnTo>
                      <a:pt x="427" y="467"/>
                    </a:lnTo>
                    <a:lnTo>
                      <a:pt x="429" y="467"/>
                    </a:lnTo>
                    <a:lnTo>
                      <a:pt x="427" y="467"/>
                    </a:lnTo>
                    <a:lnTo>
                      <a:pt x="425" y="467"/>
                    </a:lnTo>
                    <a:lnTo>
                      <a:pt x="423" y="467"/>
                    </a:lnTo>
                    <a:lnTo>
                      <a:pt x="421" y="467"/>
                    </a:lnTo>
                    <a:lnTo>
                      <a:pt x="419" y="467"/>
                    </a:lnTo>
                    <a:lnTo>
                      <a:pt x="417" y="467"/>
                    </a:lnTo>
                    <a:lnTo>
                      <a:pt x="415" y="467"/>
                    </a:lnTo>
                    <a:lnTo>
                      <a:pt x="415" y="465"/>
                    </a:lnTo>
                    <a:lnTo>
                      <a:pt x="414" y="465"/>
                    </a:lnTo>
                    <a:lnTo>
                      <a:pt x="414" y="463"/>
                    </a:lnTo>
                    <a:lnTo>
                      <a:pt x="415" y="463"/>
                    </a:lnTo>
                    <a:close/>
                    <a:moveTo>
                      <a:pt x="56" y="642"/>
                    </a:moveTo>
                    <a:lnTo>
                      <a:pt x="56" y="640"/>
                    </a:lnTo>
                    <a:lnTo>
                      <a:pt x="56" y="642"/>
                    </a:lnTo>
                    <a:close/>
                    <a:moveTo>
                      <a:pt x="227" y="503"/>
                    </a:moveTo>
                    <a:lnTo>
                      <a:pt x="227" y="505"/>
                    </a:lnTo>
                    <a:lnTo>
                      <a:pt x="227" y="503"/>
                    </a:lnTo>
                    <a:close/>
                    <a:moveTo>
                      <a:pt x="227" y="499"/>
                    </a:moveTo>
                    <a:lnTo>
                      <a:pt x="227" y="501"/>
                    </a:lnTo>
                    <a:lnTo>
                      <a:pt x="227" y="499"/>
                    </a:lnTo>
                    <a:close/>
                    <a:moveTo>
                      <a:pt x="231" y="497"/>
                    </a:moveTo>
                    <a:lnTo>
                      <a:pt x="229" y="497"/>
                    </a:lnTo>
                    <a:lnTo>
                      <a:pt x="231" y="497"/>
                    </a:lnTo>
                    <a:close/>
                    <a:moveTo>
                      <a:pt x="223" y="501"/>
                    </a:moveTo>
                    <a:lnTo>
                      <a:pt x="223" y="503"/>
                    </a:lnTo>
                    <a:lnTo>
                      <a:pt x="223" y="501"/>
                    </a:lnTo>
                    <a:close/>
                    <a:moveTo>
                      <a:pt x="223" y="501"/>
                    </a:moveTo>
                    <a:lnTo>
                      <a:pt x="225" y="501"/>
                    </a:lnTo>
                    <a:lnTo>
                      <a:pt x="223" y="501"/>
                    </a:lnTo>
                    <a:close/>
                    <a:moveTo>
                      <a:pt x="221" y="505"/>
                    </a:moveTo>
                    <a:lnTo>
                      <a:pt x="219" y="505"/>
                    </a:lnTo>
                    <a:lnTo>
                      <a:pt x="219" y="507"/>
                    </a:lnTo>
                    <a:lnTo>
                      <a:pt x="218" y="507"/>
                    </a:lnTo>
                    <a:lnTo>
                      <a:pt x="218" y="509"/>
                    </a:lnTo>
                    <a:lnTo>
                      <a:pt x="218" y="507"/>
                    </a:lnTo>
                    <a:lnTo>
                      <a:pt x="218" y="505"/>
                    </a:lnTo>
                    <a:lnTo>
                      <a:pt x="219" y="505"/>
                    </a:lnTo>
                    <a:lnTo>
                      <a:pt x="221" y="505"/>
                    </a:lnTo>
                    <a:close/>
                    <a:moveTo>
                      <a:pt x="198" y="517"/>
                    </a:moveTo>
                    <a:lnTo>
                      <a:pt x="198" y="519"/>
                    </a:lnTo>
                    <a:lnTo>
                      <a:pt x="198" y="517"/>
                    </a:lnTo>
                    <a:lnTo>
                      <a:pt x="198" y="519"/>
                    </a:lnTo>
                    <a:lnTo>
                      <a:pt x="198" y="517"/>
                    </a:lnTo>
                    <a:close/>
                    <a:moveTo>
                      <a:pt x="227" y="488"/>
                    </a:moveTo>
                    <a:lnTo>
                      <a:pt x="227" y="490"/>
                    </a:lnTo>
                    <a:lnTo>
                      <a:pt x="227" y="488"/>
                    </a:lnTo>
                    <a:lnTo>
                      <a:pt x="229" y="488"/>
                    </a:lnTo>
                    <a:lnTo>
                      <a:pt x="229" y="490"/>
                    </a:lnTo>
                    <a:lnTo>
                      <a:pt x="227" y="490"/>
                    </a:lnTo>
                    <a:lnTo>
                      <a:pt x="227" y="488"/>
                    </a:lnTo>
                    <a:close/>
                    <a:moveTo>
                      <a:pt x="219" y="494"/>
                    </a:moveTo>
                    <a:lnTo>
                      <a:pt x="221" y="494"/>
                    </a:lnTo>
                    <a:lnTo>
                      <a:pt x="223" y="494"/>
                    </a:lnTo>
                    <a:lnTo>
                      <a:pt x="221" y="494"/>
                    </a:lnTo>
                    <a:lnTo>
                      <a:pt x="219" y="494"/>
                    </a:lnTo>
                    <a:close/>
                    <a:moveTo>
                      <a:pt x="49" y="569"/>
                    </a:moveTo>
                    <a:lnTo>
                      <a:pt x="47" y="569"/>
                    </a:lnTo>
                    <a:lnTo>
                      <a:pt x="49" y="569"/>
                    </a:lnTo>
                    <a:close/>
                    <a:moveTo>
                      <a:pt x="187" y="438"/>
                    </a:moveTo>
                    <a:lnTo>
                      <a:pt x="187" y="436"/>
                    </a:lnTo>
                    <a:lnTo>
                      <a:pt x="187" y="438"/>
                    </a:lnTo>
                    <a:close/>
                    <a:moveTo>
                      <a:pt x="158" y="417"/>
                    </a:moveTo>
                    <a:lnTo>
                      <a:pt x="158" y="419"/>
                    </a:lnTo>
                    <a:lnTo>
                      <a:pt x="158" y="417"/>
                    </a:lnTo>
                    <a:close/>
                    <a:moveTo>
                      <a:pt x="141" y="419"/>
                    </a:moveTo>
                    <a:lnTo>
                      <a:pt x="139" y="419"/>
                    </a:lnTo>
                    <a:lnTo>
                      <a:pt x="141" y="419"/>
                    </a:lnTo>
                    <a:close/>
                    <a:moveTo>
                      <a:pt x="139" y="417"/>
                    </a:moveTo>
                    <a:lnTo>
                      <a:pt x="139" y="419"/>
                    </a:lnTo>
                    <a:lnTo>
                      <a:pt x="139" y="417"/>
                    </a:lnTo>
                    <a:close/>
                    <a:moveTo>
                      <a:pt x="139" y="415"/>
                    </a:moveTo>
                    <a:lnTo>
                      <a:pt x="139" y="417"/>
                    </a:lnTo>
                    <a:lnTo>
                      <a:pt x="139" y="415"/>
                    </a:lnTo>
                    <a:lnTo>
                      <a:pt x="137" y="415"/>
                    </a:lnTo>
                    <a:lnTo>
                      <a:pt x="139" y="415"/>
                    </a:lnTo>
                    <a:close/>
                    <a:moveTo>
                      <a:pt x="52" y="447"/>
                    </a:moveTo>
                    <a:lnTo>
                      <a:pt x="52" y="446"/>
                    </a:lnTo>
                    <a:lnTo>
                      <a:pt x="52" y="447"/>
                    </a:lnTo>
                    <a:close/>
                    <a:moveTo>
                      <a:pt x="143" y="328"/>
                    </a:moveTo>
                    <a:lnTo>
                      <a:pt x="141" y="328"/>
                    </a:lnTo>
                    <a:lnTo>
                      <a:pt x="143" y="328"/>
                    </a:lnTo>
                    <a:close/>
                    <a:moveTo>
                      <a:pt x="116" y="338"/>
                    </a:moveTo>
                    <a:lnTo>
                      <a:pt x="114" y="338"/>
                    </a:lnTo>
                    <a:lnTo>
                      <a:pt x="116" y="338"/>
                    </a:lnTo>
                    <a:close/>
                    <a:moveTo>
                      <a:pt x="104" y="315"/>
                    </a:moveTo>
                    <a:lnTo>
                      <a:pt x="102" y="315"/>
                    </a:lnTo>
                    <a:lnTo>
                      <a:pt x="102" y="313"/>
                    </a:lnTo>
                    <a:lnTo>
                      <a:pt x="104" y="315"/>
                    </a:lnTo>
                    <a:close/>
                    <a:moveTo>
                      <a:pt x="133" y="280"/>
                    </a:moveTo>
                    <a:lnTo>
                      <a:pt x="135" y="280"/>
                    </a:lnTo>
                    <a:lnTo>
                      <a:pt x="135" y="282"/>
                    </a:lnTo>
                    <a:lnTo>
                      <a:pt x="133" y="282"/>
                    </a:lnTo>
                    <a:lnTo>
                      <a:pt x="133" y="280"/>
                    </a:lnTo>
                    <a:close/>
                    <a:moveTo>
                      <a:pt x="98" y="280"/>
                    </a:moveTo>
                    <a:lnTo>
                      <a:pt x="97" y="280"/>
                    </a:lnTo>
                    <a:lnTo>
                      <a:pt x="98" y="280"/>
                    </a:lnTo>
                    <a:close/>
                    <a:moveTo>
                      <a:pt x="98" y="280"/>
                    </a:moveTo>
                    <a:lnTo>
                      <a:pt x="97" y="280"/>
                    </a:lnTo>
                    <a:lnTo>
                      <a:pt x="97" y="278"/>
                    </a:lnTo>
                    <a:lnTo>
                      <a:pt x="98" y="278"/>
                    </a:lnTo>
                    <a:lnTo>
                      <a:pt x="98" y="280"/>
                    </a:lnTo>
                    <a:close/>
                    <a:moveTo>
                      <a:pt x="208" y="140"/>
                    </a:moveTo>
                    <a:lnTo>
                      <a:pt x="206" y="142"/>
                    </a:lnTo>
                    <a:lnTo>
                      <a:pt x="206" y="140"/>
                    </a:lnTo>
                    <a:lnTo>
                      <a:pt x="208" y="140"/>
                    </a:lnTo>
                    <a:lnTo>
                      <a:pt x="206" y="140"/>
                    </a:lnTo>
                    <a:lnTo>
                      <a:pt x="208" y="140"/>
                    </a:lnTo>
                    <a:close/>
                    <a:moveTo>
                      <a:pt x="37" y="288"/>
                    </a:moveTo>
                    <a:lnTo>
                      <a:pt x="37" y="286"/>
                    </a:lnTo>
                    <a:lnTo>
                      <a:pt x="37" y="288"/>
                    </a:lnTo>
                    <a:close/>
                    <a:moveTo>
                      <a:pt x="37" y="282"/>
                    </a:moveTo>
                    <a:lnTo>
                      <a:pt x="35" y="282"/>
                    </a:lnTo>
                    <a:lnTo>
                      <a:pt x="37" y="282"/>
                    </a:lnTo>
                    <a:close/>
                    <a:moveTo>
                      <a:pt x="54" y="249"/>
                    </a:moveTo>
                    <a:lnTo>
                      <a:pt x="54" y="251"/>
                    </a:lnTo>
                    <a:lnTo>
                      <a:pt x="54" y="249"/>
                    </a:lnTo>
                    <a:close/>
                    <a:moveTo>
                      <a:pt x="49" y="244"/>
                    </a:moveTo>
                    <a:lnTo>
                      <a:pt x="49" y="246"/>
                    </a:lnTo>
                    <a:lnTo>
                      <a:pt x="49" y="244"/>
                    </a:lnTo>
                    <a:close/>
                    <a:moveTo>
                      <a:pt x="237" y="49"/>
                    </a:moveTo>
                    <a:lnTo>
                      <a:pt x="237" y="51"/>
                    </a:lnTo>
                    <a:lnTo>
                      <a:pt x="237" y="49"/>
                    </a:lnTo>
                    <a:close/>
                    <a:moveTo>
                      <a:pt x="18" y="221"/>
                    </a:moveTo>
                    <a:lnTo>
                      <a:pt x="18" y="219"/>
                    </a:lnTo>
                    <a:lnTo>
                      <a:pt x="18" y="221"/>
                    </a:lnTo>
                    <a:close/>
                    <a:moveTo>
                      <a:pt x="2" y="221"/>
                    </a:moveTo>
                    <a:lnTo>
                      <a:pt x="4" y="221"/>
                    </a:lnTo>
                    <a:lnTo>
                      <a:pt x="4" y="223"/>
                    </a:lnTo>
                    <a:lnTo>
                      <a:pt x="2" y="223"/>
                    </a:lnTo>
                    <a:lnTo>
                      <a:pt x="2" y="224"/>
                    </a:lnTo>
                    <a:lnTo>
                      <a:pt x="2" y="223"/>
                    </a:lnTo>
                    <a:lnTo>
                      <a:pt x="2" y="224"/>
                    </a:lnTo>
                    <a:lnTo>
                      <a:pt x="2" y="223"/>
                    </a:lnTo>
                    <a:lnTo>
                      <a:pt x="0" y="223"/>
                    </a:lnTo>
                    <a:lnTo>
                      <a:pt x="2" y="223"/>
                    </a:lnTo>
                    <a:lnTo>
                      <a:pt x="2" y="221"/>
                    </a:lnTo>
                    <a:close/>
                    <a:moveTo>
                      <a:pt x="227" y="0"/>
                    </a:moveTo>
                    <a:lnTo>
                      <a:pt x="229" y="0"/>
                    </a:lnTo>
                    <a:lnTo>
                      <a:pt x="227" y="0"/>
                    </a:lnTo>
                    <a:lnTo>
                      <a:pt x="229" y="0"/>
                    </a:lnTo>
                    <a:lnTo>
                      <a:pt x="227" y="0"/>
                    </a:lnTo>
                    <a:close/>
                    <a:moveTo>
                      <a:pt x="33" y="123"/>
                    </a:moveTo>
                    <a:lnTo>
                      <a:pt x="35" y="121"/>
                    </a:lnTo>
                    <a:lnTo>
                      <a:pt x="33" y="123"/>
                    </a:lnTo>
                    <a:close/>
                    <a:moveTo>
                      <a:pt x="25" y="126"/>
                    </a:moveTo>
                    <a:lnTo>
                      <a:pt x="25" y="128"/>
                    </a:lnTo>
                    <a:lnTo>
                      <a:pt x="24" y="128"/>
                    </a:lnTo>
                    <a:lnTo>
                      <a:pt x="25" y="126"/>
                    </a:lnTo>
                    <a:close/>
                    <a:moveTo>
                      <a:pt x="27" y="124"/>
                    </a:moveTo>
                    <a:lnTo>
                      <a:pt x="29" y="124"/>
                    </a:lnTo>
                    <a:lnTo>
                      <a:pt x="27" y="124"/>
                    </a:lnTo>
                    <a:close/>
                    <a:moveTo>
                      <a:pt x="27" y="124"/>
                    </a:moveTo>
                    <a:lnTo>
                      <a:pt x="29" y="124"/>
                    </a:lnTo>
                    <a:lnTo>
                      <a:pt x="27" y="124"/>
                    </a:lnTo>
                    <a:close/>
                    <a:moveTo>
                      <a:pt x="47" y="101"/>
                    </a:moveTo>
                    <a:lnTo>
                      <a:pt x="45" y="101"/>
                    </a:lnTo>
                    <a:lnTo>
                      <a:pt x="47" y="101"/>
                    </a:lnTo>
                    <a:close/>
                    <a:moveTo>
                      <a:pt x="50" y="96"/>
                    </a:moveTo>
                    <a:lnTo>
                      <a:pt x="52" y="96"/>
                    </a:lnTo>
                    <a:lnTo>
                      <a:pt x="50" y="9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35">
                <a:extLst>
                  <a:ext uri="{FF2B5EF4-FFF2-40B4-BE49-F238E27FC236}">
                    <a16:creationId xmlns="" xmlns:a16="http://schemas.microsoft.com/office/drawing/2014/main" id="{9C685466-635E-41F9-99C3-8BB2528C3B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691438" y="2297113"/>
                <a:ext cx="687388" cy="1398588"/>
              </a:xfrm>
              <a:custGeom>
                <a:avLst/>
                <a:gdLst>
                  <a:gd name="T0" fmla="*/ 313 w 433"/>
                  <a:gd name="T1" fmla="*/ 856 h 881"/>
                  <a:gd name="T2" fmla="*/ 238 w 433"/>
                  <a:gd name="T3" fmla="*/ 852 h 881"/>
                  <a:gd name="T4" fmla="*/ 235 w 433"/>
                  <a:gd name="T5" fmla="*/ 850 h 881"/>
                  <a:gd name="T6" fmla="*/ 285 w 433"/>
                  <a:gd name="T7" fmla="*/ 714 h 881"/>
                  <a:gd name="T8" fmla="*/ 275 w 433"/>
                  <a:gd name="T9" fmla="*/ 719 h 881"/>
                  <a:gd name="T10" fmla="*/ 277 w 433"/>
                  <a:gd name="T11" fmla="*/ 719 h 881"/>
                  <a:gd name="T12" fmla="*/ 277 w 433"/>
                  <a:gd name="T13" fmla="*/ 719 h 881"/>
                  <a:gd name="T14" fmla="*/ 273 w 433"/>
                  <a:gd name="T15" fmla="*/ 719 h 881"/>
                  <a:gd name="T16" fmla="*/ 275 w 433"/>
                  <a:gd name="T17" fmla="*/ 719 h 881"/>
                  <a:gd name="T18" fmla="*/ 431 w 433"/>
                  <a:gd name="T19" fmla="*/ 485 h 881"/>
                  <a:gd name="T20" fmla="*/ 375 w 433"/>
                  <a:gd name="T21" fmla="*/ 506 h 881"/>
                  <a:gd name="T22" fmla="*/ 246 w 433"/>
                  <a:gd name="T23" fmla="*/ 525 h 881"/>
                  <a:gd name="T24" fmla="*/ 248 w 433"/>
                  <a:gd name="T25" fmla="*/ 521 h 881"/>
                  <a:gd name="T26" fmla="*/ 237 w 433"/>
                  <a:gd name="T27" fmla="*/ 527 h 881"/>
                  <a:gd name="T28" fmla="*/ 219 w 433"/>
                  <a:gd name="T29" fmla="*/ 541 h 881"/>
                  <a:gd name="T30" fmla="*/ 64 w 433"/>
                  <a:gd name="T31" fmla="*/ 627 h 881"/>
                  <a:gd name="T32" fmla="*/ 237 w 433"/>
                  <a:gd name="T33" fmla="*/ 491 h 881"/>
                  <a:gd name="T34" fmla="*/ 77 w 433"/>
                  <a:gd name="T35" fmla="*/ 598 h 881"/>
                  <a:gd name="T36" fmla="*/ 206 w 433"/>
                  <a:gd name="T37" fmla="*/ 458 h 881"/>
                  <a:gd name="T38" fmla="*/ 73 w 433"/>
                  <a:gd name="T39" fmla="*/ 512 h 881"/>
                  <a:gd name="T40" fmla="*/ 71 w 433"/>
                  <a:gd name="T41" fmla="*/ 469 h 881"/>
                  <a:gd name="T42" fmla="*/ 141 w 433"/>
                  <a:gd name="T43" fmla="*/ 387 h 881"/>
                  <a:gd name="T44" fmla="*/ 141 w 433"/>
                  <a:gd name="T45" fmla="*/ 377 h 881"/>
                  <a:gd name="T46" fmla="*/ 54 w 433"/>
                  <a:gd name="T47" fmla="*/ 343 h 881"/>
                  <a:gd name="T48" fmla="*/ 50 w 433"/>
                  <a:gd name="T49" fmla="*/ 344 h 881"/>
                  <a:gd name="T50" fmla="*/ 60 w 433"/>
                  <a:gd name="T51" fmla="*/ 323 h 881"/>
                  <a:gd name="T52" fmla="*/ 142 w 433"/>
                  <a:gd name="T53" fmla="*/ 254 h 881"/>
                  <a:gd name="T54" fmla="*/ 227 w 433"/>
                  <a:gd name="T55" fmla="*/ 162 h 881"/>
                  <a:gd name="T56" fmla="*/ 215 w 433"/>
                  <a:gd name="T57" fmla="*/ 164 h 881"/>
                  <a:gd name="T58" fmla="*/ 215 w 433"/>
                  <a:gd name="T59" fmla="*/ 162 h 881"/>
                  <a:gd name="T60" fmla="*/ 215 w 433"/>
                  <a:gd name="T61" fmla="*/ 162 h 881"/>
                  <a:gd name="T62" fmla="*/ 215 w 433"/>
                  <a:gd name="T63" fmla="*/ 164 h 881"/>
                  <a:gd name="T64" fmla="*/ 210 w 433"/>
                  <a:gd name="T65" fmla="*/ 168 h 881"/>
                  <a:gd name="T66" fmla="*/ 214 w 433"/>
                  <a:gd name="T67" fmla="*/ 162 h 881"/>
                  <a:gd name="T68" fmla="*/ 60 w 433"/>
                  <a:gd name="T69" fmla="*/ 298 h 881"/>
                  <a:gd name="T70" fmla="*/ 214 w 433"/>
                  <a:gd name="T71" fmla="*/ 164 h 881"/>
                  <a:gd name="T72" fmla="*/ 210 w 433"/>
                  <a:gd name="T73" fmla="*/ 166 h 881"/>
                  <a:gd name="T74" fmla="*/ 62 w 433"/>
                  <a:gd name="T75" fmla="*/ 296 h 881"/>
                  <a:gd name="T76" fmla="*/ 210 w 433"/>
                  <a:gd name="T77" fmla="*/ 162 h 881"/>
                  <a:gd name="T78" fmla="*/ 79 w 433"/>
                  <a:gd name="T79" fmla="*/ 260 h 881"/>
                  <a:gd name="T80" fmla="*/ 250 w 433"/>
                  <a:gd name="T81" fmla="*/ 48 h 881"/>
                  <a:gd name="T82" fmla="*/ 254 w 433"/>
                  <a:gd name="T83" fmla="*/ 35 h 881"/>
                  <a:gd name="T84" fmla="*/ 21 w 433"/>
                  <a:gd name="T85" fmla="*/ 243 h 881"/>
                  <a:gd name="T86" fmla="*/ 27 w 433"/>
                  <a:gd name="T87" fmla="*/ 225 h 881"/>
                  <a:gd name="T88" fmla="*/ 262 w 433"/>
                  <a:gd name="T89" fmla="*/ 0 h 881"/>
                  <a:gd name="T90" fmla="*/ 262 w 433"/>
                  <a:gd name="T91" fmla="*/ 0 h 881"/>
                  <a:gd name="T92" fmla="*/ 66 w 433"/>
                  <a:gd name="T93" fmla="*/ 135 h 881"/>
                  <a:gd name="T94" fmla="*/ 0 w 433"/>
                  <a:gd name="T95" fmla="*/ 191 h 881"/>
                  <a:gd name="T96" fmla="*/ 48 w 433"/>
                  <a:gd name="T97" fmla="*/ 146 h 881"/>
                  <a:gd name="T98" fmla="*/ 43 w 433"/>
                  <a:gd name="T99" fmla="*/ 148 h 881"/>
                  <a:gd name="T100" fmla="*/ 68 w 433"/>
                  <a:gd name="T101" fmla="*/ 95 h 881"/>
                  <a:gd name="T102" fmla="*/ 66 w 433"/>
                  <a:gd name="T103" fmla="*/ 95 h 8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33" h="881">
                    <a:moveTo>
                      <a:pt x="317" y="881"/>
                    </a:moveTo>
                    <a:lnTo>
                      <a:pt x="317" y="879"/>
                    </a:lnTo>
                    <a:lnTo>
                      <a:pt x="317" y="881"/>
                    </a:lnTo>
                    <a:close/>
                    <a:moveTo>
                      <a:pt x="313" y="856"/>
                    </a:moveTo>
                    <a:lnTo>
                      <a:pt x="313" y="858"/>
                    </a:lnTo>
                    <a:lnTo>
                      <a:pt x="313" y="856"/>
                    </a:lnTo>
                    <a:close/>
                    <a:moveTo>
                      <a:pt x="240" y="852"/>
                    </a:moveTo>
                    <a:lnTo>
                      <a:pt x="238" y="852"/>
                    </a:lnTo>
                    <a:lnTo>
                      <a:pt x="240" y="852"/>
                    </a:lnTo>
                    <a:close/>
                    <a:moveTo>
                      <a:pt x="235" y="850"/>
                    </a:moveTo>
                    <a:lnTo>
                      <a:pt x="233" y="850"/>
                    </a:lnTo>
                    <a:lnTo>
                      <a:pt x="235" y="850"/>
                    </a:lnTo>
                    <a:close/>
                    <a:moveTo>
                      <a:pt x="292" y="716"/>
                    </a:moveTo>
                    <a:lnTo>
                      <a:pt x="290" y="716"/>
                    </a:lnTo>
                    <a:lnTo>
                      <a:pt x="292" y="716"/>
                    </a:lnTo>
                    <a:close/>
                    <a:moveTo>
                      <a:pt x="285" y="714"/>
                    </a:moveTo>
                    <a:lnTo>
                      <a:pt x="287" y="714"/>
                    </a:lnTo>
                    <a:lnTo>
                      <a:pt x="285" y="714"/>
                    </a:lnTo>
                    <a:close/>
                    <a:moveTo>
                      <a:pt x="277" y="719"/>
                    </a:moveTo>
                    <a:lnTo>
                      <a:pt x="275" y="719"/>
                    </a:lnTo>
                    <a:lnTo>
                      <a:pt x="277" y="719"/>
                    </a:lnTo>
                    <a:close/>
                    <a:moveTo>
                      <a:pt x="277" y="719"/>
                    </a:moveTo>
                    <a:lnTo>
                      <a:pt x="275" y="719"/>
                    </a:lnTo>
                    <a:lnTo>
                      <a:pt x="277" y="719"/>
                    </a:lnTo>
                    <a:close/>
                    <a:moveTo>
                      <a:pt x="277" y="719"/>
                    </a:moveTo>
                    <a:lnTo>
                      <a:pt x="275" y="719"/>
                    </a:lnTo>
                    <a:lnTo>
                      <a:pt x="277" y="719"/>
                    </a:lnTo>
                    <a:close/>
                    <a:moveTo>
                      <a:pt x="277" y="719"/>
                    </a:moveTo>
                    <a:lnTo>
                      <a:pt x="275" y="719"/>
                    </a:lnTo>
                    <a:lnTo>
                      <a:pt x="277" y="719"/>
                    </a:lnTo>
                    <a:close/>
                    <a:moveTo>
                      <a:pt x="273" y="721"/>
                    </a:moveTo>
                    <a:lnTo>
                      <a:pt x="273" y="719"/>
                    </a:lnTo>
                    <a:lnTo>
                      <a:pt x="273" y="721"/>
                    </a:lnTo>
                    <a:close/>
                    <a:moveTo>
                      <a:pt x="275" y="719"/>
                    </a:moveTo>
                    <a:lnTo>
                      <a:pt x="273" y="719"/>
                    </a:lnTo>
                    <a:lnTo>
                      <a:pt x="275" y="719"/>
                    </a:lnTo>
                    <a:close/>
                    <a:moveTo>
                      <a:pt x="277" y="716"/>
                    </a:moveTo>
                    <a:lnTo>
                      <a:pt x="277" y="714"/>
                    </a:lnTo>
                    <a:lnTo>
                      <a:pt x="277" y="716"/>
                    </a:lnTo>
                    <a:close/>
                    <a:moveTo>
                      <a:pt x="431" y="485"/>
                    </a:moveTo>
                    <a:lnTo>
                      <a:pt x="433" y="485"/>
                    </a:lnTo>
                    <a:lnTo>
                      <a:pt x="431" y="485"/>
                    </a:lnTo>
                    <a:close/>
                    <a:moveTo>
                      <a:pt x="375" y="504"/>
                    </a:moveTo>
                    <a:lnTo>
                      <a:pt x="375" y="506"/>
                    </a:lnTo>
                    <a:lnTo>
                      <a:pt x="375" y="504"/>
                    </a:lnTo>
                    <a:close/>
                    <a:moveTo>
                      <a:pt x="246" y="525"/>
                    </a:moveTo>
                    <a:lnTo>
                      <a:pt x="246" y="527"/>
                    </a:lnTo>
                    <a:lnTo>
                      <a:pt x="246" y="525"/>
                    </a:lnTo>
                    <a:close/>
                    <a:moveTo>
                      <a:pt x="248" y="521"/>
                    </a:moveTo>
                    <a:lnTo>
                      <a:pt x="248" y="523"/>
                    </a:lnTo>
                    <a:lnTo>
                      <a:pt x="248" y="521"/>
                    </a:lnTo>
                    <a:close/>
                    <a:moveTo>
                      <a:pt x="248" y="521"/>
                    </a:moveTo>
                    <a:lnTo>
                      <a:pt x="246" y="521"/>
                    </a:lnTo>
                    <a:lnTo>
                      <a:pt x="248" y="521"/>
                    </a:lnTo>
                    <a:close/>
                    <a:moveTo>
                      <a:pt x="237" y="529"/>
                    </a:moveTo>
                    <a:lnTo>
                      <a:pt x="237" y="527"/>
                    </a:lnTo>
                    <a:lnTo>
                      <a:pt x="237" y="529"/>
                    </a:lnTo>
                    <a:close/>
                    <a:moveTo>
                      <a:pt x="219" y="541"/>
                    </a:moveTo>
                    <a:lnTo>
                      <a:pt x="217" y="541"/>
                    </a:lnTo>
                    <a:lnTo>
                      <a:pt x="219" y="541"/>
                    </a:lnTo>
                    <a:close/>
                    <a:moveTo>
                      <a:pt x="66" y="629"/>
                    </a:moveTo>
                    <a:lnTo>
                      <a:pt x="66" y="631"/>
                    </a:lnTo>
                    <a:lnTo>
                      <a:pt x="66" y="629"/>
                    </a:lnTo>
                    <a:close/>
                    <a:moveTo>
                      <a:pt x="64" y="627"/>
                    </a:moveTo>
                    <a:lnTo>
                      <a:pt x="64" y="629"/>
                    </a:lnTo>
                    <a:lnTo>
                      <a:pt x="64" y="627"/>
                    </a:lnTo>
                    <a:close/>
                    <a:moveTo>
                      <a:pt x="238" y="489"/>
                    </a:moveTo>
                    <a:lnTo>
                      <a:pt x="237" y="491"/>
                    </a:lnTo>
                    <a:lnTo>
                      <a:pt x="237" y="489"/>
                    </a:lnTo>
                    <a:lnTo>
                      <a:pt x="238" y="489"/>
                    </a:lnTo>
                    <a:close/>
                    <a:moveTo>
                      <a:pt x="77" y="596"/>
                    </a:moveTo>
                    <a:lnTo>
                      <a:pt x="77" y="598"/>
                    </a:lnTo>
                    <a:lnTo>
                      <a:pt x="77" y="596"/>
                    </a:lnTo>
                    <a:close/>
                    <a:moveTo>
                      <a:pt x="206" y="458"/>
                    </a:moveTo>
                    <a:lnTo>
                      <a:pt x="206" y="460"/>
                    </a:lnTo>
                    <a:lnTo>
                      <a:pt x="206" y="458"/>
                    </a:lnTo>
                    <a:close/>
                    <a:moveTo>
                      <a:pt x="48" y="546"/>
                    </a:moveTo>
                    <a:lnTo>
                      <a:pt x="48" y="544"/>
                    </a:lnTo>
                    <a:lnTo>
                      <a:pt x="48" y="546"/>
                    </a:lnTo>
                    <a:close/>
                    <a:moveTo>
                      <a:pt x="73" y="512"/>
                    </a:moveTo>
                    <a:lnTo>
                      <a:pt x="73" y="514"/>
                    </a:lnTo>
                    <a:lnTo>
                      <a:pt x="73" y="512"/>
                    </a:lnTo>
                    <a:close/>
                    <a:moveTo>
                      <a:pt x="71" y="468"/>
                    </a:moveTo>
                    <a:lnTo>
                      <a:pt x="71" y="469"/>
                    </a:lnTo>
                    <a:lnTo>
                      <a:pt x="71" y="468"/>
                    </a:lnTo>
                    <a:close/>
                    <a:moveTo>
                      <a:pt x="141" y="387"/>
                    </a:moveTo>
                    <a:lnTo>
                      <a:pt x="139" y="387"/>
                    </a:lnTo>
                    <a:lnTo>
                      <a:pt x="141" y="387"/>
                    </a:lnTo>
                    <a:close/>
                    <a:moveTo>
                      <a:pt x="142" y="379"/>
                    </a:moveTo>
                    <a:lnTo>
                      <a:pt x="141" y="377"/>
                    </a:lnTo>
                    <a:lnTo>
                      <a:pt x="142" y="379"/>
                    </a:lnTo>
                    <a:close/>
                    <a:moveTo>
                      <a:pt x="141" y="377"/>
                    </a:moveTo>
                    <a:lnTo>
                      <a:pt x="142" y="377"/>
                    </a:lnTo>
                    <a:lnTo>
                      <a:pt x="141" y="377"/>
                    </a:lnTo>
                    <a:close/>
                    <a:moveTo>
                      <a:pt x="54" y="341"/>
                    </a:moveTo>
                    <a:lnTo>
                      <a:pt x="54" y="343"/>
                    </a:lnTo>
                    <a:lnTo>
                      <a:pt x="54" y="341"/>
                    </a:lnTo>
                    <a:close/>
                    <a:moveTo>
                      <a:pt x="50" y="344"/>
                    </a:moveTo>
                    <a:lnTo>
                      <a:pt x="48" y="344"/>
                    </a:lnTo>
                    <a:lnTo>
                      <a:pt x="50" y="344"/>
                    </a:lnTo>
                    <a:close/>
                    <a:moveTo>
                      <a:pt x="48" y="344"/>
                    </a:moveTo>
                    <a:lnTo>
                      <a:pt x="48" y="343"/>
                    </a:lnTo>
                    <a:lnTo>
                      <a:pt x="48" y="344"/>
                    </a:lnTo>
                    <a:close/>
                    <a:moveTo>
                      <a:pt x="60" y="323"/>
                    </a:moveTo>
                    <a:lnTo>
                      <a:pt x="60" y="325"/>
                    </a:lnTo>
                    <a:lnTo>
                      <a:pt x="60" y="323"/>
                    </a:lnTo>
                    <a:close/>
                    <a:moveTo>
                      <a:pt x="142" y="252"/>
                    </a:moveTo>
                    <a:lnTo>
                      <a:pt x="142" y="254"/>
                    </a:lnTo>
                    <a:lnTo>
                      <a:pt x="142" y="252"/>
                    </a:lnTo>
                    <a:close/>
                    <a:moveTo>
                      <a:pt x="227" y="162"/>
                    </a:moveTo>
                    <a:lnTo>
                      <a:pt x="227" y="164"/>
                    </a:lnTo>
                    <a:lnTo>
                      <a:pt x="227" y="162"/>
                    </a:lnTo>
                    <a:close/>
                    <a:moveTo>
                      <a:pt x="215" y="164"/>
                    </a:moveTo>
                    <a:lnTo>
                      <a:pt x="214" y="166"/>
                    </a:lnTo>
                    <a:lnTo>
                      <a:pt x="214" y="164"/>
                    </a:lnTo>
                    <a:lnTo>
                      <a:pt x="215" y="164"/>
                    </a:lnTo>
                    <a:close/>
                    <a:moveTo>
                      <a:pt x="215" y="164"/>
                    </a:moveTo>
                    <a:lnTo>
                      <a:pt x="214" y="164"/>
                    </a:lnTo>
                    <a:lnTo>
                      <a:pt x="215" y="164"/>
                    </a:lnTo>
                    <a:close/>
                    <a:moveTo>
                      <a:pt x="215" y="162"/>
                    </a:moveTo>
                    <a:lnTo>
                      <a:pt x="215" y="164"/>
                    </a:lnTo>
                    <a:lnTo>
                      <a:pt x="215" y="162"/>
                    </a:lnTo>
                    <a:lnTo>
                      <a:pt x="215" y="164"/>
                    </a:lnTo>
                    <a:lnTo>
                      <a:pt x="215" y="162"/>
                    </a:lnTo>
                    <a:close/>
                    <a:moveTo>
                      <a:pt x="215" y="162"/>
                    </a:moveTo>
                    <a:lnTo>
                      <a:pt x="215" y="164"/>
                    </a:lnTo>
                    <a:lnTo>
                      <a:pt x="215" y="162"/>
                    </a:lnTo>
                    <a:close/>
                    <a:moveTo>
                      <a:pt x="215" y="164"/>
                    </a:moveTo>
                    <a:lnTo>
                      <a:pt x="214" y="164"/>
                    </a:lnTo>
                    <a:lnTo>
                      <a:pt x="215" y="164"/>
                    </a:lnTo>
                    <a:close/>
                    <a:moveTo>
                      <a:pt x="212" y="168"/>
                    </a:moveTo>
                    <a:lnTo>
                      <a:pt x="210" y="168"/>
                    </a:lnTo>
                    <a:lnTo>
                      <a:pt x="212" y="168"/>
                    </a:lnTo>
                    <a:close/>
                    <a:moveTo>
                      <a:pt x="214" y="162"/>
                    </a:moveTo>
                    <a:lnTo>
                      <a:pt x="214" y="164"/>
                    </a:lnTo>
                    <a:lnTo>
                      <a:pt x="214" y="162"/>
                    </a:lnTo>
                    <a:close/>
                    <a:moveTo>
                      <a:pt x="214" y="162"/>
                    </a:moveTo>
                    <a:lnTo>
                      <a:pt x="214" y="164"/>
                    </a:lnTo>
                    <a:lnTo>
                      <a:pt x="214" y="162"/>
                    </a:lnTo>
                    <a:close/>
                    <a:moveTo>
                      <a:pt x="60" y="298"/>
                    </a:moveTo>
                    <a:lnTo>
                      <a:pt x="62" y="298"/>
                    </a:lnTo>
                    <a:lnTo>
                      <a:pt x="60" y="298"/>
                    </a:lnTo>
                    <a:close/>
                    <a:moveTo>
                      <a:pt x="214" y="162"/>
                    </a:moveTo>
                    <a:lnTo>
                      <a:pt x="214" y="164"/>
                    </a:lnTo>
                    <a:lnTo>
                      <a:pt x="214" y="162"/>
                    </a:lnTo>
                    <a:close/>
                    <a:moveTo>
                      <a:pt x="210" y="166"/>
                    </a:moveTo>
                    <a:lnTo>
                      <a:pt x="212" y="166"/>
                    </a:lnTo>
                    <a:lnTo>
                      <a:pt x="210" y="166"/>
                    </a:lnTo>
                    <a:lnTo>
                      <a:pt x="212" y="166"/>
                    </a:lnTo>
                    <a:lnTo>
                      <a:pt x="210" y="166"/>
                    </a:lnTo>
                    <a:close/>
                    <a:moveTo>
                      <a:pt x="62" y="295"/>
                    </a:moveTo>
                    <a:lnTo>
                      <a:pt x="62" y="296"/>
                    </a:lnTo>
                    <a:lnTo>
                      <a:pt x="62" y="295"/>
                    </a:lnTo>
                    <a:close/>
                    <a:moveTo>
                      <a:pt x="210" y="162"/>
                    </a:moveTo>
                    <a:lnTo>
                      <a:pt x="212" y="162"/>
                    </a:lnTo>
                    <a:lnTo>
                      <a:pt x="210" y="162"/>
                    </a:lnTo>
                    <a:close/>
                    <a:moveTo>
                      <a:pt x="73" y="271"/>
                    </a:moveTo>
                    <a:lnTo>
                      <a:pt x="73" y="273"/>
                    </a:lnTo>
                    <a:lnTo>
                      <a:pt x="73" y="271"/>
                    </a:lnTo>
                    <a:close/>
                    <a:moveTo>
                      <a:pt x="79" y="260"/>
                    </a:moveTo>
                    <a:lnTo>
                      <a:pt x="77" y="260"/>
                    </a:lnTo>
                    <a:lnTo>
                      <a:pt x="79" y="260"/>
                    </a:lnTo>
                    <a:close/>
                    <a:moveTo>
                      <a:pt x="250" y="47"/>
                    </a:moveTo>
                    <a:lnTo>
                      <a:pt x="250" y="48"/>
                    </a:lnTo>
                    <a:lnTo>
                      <a:pt x="250" y="47"/>
                    </a:lnTo>
                    <a:close/>
                    <a:moveTo>
                      <a:pt x="254" y="35"/>
                    </a:moveTo>
                    <a:lnTo>
                      <a:pt x="254" y="37"/>
                    </a:lnTo>
                    <a:lnTo>
                      <a:pt x="254" y="35"/>
                    </a:lnTo>
                    <a:close/>
                    <a:moveTo>
                      <a:pt x="254" y="35"/>
                    </a:moveTo>
                    <a:lnTo>
                      <a:pt x="252" y="35"/>
                    </a:lnTo>
                    <a:lnTo>
                      <a:pt x="254" y="35"/>
                    </a:lnTo>
                    <a:close/>
                    <a:moveTo>
                      <a:pt x="21" y="243"/>
                    </a:moveTo>
                    <a:lnTo>
                      <a:pt x="19" y="243"/>
                    </a:lnTo>
                    <a:lnTo>
                      <a:pt x="21" y="241"/>
                    </a:lnTo>
                    <a:lnTo>
                      <a:pt x="21" y="243"/>
                    </a:lnTo>
                    <a:close/>
                    <a:moveTo>
                      <a:pt x="27" y="225"/>
                    </a:moveTo>
                    <a:lnTo>
                      <a:pt x="27" y="223"/>
                    </a:lnTo>
                    <a:lnTo>
                      <a:pt x="27" y="225"/>
                    </a:lnTo>
                    <a:close/>
                    <a:moveTo>
                      <a:pt x="262" y="2"/>
                    </a:moveTo>
                    <a:lnTo>
                      <a:pt x="262" y="0"/>
                    </a:lnTo>
                    <a:lnTo>
                      <a:pt x="262" y="2"/>
                    </a:lnTo>
                    <a:close/>
                    <a:moveTo>
                      <a:pt x="262" y="0"/>
                    </a:moveTo>
                    <a:lnTo>
                      <a:pt x="262" y="2"/>
                    </a:lnTo>
                    <a:lnTo>
                      <a:pt x="262" y="0"/>
                    </a:lnTo>
                    <a:close/>
                    <a:moveTo>
                      <a:pt x="262" y="0"/>
                    </a:moveTo>
                    <a:lnTo>
                      <a:pt x="263" y="0"/>
                    </a:lnTo>
                    <a:lnTo>
                      <a:pt x="262" y="0"/>
                    </a:lnTo>
                    <a:close/>
                    <a:moveTo>
                      <a:pt x="66" y="135"/>
                    </a:moveTo>
                    <a:lnTo>
                      <a:pt x="64" y="135"/>
                    </a:lnTo>
                    <a:lnTo>
                      <a:pt x="66" y="133"/>
                    </a:lnTo>
                    <a:lnTo>
                      <a:pt x="66" y="135"/>
                    </a:lnTo>
                    <a:close/>
                    <a:moveTo>
                      <a:pt x="0" y="191"/>
                    </a:moveTo>
                    <a:lnTo>
                      <a:pt x="0" y="189"/>
                    </a:lnTo>
                    <a:lnTo>
                      <a:pt x="0" y="191"/>
                    </a:lnTo>
                    <a:close/>
                    <a:moveTo>
                      <a:pt x="48" y="145"/>
                    </a:moveTo>
                    <a:lnTo>
                      <a:pt x="48" y="146"/>
                    </a:lnTo>
                    <a:lnTo>
                      <a:pt x="48" y="145"/>
                    </a:lnTo>
                    <a:close/>
                    <a:moveTo>
                      <a:pt x="43" y="148"/>
                    </a:moveTo>
                    <a:lnTo>
                      <a:pt x="44" y="148"/>
                    </a:lnTo>
                    <a:lnTo>
                      <a:pt x="43" y="148"/>
                    </a:lnTo>
                    <a:close/>
                    <a:moveTo>
                      <a:pt x="19" y="152"/>
                    </a:moveTo>
                    <a:lnTo>
                      <a:pt x="19" y="154"/>
                    </a:lnTo>
                    <a:lnTo>
                      <a:pt x="19" y="152"/>
                    </a:lnTo>
                    <a:close/>
                    <a:moveTo>
                      <a:pt x="68" y="95"/>
                    </a:moveTo>
                    <a:lnTo>
                      <a:pt x="68" y="96"/>
                    </a:lnTo>
                    <a:lnTo>
                      <a:pt x="68" y="95"/>
                    </a:lnTo>
                    <a:close/>
                    <a:moveTo>
                      <a:pt x="66" y="93"/>
                    </a:moveTo>
                    <a:lnTo>
                      <a:pt x="66" y="95"/>
                    </a:lnTo>
                    <a:lnTo>
                      <a:pt x="66" y="9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36">
                <a:extLst>
                  <a:ext uri="{FF2B5EF4-FFF2-40B4-BE49-F238E27FC236}">
                    <a16:creationId xmlns="" xmlns:a16="http://schemas.microsoft.com/office/drawing/2014/main" id="{F8D7AC68-8591-4885-B050-535C99DDD2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9388" y="4656138"/>
                <a:ext cx="149225" cy="141288"/>
              </a:xfrm>
              <a:custGeom>
                <a:avLst/>
                <a:gdLst>
                  <a:gd name="T0" fmla="*/ 76 w 94"/>
                  <a:gd name="T1" fmla="*/ 66 h 89"/>
                  <a:gd name="T2" fmla="*/ 73 w 94"/>
                  <a:gd name="T3" fmla="*/ 68 h 89"/>
                  <a:gd name="T4" fmla="*/ 63 w 94"/>
                  <a:gd name="T5" fmla="*/ 70 h 89"/>
                  <a:gd name="T6" fmla="*/ 61 w 94"/>
                  <a:gd name="T7" fmla="*/ 74 h 89"/>
                  <a:gd name="T8" fmla="*/ 55 w 94"/>
                  <a:gd name="T9" fmla="*/ 79 h 89"/>
                  <a:gd name="T10" fmla="*/ 51 w 94"/>
                  <a:gd name="T11" fmla="*/ 87 h 89"/>
                  <a:gd name="T12" fmla="*/ 46 w 94"/>
                  <a:gd name="T13" fmla="*/ 89 h 89"/>
                  <a:gd name="T14" fmla="*/ 44 w 94"/>
                  <a:gd name="T15" fmla="*/ 87 h 89"/>
                  <a:gd name="T16" fmla="*/ 36 w 94"/>
                  <a:gd name="T17" fmla="*/ 83 h 89"/>
                  <a:gd name="T18" fmla="*/ 32 w 94"/>
                  <a:gd name="T19" fmla="*/ 81 h 89"/>
                  <a:gd name="T20" fmla="*/ 28 w 94"/>
                  <a:gd name="T21" fmla="*/ 79 h 89"/>
                  <a:gd name="T22" fmla="*/ 25 w 94"/>
                  <a:gd name="T23" fmla="*/ 75 h 89"/>
                  <a:gd name="T24" fmla="*/ 19 w 94"/>
                  <a:gd name="T25" fmla="*/ 72 h 89"/>
                  <a:gd name="T26" fmla="*/ 17 w 94"/>
                  <a:gd name="T27" fmla="*/ 64 h 89"/>
                  <a:gd name="T28" fmla="*/ 13 w 94"/>
                  <a:gd name="T29" fmla="*/ 60 h 89"/>
                  <a:gd name="T30" fmla="*/ 9 w 94"/>
                  <a:gd name="T31" fmla="*/ 52 h 89"/>
                  <a:gd name="T32" fmla="*/ 5 w 94"/>
                  <a:gd name="T33" fmla="*/ 50 h 89"/>
                  <a:gd name="T34" fmla="*/ 3 w 94"/>
                  <a:gd name="T35" fmla="*/ 43 h 89"/>
                  <a:gd name="T36" fmla="*/ 0 w 94"/>
                  <a:gd name="T37" fmla="*/ 35 h 89"/>
                  <a:gd name="T38" fmla="*/ 3 w 94"/>
                  <a:gd name="T39" fmla="*/ 31 h 89"/>
                  <a:gd name="T40" fmla="*/ 5 w 94"/>
                  <a:gd name="T41" fmla="*/ 24 h 89"/>
                  <a:gd name="T42" fmla="*/ 9 w 94"/>
                  <a:gd name="T43" fmla="*/ 22 h 89"/>
                  <a:gd name="T44" fmla="*/ 13 w 94"/>
                  <a:gd name="T45" fmla="*/ 16 h 89"/>
                  <a:gd name="T46" fmla="*/ 21 w 94"/>
                  <a:gd name="T47" fmla="*/ 12 h 89"/>
                  <a:gd name="T48" fmla="*/ 25 w 94"/>
                  <a:gd name="T49" fmla="*/ 10 h 89"/>
                  <a:gd name="T50" fmla="*/ 27 w 94"/>
                  <a:gd name="T51" fmla="*/ 4 h 89"/>
                  <a:gd name="T52" fmla="*/ 32 w 94"/>
                  <a:gd name="T53" fmla="*/ 6 h 89"/>
                  <a:gd name="T54" fmla="*/ 36 w 94"/>
                  <a:gd name="T55" fmla="*/ 10 h 89"/>
                  <a:gd name="T56" fmla="*/ 40 w 94"/>
                  <a:gd name="T57" fmla="*/ 16 h 89"/>
                  <a:gd name="T58" fmla="*/ 36 w 94"/>
                  <a:gd name="T59" fmla="*/ 22 h 89"/>
                  <a:gd name="T60" fmla="*/ 40 w 94"/>
                  <a:gd name="T61" fmla="*/ 24 h 89"/>
                  <a:gd name="T62" fmla="*/ 46 w 94"/>
                  <a:gd name="T63" fmla="*/ 22 h 89"/>
                  <a:gd name="T64" fmla="*/ 50 w 94"/>
                  <a:gd name="T65" fmla="*/ 20 h 89"/>
                  <a:gd name="T66" fmla="*/ 57 w 94"/>
                  <a:gd name="T67" fmla="*/ 18 h 89"/>
                  <a:gd name="T68" fmla="*/ 63 w 94"/>
                  <a:gd name="T69" fmla="*/ 14 h 89"/>
                  <a:gd name="T70" fmla="*/ 65 w 94"/>
                  <a:gd name="T71" fmla="*/ 2 h 89"/>
                  <a:gd name="T72" fmla="*/ 71 w 94"/>
                  <a:gd name="T73" fmla="*/ 2 h 89"/>
                  <a:gd name="T74" fmla="*/ 75 w 94"/>
                  <a:gd name="T75" fmla="*/ 6 h 89"/>
                  <a:gd name="T76" fmla="*/ 75 w 94"/>
                  <a:gd name="T77" fmla="*/ 14 h 89"/>
                  <a:gd name="T78" fmla="*/ 82 w 94"/>
                  <a:gd name="T79" fmla="*/ 20 h 89"/>
                  <a:gd name="T80" fmla="*/ 84 w 94"/>
                  <a:gd name="T81" fmla="*/ 25 h 89"/>
                  <a:gd name="T82" fmla="*/ 92 w 94"/>
                  <a:gd name="T83" fmla="*/ 25 h 89"/>
                  <a:gd name="T84" fmla="*/ 94 w 94"/>
                  <a:gd name="T85" fmla="*/ 29 h 89"/>
                  <a:gd name="T86" fmla="*/ 88 w 94"/>
                  <a:gd name="T87" fmla="*/ 33 h 89"/>
                  <a:gd name="T88" fmla="*/ 82 w 94"/>
                  <a:gd name="T89" fmla="*/ 33 h 89"/>
                  <a:gd name="T90" fmla="*/ 76 w 94"/>
                  <a:gd name="T91" fmla="*/ 37 h 89"/>
                  <a:gd name="T92" fmla="*/ 75 w 94"/>
                  <a:gd name="T93" fmla="*/ 41 h 89"/>
                  <a:gd name="T94" fmla="*/ 78 w 94"/>
                  <a:gd name="T95" fmla="*/ 47 h 89"/>
                  <a:gd name="T96" fmla="*/ 84 w 94"/>
                  <a:gd name="T97" fmla="*/ 45 h 89"/>
                  <a:gd name="T98" fmla="*/ 82 w 94"/>
                  <a:gd name="T99" fmla="*/ 50 h 89"/>
                  <a:gd name="T100" fmla="*/ 82 w 94"/>
                  <a:gd name="T101" fmla="*/ 56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94" h="89">
                    <a:moveTo>
                      <a:pt x="78" y="60"/>
                    </a:moveTo>
                    <a:lnTo>
                      <a:pt x="78" y="62"/>
                    </a:lnTo>
                    <a:lnTo>
                      <a:pt x="76" y="62"/>
                    </a:lnTo>
                    <a:lnTo>
                      <a:pt x="76" y="64"/>
                    </a:lnTo>
                    <a:lnTo>
                      <a:pt x="76" y="66"/>
                    </a:lnTo>
                    <a:lnTo>
                      <a:pt x="75" y="66"/>
                    </a:lnTo>
                    <a:lnTo>
                      <a:pt x="75" y="68"/>
                    </a:lnTo>
                    <a:lnTo>
                      <a:pt x="75" y="66"/>
                    </a:lnTo>
                    <a:lnTo>
                      <a:pt x="75" y="68"/>
                    </a:lnTo>
                    <a:lnTo>
                      <a:pt x="73" y="68"/>
                    </a:lnTo>
                    <a:lnTo>
                      <a:pt x="71" y="68"/>
                    </a:lnTo>
                    <a:lnTo>
                      <a:pt x="67" y="68"/>
                    </a:lnTo>
                    <a:lnTo>
                      <a:pt x="65" y="68"/>
                    </a:lnTo>
                    <a:lnTo>
                      <a:pt x="63" y="68"/>
                    </a:lnTo>
                    <a:lnTo>
                      <a:pt x="63" y="70"/>
                    </a:lnTo>
                    <a:lnTo>
                      <a:pt x="63" y="72"/>
                    </a:lnTo>
                    <a:lnTo>
                      <a:pt x="63" y="70"/>
                    </a:lnTo>
                    <a:lnTo>
                      <a:pt x="63" y="72"/>
                    </a:lnTo>
                    <a:lnTo>
                      <a:pt x="61" y="72"/>
                    </a:lnTo>
                    <a:lnTo>
                      <a:pt x="61" y="74"/>
                    </a:lnTo>
                    <a:lnTo>
                      <a:pt x="59" y="75"/>
                    </a:lnTo>
                    <a:lnTo>
                      <a:pt x="59" y="77"/>
                    </a:lnTo>
                    <a:lnTo>
                      <a:pt x="57" y="77"/>
                    </a:lnTo>
                    <a:lnTo>
                      <a:pt x="57" y="79"/>
                    </a:lnTo>
                    <a:lnTo>
                      <a:pt x="55" y="79"/>
                    </a:lnTo>
                    <a:lnTo>
                      <a:pt x="55" y="81"/>
                    </a:lnTo>
                    <a:lnTo>
                      <a:pt x="53" y="81"/>
                    </a:lnTo>
                    <a:lnTo>
                      <a:pt x="53" y="83"/>
                    </a:lnTo>
                    <a:lnTo>
                      <a:pt x="51" y="85"/>
                    </a:lnTo>
                    <a:lnTo>
                      <a:pt x="51" y="87"/>
                    </a:lnTo>
                    <a:lnTo>
                      <a:pt x="50" y="87"/>
                    </a:lnTo>
                    <a:lnTo>
                      <a:pt x="50" y="89"/>
                    </a:lnTo>
                    <a:lnTo>
                      <a:pt x="48" y="87"/>
                    </a:lnTo>
                    <a:lnTo>
                      <a:pt x="48" y="89"/>
                    </a:lnTo>
                    <a:lnTo>
                      <a:pt x="46" y="89"/>
                    </a:lnTo>
                    <a:lnTo>
                      <a:pt x="46" y="87"/>
                    </a:lnTo>
                    <a:lnTo>
                      <a:pt x="44" y="89"/>
                    </a:lnTo>
                    <a:lnTo>
                      <a:pt x="44" y="87"/>
                    </a:lnTo>
                    <a:lnTo>
                      <a:pt x="42" y="87"/>
                    </a:lnTo>
                    <a:lnTo>
                      <a:pt x="44" y="87"/>
                    </a:lnTo>
                    <a:lnTo>
                      <a:pt x="42" y="85"/>
                    </a:lnTo>
                    <a:lnTo>
                      <a:pt x="40" y="85"/>
                    </a:lnTo>
                    <a:lnTo>
                      <a:pt x="38" y="85"/>
                    </a:lnTo>
                    <a:lnTo>
                      <a:pt x="38" y="83"/>
                    </a:lnTo>
                    <a:lnTo>
                      <a:pt x="36" y="83"/>
                    </a:lnTo>
                    <a:lnTo>
                      <a:pt x="36" y="85"/>
                    </a:lnTo>
                    <a:lnTo>
                      <a:pt x="34" y="85"/>
                    </a:lnTo>
                    <a:lnTo>
                      <a:pt x="34" y="83"/>
                    </a:lnTo>
                    <a:lnTo>
                      <a:pt x="34" y="81"/>
                    </a:lnTo>
                    <a:lnTo>
                      <a:pt x="32" y="81"/>
                    </a:lnTo>
                    <a:lnTo>
                      <a:pt x="32" y="79"/>
                    </a:lnTo>
                    <a:lnTo>
                      <a:pt x="30" y="79"/>
                    </a:lnTo>
                    <a:lnTo>
                      <a:pt x="30" y="77"/>
                    </a:lnTo>
                    <a:lnTo>
                      <a:pt x="28" y="77"/>
                    </a:lnTo>
                    <a:lnTo>
                      <a:pt x="28" y="79"/>
                    </a:lnTo>
                    <a:lnTo>
                      <a:pt x="28" y="77"/>
                    </a:lnTo>
                    <a:lnTo>
                      <a:pt x="27" y="77"/>
                    </a:lnTo>
                    <a:lnTo>
                      <a:pt x="25" y="75"/>
                    </a:lnTo>
                    <a:lnTo>
                      <a:pt x="25" y="74"/>
                    </a:lnTo>
                    <a:lnTo>
                      <a:pt x="25" y="75"/>
                    </a:lnTo>
                    <a:lnTo>
                      <a:pt x="23" y="75"/>
                    </a:lnTo>
                    <a:lnTo>
                      <a:pt x="23" y="74"/>
                    </a:lnTo>
                    <a:lnTo>
                      <a:pt x="21" y="74"/>
                    </a:lnTo>
                    <a:lnTo>
                      <a:pt x="21" y="72"/>
                    </a:lnTo>
                    <a:lnTo>
                      <a:pt x="19" y="72"/>
                    </a:lnTo>
                    <a:lnTo>
                      <a:pt x="19" y="70"/>
                    </a:lnTo>
                    <a:lnTo>
                      <a:pt x="19" y="68"/>
                    </a:lnTo>
                    <a:lnTo>
                      <a:pt x="19" y="66"/>
                    </a:lnTo>
                    <a:lnTo>
                      <a:pt x="17" y="66"/>
                    </a:lnTo>
                    <a:lnTo>
                      <a:pt x="17" y="64"/>
                    </a:lnTo>
                    <a:lnTo>
                      <a:pt x="17" y="62"/>
                    </a:lnTo>
                    <a:lnTo>
                      <a:pt x="17" y="60"/>
                    </a:lnTo>
                    <a:lnTo>
                      <a:pt x="17" y="58"/>
                    </a:lnTo>
                    <a:lnTo>
                      <a:pt x="15" y="60"/>
                    </a:lnTo>
                    <a:lnTo>
                      <a:pt x="13" y="60"/>
                    </a:lnTo>
                    <a:lnTo>
                      <a:pt x="13" y="58"/>
                    </a:lnTo>
                    <a:lnTo>
                      <a:pt x="11" y="56"/>
                    </a:lnTo>
                    <a:lnTo>
                      <a:pt x="11" y="54"/>
                    </a:lnTo>
                    <a:lnTo>
                      <a:pt x="9" y="54"/>
                    </a:lnTo>
                    <a:lnTo>
                      <a:pt x="9" y="52"/>
                    </a:lnTo>
                    <a:lnTo>
                      <a:pt x="9" y="50"/>
                    </a:lnTo>
                    <a:lnTo>
                      <a:pt x="7" y="50"/>
                    </a:lnTo>
                    <a:lnTo>
                      <a:pt x="7" y="52"/>
                    </a:lnTo>
                    <a:lnTo>
                      <a:pt x="7" y="50"/>
                    </a:lnTo>
                    <a:lnTo>
                      <a:pt x="5" y="50"/>
                    </a:lnTo>
                    <a:lnTo>
                      <a:pt x="5" y="49"/>
                    </a:lnTo>
                    <a:lnTo>
                      <a:pt x="5" y="47"/>
                    </a:lnTo>
                    <a:lnTo>
                      <a:pt x="3" y="47"/>
                    </a:lnTo>
                    <a:lnTo>
                      <a:pt x="3" y="45"/>
                    </a:lnTo>
                    <a:lnTo>
                      <a:pt x="3" y="43"/>
                    </a:lnTo>
                    <a:lnTo>
                      <a:pt x="3" y="41"/>
                    </a:lnTo>
                    <a:lnTo>
                      <a:pt x="2" y="41"/>
                    </a:lnTo>
                    <a:lnTo>
                      <a:pt x="2" y="39"/>
                    </a:lnTo>
                    <a:lnTo>
                      <a:pt x="0" y="37"/>
                    </a:lnTo>
                    <a:lnTo>
                      <a:pt x="0" y="35"/>
                    </a:lnTo>
                    <a:lnTo>
                      <a:pt x="2" y="33"/>
                    </a:lnTo>
                    <a:lnTo>
                      <a:pt x="2" y="31"/>
                    </a:lnTo>
                    <a:lnTo>
                      <a:pt x="2" y="33"/>
                    </a:lnTo>
                    <a:lnTo>
                      <a:pt x="2" y="31"/>
                    </a:lnTo>
                    <a:lnTo>
                      <a:pt x="3" y="31"/>
                    </a:lnTo>
                    <a:lnTo>
                      <a:pt x="3" y="29"/>
                    </a:lnTo>
                    <a:lnTo>
                      <a:pt x="3" y="27"/>
                    </a:lnTo>
                    <a:lnTo>
                      <a:pt x="5" y="27"/>
                    </a:lnTo>
                    <a:lnTo>
                      <a:pt x="5" y="25"/>
                    </a:lnTo>
                    <a:lnTo>
                      <a:pt x="5" y="24"/>
                    </a:lnTo>
                    <a:lnTo>
                      <a:pt x="5" y="22"/>
                    </a:lnTo>
                    <a:lnTo>
                      <a:pt x="7" y="22"/>
                    </a:lnTo>
                    <a:lnTo>
                      <a:pt x="7" y="24"/>
                    </a:lnTo>
                    <a:lnTo>
                      <a:pt x="9" y="24"/>
                    </a:lnTo>
                    <a:lnTo>
                      <a:pt x="9" y="22"/>
                    </a:lnTo>
                    <a:lnTo>
                      <a:pt x="9" y="20"/>
                    </a:lnTo>
                    <a:lnTo>
                      <a:pt x="11" y="20"/>
                    </a:lnTo>
                    <a:lnTo>
                      <a:pt x="11" y="18"/>
                    </a:lnTo>
                    <a:lnTo>
                      <a:pt x="13" y="18"/>
                    </a:lnTo>
                    <a:lnTo>
                      <a:pt x="13" y="16"/>
                    </a:lnTo>
                    <a:lnTo>
                      <a:pt x="15" y="16"/>
                    </a:lnTo>
                    <a:lnTo>
                      <a:pt x="15" y="14"/>
                    </a:lnTo>
                    <a:lnTo>
                      <a:pt x="17" y="14"/>
                    </a:lnTo>
                    <a:lnTo>
                      <a:pt x="19" y="14"/>
                    </a:lnTo>
                    <a:lnTo>
                      <a:pt x="21" y="12"/>
                    </a:lnTo>
                    <a:lnTo>
                      <a:pt x="21" y="14"/>
                    </a:lnTo>
                    <a:lnTo>
                      <a:pt x="23" y="14"/>
                    </a:lnTo>
                    <a:lnTo>
                      <a:pt x="25" y="14"/>
                    </a:lnTo>
                    <a:lnTo>
                      <a:pt x="25" y="12"/>
                    </a:lnTo>
                    <a:lnTo>
                      <a:pt x="25" y="10"/>
                    </a:lnTo>
                    <a:lnTo>
                      <a:pt x="25" y="8"/>
                    </a:lnTo>
                    <a:lnTo>
                      <a:pt x="27" y="8"/>
                    </a:lnTo>
                    <a:lnTo>
                      <a:pt x="25" y="6"/>
                    </a:lnTo>
                    <a:lnTo>
                      <a:pt x="27" y="6"/>
                    </a:lnTo>
                    <a:lnTo>
                      <a:pt x="27" y="4"/>
                    </a:lnTo>
                    <a:lnTo>
                      <a:pt x="28" y="2"/>
                    </a:lnTo>
                    <a:lnTo>
                      <a:pt x="28" y="4"/>
                    </a:lnTo>
                    <a:lnTo>
                      <a:pt x="30" y="4"/>
                    </a:lnTo>
                    <a:lnTo>
                      <a:pt x="30" y="6"/>
                    </a:lnTo>
                    <a:lnTo>
                      <a:pt x="32" y="6"/>
                    </a:lnTo>
                    <a:lnTo>
                      <a:pt x="32" y="8"/>
                    </a:lnTo>
                    <a:lnTo>
                      <a:pt x="32" y="10"/>
                    </a:lnTo>
                    <a:lnTo>
                      <a:pt x="34" y="10"/>
                    </a:lnTo>
                    <a:lnTo>
                      <a:pt x="34" y="8"/>
                    </a:lnTo>
                    <a:lnTo>
                      <a:pt x="36" y="10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8" y="12"/>
                    </a:lnTo>
                    <a:lnTo>
                      <a:pt x="40" y="14"/>
                    </a:lnTo>
                    <a:lnTo>
                      <a:pt x="40" y="16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36" y="18"/>
                    </a:lnTo>
                    <a:lnTo>
                      <a:pt x="36" y="20"/>
                    </a:lnTo>
                    <a:lnTo>
                      <a:pt x="36" y="22"/>
                    </a:lnTo>
                    <a:lnTo>
                      <a:pt x="38" y="22"/>
                    </a:lnTo>
                    <a:lnTo>
                      <a:pt x="40" y="22"/>
                    </a:lnTo>
                    <a:lnTo>
                      <a:pt x="40" y="20"/>
                    </a:lnTo>
                    <a:lnTo>
                      <a:pt x="40" y="22"/>
                    </a:lnTo>
                    <a:lnTo>
                      <a:pt x="40" y="24"/>
                    </a:lnTo>
                    <a:lnTo>
                      <a:pt x="42" y="24"/>
                    </a:lnTo>
                    <a:lnTo>
                      <a:pt x="44" y="24"/>
                    </a:lnTo>
                    <a:lnTo>
                      <a:pt x="44" y="22"/>
                    </a:lnTo>
                    <a:lnTo>
                      <a:pt x="46" y="20"/>
                    </a:lnTo>
                    <a:lnTo>
                      <a:pt x="46" y="22"/>
                    </a:lnTo>
                    <a:lnTo>
                      <a:pt x="46" y="24"/>
                    </a:lnTo>
                    <a:lnTo>
                      <a:pt x="48" y="24"/>
                    </a:lnTo>
                    <a:lnTo>
                      <a:pt x="48" y="22"/>
                    </a:lnTo>
                    <a:lnTo>
                      <a:pt x="48" y="20"/>
                    </a:lnTo>
                    <a:lnTo>
                      <a:pt x="50" y="20"/>
                    </a:lnTo>
                    <a:lnTo>
                      <a:pt x="51" y="20"/>
                    </a:lnTo>
                    <a:lnTo>
                      <a:pt x="53" y="20"/>
                    </a:lnTo>
                    <a:lnTo>
                      <a:pt x="55" y="20"/>
                    </a:lnTo>
                    <a:lnTo>
                      <a:pt x="55" y="18"/>
                    </a:lnTo>
                    <a:lnTo>
                      <a:pt x="57" y="18"/>
                    </a:lnTo>
                    <a:lnTo>
                      <a:pt x="59" y="18"/>
                    </a:lnTo>
                    <a:lnTo>
                      <a:pt x="59" y="16"/>
                    </a:lnTo>
                    <a:lnTo>
                      <a:pt x="61" y="16"/>
                    </a:lnTo>
                    <a:lnTo>
                      <a:pt x="61" y="14"/>
                    </a:lnTo>
                    <a:lnTo>
                      <a:pt x="63" y="14"/>
                    </a:lnTo>
                    <a:lnTo>
                      <a:pt x="63" y="8"/>
                    </a:lnTo>
                    <a:lnTo>
                      <a:pt x="61" y="4"/>
                    </a:lnTo>
                    <a:lnTo>
                      <a:pt x="63" y="4"/>
                    </a:lnTo>
                    <a:lnTo>
                      <a:pt x="63" y="2"/>
                    </a:lnTo>
                    <a:lnTo>
                      <a:pt x="65" y="2"/>
                    </a:lnTo>
                    <a:lnTo>
                      <a:pt x="65" y="4"/>
                    </a:lnTo>
                    <a:lnTo>
                      <a:pt x="67" y="2"/>
                    </a:lnTo>
                    <a:lnTo>
                      <a:pt x="69" y="2"/>
                    </a:lnTo>
                    <a:lnTo>
                      <a:pt x="69" y="0"/>
                    </a:lnTo>
                    <a:lnTo>
                      <a:pt x="71" y="2"/>
                    </a:lnTo>
                    <a:lnTo>
                      <a:pt x="73" y="2"/>
                    </a:lnTo>
                    <a:lnTo>
                      <a:pt x="75" y="2"/>
                    </a:lnTo>
                    <a:lnTo>
                      <a:pt x="76" y="4"/>
                    </a:lnTo>
                    <a:lnTo>
                      <a:pt x="76" y="6"/>
                    </a:lnTo>
                    <a:lnTo>
                      <a:pt x="75" y="6"/>
                    </a:lnTo>
                    <a:lnTo>
                      <a:pt x="75" y="8"/>
                    </a:lnTo>
                    <a:lnTo>
                      <a:pt x="75" y="10"/>
                    </a:lnTo>
                    <a:lnTo>
                      <a:pt x="75" y="12"/>
                    </a:lnTo>
                    <a:lnTo>
                      <a:pt x="76" y="14"/>
                    </a:lnTo>
                    <a:lnTo>
                      <a:pt x="75" y="14"/>
                    </a:lnTo>
                    <a:lnTo>
                      <a:pt x="76" y="14"/>
                    </a:lnTo>
                    <a:lnTo>
                      <a:pt x="78" y="16"/>
                    </a:lnTo>
                    <a:lnTo>
                      <a:pt x="80" y="18"/>
                    </a:lnTo>
                    <a:lnTo>
                      <a:pt x="82" y="18"/>
                    </a:lnTo>
                    <a:lnTo>
                      <a:pt x="82" y="20"/>
                    </a:lnTo>
                    <a:lnTo>
                      <a:pt x="84" y="22"/>
                    </a:lnTo>
                    <a:lnTo>
                      <a:pt x="84" y="24"/>
                    </a:lnTo>
                    <a:lnTo>
                      <a:pt x="86" y="24"/>
                    </a:lnTo>
                    <a:lnTo>
                      <a:pt x="84" y="24"/>
                    </a:lnTo>
                    <a:lnTo>
                      <a:pt x="84" y="25"/>
                    </a:lnTo>
                    <a:lnTo>
                      <a:pt x="84" y="27"/>
                    </a:lnTo>
                    <a:lnTo>
                      <a:pt x="86" y="27"/>
                    </a:lnTo>
                    <a:lnTo>
                      <a:pt x="88" y="24"/>
                    </a:lnTo>
                    <a:lnTo>
                      <a:pt x="90" y="25"/>
                    </a:lnTo>
                    <a:lnTo>
                      <a:pt x="92" y="25"/>
                    </a:lnTo>
                    <a:lnTo>
                      <a:pt x="92" y="24"/>
                    </a:lnTo>
                    <a:lnTo>
                      <a:pt x="94" y="24"/>
                    </a:lnTo>
                    <a:lnTo>
                      <a:pt x="94" y="25"/>
                    </a:lnTo>
                    <a:lnTo>
                      <a:pt x="94" y="27"/>
                    </a:lnTo>
                    <a:lnTo>
                      <a:pt x="94" y="29"/>
                    </a:lnTo>
                    <a:lnTo>
                      <a:pt x="94" y="31"/>
                    </a:lnTo>
                    <a:lnTo>
                      <a:pt x="90" y="31"/>
                    </a:lnTo>
                    <a:lnTo>
                      <a:pt x="90" y="33"/>
                    </a:lnTo>
                    <a:lnTo>
                      <a:pt x="88" y="31"/>
                    </a:lnTo>
                    <a:lnTo>
                      <a:pt x="88" y="33"/>
                    </a:lnTo>
                    <a:lnTo>
                      <a:pt x="86" y="33"/>
                    </a:lnTo>
                    <a:lnTo>
                      <a:pt x="86" y="31"/>
                    </a:lnTo>
                    <a:lnTo>
                      <a:pt x="86" y="33"/>
                    </a:lnTo>
                    <a:lnTo>
                      <a:pt x="84" y="33"/>
                    </a:lnTo>
                    <a:lnTo>
                      <a:pt x="82" y="33"/>
                    </a:lnTo>
                    <a:lnTo>
                      <a:pt x="80" y="33"/>
                    </a:lnTo>
                    <a:lnTo>
                      <a:pt x="78" y="33"/>
                    </a:lnTo>
                    <a:lnTo>
                      <a:pt x="78" y="35"/>
                    </a:lnTo>
                    <a:lnTo>
                      <a:pt x="76" y="35"/>
                    </a:lnTo>
                    <a:lnTo>
                      <a:pt x="76" y="37"/>
                    </a:lnTo>
                    <a:lnTo>
                      <a:pt x="75" y="37"/>
                    </a:lnTo>
                    <a:lnTo>
                      <a:pt x="75" y="39"/>
                    </a:lnTo>
                    <a:lnTo>
                      <a:pt x="75" y="41"/>
                    </a:lnTo>
                    <a:lnTo>
                      <a:pt x="76" y="39"/>
                    </a:lnTo>
                    <a:lnTo>
                      <a:pt x="75" y="41"/>
                    </a:lnTo>
                    <a:lnTo>
                      <a:pt x="75" y="43"/>
                    </a:lnTo>
                    <a:lnTo>
                      <a:pt x="75" y="45"/>
                    </a:lnTo>
                    <a:lnTo>
                      <a:pt x="76" y="45"/>
                    </a:lnTo>
                    <a:lnTo>
                      <a:pt x="76" y="47"/>
                    </a:lnTo>
                    <a:lnTo>
                      <a:pt x="78" y="47"/>
                    </a:lnTo>
                    <a:lnTo>
                      <a:pt x="76" y="47"/>
                    </a:lnTo>
                    <a:lnTo>
                      <a:pt x="78" y="47"/>
                    </a:lnTo>
                    <a:lnTo>
                      <a:pt x="78" y="45"/>
                    </a:lnTo>
                    <a:lnTo>
                      <a:pt x="80" y="45"/>
                    </a:lnTo>
                    <a:lnTo>
                      <a:pt x="84" y="45"/>
                    </a:lnTo>
                    <a:lnTo>
                      <a:pt x="82" y="47"/>
                    </a:lnTo>
                    <a:lnTo>
                      <a:pt x="82" y="49"/>
                    </a:lnTo>
                    <a:lnTo>
                      <a:pt x="80" y="49"/>
                    </a:lnTo>
                    <a:lnTo>
                      <a:pt x="82" y="49"/>
                    </a:lnTo>
                    <a:lnTo>
                      <a:pt x="82" y="50"/>
                    </a:lnTo>
                    <a:lnTo>
                      <a:pt x="82" y="52"/>
                    </a:lnTo>
                    <a:lnTo>
                      <a:pt x="80" y="50"/>
                    </a:lnTo>
                    <a:lnTo>
                      <a:pt x="80" y="52"/>
                    </a:lnTo>
                    <a:lnTo>
                      <a:pt x="82" y="54"/>
                    </a:lnTo>
                    <a:lnTo>
                      <a:pt x="82" y="56"/>
                    </a:lnTo>
                    <a:lnTo>
                      <a:pt x="80" y="56"/>
                    </a:lnTo>
                    <a:lnTo>
                      <a:pt x="80" y="58"/>
                    </a:lnTo>
                    <a:lnTo>
                      <a:pt x="78" y="58"/>
                    </a:lnTo>
                    <a:lnTo>
                      <a:pt x="78" y="6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37">
                <a:extLst>
                  <a:ext uri="{FF2B5EF4-FFF2-40B4-BE49-F238E27FC236}">
                    <a16:creationId xmlns="" xmlns:a16="http://schemas.microsoft.com/office/drawing/2014/main" id="{84D21B03-1F87-4507-8C84-F1CA199DDD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03713" y="4205288"/>
                <a:ext cx="255588" cy="509588"/>
              </a:xfrm>
              <a:custGeom>
                <a:avLst/>
                <a:gdLst>
                  <a:gd name="T0" fmla="*/ 138 w 161"/>
                  <a:gd name="T1" fmla="*/ 25 h 321"/>
                  <a:gd name="T2" fmla="*/ 152 w 161"/>
                  <a:gd name="T3" fmla="*/ 44 h 321"/>
                  <a:gd name="T4" fmla="*/ 157 w 161"/>
                  <a:gd name="T5" fmla="*/ 56 h 321"/>
                  <a:gd name="T6" fmla="*/ 159 w 161"/>
                  <a:gd name="T7" fmla="*/ 65 h 321"/>
                  <a:gd name="T8" fmla="*/ 161 w 161"/>
                  <a:gd name="T9" fmla="*/ 73 h 321"/>
                  <a:gd name="T10" fmla="*/ 150 w 161"/>
                  <a:gd name="T11" fmla="*/ 79 h 321"/>
                  <a:gd name="T12" fmla="*/ 140 w 161"/>
                  <a:gd name="T13" fmla="*/ 86 h 321"/>
                  <a:gd name="T14" fmla="*/ 134 w 161"/>
                  <a:gd name="T15" fmla="*/ 98 h 321"/>
                  <a:gd name="T16" fmla="*/ 129 w 161"/>
                  <a:gd name="T17" fmla="*/ 108 h 321"/>
                  <a:gd name="T18" fmla="*/ 130 w 161"/>
                  <a:gd name="T19" fmla="*/ 117 h 321"/>
                  <a:gd name="T20" fmla="*/ 132 w 161"/>
                  <a:gd name="T21" fmla="*/ 133 h 321"/>
                  <a:gd name="T22" fmla="*/ 130 w 161"/>
                  <a:gd name="T23" fmla="*/ 146 h 321"/>
                  <a:gd name="T24" fmla="*/ 127 w 161"/>
                  <a:gd name="T25" fmla="*/ 161 h 321"/>
                  <a:gd name="T26" fmla="*/ 129 w 161"/>
                  <a:gd name="T27" fmla="*/ 173 h 321"/>
                  <a:gd name="T28" fmla="*/ 136 w 161"/>
                  <a:gd name="T29" fmla="*/ 167 h 321"/>
                  <a:gd name="T30" fmla="*/ 148 w 161"/>
                  <a:gd name="T31" fmla="*/ 171 h 321"/>
                  <a:gd name="T32" fmla="*/ 146 w 161"/>
                  <a:gd name="T33" fmla="*/ 186 h 321"/>
                  <a:gd name="T34" fmla="*/ 148 w 161"/>
                  <a:gd name="T35" fmla="*/ 198 h 321"/>
                  <a:gd name="T36" fmla="*/ 142 w 161"/>
                  <a:gd name="T37" fmla="*/ 211 h 321"/>
                  <a:gd name="T38" fmla="*/ 134 w 161"/>
                  <a:gd name="T39" fmla="*/ 227 h 321"/>
                  <a:gd name="T40" fmla="*/ 132 w 161"/>
                  <a:gd name="T41" fmla="*/ 238 h 321"/>
                  <a:gd name="T42" fmla="*/ 138 w 161"/>
                  <a:gd name="T43" fmla="*/ 250 h 321"/>
                  <a:gd name="T44" fmla="*/ 136 w 161"/>
                  <a:gd name="T45" fmla="*/ 267 h 321"/>
                  <a:gd name="T46" fmla="*/ 142 w 161"/>
                  <a:gd name="T47" fmla="*/ 281 h 321"/>
                  <a:gd name="T48" fmla="*/ 136 w 161"/>
                  <a:gd name="T49" fmla="*/ 294 h 321"/>
                  <a:gd name="T50" fmla="*/ 125 w 161"/>
                  <a:gd name="T51" fmla="*/ 309 h 321"/>
                  <a:gd name="T52" fmla="*/ 113 w 161"/>
                  <a:gd name="T53" fmla="*/ 319 h 321"/>
                  <a:gd name="T54" fmla="*/ 115 w 161"/>
                  <a:gd name="T55" fmla="*/ 308 h 321"/>
                  <a:gd name="T56" fmla="*/ 106 w 161"/>
                  <a:gd name="T57" fmla="*/ 302 h 321"/>
                  <a:gd name="T58" fmla="*/ 90 w 161"/>
                  <a:gd name="T59" fmla="*/ 296 h 321"/>
                  <a:gd name="T60" fmla="*/ 81 w 161"/>
                  <a:gd name="T61" fmla="*/ 296 h 321"/>
                  <a:gd name="T62" fmla="*/ 71 w 161"/>
                  <a:gd name="T63" fmla="*/ 286 h 321"/>
                  <a:gd name="T64" fmla="*/ 65 w 161"/>
                  <a:gd name="T65" fmla="*/ 275 h 321"/>
                  <a:gd name="T66" fmla="*/ 69 w 161"/>
                  <a:gd name="T67" fmla="*/ 258 h 321"/>
                  <a:gd name="T68" fmla="*/ 57 w 161"/>
                  <a:gd name="T69" fmla="*/ 246 h 321"/>
                  <a:gd name="T70" fmla="*/ 59 w 161"/>
                  <a:gd name="T71" fmla="*/ 238 h 321"/>
                  <a:gd name="T72" fmla="*/ 67 w 161"/>
                  <a:gd name="T73" fmla="*/ 227 h 321"/>
                  <a:gd name="T74" fmla="*/ 56 w 161"/>
                  <a:gd name="T75" fmla="*/ 221 h 321"/>
                  <a:gd name="T76" fmla="*/ 48 w 161"/>
                  <a:gd name="T77" fmla="*/ 204 h 321"/>
                  <a:gd name="T78" fmla="*/ 34 w 161"/>
                  <a:gd name="T79" fmla="*/ 184 h 321"/>
                  <a:gd name="T80" fmla="*/ 17 w 161"/>
                  <a:gd name="T81" fmla="*/ 163 h 321"/>
                  <a:gd name="T82" fmla="*/ 6 w 161"/>
                  <a:gd name="T83" fmla="*/ 134 h 321"/>
                  <a:gd name="T84" fmla="*/ 11 w 161"/>
                  <a:gd name="T85" fmla="*/ 125 h 321"/>
                  <a:gd name="T86" fmla="*/ 9 w 161"/>
                  <a:gd name="T87" fmla="*/ 106 h 321"/>
                  <a:gd name="T88" fmla="*/ 8 w 161"/>
                  <a:gd name="T89" fmla="*/ 90 h 321"/>
                  <a:gd name="T90" fmla="*/ 6 w 161"/>
                  <a:gd name="T91" fmla="*/ 81 h 321"/>
                  <a:gd name="T92" fmla="*/ 4 w 161"/>
                  <a:gd name="T93" fmla="*/ 67 h 321"/>
                  <a:gd name="T94" fmla="*/ 2 w 161"/>
                  <a:gd name="T95" fmla="*/ 54 h 321"/>
                  <a:gd name="T96" fmla="*/ 4 w 161"/>
                  <a:gd name="T97" fmla="*/ 46 h 321"/>
                  <a:gd name="T98" fmla="*/ 13 w 161"/>
                  <a:gd name="T99" fmla="*/ 38 h 321"/>
                  <a:gd name="T100" fmla="*/ 27 w 161"/>
                  <a:gd name="T101" fmla="*/ 35 h 321"/>
                  <a:gd name="T102" fmla="*/ 40 w 161"/>
                  <a:gd name="T103" fmla="*/ 33 h 321"/>
                  <a:gd name="T104" fmla="*/ 54 w 161"/>
                  <a:gd name="T105" fmla="*/ 19 h 321"/>
                  <a:gd name="T106" fmla="*/ 67 w 161"/>
                  <a:gd name="T107" fmla="*/ 11 h 321"/>
                  <a:gd name="T108" fmla="*/ 75 w 161"/>
                  <a:gd name="T109" fmla="*/ 10 h 321"/>
                  <a:gd name="T110" fmla="*/ 86 w 161"/>
                  <a:gd name="T111" fmla="*/ 15 h 321"/>
                  <a:gd name="T112" fmla="*/ 94 w 161"/>
                  <a:gd name="T113" fmla="*/ 13 h 321"/>
                  <a:gd name="T114" fmla="*/ 100 w 161"/>
                  <a:gd name="T115" fmla="*/ 15 h 321"/>
                  <a:gd name="T116" fmla="*/ 109 w 161"/>
                  <a:gd name="T117" fmla="*/ 17 h 321"/>
                  <a:gd name="T118" fmla="*/ 134 w 161"/>
                  <a:gd name="T119" fmla="*/ 2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61" h="321">
                    <a:moveTo>
                      <a:pt x="140" y="4"/>
                    </a:moveTo>
                    <a:lnTo>
                      <a:pt x="142" y="2"/>
                    </a:lnTo>
                    <a:lnTo>
                      <a:pt x="140" y="8"/>
                    </a:lnTo>
                    <a:lnTo>
                      <a:pt x="144" y="10"/>
                    </a:lnTo>
                    <a:lnTo>
                      <a:pt x="142" y="11"/>
                    </a:lnTo>
                    <a:lnTo>
                      <a:pt x="142" y="15"/>
                    </a:lnTo>
                    <a:lnTo>
                      <a:pt x="136" y="15"/>
                    </a:lnTo>
                    <a:lnTo>
                      <a:pt x="136" y="17"/>
                    </a:lnTo>
                    <a:lnTo>
                      <a:pt x="136" y="21"/>
                    </a:lnTo>
                    <a:lnTo>
                      <a:pt x="138" y="21"/>
                    </a:lnTo>
                    <a:lnTo>
                      <a:pt x="138" y="25"/>
                    </a:lnTo>
                    <a:lnTo>
                      <a:pt x="138" y="29"/>
                    </a:lnTo>
                    <a:lnTo>
                      <a:pt x="142" y="29"/>
                    </a:lnTo>
                    <a:lnTo>
                      <a:pt x="142" y="33"/>
                    </a:lnTo>
                    <a:lnTo>
                      <a:pt x="144" y="33"/>
                    </a:lnTo>
                    <a:lnTo>
                      <a:pt x="146" y="33"/>
                    </a:lnTo>
                    <a:lnTo>
                      <a:pt x="146" y="35"/>
                    </a:lnTo>
                    <a:lnTo>
                      <a:pt x="148" y="35"/>
                    </a:lnTo>
                    <a:lnTo>
                      <a:pt x="148" y="36"/>
                    </a:lnTo>
                    <a:lnTo>
                      <a:pt x="148" y="38"/>
                    </a:lnTo>
                    <a:lnTo>
                      <a:pt x="152" y="38"/>
                    </a:lnTo>
                    <a:lnTo>
                      <a:pt x="152" y="44"/>
                    </a:lnTo>
                    <a:lnTo>
                      <a:pt x="154" y="44"/>
                    </a:lnTo>
                    <a:lnTo>
                      <a:pt x="154" y="46"/>
                    </a:lnTo>
                    <a:lnTo>
                      <a:pt x="154" y="48"/>
                    </a:lnTo>
                    <a:lnTo>
                      <a:pt x="155" y="48"/>
                    </a:lnTo>
                    <a:lnTo>
                      <a:pt x="155" y="50"/>
                    </a:lnTo>
                    <a:lnTo>
                      <a:pt x="157" y="50"/>
                    </a:lnTo>
                    <a:lnTo>
                      <a:pt x="157" y="52"/>
                    </a:lnTo>
                    <a:lnTo>
                      <a:pt x="157" y="54"/>
                    </a:lnTo>
                    <a:lnTo>
                      <a:pt x="159" y="54"/>
                    </a:lnTo>
                    <a:lnTo>
                      <a:pt x="159" y="56"/>
                    </a:lnTo>
                    <a:lnTo>
                      <a:pt x="157" y="56"/>
                    </a:lnTo>
                    <a:lnTo>
                      <a:pt x="157" y="58"/>
                    </a:lnTo>
                    <a:lnTo>
                      <a:pt x="157" y="56"/>
                    </a:lnTo>
                    <a:lnTo>
                      <a:pt x="157" y="58"/>
                    </a:lnTo>
                    <a:lnTo>
                      <a:pt x="157" y="60"/>
                    </a:lnTo>
                    <a:lnTo>
                      <a:pt x="157" y="61"/>
                    </a:lnTo>
                    <a:lnTo>
                      <a:pt x="157" y="63"/>
                    </a:lnTo>
                    <a:lnTo>
                      <a:pt x="159" y="65"/>
                    </a:lnTo>
                    <a:lnTo>
                      <a:pt x="157" y="65"/>
                    </a:lnTo>
                    <a:lnTo>
                      <a:pt x="157" y="67"/>
                    </a:lnTo>
                    <a:lnTo>
                      <a:pt x="159" y="67"/>
                    </a:lnTo>
                    <a:lnTo>
                      <a:pt x="159" y="65"/>
                    </a:lnTo>
                    <a:lnTo>
                      <a:pt x="159" y="67"/>
                    </a:lnTo>
                    <a:lnTo>
                      <a:pt x="159" y="65"/>
                    </a:lnTo>
                    <a:lnTo>
                      <a:pt x="159" y="67"/>
                    </a:lnTo>
                    <a:lnTo>
                      <a:pt x="159" y="65"/>
                    </a:lnTo>
                    <a:lnTo>
                      <a:pt x="159" y="67"/>
                    </a:lnTo>
                    <a:lnTo>
                      <a:pt x="161" y="67"/>
                    </a:lnTo>
                    <a:lnTo>
                      <a:pt x="161" y="69"/>
                    </a:lnTo>
                    <a:lnTo>
                      <a:pt x="161" y="71"/>
                    </a:lnTo>
                    <a:lnTo>
                      <a:pt x="159" y="71"/>
                    </a:lnTo>
                    <a:lnTo>
                      <a:pt x="161" y="71"/>
                    </a:lnTo>
                    <a:lnTo>
                      <a:pt x="161" y="73"/>
                    </a:lnTo>
                    <a:lnTo>
                      <a:pt x="161" y="75"/>
                    </a:lnTo>
                    <a:lnTo>
                      <a:pt x="159" y="75"/>
                    </a:lnTo>
                    <a:lnTo>
                      <a:pt x="157" y="75"/>
                    </a:lnTo>
                    <a:lnTo>
                      <a:pt x="155" y="75"/>
                    </a:lnTo>
                    <a:lnTo>
                      <a:pt x="155" y="77"/>
                    </a:lnTo>
                    <a:lnTo>
                      <a:pt x="155" y="75"/>
                    </a:lnTo>
                    <a:lnTo>
                      <a:pt x="155" y="77"/>
                    </a:lnTo>
                    <a:lnTo>
                      <a:pt x="154" y="77"/>
                    </a:lnTo>
                    <a:lnTo>
                      <a:pt x="154" y="79"/>
                    </a:lnTo>
                    <a:lnTo>
                      <a:pt x="152" y="79"/>
                    </a:lnTo>
                    <a:lnTo>
                      <a:pt x="150" y="79"/>
                    </a:lnTo>
                    <a:lnTo>
                      <a:pt x="150" y="81"/>
                    </a:lnTo>
                    <a:lnTo>
                      <a:pt x="148" y="81"/>
                    </a:lnTo>
                    <a:lnTo>
                      <a:pt x="146" y="81"/>
                    </a:lnTo>
                    <a:lnTo>
                      <a:pt x="146" y="83"/>
                    </a:lnTo>
                    <a:lnTo>
                      <a:pt x="144" y="83"/>
                    </a:lnTo>
                    <a:lnTo>
                      <a:pt x="146" y="83"/>
                    </a:lnTo>
                    <a:lnTo>
                      <a:pt x="144" y="83"/>
                    </a:lnTo>
                    <a:lnTo>
                      <a:pt x="144" y="85"/>
                    </a:lnTo>
                    <a:lnTo>
                      <a:pt x="142" y="85"/>
                    </a:lnTo>
                    <a:lnTo>
                      <a:pt x="142" y="86"/>
                    </a:lnTo>
                    <a:lnTo>
                      <a:pt x="140" y="86"/>
                    </a:lnTo>
                    <a:lnTo>
                      <a:pt x="140" y="88"/>
                    </a:lnTo>
                    <a:lnTo>
                      <a:pt x="138" y="88"/>
                    </a:lnTo>
                    <a:lnTo>
                      <a:pt x="138" y="90"/>
                    </a:lnTo>
                    <a:lnTo>
                      <a:pt x="136" y="90"/>
                    </a:lnTo>
                    <a:lnTo>
                      <a:pt x="136" y="92"/>
                    </a:lnTo>
                    <a:lnTo>
                      <a:pt x="136" y="90"/>
                    </a:lnTo>
                    <a:lnTo>
                      <a:pt x="136" y="92"/>
                    </a:lnTo>
                    <a:lnTo>
                      <a:pt x="136" y="94"/>
                    </a:lnTo>
                    <a:lnTo>
                      <a:pt x="134" y="94"/>
                    </a:lnTo>
                    <a:lnTo>
                      <a:pt x="134" y="96"/>
                    </a:lnTo>
                    <a:lnTo>
                      <a:pt x="134" y="98"/>
                    </a:lnTo>
                    <a:lnTo>
                      <a:pt x="132" y="98"/>
                    </a:lnTo>
                    <a:lnTo>
                      <a:pt x="132" y="100"/>
                    </a:lnTo>
                    <a:lnTo>
                      <a:pt x="130" y="100"/>
                    </a:lnTo>
                    <a:lnTo>
                      <a:pt x="130" y="102"/>
                    </a:lnTo>
                    <a:lnTo>
                      <a:pt x="130" y="104"/>
                    </a:lnTo>
                    <a:lnTo>
                      <a:pt x="129" y="104"/>
                    </a:lnTo>
                    <a:lnTo>
                      <a:pt x="129" y="106"/>
                    </a:lnTo>
                    <a:lnTo>
                      <a:pt x="127" y="106"/>
                    </a:lnTo>
                    <a:lnTo>
                      <a:pt x="129" y="108"/>
                    </a:lnTo>
                    <a:lnTo>
                      <a:pt x="127" y="108"/>
                    </a:lnTo>
                    <a:lnTo>
                      <a:pt x="129" y="108"/>
                    </a:lnTo>
                    <a:lnTo>
                      <a:pt x="127" y="108"/>
                    </a:lnTo>
                    <a:lnTo>
                      <a:pt x="129" y="108"/>
                    </a:lnTo>
                    <a:lnTo>
                      <a:pt x="129" y="109"/>
                    </a:lnTo>
                    <a:lnTo>
                      <a:pt x="129" y="111"/>
                    </a:lnTo>
                    <a:lnTo>
                      <a:pt x="130" y="111"/>
                    </a:lnTo>
                    <a:lnTo>
                      <a:pt x="129" y="111"/>
                    </a:lnTo>
                    <a:lnTo>
                      <a:pt x="130" y="113"/>
                    </a:lnTo>
                    <a:lnTo>
                      <a:pt x="130" y="115"/>
                    </a:lnTo>
                    <a:lnTo>
                      <a:pt x="129" y="115"/>
                    </a:lnTo>
                    <a:lnTo>
                      <a:pt x="130" y="115"/>
                    </a:lnTo>
                    <a:lnTo>
                      <a:pt x="130" y="117"/>
                    </a:lnTo>
                    <a:lnTo>
                      <a:pt x="130" y="119"/>
                    </a:lnTo>
                    <a:lnTo>
                      <a:pt x="130" y="121"/>
                    </a:lnTo>
                    <a:lnTo>
                      <a:pt x="130" y="123"/>
                    </a:lnTo>
                    <a:lnTo>
                      <a:pt x="130" y="125"/>
                    </a:lnTo>
                    <a:lnTo>
                      <a:pt x="132" y="125"/>
                    </a:lnTo>
                    <a:lnTo>
                      <a:pt x="132" y="127"/>
                    </a:lnTo>
                    <a:lnTo>
                      <a:pt x="132" y="129"/>
                    </a:lnTo>
                    <a:lnTo>
                      <a:pt x="134" y="129"/>
                    </a:lnTo>
                    <a:lnTo>
                      <a:pt x="134" y="131"/>
                    </a:lnTo>
                    <a:lnTo>
                      <a:pt x="134" y="133"/>
                    </a:lnTo>
                    <a:lnTo>
                      <a:pt x="132" y="133"/>
                    </a:lnTo>
                    <a:lnTo>
                      <a:pt x="134" y="134"/>
                    </a:lnTo>
                    <a:lnTo>
                      <a:pt x="136" y="133"/>
                    </a:lnTo>
                    <a:lnTo>
                      <a:pt x="136" y="134"/>
                    </a:lnTo>
                    <a:lnTo>
                      <a:pt x="136" y="136"/>
                    </a:lnTo>
                    <a:lnTo>
                      <a:pt x="136" y="138"/>
                    </a:lnTo>
                    <a:lnTo>
                      <a:pt x="136" y="140"/>
                    </a:lnTo>
                    <a:lnTo>
                      <a:pt x="134" y="142"/>
                    </a:lnTo>
                    <a:lnTo>
                      <a:pt x="132" y="142"/>
                    </a:lnTo>
                    <a:lnTo>
                      <a:pt x="132" y="144"/>
                    </a:lnTo>
                    <a:lnTo>
                      <a:pt x="132" y="146"/>
                    </a:lnTo>
                    <a:lnTo>
                      <a:pt x="130" y="146"/>
                    </a:lnTo>
                    <a:lnTo>
                      <a:pt x="130" y="148"/>
                    </a:lnTo>
                    <a:lnTo>
                      <a:pt x="130" y="150"/>
                    </a:lnTo>
                    <a:lnTo>
                      <a:pt x="130" y="152"/>
                    </a:lnTo>
                    <a:lnTo>
                      <a:pt x="129" y="152"/>
                    </a:lnTo>
                    <a:lnTo>
                      <a:pt x="129" y="154"/>
                    </a:lnTo>
                    <a:lnTo>
                      <a:pt x="129" y="156"/>
                    </a:lnTo>
                    <a:lnTo>
                      <a:pt x="130" y="158"/>
                    </a:lnTo>
                    <a:lnTo>
                      <a:pt x="129" y="158"/>
                    </a:lnTo>
                    <a:lnTo>
                      <a:pt x="129" y="159"/>
                    </a:lnTo>
                    <a:lnTo>
                      <a:pt x="129" y="161"/>
                    </a:lnTo>
                    <a:lnTo>
                      <a:pt x="127" y="161"/>
                    </a:lnTo>
                    <a:lnTo>
                      <a:pt x="127" y="163"/>
                    </a:lnTo>
                    <a:lnTo>
                      <a:pt x="127" y="165"/>
                    </a:lnTo>
                    <a:lnTo>
                      <a:pt x="125" y="165"/>
                    </a:lnTo>
                    <a:lnTo>
                      <a:pt x="125" y="167"/>
                    </a:lnTo>
                    <a:lnTo>
                      <a:pt x="123" y="167"/>
                    </a:lnTo>
                    <a:lnTo>
                      <a:pt x="121" y="167"/>
                    </a:lnTo>
                    <a:lnTo>
                      <a:pt x="121" y="169"/>
                    </a:lnTo>
                    <a:lnTo>
                      <a:pt x="123" y="169"/>
                    </a:lnTo>
                    <a:lnTo>
                      <a:pt x="125" y="169"/>
                    </a:lnTo>
                    <a:lnTo>
                      <a:pt x="127" y="171"/>
                    </a:lnTo>
                    <a:lnTo>
                      <a:pt x="129" y="173"/>
                    </a:lnTo>
                    <a:lnTo>
                      <a:pt x="129" y="175"/>
                    </a:lnTo>
                    <a:lnTo>
                      <a:pt x="130" y="175"/>
                    </a:lnTo>
                    <a:lnTo>
                      <a:pt x="130" y="173"/>
                    </a:lnTo>
                    <a:lnTo>
                      <a:pt x="130" y="171"/>
                    </a:lnTo>
                    <a:lnTo>
                      <a:pt x="132" y="171"/>
                    </a:lnTo>
                    <a:lnTo>
                      <a:pt x="132" y="169"/>
                    </a:lnTo>
                    <a:lnTo>
                      <a:pt x="134" y="169"/>
                    </a:lnTo>
                    <a:lnTo>
                      <a:pt x="134" y="167"/>
                    </a:lnTo>
                    <a:lnTo>
                      <a:pt x="136" y="167"/>
                    </a:lnTo>
                    <a:lnTo>
                      <a:pt x="136" y="169"/>
                    </a:lnTo>
                    <a:lnTo>
                      <a:pt x="136" y="167"/>
                    </a:lnTo>
                    <a:lnTo>
                      <a:pt x="136" y="165"/>
                    </a:lnTo>
                    <a:lnTo>
                      <a:pt x="138" y="165"/>
                    </a:lnTo>
                    <a:lnTo>
                      <a:pt x="138" y="167"/>
                    </a:lnTo>
                    <a:lnTo>
                      <a:pt x="140" y="169"/>
                    </a:lnTo>
                    <a:lnTo>
                      <a:pt x="140" y="171"/>
                    </a:lnTo>
                    <a:lnTo>
                      <a:pt x="140" y="173"/>
                    </a:lnTo>
                    <a:lnTo>
                      <a:pt x="142" y="173"/>
                    </a:lnTo>
                    <a:lnTo>
                      <a:pt x="142" y="175"/>
                    </a:lnTo>
                    <a:lnTo>
                      <a:pt x="144" y="173"/>
                    </a:lnTo>
                    <a:lnTo>
                      <a:pt x="146" y="171"/>
                    </a:lnTo>
                    <a:lnTo>
                      <a:pt x="148" y="171"/>
                    </a:lnTo>
                    <a:lnTo>
                      <a:pt x="148" y="173"/>
                    </a:lnTo>
                    <a:lnTo>
                      <a:pt x="148" y="175"/>
                    </a:lnTo>
                    <a:lnTo>
                      <a:pt x="150" y="175"/>
                    </a:lnTo>
                    <a:lnTo>
                      <a:pt x="150" y="177"/>
                    </a:lnTo>
                    <a:lnTo>
                      <a:pt x="150" y="179"/>
                    </a:lnTo>
                    <a:lnTo>
                      <a:pt x="150" y="181"/>
                    </a:lnTo>
                    <a:lnTo>
                      <a:pt x="148" y="181"/>
                    </a:lnTo>
                    <a:lnTo>
                      <a:pt x="148" y="183"/>
                    </a:lnTo>
                    <a:lnTo>
                      <a:pt x="148" y="184"/>
                    </a:lnTo>
                    <a:lnTo>
                      <a:pt x="148" y="186"/>
                    </a:lnTo>
                    <a:lnTo>
                      <a:pt x="146" y="186"/>
                    </a:lnTo>
                    <a:lnTo>
                      <a:pt x="144" y="188"/>
                    </a:lnTo>
                    <a:lnTo>
                      <a:pt x="142" y="188"/>
                    </a:lnTo>
                    <a:lnTo>
                      <a:pt x="142" y="190"/>
                    </a:lnTo>
                    <a:lnTo>
                      <a:pt x="142" y="192"/>
                    </a:lnTo>
                    <a:lnTo>
                      <a:pt x="142" y="194"/>
                    </a:lnTo>
                    <a:lnTo>
                      <a:pt x="142" y="196"/>
                    </a:lnTo>
                    <a:lnTo>
                      <a:pt x="142" y="198"/>
                    </a:lnTo>
                    <a:lnTo>
                      <a:pt x="142" y="200"/>
                    </a:lnTo>
                    <a:lnTo>
                      <a:pt x="144" y="198"/>
                    </a:lnTo>
                    <a:lnTo>
                      <a:pt x="146" y="198"/>
                    </a:lnTo>
                    <a:lnTo>
                      <a:pt x="148" y="198"/>
                    </a:lnTo>
                    <a:lnTo>
                      <a:pt x="148" y="200"/>
                    </a:lnTo>
                    <a:lnTo>
                      <a:pt x="148" y="202"/>
                    </a:lnTo>
                    <a:lnTo>
                      <a:pt x="146" y="204"/>
                    </a:lnTo>
                    <a:lnTo>
                      <a:pt x="146" y="206"/>
                    </a:lnTo>
                    <a:lnTo>
                      <a:pt x="148" y="206"/>
                    </a:lnTo>
                    <a:lnTo>
                      <a:pt x="148" y="208"/>
                    </a:lnTo>
                    <a:lnTo>
                      <a:pt x="148" y="209"/>
                    </a:lnTo>
                    <a:lnTo>
                      <a:pt x="146" y="209"/>
                    </a:lnTo>
                    <a:lnTo>
                      <a:pt x="144" y="209"/>
                    </a:lnTo>
                    <a:lnTo>
                      <a:pt x="142" y="209"/>
                    </a:lnTo>
                    <a:lnTo>
                      <a:pt x="142" y="211"/>
                    </a:lnTo>
                    <a:lnTo>
                      <a:pt x="140" y="213"/>
                    </a:lnTo>
                    <a:lnTo>
                      <a:pt x="140" y="215"/>
                    </a:lnTo>
                    <a:lnTo>
                      <a:pt x="140" y="217"/>
                    </a:lnTo>
                    <a:lnTo>
                      <a:pt x="138" y="217"/>
                    </a:lnTo>
                    <a:lnTo>
                      <a:pt x="140" y="219"/>
                    </a:lnTo>
                    <a:lnTo>
                      <a:pt x="138" y="219"/>
                    </a:lnTo>
                    <a:lnTo>
                      <a:pt x="136" y="221"/>
                    </a:lnTo>
                    <a:lnTo>
                      <a:pt x="136" y="223"/>
                    </a:lnTo>
                    <a:lnTo>
                      <a:pt x="134" y="223"/>
                    </a:lnTo>
                    <a:lnTo>
                      <a:pt x="134" y="225"/>
                    </a:lnTo>
                    <a:lnTo>
                      <a:pt x="134" y="227"/>
                    </a:lnTo>
                    <a:lnTo>
                      <a:pt x="134" y="231"/>
                    </a:lnTo>
                    <a:lnTo>
                      <a:pt x="132" y="231"/>
                    </a:lnTo>
                    <a:lnTo>
                      <a:pt x="132" y="233"/>
                    </a:lnTo>
                    <a:lnTo>
                      <a:pt x="132" y="234"/>
                    </a:lnTo>
                    <a:lnTo>
                      <a:pt x="130" y="234"/>
                    </a:lnTo>
                    <a:lnTo>
                      <a:pt x="132" y="236"/>
                    </a:lnTo>
                    <a:lnTo>
                      <a:pt x="130" y="236"/>
                    </a:lnTo>
                    <a:lnTo>
                      <a:pt x="130" y="238"/>
                    </a:lnTo>
                    <a:lnTo>
                      <a:pt x="130" y="240"/>
                    </a:lnTo>
                    <a:lnTo>
                      <a:pt x="132" y="240"/>
                    </a:lnTo>
                    <a:lnTo>
                      <a:pt x="132" y="238"/>
                    </a:lnTo>
                    <a:lnTo>
                      <a:pt x="132" y="236"/>
                    </a:lnTo>
                    <a:lnTo>
                      <a:pt x="134" y="236"/>
                    </a:lnTo>
                    <a:lnTo>
                      <a:pt x="136" y="238"/>
                    </a:lnTo>
                    <a:lnTo>
                      <a:pt x="136" y="240"/>
                    </a:lnTo>
                    <a:lnTo>
                      <a:pt x="136" y="242"/>
                    </a:lnTo>
                    <a:lnTo>
                      <a:pt x="138" y="242"/>
                    </a:lnTo>
                    <a:lnTo>
                      <a:pt x="138" y="244"/>
                    </a:lnTo>
                    <a:lnTo>
                      <a:pt x="140" y="246"/>
                    </a:lnTo>
                    <a:lnTo>
                      <a:pt x="140" y="248"/>
                    </a:lnTo>
                    <a:lnTo>
                      <a:pt x="138" y="248"/>
                    </a:lnTo>
                    <a:lnTo>
                      <a:pt x="138" y="250"/>
                    </a:lnTo>
                    <a:lnTo>
                      <a:pt x="138" y="252"/>
                    </a:lnTo>
                    <a:lnTo>
                      <a:pt x="140" y="254"/>
                    </a:lnTo>
                    <a:lnTo>
                      <a:pt x="140" y="256"/>
                    </a:lnTo>
                    <a:lnTo>
                      <a:pt x="138" y="256"/>
                    </a:lnTo>
                    <a:lnTo>
                      <a:pt x="138" y="258"/>
                    </a:lnTo>
                    <a:lnTo>
                      <a:pt x="136" y="259"/>
                    </a:lnTo>
                    <a:lnTo>
                      <a:pt x="134" y="261"/>
                    </a:lnTo>
                    <a:lnTo>
                      <a:pt x="134" y="263"/>
                    </a:lnTo>
                    <a:lnTo>
                      <a:pt x="134" y="265"/>
                    </a:lnTo>
                    <a:lnTo>
                      <a:pt x="134" y="267"/>
                    </a:lnTo>
                    <a:lnTo>
                      <a:pt x="136" y="267"/>
                    </a:lnTo>
                    <a:lnTo>
                      <a:pt x="138" y="267"/>
                    </a:lnTo>
                    <a:lnTo>
                      <a:pt x="140" y="269"/>
                    </a:lnTo>
                    <a:lnTo>
                      <a:pt x="140" y="271"/>
                    </a:lnTo>
                    <a:lnTo>
                      <a:pt x="140" y="273"/>
                    </a:lnTo>
                    <a:lnTo>
                      <a:pt x="142" y="273"/>
                    </a:lnTo>
                    <a:lnTo>
                      <a:pt x="144" y="273"/>
                    </a:lnTo>
                    <a:lnTo>
                      <a:pt x="144" y="275"/>
                    </a:lnTo>
                    <a:lnTo>
                      <a:pt x="144" y="277"/>
                    </a:lnTo>
                    <a:lnTo>
                      <a:pt x="144" y="279"/>
                    </a:lnTo>
                    <a:lnTo>
                      <a:pt x="142" y="279"/>
                    </a:lnTo>
                    <a:lnTo>
                      <a:pt x="142" y="281"/>
                    </a:lnTo>
                    <a:lnTo>
                      <a:pt x="142" y="283"/>
                    </a:lnTo>
                    <a:lnTo>
                      <a:pt x="140" y="283"/>
                    </a:lnTo>
                    <a:lnTo>
                      <a:pt x="140" y="284"/>
                    </a:lnTo>
                    <a:lnTo>
                      <a:pt x="138" y="284"/>
                    </a:lnTo>
                    <a:lnTo>
                      <a:pt x="138" y="286"/>
                    </a:lnTo>
                    <a:lnTo>
                      <a:pt x="138" y="288"/>
                    </a:lnTo>
                    <a:lnTo>
                      <a:pt x="138" y="290"/>
                    </a:lnTo>
                    <a:lnTo>
                      <a:pt x="140" y="290"/>
                    </a:lnTo>
                    <a:lnTo>
                      <a:pt x="140" y="292"/>
                    </a:lnTo>
                    <a:lnTo>
                      <a:pt x="138" y="292"/>
                    </a:lnTo>
                    <a:lnTo>
                      <a:pt x="136" y="294"/>
                    </a:lnTo>
                    <a:lnTo>
                      <a:pt x="134" y="296"/>
                    </a:lnTo>
                    <a:lnTo>
                      <a:pt x="134" y="298"/>
                    </a:lnTo>
                    <a:lnTo>
                      <a:pt x="132" y="298"/>
                    </a:lnTo>
                    <a:lnTo>
                      <a:pt x="132" y="300"/>
                    </a:lnTo>
                    <a:lnTo>
                      <a:pt x="130" y="300"/>
                    </a:lnTo>
                    <a:lnTo>
                      <a:pt x="130" y="302"/>
                    </a:lnTo>
                    <a:lnTo>
                      <a:pt x="127" y="304"/>
                    </a:lnTo>
                    <a:lnTo>
                      <a:pt x="125" y="306"/>
                    </a:lnTo>
                    <a:lnTo>
                      <a:pt x="123" y="308"/>
                    </a:lnTo>
                    <a:lnTo>
                      <a:pt x="123" y="309"/>
                    </a:lnTo>
                    <a:lnTo>
                      <a:pt x="125" y="309"/>
                    </a:lnTo>
                    <a:lnTo>
                      <a:pt x="125" y="311"/>
                    </a:lnTo>
                    <a:lnTo>
                      <a:pt x="123" y="311"/>
                    </a:lnTo>
                    <a:lnTo>
                      <a:pt x="123" y="313"/>
                    </a:lnTo>
                    <a:lnTo>
                      <a:pt x="123" y="315"/>
                    </a:lnTo>
                    <a:lnTo>
                      <a:pt x="121" y="315"/>
                    </a:lnTo>
                    <a:lnTo>
                      <a:pt x="119" y="315"/>
                    </a:lnTo>
                    <a:lnTo>
                      <a:pt x="119" y="317"/>
                    </a:lnTo>
                    <a:lnTo>
                      <a:pt x="117" y="317"/>
                    </a:lnTo>
                    <a:lnTo>
                      <a:pt x="117" y="319"/>
                    </a:lnTo>
                    <a:lnTo>
                      <a:pt x="115" y="319"/>
                    </a:lnTo>
                    <a:lnTo>
                      <a:pt x="113" y="319"/>
                    </a:lnTo>
                    <a:lnTo>
                      <a:pt x="113" y="321"/>
                    </a:lnTo>
                    <a:lnTo>
                      <a:pt x="111" y="319"/>
                    </a:lnTo>
                    <a:lnTo>
                      <a:pt x="111" y="317"/>
                    </a:lnTo>
                    <a:lnTo>
                      <a:pt x="111" y="315"/>
                    </a:lnTo>
                    <a:lnTo>
                      <a:pt x="113" y="315"/>
                    </a:lnTo>
                    <a:lnTo>
                      <a:pt x="111" y="313"/>
                    </a:lnTo>
                    <a:lnTo>
                      <a:pt x="113" y="313"/>
                    </a:lnTo>
                    <a:lnTo>
                      <a:pt x="113" y="311"/>
                    </a:lnTo>
                    <a:lnTo>
                      <a:pt x="113" y="309"/>
                    </a:lnTo>
                    <a:lnTo>
                      <a:pt x="115" y="309"/>
                    </a:lnTo>
                    <a:lnTo>
                      <a:pt x="115" y="308"/>
                    </a:lnTo>
                    <a:lnTo>
                      <a:pt x="113" y="308"/>
                    </a:lnTo>
                    <a:lnTo>
                      <a:pt x="113" y="306"/>
                    </a:lnTo>
                    <a:lnTo>
                      <a:pt x="113" y="304"/>
                    </a:lnTo>
                    <a:lnTo>
                      <a:pt x="115" y="304"/>
                    </a:lnTo>
                    <a:lnTo>
                      <a:pt x="115" y="302"/>
                    </a:lnTo>
                    <a:lnTo>
                      <a:pt x="113" y="302"/>
                    </a:lnTo>
                    <a:lnTo>
                      <a:pt x="113" y="300"/>
                    </a:lnTo>
                    <a:lnTo>
                      <a:pt x="111" y="300"/>
                    </a:lnTo>
                    <a:lnTo>
                      <a:pt x="109" y="302"/>
                    </a:lnTo>
                    <a:lnTo>
                      <a:pt x="107" y="304"/>
                    </a:lnTo>
                    <a:lnTo>
                      <a:pt x="106" y="302"/>
                    </a:lnTo>
                    <a:lnTo>
                      <a:pt x="104" y="300"/>
                    </a:lnTo>
                    <a:lnTo>
                      <a:pt x="104" y="298"/>
                    </a:lnTo>
                    <a:lnTo>
                      <a:pt x="102" y="298"/>
                    </a:lnTo>
                    <a:lnTo>
                      <a:pt x="100" y="296"/>
                    </a:lnTo>
                    <a:lnTo>
                      <a:pt x="100" y="294"/>
                    </a:lnTo>
                    <a:lnTo>
                      <a:pt x="98" y="294"/>
                    </a:lnTo>
                    <a:lnTo>
                      <a:pt x="96" y="294"/>
                    </a:lnTo>
                    <a:lnTo>
                      <a:pt x="94" y="294"/>
                    </a:lnTo>
                    <a:lnTo>
                      <a:pt x="94" y="296"/>
                    </a:lnTo>
                    <a:lnTo>
                      <a:pt x="92" y="296"/>
                    </a:lnTo>
                    <a:lnTo>
                      <a:pt x="90" y="296"/>
                    </a:lnTo>
                    <a:lnTo>
                      <a:pt x="90" y="298"/>
                    </a:lnTo>
                    <a:lnTo>
                      <a:pt x="88" y="298"/>
                    </a:lnTo>
                    <a:lnTo>
                      <a:pt x="88" y="300"/>
                    </a:lnTo>
                    <a:lnTo>
                      <a:pt x="86" y="300"/>
                    </a:lnTo>
                    <a:lnTo>
                      <a:pt x="86" y="298"/>
                    </a:lnTo>
                    <a:lnTo>
                      <a:pt x="86" y="296"/>
                    </a:lnTo>
                    <a:lnTo>
                      <a:pt x="84" y="296"/>
                    </a:lnTo>
                    <a:lnTo>
                      <a:pt x="84" y="298"/>
                    </a:lnTo>
                    <a:lnTo>
                      <a:pt x="84" y="296"/>
                    </a:lnTo>
                    <a:lnTo>
                      <a:pt x="82" y="296"/>
                    </a:lnTo>
                    <a:lnTo>
                      <a:pt x="81" y="296"/>
                    </a:lnTo>
                    <a:lnTo>
                      <a:pt x="79" y="294"/>
                    </a:lnTo>
                    <a:lnTo>
                      <a:pt x="77" y="294"/>
                    </a:lnTo>
                    <a:lnTo>
                      <a:pt x="77" y="292"/>
                    </a:lnTo>
                    <a:lnTo>
                      <a:pt x="77" y="290"/>
                    </a:lnTo>
                    <a:lnTo>
                      <a:pt x="79" y="290"/>
                    </a:lnTo>
                    <a:lnTo>
                      <a:pt x="77" y="290"/>
                    </a:lnTo>
                    <a:lnTo>
                      <a:pt x="77" y="288"/>
                    </a:lnTo>
                    <a:lnTo>
                      <a:pt x="75" y="288"/>
                    </a:lnTo>
                    <a:lnTo>
                      <a:pt x="73" y="288"/>
                    </a:lnTo>
                    <a:lnTo>
                      <a:pt x="71" y="288"/>
                    </a:lnTo>
                    <a:lnTo>
                      <a:pt x="71" y="286"/>
                    </a:lnTo>
                    <a:lnTo>
                      <a:pt x="69" y="286"/>
                    </a:lnTo>
                    <a:lnTo>
                      <a:pt x="69" y="284"/>
                    </a:lnTo>
                    <a:lnTo>
                      <a:pt x="71" y="283"/>
                    </a:lnTo>
                    <a:lnTo>
                      <a:pt x="71" y="281"/>
                    </a:lnTo>
                    <a:lnTo>
                      <a:pt x="71" y="279"/>
                    </a:lnTo>
                    <a:lnTo>
                      <a:pt x="69" y="279"/>
                    </a:lnTo>
                    <a:lnTo>
                      <a:pt x="69" y="281"/>
                    </a:lnTo>
                    <a:lnTo>
                      <a:pt x="67" y="281"/>
                    </a:lnTo>
                    <a:lnTo>
                      <a:pt x="67" y="279"/>
                    </a:lnTo>
                    <a:lnTo>
                      <a:pt x="67" y="277"/>
                    </a:lnTo>
                    <a:lnTo>
                      <a:pt x="65" y="275"/>
                    </a:lnTo>
                    <a:lnTo>
                      <a:pt x="65" y="273"/>
                    </a:lnTo>
                    <a:lnTo>
                      <a:pt x="65" y="271"/>
                    </a:lnTo>
                    <a:lnTo>
                      <a:pt x="63" y="271"/>
                    </a:lnTo>
                    <a:lnTo>
                      <a:pt x="63" y="269"/>
                    </a:lnTo>
                    <a:lnTo>
                      <a:pt x="63" y="267"/>
                    </a:lnTo>
                    <a:lnTo>
                      <a:pt x="65" y="267"/>
                    </a:lnTo>
                    <a:lnTo>
                      <a:pt x="67" y="265"/>
                    </a:lnTo>
                    <a:lnTo>
                      <a:pt x="67" y="263"/>
                    </a:lnTo>
                    <a:lnTo>
                      <a:pt x="67" y="259"/>
                    </a:lnTo>
                    <a:lnTo>
                      <a:pt x="69" y="259"/>
                    </a:lnTo>
                    <a:lnTo>
                      <a:pt x="69" y="258"/>
                    </a:lnTo>
                    <a:lnTo>
                      <a:pt x="69" y="256"/>
                    </a:lnTo>
                    <a:lnTo>
                      <a:pt x="67" y="254"/>
                    </a:lnTo>
                    <a:lnTo>
                      <a:pt x="65" y="254"/>
                    </a:lnTo>
                    <a:lnTo>
                      <a:pt x="63" y="252"/>
                    </a:lnTo>
                    <a:lnTo>
                      <a:pt x="61" y="250"/>
                    </a:lnTo>
                    <a:lnTo>
                      <a:pt x="63" y="250"/>
                    </a:lnTo>
                    <a:lnTo>
                      <a:pt x="63" y="248"/>
                    </a:lnTo>
                    <a:lnTo>
                      <a:pt x="61" y="248"/>
                    </a:lnTo>
                    <a:lnTo>
                      <a:pt x="59" y="248"/>
                    </a:lnTo>
                    <a:lnTo>
                      <a:pt x="59" y="246"/>
                    </a:lnTo>
                    <a:lnTo>
                      <a:pt x="57" y="246"/>
                    </a:lnTo>
                    <a:lnTo>
                      <a:pt x="57" y="244"/>
                    </a:lnTo>
                    <a:lnTo>
                      <a:pt x="57" y="246"/>
                    </a:lnTo>
                    <a:lnTo>
                      <a:pt x="56" y="246"/>
                    </a:lnTo>
                    <a:lnTo>
                      <a:pt x="56" y="242"/>
                    </a:lnTo>
                    <a:lnTo>
                      <a:pt x="56" y="240"/>
                    </a:lnTo>
                    <a:lnTo>
                      <a:pt x="57" y="240"/>
                    </a:lnTo>
                    <a:lnTo>
                      <a:pt x="57" y="242"/>
                    </a:lnTo>
                    <a:lnTo>
                      <a:pt x="59" y="240"/>
                    </a:lnTo>
                    <a:lnTo>
                      <a:pt x="57" y="240"/>
                    </a:lnTo>
                    <a:lnTo>
                      <a:pt x="59" y="240"/>
                    </a:lnTo>
                    <a:lnTo>
                      <a:pt x="59" y="238"/>
                    </a:lnTo>
                    <a:lnTo>
                      <a:pt x="61" y="238"/>
                    </a:lnTo>
                    <a:lnTo>
                      <a:pt x="63" y="236"/>
                    </a:lnTo>
                    <a:lnTo>
                      <a:pt x="63" y="234"/>
                    </a:lnTo>
                    <a:lnTo>
                      <a:pt x="65" y="234"/>
                    </a:lnTo>
                    <a:lnTo>
                      <a:pt x="65" y="233"/>
                    </a:lnTo>
                    <a:lnTo>
                      <a:pt x="65" y="231"/>
                    </a:lnTo>
                    <a:lnTo>
                      <a:pt x="67" y="231"/>
                    </a:lnTo>
                    <a:lnTo>
                      <a:pt x="65" y="231"/>
                    </a:lnTo>
                    <a:lnTo>
                      <a:pt x="65" y="229"/>
                    </a:lnTo>
                    <a:lnTo>
                      <a:pt x="65" y="227"/>
                    </a:lnTo>
                    <a:lnTo>
                      <a:pt x="67" y="227"/>
                    </a:lnTo>
                    <a:lnTo>
                      <a:pt x="67" y="225"/>
                    </a:lnTo>
                    <a:lnTo>
                      <a:pt x="65" y="225"/>
                    </a:lnTo>
                    <a:lnTo>
                      <a:pt x="65" y="227"/>
                    </a:lnTo>
                    <a:lnTo>
                      <a:pt x="63" y="227"/>
                    </a:lnTo>
                    <a:lnTo>
                      <a:pt x="61" y="227"/>
                    </a:lnTo>
                    <a:lnTo>
                      <a:pt x="61" y="225"/>
                    </a:lnTo>
                    <a:lnTo>
                      <a:pt x="59" y="225"/>
                    </a:lnTo>
                    <a:lnTo>
                      <a:pt x="59" y="223"/>
                    </a:lnTo>
                    <a:lnTo>
                      <a:pt x="57" y="223"/>
                    </a:lnTo>
                    <a:lnTo>
                      <a:pt x="56" y="223"/>
                    </a:lnTo>
                    <a:lnTo>
                      <a:pt x="56" y="221"/>
                    </a:lnTo>
                    <a:lnTo>
                      <a:pt x="54" y="221"/>
                    </a:lnTo>
                    <a:lnTo>
                      <a:pt x="54" y="219"/>
                    </a:lnTo>
                    <a:lnTo>
                      <a:pt x="54" y="217"/>
                    </a:lnTo>
                    <a:lnTo>
                      <a:pt x="52" y="217"/>
                    </a:lnTo>
                    <a:lnTo>
                      <a:pt x="52" y="215"/>
                    </a:lnTo>
                    <a:lnTo>
                      <a:pt x="50" y="215"/>
                    </a:lnTo>
                    <a:lnTo>
                      <a:pt x="50" y="213"/>
                    </a:lnTo>
                    <a:lnTo>
                      <a:pt x="48" y="211"/>
                    </a:lnTo>
                    <a:lnTo>
                      <a:pt x="48" y="209"/>
                    </a:lnTo>
                    <a:lnTo>
                      <a:pt x="48" y="206"/>
                    </a:lnTo>
                    <a:lnTo>
                      <a:pt x="48" y="204"/>
                    </a:lnTo>
                    <a:lnTo>
                      <a:pt x="48" y="200"/>
                    </a:lnTo>
                    <a:lnTo>
                      <a:pt x="44" y="200"/>
                    </a:lnTo>
                    <a:lnTo>
                      <a:pt x="44" y="196"/>
                    </a:lnTo>
                    <a:lnTo>
                      <a:pt x="42" y="192"/>
                    </a:lnTo>
                    <a:lnTo>
                      <a:pt x="42" y="190"/>
                    </a:lnTo>
                    <a:lnTo>
                      <a:pt x="40" y="188"/>
                    </a:lnTo>
                    <a:lnTo>
                      <a:pt x="40" y="186"/>
                    </a:lnTo>
                    <a:lnTo>
                      <a:pt x="38" y="186"/>
                    </a:lnTo>
                    <a:lnTo>
                      <a:pt x="36" y="184"/>
                    </a:lnTo>
                    <a:lnTo>
                      <a:pt x="36" y="183"/>
                    </a:lnTo>
                    <a:lnTo>
                      <a:pt x="34" y="184"/>
                    </a:lnTo>
                    <a:lnTo>
                      <a:pt x="33" y="179"/>
                    </a:lnTo>
                    <a:lnTo>
                      <a:pt x="31" y="175"/>
                    </a:lnTo>
                    <a:lnTo>
                      <a:pt x="29" y="177"/>
                    </a:lnTo>
                    <a:lnTo>
                      <a:pt x="29" y="175"/>
                    </a:lnTo>
                    <a:lnTo>
                      <a:pt x="27" y="171"/>
                    </a:lnTo>
                    <a:lnTo>
                      <a:pt x="25" y="173"/>
                    </a:lnTo>
                    <a:lnTo>
                      <a:pt x="25" y="171"/>
                    </a:lnTo>
                    <a:lnTo>
                      <a:pt x="21" y="173"/>
                    </a:lnTo>
                    <a:lnTo>
                      <a:pt x="19" y="171"/>
                    </a:lnTo>
                    <a:lnTo>
                      <a:pt x="19" y="167"/>
                    </a:lnTo>
                    <a:lnTo>
                      <a:pt x="17" y="163"/>
                    </a:lnTo>
                    <a:lnTo>
                      <a:pt x="13" y="156"/>
                    </a:lnTo>
                    <a:lnTo>
                      <a:pt x="11" y="156"/>
                    </a:lnTo>
                    <a:lnTo>
                      <a:pt x="9" y="152"/>
                    </a:lnTo>
                    <a:lnTo>
                      <a:pt x="8" y="146"/>
                    </a:lnTo>
                    <a:lnTo>
                      <a:pt x="6" y="142"/>
                    </a:lnTo>
                    <a:lnTo>
                      <a:pt x="9" y="140"/>
                    </a:lnTo>
                    <a:lnTo>
                      <a:pt x="9" y="138"/>
                    </a:lnTo>
                    <a:lnTo>
                      <a:pt x="9" y="136"/>
                    </a:lnTo>
                    <a:lnTo>
                      <a:pt x="8" y="136"/>
                    </a:lnTo>
                    <a:lnTo>
                      <a:pt x="8" y="134"/>
                    </a:lnTo>
                    <a:lnTo>
                      <a:pt x="6" y="134"/>
                    </a:lnTo>
                    <a:lnTo>
                      <a:pt x="6" y="133"/>
                    </a:lnTo>
                    <a:lnTo>
                      <a:pt x="8" y="133"/>
                    </a:lnTo>
                    <a:lnTo>
                      <a:pt x="9" y="131"/>
                    </a:lnTo>
                    <a:lnTo>
                      <a:pt x="11" y="131"/>
                    </a:lnTo>
                    <a:lnTo>
                      <a:pt x="9" y="129"/>
                    </a:lnTo>
                    <a:lnTo>
                      <a:pt x="11" y="129"/>
                    </a:lnTo>
                    <a:lnTo>
                      <a:pt x="13" y="129"/>
                    </a:lnTo>
                    <a:lnTo>
                      <a:pt x="13" y="127"/>
                    </a:lnTo>
                    <a:lnTo>
                      <a:pt x="11" y="127"/>
                    </a:lnTo>
                    <a:lnTo>
                      <a:pt x="13" y="125"/>
                    </a:lnTo>
                    <a:lnTo>
                      <a:pt x="11" y="125"/>
                    </a:lnTo>
                    <a:lnTo>
                      <a:pt x="11" y="123"/>
                    </a:lnTo>
                    <a:lnTo>
                      <a:pt x="11" y="119"/>
                    </a:lnTo>
                    <a:lnTo>
                      <a:pt x="9" y="119"/>
                    </a:lnTo>
                    <a:lnTo>
                      <a:pt x="8" y="119"/>
                    </a:lnTo>
                    <a:lnTo>
                      <a:pt x="8" y="117"/>
                    </a:lnTo>
                    <a:lnTo>
                      <a:pt x="8" y="115"/>
                    </a:lnTo>
                    <a:lnTo>
                      <a:pt x="6" y="115"/>
                    </a:lnTo>
                    <a:lnTo>
                      <a:pt x="8" y="113"/>
                    </a:lnTo>
                    <a:lnTo>
                      <a:pt x="9" y="111"/>
                    </a:lnTo>
                    <a:lnTo>
                      <a:pt x="9" y="109"/>
                    </a:lnTo>
                    <a:lnTo>
                      <a:pt x="9" y="106"/>
                    </a:lnTo>
                    <a:lnTo>
                      <a:pt x="9" y="104"/>
                    </a:lnTo>
                    <a:lnTo>
                      <a:pt x="9" y="102"/>
                    </a:lnTo>
                    <a:lnTo>
                      <a:pt x="8" y="100"/>
                    </a:lnTo>
                    <a:lnTo>
                      <a:pt x="8" y="98"/>
                    </a:lnTo>
                    <a:lnTo>
                      <a:pt x="9" y="98"/>
                    </a:lnTo>
                    <a:lnTo>
                      <a:pt x="9" y="96"/>
                    </a:lnTo>
                    <a:lnTo>
                      <a:pt x="11" y="96"/>
                    </a:lnTo>
                    <a:lnTo>
                      <a:pt x="11" y="94"/>
                    </a:lnTo>
                    <a:lnTo>
                      <a:pt x="11" y="92"/>
                    </a:lnTo>
                    <a:lnTo>
                      <a:pt x="9" y="90"/>
                    </a:lnTo>
                    <a:lnTo>
                      <a:pt x="8" y="90"/>
                    </a:lnTo>
                    <a:lnTo>
                      <a:pt x="6" y="88"/>
                    </a:lnTo>
                    <a:lnTo>
                      <a:pt x="4" y="90"/>
                    </a:lnTo>
                    <a:lnTo>
                      <a:pt x="4" y="88"/>
                    </a:lnTo>
                    <a:lnTo>
                      <a:pt x="2" y="88"/>
                    </a:lnTo>
                    <a:lnTo>
                      <a:pt x="2" y="86"/>
                    </a:lnTo>
                    <a:lnTo>
                      <a:pt x="4" y="86"/>
                    </a:lnTo>
                    <a:lnTo>
                      <a:pt x="4" y="85"/>
                    </a:lnTo>
                    <a:lnTo>
                      <a:pt x="6" y="85"/>
                    </a:lnTo>
                    <a:lnTo>
                      <a:pt x="8" y="85"/>
                    </a:lnTo>
                    <a:lnTo>
                      <a:pt x="8" y="83"/>
                    </a:lnTo>
                    <a:lnTo>
                      <a:pt x="6" y="81"/>
                    </a:lnTo>
                    <a:lnTo>
                      <a:pt x="8" y="81"/>
                    </a:lnTo>
                    <a:lnTo>
                      <a:pt x="8" y="79"/>
                    </a:lnTo>
                    <a:lnTo>
                      <a:pt x="8" y="77"/>
                    </a:lnTo>
                    <a:lnTo>
                      <a:pt x="8" y="75"/>
                    </a:lnTo>
                    <a:lnTo>
                      <a:pt x="8" y="73"/>
                    </a:lnTo>
                    <a:lnTo>
                      <a:pt x="8" y="71"/>
                    </a:lnTo>
                    <a:lnTo>
                      <a:pt x="6" y="71"/>
                    </a:lnTo>
                    <a:lnTo>
                      <a:pt x="8" y="71"/>
                    </a:lnTo>
                    <a:lnTo>
                      <a:pt x="6" y="69"/>
                    </a:lnTo>
                    <a:lnTo>
                      <a:pt x="6" y="67"/>
                    </a:lnTo>
                    <a:lnTo>
                      <a:pt x="4" y="67"/>
                    </a:lnTo>
                    <a:lnTo>
                      <a:pt x="2" y="67"/>
                    </a:lnTo>
                    <a:lnTo>
                      <a:pt x="2" y="65"/>
                    </a:lnTo>
                    <a:lnTo>
                      <a:pt x="2" y="63"/>
                    </a:lnTo>
                    <a:lnTo>
                      <a:pt x="4" y="61"/>
                    </a:lnTo>
                    <a:lnTo>
                      <a:pt x="4" y="63"/>
                    </a:lnTo>
                    <a:lnTo>
                      <a:pt x="4" y="61"/>
                    </a:lnTo>
                    <a:lnTo>
                      <a:pt x="4" y="60"/>
                    </a:lnTo>
                    <a:lnTo>
                      <a:pt x="4" y="58"/>
                    </a:lnTo>
                    <a:lnTo>
                      <a:pt x="4" y="56"/>
                    </a:lnTo>
                    <a:lnTo>
                      <a:pt x="2" y="56"/>
                    </a:lnTo>
                    <a:lnTo>
                      <a:pt x="2" y="54"/>
                    </a:lnTo>
                    <a:lnTo>
                      <a:pt x="0" y="54"/>
                    </a:lnTo>
                    <a:lnTo>
                      <a:pt x="2" y="52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2" y="50"/>
                    </a:lnTo>
                    <a:lnTo>
                      <a:pt x="2" y="48"/>
                    </a:lnTo>
                    <a:lnTo>
                      <a:pt x="4" y="50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4" y="44"/>
                    </a:lnTo>
                    <a:lnTo>
                      <a:pt x="4" y="46"/>
                    </a:lnTo>
                    <a:lnTo>
                      <a:pt x="4" y="44"/>
                    </a:lnTo>
                    <a:lnTo>
                      <a:pt x="2" y="44"/>
                    </a:lnTo>
                    <a:lnTo>
                      <a:pt x="2" y="42"/>
                    </a:lnTo>
                    <a:lnTo>
                      <a:pt x="4" y="42"/>
                    </a:lnTo>
                    <a:lnTo>
                      <a:pt x="4" y="40"/>
                    </a:lnTo>
                    <a:lnTo>
                      <a:pt x="6" y="40"/>
                    </a:lnTo>
                    <a:lnTo>
                      <a:pt x="8" y="40"/>
                    </a:lnTo>
                    <a:lnTo>
                      <a:pt x="9" y="40"/>
                    </a:lnTo>
                    <a:lnTo>
                      <a:pt x="9" y="38"/>
                    </a:lnTo>
                    <a:lnTo>
                      <a:pt x="11" y="38"/>
                    </a:lnTo>
                    <a:lnTo>
                      <a:pt x="13" y="38"/>
                    </a:lnTo>
                    <a:lnTo>
                      <a:pt x="15" y="36"/>
                    </a:lnTo>
                    <a:lnTo>
                      <a:pt x="17" y="36"/>
                    </a:lnTo>
                    <a:lnTo>
                      <a:pt x="17" y="38"/>
                    </a:lnTo>
                    <a:lnTo>
                      <a:pt x="19" y="38"/>
                    </a:lnTo>
                    <a:lnTo>
                      <a:pt x="19" y="40"/>
                    </a:lnTo>
                    <a:lnTo>
                      <a:pt x="21" y="38"/>
                    </a:lnTo>
                    <a:lnTo>
                      <a:pt x="23" y="38"/>
                    </a:lnTo>
                    <a:lnTo>
                      <a:pt x="23" y="36"/>
                    </a:lnTo>
                    <a:lnTo>
                      <a:pt x="23" y="35"/>
                    </a:lnTo>
                    <a:lnTo>
                      <a:pt x="25" y="35"/>
                    </a:lnTo>
                    <a:lnTo>
                      <a:pt x="27" y="35"/>
                    </a:lnTo>
                    <a:lnTo>
                      <a:pt x="27" y="33"/>
                    </a:lnTo>
                    <a:lnTo>
                      <a:pt x="29" y="33"/>
                    </a:lnTo>
                    <a:lnTo>
                      <a:pt x="31" y="33"/>
                    </a:lnTo>
                    <a:lnTo>
                      <a:pt x="33" y="35"/>
                    </a:lnTo>
                    <a:lnTo>
                      <a:pt x="31" y="35"/>
                    </a:lnTo>
                    <a:lnTo>
                      <a:pt x="33" y="35"/>
                    </a:lnTo>
                    <a:lnTo>
                      <a:pt x="34" y="36"/>
                    </a:lnTo>
                    <a:lnTo>
                      <a:pt x="34" y="35"/>
                    </a:lnTo>
                    <a:lnTo>
                      <a:pt x="38" y="35"/>
                    </a:lnTo>
                    <a:lnTo>
                      <a:pt x="42" y="35"/>
                    </a:lnTo>
                    <a:lnTo>
                      <a:pt x="40" y="33"/>
                    </a:lnTo>
                    <a:lnTo>
                      <a:pt x="38" y="31"/>
                    </a:lnTo>
                    <a:lnTo>
                      <a:pt x="42" y="29"/>
                    </a:lnTo>
                    <a:lnTo>
                      <a:pt x="44" y="29"/>
                    </a:lnTo>
                    <a:lnTo>
                      <a:pt x="44" y="27"/>
                    </a:lnTo>
                    <a:lnTo>
                      <a:pt x="46" y="27"/>
                    </a:lnTo>
                    <a:lnTo>
                      <a:pt x="48" y="27"/>
                    </a:lnTo>
                    <a:lnTo>
                      <a:pt x="46" y="25"/>
                    </a:lnTo>
                    <a:lnTo>
                      <a:pt x="48" y="23"/>
                    </a:lnTo>
                    <a:lnTo>
                      <a:pt x="50" y="21"/>
                    </a:lnTo>
                    <a:lnTo>
                      <a:pt x="54" y="21"/>
                    </a:lnTo>
                    <a:lnTo>
                      <a:pt x="54" y="19"/>
                    </a:lnTo>
                    <a:lnTo>
                      <a:pt x="56" y="19"/>
                    </a:lnTo>
                    <a:lnTo>
                      <a:pt x="57" y="17"/>
                    </a:lnTo>
                    <a:lnTo>
                      <a:pt x="57" y="15"/>
                    </a:lnTo>
                    <a:lnTo>
                      <a:pt x="59" y="15"/>
                    </a:lnTo>
                    <a:lnTo>
                      <a:pt x="59" y="13"/>
                    </a:lnTo>
                    <a:lnTo>
                      <a:pt x="61" y="11"/>
                    </a:lnTo>
                    <a:lnTo>
                      <a:pt x="61" y="10"/>
                    </a:lnTo>
                    <a:lnTo>
                      <a:pt x="63" y="10"/>
                    </a:lnTo>
                    <a:lnTo>
                      <a:pt x="65" y="10"/>
                    </a:lnTo>
                    <a:lnTo>
                      <a:pt x="65" y="11"/>
                    </a:lnTo>
                    <a:lnTo>
                      <a:pt x="67" y="11"/>
                    </a:lnTo>
                    <a:lnTo>
                      <a:pt x="67" y="13"/>
                    </a:lnTo>
                    <a:lnTo>
                      <a:pt x="67" y="15"/>
                    </a:lnTo>
                    <a:lnTo>
                      <a:pt x="69" y="13"/>
                    </a:lnTo>
                    <a:lnTo>
                      <a:pt x="69" y="15"/>
                    </a:lnTo>
                    <a:lnTo>
                      <a:pt x="71" y="13"/>
                    </a:lnTo>
                    <a:lnTo>
                      <a:pt x="73" y="13"/>
                    </a:lnTo>
                    <a:lnTo>
                      <a:pt x="73" y="11"/>
                    </a:lnTo>
                    <a:lnTo>
                      <a:pt x="75" y="11"/>
                    </a:lnTo>
                    <a:lnTo>
                      <a:pt x="75" y="13"/>
                    </a:lnTo>
                    <a:lnTo>
                      <a:pt x="75" y="11"/>
                    </a:lnTo>
                    <a:lnTo>
                      <a:pt x="75" y="10"/>
                    </a:lnTo>
                    <a:lnTo>
                      <a:pt x="77" y="10"/>
                    </a:lnTo>
                    <a:lnTo>
                      <a:pt x="79" y="11"/>
                    </a:lnTo>
                    <a:lnTo>
                      <a:pt x="81" y="11"/>
                    </a:lnTo>
                    <a:lnTo>
                      <a:pt x="82" y="13"/>
                    </a:lnTo>
                    <a:lnTo>
                      <a:pt x="82" y="15"/>
                    </a:lnTo>
                    <a:lnTo>
                      <a:pt x="82" y="17"/>
                    </a:lnTo>
                    <a:lnTo>
                      <a:pt x="84" y="17"/>
                    </a:lnTo>
                    <a:lnTo>
                      <a:pt x="84" y="15"/>
                    </a:lnTo>
                    <a:lnTo>
                      <a:pt x="86" y="15"/>
                    </a:lnTo>
                    <a:lnTo>
                      <a:pt x="86" y="13"/>
                    </a:lnTo>
                    <a:lnTo>
                      <a:pt x="86" y="15"/>
                    </a:lnTo>
                    <a:lnTo>
                      <a:pt x="86" y="17"/>
                    </a:lnTo>
                    <a:lnTo>
                      <a:pt x="88" y="17"/>
                    </a:lnTo>
                    <a:lnTo>
                      <a:pt x="90" y="17"/>
                    </a:lnTo>
                    <a:lnTo>
                      <a:pt x="92" y="17"/>
                    </a:lnTo>
                    <a:lnTo>
                      <a:pt x="92" y="15"/>
                    </a:lnTo>
                    <a:lnTo>
                      <a:pt x="94" y="15"/>
                    </a:lnTo>
                    <a:lnTo>
                      <a:pt x="92" y="15"/>
                    </a:lnTo>
                    <a:lnTo>
                      <a:pt x="92" y="13"/>
                    </a:lnTo>
                    <a:lnTo>
                      <a:pt x="94" y="13"/>
                    </a:lnTo>
                    <a:lnTo>
                      <a:pt x="92" y="13"/>
                    </a:lnTo>
                    <a:lnTo>
                      <a:pt x="94" y="13"/>
                    </a:lnTo>
                    <a:lnTo>
                      <a:pt x="92" y="11"/>
                    </a:lnTo>
                    <a:lnTo>
                      <a:pt x="92" y="13"/>
                    </a:lnTo>
                    <a:lnTo>
                      <a:pt x="92" y="11"/>
                    </a:lnTo>
                    <a:lnTo>
                      <a:pt x="92" y="10"/>
                    </a:lnTo>
                    <a:lnTo>
                      <a:pt x="94" y="10"/>
                    </a:lnTo>
                    <a:lnTo>
                      <a:pt x="94" y="11"/>
                    </a:lnTo>
                    <a:lnTo>
                      <a:pt x="96" y="11"/>
                    </a:lnTo>
                    <a:lnTo>
                      <a:pt x="98" y="11"/>
                    </a:lnTo>
                    <a:lnTo>
                      <a:pt x="100" y="11"/>
                    </a:lnTo>
                    <a:lnTo>
                      <a:pt x="98" y="13"/>
                    </a:lnTo>
                    <a:lnTo>
                      <a:pt x="100" y="15"/>
                    </a:lnTo>
                    <a:lnTo>
                      <a:pt x="100" y="13"/>
                    </a:lnTo>
                    <a:lnTo>
                      <a:pt x="102" y="13"/>
                    </a:lnTo>
                    <a:lnTo>
                      <a:pt x="104" y="11"/>
                    </a:lnTo>
                    <a:lnTo>
                      <a:pt x="106" y="11"/>
                    </a:lnTo>
                    <a:lnTo>
                      <a:pt x="107" y="10"/>
                    </a:lnTo>
                    <a:lnTo>
                      <a:pt x="107" y="11"/>
                    </a:lnTo>
                    <a:lnTo>
                      <a:pt x="107" y="13"/>
                    </a:lnTo>
                    <a:lnTo>
                      <a:pt x="107" y="15"/>
                    </a:lnTo>
                    <a:lnTo>
                      <a:pt x="107" y="17"/>
                    </a:lnTo>
                    <a:lnTo>
                      <a:pt x="107" y="19"/>
                    </a:lnTo>
                    <a:lnTo>
                      <a:pt x="109" y="17"/>
                    </a:lnTo>
                    <a:lnTo>
                      <a:pt x="111" y="17"/>
                    </a:lnTo>
                    <a:lnTo>
                      <a:pt x="115" y="15"/>
                    </a:lnTo>
                    <a:lnTo>
                      <a:pt x="115" y="13"/>
                    </a:lnTo>
                    <a:lnTo>
                      <a:pt x="121" y="11"/>
                    </a:lnTo>
                    <a:lnTo>
                      <a:pt x="123" y="10"/>
                    </a:lnTo>
                    <a:lnTo>
                      <a:pt x="125" y="8"/>
                    </a:lnTo>
                    <a:lnTo>
                      <a:pt x="127" y="6"/>
                    </a:lnTo>
                    <a:lnTo>
                      <a:pt x="130" y="4"/>
                    </a:lnTo>
                    <a:lnTo>
                      <a:pt x="130" y="2"/>
                    </a:lnTo>
                    <a:lnTo>
                      <a:pt x="132" y="2"/>
                    </a:lnTo>
                    <a:lnTo>
                      <a:pt x="134" y="2"/>
                    </a:lnTo>
                    <a:lnTo>
                      <a:pt x="134" y="0"/>
                    </a:lnTo>
                    <a:lnTo>
                      <a:pt x="134" y="2"/>
                    </a:lnTo>
                    <a:lnTo>
                      <a:pt x="136" y="2"/>
                    </a:lnTo>
                    <a:lnTo>
                      <a:pt x="136" y="4"/>
                    </a:lnTo>
                    <a:lnTo>
                      <a:pt x="138" y="6"/>
                    </a:lnTo>
                    <a:lnTo>
                      <a:pt x="138" y="4"/>
                    </a:lnTo>
                    <a:lnTo>
                      <a:pt x="140" y="4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38">
                <a:extLst>
                  <a:ext uri="{FF2B5EF4-FFF2-40B4-BE49-F238E27FC236}">
                    <a16:creationId xmlns="" xmlns:a16="http://schemas.microsoft.com/office/drawing/2014/main" id="{0ED1ECD9-2717-41F7-881D-B41B918F65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05638" y="3908426"/>
                <a:ext cx="328613" cy="290513"/>
              </a:xfrm>
              <a:custGeom>
                <a:avLst/>
                <a:gdLst>
                  <a:gd name="T0" fmla="*/ 198 w 207"/>
                  <a:gd name="T1" fmla="*/ 156 h 183"/>
                  <a:gd name="T2" fmla="*/ 202 w 207"/>
                  <a:gd name="T3" fmla="*/ 158 h 183"/>
                  <a:gd name="T4" fmla="*/ 204 w 207"/>
                  <a:gd name="T5" fmla="*/ 162 h 183"/>
                  <a:gd name="T6" fmla="*/ 206 w 207"/>
                  <a:gd name="T7" fmla="*/ 166 h 183"/>
                  <a:gd name="T8" fmla="*/ 207 w 207"/>
                  <a:gd name="T9" fmla="*/ 170 h 183"/>
                  <a:gd name="T10" fmla="*/ 207 w 207"/>
                  <a:gd name="T11" fmla="*/ 175 h 183"/>
                  <a:gd name="T12" fmla="*/ 204 w 207"/>
                  <a:gd name="T13" fmla="*/ 177 h 183"/>
                  <a:gd name="T14" fmla="*/ 204 w 207"/>
                  <a:gd name="T15" fmla="*/ 183 h 183"/>
                  <a:gd name="T16" fmla="*/ 202 w 207"/>
                  <a:gd name="T17" fmla="*/ 179 h 183"/>
                  <a:gd name="T18" fmla="*/ 202 w 207"/>
                  <a:gd name="T19" fmla="*/ 177 h 183"/>
                  <a:gd name="T20" fmla="*/ 204 w 207"/>
                  <a:gd name="T21" fmla="*/ 173 h 183"/>
                  <a:gd name="T22" fmla="*/ 202 w 207"/>
                  <a:gd name="T23" fmla="*/ 170 h 183"/>
                  <a:gd name="T24" fmla="*/ 200 w 207"/>
                  <a:gd name="T25" fmla="*/ 166 h 183"/>
                  <a:gd name="T26" fmla="*/ 198 w 207"/>
                  <a:gd name="T27" fmla="*/ 166 h 183"/>
                  <a:gd name="T28" fmla="*/ 196 w 207"/>
                  <a:gd name="T29" fmla="*/ 162 h 183"/>
                  <a:gd name="T30" fmla="*/ 196 w 207"/>
                  <a:gd name="T31" fmla="*/ 156 h 183"/>
                  <a:gd name="T32" fmla="*/ 198 w 207"/>
                  <a:gd name="T33" fmla="*/ 152 h 183"/>
                  <a:gd name="T34" fmla="*/ 12 w 207"/>
                  <a:gd name="T35" fmla="*/ 14 h 183"/>
                  <a:gd name="T36" fmla="*/ 12 w 207"/>
                  <a:gd name="T37" fmla="*/ 20 h 183"/>
                  <a:gd name="T38" fmla="*/ 13 w 207"/>
                  <a:gd name="T39" fmla="*/ 25 h 183"/>
                  <a:gd name="T40" fmla="*/ 12 w 207"/>
                  <a:gd name="T41" fmla="*/ 29 h 183"/>
                  <a:gd name="T42" fmla="*/ 8 w 207"/>
                  <a:gd name="T43" fmla="*/ 27 h 183"/>
                  <a:gd name="T44" fmla="*/ 6 w 207"/>
                  <a:gd name="T45" fmla="*/ 31 h 183"/>
                  <a:gd name="T46" fmla="*/ 4 w 207"/>
                  <a:gd name="T47" fmla="*/ 33 h 183"/>
                  <a:gd name="T48" fmla="*/ 2 w 207"/>
                  <a:gd name="T49" fmla="*/ 35 h 183"/>
                  <a:gd name="T50" fmla="*/ 0 w 207"/>
                  <a:gd name="T51" fmla="*/ 31 h 183"/>
                  <a:gd name="T52" fmla="*/ 2 w 207"/>
                  <a:gd name="T53" fmla="*/ 25 h 183"/>
                  <a:gd name="T54" fmla="*/ 6 w 207"/>
                  <a:gd name="T55" fmla="*/ 22 h 183"/>
                  <a:gd name="T56" fmla="*/ 6 w 207"/>
                  <a:gd name="T57" fmla="*/ 20 h 183"/>
                  <a:gd name="T58" fmla="*/ 8 w 207"/>
                  <a:gd name="T59" fmla="*/ 16 h 183"/>
                  <a:gd name="T60" fmla="*/ 12 w 207"/>
                  <a:gd name="T61" fmla="*/ 14 h 183"/>
                  <a:gd name="T62" fmla="*/ 27 w 207"/>
                  <a:gd name="T63" fmla="*/ 2 h 183"/>
                  <a:gd name="T64" fmla="*/ 29 w 207"/>
                  <a:gd name="T65" fmla="*/ 2 h 183"/>
                  <a:gd name="T66" fmla="*/ 31 w 207"/>
                  <a:gd name="T67" fmla="*/ 4 h 183"/>
                  <a:gd name="T68" fmla="*/ 33 w 207"/>
                  <a:gd name="T69" fmla="*/ 0 h 183"/>
                  <a:gd name="T70" fmla="*/ 35 w 207"/>
                  <a:gd name="T71" fmla="*/ 4 h 183"/>
                  <a:gd name="T72" fmla="*/ 40 w 207"/>
                  <a:gd name="T73" fmla="*/ 4 h 183"/>
                  <a:gd name="T74" fmla="*/ 37 w 207"/>
                  <a:gd name="T75" fmla="*/ 6 h 183"/>
                  <a:gd name="T76" fmla="*/ 37 w 207"/>
                  <a:gd name="T77" fmla="*/ 12 h 183"/>
                  <a:gd name="T78" fmla="*/ 38 w 207"/>
                  <a:gd name="T79" fmla="*/ 8 h 183"/>
                  <a:gd name="T80" fmla="*/ 42 w 207"/>
                  <a:gd name="T81" fmla="*/ 4 h 183"/>
                  <a:gd name="T82" fmla="*/ 46 w 207"/>
                  <a:gd name="T83" fmla="*/ 6 h 183"/>
                  <a:gd name="T84" fmla="*/ 42 w 207"/>
                  <a:gd name="T85" fmla="*/ 8 h 183"/>
                  <a:gd name="T86" fmla="*/ 42 w 207"/>
                  <a:gd name="T87" fmla="*/ 14 h 183"/>
                  <a:gd name="T88" fmla="*/ 44 w 207"/>
                  <a:gd name="T89" fmla="*/ 18 h 183"/>
                  <a:gd name="T90" fmla="*/ 46 w 207"/>
                  <a:gd name="T91" fmla="*/ 24 h 183"/>
                  <a:gd name="T92" fmla="*/ 44 w 207"/>
                  <a:gd name="T93" fmla="*/ 25 h 183"/>
                  <a:gd name="T94" fmla="*/ 44 w 207"/>
                  <a:gd name="T95" fmla="*/ 29 h 183"/>
                  <a:gd name="T96" fmla="*/ 42 w 207"/>
                  <a:gd name="T97" fmla="*/ 33 h 183"/>
                  <a:gd name="T98" fmla="*/ 40 w 207"/>
                  <a:gd name="T99" fmla="*/ 37 h 183"/>
                  <a:gd name="T100" fmla="*/ 38 w 207"/>
                  <a:gd name="T101" fmla="*/ 35 h 183"/>
                  <a:gd name="T102" fmla="*/ 37 w 207"/>
                  <a:gd name="T103" fmla="*/ 31 h 183"/>
                  <a:gd name="T104" fmla="*/ 33 w 207"/>
                  <a:gd name="T105" fmla="*/ 29 h 183"/>
                  <a:gd name="T106" fmla="*/ 27 w 207"/>
                  <a:gd name="T107" fmla="*/ 24 h 183"/>
                  <a:gd name="T108" fmla="*/ 25 w 207"/>
                  <a:gd name="T109" fmla="*/ 29 h 183"/>
                  <a:gd name="T110" fmla="*/ 25 w 207"/>
                  <a:gd name="T111" fmla="*/ 31 h 183"/>
                  <a:gd name="T112" fmla="*/ 23 w 207"/>
                  <a:gd name="T113" fmla="*/ 33 h 183"/>
                  <a:gd name="T114" fmla="*/ 21 w 207"/>
                  <a:gd name="T115" fmla="*/ 27 h 183"/>
                  <a:gd name="T116" fmla="*/ 21 w 207"/>
                  <a:gd name="T117" fmla="*/ 22 h 183"/>
                  <a:gd name="T118" fmla="*/ 23 w 207"/>
                  <a:gd name="T119" fmla="*/ 18 h 183"/>
                  <a:gd name="T120" fmla="*/ 23 w 207"/>
                  <a:gd name="T121" fmla="*/ 12 h 183"/>
                  <a:gd name="T122" fmla="*/ 21 w 207"/>
                  <a:gd name="T123" fmla="*/ 10 h 183"/>
                  <a:gd name="T124" fmla="*/ 21 w 207"/>
                  <a:gd name="T125" fmla="*/ 4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7" h="183">
                    <a:moveTo>
                      <a:pt x="198" y="152"/>
                    </a:moveTo>
                    <a:lnTo>
                      <a:pt x="198" y="154"/>
                    </a:lnTo>
                    <a:lnTo>
                      <a:pt x="198" y="156"/>
                    </a:lnTo>
                    <a:lnTo>
                      <a:pt x="198" y="158"/>
                    </a:lnTo>
                    <a:lnTo>
                      <a:pt x="200" y="158"/>
                    </a:lnTo>
                    <a:lnTo>
                      <a:pt x="202" y="158"/>
                    </a:lnTo>
                    <a:lnTo>
                      <a:pt x="202" y="160"/>
                    </a:lnTo>
                    <a:lnTo>
                      <a:pt x="204" y="160"/>
                    </a:lnTo>
                    <a:lnTo>
                      <a:pt x="204" y="162"/>
                    </a:lnTo>
                    <a:lnTo>
                      <a:pt x="206" y="162"/>
                    </a:lnTo>
                    <a:lnTo>
                      <a:pt x="206" y="164"/>
                    </a:lnTo>
                    <a:lnTo>
                      <a:pt x="206" y="166"/>
                    </a:lnTo>
                    <a:lnTo>
                      <a:pt x="207" y="166"/>
                    </a:lnTo>
                    <a:lnTo>
                      <a:pt x="207" y="168"/>
                    </a:lnTo>
                    <a:lnTo>
                      <a:pt x="207" y="170"/>
                    </a:lnTo>
                    <a:lnTo>
                      <a:pt x="207" y="172"/>
                    </a:lnTo>
                    <a:lnTo>
                      <a:pt x="207" y="173"/>
                    </a:lnTo>
                    <a:lnTo>
                      <a:pt x="207" y="175"/>
                    </a:lnTo>
                    <a:lnTo>
                      <a:pt x="206" y="175"/>
                    </a:lnTo>
                    <a:lnTo>
                      <a:pt x="206" y="177"/>
                    </a:lnTo>
                    <a:lnTo>
                      <a:pt x="204" y="177"/>
                    </a:lnTo>
                    <a:lnTo>
                      <a:pt x="204" y="179"/>
                    </a:lnTo>
                    <a:lnTo>
                      <a:pt x="202" y="181"/>
                    </a:lnTo>
                    <a:lnTo>
                      <a:pt x="204" y="183"/>
                    </a:lnTo>
                    <a:lnTo>
                      <a:pt x="202" y="183"/>
                    </a:lnTo>
                    <a:lnTo>
                      <a:pt x="202" y="181"/>
                    </a:lnTo>
                    <a:lnTo>
                      <a:pt x="202" y="179"/>
                    </a:lnTo>
                    <a:lnTo>
                      <a:pt x="202" y="181"/>
                    </a:lnTo>
                    <a:lnTo>
                      <a:pt x="202" y="179"/>
                    </a:lnTo>
                    <a:lnTo>
                      <a:pt x="202" y="177"/>
                    </a:lnTo>
                    <a:lnTo>
                      <a:pt x="202" y="175"/>
                    </a:lnTo>
                    <a:lnTo>
                      <a:pt x="204" y="175"/>
                    </a:lnTo>
                    <a:lnTo>
                      <a:pt x="204" y="173"/>
                    </a:lnTo>
                    <a:lnTo>
                      <a:pt x="204" y="172"/>
                    </a:lnTo>
                    <a:lnTo>
                      <a:pt x="204" y="170"/>
                    </a:lnTo>
                    <a:lnTo>
                      <a:pt x="202" y="170"/>
                    </a:lnTo>
                    <a:lnTo>
                      <a:pt x="202" y="168"/>
                    </a:lnTo>
                    <a:lnTo>
                      <a:pt x="200" y="168"/>
                    </a:lnTo>
                    <a:lnTo>
                      <a:pt x="200" y="166"/>
                    </a:lnTo>
                    <a:lnTo>
                      <a:pt x="198" y="166"/>
                    </a:lnTo>
                    <a:lnTo>
                      <a:pt x="200" y="166"/>
                    </a:lnTo>
                    <a:lnTo>
                      <a:pt x="198" y="166"/>
                    </a:lnTo>
                    <a:lnTo>
                      <a:pt x="198" y="164"/>
                    </a:lnTo>
                    <a:lnTo>
                      <a:pt x="196" y="164"/>
                    </a:lnTo>
                    <a:lnTo>
                      <a:pt x="196" y="162"/>
                    </a:lnTo>
                    <a:lnTo>
                      <a:pt x="196" y="160"/>
                    </a:lnTo>
                    <a:lnTo>
                      <a:pt x="196" y="158"/>
                    </a:lnTo>
                    <a:lnTo>
                      <a:pt x="196" y="156"/>
                    </a:lnTo>
                    <a:lnTo>
                      <a:pt x="196" y="154"/>
                    </a:lnTo>
                    <a:lnTo>
                      <a:pt x="198" y="154"/>
                    </a:lnTo>
                    <a:lnTo>
                      <a:pt x="198" y="152"/>
                    </a:lnTo>
                    <a:lnTo>
                      <a:pt x="198" y="150"/>
                    </a:lnTo>
                    <a:lnTo>
                      <a:pt x="198" y="152"/>
                    </a:lnTo>
                    <a:close/>
                    <a:moveTo>
                      <a:pt x="12" y="14"/>
                    </a:moveTo>
                    <a:lnTo>
                      <a:pt x="12" y="16"/>
                    </a:lnTo>
                    <a:lnTo>
                      <a:pt x="12" y="18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2" y="24"/>
                    </a:lnTo>
                    <a:lnTo>
                      <a:pt x="13" y="25"/>
                    </a:lnTo>
                    <a:lnTo>
                      <a:pt x="13" y="27"/>
                    </a:lnTo>
                    <a:lnTo>
                      <a:pt x="12" y="27"/>
                    </a:lnTo>
                    <a:lnTo>
                      <a:pt x="12" y="29"/>
                    </a:lnTo>
                    <a:lnTo>
                      <a:pt x="10" y="29"/>
                    </a:lnTo>
                    <a:lnTo>
                      <a:pt x="10" y="27"/>
                    </a:lnTo>
                    <a:lnTo>
                      <a:pt x="8" y="27"/>
                    </a:lnTo>
                    <a:lnTo>
                      <a:pt x="8" y="29"/>
                    </a:lnTo>
                    <a:lnTo>
                      <a:pt x="6" y="29"/>
                    </a:lnTo>
                    <a:lnTo>
                      <a:pt x="6" y="31"/>
                    </a:lnTo>
                    <a:lnTo>
                      <a:pt x="4" y="31"/>
                    </a:lnTo>
                    <a:lnTo>
                      <a:pt x="6" y="33"/>
                    </a:lnTo>
                    <a:lnTo>
                      <a:pt x="4" y="33"/>
                    </a:lnTo>
                    <a:lnTo>
                      <a:pt x="4" y="35"/>
                    </a:lnTo>
                    <a:lnTo>
                      <a:pt x="2" y="33"/>
                    </a:lnTo>
                    <a:lnTo>
                      <a:pt x="2" y="35"/>
                    </a:lnTo>
                    <a:lnTo>
                      <a:pt x="2" y="33"/>
                    </a:lnTo>
                    <a:lnTo>
                      <a:pt x="2" y="31"/>
                    </a:lnTo>
                    <a:lnTo>
                      <a:pt x="0" y="31"/>
                    </a:lnTo>
                    <a:lnTo>
                      <a:pt x="2" y="29"/>
                    </a:lnTo>
                    <a:lnTo>
                      <a:pt x="2" y="27"/>
                    </a:lnTo>
                    <a:lnTo>
                      <a:pt x="2" y="25"/>
                    </a:lnTo>
                    <a:lnTo>
                      <a:pt x="4" y="25"/>
                    </a:lnTo>
                    <a:lnTo>
                      <a:pt x="4" y="24"/>
                    </a:lnTo>
                    <a:lnTo>
                      <a:pt x="6" y="22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6" y="20"/>
                    </a:lnTo>
                    <a:lnTo>
                      <a:pt x="6" y="18"/>
                    </a:lnTo>
                    <a:lnTo>
                      <a:pt x="6" y="16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14"/>
                    </a:lnTo>
                    <a:lnTo>
                      <a:pt x="12" y="14"/>
                    </a:lnTo>
                    <a:close/>
                    <a:moveTo>
                      <a:pt x="23" y="2"/>
                    </a:moveTo>
                    <a:lnTo>
                      <a:pt x="25" y="2"/>
                    </a:lnTo>
                    <a:lnTo>
                      <a:pt x="27" y="2"/>
                    </a:lnTo>
                    <a:lnTo>
                      <a:pt x="27" y="4"/>
                    </a:lnTo>
                    <a:lnTo>
                      <a:pt x="29" y="4"/>
                    </a:lnTo>
                    <a:lnTo>
                      <a:pt x="29" y="2"/>
                    </a:lnTo>
                    <a:lnTo>
                      <a:pt x="31" y="4"/>
                    </a:lnTo>
                    <a:lnTo>
                      <a:pt x="31" y="2"/>
                    </a:lnTo>
                    <a:lnTo>
                      <a:pt x="31" y="4"/>
                    </a:lnTo>
                    <a:lnTo>
                      <a:pt x="31" y="2"/>
                    </a:lnTo>
                    <a:lnTo>
                      <a:pt x="33" y="2"/>
                    </a:lnTo>
                    <a:lnTo>
                      <a:pt x="33" y="0"/>
                    </a:lnTo>
                    <a:lnTo>
                      <a:pt x="33" y="2"/>
                    </a:lnTo>
                    <a:lnTo>
                      <a:pt x="35" y="2"/>
                    </a:lnTo>
                    <a:lnTo>
                      <a:pt x="35" y="4"/>
                    </a:lnTo>
                    <a:lnTo>
                      <a:pt x="37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38" y="4"/>
                    </a:lnTo>
                    <a:lnTo>
                      <a:pt x="37" y="4"/>
                    </a:lnTo>
                    <a:lnTo>
                      <a:pt x="37" y="6"/>
                    </a:lnTo>
                    <a:lnTo>
                      <a:pt x="37" y="8"/>
                    </a:lnTo>
                    <a:lnTo>
                      <a:pt x="37" y="10"/>
                    </a:lnTo>
                    <a:lnTo>
                      <a:pt x="37" y="12"/>
                    </a:lnTo>
                    <a:lnTo>
                      <a:pt x="37" y="10"/>
                    </a:lnTo>
                    <a:lnTo>
                      <a:pt x="37" y="8"/>
                    </a:lnTo>
                    <a:lnTo>
                      <a:pt x="38" y="8"/>
                    </a:lnTo>
                    <a:lnTo>
                      <a:pt x="38" y="6"/>
                    </a:lnTo>
                    <a:lnTo>
                      <a:pt x="40" y="4"/>
                    </a:lnTo>
                    <a:lnTo>
                      <a:pt x="42" y="4"/>
                    </a:lnTo>
                    <a:lnTo>
                      <a:pt x="44" y="4"/>
                    </a:lnTo>
                    <a:lnTo>
                      <a:pt x="46" y="4"/>
                    </a:lnTo>
                    <a:lnTo>
                      <a:pt x="46" y="6"/>
                    </a:lnTo>
                    <a:lnTo>
                      <a:pt x="44" y="6"/>
                    </a:lnTo>
                    <a:lnTo>
                      <a:pt x="44" y="8"/>
                    </a:lnTo>
                    <a:lnTo>
                      <a:pt x="42" y="8"/>
                    </a:lnTo>
                    <a:lnTo>
                      <a:pt x="42" y="10"/>
                    </a:lnTo>
                    <a:lnTo>
                      <a:pt x="42" y="12"/>
                    </a:lnTo>
                    <a:lnTo>
                      <a:pt x="42" y="14"/>
                    </a:lnTo>
                    <a:lnTo>
                      <a:pt x="42" y="16"/>
                    </a:lnTo>
                    <a:lnTo>
                      <a:pt x="42" y="18"/>
                    </a:lnTo>
                    <a:lnTo>
                      <a:pt x="44" y="18"/>
                    </a:lnTo>
                    <a:lnTo>
                      <a:pt x="44" y="20"/>
                    </a:lnTo>
                    <a:lnTo>
                      <a:pt x="46" y="22"/>
                    </a:lnTo>
                    <a:lnTo>
                      <a:pt x="46" y="24"/>
                    </a:lnTo>
                    <a:lnTo>
                      <a:pt x="44" y="24"/>
                    </a:lnTo>
                    <a:lnTo>
                      <a:pt x="46" y="25"/>
                    </a:lnTo>
                    <a:lnTo>
                      <a:pt x="44" y="25"/>
                    </a:lnTo>
                    <a:lnTo>
                      <a:pt x="42" y="25"/>
                    </a:lnTo>
                    <a:lnTo>
                      <a:pt x="42" y="27"/>
                    </a:lnTo>
                    <a:lnTo>
                      <a:pt x="44" y="29"/>
                    </a:lnTo>
                    <a:lnTo>
                      <a:pt x="42" y="29"/>
                    </a:lnTo>
                    <a:lnTo>
                      <a:pt x="42" y="31"/>
                    </a:lnTo>
                    <a:lnTo>
                      <a:pt x="42" y="33"/>
                    </a:lnTo>
                    <a:lnTo>
                      <a:pt x="42" y="35"/>
                    </a:lnTo>
                    <a:lnTo>
                      <a:pt x="42" y="37"/>
                    </a:lnTo>
                    <a:lnTo>
                      <a:pt x="40" y="37"/>
                    </a:lnTo>
                    <a:lnTo>
                      <a:pt x="40" y="35"/>
                    </a:lnTo>
                    <a:lnTo>
                      <a:pt x="40" y="37"/>
                    </a:lnTo>
                    <a:lnTo>
                      <a:pt x="38" y="35"/>
                    </a:lnTo>
                    <a:lnTo>
                      <a:pt x="38" y="33"/>
                    </a:lnTo>
                    <a:lnTo>
                      <a:pt x="37" y="33"/>
                    </a:lnTo>
                    <a:lnTo>
                      <a:pt x="37" y="31"/>
                    </a:lnTo>
                    <a:lnTo>
                      <a:pt x="35" y="31"/>
                    </a:lnTo>
                    <a:lnTo>
                      <a:pt x="35" y="29"/>
                    </a:lnTo>
                    <a:lnTo>
                      <a:pt x="33" y="29"/>
                    </a:lnTo>
                    <a:lnTo>
                      <a:pt x="31" y="27"/>
                    </a:lnTo>
                    <a:lnTo>
                      <a:pt x="29" y="25"/>
                    </a:lnTo>
                    <a:lnTo>
                      <a:pt x="27" y="24"/>
                    </a:lnTo>
                    <a:lnTo>
                      <a:pt x="27" y="25"/>
                    </a:lnTo>
                    <a:lnTo>
                      <a:pt x="25" y="27"/>
                    </a:lnTo>
                    <a:lnTo>
                      <a:pt x="25" y="29"/>
                    </a:lnTo>
                    <a:lnTo>
                      <a:pt x="27" y="29"/>
                    </a:lnTo>
                    <a:lnTo>
                      <a:pt x="25" y="29"/>
                    </a:lnTo>
                    <a:lnTo>
                      <a:pt x="25" y="31"/>
                    </a:lnTo>
                    <a:lnTo>
                      <a:pt x="25" y="33"/>
                    </a:lnTo>
                    <a:lnTo>
                      <a:pt x="23" y="35"/>
                    </a:lnTo>
                    <a:lnTo>
                      <a:pt x="23" y="33"/>
                    </a:lnTo>
                    <a:lnTo>
                      <a:pt x="23" y="31"/>
                    </a:lnTo>
                    <a:lnTo>
                      <a:pt x="21" y="29"/>
                    </a:lnTo>
                    <a:lnTo>
                      <a:pt x="21" y="27"/>
                    </a:lnTo>
                    <a:lnTo>
                      <a:pt x="21" y="25"/>
                    </a:lnTo>
                    <a:lnTo>
                      <a:pt x="21" y="24"/>
                    </a:lnTo>
                    <a:lnTo>
                      <a:pt x="21" y="22"/>
                    </a:lnTo>
                    <a:lnTo>
                      <a:pt x="21" y="20"/>
                    </a:lnTo>
                    <a:lnTo>
                      <a:pt x="21" y="18"/>
                    </a:lnTo>
                    <a:lnTo>
                      <a:pt x="23" y="18"/>
                    </a:lnTo>
                    <a:lnTo>
                      <a:pt x="23" y="16"/>
                    </a:lnTo>
                    <a:lnTo>
                      <a:pt x="23" y="14"/>
                    </a:lnTo>
                    <a:lnTo>
                      <a:pt x="23" y="12"/>
                    </a:lnTo>
                    <a:lnTo>
                      <a:pt x="21" y="12"/>
                    </a:lnTo>
                    <a:lnTo>
                      <a:pt x="23" y="10"/>
                    </a:lnTo>
                    <a:lnTo>
                      <a:pt x="21" y="10"/>
                    </a:lnTo>
                    <a:lnTo>
                      <a:pt x="21" y="8"/>
                    </a:lnTo>
                    <a:lnTo>
                      <a:pt x="21" y="6"/>
                    </a:lnTo>
                    <a:lnTo>
                      <a:pt x="21" y="4"/>
                    </a:lnTo>
                    <a:lnTo>
                      <a:pt x="23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39">
                <a:extLst>
                  <a:ext uri="{FF2B5EF4-FFF2-40B4-BE49-F238E27FC236}">
                    <a16:creationId xmlns="" xmlns:a16="http://schemas.microsoft.com/office/drawing/2014/main" id="{EF88E86C-C03B-476B-BD73-FEADF48ACA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24638" y="3079751"/>
                <a:ext cx="865188" cy="1774825"/>
              </a:xfrm>
              <a:custGeom>
                <a:avLst/>
                <a:gdLst>
                  <a:gd name="T0" fmla="*/ 142 w 545"/>
                  <a:gd name="T1" fmla="*/ 595 h 1118"/>
                  <a:gd name="T2" fmla="*/ 190 w 545"/>
                  <a:gd name="T3" fmla="*/ 607 h 1118"/>
                  <a:gd name="T4" fmla="*/ 253 w 545"/>
                  <a:gd name="T5" fmla="*/ 572 h 1118"/>
                  <a:gd name="T6" fmla="*/ 278 w 545"/>
                  <a:gd name="T7" fmla="*/ 620 h 1118"/>
                  <a:gd name="T8" fmla="*/ 286 w 545"/>
                  <a:gd name="T9" fmla="*/ 592 h 1118"/>
                  <a:gd name="T10" fmla="*/ 319 w 545"/>
                  <a:gd name="T11" fmla="*/ 619 h 1118"/>
                  <a:gd name="T12" fmla="*/ 336 w 545"/>
                  <a:gd name="T13" fmla="*/ 594 h 1118"/>
                  <a:gd name="T14" fmla="*/ 380 w 545"/>
                  <a:gd name="T15" fmla="*/ 561 h 1118"/>
                  <a:gd name="T16" fmla="*/ 440 w 545"/>
                  <a:gd name="T17" fmla="*/ 597 h 1118"/>
                  <a:gd name="T18" fmla="*/ 382 w 545"/>
                  <a:gd name="T19" fmla="*/ 599 h 1118"/>
                  <a:gd name="T20" fmla="*/ 392 w 545"/>
                  <a:gd name="T21" fmla="*/ 630 h 1118"/>
                  <a:gd name="T22" fmla="*/ 419 w 545"/>
                  <a:gd name="T23" fmla="*/ 647 h 1118"/>
                  <a:gd name="T24" fmla="*/ 428 w 545"/>
                  <a:gd name="T25" fmla="*/ 726 h 1118"/>
                  <a:gd name="T26" fmla="*/ 415 w 545"/>
                  <a:gd name="T27" fmla="*/ 753 h 1118"/>
                  <a:gd name="T28" fmla="*/ 451 w 545"/>
                  <a:gd name="T29" fmla="*/ 707 h 1118"/>
                  <a:gd name="T30" fmla="*/ 453 w 545"/>
                  <a:gd name="T31" fmla="*/ 686 h 1118"/>
                  <a:gd name="T32" fmla="*/ 409 w 545"/>
                  <a:gd name="T33" fmla="*/ 638 h 1118"/>
                  <a:gd name="T34" fmla="*/ 417 w 545"/>
                  <a:gd name="T35" fmla="*/ 609 h 1118"/>
                  <a:gd name="T36" fmla="*/ 472 w 545"/>
                  <a:gd name="T37" fmla="*/ 647 h 1118"/>
                  <a:gd name="T38" fmla="*/ 478 w 545"/>
                  <a:gd name="T39" fmla="*/ 713 h 1118"/>
                  <a:gd name="T40" fmla="*/ 505 w 545"/>
                  <a:gd name="T41" fmla="*/ 795 h 1118"/>
                  <a:gd name="T42" fmla="*/ 524 w 545"/>
                  <a:gd name="T43" fmla="*/ 853 h 1118"/>
                  <a:gd name="T44" fmla="*/ 538 w 545"/>
                  <a:gd name="T45" fmla="*/ 890 h 1118"/>
                  <a:gd name="T46" fmla="*/ 538 w 545"/>
                  <a:gd name="T47" fmla="*/ 980 h 1118"/>
                  <a:gd name="T48" fmla="*/ 499 w 545"/>
                  <a:gd name="T49" fmla="*/ 947 h 1118"/>
                  <a:gd name="T50" fmla="*/ 471 w 545"/>
                  <a:gd name="T51" fmla="*/ 992 h 1118"/>
                  <a:gd name="T52" fmla="*/ 472 w 545"/>
                  <a:gd name="T53" fmla="*/ 1040 h 1118"/>
                  <a:gd name="T54" fmla="*/ 421 w 545"/>
                  <a:gd name="T55" fmla="*/ 1080 h 1118"/>
                  <a:gd name="T56" fmla="*/ 378 w 545"/>
                  <a:gd name="T57" fmla="*/ 1109 h 1118"/>
                  <a:gd name="T58" fmla="*/ 361 w 545"/>
                  <a:gd name="T59" fmla="*/ 1009 h 1118"/>
                  <a:gd name="T60" fmla="*/ 326 w 545"/>
                  <a:gd name="T61" fmla="*/ 992 h 1118"/>
                  <a:gd name="T62" fmla="*/ 267 w 545"/>
                  <a:gd name="T63" fmla="*/ 965 h 1118"/>
                  <a:gd name="T64" fmla="*/ 213 w 545"/>
                  <a:gd name="T65" fmla="*/ 963 h 1118"/>
                  <a:gd name="T66" fmla="*/ 171 w 545"/>
                  <a:gd name="T67" fmla="*/ 903 h 1118"/>
                  <a:gd name="T68" fmla="*/ 159 w 545"/>
                  <a:gd name="T69" fmla="*/ 832 h 1118"/>
                  <a:gd name="T70" fmla="*/ 207 w 545"/>
                  <a:gd name="T71" fmla="*/ 774 h 1118"/>
                  <a:gd name="T72" fmla="*/ 242 w 545"/>
                  <a:gd name="T73" fmla="*/ 720 h 1118"/>
                  <a:gd name="T74" fmla="*/ 200 w 545"/>
                  <a:gd name="T75" fmla="*/ 684 h 1118"/>
                  <a:gd name="T76" fmla="*/ 127 w 545"/>
                  <a:gd name="T77" fmla="*/ 730 h 1118"/>
                  <a:gd name="T78" fmla="*/ 73 w 545"/>
                  <a:gd name="T79" fmla="*/ 672 h 1118"/>
                  <a:gd name="T80" fmla="*/ 100 w 545"/>
                  <a:gd name="T81" fmla="*/ 594 h 1118"/>
                  <a:gd name="T82" fmla="*/ 54 w 545"/>
                  <a:gd name="T83" fmla="*/ 578 h 1118"/>
                  <a:gd name="T84" fmla="*/ 40 w 545"/>
                  <a:gd name="T85" fmla="*/ 521 h 1118"/>
                  <a:gd name="T86" fmla="*/ 13 w 545"/>
                  <a:gd name="T87" fmla="*/ 478 h 1118"/>
                  <a:gd name="T88" fmla="*/ 15 w 545"/>
                  <a:gd name="T89" fmla="*/ 415 h 1118"/>
                  <a:gd name="T90" fmla="*/ 19 w 545"/>
                  <a:gd name="T91" fmla="*/ 338 h 1118"/>
                  <a:gd name="T92" fmla="*/ 82 w 545"/>
                  <a:gd name="T93" fmla="*/ 296 h 1118"/>
                  <a:gd name="T94" fmla="*/ 140 w 545"/>
                  <a:gd name="T95" fmla="*/ 240 h 1118"/>
                  <a:gd name="T96" fmla="*/ 113 w 545"/>
                  <a:gd name="T97" fmla="*/ 153 h 1118"/>
                  <a:gd name="T98" fmla="*/ 136 w 545"/>
                  <a:gd name="T99" fmla="*/ 67 h 1118"/>
                  <a:gd name="T100" fmla="*/ 190 w 545"/>
                  <a:gd name="T101" fmla="*/ 50 h 1118"/>
                  <a:gd name="T102" fmla="*/ 242 w 545"/>
                  <a:gd name="T103" fmla="*/ 42 h 1118"/>
                  <a:gd name="T104" fmla="*/ 313 w 545"/>
                  <a:gd name="T105" fmla="*/ 15 h 1118"/>
                  <a:gd name="T106" fmla="*/ 326 w 545"/>
                  <a:gd name="T107" fmla="*/ 96 h 1118"/>
                  <a:gd name="T108" fmla="*/ 392 w 545"/>
                  <a:gd name="T109" fmla="*/ 138 h 1118"/>
                  <a:gd name="T110" fmla="*/ 350 w 545"/>
                  <a:gd name="T111" fmla="*/ 159 h 1118"/>
                  <a:gd name="T112" fmla="*/ 336 w 545"/>
                  <a:gd name="T113" fmla="*/ 157 h 1118"/>
                  <a:gd name="T114" fmla="*/ 298 w 545"/>
                  <a:gd name="T115" fmla="*/ 192 h 1118"/>
                  <a:gd name="T116" fmla="*/ 277 w 545"/>
                  <a:gd name="T117" fmla="*/ 230 h 1118"/>
                  <a:gd name="T118" fmla="*/ 257 w 545"/>
                  <a:gd name="T119" fmla="*/ 342 h 1118"/>
                  <a:gd name="T120" fmla="*/ 240 w 545"/>
                  <a:gd name="T121" fmla="*/ 421 h 1118"/>
                  <a:gd name="T122" fmla="*/ 228 w 545"/>
                  <a:gd name="T123" fmla="*/ 496 h 1118"/>
                  <a:gd name="T124" fmla="*/ 198 w 545"/>
                  <a:gd name="T125" fmla="*/ 582 h 1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45" h="1118">
                    <a:moveTo>
                      <a:pt x="200" y="597"/>
                    </a:moveTo>
                    <a:lnTo>
                      <a:pt x="198" y="595"/>
                    </a:lnTo>
                    <a:lnTo>
                      <a:pt x="200" y="595"/>
                    </a:lnTo>
                    <a:lnTo>
                      <a:pt x="200" y="597"/>
                    </a:lnTo>
                    <a:close/>
                    <a:moveTo>
                      <a:pt x="200" y="592"/>
                    </a:moveTo>
                    <a:lnTo>
                      <a:pt x="200" y="594"/>
                    </a:lnTo>
                    <a:lnTo>
                      <a:pt x="200" y="595"/>
                    </a:lnTo>
                    <a:lnTo>
                      <a:pt x="198" y="595"/>
                    </a:lnTo>
                    <a:lnTo>
                      <a:pt x="200" y="595"/>
                    </a:lnTo>
                    <a:lnTo>
                      <a:pt x="198" y="595"/>
                    </a:lnTo>
                    <a:lnTo>
                      <a:pt x="198" y="597"/>
                    </a:lnTo>
                    <a:lnTo>
                      <a:pt x="198" y="599"/>
                    </a:lnTo>
                    <a:lnTo>
                      <a:pt x="196" y="599"/>
                    </a:lnTo>
                    <a:lnTo>
                      <a:pt x="194" y="599"/>
                    </a:lnTo>
                    <a:lnTo>
                      <a:pt x="194" y="601"/>
                    </a:lnTo>
                    <a:lnTo>
                      <a:pt x="194" y="603"/>
                    </a:lnTo>
                    <a:lnTo>
                      <a:pt x="192" y="605"/>
                    </a:lnTo>
                    <a:lnTo>
                      <a:pt x="190" y="607"/>
                    </a:lnTo>
                    <a:lnTo>
                      <a:pt x="190" y="609"/>
                    </a:lnTo>
                    <a:lnTo>
                      <a:pt x="188" y="609"/>
                    </a:lnTo>
                    <a:lnTo>
                      <a:pt x="188" y="607"/>
                    </a:lnTo>
                    <a:lnTo>
                      <a:pt x="188" y="609"/>
                    </a:lnTo>
                    <a:lnTo>
                      <a:pt x="186" y="607"/>
                    </a:lnTo>
                    <a:lnTo>
                      <a:pt x="186" y="605"/>
                    </a:lnTo>
                    <a:lnTo>
                      <a:pt x="184" y="605"/>
                    </a:lnTo>
                    <a:lnTo>
                      <a:pt x="184" y="603"/>
                    </a:lnTo>
                    <a:lnTo>
                      <a:pt x="182" y="603"/>
                    </a:lnTo>
                    <a:lnTo>
                      <a:pt x="180" y="603"/>
                    </a:lnTo>
                    <a:lnTo>
                      <a:pt x="180" y="601"/>
                    </a:lnTo>
                    <a:lnTo>
                      <a:pt x="179" y="601"/>
                    </a:lnTo>
                    <a:lnTo>
                      <a:pt x="177" y="599"/>
                    </a:lnTo>
                    <a:lnTo>
                      <a:pt x="179" y="599"/>
                    </a:lnTo>
                    <a:lnTo>
                      <a:pt x="177" y="599"/>
                    </a:lnTo>
                    <a:lnTo>
                      <a:pt x="175" y="599"/>
                    </a:lnTo>
                    <a:lnTo>
                      <a:pt x="175" y="601"/>
                    </a:lnTo>
                    <a:lnTo>
                      <a:pt x="173" y="601"/>
                    </a:lnTo>
                    <a:lnTo>
                      <a:pt x="171" y="601"/>
                    </a:lnTo>
                    <a:lnTo>
                      <a:pt x="171" y="599"/>
                    </a:lnTo>
                    <a:lnTo>
                      <a:pt x="169" y="599"/>
                    </a:lnTo>
                    <a:lnTo>
                      <a:pt x="169" y="597"/>
                    </a:lnTo>
                    <a:lnTo>
                      <a:pt x="167" y="597"/>
                    </a:lnTo>
                    <a:lnTo>
                      <a:pt x="167" y="595"/>
                    </a:lnTo>
                    <a:lnTo>
                      <a:pt x="167" y="597"/>
                    </a:lnTo>
                    <a:lnTo>
                      <a:pt x="167" y="595"/>
                    </a:lnTo>
                    <a:lnTo>
                      <a:pt x="167" y="594"/>
                    </a:lnTo>
                    <a:lnTo>
                      <a:pt x="165" y="594"/>
                    </a:lnTo>
                    <a:lnTo>
                      <a:pt x="163" y="594"/>
                    </a:lnTo>
                    <a:lnTo>
                      <a:pt x="163" y="595"/>
                    </a:lnTo>
                    <a:lnTo>
                      <a:pt x="163" y="594"/>
                    </a:lnTo>
                    <a:lnTo>
                      <a:pt x="161" y="594"/>
                    </a:lnTo>
                    <a:lnTo>
                      <a:pt x="161" y="592"/>
                    </a:lnTo>
                    <a:lnTo>
                      <a:pt x="159" y="592"/>
                    </a:lnTo>
                    <a:lnTo>
                      <a:pt x="159" y="594"/>
                    </a:lnTo>
                    <a:lnTo>
                      <a:pt x="157" y="594"/>
                    </a:lnTo>
                    <a:lnTo>
                      <a:pt x="155" y="594"/>
                    </a:lnTo>
                    <a:lnTo>
                      <a:pt x="154" y="594"/>
                    </a:lnTo>
                    <a:lnTo>
                      <a:pt x="152" y="594"/>
                    </a:lnTo>
                    <a:lnTo>
                      <a:pt x="152" y="592"/>
                    </a:lnTo>
                    <a:lnTo>
                      <a:pt x="152" y="594"/>
                    </a:lnTo>
                    <a:lnTo>
                      <a:pt x="150" y="594"/>
                    </a:lnTo>
                    <a:lnTo>
                      <a:pt x="150" y="592"/>
                    </a:lnTo>
                    <a:lnTo>
                      <a:pt x="148" y="592"/>
                    </a:lnTo>
                    <a:lnTo>
                      <a:pt x="146" y="592"/>
                    </a:lnTo>
                    <a:lnTo>
                      <a:pt x="146" y="594"/>
                    </a:lnTo>
                    <a:lnTo>
                      <a:pt x="144" y="594"/>
                    </a:lnTo>
                    <a:lnTo>
                      <a:pt x="144" y="595"/>
                    </a:lnTo>
                    <a:lnTo>
                      <a:pt x="142" y="595"/>
                    </a:lnTo>
                    <a:lnTo>
                      <a:pt x="142" y="594"/>
                    </a:lnTo>
                    <a:lnTo>
                      <a:pt x="142" y="595"/>
                    </a:lnTo>
                    <a:lnTo>
                      <a:pt x="140" y="595"/>
                    </a:lnTo>
                    <a:lnTo>
                      <a:pt x="140" y="597"/>
                    </a:lnTo>
                    <a:lnTo>
                      <a:pt x="138" y="597"/>
                    </a:lnTo>
                    <a:lnTo>
                      <a:pt x="136" y="597"/>
                    </a:lnTo>
                    <a:lnTo>
                      <a:pt x="136" y="595"/>
                    </a:lnTo>
                    <a:lnTo>
                      <a:pt x="134" y="595"/>
                    </a:lnTo>
                    <a:lnTo>
                      <a:pt x="134" y="597"/>
                    </a:lnTo>
                    <a:lnTo>
                      <a:pt x="134" y="595"/>
                    </a:lnTo>
                    <a:lnTo>
                      <a:pt x="136" y="595"/>
                    </a:lnTo>
                    <a:lnTo>
                      <a:pt x="136" y="597"/>
                    </a:lnTo>
                    <a:lnTo>
                      <a:pt x="138" y="597"/>
                    </a:lnTo>
                    <a:lnTo>
                      <a:pt x="140" y="597"/>
                    </a:lnTo>
                    <a:lnTo>
                      <a:pt x="140" y="595"/>
                    </a:lnTo>
                    <a:lnTo>
                      <a:pt x="142" y="595"/>
                    </a:lnTo>
                    <a:lnTo>
                      <a:pt x="142" y="594"/>
                    </a:lnTo>
                    <a:lnTo>
                      <a:pt x="142" y="595"/>
                    </a:lnTo>
                    <a:lnTo>
                      <a:pt x="144" y="595"/>
                    </a:lnTo>
                    <a:lnTo>
                      <a:pt x="144" y="594"/>
                    </a:lnTo>
                    <a:lnTo>
                      <a:pt x="144" y="595"/>
                    </a:lnTo>
                    <a:lnTo>
                      <a:pt x="144" y="594"/>
                    </a:lnTo>
                    <a:lnTo>
                      <a:pt x="146" y="594"/>
                    </a:lnTo>
                    <a:lnTo>
                      <a:pt x="146" y="592"/>
                    </a:lnTo>
                    <a:lnTo>
                      <a:pt x="148" y="592"/>
                    </a:lnTo>
                    <a:lnTo>
                      <a:pt x="150" y="592"/>
                    </a:lnTo>
                    <a:lnTo>
                      <a:pt x="150" y="594"/>
                    </a:lnTo>
                    <a:lnTo>
                      <a:pt x="152" y="594"/>
                    </a:lnTo>
                    <a:lnTo>
                      <a:pt x="152" y="592"/>
                    </a:lnTo>
                    <a:lnTo>
                      <a:pt x="152" y="594"/>
                    </a:lnTo>
                    <a:lnTo>
                      <a:pt x="154" y="594"/>
                    </a:lnTo>
                    <a:lnTo>
                      <a:pt x="155" y="594"/>
                    </a:lnTo>
                    <a:lnTo>
                      <a:pt x="157" y="594"/>
                    </a:lnTo>
                    <a:lnTo>
                      <a:pt x="159" y="594"/>
                    </a:lnTo>
                    <a:lnTo>
                      <a:pt x="159" y="592"/>
                    </a:lnTo>
                    <a:lnTo>
                      <a:pt x="159" y="594"/>
                    </a:lnTo>
                    <a:lnTo>
                      <a:pt x="159" y="592"/>
                    </a:lnTo>
                    <a:lnTo>
                      <a:pt x="161" y="592"/>
                    </a:lnTo>
                    <a:lnTo>
                      <a:pt x="161" y="594"/>
                    </a:lnTo>
                    <a:lnTo>
                      <a:pt x="163" y="595"/>
                    </a:lnTo>
                    <a:lnTo>
                      <a:pt x="163" y="594"/>
                    </a:lnTo>
                    <a:lnTo>
                      <a:pt x="165" y="595"/>
                    </a:lnTo>
                    <a:lnTo>
                      <a:pt x="167" y="595"/>
                    </a:lnTo>
                    <a:lnTo>
                      <a:pt x="167" y="597"/>
                    </a:lnTo>
                    <a:lnTo>
                      <a:pt x="169" y="597"/>
                    </a:lnTo>
                    <a:lnTo>
                      <a:pt x="169" y="599"/>
                    </a:lnTo>
                    <a:lnTo>
                      <a:pt x="171" y="599"/>
                    </a:lnTo>
                    <a:lnTo>
                      <a:pt x="171" y="601"/>
                    </a:lnTo>
                    <a:lnTo>
                      <a:pt x="173" y="601"/>
                    </a:lnTo>
                    <a:lnTo>
                      <a:pt x="175" y="601"/>
                    </a:lnTo>
                    <a:lnTo>
                      <a:pt x="175" y="599"/>
                    </a:lnTo>
                    <a:lnTo>
                      <a:pt x="177" y="599"/>
                    </a:lnTo>
                    <a:lnTo>
                      <a:pt x="179" y="601"/>
                    </a:lnTo>
                    <a:lnTo>
                      <a:pt x="180" y="601"/>
                    </a:lnTo>
                    <a:lnTo>
                      <a:pt x="180" y="603"/>
                    </a:lnTo>
                    <a:lnTo>
                      <a:pt x="180" y="601"/>
                    </a:lnTo>
                    <a:lnTo>
                      <a:pt x="180" y="603"/>
                    </a:lnTo>
                    <a:lnTo>
                      <a:pt x="182" y="603"/>
                    </a:lnTo>
                    <a:lnTo>
                      <a:pt x="182" y="605"/>
                    </a:lnTo>
                    <a:lnTo>
                      <a:pt x="182" y="603"/>
                    </a:lnTo>
                    <a:lnTo>
                      <a:pt x="182" y="605"/>
                    </a:lnTo>
                    <a:lnTo>
                      <a:pt x="182" y="603"/>
                    </a:lnTo>
                    <a:lnTo>
                      <a:pt x="184" y="603"/>
                    </a:lnTo>
                    <a:lnTo>
                      <a:pt x="184" y="605"/>
                    </a:lnTo>
                    <a:lnTo>
                      <a:pt x="186" y="605"/>
                    </a:lnTo>
                    <a:lnTo>
                      <a:pt x="186" y="607"/>
                    </a:lnTo>
                    <a:lnTo>
                      <a:pt x="188" y="609"/>
                    </a:lnTo>
                    <a:lnTo>
                      <a:pt x="190" y="609"/>
                    </a:lnTo>
                    <a:lnTo>
                      <a:pt x="192" y="609"/>
                    </a:lnTo>
                    <a:lnTo>
                      <a:pt x="192" y="607"/>
                    </a:lnTo>
                    <a:lnTo>
                      <a:pt x="190" y="607"/>
                    </a:lnTo>
                    <a:lnTo>
                      <a:pt x="192" y="607"/>
                    </a:lnTo>
                    <a:lnTo>
                      <a:pt x="192" y="605"/>
                    </a:lnTo>
                    <a:lnTo>
                      <a:pt x="192" y="607"/>
                    </a:lnTo>
                    <a:lnTo>
                      <a:pt x="192" y="605"/>
                    </a:lnTo>
                    <a:lnTo>
                      <a:pt x="194" y="605"/>
                    </a:lnTo>
                    <a:lnTo>
                      <a:pt x="194" y="603"/>
                    </a:lnTo>
                    <a:lnTo>
                      <a:pt x="194" y="601"/>
                    </a:lnTo>
                    <a:lnTo>
                      <a:pt x="196" y="601"/>
                    </a:lnTo>
                    <a:lnTo>
                      <a:pt x="194" y="601"/>
                    </a:lnTo>
                    <a:lnTo>
                      <a:pt x="196" y="599"/>
                    </a:lnTo>
                    <a:lnTo>
                      <a:pt x="198" y="599"/>
                    </a:lnTo>
                    <a:lnTo>
                      <a:pt x="196" y="599"/>
                    </a:lnTo>
                    <a:lnTo>
                      <a:pt x="196" y="601"/>
                    </a:lnTo>
                    <a:lnTo>
                      <a:pt x="196" y="599"/>
                    </a:lnTo>
                    <a:lnTo>
                      <a:pt x="198" y="599"/>
                    </a:lnTo>
                    <a:lnTo>
                      <a:pt x="198" y="597"/>
                    </a:lnTo>
                    <a:lnTo>
                      <a:pt x="200" y="597"/>
                    </a:lnTo>
                    <a:lnTo>
                      <a:pt x="200" y="595"/>
                    </a:lnTo>
                    <a:lnTo>
                      <a:pt x="200" y="594"/>
                    </a:lnTo>
                    <a:lnTo>
                      <a:pt x="200" y="592"/>
                    </a:lnTo>
                    <a:lnTo>
                      <a:pt x="202" y="592"/>
                    </a:lnTo>
                    <a:lnTo>
                      <a:pt x="204" y="592"/>
                    </a:lnTo>
                    <a:lnTo>
                      <a:pt x="204" y="590"/>
                    </a:lnTo>
                    <a:lnTo>
                      <a:pt x="204" y="588"/>
                    </a:lnTo>
                    <a:lnTo>
                      <a:pt x="205" y="588"/>
                    </a:lnTo>
                    <a:lnTo>
                      <a:pt x="205" y="586"/>
                    </a:lnTo>
                    <a:lnTo>
                      <a:pt x="207" y="586"/>
                    </a:lnTo>
                    <a:lnTo>
                      <a:pt x="209" y="586"/>
                    </a:lnTo>
                    <a:lnTo>
                      <a:pt x="211" y="586"/>
                    </a:lnTo>
                    <a:lnTo>
                      <a:pt x="213" y="586"/>
                    </a:lnTo>
                    <a:lnTo>
                      <a:pt x="215" y="586"/>
                    </a:lnTo>
                    <a:lnTo>
                      <a:pt x="217" y="586"/>
                    </a:lnTo>
                    <a:lnTo>
                      <a:pt x="217" y="584"/>
                    </a:lnTo>
                    <a:lnTo>
                      <a:pt x="217" y="586"/>
                    </a:lnTo>
                    <a:lnTo>
                      <a:pt x="219" y="586"/>
                    </a:lnTo>
                    <a:lnTo>
                      <a:pt x="219" y="588"/>
                    </a:lnTo>
                    <a:lnTo>
                      <a:pt x="221" y="588"/>
                    </a:lnTo>
                    <a:lnTo>
                      <a:pt x="221" y="590"/>
                    </a:lnTo>
                    <a:lnTo>
                      <a:pt x="223" y="590"/>
                    </a:lnTo>
                    <a:lnTo>
                      <a:pt x="225" y="590"/>
                    </a:lnTo>
                    <a:lnTo>
                      <a:pt x="227" y="588"/>
                    </a:lnTo>
                    <a:lnTo>
                      <a:pt x="230" y="586"/>
                    </a:lnTo>
                    <a:lnTo>
                      <a:pt x="230" y="584"/>
                    </a:lnTo>
                    <a:lnTo>
                      <a:pt x="232" y="584"/>
                    </a:lnTo>
                    <a:lnTo>
                      <a:pt x="232" y="582"/>
                    </a:lnTo>
                    <a:lnTo>
                      <a:pt x="234" y="582"/>
                    </a:lnTo>
                    <a:lnTo>
                      <a:pt x="236" y="582"/>
                    </a:lnTo>
                    <a:lnTo>
                      <a:pt x="234" y="580"/>
                    </a:lnTo>
                    <a:lnTo>
                      <a:pt x="236" y="580"/>
                    </a:lnTo>
                    <a:lnTo>
                      <a:pt x="238" y="580"/>
                    </a:lnTo>
                    <a:lnTo>
                      <a:pt x="240" y="580"/>
                    </a:lnTo>
                    <a:lnTo>
                      <a:pt x="242" y="578"/>
                    </a:lnTo>
                    <a:lnTo>
                      <a:pt x="242" y="580"/>
                    </a:lnTo>
                    <a:lnTo>
                      <a:pt x="242" y="578"/>
                    </a:lnTo>
                    <a:lnTo>
                      <a:pt x="244" y="578"/>
                    </a:lnTo>
                    <a:lnTo>
                      <a:pt x="246" y="578"/>
                    </a:lnTo>
                    <a:lnTo>
                      <a:pt x="246" y="576"/>
                    </a:lnTo>
                    <a:lnTo>
                      <a:pt x="248" y="576"/>
                    </a:lnTo>
                    <a:lnTo>
                      <a:pt x="248" y="574"/>
                    </a:lnTo>
                    <a:lnTo>
                      <a:pt x="248" y="572"/>
                    </a:lnTo>
                    <a:lnTo>
                      <a:pt x="248" y="570"/>
                    </a:lnTo>
                    <a:lnTo>
                      <a:pt x="248" y="572"/>
                    </a:lnTo>
                    <a:lnTo>
                      <a:pt x="250" y="572"/>
                    </a:lnTo>
                    <a:lnTo>
                      <a:pt x="250" y="574"/>
                    </a:lnTo>
                    <a:lnTo>
                      <a:pt x="252" y="574"/>
                    </a:lnTo>
                    <a:lnTo>
                      <a:pt x="252" y="572"/>
                    </a:lnTo>
                    <a:lnTo>
                      <a:pt x="252" y="570"/>
                    </a:lnTo>
                    <a:lnTo>
                      <a:pt x="253" y="570"/>
                    </a:lnTo>
                    <a:lnTo>
                      <a:pt x="253" y="572"/>
                    </a:lnTo>
                    <a:lnTo>
                      <a:pt x="255" y="570"/>
                    </a:lnTo>
                    <a:lnTo>
                      <a:pt x="255" y="572"/>
                    </a:lnTo>
                    <a:lnTo>
                      <a:pt x="255" y="574"/>
                    </a:lnTo>
                    <a:lnTo>
                      <a:pt x="255" y="572"/>
                    </a:lnTo>
                    <a:lnTo>
                      <a:pt x="257" y="572"/>
                    </a:lnTo>
                    <a:lnTo>
                      <a:pt x="257" y="574"/>
                    </a:lnTo>
                    <a:lnTo>
                      <a:pt x="257" y="576"/>
                    </a:lnTo>
                    <a:lnTo>
                      <a:pt x="257" y="578"/>
                    </a:lnTo>
                    <a:lnTo>
                      <a:pt x="259" y="580"/>
                    </a:lnTo>
                    <a:lnTo>
                      <a:pt x="259" y="578"/>
                    </a:lnTo>
                    <a:lnTo>
                      <a:pt x="259" y="580"/>
                    </a:lnTo>
                    <a:lnTo>
                      <a:pt x="259" y="582"/>
                    </a:lnTo>
                    <a:lnTo>
                      <a:pt x="257" y="582"/>
                    </a:lnTo>
                    <a:lnTo>
                      <a:pt x="259" y="582"/>
                    </a:lnTo>
                    <a:lnTo>
                      <a:pt x="259" y="584"/>
                    </a:lnTo>
                    <a:lnTo>
                      <a:pt x="261" y="584"/>
                    </a:lnTo>
                    <a:lnTo>
                      <a:pt x="259" y="584"/>
                    </a:lnTo>
                    <a:lnTo>
                      <a:pt x="259" y="586"/>
                    </a:lnTo>
                    <a:lnTo>
                      <a:pt x="259" y="584"/>
                    </a:lnTo>
                    <a:lnTo>
                      <a:pt x="257" y="584"/>
                    </a:lnTo>
                    <a:lnTo>
                      <a:pt x="259" y="584"/>
                    </a:lnTo>
                    <a:lnTo>
                      <a:pt x="257" y="584"/>
                    </a:lnTo>
                    <a:lnTo>
                      <a:pt x="257" y="586"/>
                    </a:lnTo>
                    <a:lnTo>
                      <a:pt x="259" y="586"/>
                    </a:lnTo>
                    <a:lnTo>
                      <a:pt x="259" y="588"/>
                    </a:lnTo>
                    <a:lnTo>
                      <a:pt x="261" y="590"/>
                    </a:lnTo>
                    <a:lnTo>
                      <a:pt x="263" y="590"/>
                    </a:lnTo>
                    <a:lnTo>
                      <a:pt x="263" y="592"/>
                    </a:lnTo>
                    <a:lnTo>
                      <a:pt x="261" y="592"/>
                    </a:lnTo>
                    <a:lnTo>
                      <a:pt x="261" y="594"/>
                    </a:lnTo>
                    <a:lnTo>
                      <a:pt x="263" y="594"/>
                    </a:lnTo>
                    <a:lnTo>
                      <a:pt x="263" y="595"/>
                    </a:lnTo>
                    <a:lnTo>
                      <a:pt x="263" y="594"/>
                    </a:lnTo>
                    <a:lnTo>
                      <a:pt x="265" y="594"/>
                    </a:lnTo>
                    <a:lnTo>
                      <a:pt x="265" y="595"/>
                    </a:lnTo>
                    <a:lnTo>
                      <a:pt x="265" y="597"/>
                    </a:lnTo>
                    <a:lnTo>
                      <a:pt x="263" y="597"/>
                    </a:lnTo>
                    <a:lnTo>
                      <a:pt x="265" y="597"/>
                    </a:lnTo>
                    <a:lnTo>
                      <a:pt x="265" y="599"/>
                    </a:lnTo>
                    <a:lnTo>
                      <a:pt x="267" y="599"/>
                    </a:lnTo>
                    <a:lnTo>
                      <a:pt x="267" y="601"/>
                    </a:lnTo>
                    <a:lnTo>
                      <a:pt x="269" y="601"/>
                    </a:lnTo>
                    <a:lnTo>
                      <a:pt x="267" y="603"/>
                    </a:lnTo>
                    <a:lnTo>
                      <a:pt x="269" y="603"/>
                    </a:lnTo>
                    <a:lnTo>
                      <a:pt x="269" y="605"/>
                    </a:lnTo>
                    <a:lnTo>
                      <a:pt x="269" y="607"/>
                    </a:lnTo>
                    <a:lnTo>
                      <a:pt x="269" y="609"/>
                    </a:lnTo>
                    <a:lnTo>
                      <a:pt x="267" y="609"/>
                    </a:lnTo>
                    <a:lnTo>
                      <a:pt x="269" y="611"/>
                    </a:lnTo>
                    <a:lnTo>
                      <a:pt x="267" y="611"/>
                    </a:lnTo>
                    <a:lnTo>
                      <a:pt x="269" y="611"/>
                    </a:lnTo>
                    <a:lnTo>
                      <a:pt x="269" y="613"/>
                    </a:lnTo>
                    <a:lnTo>
                      <a:pt x="269" y="615"/>
                    </a:lnTo>
                    <a:lnTo>
                      <a:pt x="269" y="617"/>
                    </a:lnTo>
                    <a:lnTo>
                      <a:pt x="271" y="617"/>
                    </a:lnTo>
                    <a:lnTo>
                      <a:pt x="271" y="619"/>
                    </a:lnTo>
                    <a:lnTo>
                      <a:pt x="271" y="617"/>
                    </a:lnTo>
                    <a:lnTo>
                      <a:pt x="271" y="619"/>
                    </a:lnTo>
                    <a:lnTo>
                      <a:pt x="271" y="620"/>
                    </a:lnTo>
                    <a:lnTo>
                      <a:pt x="273" y="620"/>
                    </a:lnTo>
                    <a:lnTo>
                      <a:pt x="273" y="622"/>
                    </a:lnTo>
                    <a:lnTo>
                      <a:pt x="275" y="624"/>
                    </a:lnTo>
                    <a:lnTo>
                      <a:pt x="277" y="624"/>
                    </a:lnTo>
                    <a:lnTo>
                      <a:pt x="278" y="626"/>
                    </a:lnTo>
                    <a:lnTo>
                      <a:pt x="277" y="626"/>
                    </a:lnTo>
                    <a:lnTo>
                      <a:pt x="278" y="626"/>
                    </a:lnTo>
                    <a:lnTo>
                      <a:pt x="278" y="624"/>
                    </a:lnTo>
                    <a:lnTo>
                      <a:pt x="278" y="622"/>
                    </a:lnTo>
                    <a:lnTo>
                      <a:pt x="278" y="620"/>
                    </a:lnTo>
                    <a:lnTo>
                      <a:pt x="278" y="619"/>
                    </a:lnTo>
                    <a:lnTo>
                      <a:pt x="280" y="619"/>
                    </a:lnTo>
                    <a:lnTo>
                      <a:pt x="280" y="617"/>
                    </a:lnTo>
                    <a:lnTo>
                      <a:pt x="282" y="617"/>
                    </a:lnTo>
                    <a:lnTo>
                      <a:pt x="282" y="619"/>
                    </a:lnTo>
                    <a:lnTo>
                      <a:pt x="284" y="617"/>
                    </a:lnTo>
                    <a:lnTo>
                      <a:pt x="284" y="619"/>
                    </a:lnTo>
                    <a:lnTo>
                      <a:pt x="286" y="619"/>
                    </a:lnTo>
                    <a:lnTo>
                      <a:pt x="286" y="617"/>
                    </a:lnTo>
                    <a:lnTo>
                      <a:pt x="288" y="617"/>
                    </a:lnTo>
                    <a:lnTo>
                      <a:pt x="288" y="615"/>
                    </a:lnTo>
                    <a:lnTo>
                      <a:pt x="288" y="613"/>
                    </a:lnTo>
                    <a:lnTo>
                      <a:pt x="286" y="611"/>
                    </a:lnTo>
                    <a:lnTo>
                      <a:pt x="286" y="609"/>
                    </a:lnTo>
                    <a:lnTo>
                      <a:pt x="286" y="607"/>
                    </a:lnTo>
                    <a:lnTo>
                      <a:pt x="286" y="605"/>
                    </a:lnTo>
                    <a:lnTo>
                      <a:pt x="286" y="603"/>
                    </a:lnTo>
                    <a:lnTo>
                      <a:pt x="286" y="601"/>
                    </a:lnTo>
                    <a:lnTo>
                      <a:pt x="284" y="601"/>
                    </a:lnTo>
                    <a:lnTo>
                      <a:pt x="282" y="601"/>
                    </a:lnTo>
                    <a:lnTo>
                      <a:pt x="282" y="603"/>
                    </a:lnTo>
                    <a:lnTo>
                      <a:pt x="280" y="603"/>
                    </a:lnTo>
                    <a:lnTo>
                      <a:pt x="280" y="601"/>
                    </a:lnTo>
                    <a:lnTo>
                      <a:pt x="278" y="601"/>
                    </a:lnTo>
                    <a:lnTo>
                      <a:pt x="278" y="599"/>
                    </a:lnTo>
                    <a:lnTo>
                      <a:pt x="277" y="599"/>
                    </a:lnTo>
                    <a:lnTo>
                      <a:pt x="277" y="597"/>
                    </a:lnTo>
                    <a:lnTo>
                      <a:pt x="277" y="595"/>
                    </a:lnTo>
                    <a:lnTo>
                      <a:pt x="278" y="594"/>
                    </a:lnTo>
                    <a:lnTo>
                      <a:pt x="278" y="592"/>
                    </a:lnTo>
                    <a:lnTo>
                      <a:pt x="280" y="590"/>
                    </a:lnTo>
                    <a:lnTo>
                      <a:pt x="280" y="588"/>
                    </a:lnTo>
                    <a:lnTo>
                      <a:pt x="278" y="588"/>
                    </a:lnTo>
                    <a:lnTo>
                      <a:pt x="278" y="590"/>
                    </a:lnTo>
                    <a:lnTo>
                      <a:pt x="278" y="588"/>
                    </a:lnTo>
                    <a:lnTo>
                      <a:pt x="280" y="588"/>
                    </a:lnTo>
                    <a:lnTo>
                      <a:pt x="280" y="586"/>
                    </a:lnTo>
                    <a:lnTo>
                      <a:pt x="282" y="586"/>
                    </a:lnTo>
                    <a:lnTo>
                      <a:pt x="282" y="584"/>
                    </a:lnTo>
                    <a:lnTo>
                      <a:pt x="280" y="584"/>
                    </a:lnTo>
                    <a:lnTo>
                      <a:pt x="282" y="582"/>
                    </a:lnTo>
                    <a:lnTo>
                      <a:pt x="282" y="584"/>
                    </a:lnTo>
                    <a:lnTo>
                      <a:pt x="282" y="582"/>
                    </a:lnTo>
                    <a:lnTo>
                      <a:pt x="284" y="582"/>
                    </a:lnTo>
                    <a:lnTo>
                      <a:pt x="286" y="582"/>
                    </a:lnTo>
                    <a:lnTo>
                      <a:pt x="288" y="580"/>
                    </a:lnTo>
                    <a:lnTo>
                      <a:pt x="290" y="580"/>
                    </a:lnTo>
                    <a:lnTo>
                      <a:pt x="290" y="578"/>
                    </a:lnTo>
                    <a:lnTo>
                      <a:pt x="292" y="576"/>
                    </a:lnTo>
                    <a:lnTo>
                      <a:pt x="292" y="578"/>
                    </a:lnTo>
                    <a:lnTo>
                      <a:pt x="292" y="580"/>
                    </a:lnTo>
                    <a:lnTo>
                      <a:pt x="290" y="580"/>
                    </a:lnTo>
                    <a:lnTo>
                      <a:pt x="292" y="580"/>
                    </a:lnTo>
                    <a:lnTo>
                      <a:pt x="290" y="580"/>
                    </a:lnTo>
                    <a:lnTo>
                      <a:pt x="292" y="582"/>
                    </a:lnTo>
                    <a:lnTo>
                      <a:pt x="290" y="582"/>
                    </a:lnTo>
                    <a:lnTo>
                      <a:pt x="290" y="584"/>
                    </a:lnTo>
                    <a:lnTo>
                      <a:pt x="290" y="586"/>
                    </a:lnTo>
                    <a:lnTo>
                      <a:pt x="290" y="588"/>
                    </a:lnTo>
                    <a:lnTo>
                      <a:pt x="290" y="590"/>
                    </a:lnTo>
                    <a:lnTo>
                      <a:pt x="290" y="592"/>
                    </a:lnTo>
                    <a:lnTo>
                      <a:pt x="290" y="594"/>
                    </a:lnTo>
                    <a:lnTo>
                      <a:pt x="290" y="595"/>
                    </a:lnTo>
                    <a:lnTo>
                      <a:pt x="288" y="595"/>
                    </a:lnTo>
                    <a:lnTo>
                      <a:pt x="290" y="595"/>
                    </a:lnTo>
                    <a:lnTo>
                      <a:pt x="288" y="595"/>
                    </a:lnTo>
                    <a:lnTo>
                      <a:pt x="288" y="594"/>
                    </a:lnTo>
                    <a:lnTo>
                      <a:pt x="288" y="592"/>
                    </a:lnTo>
                    <a:lnTo>
                      <a:pt x="286" y="592"/>
                    </a:lnTo>
                    <a:lnTo>
                      <a:pt x="286" y="594"/>
                    </a:lnTo>
                    <a:lnTo>
                      <a:pt x="284" y="594"/>
                    </a:lnTo>
                    <a:lnTo>
                      <a:pt x="284" y="595"/>
                    </a:lnTo>
                    <a:lnTo>
                      <a:pt x="284" y="597"/>
                    </a:lnTo>
                    <a:lnTo>
                      <a:pt x="284" y="599"/>
                    </a:lnTo>
                    <a:lnTo>
                      <a:pt x="286" y="599"/>
                    </a:lnTo>
                    <a:lnTo>
                      <a:pt x="284" y="601"/>
                    </a:lnTo>
                    <a:lnTo>
                      <a:pt x="286" y="599"/>
                    </a:lnTo>
                    <a:lnTo>
                      <a:pt x="286" y="601"/>
                    </a:lnTo>
                    <a:lnTo>
                      <a:pt x="288" y="601"/>
                    </a:lnTo>
                    <a:lnTo>
                      <a:pt x="288" y="599"/>
                    </a:lnTo>
                    <a:lnTo>
                      <a:pt x="290" y="599"/>
                    </a:lnTo>
                    <a:lnTo>
                      <a:pt x="292" y="599"/>
                    </a:lnTo>
                    <a:lnTo>
                      <a:pt x="294" y="601"/>
                    </a:lnTo>
                    <a:lnTo>
                      <a:pt x="296" y="601"/>
                    </a:lnTo>
                    <a:lnTo>
                      <a:pt x="298" y="601"/>
                    </a:lnTo>
                    <a:lnTo>
                      <a:pt x="300" y="601"/>
                    </a:lnTo>
                    <a:lnTo>
                      <a:pt x="300" y="599"/>
                    </a:lnTo>
                    <a:lnTo>
                      <a:pt x="300" y="601"/>
                    </a:lnTo>
                    <a:lnTo>
                      <a:pt x="300" y="599"/>
                    </a:lnTo>
                    <a:lnTo>
                      <a:pt x="301" y="599"/>
                    </a:lnTo>
                    <a:lnTo>
                      <a:pt x="303" y="599"/>
                    </a:lnTo>
                    <a:lnTo>
                      <a:pt x="305" y="597"/>
                    </a:lnTo>
                    <a:lnTo>
                      <a:pt x="305" y="599"/>
                    </a:lnTo>
                    <a:lnTo>
                      <a:pt x="305" y="601"/>
                    </a:lnTo>
                    <a:lnTo>
                      <a:pt x="305" y="603"/>
                    </a:lnTo>
                    <a:lnTo>
                      <a:pt x="303" y="603"/>
                    </a:lnTo>
                    <a:lnTo>
                      <a:pt x="303" y="605"/>
                    </a:lnTo>
                    <a:lnTo>
                      <a:pt x="303" y="607"/>
                    </a:lnTo>
                    <a:lnTo>
                      <a:pt x="301" y="607"/>
                    </a:lnTo>
                    <a:lnTo>
                      <a:pt x="301" y="609"/>
                    </a:lnTo>
                    <a:lnTo>
                      <a:pt x="301" y="611"/>
                    </a:lnTo>
                    <a:lnTo>
                      <a:pt x="301" y="613"/>
                    </a:lnTo>
                    <a:lnTo>
                      <a:pt x="303" y="613"/>
                    </a:lnTo>
                    <a:lnTo>
                      <a:pt x="301" y="613"/>
                    </a:lnTo>
                    <a:lnTo>
                      <a:pt x="301" y="615"/>
                    </a:lnTo>
                    <a:lnTo>
                      <a:pt x="303" y="615"/>
                    </a:lnTo>
                    <a:lnTo>
                      <a:pt x="303" y="617"/>
                    </a:lnTo>
                    <a:lnTo>
                      <a:pt x="303" y="619"/>
                    </a:lnTo>
                    <a:lnTo>
                      <a:pt x="301" y="619"/>
                    </a:lnTo>
                    <a:lnTo>
                      <a:pt x="301" y="620"/>
                    </a:lnTo>
                    <a:lnTo>
                      <a:pt x="303" y="620"/>
                    </a:lnTo>
                    <a:lnTo>
                      <a:pt x="301" y="620"/>
                    </a:lnTo>
                    <a:lnTo>
                      <a:pt x="301" y="622"/>
                    </a:lnTo>
                    <a:lnTo>
                      <a:pt x="300" y="622"/>
                    </a:lnTo>
                    <a:lnTo>
                      <a:pt x="298" y="622"/>
                    </a:lnTo>
                    <a:lnTo>
                      <a:pt x="298" y="624"/>
                    </a:lnTo>
                    <a:lnTo>
                      <a:pt x="298" y="626"/>
                    </a:lnTo>
                    <a:lnTo>
                      <a:pt x="296" y="626"/>
                    </a:lnTo>
                    <a:lnTo>
                      <a:pt x="296" y="628"/>
                    </a:lnTo>
                    <a:lnTo>
                      <a:pt x="296" y="630"/>
                    </a:lnTo>
                    <a:lnTo>
                      <a:pt x="296" y="632"/>
                    </a:lnTo>
                    <a:lnTo>
                      <a:pt x="296" y="630"/>
                    </a:lnTo>
                    <a:lnTo>
                      <a:pt x="298" y="630"/>
                    </a:lnTo>
                    <a:lnTo>
                      <a:pt x="298" y="632"/>
                    </a:lnTo>
                    <a:lnTo>
                      <a:pt x="300" y="632"/>
                    </a:lnTo>
                    <a:lnTo>
                      <a:pt x="301" y="632"/>
                    </a:lnTo>
                    <a:lnTo>
                      <a:pt x="303" y="632"/>
                    </a:lnTo>
                    <a:lnTo>
                      <a:pt x="303" y="630"/>
                    </a:lnTo>
                    <a:lnTo>
                      <a:pt x="305" y="630"/>
                    </a:lnTo>
                    <a:lnTo>
                      <a:pt x="309" y="626"/>
                    </a:lnTo>
                    <a:lnTo>
                      <a:pt x="311" y="626"/>
                    </a:lnTo>
                    <a:lnTo>
                      <a:pt x="313" y="626"/>
                    </a:lnTo>
                    <a:lnTo>
                      <a:pt x="313" y="624"/>
                    </a:lnTo>
                    <a:lnTo>
                      <a:pt x="315" y="624"/>
                    </a:lnTo>
                    <a:lnTo>
                      <a:pt x="315" y="622"/>
                    </a:lnTo>
                    <a:lnTo>
                      <a:pt x="317" y="622"/>
                    </a:lnTo>
                    <a:lnTo>
                      <a:pt x="319" y="620"/>
                    </a:lnTo>
                    <a:lnTo>
                      <a:pt x="319" y="619"/>
                    </a:lnTo>
                    <a:lnTo>
                      <a:pt x="319" y="617"/>
                    </a:lnTo>
                    <a:lnTo>
                      <a:pt x="321" y="617"/>
                    </a:lnTo>
                    <a:lnTo>
                      <a:pt x="321" y="615"/>
                    </a:lnTo>
                    <a:lnTo>
                      <a:pt x="323" y="615"/>
                    </a:lnTo>
                    <a:lnTo>
                      <a:pt x="323" y="613"/>
                    </a:lnTo>
                    <a:lnTo>
                      <a:pt x="323" y="611"/>
                    </a:lnTo>
                    <a:lnTo>
                      <a:pt x="325" y="611"/>
                    </a:lnTo>
                    <a:lnTo>
                      <a:pt x="325" y="609"/>
                    </a:lnTo>
                    <a:lnTo>
                      <a:pt x="326" y="607"/>
                    </a:lnTo>
                    <a:lnTo>
                      <a:pt x="326" y="605"/>
                    </a:lnTo>
                    <a:lnTo>
                      <a:pt x="326" y="603"/>
                    </a:lnTo>
                    <a:lnTo>
                      <a:pt x="325" y="601"/>
                    </a:lnTo>
                    <a:lnTo>
                      <a:pt x="325" y="599"/>
                    </a:lnTo>
                    <a:lnTo>
                      <a:pt x="325" y="597"/>
                    </a:lnTo>
                    <a:lnTo>
                      <a:pt x="323" y="595"/>
                    </a:lnTo>
                    <a:lnTo>
                      <a:pt x="323" y="594"/>
                    </a:lnTo>
                    <a:lnTo>
                      <a:pt x="325" y="592"/>
                    </a:lnTo>
                    <a:lnTo>
                      <a:pt x="325" y="590"/>
                    </a:lnTo>
                    <a:lnTo>
                      <a:pt x="325" y="588"/>
                    </a:lnTo>
                    <a:lnTo>
                      <a:pt x="326" y="588"/>
                    </a:lnTo>
                    <a:lnTo>
                      <a:pt x="326" y="586"/>
                    </a:lnTo>
                    <a:lnTo>
                      <a:pt x="328" y="586"/>
                    </a:lnTo>
                    <a:lnTo>
                      <a:pt x="328" y="588"/>
                    </a:lnTo>
                    <a:lnTo>
                      <a:pt x="328" y="590"/>
                    </a:lnTo>
                    <a:lnTo>
                      <a:pt x="328" y="592"/>
                    </a:lnTo>
                    <a:lnTo>
                      <a:pt x="330" y="592"/>
                    </a:lnTo>
                    <a:lnTo>
                      <a:pt x="330" y="594"/>
                    </a:lnTo>
                    <a:lnTo>
                      <a:pt x="330" y="595"/>
                    </a:lnTo>
                    <a:lnTo>
                      <a:pt x="332" y="595"/>
                    </a:lnTo>
                    <a:lnTo>
                      <a:pt x="332" y="597"/>
                    </a:lnTo>
                    <a:lnTo>
                      <a:pt x="332" y="599"/>
                    </a:lnTo>
                    <a:lnTo>
                      <a:pt x="332" y="601"/>
                    </a:lnTo>
                    <a:lnTo>
                      <a:pt x="330" y="601"/>
                    </a:lnTo>
                    <a:lnTo>
                      <a:pt x="332" y="601"/>
                    </a:lnTo>
                    <a:lnTo>
                      <a:pt x="332" y="603"/>
                    </a:lnTo>
                    <a:lnTo>
                      <a:pt x="330" y="603"/>
                    </a:lnTo>
                    <a:lnTo>
                      <a:pt x="332" y="603"/>
                    </a:lnTo>
                    <a:lnTo>
                      <a:pt x="330" y="603"/>
                    </a:lnTo>
                    <a:lnTo>
                      <a:pt x="330" y="605"/>
                    </a:lnTo>
                    <a:lnTo>
                      <a:pt x="330" y="607"/>
                    </a:lnTo>
                    <a:lnTo>
                      <a:pt x="330" y="609"/>
                    </a:lnTo>
                    <a:lnTo>
                      <a:pt x="330" y="611"/>
                    </a:lnTo>
                    <a:lnTo>
                      <a:pt x="330" y="613"/>
                    </a:lnTo>
                    <a:lnTo>
                      <a:pt x="330" y="611"/>
                    </a:lnTo>
                    <a:lnTo>
                      <a:pt x="330" y="613"/>
                    </a:lnTo>
                    <a:lnTo>
                      <a:pt x="332" y="613"/>
                    </a:lnTo>
                    <a:lnTo>
                      <a:pt x="330" y="613"/>
                    </a:lnTo>
                    <a:lnTo>
                      <a:pt x="332" y="613"/>
                    </a:lnTo>
                    <a:lnTo>
                      <a:pt x="332" y="615"/>
                    </a:lnTo>
                    <a:lnTo>
                      <a:pt x="330" y="615"/>
                    </a:lnTo>
                    <a:lnTo>
                      <a:pt x="330" y="617"/>
                    </a:lnTo>
                    <a:lnTo>
                      <a:pt x="330" y="619"/>
                    </a:lnTo>
                    <a:lnTo>
                      <a:pt x="330" y="620"/>
                    </a:lnTo>
                    <a:lnTo>
                      <a:pt x="332" y="619"/>
                    </a:lnTo>
                    <a:lnTo>
                      <a:pt x="334" y="619"/>
                    </a:lnTo>
                    <a:lnTo>
                      <a:pt x="336" y="619"/>
                    </a:lnTo>
                    <a:lnTo>
                      <a:pt x="336" y="617"/>
                    </a:lnTo>
                    <a:lnTo>
                      <a:pt x="338" y="617"/>
                    </a:lnTo>
                    <a:lnTo>
                      <a:pt x="338" y="615"/>
                    </a:lnTo>
                    <a:lnTo>
                      <a:pt x="338" y="613"/>
                    </a:lnTo>
                    <a:lnTo>
                      <a:pt x="338" y="611"/>
                    </a:lnTo>
                    <a:lnTo>
                      <a:pt x="338" y="609"/>
                    </a:lnTo>
                    <a:lnTo>
                      <a:pt x="338" y="607"/>
                    </a:lnTo>
                    <a:lnTo>
                      <a:pt x="338" y="605"/>
                    </a:lnTo>
                    <a:lnTo>
                      <a:pt x="338" y="603"/>
                    </a:lnTo>
                    <a:lnTo>
                      <a:pt x="338" y="601"/>
                    </a:lnTo>
                    <a:lnTo>
                      <a:pt x="336" y="599"/>
                    </a:lnTo>
                    <a:lnTo>
                      <a:pt x="336" y="597"/>
                    </a:lnTo>
                    <a:lnTo>
                      <a:pt x="336" y="594"/>
                    </a:lnTo>
                    <a:lnTo>
                      <a:pt x="334" y="592"/>
                    </a:lnTo>
                    <a:lnTo>
                      <a:pt x="334" y="590"/>
                    </a:lnTo>
                    <a:lnTo>
                      <a:pt x="334" y="588"/>
                    </a:lnTo>
                    <a:lnTo>
                      <a:pt x="334" y="586"/>
                    </a:lnTo>
                    <a:lnTo>
                      <a:pt x="332" y="584"/>
                    </a:lnTo>
                    <a:lnTo>
                      <a:pt x="332" y="582"/>
                    </a:lnTo>
                    <a:lnTo>
                      <a:pt x="332" y="580"/>
                    </a:lnTo>
                    <a:lnTo>
                      <a:pt x="330" y="580"/>
                    </a:lnTo>
                    <a:lnTo>
                      <a:pt x="330" y="578"/>
                    </a:lnTo>
                    <a:lnTo>
                      <a:pt x="330" y="576"/>
                    </a:lnTo>
                    <a:lnTo>
                      <a:pt x="328" y="578"/>
                    </a:lnTo>
                    <a:lnTo>
                      <a:pt x="328" y="580"/>
                    </a:lnTo>
                    <a:lnTo>
                      <a:pt x="326" y="580"/>
                    </a:lnTo>
                    <a:lnTo>
                      <a:pt x="326" y="578"/>
                    </a:lnTo>
                    <a:lnTo>
                      <a:pt x="326" y="576"/>
                    </a:lnTo>
                    <a:lnTo>
                      <a:pt x="326" y="574"/>
                    </a:lnTo>
                    <a:lnTo>
                      <a:pt x="326" y="572"/>
                    </a:lnTo>
                    <a:lnTo>
                      <a:pt x="325" y="570"/>
                    </a:lnTo>
                    <a:lnTo>
                      <a:pt x="325" y="569"/>
                    </a:lnTo>
                    <a:lnTo>
                      <a:pt x="325" y="567"/>
                    </a:lnTo>
                    <a:lnTo>
                      <a:pt x="323" y="567"/>
                    </a:lnTo>
                    <a:lnTo>
                      <a:pt x="321" y="567"/>
                    </a:lnTo>
                    <a:lnTo>
                      <a:pt x="321" y="565"/>
                    </a:lnTo>
                    <a:lnTo>
                      <a:pt x="323" y="565"/>
                    </a:lnTo>
                    <a:lnTo>
                      <a:pt x="321" y="565"/>
                    </a:lnTo>
                    <a:lnTo>
                      <a:pt x="323" y="565"/>
                    </a:lnTo>
                    <a:lnTo>
                      <a:pt x="323" y="563"/>
                    </a:lnTo>
                    <a:lnTo>
                      <a:pt x="323" y="565"/>
                    </a:lnTo>
                    <a:lnTo>
                      <a:pt x="325" y="565"/>
                    </a:lnTo>
                    <a:lnTo>
                      <a:pt x="326" y="565"/>
                    </a:lnTo>
                    <a:lnTo>
                      <a:pt x="328" y="565"/>
                    </a:lnTo>
                    <a:lnTo>
                      <a:pt x="330" y="565"/>
                    </a:lnTo>
                    <a:lnTo>
                      <a:pt x="332" y="565"/>
                    </a:lnTo>
                    <a:lnTo>
                      <a:pt x="334" y="565"/>
                    </a:lnTo>
                    <a:lnTo>
                      <a:pt x="338" y="565"/>
                    </a:lnTo>
                    <a:lnTo>
                      <a:pt x="340" y="565"/>
                    </a:lnTo>
                    <a:lnTo>
                      <a:pt x="342" y="565"/>
                    </a:lnTo>
                    <a:lnTo>
                      <a:pt x="342" y="563"/>
                    </a:lnTo>
                    <a:lnTo>
                      <a:pt x="344" y="563"/>
                    </a:lnTo>
                    <a:lnTo>
                      <a:pt x="346" y="561"/>
                    </a:lnTo>
                    <a:lnTo>
                      <a:pt x="348" y="561"/>
                    </a:lnTo>
                    <a:lnTo>
                      <a:pt x="348" y="559"/>
                    </a:lnTo>
                    <a:lnTo>
                      <a:pt x="350" y="557"/>
                    </a:lnTo>
                    <a:lnTo>
                      <a:pt x="350" y="555"/>
                    </a:lnTo>
                    <a:lnTo>
                      <a:pt x="351" y="555"/>
                    </a:lnTo>
                    <a:lnTo>
                      <a:pt x="351" y="553"/>
                    </a:lnTo>
                    <a:lnTo>
                      <a:pt x="351" y="551"/>
                    </a:lnTo>
                    <a:lnTo>
                      <a:pt x="353" y="549"/>
                    </a:lnTo>
                    <a:lnTo>
                      <a:pt x="355" y="549"/>
                    </a:lnTo>
                    <a:lnTo>
                      <a:pt x="355" y="551"/>
                    </a:lnTo>
                    <a:lnTo>
                      <a:pt x="357" y="551"/>
                    </a:lnTo>
                    <a:lnTo>
                      <a:pt x="357" y="553"/>
                    </a:lnTo>
                    <a:lnTo>
                      <a:pt x="357" y="555"/>
                    </a:lnTo>
                    <a:lnTo>
                      <a:pt x="359" y="555"/>
                    </a:lnTo>
                    <a:lnTo>
                      <a:pt x="361" y="555"/>
                    </a:lnTo>
                    <a:lnTo>
                      <a:pt x="361" y="553"/>
                    </a:lnTo>
                    <a:lnTo>
                      <a:pt x="361" y="555"/>
                    </a:lnTo>
                    <a:lnTo>
                      <a:pt x="363" y="555"/>
                    </a:lnTo>
                    <a:lnTo>
                      <a:pt x="363" y="557"/>
                    </a:lnTo>
                    <a:lnTo>
                      <a:pt x="365" y="557"/>
                    </a:lnTo>
                    <a:lnTo>
                      <a:pt x="367" y="557"/>
                    </a:lnTo>
                    <a:lnTo>
                      <a:pt x="369" y="557"/>
                    </a:lnTo>
                    <a:lnTo>
                      <a:pt x="371" y="557"/>
                    </a:lnTo>
                    <a:lnTo>
                      <a:pt x="373" y="557"/>
                    </a:lnTo>
                    <a:lnTo>
                      <a:pt x="374" y="557"/>
                    </a:lnTo>
                    <a:lnTo>
                      <a:pt x="376" y="559"/>
                    </a:lnTo>
                    <a:lnTo>
                      <a:pt x="376" y="561"/>
                    </a:lnTo>
                    <a:lnTo>
                      <a:pt x="378" y="561"/>
                    </a:lnTo>
                    <a:lnTo>
                      <a:pt x="380" y="561"/>
                    </a:lnTo>
                    <a:lnTo>
                      <a:pt x="382" y="561"/>
                    </a:lnTo>
                    <a:lnTo>
                      <a:pt x="382" y="563"/>
                    </a:lnTo>
                    <a:lnTo>
                      <a:pt x="382" y="565"/>
                    </a:lnTo>
                    <a:lnTo>
                      <a:pt x="382" y="567"/>
                    </a:lnTo>
                    <a:lnTo>
                      <a:pt x="382" y="569"/>
                    </a:lnTo>
                    <a:lnTo>
                      <a:pt x="384" y="569"/>
                    </a:lnTo>
                    <a:lnTo>
                      <a:pt x="384" y="570"/>
                    </a:lnTo>
                    <a:lnTo>
                      <a:pt x="386" y="570"/>
                    </a:lnTo>
                    <a:lnTo>
                      <a:pt x="386" y="572"/>
                    </a:lnTo>
                    <a:lnTo>
                      <a:pt x="388" y="572"/>
                    </a:lnTo>
                    <a:lnTo>
                      <a:pt x="390" y="572"/>
                    </a:lnTo>
                    <a:lnTo>
                      <a:pt x="388" y="572"/>
                    </a:lnTo>
                    <a:lnTo>
                      <a:pt x="390" y="572"/>
                    </a:lnTo>
                    <a:lnTo>
                      <a:pt x="394" y="572"/>
                    </a:lnTo>
                    <a:lnTo>
                      <a:pt x="396" y="574"/>
                    </a:lnTo>
                    <a:lnTo>
                      <a:pt x="396" y="576"/>
                    </a:lnTo>
                    <a:lnTo>
                      <a:pt x="398" y="576"/>
                    </a:lnTo>
                    <a:lnTo>
                      <a:pt x="399" y="578"/>
                    </a:lnTo>
                    <a:lnTo>
                      <a:pt x="401" y="578"/>
                    </a:lnTo>
                    <a:lnTo>
                      <a:pt x="403" y="578"/>
                    </a:lnTo>
                    <a:lnTo>
                      <a:pt x="405" y="578"/>
                    </a:lnTo>
                    <a:lnTo>
                      <a:pt x="407" y="580"/>
                    </a:lnTo>
                    <a:lnTo>
                      <a:pt x="409" y="580"/>
                    </a:lnTo>
                    <a:lnTo>
                      <a:pt x="411" y="580"/>
                    </a:lnTo>
                    <a:lnTo>
                      <a:pt x="413" y="580"/>
                    </a:lnTo>
                    <a:lnTo>
                      <a:pt x="415" y="580"/>
                    </a:lnTo>
                    <a:lnTo>
                      <a:pt x="417" y="580"/>
                    </a:lnTo>
                    <a:lnTo>
                      <a:pt x="419" y="580"/>
                    </a:lnTo>
                    <a:lnTo>
                      <a:pt x="421" y="580"/>
                    </a:lnTo>
                    <a:lnTo>
                      <a:pt x="423" y="580"/>
                    </a:lnTo>
                    <a:lnTo>
                      <a:pt x="421" y="580"/>
                    </a:lnTo>
                    <a:lnTo>
                      <a:pt x="419" y="580"/>
                    </a:lnTo>
                    <a:lnTo>
                      <a:pt x="417" y="580"/>
                    </a:lnTo>
                    <a:lnTo>
                      <a:pt x="415" y="580"/>
                    </a:lnTo>
                    <a:lnTo>
                      <a:pt x="415" y="582"/>
                    </a:lnTo>
                    <a:lnTo>
                      <a:pt x="415" y="584"/>
                    </a:lnTo>
                    <a:lnTo>
                      <a:pt x="415" y="586"/>
                    </a:lnTo>
                    <a:lnTo>
                      <a:pt x="417" y="586"/>
                    </a:lnTo>
                    <a:lnTo>
                      <a:pt x="417" y="584"/>
                    </a:lnTo>
                    <a:lnTo>
                      <a:pt x="417" y="582"/>
                    </a:lnTo>
                    <a:lnTo>
                      <a:pt x="419" y="582"/>
                    </a:lnTo>
                    <a:lnTo>
                      <a:pt x="419" y="584"/>
                    </a:lnTo>
                    <a:lnTo>
                      <a:pt x="421" y="584"/>
                    </a:lnTo>
                    <a:lnTo>
                      <a:pt x="423" y="584"/>
                    </a:lnTo>
                    <a:lnTo>
                      <a:pt x="423" y="586"/>
                    </a:lnTo>
                    <a:lnTo>
                      <a:pt x="424" y="586"/>
                    </a:lnTo>
                    <a:lnTo>
                      <a:pt x="426" y="586"/>
                    </a:lnTo>
                    <a:lnTo>
                      <a:pt x="428" y="588"/>
                    </a:lnTo>
                    <a:lnTo>
                      <a:pt x="428" y="586"/>
                    </a:lnTo>
                    <a:lnTo>
                      <a:pt x="428" y="588"/>
                    </a:lnTo>
                    <a:lnTo>
                      <a:pt x="430" y="588"/>
                    </a:lnTo>
                    <a:lnTo>
                      <a:pt x="430" y="586"/>
                    </a:lnTo>
                    <a:lnTo>
                      <a:pt x="432" y="586"/>
                    </a:lnTo>
                    <a:lnTo>
                      <a:pt x="434" y="586"/>
                    </a:lnTo>
                    <a:lnTo>
                      <a:pt x="434" y="584"/>
                    </a:lnTo>
                    <a:lnTo>
                      <a:pt x="436" y="584"/>
                    </a:lnTo>
                    <a:lnTo>
                      <a:pt x="436" y="586"/>
                    </a:lnTo>
                    <a:lnTo>
                      <a:pt x="436" y="588"/>
                    </a:lnTo>
                    <a:lnTo>
                      <a:pt x="436" y="590"/>
                    </a:lnTo>
                    <a:lnTo>
                      <a:pt x="438" y="590"/>
                    </a:lnTo>
                    <a:lnTo>
                      <a:pt x="438" y="592"/>
                    </a:lnTo>
                    <a:lnTo>
                      <a:pt x="440" y="592"/>
                    </a:lnTo>
                    <a:lnTo>
                      <a:pt x="440" y="594"/>
                    </a:lnTo>
                    <a:lnTo>
                      <a:pt x="440" y="592"/>
                    </a:lnTo>
                    <a:lnTo>
                      <a:pt x="440" y="594"/>
                    </a:lnTo>
                    <a:lnTo>
                      <a:pt x="442" y="594"/>
                    </a:lnTo>
                    <a:lnTo>
                      <a:pt x="440" y="594"/>
                    </a:lnTo>
                    <a:lnTo>
                      <a:pt x="440" y="595"/>
                    </a:lnTo>
                    <a:lnTo>
                      <a:pt x="440" y="597"/>
                    </a:lnTo>
                    <a:lnTo>
                      <a:pt x="440" y="599"/>
                    </a:lnTo>
                    <a:lnTo>
                      <a:pt x="442" y="599"/>
                    </a:lnTo>
                    <a:lnTo>
                      <a:pt x="440" y="599"/>
                    </a:lnTo>
                    <a:lnTo>
                      <a:pt x="438" y="599"/>
                    </a:lnTo>
                    <a:lnTo>
                      <a:pt x="438" y="601"/>
                    </a:lnTo>
                    <a:lnTo>
                      <a:pt x="436" y="601"/>
                    </a:lnTo>
                    <a:lnTo>
                      <a:pt x="438" y="603"/>
                    </a:lnTo>
                    <a:lnTo>
                      <a:pt x="438" y="605"/>
                    </a:lnTo>
                    <a:lnTo>
                      <a:pt x="438" y="607"/>
                    </a:lnTo>
                    <a:lnTo>
                      <a:pt x="436" y="609"/>
                    </a:lnTo>
                    <a:lnTo>
                      <a:pt x="436" y="607"/>
                    </a:lnTo>
                    <a:lnTo>
                      <a:pt x="436" y="609"/>
                    </a:lnTo>
                    <a:lnTo>
                      <a:pt x="434" y="609"/>
                    </a:lnTo>
                    <a:lnTo>
                      <a:pt x="434" y="607"/>
                    </a:lnTo>
                    <a:lnTo>
                      <a:pt x="432" y="607"/>
                    </a:lnTo>
                    <a:lnTo>
                      <a:pt x="430" y="607"/>
                    </a:lnTo>
                    <a:lnTo>
                      <a:pt x="428" y="607"/>
                    </a:lnTo>
                    <a:lnTo>
                      <a:pt x="426" y="607"/>
                    </a:lnTo>
                    <a:lnTo>
                      <a:pt x="424" y="607"/>
                    </a:lnTo>
                    <a:lnTo>
                      <a:pt x="424" y="605"/>
                    </a:lnTo>
                    <a:lnTo>
                      <a:pt x="423" y="605"/>
                    </a:lnTo>
                    <a:lnTo>
                      <a:pt x="421" y="605"/>
                    </a:lnTo>
                    <a:lnTo>
                      <a:pt x="419" y="605"/>
                    </a:lnTo>
                    <a:lnTo>
                      <a:pt x="419" y="607"/>
                    </a:lnTo>
                    <a:lnTo>
                      <a:pt x="419" y="605"/>
                    </a:lnTo>
                    <a:lnTo>
                      <a:pt x="419" y="607"/>
                    </a:lnTo>
                    <a:lnTo>
                      <a:pt x="417" y="607"/>
                    </a:lnTo>
                    <a:lnTo>
                      <a:pt x="417" y="605"/>
                    </a:lnTo>
                    <a:lnTo>
                      <a:pt x="417" y="607"/>
                    </a:lnTo>
                    <a:lnTo>
                      <a:pt x="419" y="607"/>
                    </a:lnTo>
                    <a:lnTo>
                      <a:pt x="417" y="607"/>
                    </a:lnTo>
                    <a:lnTo>
                      <a:pt x="417" y="609"/>
                    </a:lnTo>
                    <a:lnTo>
                      <a:pt x="415" y="609"/>
                    </a:lnTo>
                    <a:lnTo>
                      <a:pt x="413" y="609"/>
                    </a:lnTo>
                    <a:lnTo>
                      <a:pt x="413" y="611"/>
                    </a:lnTo>
                    <a:lnTo>
                      <a:pt x="413" y="609"/>
                    </a:lnTo>
                    <a:lnTo>
                      <a:pt x="411" y="609"/>
                    </a:lnTo>
                    <a:lnTo>
                      <a:pt x="413" y="611"/>
                    </a:lnTo>
                    <a:lnTo>
                      <a:pt x="411" y="611"/>
                    </a:lnTo>
                    <a:lnTo>
                      <a:pt x="411" y="609"/>
                    </a:lnTo>
                    <a:lnTo>
                      <a:pt x="409" y="609"/>
                    </a:lnTo>
                    <a:lnTo>
                      <a:pt x="411" y="609"/>
                    </a:lnTo>
                    <a:lnTo>
                      <a:pt x="413" y="609"/>
                    </a:lnTo>
                    <a:lnTo>
                      <a:pt x="411" y="609"/>
                    </a:lnTo>
                    <a:lnTo>
                      <a:pt x="409" y="609"/>
                    </a:lnTo>
                    <a:lnTo>
                      <a:pt x="407" y="609"/>
                    </a:lnTo>
                    <a:lnTo>
                      <a:pt x="407" y="607"/>
                    </a:lnTo>
                    <a:lnTo>
                      <a:pt x="405" y="607"/>
                    </a:lnTo>
                    <a:lnTo>
                      <a:pt x="403" y="607"/>
                    </a:lnTo>
                    <a:lnTo>
                      <a:pt x="401" y="607"/>
                    </a:lnTo>
                    <a:lnTo>
                      <a:pt x="399" y="607"/>
                    </a:lnTo>
                    <a:lnTo>
                      <a:pt x="398" y="607"/>
                    </a:lnTo>
                    <a:lnTo>
                      <a:pt x="396" y="607"/>
                    </a:lnTo>
                    <a:lnTo>
                      <a:pt x="394" y="607"/>
                    </a:lnTo>
                    <a:lnTo>
                      <a:pt x="392" y="607"/>
                    </a:lnTo>
                    <a:lnTo>
                      <a:pt x="392" y="609"/>
                    </a:lnTo>
                    <a:lnTo>
                      <a:pt x="390" y="609"/>
                    </a:lnTo>
                    <a:lnTo>
                      <a:pt x="388" y="609"/>
                    </a:lnTo>
                    <a:lnTo>
                      <a:pt x="386" y="607"/>
                    </a:lnTo>
                    <a:lnTo>
                      <a:pt x="384" y="607"/>
                    </a:lnTo>
                    <a:lnTo>
                      <a:pt x="384" y="605"/>
                    </a:lnTo>
                    <a:lnTo>
                      <a:pt x="382" y="605"/>
                    </a:lnTo>
                    <a:lnTo>
                      <a:pt x="382" y="603"/>
                    </a:lnTo>
                    <a:lnTo>
                      <a:pt x="382" y="601"/>
                    </a:lnTo>
                    <a:lnTo>
                      <a:pt x="380" y="601"/>
                    </a:lnTo>
                    <a:lnTo>
                      <a:pt x="382" y="601"/>
                    </a:lnTo>
                    <a:lnTo>
                      <a:pt x="380" y="601"/>
                    </a:lnTo>
                    <a:lnTo>
                      <a:pt x="380" y="599"/>
                    </a:lnTo>
                    <a:lnTo>
                      <a:pt x="382" y="599"/>
                    </a:lnTo>
                    <a:lnTo>
                      <a:pt x="382" y="597"/>
                    </a:lnTo>
                    <a:lnTo>
                      <a:pt x="382" y="595"/>
                    </a:lnTo>
                    <a:lnTo>
                      <a:pt x="384" y="595"/>
                    </a:lnTo>
                    <a:lnTo>
                      <a:pt x="384" y="594"/>
                    </a:lnTo>
                    <a:lnTo>
                      <a:pt x="382" y="592"/>
                    </a:lnTo>
                    <a:lnTo>
                      <a:pt x="380" y="592"/>
                    </a:lnTo>
                    <a:lnTo>
                      <a:pt x="378" y="592"/>
                    </a:lnTo>
                    <a:lnTo>
                      <a:pt x="378" y="594"/>
                    </a:lnTo>
                    <a:lnTo>
                      <a:pt x="376" y="594"/>
                    </a:lnTo>
                    <a:lnTo>
                      <a:pt x="376" y="595"/>
                    </a:lnTo>
                    <a:lnTo>
                      <a:pt x="374" y="595"/>
                    </a:lnTo>
                    <a:lnTo>
                      <a:pt x="376" y="595"/>
                    </a:lnTo>
                    <a:lnTo>
                      <a:pt x="376" y="597"/>
                    </a:lnTo>
                    <a:lnTo>
                      <a:pt x="374" y="597"/>
                    </a:lnTo>
                    <a:lnTo>
                      <a:pt x="374" y="599"/>
                    </a:lnTo>
                    <a:lnTo>
                      <a:pt x="374" y="601"/>
                    </a:lnTo>
                    <a:lnTo>
                      <a:pt x="374" y="603"/>
                    </a:lnTo>
                    <a:lnTo>
                      <a:pt x="376" y="603"/>
                    </a:lnTo>
                    <a:lnTo>
                      <a:pt x="376" y="605"/>
                    </a:lnTo>
                    <a:lnTo>
                      <a:pt x="376" y="607"/>
                    </a:lnTo>
                    <a:lnTo>
                      <a:pt x="378" y="607"/>
                    </a:lnTo>
                    <a:lnTo>
                      <a:pt x="380" y="607"/>
                    </a:lnTo>
                    <a:lnTo>
                      <a:pt x="382" y="607"/>
                    </a:lnTo>
                    <a:lnTo>
                      <a:pt x="382" y="609"/>
                    </a:lnTo>
                    <a:lnTo>
                      <a:pt x="384" y="607"/>
                    </a:lnTo>
                    <a:lnTo>
                      <a:pt x="386" y="607"/>
                    </a:lnTo>
                    <a:lnTo>
                      <a:pt x="386" y="609"/>
                    </a:lnTo>
                    <a:lnTo>
                      <a:pt x="388" y="609"/>
                    </a:lnTo>
                    <a:lnTo>
                      <a:pt x="390" y="609"/>
                    </a:lnTo>
                    <a:lnTo>
                      <a:pt x="392" y="609"/>
                    </a:lnTo>
                    <a:lnTo>
                      <a:pt x="392" y="607"/>
                    </a:lnTo>
                    <a:lnTo>
                      <a:pt x="394" y="607"/>
                    </a:lnTo>
                    <a:lnTo>
                      <a:pt x="396" y="607"/>
                    </a:lnTo>
                    <a:lnTo>
                      <a:pt x="398" y="607"/>
                    </a:lnTo>
                    <a:lnTo>
                      <a:pt x="399" y="607"/>
                    </a:lnTo>
                    <a:lnTo>
                      <a:pt x="399" y="609"/>
                    </a:lnTo>
                    <a:lnTo>
                      <a:pt x="398" y="609"/>
                    </a:lnTo>
                    <a:lnTo>
                      <a:pt x="396" y="609"/>
                    </a:lnTo>
                    <a:lnTo>
                      <a:pt x="396" y="611"/>
                    </a:lnTo>
                    <a:lnTo>
                      <a:pt x="394" y="611"/>
                    </a:lnTo>
                    <a:lnTo>
                      <a:pt x="396" y="611"/>
                    </a:lnTo>
                    <a:lnTo>
                      <a:pt x="396" y="609"/>
                    </a:lnTo>
                    <a:lnTo>
                      <a:pt x="396" y="611"/>
                    </a:lnTo>
                    <a:lnTo>
                      <a:pt x="394" y="611"/>
                    </a:lnTo>
                    <a:lnTo>
                      <a:pt x="392" y="613"/>
                    </a:lnTo>
                    <a:lnTo>
                      <a:pt x="390" y="613"/>
                    </a:lnTo>
                    <a:lnTo>
                      <a:pt x="390" y="611"/>
                    </a:lnTo>
                    <a:lnTo>
                      <a:pt x="390" y="613"/>
                    </a:lnTo>
                    <a:lnTo>
                      <a:pt x="388" y="613"/>
                    </a:lnTo>
                    <a:lnTo>
                      <a:pt x="390" y="613"/>
                    </a:lnTo>
                    <a:lnTo>
                      <a:pt x="388" y="613"/>
                    </a:lnTo>
                    <a:lnTo>
                      <a:pt x="390" y="613"/>
                    </a:lnTo>
                    <a:lnTo>
                      <a:pt x="390" y="615"/>
                    </a:lnTo>
                    <a:lnTo>
                      <a:pt x="390" y="617"/>
                    </a:lnTo>
                    <a:lnTo>
                      <a:pt x="390" y="619"/>
                    </a:lnTo>
                    <a:lnTo>
                      <a:pt x="392" y="620"/>
                    </a:lnTo>
                    <a:lnTo>
                      <a:pt x="392" y="619"/>
                    </a:lnTo>
                    <a:lnTo>
                      <a:pt x="392" y="620"/>
                    </a:lnTo>
                    <a:lnTo>
                      <a:pt x="392" y="622"/>
                    </a:lnTo>
                    <a:lnTo>
                      <a:pt x="392" y="624"/>
                    </a:lnTo>
                    <a:lnTo>
                      <a:pt x="392" y="626"/>
                    </a:lnTo>
                    <a:lnTo>
                      <a:pt x="392" y="628"/>
                    </a:lnTo>
                    <a:lnTo>
                      <a:pt x="392" y="630"/>
                    </a:lnTo>
                    <a:lnTo>
                      <a:pt x="390" y="630"/>
                    </a:lnTo>
                    <a:lnTo>
                      <a:pt x="390" y="632"/>
                    </a:lnTo>
                    <a:lnTo>
                      <a:pt x="390" y="630"/>
                    </a:lnTo>
                    <a:lnTo>
                      <a:pt x="392" y="630"/>
                    </a:lnTo>
                    <a:lnTo>
                      <a:pt x="390" y="630"/>
                    </a:lnTo>
                    <a:lnTo>
                      <a:pt x="392" y="630"/>
                    </a:lnTo>
                    <a:lnTo>
                      <a:pt x="392" y="632"/>
                    </a:lnTo>
                    <a:lnTo>
                      <a:pt x="392" y="634"/>
                    </a:lnTo>
                    <a:lnTo>
                      <a:pt x="394" y="634"/>
                    </a:lnTo>
                    <a:lnTo>
                      <a:pt x="394" y="636"/>
                    </a:lnTo>
                    <a:lnTo>
                      <a:pt x="392" y="636"/>
                    </a:lnTo>
                    <a:lnTo>
                      <a:pt x="390" y="636"/>
                    </a:lnTo>
                    <a:lnTo>
                      <a:pt x="390" y="634"/>
                    </a:lnTo>
                    <a:lnTo>
                      <a:pt x="388" y="636"/>
                    </a:lnTo>
                    <a:lnTo>
                      <a:pt x="388" y="638"/>
                    </a:lnTo>
                    <a:lnTo>
                      <a:pt x="386" y="636"/>
                    </a:lnTo>
                    <a:lnTo>
                      <a:pt x="386" y="634"/>
                    </a:lnTo>
                    <a:lnTo>
                      <a:pt x="384" y="634"/>
                    </a:lnTo>
                    <a:lnTo>
                      <a:pt x="384" y="632"/>
                    </a:lnTo>
                    <a:lnTo>
                      <a:pt x="382" y="632"/>
                    </a:lnTo>
                    <a:lnTo>
                      <a:pt x="382" y="634"/>
                    </a:lnTo>
                    <a:lnTo>
                      <a:pt x="380" y="634"/>
                    </a:lnTo>
                    <a:lnTo>
                      <a:pt x="380" y="636"/>
                    </a:lnTo>
                    <a:lnTo>
                      <a:pt x="378" y="634"/>
                    </a:lnTo>
                    <a:lnTo>
                      <a:pt x="378" y="636"/>
                    </a:lnTo>
                    <a:lnTo>
                      <a:pt x="376" y="636"/>
                    </a:lnTo>
                    <a:lnTo>
                      <a:pt x="376" y="638"/>
                    </a:lnTo>
                    <a:lnTo>
                      <a:pt x="376" y="640"/>
                    </a:lnTo>
                    <a:lnTo>
                      <a:pt x="374" y="642"/>
                    </a:lnTo>
                    <a:lnTo>
                      <a:pt x="374" y="644"/>
                    </a:lnTo>
                    <a:lnTo>
                      <a:pt x="374" y="645"/>
                    </a:lnTo>
                    <a:lnTo>
                      <a:pt x="374" y="644"/>
                    </a:lnTo>
                    <a:lnTo>
                      <a:pt x="374" y="642"/>
                    </a:lnTo>
                    <a:lnTo>
                      <a:pt x="376" y="640"/>
                    </a:lnTo>
                    <a:lnTo>
                      <a:pt x="378" y="640"/>
                    </a:lnTo>
                    <a:lnTo>
                      <a:pt x="378" y="642"/>
                    </a:lnTo>
                    <a:lnTo>
                      <a:pt x="378" y="640"/>
                    </a:lnTo>
                    <a:lnTo>
                      <a:pt x="378" y="638"/>
                    </a:lnTo>
                    <a:lnTo>
                      <a:pt x="380" y="638"/>
                    </a:lnTo>
                    <a:lnTo>
                      <a:pt x="380" y="640"/>
                    </a:lnTo>
                    <a:lnTo>
                      <a:pt x="382" y="640"/>
                    </a:lnTo>
                    <a:lnTo>
                      <a:pt x="382" y="638"/>
                    </a:lnTo>
                    <a:lnTo>
                      <a:pt x="382" y="640"/>
                    </a:lnTo>
                    <a:lnTo>
                      <a:pt x="384" y="640"/>
                    </a:lnTo>
                    <a:lnTo>
                      <a:pt x="386" y="640"/>
                    </a:lnTo>
                    <a:lnTo>
                      <a:pt x="386" y="638"/>
                    </a:lnTo>
                    <a:lnTo>
                      <a:pt x="388" y="638"/>
                    </a:lnTo>
                    <a:lnTo>
                      <a:pt x="388" y="636"/>
                    </a:lnTo>
                    <a:lnTo>
                      <a:pt x="390" y="636"/>
                    </a:lnTo>
                    <a:lnTo>
                      <a:pt x="392" y="636"/>
                    </a:lnTo>
                    <a:lnTo>
                      <a:pt x="394" y="636"/>
                    </a:lnTo>
                    <a:lnTo>
                      <a:pt x="394" y="634"/>
                    </a:lnTo>
                    <a:lnTo>
                      <a:pt x="392" y="634"/>
                    </a:lnTo>
                    <a:lnTo>
                      <a:pt x="394" y="634"/>
                    </a:lnTo>
                    <a:lnTo>
                      <a:pt x="396" y="634"/>
                    </a:lnTo>
                    <a:lnTo>
                      <a:pt x="398" y="634"/>
                    </a:lnTo>
                    <a:lnTo>
                      <a:pt x="399" y="636"/>
                    </a:lnTo>
                    <a:lnTo>
                      <a:pt x="401" y="636"/>
                    </a:lnTo>
                    <a:lnTo>
                      <a:pt x="403" y="636"/>
                    </a:lnTo>
                    <a:lnTo>
                      <a:pt x="405" y="636"/>
                    </a:lnTo>
                    <a:lnTo>
                      <a:pt x="407" y="636"/>
                    </a:lnTo>
                    <a:lnTo>
                      <a:pt x="407" y="638"/>
                    </a:lnTo>
                    <a:lnTo>
                      <a:pt x="409" y="638"/>
                    </a:lnTo>
                    <a:lnTo>
                      <a:pt x="409" y="640"/>
                    </a:lnTo>
                    <a:lnTo>
                      <a:pt x="411" y="640"/>
                    </a:lnTo>
                    <a:lnTo>
                      <a:pt x="411" y="642"/>
                    </a:lnTo>
                    <a:lnTo>
                      <a:pt x="411" y="644"/>
                    </a:lnTo>
                    <a:lnTo>
                      <a:pt x="413" y="644"/>
                    </a:lnTo>
                    <a:lnTo>
                      <a:pt x="413" y="645"/>
                    </a:lnTo>
                    <a:lnTo>
                      <a:pt x="415" y="645"/>
                    </a:lnTo>
                    <a:lnTo>
                      <a:pt x="415" y="647"/>
                    </a:lnTo>
                    <a:lnTo>
                      <a:pt x="415" y="649"/>
                    </a:lnTo>
                    <a:lnTo>
                      <a:pt x="417" y="649"/>
                    </a:lnTo>
                    <a:lnTo>
                      <a:pt x="417" y="647"/>
                    </a:lnTo>
                    <a:lnTo>
                      <a:pt x="419" y="647"/>
                    </a:lnTo>
                    <a:lnTo>
                      <a:pt x="421" y="647"/>
                    </a:lnTo>
                    <a:lnTo>
                      <a:pt x="423" y="647"/>
                    </a:lnTo>
                    <a:lnTo>
                      <a:pt x="424" y="647"/>
                    </a:lnTo>
                    <a:lnTo>
                      <a:pt x="424" y="649"/>
                    </a:lnTo>
                    <a:lnTo>
                      <a:pt x="426" y="649"/>
                    </a:lnTo>
                    <a:lnTo>
                      <a:pt x="426" y="651"/>
                    </a:lnTo>
                    <a:lnTo>
                      <a:pt x="428" y="651"/>
                    </a:lnTo>
                    <a:lnTo>
                      <a:pt x="428" y="653"/>
                    </a:lnTo>
                    <a:lnTo>
                      <a:pt x="430" y="653"/>
                    </a:lnTo>
                    <a:lnTo>
                      <a:pt x="430" y="655"/>
                    </a:lnTo>
                    <a:lnTo>
                      <a:pt x="432" y="655"/>
                    </a:lnTo>
                    <a:lnTo>
                      <a:pt x="432" y="657"/>
                    </a:lnTo>
                    <a:lnTo>
                      <a:pt x="434" y="659"/>
                    </a:lnTo>
                    <a:lnTo>
                      <a:pt x="434" y="661"/>
                    </a:lnTo>
                    <a:lnTo>
                      <a:pt x="434" y="663"/>
                    </a:lnTo>
                    <a:lnTo>
                      <a:pt x="434" y="665"/>
                    </a:lnTo>
                    <a:lnTo>
                      <a:pt x="434" y="667"/>
                    </a:lnTo>
                    <a:lnTo>
                      <a:pt x="436" y="667"/>
                    </a:lnTo>
                    <a:lnTo>
                      <a:pt x="436" y="669"/>
                    </a:lnTo>
                    <a:lnTo>
                      <a:pt x="436" y="670"/>
                    </a:lnTo>
                    <a:lnTo>
                      <a:pt x="434" y="672"/>
                    </a:lnTo>
                    <a:lnTo>
                      <a:pt x="434" y="674"/>
                    </a:lnTo>
                    <a:lnTo>
                      <a:pt x="436" y="676"/>
                    </a:lnTo>
                    <a:lnTo>
                      <a:pt x="436" y="678"/>
                    </a:lnTo>
                    <a:lnTo>
                      <a:pt x="434" y="678"/>
                    </a:lnTo>
                    <a:lnTo>
                      <a:pt x="434" y="680"/>
                    </a:lnTo>
                    <a:lnTo>
                      <a:pt x="436" y="682"/>
                    </a:lnTo>
                    <a:lnTo>
                      <a:pt x="436" y="684"/>
                    </a:lnTo>
                    <a:lnTo>
                      <a:pt x="434" y="684"/>
                    </a:lnTo>
                    <a:lnTo>
                      <a:pt x="436" y="684"/>
                    </a:lnTo>
                    <a:lnTo>
                      <a:pt x="436" y="686"/>
                    </a:lnTo>
                    <a:lnTo>
                      <a:pt x="436" y="688"/>
                    </a:lnTo>
                    <a:lnTo>
                      <a:pt x="438" y="688"/>
                    </a:lnTo>
                    <a:lnTo>
                      <a:pt x="438" y="690"/>
                    </a:lnTo>
                    <a:lnTo>
                      <a:pt x="438" y="688"/>
                    </a:lnTo>
                    <a:lnTo>
                      <a:pt x="440" y="690"/>
                    </a:lnTo>
                    <a:lnTo>
                      <a:pt x="442" y="690"/>
                    </a:lnTo>
                    <a:lnTo>
                      <a:pt x="442" y="692"/>
                    </a:lnTo>
                    <a:lnTo>
                      <a:pt x="442" y="694"/>
                    </a:lnTo>
                    <a:lnTo>
                      <a:pt x="444" y="694"/>
                    </a:lnTo>
                    <a:lnTo>
                      <a:pt x="442" y="694"/>
                    </a:lnTo>
                    <a:lnTo>
                      <a:pt x="442" y="695"/>
                    </a:lnTo>
                    <a:lnTo>
                      <a:pt x="442" y="697"/>
                    </a:lnTo>
                    <a:lnTo>
                      <a:pt x="442" y="699"/>
                    </a:lnTo>
                    <a:lnTo>
                      <a:pt x="440" y="699"/>
                    </a:lnTo>
                    <a:lnTo>
                      <a:pt x="440" y="701"/>
                    </a:lnTo>
                    <a:lnTo>
                      <a:pt x="440" y="703"/>
                    </a:lnTo>
                    <a:lnTo>
                      <a:pt x="440" y="705"/>
                    </a:lnTo>
                    <a:lnTo>
                      <a:pt x="440" y="703"/>
                    </a:lnTo>
                    <a:lnTo>
                      <a:pt x="440" y="701"/>
                    </a:lnTo>
                    <a:lnTo>
                      <a:pt x="440" y="703"/>
                    </a:lnTo>
                    <a:lnTo>
                      <a:pt x="440" y="705"/>
                    </a:lnTo>
                    <a:lnTo>
                      <a:pt x="440" y="707"/>
                    </a:lnTo>
                    <a:lnTo>
                      <a:pt x="440" y="709"/>
                    </a:lnTo>
                    <a:lnTo>
                      <a:pt x="438" y="709"/>
                    </a:lnTo>
                    <a:lnTo>
                      <a:pt x="440" y="709"/>
                    </a:lnTo>
                    <a:lnTo>
                      <a:pt x="440" y="711"/>
                    </a:lnTo>
                    <a:lnTo>
                      <a:pt x="440" y="713"/>
                    </a:lnTo>
                    <a:lnTo>
                      <a:pt x="438" y="715"/>
                    </a:lnTo>
                    <a:lnTo>
                      <a:pt x="436" y="715"/>
                    </a:lnTo>
                    <a:lnTo>
                      <a:pt x="436" y="717"/>
                    </a:lnTo>
                    <a:lnTo>
                      <a:pt x="436" y="719"/>
                    </a:lnTo>
                    <a:lnTo>
                      <a:pt x="434" y="719"/>
                    </a:lnTo>
                    <a:lnTo>
                      <a:pt x="434" y="720"/>
                    </a:lnTo>
                    <a:lnTo>
                      <a:pt x="432" y="720"/>
                    </a:lnTo>
                    <a:lnTo>
                      <a:pt x="430" y="720"/>
                    </a:lnTo>
                    <a:lnTo>
                      <a:pt x="428" y="722"/>
                    </a:lnTo>
                    <a:lnTo>
                      <a:pt x="428" y="724"/>
                    </a:lnTo>
                    <a:lnTo>
                      <a:pt x="428" y="726"/>
                    </a:lnTo>
                    <a:lnTo>
                      <a:pt x="430" y="728"/>
                    </a:lnTo>
                    <a:lnTo>
                      <a:pt x="428" y="728"/>
                    </a:lnTo>
                    <a:lnTo>
                      <a:pt x="428" y="726"/>
                    </a:lnTo>
                    <a:lnTo>
                      <a:pt x="428" y="728"/>
                    </a:lnTo>
                    <a:lnTo>
                      <a:pt x="430" y="728"/>
                    </a:lnTo>
                    <a:lnTo>
                      <a:pt x="430" y="730"/>
                    </a:lnTo>
                    <a:lnTo>
                      <a:pt x="428" y="730"/>
                    </a:lnTo>
                    <a:lnTo>
                      <a:pt x="428" y="732"/>
                    </a:lnTo>
                    <a:lnTo>
                      <a:pt x="428" y="734"/>
                    </a:lnTo>
                    <a:lnTo>
                      <a:pt x="428" y="736"/>
                    </a:lnTo>
                    <a:lnTo>
                      <a:pt x="426" y="736"/>
                    </a:lnTo>
                    <a:lnTo>
                      <a:pt x="426" y="738"/>
                    </a:lnTo>
                    <a:lnTo>
                      <a:pt x="424" y="738"/>
                    </a:lnTo>
                    <a:lnTo>
                      <a:pt x="423" y="740"/>
                    </a:lnTo>
                    <a:lnTo>
                      <a:pt x="421" y="740"/>
                    </a:lnTo>
                    <a:lnTo>
                      <a:pt x="419" y="740"/>
                    </a:lnTo>
                    <a:lnTo>
                      <a:pt x="419" y="738"/>
                    </a:lnTo>
                    <a:lnTo>
                      <a:pt x="419" y="740"/>
                    </a:lnTo>
                    <a:lnTo>
                      <a:pt x="417" y="740"/>
                    </a:lnTo>
                    <a:lnTo>
                      <a:pt x="417" y="742"/>
                    </a:lnTo>
                    <a:lnTo>
                      <a:pt x="415" y="742"/>
                    </a:lnTo>
                    <a:lnTo>
                      <a:pt x="415" y="744"/>
                    </a:lnTo>
                    <a:lnTo>
                      <a:pt x="415" y="745"/>
                    </a:lnTo>
                    <a:lnTo>
                      <a:pt x="415" y="747"/>
                    </a:lnTo>
                    <a:lnTo>
                      <a:pt x="415" y="749"/>
                    </a:lnTo>
                    <a:lnTo>
                      <a:pt x="415" y="751"/>
                    </a:lnTo>
                    <a:lnTo>
                      <a:pt x="415" y="753"/>
                    </a:lnTo>
                    <a:lnTo>
                      <a:pt x="413" y="755"/>
                    </a:lnTo>
                    <a:lnTo>
                      <a:pt x="411" y="757"/>
                    </a:lnTo>
                    <a:lnTo>
                      <a:pt x="411" y="759"/>
                    </a:lnTo>
                    <a:lnTo>
                      <a:pt x="411" y="761"/>
                    </a:lnTo>
                    <a:lnTo>
                      <a:pt x="411" y="763"/>
                    </a:lnTo>
                    <a:lnTo>
                      <a:pt x="411" y="765"/>
                    </a:lnTo>
                    <a:lnTo>
                      <a:pt x="409" y="767"/>
                    </a:lnTo>
                    <a:lnTo>
                      <a:pt x="407" y="767"/>
                    </a:lnTo>
                    <a:lnTo>
                      <a:pt x="407" y="769"/>
                    </a:lnTo>
                    <a:lnTo>
                      <a:pt x="407" y="770"/>
                    </a:lnTo>
                    <a:lnTo>
                      <a:pt x="407" y="772"/>
                    </a:lnTo>
                    <a:lnTo>
                      <a:pt x="407" y="774"/>
                    </a:lnTo>
                    <a:lnTo>
                      <a:pt x="405" y="776"/>
                    </a:lnTo>
                    <a:lnTo>
                      <a:pt x="405" y="778"/>
                    </a:lnTo>
                    <a:lnTo>
                      <a:pt x="405" y="780"/>
                    </a:lnTo>
                    <a:lnTo>
                      <a:pt x="403" y="780"/>
                    </a:lnTo>
                    <a:lnTo>
                      <a:pt x="403" y="782"/>
                    </a:lnTo>
                    <a:lnTo>
                      <a:pt x="405" y="784"/>
                    </a:lnTo>
                    <a:lnTo>
                      <a:pt x="403" y="782"/>
                    </a:lnTo>
                    <a:lnTo>
                      <a:pt x="403" y="780"/>
                    </a:lnTo>
                    <a:lnTo>
                      <a:pt x="405" y="780"/>
                    </a:lnTo>
                    <a:lnTo>
                      <a:pt x="405" y="778"/>
                    </a:lnTo>
                    <a:lnTo>
                      <a:pt x="407" y="776"/>
                    </a:lnTo>
                    <a:lnTo>
                      <a:pt x="407" y="774"/>
                    </a:lnTo>
                    <a:lnTo>
                      <a:pt x="407" y="772"/>
                    </a:lnTo>
                    <a:lnTo>
                      <a:pt x="409" y="772"/>
                    </a:lnTo>
                    <a:lnTo>
                      <a:pt x="409" y="770"/>
                    </a:lnTo>
                    <a:lnTo>
                      <a:pt x="407" y="770"/>
                    </a:lnTo>
                    <a:lnTo>
                      <a:pt x="409" y="769"/>
                    </a:lnTo>
                    <a:lnTo>
                      <a:pt x="409" y="767"/>
                    </a:lnTo>
                    <a:lnTo>
                      <a:pt x="411" y="767"/>
                    </a:lnTo>
                    <a:lnTo>
                      <a:pt x="411" y="765"/>
                    </a:lnTo>
                    <a:lnTo>
                      <a:pt x="413" y="765"/>
                    </a:lnTo>
                    <a:lnTo>
                      <a:pt x="413" y="763"/>
                    </a:lnTo>
                    <a:lnTo>
                      <a:pt x="411" y="763"/>
                    </a:lnTo>
                    <a:lnTo>
                      <a:pt x="411" y="761"/>
                    </a:lnTo>
                    <a:lnTo>
                      <a:pt x="411" y="759"/>
                    </a:lnTo>
                    <a:lnTo>
                      <a:pt x="413" y="759"/>
                    </a:lnTo>
                    <a:lnTo>
                      <a:pt x="413" y="757"/>
                    </a:lnTo>
                    <a:lnTo>
                      <a:pt x="415" y="757"/>
                    </a:lnTo>
                    <a:lnTo>
                      <a:pt x="415" y="755"/>
                    </a:lnTo>
                    <a:lnTo>
                      <a:pt x="415" y="753"/>
                    </a:lnTo>
                    <a:lnTo>
                      <a:pt x="417" y="753"/>
                    </a:lnTo>
                    <a:lnTo>
                      <a:pt x="417" y="751"/>
                    </a:lnTo>
                    <a:lnTo>
                      <a:pt x="417" y="749"/>
                    </a:lnTo>
                    <a:lnTo>
                      <a:pt x="417" y="747"/>
                    </a:lnTo>
                    <a:lnTo>
                      <a:pt x="417" y="745"/>
                    </a:lnTo>
                    <a:lnTo>
                      <a:pt x="415" y="745"/>
                    </a:lnTo>
                    <a:lnTo>
                      <a:pt x="415" y="744"/>
                    </a:lnTo>
                    <a:lnTo>
                      <a:pt x="415" y="742"/>
                    </a:lnTo>
                    <a:lnTo>
                      <a:pt x="417" y="742"/>
                    </a:lnTo>
                    <a:lnTo>
                      <a:pt x="419" y="742"/>
                    </a:lnTo>
                    <a:lnTo>
                      <a:pt x="421" y="742"/>
                    </a:lnTo>
                    <a:lnTo>
                      <a:pt x="423" y="742"/>
                    </a:lnTo>
                    <a:lnTo>
                      <a:pt x="424" y="742"/>
                    </a:lnTo>
                    <a:lnTo>
                      <a:pt x="426" y="742"/>
                    </a:lnTo>
                    <a:lnTo>
                      <a:pt x="426" y="740"/>
                    </a:lnTo>
                    <a:lnTo>
                      <a:pt x="428" y="738"/>
                    </a:lnTo>
                    <a:lnTo>
                      <a:pt x="426" y="738"/>
                    </a:lnTo>
                    <a:lnTo>
                      <a:pt x="428" y="738"/>
                    </a:lnTo>
                    <a:lnTo>
                      <a:pt x="428" y="736"/>
                    </a:lnTo>
                    <a:lnTo>
                      <a:pt x="430" y="736"/>
                    </a:lnTo>
                    <a:lnTo>
                      <a:pt x="430" y="734"/>
                    </a:lnTo>
                    <a:lnTo>
                      <a:pt x="430" y="732"/>
                    </a:lnTo>
                    <a:lnTo>
                      <a:pt x="432" y="732"/>
                    </a:lnTo>
                    <a:lnTo>
                      <a:pt x="432" y="730"/>
                    </a:lnTo>
                    <a:lnTo>
                      <a:pt x="432" y="728"/>
                    </a:lnTo>
                    <a:lnTo>
                      <a:pt x="430" y="726"/>
                    </a:lnTo>
                    <a:lnTo>
                      <a:pt x="428" y="726"/>
                    </a:lnTo>
                    <a:lnTo>
                      <a:pt x="430" y="726"/>
                    </a:lnTo>
                    <a:lnTo>
                      <a:pt x="430" y="724"/>
                    </a:lnTo>
                    <a:lnTo>
                      <a:pt x="432" y="724"/>
                    </a:lnTo>
                    <a:lnTo>
                      <a:pt x="434" y="724"/>
                    </a:lnTo>
                    <a:lnTo>
                      <a:pt x="434" y="722"/>
                    </a:lnTo>
                    <a:lnTo>
                      <a:pt x="436" y="722"/>
                    </a:lnTo>
                    <a:lnTo>
                      <a:pt x="436" y="720"/>
                    </a:lnTo>
                    <a:lnTo>
                      <a:pt x="436" y="719"/>
                    </a:lnTo>
                    <a:lnTo>
                      <a:pt x="438" y="719"/>
                    </a:lnTo>
                    <a:lnTo>
                      <a:pt x="438" y="717"/>
                    </a:lnTo>
                    <a:lnTo>
                      <a:pt x="440" y="717"/>
                    </a:lnTo>
                    <a:lnTo>
                      <a:pt x="442" y="717"/>
                    </a:lnTo>
                    <a:lnTo>
                      <a:pt x="442" y="715"/>
                    </a:lnTo>
                    <a:lnTo>
                      <a:pt x="444" y="715"/>
                    </a:lnTo>
                    <a:lnTo>
                      <a:pt x="446" y="715"/>
                    </a:lnTo>
                    <a:lnTo>
                      <a:pt x="446" y="713"/>
                    </a:lnTo>
                    <a:lnTo>
                      <a:pt x="446" y="711"/>
                    </a:lnTo>
                    <a:lnTo>
                      <a:pt x="444" y="709"/>
                    </a:lnTo>
                    <a:lnTo>
                      <a:pt x="444" y="707"/>
                    </a:lnTo>
                    <a:lnTo>
                      <a:pt x="446" y="707"/>
                    </a:lnTo>
                    <a:lnTo>
                      <a:pt x="446" y="705"/>
                    </a:lnTo>
                    <a:lnTo>
                      <a:pt x="447" y="705"/>
                    </a:lnTo>
                    <a:lnTo>
                      <a:pt x="446" y="705"/>
                    </a:lnTo>
                    <a:lnTo>
                      <a:pt x="447" y="705"/>
                    </a:lnTo>
                    <a:lnTo>
                      <a:pt x="447" y="703"/>
                    </a:lnTo>
                    <a:lnTo>
                      <a:pt x="447" y="705"/>
                    </a:lnTo>
                    <a:lnTo>
                      <a:pt x="449" y="705"/>
                    </a:lnTo>
                    <a:lnTo>
                      <a:pt x="449" y="707"/>
                    </a:lnTo>
                    <a:lnTo>
                      <a:pt x="447" y="707"/>
                    </a:lnTo>
                    <a:lnTo>
                      <a:pt x="449" y="707"/>
                    </a:lnTo>
                    <a:lnTo>
                      <a:pt x="447" y="707"/>
                    </a:lnTo>
                    <a:lnTo>
                      <a:pt x="447" y="709"/>
                    </a:lnTo>
                    <a:lnTo>
                      <a:pt x="447" y="711"/>
                    </a:lnTo>
                    <a:lnTo>
                      <a:pt x="447" y="713"/>
                    </a:lnTo>
                    <a:lnTo>
                      <a:pt x="449" y="713"/>
                    </a:lnTo>
                    <a:lnTo>
                      <a:pt x="449" y="715"/>
                    </a:lnTo>
                    <a:lnTo>
                      <a:pt x="449" y="713"/>
                    </a:lnTo>
                    <a:lnTo>
                      <a:pt x="451" y="713"/>
                    </a:lnTo>
                    <a:lnTo>
                      <a:pt x="449" y="713"/>
                    </a:lnTo>
                    <a:lnTo>
                      <a:pt x="449" y="711"/>
                    </a:lnTo>
                    <a:lnTo>
                      <a:pt x="449" y="709"/>
                    </a:lnTo>
                    <a:lnTo>
                      <a:pt x="451" y="707"/>
                    </a:lnTo>
                    <a:lnTo>
                      <a:pt x="453" y="707"/>
                    </a:lnTo>
                    <a:lnTo>
                      <a:pt x="453" y="709"/>
                    </a:lnTo>
                    <a:lnTo>
                      <a:pt x="455" y="709"/>
                    </a:lnTo>
                    <a:lnTo>
                      <a:pt x="455" y="707"/>
                    </a:lnTo>
                    <a:lnTo>
                      <a:pt x="457" y="707"/>
                    </a:lnTo>
                    <a:lnTo>
                      <a:pt x="457" y="709"/>
                    </a:lnTo>
                    <a:lnTo>
                      <a:pt x="457" y="707"/>
                    </a:lnTo>
                    <a:lnTo>
                      <a:pt x="459" y="707"/>
                    </a:lnTo>
                    <a:lnTo>
                      <a:pt x="459" y="705"/>
                    </a:lnTo>
                    <a:lnTo>
                      <a:pt x="461" y="705"/>
                    </a:lnTo>
                    <a:lnTo>
                      <a:pt x="461" y="703"/>
                    </a:lnTo>
                    <a:lnTo>
                      <a:pt x="463" y="703"/>
                    </a:lnTo>
                    <a:lnTo>
                      <a:pt x="461" y="701"/>
                    </a:lnTo>
                    <a:lnTo>
                      <a:pt x="461" y="699"/>
                    </a:lnTo>
                    <a:lnTo>
                      <a:pt x="461" y="697"/>
                    </a:lnTo>
                    <a:lnTo>
                      <a:pt x="463" y="697"/>
                    </a:lnTo>
                    <a:lnTo>
                      <a:pt x="463" y="699"/>
                    </a:lnTo>
                    <a:lnTo>
                      <a:pt x="465" y="699"/>
                    </a:lnTo>
                    <a:lnTo>
                      <a:pt x="467" y="699"/>
                    </a:lnTo>
                    <a:lnTo>
                      <a:pt x="467" y="697"/>
                    </a:lnTo>
                    <a:lnTo>
                      <a:pt x="467" y="699"/>
                    </a:lnTo>
                    <a:lnTo>
                      <a:pt x="467" y="697"/>
                    </a:lnTo>
                    <a:lnTo>
                      <a:pt x="465" y="697"/>
                    </a:lnTo>
                    <a:lnTo>
                      <a:pt x="465" y="695"/>
                    </a:lnTo>
                    <a:lnTo>
                      <a:pt x="463" y="695"/>
                    </a:lnTo>
                    <a:lnTo>
                      <a:pt x="463" y="697"/>
                    </a:lnTo>
                    <a:lnTo>
                      <a:pt x="461" y="697"/>
                    </a:lnTo>
                    <a:lnTo>
                      <a:pt x="461" y="699"/>
                    </a:lnTo>
                    <a:lnTo>
                      <a:pt x="459" y="699"/>
                    </a:lnTo>
                    <a:lnTo>
                      <a:pt x="459" y="701"/>
                    </a:lnTo>
                    <a:lnTo>
                      <a:pt x="457" y="701"/>
                    </a:lnTo>
                    <a:lnTo>
                      <a:pt x="457" y="703"/>
                    </a:lnTo>
                    <a:lnTo>
                      <a:pt x="455" y="703"/>
                    </a:lnTo>
                    <a:lnTo>
                      <a:pt x="455" y="705"/>
                    </a:lnTo>
                    <a:lnTo>
                      <a:pt x="455" y="703"/>
                    </a:lnTo>
                    <a:lnTo>
                      <a:pt x="455" y="705"/>
                    </a:lnTo>
                    <a:lnTo>
                      <a:pt x="453" y="705"/>
                    </a:lnTo>
                    <a:lnTo>
                      <a:pt x="453" y="703"/>
                    </a:lnTo>
                    <a:lnTo>
                      <a:pt x="451" y="703"/>
                    </a:lnTo>
                    <a:lnTo>
                      <a:pt x="449" y="701"/>
                    </a:lnTo>
                    <a:lnTo>
                      <a:pt x="447" y="703"/>
                    </a:lnTo>
                    <a:lnTo>
                      <a:pt x="446" y="701"/>
                    </a:lnTo>
                    <a:lnTo>
                      <a:pt x="446" y="699"/>
                    </a:lnTo>
                    <a:lnTo>
                      <a:pt x="447" y="697"/>
                    </a:lnTo>
                    <a:lnTo>
                      <a:pt x="447" y="695"/>
                    </a:lnTo>
                    <a:lnTo>
                      <a:pt x="449" y="694"/>
                    </a:lnTo>
                    <a:lnTo>
                      <a:pt x="449" y="692"/>
                    </a:lnTo>
                    <a:lnTo>
                      <a:pt x="449" y="690"/>
                    </a:lnTo>
                    <a:lnTo>
                      <a:pt x="451" y="690"/>
                    </a:lnTo>
                    <a:lnTo>
                      <a:pt x="451" y="692"/>
                    </a:lnTo>
                    <a:lnTo>
                      <a:pt x="451" y="690"/>
                    </a:lnTo>
                    <a:lnTo>
                      <a:pt x="451" y="692"/>
                    </a:lnTo>
                    <a:lnTo>
                      <a:pt x="449" y="690"/>
                    </a:lnTo>
                    <a:lnTo>
                      <a:pt x="449" y="692"/>
                    </a:lnTo>
                    <a:lnTo>
                      <a:pt x="449" y="694"/>
                    </a:lnTo>
                    <a:lnTo>
                      <a:pt x="451" y="694"/>
                    </a:lnTo>
                    <a:lnTo>
                      <a:pt x="449" y="694"/>
                    </a:lnTo>
                    <a:lnTo>
                      <a:pt x="451" y="694"/>
                    </a:lnTo>
                    <a:lnTo>
                      <a:pt x="451" y="692"/>
                    </a:lnTo>
                    <a:lnTo>
                      <a:pt x="449" y="692"/>
                    </a:lnTo>
                    <a:lnTo>
                      <a:pt x="451" y="692"/>
                    </a:lnTo>
                    <a:lnTo>
                      <a:pt x="451" y="690"/>
                    </a:lnTo>
                    <a:lnTo>
                      <a:pt x="453" y="690"/>
                    </a:lnTo>
                    <a:lnTo>
                      <a:pt x="453" y="688"/>
                    </a:lnTo>
                    <a:lnTo>
                      <a:pt x="455" y="686"/>
                    </a:lnTo>
                    <a:lnTo>
                      <a:pt x="457" y="686"/>
                    </a:lnTo>
                    <a:lnTo>
                      <a:pt x="455" y="686"/>
                    </a:lnTo>
                    <a:lnTo>
                      <a:pt x="455" y="684"/>
                    </a:lnTo>
                    <a:lnTo>
                      <a:pt x="453" y="686"/>
                    </a:lnTo>
                    <a:lnTo>
                      <a:pt x="451" y="686"/>
                    </a:lnTo>
                    <a:lnTo>
                      <a:pt x="449" y="686"/>
                    </a:lnTo>
                    <a:lnTo>
                      <a:pt x="449" y="688"/>
                    </a:lnTo>
                    <a:lnTo>
                      <a:pt x="449" y="690"/>
                    </a:lnTo>
                    <a:lnTo>
                      <a:pt x="447" y="690"/>
                    </a:lnTo>
                    <a:lnTo>
                      <a:pt x="447" y="688"/>
                    </a:lnTo>
                    <a:lnTo>
                      <a:pt x="447" y="686"/>
                    </a:lnTo>
                    <a:lnTo>
                      <a:pt x="446" y="686"/>
                    </a:lnTo>
                    <a:lnTo>
                      <a:pt x="446" y="684"/>
                    </a:lnTo>
                    <a:lnTo>
                      <a:pt x="446" y="682"/>
                    </a:lnTo>
                    <a:lnTo>
                      <a:pt x="446" y="684"/>
                    </a:lnTo>
                    <a:lnTo>
                      <a:pt x="447" y="682"/>
                    </a:lnTo>
                    <a:lnTo>
                      <a:pt x="446" y="682"/>
                    </a:lnTo>
                    <a:lnTo>
                      <a:pt x="444" y="682"/>
                    </a:lnTo>
                    <a:lnTo>
                      <a:pt x="444" y="680"/>
                    </a:lnTo>
                    <a:lnTo>
                      <a:pt x="444" y="682"/>
                    </a:lnTo>
                    <a:lnTo>
                      <a:pt x="442" y="682"/>
                    </a:lnTo>
                    <a:lnTo>
                      <a:pt x="442" y="680"/>
                    </a:lnTo>
                    <a:lnTo>
                      <a:pt x="442" y="678"/>
                    </a:lnTo>
                    <a:lnTo>
                      <a:pt x="442" y="676"/>
                    </a:lnTo>
                    <a:lnTo>
                      <a:pt x="442" y="678"/>
                    </a:lnTo>
                    <a:lnTo>
                      <a:pt x="442" y="676"/>
                    </a:lnTo>
                    <a:lnTo>
                      <a:pt x="444" y="676"/>
                    </a:lnTo>
                    <a:lnTo>
                      <a:pt x="444" y="674"/>
                    </a:lnTo>
                    <a:lnTo>
                      <a:pt x="442" y="674"/>
                    </a:lnTo>
                    <a:lnTo>
                      <a:pt x="442" y="676"/>
                    </a:lnTo>
                    <a:lnTo>
                      <a:pt x="442" y="678"/>
                    </a:lnTo>
                    <a:lnTo>
                      <a:pt x="440" y="676"/>
                    </a:lnTo>
                    <a:lnTo>
                      <a:pt x="440" y="674"/>
                    </a:lnTo>
                    <a:lnTo>
                      <a:pt x="438" y="672"/>
                    </a:lnTo>
                    <a:lnTo>
                      <a:pt x="438" y="670"/>
                    </a:lnTo>
                    <a:lnTo>
                      <a:pt x="436" y="669"/>
                    </a:lnTo>
                    <a:lnTo>
                      <a:pt x="438" y="669"/>
                    </a:lnTo>
                    <a:lnTo>
                      <a:pt x="436" y="669"/>
                    </a:lnTo>
                    <a:lnTo>
                      <a:pt x="436" y="667"/>
                    </a:lnTo>
                    <a:lnTo>
                      <a:pt x="438" y="667"/>
                    </a:lnTo>
                    <a:lnTo>
                      <a:pt x="436" y="667"/>
                    </a:lnTo>
                    <a:lnTo>
                      <a:pt x="438" y="667"/>
                    </a:lnTo>
                    <a:lnTo>
                      <a:pt x="436" y="665"/>
                    </a:lnTo>
                    <a:lnTo>
                      <a:pt x="436" y="663"/>
                    </a:lnTo>
                    <a:lnTo>
                      <a:pt x="436" y="661"/>
                    </a:lnTo>
                    <a:lnTo>
                      <a:pt x="436" y="659"/>
                    </a:lnTo>
                    <a:lnTo>
                      <a:pt x="434" y="659"/>
                    </a:lnTo>
                    <a:lnTo>
                      <a:pt x="434" y="657"/>
                    </a:lnTo>
                    <a:lnTo>
                      <a:pt x="432" y="655"/>
                    </a:lnTo>
                    <a:lnTo>
                      <a:pt x="432" y="653"/>
                    </a:lnTo>
                    <a:lnTo>
                      <a:pt x="430" y="653"/>
                    </a:lnTo>
                    <a:lnTo>
                      <a:pt x="428" y="651"/>
                    </a:lnTo>
                    <a:lnTo>
                      <a:pt x="426" y="649"/>
                    </a:lnTo>
                    <a:lnTo>
                      <a:pt x="428" y="649"/>
                    </a:lnTo>
                    <a:lnTo>
                      <a:pt x="426" y="649"/>
                    </a:lnTo>
                    <a:lnTo>
                      <a:pt x="424" y="649"/>
                    </a:lnTo>
                    <a:lnTo>
                      <a:pt x="424" y="647"/>
                    </a:lnTo>
                    <a:lnTo>
                      <a:pt x="424" y="645"/>
                    </a:lnTo>
                    <a:lnTo>
                      <a:pt x="423" y="645"/>
                    </a:lnTo>
                    <a:lnTo>
                      <a:pt x="421" y="645"/>
                    </a:lnTo>
                    <a:lnTo>
                      <a:pt x="419" y="645"/>
                    </a:lnTo>
                    <a:lnTo>
                      <a:pt x="419" y="647"/>
                    </a:lnTo>
                    <a:lnTo>
                      <a:pt x="417" y="647"/>
                    </a:lnTo>
                    <a:lnTo>
                      <a:pt x="417" y="645"/>
                    </a:lnTo>
                    <a:lnTo>
                      <a:pt x="417" y="647"/>
                    </a:lnTo>
                    <a:lnTo>
                      <a:pt x="417" y="645"/>
                    </a:lnTo>
                    <a:lnTo>
                      <a:pt x="415" y="645"/>
                    </a:lnTo>
                    <a:lnTo>
                      <a:pt x="415" y="644"/>
                    </a:lnTo>
                    <a:lnTo>
                      <a:pt x="413" y="642"/>
                    </a:lnTo>
                    <a:lnTo>
                      <a:pt x="413" y="640"/>
                    </a:lnTo>
                    <a:lnTo>
                      <a:pt x="411" y="640"/>
                    </a:lnTo>
                    <a:lnTo>
                      <a:pt x="411" y="638"/>
                    </a:lnTo>
                    <a:lnTo>
                      <a:pt x="409" y="638"/>
                    </a:lnTo>
                    <a:lnTo>
                      <a:pt x="407" y="636"/>
                    </a:lnTo>
                    <a:lnTo>
                      <a:pt x="405" y="636"/>
                    </a:lnTo>
                    <a:lnTo>
                      <a:pt x="405" y="634"/>
                    </a:lnTo>
                    <a:lnTo>
                      <a:pt x="403" y="632"/>
                    </a:lnTo>
                    <a:lnTo>
                      <a:pt x="405" y="632"/>
                    </a:lnTo>
                    <a:lnTo>
                      <a:pt x="405" y="634"/>
                    </a:lnTo>
                    <a:lnTo>
                      <a:pt x="405" y="632"/>
                    </a:lnTo>
                    <a:lnTo>
                      <a:pt x="407" y="632"/>
                    </a:lnTo>
                    <a:lnTo>
                      <a:pt x="407" y="630"/>
                    </a:lnTo>
                    <a:lnTo>
                      <a:pt x="405" y="630"/>
                    </a:lnTo>
                    <a:lnTo>
                      <a:pt x="405" y="632"/>
                    </a:lnTo>
                    <a:lnTo>
                      <a:pt x="403" y="632"/>
                    </a:lnTo>
                    <a:lnTo>
                      <a:pt x="401" y="630"/>
                    </a:lnTo>
                    <a:lnTo>
                      <a:pt x="401" y="632"/>
                    </a:lnTo>
                    <a:lnTo>
                      <a:pt x="399" y="632"/>
                    </a:lnTo>
                    <a:lnTo>
                      <a:pt x="398" y="632"/>
                    </a:lnTo>
                    <a:lnTo>
                      <a:pt x="396" y="634"/>
                    </a:lnTo>
                    <a:lnTo>
                      <a:pt x="394" y="634"/>
                    </a:lnTo>
                    <a:lnTo>
                      <a:pt x="394" y="632"/>
                    </a:lnTo>
                    <a:lnTo>
                      <a:pt x="392" y="630"/>
                    </a:lnTo>
                    <a:lnTo>
                      <a:pt x="392" y="628"/>
                    </a:lnTo>
                    <a:lnTo>
                      <a:pt x="392" y="626"/>
                    </a:lnTo>
                    <a:lnTo>
                      <a:pt x="392" y="624"/>
                    </a:lnTo>
                    <a:lnTo>
                      <a:pt x="392" y="626"/>
                    </a:lnTo>
                    <a:lnTo>
                      <a:pt x="394" y="624"/>
                    </a:lnTo>
                    <a:lnTo>
                      <a:pt x="394" y="626"/>
                    </a:lnTo>
                    <a:lnTo>
                      <a:pt x="394" y="624"/>
                    </a:lnTo>
                    <a:lnTo>
                      <a:pt x="394" y="626"/>
                    </a:lnTo>
                    <a:lnTo>
                      <a:pt x="394" y="624"/>
                    </a:lnTo>
                    <a:lnTo>
                      <a:pt x="392" y="622"/>
                    </a:lnTo>
                    <a:lnTo>
                      <a:pt x="392" y="620"/>
                    </a:lnTo>
                    <a:lnTo>
                      <a:pt x="392" y="619"/>
                    </a:lnTo>
                    <a:lnTo>
                      <a:pt x="390" y="619"/>
                    </a:lnTo>
                    <a:lnTo>
                      <a:pt x="390" y="617"/>
                    </a:lnTo>
                    <a:lnTo>
                      <a:pt x="392" y="617"/>
                    </a:lnTo>
                    <a:lnTo>
                      <a:pt x="390" y="615"/>
                    </a:lnTo>
                    <a:lnTo>
                      <a:pt x="392" y="615"/>
                    </a:lnTo>
                    <a:lnTo>
                      <a:pt x="392" y="613"/>
                    </a:lnTo>
                    <a:lnTo>
                      <a:pt x="394" y="613"/>
                    </a:lnTo>
                    <a:lnTo>
                      <a:pt x="396" y="613"/>
                    </a:lnTo>
                    <a:lnTo>
                      <a:pt x="398" y="611"/>
                    </a:lnTo>
                    <a:lnTo>
                      <a:pt x="399" y="609"/>
                    </a:lnTo>
                    <a:lnTo>
                      <a:pt x="401" y="609"/>
                    </a:lnTo>
                    <a:lnTo>
                      <a:pt x="401" y="607"/>
                    </a:lnTo>
                    <a:lnTo>
                      <a:pt x="403" y="607"/>
                    </a:lnTo>
                    <a:lnTo>
                      <a:pt x="401" y="607"/>
                    </a:lnTo>
                    <a:lnTo>
                      <a:pt x="403" y="607"/>
                    </a:lnTo>
                    <a:lnTo>
                      <a:pt x="405" y="607"/>
                    </a:lnTo>
                    <a:lnTo>
                      <a:pt x="405" y="609"/>
                    </a:lnTo>
                    <a:lnTo>
                      <a:pt x="407" y="609"/>
                    </a:lnTo>
                    <a:lnTo>
                      <a:pt x="405" y="609"/>
                    </a:lnTo>
                    <a:lnTo>
                      <a:pt x="405" y="611"/>
                    </a:lnTo>
                    <a:lnTo>
                      <a:pt x="407" y="611"/>
                    </a:lnTo>
                    <a:lnTo>
                      <a:pt x="407" y="609"/>
                    </a:lnTo>
                    <a:lnTo>
                      <a:pt x="409" y="611"/>
                    </a:lnTo>
                    <a:lnTo>
                      <a:pt x="409" y="613"/>
                    </a:lnTo>
                    <a:lnTo>
                      <a:pt x="409" y="611"/>
                    </a:lnTo>
                    <a:lnTo>
                      <a:pt x="411" y="611"/>
                    </a:lnTo>
                    <a:lnTo>
                      <a:pt x="411" y="613"/>
                    </a:lnTo>
                    <a:lnTo>
                      <a:pt x="409" y="613"/>
                    </a:lnTo>
                    <a:lnTo>
                      <a:pt x="411" y="613"/>
                    </a:lnTo>
                    <a:lnTo>
                      <a:pt x="411" y="611"/>
                    </a:lnTo>
                    <a:lnTo>
                      <a:pt x="413" y="613"/>
                    </a:lnTo>
                    <a:lnTo>
                      <a:pt x="413" y="611"/>
                    </a:lnTo>
                    <a:lnTo>
                      <a:pt x="411" y="611"/>
                    </a:lnTo>
                    <a:lnTo>
                      <a:pt x="413" y="611"/>
                    </a:lnTo>
                    <a:lnTo>
                      <a:pt x="415" y="611"/>
                    </a:lnTo>
                    <a:lnTo>
                      <a:pt x="417" y="611"/>
                    </a:lnTo>
                    <a:lnTo>
                      <a:pt x="417" y="609"/>
                    </a:lnTo>
                    <a:lnTo>
                      <a:pt x="419" y="609"/>
                    </a:lnTo>
                    <a:lnTo>
                      <a:pt x="419" y="607"/>
                    </a:lnTo>
                    <a:lnTo>
                      <a:pt x="421" y="607"/>
                    </a:lnTo>
                    <a:lnTo>
                      <a:pt x="423" y="607"/>
                    </a:lnTo>
                    <a:lnTo>
                      <a:pt x="423" y="609"/>
                    </a:lnTo>
                    <a:lnTo>
                      <a:pt x="424" y="609"/>
                    </a:lnTo>
                    <a:lnTo>
                      <a:pt x="424" y="611"/>
                    </a:lnTo>
                    <a:lnTo>
                      <a:pt x="426" y="609"/>
                    </a:lnTo>
                    <a:lnTo>
                      <a:pt x="428" y="609"/>
                    </a:lnTo>
                    <a:lnTo>
                      <a:pt x="428" y="611"/>
                    </a:lnTo>
                    <a:lnTo>
                      <a:pt x="430" y="611"/>
                    </a:lnTo>
                    <a:lnTo>
                      <a:pt x="430" y="613"/>
                    </a:lnTo>
                    <a:lnTo>
                      <a:pt x="432" y="613"/>
                    </a:lnTo>
                    <a:lnTo>
                      <a:pt x="432" y="615"/>
                    </a:lnTo>
                    <a:lnTo>
                      <a:pt x="434" y="615"/>
                    </a:lnTo>
                    <a:lnTo>
                      <a:pt x="436" y="615"/>
                    </a:lnTo>
                    <a:lnTo>
                      <a:pt x="438" y="615"/>
                    </a:lnTo>
                    <a:lnTo>
                      <a:pt x="438" y="617"/>
                    </a:lnTo>
                    <a:lnTo>
                      <a:pt x="438" y="615"/>
                    </a:lnTo>
                    <a:lnTo>
                      <a:pt x="440" y="615"/>
                    </a:lnTo>
                    <a:lnTo>
                      <a:pt x="440" y="617"/>
                    </a:lnTo>
                    <a:lnTo>
                      <a:pt x="442" y="617"/>
                    </a:lnTo>
                    <a:lnTo>
                      <a:pt x="442" y="615"/>
                    </a:lnTo>
                    <a:lnTo>
                      <a:pt x="444" y="615"/>
                    </a:lnTo>
                    <a:lnTo>
                      <a:pt x="444" y="617"/>
                    </a:lnTo>
                    <a:lnTo>
                      <a:pt x="444" y="619"/>
                    </a:lnTo>
                    <a:lnTo>
                      <a:pt x="444" y="620"/>
                    </a:lnTo>
                    <a:lnTo>
                      <a:pt x="446" y="620"/>
                    </a:lnTo>
                    <a:lnTo>
                      <a:pt x="447" y="622"/>
                    </a:lnTo>
                    <a:lnTo>
                      <a:pt x="449" y="624"/>
                    </a:lnTo>
                    <a:lnTo>
                      <a:pt x="449" y="626"/>
                    </a:lnTo>
                    <a:lnTo>
                      <a:pt x="451" y="626"/>
                    </a:lnTo>
                    <a:lnTo>
                      <a:pt x="451" y="628"/>
                    </a:lnTo>
                    <a:lnTo>
                      <a:pt x="451" y="630"/>
                    </a:lnTo>
                    <a:lnTo>
                      <a:pt x="453" y="630"/>
                    </a:lnTo>
                    <a:lnTo>
                      <a:pt x="453" y="632"/>
                    </a:lnTo>
                    <a:lnTo>
                      <a:pt x="453" y="634"/>
                    </a:lnTo>
                    <a:lnTo>
                      <a:pt x="453" y="636"/>
                    </a:lnTo>
                    <a:lnTo>
                      <a:pt x="453" y="638"/>
                    </a:lnTo>
                    <a:lnTo>
                      <a:pt x="451" y="638"/>
                    </a:lnTo>
                    <a:lnTo>
                      <a:pt x="451" y="640"/>
                    </a:lnTo>
                    <a:lnTo>
                      <a:pt x="451" y="642"/>
                    </a:lnTo>
                    <a:lnTo>
                      <a:pt x="453" y="642"/>
                    </a:lnTo>
                    <a:lnTo>
                      <a:pt x="451" y="642"/>
                    </a:lnTo>
                    <a:lnTo>
                      <a:pt x="453" y="642"/>
                    </a:lnTo>
                    <a:lnTo>
                      <a:pt x="453" y="644"/>
                    </a:lnTo>
                    <a:lnTo>
                      <a:pt x="455" y="645"/>
                    </a:lnTo>
                    <a:lnTo>
                      <a:pt x="457" y="645"/>
                    </a:lnTo>
                    <a:lnTo>
                      <a:pt x="457" y="647"/>
                    </a:lnTo>
                    <a:lnTo>
                      <a:pt x="457" y="645"/>
                    </a:lnTo>
                    <a:lnTo>
                      <a:pt x="457" y="647"/>
                    </a:lnTo>
                    <a:lnTo>
                      <a:pt x="457" y="645"/>
                    </a:lnTo>
                    <a:lnTo>
                      <a:pt x="459" y="647"/>
                    </a:lnTo>
                    <a:lnTo>
                      <a:pt x="459" y="645"/>
                    </a:lnTo>
                    <a:lnTo>
                      <a:pt x="459" y="647"/>
                    </a:lnTo>
                    <a:lnTo>
                      <a:pt x="461" y="647"/>
                    </a:lnTo>
                    <a:lnTo>
                      <a:pt x="461" y="649"/>
                    </a:lnTo>
                    <a:lnTo>
                      <a:pt x="463" y="649"/>
                    </a:lnTo>
                    <a:lnTo>
                      <a:pt x="465" y="649"/>
                    </a:lnTo>
                    <a:lnTo>
                      <a:pt x="467" y="649"/>
                    </a:lnTo>
                    <a:lnTo>
                      <a:pt x="467" y="651"/>
                    </a:lnTo>
                    <a:lnTo>
                      <a:pt x="469" y="651"/>
                    </a:lnTo>
                    <a:lnTo>
                      <a:pt x="471" y="651"/>
                    </a:lnTo>
                    <a:lnTo>
                      <a:pt x="471" y="649"/>
                    </a:lnTo>
                    <a:lnTo>
                      <a:pt x="471" y="651"/>
                    </a:lnTo>
                    <a:lnTo>
                      <a:pt x="471" y="649"/>
                    </a:lnTo>
                    <a:lnTo>
                      <a:pt x="472" y="651"/>
                    </a:lnTo>
                    <a:lnTo>
                      <a:pt x="472" y="649"/>
                    </a:lnTo>
                    <a:lnTo>
                      <a:pt x="472" y="647"/>
                    </a:lnTo>
                    <a:lnTo>
                      <a:pt x="472" y="649"/>
                    </a:lnTo>
                    <a:lnTo>
                      <a:pt x="472" y="647"/>
                    </a:lnTo>
                    <a:lnTo>
                      <a:pt x="472" y="649"/>
                    </a:lnTo>
                    <a:lnTo>
                      <a:pt x="474" y="649"/>
                    </a:lnTo>
                    <a:lnTo>
                      <a:pt x="474" y="651"/>
                    </a:lnTo>
                    <a:lnTo>
                      <a:pt x="474" y="653"/>
                    </a:lnTo>
                    <a:lnTo>
                      <a:pt x="476" y="653"/>
                    </a:lnTo>
                    <a:lnTo>
                      <a:pt x="474" y="653"/>
                    </a:lnTo>
                    <a:lnTo>
                      <a:pt x="472" y="653"/>
                    </a:lnTo>
                    <a:lnTo>
                      <a:pt x="472" y="655"/>
                    </a:lnTo>
                    <a:lnTo>
                      <a:pt x="472" y="657"/>
                    </a:lnTo>
                    <a:lnTo>
                      <a:pt x="471" y="659"/>
                    </a:lnTo>
                    <a:lnTo>
                      <a:pt x="471" y="661"/>
                    </a:lnTo>
                    <a:lnTo>
                      <a:pt x="472" y="661"/>
                    </a:lnTo>
                    <a:lnTo>
                      <a:pt x="472" y="663"/>
                    </a:lnTo>
                    <a:lnTo>
                      <a:pt x="472" y="665"/>
                    </a:lnTo>
                    <a:lnTo>
                      <a:pt x="474" y="665"/>
                    </a:lnTo>
                    <a:lnTo>
                      <a:pt x="474" y="667"/>
                    </a:lnTo>
                    <a:lnTo>
                      <a:pt x="476" y="667"/>
                    </a:lnTo>
                    <a:lnTo>
                      <a:pt x="478" y="667"/>
                    </a:lnTo>
                    <a:lnTo>
                      <a:pt x="478" y="669"/>
                    </a:lnTo>
                    <a:lnTo>
                      <a:pt x="478" y="670"/>
                    </a:lnTo>
                    <a:lnTo>
                      <a:pt x="476" y="670"/>
                    </a:lnTo>
                    <a:lnTo>
                      <a:pt x="476" y="672"/>
                    </a:lnTo>
                    <a:lnTo>
                      <a:pt x="476" y="674"/>
                    </a:lnTo>
                    <a:lnTo>
                      <a:pt x="474" y="674"/>
                    </a:lnTo>
                    <a:lnTo>
                      <a:pt x="474" y="676"/>
                    </a:lnTo>
                    <a:lnTo>
                      <a:pt x="476" y="676"/>
                    </a:lnTo>
                    <a:lnTo>
                      <a:pt x="474" y="676"/>
                    </a:lnTo>
                    <a:lnTo>
                      <a:pt x="474" y="678"/>
                    </a:lnTo>
                    <a:lnTo>
                      <a:pt x="474" y="680"/>
                    </a:lnTo>
                    <a:lnTo>
                      <a:pt x="474" y="682"/>
                    </a:lnTo>
                    <a:lnTo>
                      <a:pt x="476" y="682"/>
                    </a:lnTo>
                    <a:lnTo>
                      <a:pt x="474" y="682"/>
                    </a:lnTo>
                    <a:lnTo>
                      <a:pt x="476" y="684"/>
                    </a:lnTo>
                    <a:lnTo>
                      <a:pt x="474" y="684"/>
                    </a:lnTo>
                    <a:lnTo>
                      <a:pt x="476" y="684"/>
                    </a:lnTo>
                    <a:lnTo>
                      <a:pt x="474" y="684"/>
                    </a:lnTo>
                    <a:lnTo>
                      <a:pt x="476" y="686"/>
                    </a:lnTo>
                    <a:lnTo>
                      <a:pt x="474" y="686"/>
                    </a:lnTo>
                    <a:lnTo>
                      <a:pt x="474" y="688"/>
                    </a:lnTo>
                    <a:lnTo>
                      <a:pt x="476" y="688"/>
                    </a:lnTo>
                    <a:lnTo>
                      <a:pt x="476" y="690"/>
                    </a:lnTo>
                    <a:lnTo>
                      <a:pt x="474" y="690"/>
                    </a:lnTo>
                    <a:lnTo>
                      <a:pt x="474" y="692"/>
                    </a:lnTo>
                    <a:lnTo>
                      <a:pt x="472" y="692"/>
                    </a:lnTo>
                    <a:lnTo>
                      <a:pt x="472" y="694"/>
                    </a:lnTo>
                    <a:lnTo>
                      <a:pt x="472" y="695"/>
                    </a:lnTo>
                    <a:lnTo>
                      <a:pt x="471" y="695"/>
                    </a:lnTo>
                    <a:lnTo>
                      <a:pt x="471" y="697"/>
                    </a:lnTo>
                    <a:lnTo>
                      <a:pt x="472" y="697"/>
                    </a:lnTo>
                    <a:lnTo>
                      <a:pt x="472" y="699"/>
                    </a:lnTo>
                    <a:lnTo>
                      <a:pt x="472" y="701"/>
                    </a:lnTo>
                    <a:lnTo>
                      <a:pt x="474" y="701"/>
                    </a:lnTo>
                    <a:lnTo>
                      <a:pt x="474" y="703"/>
                    </a:lnTo>
                    <a:lnTo>
                      <a:pt x="474" y="705"/>
                    </a:lnTo>
                    <a:lnTo>
                      <a:pt x="472" y="705"/>
                    </a:lnTo>
                    <a:lnTo>
                      <a:pt x="472" y="707"/>
                    </a:lnTo>
                    <a:lnTo>
                      <a:pt x="472" y="709"/>
                    </a:lnTo>
                    <a:lnTo>
                      <a:pt x="471" y="709"/>
                    </a:lnTo>
                    <a:lnTo>
                      <a:pt x="472" y="709"/>
                    </a:lnTo>
                    <a:lnTo>
                      <a:pt x="474" y="709"/>
                    </a:lnTo>
                    <a:lnTo>
                      <a:pt x="474" y="711"/>
                    </a:lnTo>
                    <a:lnTo>
                      <a:pt x="474" y="709"/>
                    </a:lnTo>
                    <a:lnTo>
                      <a:pt x="476" y="711"/>
                    </a:lnTo>
                    <a:lnTo>
                      <a:pt x="476" y="709"/>
                    </a:lnTo>
                    <a:lnTo>
                      <a:pt x="476" y="711"/>
                    </a:lnTo>
                    <a:lnTo>
                      <a:pt x="478" y="711"/>
                    </a:lnTo>
                    <a:lnTo>
                      <a:pt x="478" y="713"/>
                    </a:lnTo>
                    <a:lnTo>
                      <a:pt x="478" y="715"/>
                    </a:lnTo>
                    <a:lnTo>
                      <a:pt x="476" y="717"/>
                    </a:lnTo>
                    <a:lnTo>
                      <a:pt x="474" y="717"/>
                    </a:lnTo>
                    <a:lnTo>
                      <a:pt x="474" y="719"/>
                    </a:lnTo>
                    <a:lnTo>
                      <a:pt x="474" y="720"/>
                    </a:lnTo>
                    <a:lnTo>
                      <a:pt x="476" y="720"/>
                    </a:lnTo>
                    <a:lnTo>
                      <a:pt x="476" y="722"/>
                    </a:lnTo>
                    <a:lnTo>
                      <a:pt x="476" y="724"/>
                    </a:lnTo>
                    <a:lnTo>
                      <a:pt x="474" y="724"/>
                    </a:lnTo>
                    <a:lnTo>
                      <a:pt x="474" y="726"/>
                    </a:lnTo>
                    <a:lnTo>
                      <a:pt x="474" y="724"/>
                    </a:lnTo>
                    <a:lnTo>
                      <a:pt x="474" y="726"/>
                    </a:lnTo>
                    <a:lnTo>
                      <a:pt x="474" y="724"/>
                    </a:lnTo>
                    <a:lnTo>
                      <a:pt x="476" y="724"/>
                    </a:lnTo>
                    <a:lnTo>
                      <a:pt x="476" y="726"/>
                    </a:lnTo>
                    <a:lnTo>
                      <a:pt x="478" y="728"/>
                    </a:lnTo>
                    <a:lnTo>
                      <a:pt x="478" y="730"/>
                    </a:lnTo>
                    <a:lnTo>
                      <a:pt x="478" y="732"/>
                    </a:lnTo>
                    <a:lnTo>
                      <a:pt x="480" y="732"/>
                    </a:lnTo>
                    <a:lnTo>
                      <a:pt x="482" y="734"/>
                    </a:lnTo>
                    <a:lnTo>
                      <a:pt x="482" y="736"/>
                    </a:lnTo>
                    <a:lnTo>
                      <a:pt x="482" y="738"/>
                    </a:lnTo>
                    <a:lnTo>
                      <a:pt x="480" y="738"/>
                    </a:lnTo>
                    <a:lnTo>
                      <a:pt x="482" y="738"/>
                    </a:lnTo>
                    <a:lnTo>
                      <a:pt x="482" y="740"/>
                    </a:lnTo>
                    <a:lnTo>
                      <a:pt x="484" y="740"/>
                    </a:lnTo>
                    <a:lnTo>
                      <a:pt x="484" y="742"/>
                    </a:lnTo>
                    <a:lnTo>
                      <a:pt x="484" y="744"/>
                    </a:lnTo>
                    <a:lnTo>
                      <a:pt x="482" y="744"/>
                    </a:lnTo>
                    <a:lnTo>
                      <a:pt x="482" y="745"/>
                    </a:lnTo>
                    <a:lnTo>
                      <a:pt x="482" y="747"/>
                    </a:lnTo>
                    <a:lnTo>
                      <a:pt x="482" y="749"/>
                    </a:lnTo>
                    <a:lnTo>
                      <a:pt x="482" y="751"/>
                    </a:lnTo>
                    <a:lnTo>
                      <a:pt x="484" y="751"/>
                    </a:lnTo>
                    <a:lnTo>
                      <a:pt x="484" y="753"/>
                    </a:lnTo>
                    <a:lnTo>
                      <a:pt x="484" y="755"/>
                    </a:lnTo>
                    <a:lnTo>
                      <a:pt x="484" y="757"/>
                    </a:lnTo>
                    <a:lnTo>
                      <a:pt x="484" y="759"/>
                    </a:lnTo>
                    <a:lnTo>
                      <a:pt x="484" y="761"/>
                    </a:lnTo>
                    <a:lnTo>
                      <a:pt x="486" y="761"/>
                    </a:lnTo>
                    <a:lnTo>
                      <a:pt x="488" y="763"/>
                    </a:lnTo>
                    <a:lnTo>
                      <a:pt x="488" y="765"/>
                    </a:lnTo>
                    <a:lnTo>
                      <a:pt x="490" y="765"/>
                    </a:lnTo>
                    <a:lnTo>
                      <a:pt x="488" y="765"/>
                    </a:lnTo>
                    <a:lnTo>
                      <a:pt x="490" y="765"/>
                    </a:lnTo>
                    <a:lnTo>
                      <a:pt x="490" y="767"/>
                    </a:lnTo>
                    <a:lnTo>
                      <a:pt x="488" y="767"/>
                    </a:lnTo>
                    <a:lnTo>
                      <a:pt x="490" y="769"/>
                    </a:lnTo>
                    <a:lnTo>
                      <a:pt x="490" y="770"/>
                    </a:lnTo>
                    <a:lnTo>
                      <a:pt x="490" y="772"/>
                    </a:lnTo>
                    <a:lnTo>
                      <a:pt x="492" y="772"/>
                    </a:lnTo>
                    <a:lnTo>
                      <a:pt x="492" y="774"/>
                    </a:lnTo>
                    <a:lnTo>
                      <a:pt x="494" y="774"/>
                    </a:lnTo>
                    <a:lnTo>
                      <a:pt x="494" y="776"/>
                    </a:lnTo>
                    <a:lnTo>
                      <a:pt x="496" y="776"/>
                    </a:lnTo>
                    <a:lnTo>
                      <a:pt x="496" y="778"/>
                    </a:lnTo>
                    <a:lnTo>
                      <a:pt x="497" y="780"/>
                    </a:lnTo>
                    <a:lnTo>
                      <a:pt x="497" y="782"/>
                    </a:lnTo>
                    <a:lnTo>
                      <a:pt x="499" y="782"/>
                    </a:lnTo>
                    <a:lnTo>
                      <a:pt x="499" y="784"/>
                    </a:lnTo>
                    <a:lnTo>
                      <a:pt x="499" y="786"/>
                    </a:lnTo>
                    <a:lnTo>
                      <a:pt x="501" y="786"/>
                    </a:lnTo>
                    <a:lnTo>
                      <a:pt x="501" y="788"/>
                    </a:lnTo>
                    <a:lnTo>
                      <a:pt x="501" y="790"/>
                    </a:lnTo>
                    <a:lnTo>
                      <a:pt x="503" y="790"/>
                    </a:lnTo>
                    <a:lnTo>
                      <a:pt x="503" y="792"/>
                    </a:lnTo>
                    <a:lnTo>
                      <a:pt x="503" y="794"/>
                    </a:lnTo>
                    <a:lnTo>
                      <a:pt x="505" y="794"/>
                    </a:lnTo>
                    <a:lnTo>
                      <a:pt x="505" y="795"/>
                    </a:lnTo>
                    <a:lnTo>
                      <a:pt x="507" y="795"/>
                    </a:lnTo>
                    <a:lnTo>
                      <a:pt x="509" y="795"/>
                    </a:lnTo>
                    <a:lnTo>
                      <a:pt x="511" y="795"/>
                    </a:lnTo>
                    <a:lnTo>
                      <a:pt x="511" y="794"/>
                    </a:lnTo>
                    <a:lnTo>
                      <a:pt x="513" y="794"/>
                    </a:lnTo>
                    <a:lnTo>
                      <a:pt x="513" y="795"/>
                    </a:lnTo>
                    <a:lnTo>
                      <a:pt x="513" y="797"/>
                    </a:lnTo>
                    <a:lnTo>
                      <a:pt x="513" y="799"/>
                    </a:lnTo>
                    <a:lnTo>
                      <a:pt x="511" y="799"/>
                    </a:lnTo>
                    <a:lnTo>
                      <a:pt x="511" y="801"/>
                    </a:lnTo>
                    <a:lnTo>
                      <a:pt x="509" y="801"/>
                    </a:lnTo>
                    <a:lnTo>
                      <a:pt x="509" y="803"/>
                    </a:lnTo>
                    <a:lnTo>
                      <a:pt x="509" y="805"/>
                    </a:lnTo>
                    <a:lnTo>
                      <a:pt x="509" y="807"/>
                    </a:lnTo>
                    <a:lnTo>
                      <a:pt x="509" y="809"/>
                    </a:lnTo>
                    <a:lnTo>
                      <a:pt x="509" y="811"/>
                    </a:lnTo>
                    <a:lnTo>
                      <a:pt x="511" y="811"/>
                    </a:lnTo>
                    <a:lnTo>
                      <a:pt x="509" y="811"/>
                    </a:lnTo>
                    <a:lnTo>
                      <a:pt x="509" y="813"/>
                    </a:lnTo>
                    <a:lnTo>
                      <a:pt x="511" y="813"/>
                    </a:lnTo>
                    <a:lnTo>
                      <a:pt x="511" y="815"/>
                    </a:lnTo>
                    <a:lnTo>
                      <a:pt x="513" y="815"/>
                    </a:lnTo>
                    <a:lnTo>
                      <a:pt x="513" y="817"/>
                    </a:lnTo>
                    <a:lnTo>
                      <a:pt x="515" y="817"/>
                    </a:lnTo>
                    <a:lnTo>
                      <a:pt x="517" y="817"/>
                    </a:lnTo>
                    <a:lnTo>
                      <a:pt x="517" y="818"/>
                    </a:lnTo>
                    <a:lnTo>
                      <a:pt x="519" y="818"/>
                    </a:lnTo>
                    <a:lnTo>
                      <a:pt x="517" y="818"/>
                    </a:lnTo>
                    <a:lnTo>
                      <a:pt x="519" y="820"/>
                    </a:lnTo>
                    <a:lnTo>
                      <a:pt x="519" y="822"/>
                    </a:lnTo>
                    <a:lnTo>
                      <a:pt x="520" y="824"/>
                    </a:lnTo>
                    <a:lnTo>
                      <a:pt x="520" y="826"/>
                    </a:lnTo>
                    <a:lnTo>
                      <a:pt x="522" y="826"/>
                    </a:lnTo>
                    <a:lnTo>
                      <a:pt x="522" y="828"/>
                    </a:lnTo>
                    <a:lnTo>
                      <a:pt x="524" y="828"/>
                    </a:lnTo>
                    <a:lnTo>
                      <a:pt x="524" y="830"/>
                    </a:lnTo>
                    <a:lnTo>
                      <a:pt x="524" y="832"/>
                    </a:lnTo>
                    <a:lnTo>
                      <a:pt x="524" y="834"/>
                    </a:lnTo>
                    <a:lnTo>
                      <a:pt x="524" y="836"/>
                    </a:lnTo>
                    <a:lnTo>
                      <a:pt x="524" y="838"/>
                    </a:lnTo>
                    <a:lnTo>
                      <a:pt x="524" y="840"/>
                    </a:lnTo>
                    <a:lnTo>
                      <a:pt x="524" y="842"/>
                    </a:lnTo>
                    <a:lnTo>
                      <a:pt x="524" y="843"/>
                    </a:lnTo>
                    <a:lnTo>
                      <a:pt x="526" y="843"/>
                    </a:lnTo>
                    <a:lnTo>
                      <a:pt x="526" y="845"/>
                    </a:lnTo>
                    <a:lnTo>
                      <a:pt x="526" y="847"/>
                    </a:lnTo>
                    <a:lnTo>
                      <a:pt x="528" y="847"/>
                    </a:lnTo>
                    <a:lnTo>
                      <a:pt x="528" y="849"/>
                    </a:lnTo>
                    <a:lnTo>
                      <a:pt x="528" y="847"/>
                    </a:lnTo>
                    <a:lnTo>
                      <a:pt x="528" y="849"/>
                    </a:lnTo>
                    <a:lnTo>
                      <a:pt x="526" y="849"/>
                    </a:lnTo>
                    <a:lnTo>
                      <a:pt x="526" y="847"/>
                    </a:lnTo>
                    <a:lnTo>
                      <a:pt x="526" y="845"/>
                    </a:lnTo>
                    <a:lnTo>
                      <a:pt x="526" y="847"/>
                    </a:lnTo>
                    <a:lnTo>
                      <a:pt x="526" y="845"/>
                    </a:lnTo>
                    <a:lnTo>
                      <a:pt x="524" y="845"/>
                    </a:lnTo>
                    <a:lnTo>
                      <a:pt x="526" y="847"/>
                    </a:lnTo>
                    <a:lnTo>
                      <a:pt x="526" y="845"/>
                    </a:lnTo>
                    <a:lnTo>
                      <a:pt x="526" y="847"/>
                    </a:lnTo>
                    <a:lnTo>
                      <a:pt x="526" y="849"/>
                    </a:lnTo>
                    <a:lnTo>
                      <a:pt x="524" y="849"/>
                    </a:lnTo>
                    <a:lnTo>
                      <a:pt x="526" y="851"/>
                    </a:lnTo>
                    <a:lnTo>
                      <a:pt x="524" y="851"/>
                    </a:lnTo>
                    <a:lnTo>
                      <a:pt x="524" y="853"/>
                    </a:lnTo>
                    <a:lnTo>
                      <a:pt x="524" y="851"/>
                    </a:lnTo>
                    <a:lnTo>
                      <a:pt x="522" y="851"/>
                    </a:lnTo>
                    <a:lnTo>
                      <a:pt x="522" y="853"/>
                    </a:lnTo>
                    <a:lnTo>
                      <a:pt x="522" y="851"/>
                    </a:lnTo>
                    <a:lnTo>
                      <a:pt x="524" y="853"/>
                    </a:lnTo>
                    <a:lnTo>
                      <a:pt x="524" y="851"/>
                    </a:lnTo>
                    <a:lnTo>
                      <a:pt x="526" y="851"/>
                    </a:lnTo>
                    <a:lnTo>
                      <a:pt x="526" y="849"/>
                    </a:lnTo>
                    <a:lnTo>
                      <a:pt x="526" y="851"/>
                    </a:lnTo>
                    <a:lnTo>
                      <a:pt x="528" y="851"/>
                    </a:lnTo>
                    <a:lnTo>
                      <a:pt x="528" y="853"/>
                    </a:lnTo>
                    <a:lnTo>
                      <a:pt x="528" y="851"/>
                    </a:lnTo>
                    <a:lnTo>
                      <a:pt x="526" y="851"/>
                    </a:lnTo>
                    <a:lnTo>
                      <a:pt x="526" y="853"/>
                    </a:lnTo>
                    <a:lnTo>
                      <a:pt x="528" y="855"/>
                    </a:lnTo>
                    <a:lnTo>
                      <a:pt x="526" y="855"/>
                    </a:lnTo>
                    <a:lnTo>
                      <a:pt x="528" y="855"/>
                    </a:lnTo>
                    <a:lnTo>
                      <a:pt x="528" y="857"/>
                    </a:lnTo>
                    <a:lnTo>
                      <a:pt x="528" y="855"/>
                    </a:lnTo>
                    <a:lnTo>
                      <a:pt x="528" y="857"/>
                    </a:lnTo>
                    <a:lnTo>
                      <a:pt x="530" y="857"/>
                    </a:lnTo>
                    <a:lnTo>
                      <a:pt x="530" y="859"/>
                    </a:lnTo>
                    <a:lnTo>
                      <a:pt x="530" y="861"/>
                    </a:lnTo>
                    <a:lnTo>
                      <a:pt x="532" y="863"/>
                    </a:lnTo>
                    <a:lnTo>
                      <a:pt x="532" y="861"/>
                    </a:lnTo>
                    <a:lnTo>
                      <a:pt x="532" y="863"/>
                    </a:lnTo>
                    <a:lnTo>
                      <a:pt x="530" y="863"/>
                    </a:lnTo>
                    <a:lnTo>
                      <a:pt x="530" y="865"/>
                    </a:lnTo>
                    <a:lnTo>
                      <a:pt x="532" y="865"/>
                    </a:lnTo>
                    <a:lnTo>
                      <a:pt x="530" y="865"/>
                    </a:lnTo>
                    <a:lnTo>
                      <a:pt x="532" y="865"/>
                    </a:lnTo>
                    <a:lnTo>
                      <a:pt x="532" y="867"/>
                    </a:lnTo>
                    <a:lnTo>
                      <a:pt x="532" y="868"/>
                    </a:lnTo>
                    <a:lnTo>
                      <a:pt x="530" y="868"/>
                    </a:lnTo>
                    <a:lnTo>
                      <a:pt x="530" y="870"/>
                    </a:lnTo>
                    <a:lnTo>
                      <a:pt x="530" y="868"/>
                    </a:lnTo>
                    <a:lnTo>
                      <a:pt x="530" y="870"/>
                    </a:lnTo>
                    <a:lnTo>
                      <a:pt x="530" y="868"/>
                    </a:lnTo>
                    <a:lnTo>
                      <a:pt x="532" y="868"/>
                    </a:lnTo>
                    <a:lnTo>
                      <a:pt x="532" y="870"/>
                    </a:lnTo>
                    <a:lnTo>
                      <a:pt x="532" y="872"/>
                    </a:lnTo>
                    <a:lnTo>
                      <a:pt x="532" y="870"/>
                    </a:lnTo>
                    <a:lnTo>
                      <a:pt x="534" y="872"/>
                    </a:lnTo>
                    <a:lnTo>
                      <a:pt x="532" y="872"/>
                    </a:lnTo>
                    <a:lnTo>
                      <a:pt x="534" y="872"/>
                    </a:lnTo>
                    <a:lnTo>
                      <a:pt x="532" y="872"/>
                    </a:lnTo>
                    <a:lnTo>
                      <a:pt x="534" y="872"/>
                    </a:lnTo>
                    <a:lnTo>
                      <a:pt x="534" y="870"/>
                    </a:lnTo>
                    <a:lnTo>
                      <a:pt x="532" y="870"/>
                    </a:lnTo>
                    <a:lnTo>
                      <a:pt x="534" y="870"/>
                    </a:lnTo>
                    <a:lnTo>
                      <a:pt x="532" y="870"/>
                    </a:lnTo>
                    <a:lnTo>
                      <a:pt x="532" y="868"/>
                    </a:lnTo>
                    <a:lnTo>
                      <a:pt x="534" y="868"/>
                    </a:lnTo>
                    <a:lnTo>
                      <a:pt x="534" y="867"/>
                    </a:lnTo>
                    <a:lnTo>
                      <a:pt x="534" y="868"/>
                    </a:lnTo>
                    <a:lnTo>
                      <a:pt x="536" y="868"/>
                    </a:lnTo>
                    <a:lnTo>
                      <a:pt x="538" y="868"/>
                    </a:lnTo>
                    <a:lnTo>
                      <a:pt x="536" y="868"/>
                    </a:lnTo>
                    <a:lnTo>
                      <a:pt x="536" y="870"/>
                    </a:lnTo>
                    <a:lnTo>
                      <a:pt x="538" y="870"/>
                    </a:lnTo>
                    <a:lnTo>
                      <a:pt x="538" y="872"/>
                    </a:lnTo>
                    <a:lnTo>
                      <a:pt x="538" y="874"/>
                    </a:lnTo>
                    <a:lnTo>
                      <a:pt x="538" y="876"/>
                    </a:lnTo>
                    <a:lnTo>
                      <a:pt x="536" y="878"/>
                    </a:lnTo>
                    <a:lnTo>
                      <a:pt x="536" y="880"/>
                    </a:lnTo>
                    <a:lnTo>
                      <a:pt x="536" y="882"/>
                    </a:lnTo>
                    <a:lnTo>
                      <a:pt x="538" y="882"/>
                    </a:lnTo>
                    <a:lnTo>
                      <a:pt x="536" y="882"/>
                    </a:lnTo>
                    <a:lnTo>
                      <a:pt x="538" y="882"/>
                    </a:lnTo>
                    <a:lnTo>
                      <a:pt x="536" y="884"/>
                    </a:lnTo>
                    <a:lnTo>
                      <a:pt x="538" y="884"/>
                    </a:lnTo>
                    <a:lnTo>
                      <a:pt x="538" y="886"/>
                    </a:lnTo>
                    <a:lnTo>
                      <a:pt x="538" y="888"/>
                    </a:lnTo>
                    <a:lnTo>
                      <a:pt x="538" y="890"/>
                    </a:lnTo>
                    <a:lnTo>
                      <a:pt x="540" y="890"/>
                    </a:lnTo>
                    <a:lnTo>
                      <a:pt x="540" y="892"/>
                    </a:lnTo>
                    <a:lnTo>
                      <a:pt x="540" y="893"/>
                    </a:lnTo>
                    <a:lnTo>
                      <a:pt x="542" y="893"/>
                    </a:lnTo>
                    <a:lnTo>
                      <a:pt x="540" y="893"/>
                    </a:lnTo>
                    <a:lnTo>
                      <a:pt x="542" y="893"/>
                    </a:lnTo>
                    <a:lnTo>
                      <a:pt x="542" y="895"/>
                    </a:lnTo>
                    <a:lnTo>
                      <a:pt x="542" y="897"/>
                    </a:lnTo>
                    <a:lnTo>
                      <a:pt x="544" y="897"/>
                    </a:lnTo>
                    <a:lnTo>
                      <a:pt x="542" y="897"/>
                    </a:lnTo>
                    <a:lnTo>
                      <a:pt x="542" y="899"/>
                    </a:lnTo>
                    <a:lnTo>
                      <a:pt x="544" y="899"/>
                    </a:lnTo>
                    <a:lnTo>
                      <a:pt x="544" y="901"/>
                    </a:lnTo>
                    <a:lnTo>
                      <a:pt x="545" y="903"/>
                    </a:lnTo>
                    <a:lnTo>
                      <a:pt x="545" y="905"/>
                    </a:lnTo>
                    <a:lnTo>
                      <a:pt x="545" y="907"/>
                    </a:lnTo>
                    <a:lnTo>
                      <a:pt x="545" y="909"/>
                    </a:lnTo>
                    <a:lnTo>
                      <a:pt x="544" y="909"/>
                    </a:lnTo>
                    <a:lnTo>
                      <a:pt x="544" y="911"/>
                    </a:lnTo>
                    <a:lnTo>
                      <a:pt x="544" y="913"/>
                    </a:lnTo>
                    <a:lnTo>
                      <a:pt x="545" y="913"/>
                    </a:lnTo>
                    <a:lnTo>
                      <a:pt x="544" y="915"/>
                    </a:lnTo>
                    <a:lnTo>
                      <a:pt x="545" y="915"/>
                    </a:lnTo>
                    <a:lnTo>
                      <a:pt x="544" y="915"/>
                    </a:lnTo>
                    <a:lnTo>
                      <a:pt x="544" y="917"/>
                    </a:lnTo>
                    <a:lnTo>
                      <a:pt x="542" y="918"/>
                    </a:lnTo>
                    <a:lnTo>
                      <a:pt x="542" y="920"/>
                    </a:lnTo>
                    <a:lnTo>
                      <a:pt x="542" y="922"/>
                    </a:lnTo>
                    <a:lnTo>
                      <a:pt x="542" y="924"/>
                    </a:lnTo>
                    <a:lnTo>
                      <a:pt x="542" y="926"/>
                    </a:lnTo>
                    <a:lnTo>
                      <a:pt x="540" y="926"/>
                    </a:lnTo>
                    <a:lnTo>
                      <a:pt x="540" y="928"/>
                    </a:lnTo>
                    <a:lnTo>
                      <a:pt x="540" y="930"/>
                    </a:lnTo>
                    <a:lnTo>
                      <a:pt x="540" y="932"/>
                    </a:lnTo>
                    <a:lnTo>
                      <a:pt x="540" y="934"/>
                    </a:lnTo>
                    <a:lnTo>
                      <a:pt x="540" y="936"/>
                    </a:lnTo>
                    <a:lnTo>
                      <a:pt x="540" y="938"/>
                    </a:lnTo>
                    <a:lnTo>
                      <a:pt x="540" y="940"/>
                    </a:lnTo>
                    <a:lnTo>
                      <a:pt x="538" y="942"/>
                    </a:lnTo>
                    <a:lnTo>
                      <a:pt x="540" y="942"/>
                    </a:lnTo>
                    <a:lnTo>
                      <a:pt x="538" y="942"/>
                    </a:lnTo>
                    <a:lnTo>
                      <a:pt x="538" y="943"/>
                    </a:lnTo>
                    <a:lnTo>
                      <a:pt x="538" y="945"/>
                    </a:lnTo>
                    <a:lnTo>
                      <a:pt x="540" y="945"/>
                    </a:lnTo>
                    <a:lnTo>
                      <a:pt x="538" y="945"/>
                    </a:lnTo>
                    <a:lnTo>
                      <a:pt x="538" y="947"/>
                    </a:lnTo>
                    <a:lnTo>
                      <a:pt x="536" y="949"/>
                    </a:lnTo>
                    <a:lnTo>
                      <a:pt x="536" y="951"/>
                    </a:lnTo>
                    <a:lnTo>
                      <a:pt x="536" y="953"/>
                    </a:lnTo>
                    <a:lnTo>
                      <a:pt x="536" y="955"/>
                    </a:lnTo>
                    <a:lnTo>
                      <a:pt x="536" y="957"/>
                    </a:lnTo>
                    <a:lnTo>
                      <a:pt x="534" y="957"/>
                    </a:lnTo>
                    <a:lnTo>
                      <a:pt x="536" y="957"/>
                    </a:lnTo>
                    <a:lnTo>
                      <a:pt x="534" y="959"/>
                    </a:lnTo>
                    <a:lnTo>
                      <a:pt x="536" y="959"/>
                    </a:lnTo>
                    <a:lnTo>
                      <a:pt x="534" y="959"/>
                    </a:lnTo>
                    <a:lnTo>
                      <a:pt x="534" y="961"/>
                    </a:lnTo>
                    <a:lnTo>
                      <a:pt x="534" y="963"/>
                    </a:lnTo>
                    <a:lnTo>
                      <a:pt x="536" y="963"/>
                    </a:lnTo>
                    <a:lnTo>
                      <a:pt x="536" y="965"/>
                    </a:lnTo>
                    <a:lnTo>
                      <a:pt x="536" y="967"/>
                    </a:lnTo>
                    <a:lnTo>
                      <a:pt x="536" y="968"/>
                    </a:lnTo>
                    <a:lnTo>
                      <a:pt x="536" y="970"/>
                    </a:lnTo>
                    <a:lnTo>
                      <a:pt x="536" y="972"/>
                    </a:lnTo>
                    <a:lnTo>
                      <a:pt x="536" y="974"/>
                    </a:lnTo>
                    <a:lnTo>
                      <a:pt x="536" y="976"/>
                    </a:lnTo>
                    <a:lnTo>
                      <a:pt x="536" y="978"/>
                    </a:lnTo>
                    <a:lnTo>
                      <a:pt x="536" y="980"/>
                    </a:lnTo>
                    <a:lnTo>
                      <a:pt x="538" y="980"/>
                    </a:lnTo>
                    <a:lnTo>
                      <a:pt x="536" y="980"/>
                    </a:lnTo>
                    <a:lnTo>
                      <a:pt x="538" y="982"/>
                    </a:lnTo>
                    <a:lnTo>
                      <a:pt x="536" y="982"/>
                    </a:lnTo>
                    <a:lnTo>
                      <a:pt x="536" y="984"/>
                    </a:lnTo>
                    <a:lnTo>
                      <a:pt x="538" y="984"/>
                    </a:lnTo>
                    <a:lnTo>
                      <a:pt x="538" y="986"/>
                    </a:lnTo>
                    <a:lnTo>
                      <a:pt x="538" y="988"/>
                    </a:lnTo>
                    <a:lnTo>
                      <a:pt x="540" y="990"/>
                    </a:lnTo>
                    <a:lnTo>
                      <a:pt x="538" y="990"/>
                    </a:lnTo>
                    <a:lnTo>
                      <a:pt x="538" y="992"/>
                    </a:lnTo>
                    <a:lnTo>
                      <a:pt x="536" y="992"/>
                    </a:lnTo>
                    <a:lnTo>
                      <a:pt x="536" y="990"/>
                    </a:lnTo>
                    <a:lnTo>
                      <a:pt x="534" y="990"/>
                    </a:lnTo>
                    <a:lnTo>
                      <a:pt x="532" y="990"/>
                    </a:lnTo>
                    <a:lnTo>
                      <a:pt x="530" y="990"/>
                    </a:lnTo>
                    <a:lnTo>
                      <a:pt x="530" y="988"/>
                    </a:lnTo>
                    <a:lnTo>
                      <a:pt x="530" y="990"/>
                    </a:lnTo>
                    <a:lnTo>
                      <a:pt x="528" y="990"/>
                    </a:lnTo>
                    <a:lnTo>
                      <a:pt x="526" y="992"/>
                    </a:lnTo>
                    <a:lnTo>
                      <a:pt x="526" y="993"/>
                    </a:lnTo>
                    <a:lnTo>
                      <a:pt x="524" y="993"/>
                    </a:lnTo>
                    <a:lnTo>
                      <a:pt x="522" y="993"/>
                    </a:lnTo>
                    <a:lnTo>
                      <a:pt x="520" y="993"/>
                    </a:lnTo>
                    <a:lnTo>
                      <a:pt x="520" y="992"/>
                    </a:lnTo>
                    <a:lnTo>
                      <a:pt x="519" y="993"/>
                    </a:lnTo>
                    <a:lnTo>
                      <a:pt x="519" y="992"/>
                    </a:lnTo>
                    <a:lnTo>
                      <a:pt x="519" y="990"/>
                    </a:lnTo>
                    <a:lnTo>
                      <a:pt x="519" y="988"/>
                    </a:lnTo>
                    <a:lnTo>
                      <a:pt x="519" y="986"/>
                    </a:lnTo>
                    <a:lnTo>
                      <a:pt x="519" y="984"/>
                    </a:lnTo>
                    <a:lnTo>
                      <a:pt x="517" y="984"/>
                    </a:lnTo>
                    <a:lnTo>
                      <a:pt x="515" y="982"/>
                    </a:lnTo>
                    <a:lnTo>
                      <a:pt x="513" y="982"/>
                    </a:lnTo>
                    <a:lnTo>
                      <a:pt x="511" y="982"/>
                    </a:lnTo>
                    <a:lnTo>
                      <a:pt x="513" y="980"/>
                    </a:lnTo>
                    <a:lnTo>
                      <a:pt x="513" y="978"/>
                    </a:lnTo>
                    <a:lnTo>
                      <a:pt x="515" y="976"/>
                    </a:lnTo>
                    <a:lnTo>
                      <a:pt x="515" y="974"/>
                    </a:lnTo>
                    <a:lnTo>
                      <a:pt x="517" y="974"/>
                    </a:lnTo>
                    <a:lnTo>
                      <a:pt x="517" y="972"/>
                    </a:lnTo>
                    <a:lnTo>
                      <a:pt x="519" y="972"/>
                    </a:lnTo>
                    <a:lnTo>
                      <a:pt x="519" y="970"/>
                    </a:lnTo>
                    <a:lnTo>
                      <a:pt x="517" y="970"/>
                    </a:lnTo>
                    <a:lnTo>
                      <a:pt x="517" y="968"/>
                    </a:lnTo>
                    <a:lnTo>
                      <a:pt x="519" y="968"/>
                    </a:lnTo>
                    <a:lnTo>
                      <a:pt x="519" y="967"/>
                    </a:lnTo>
                    <a:lnTo>
                      <a:pt x="517" y="967"/>
                    </a:lnTo>
                    <a:lnTo>
                      <a:pt x="517" y="965"/>
                    </a:lnTo>
                    <a:lnTo>
                      <a:pt x="519" y="965"/>
                    </a:lnTo>
                    <a:lnTo>
                      <a:pt x="517" y="965"/>
                    </a:lnTo>
                    <a:lnTo>
                      <a:pt x="515" y="965"/>
                    </a:lnTo>
                    <a:lnTo>
                      <a:pt x="513" y="963"/>
                    </a:lnTo>
                    <a:lnTo>
                      <a:pt x="511" y="963"/>
                    </a:lnTo>
                    <a:lnTo>
                      <a:pt x="509" y="961"/>
                    </a:lnTo>
                    <a:lnTo>
                      <a:pt x="507" y="959"/>
                    </a:lnTo>
                    <a:lnTo>
                      <a:pt x="505" y="959"/>
                    </a:lnTo>
                    <a:lnTo>
                      <a:pt x="503" y="959"/>
                    </a:lnTo>
                    <a:lnTo>
                      <a:pt x="503" y="957"/>
                    </a:lnTo>
                    <a:lnTo>
                      <a:pt x="503" y="955"/>
                    </a:lnTo>
                    <a:lnTo>
                      <a:pt x="503" y="953"/>
                    </a:lnTo>
                    <a:lnTo>
                      <a:pt x="503" y="951"/>
                    </a:lnTo>
                    <a:lnTo>
                      <a:pt x="505" y="951"/>
                    </a:lnTo>
                    <a:lnTo>
                      <a:pt x="505" y="949"/>
                    </a:lnTo>
                    <a:lnTo>
                      <a:pt x="505" y="947"/>
                    </a:lnTo>
                    <a:lnTo>
                      <a:pt x="503" y="947"/>
                    </a:lnTo>
                    <a:lnTo>
                      <a:pt x="503" y="945"/>
                    </a:lnTo>
                    <a:lnTo>
                      <a:pt x="501" y="945"/>
                    </a:lnTo>
                    <a:lnTo>
                      <a:pt x="501" y="947"/>
                    </a:lnTo>
                    <a:lnTo>
                      <a:pt x="499" y="947"/>
                    </a:lnTo>
                    <a:lnTo>
                      <a:pt x="497" y="949"/>
                    </a:lnTo>
                    <a:lnTo>
                      <a:pt x="497" y="947"/>
                    </a:lnTo>
                    <a:lnTo>
                      <a:pt x="496" y="947"/>
                    </a:lnTo>
                    <a:lnTo>
                      <a:pt x="496" y="945"/>
                    </a:lnTo>
                    <a:lnTo>
                      <a:pt x="496" y="943"/>
                    </a:lnTo>
                    <a:lnTo>
                      <a:pt x="494" y="943"/>
                    </a:lnTo>
                    <a:lnTo>
                      <a:pt x="492" y="943"/>
                    </a:lnTo>
                    <a:lnTo>
                      <a:pt x="492" y="942"/>
                    </a:lnTo>
                    <a:lnTo>
                      <a:pt x="490" y="940"/>
                    </a:lnTo>
                    <a:lnTo>
                      <a:pt x="490" y="938"/>
                    </a:lnTo>
                    <a:lnTo>
                      <a:pt x="488" y="936"/>
                    </a:lnTo>
                    <a:lnTo>
                      <a:pt x="486" y="936"/>
                    </a:lnTo>
                    <a:lnTo>
                      <a:pt x="484" y="936"/>
                    </a:lnTo>
                    <a:lnTo>
                      <a:pt x="482" y="936"/>
                    </a:lnTo>
                    <a:lnTo>
                      <a:pt x="480" y="936"/>
                    </a:lnTo>
                    <a:lnTo>
                      <a:pt x="480" y="938"/>
                    </a:lnTo>
                    <a:lnTo>
                      <a:pt x="478" y="940"/>
                    </a:lnTo>
                    <a:lnTo>
                      <a:pt x="478" y="942"/>
                    </a:lnTo>
                    <a:lnTo>
                      <a:pt x="480" y="943"/>
                    </a:lnTo>
                    <a:lnTo>
                      <a:pt x="480" y="945"/>
                    </a:lnTo>
                    <a:lnTo>
                      <a:pt x="478" y="947"/>
                    </a:lnTo>
                    <a:lnTo>
                      <a:pt x="478" y="949"/>
                    </a:lnTo>
                    <a:lnTo>
                      <a:pt x="476" y="949"/>
                    </a:lnTo>
                    <a:lnTo>
                      <a:pt x="476" y="951"/>
                    </a:lnTo>
                    <a:lnTo>
                      <a:pt x="476" y="953"/>
                    </a:lnTo>
                    <a:lnTo>
                      <a:pt x="474" y="953"/>
                    </a:lnTo>
                    <a:lnTo>
                      <a:pt x="474" y="955"/>
                    </a:lnTo>
                    <a:lnTo>
                      <a:pt x="474" y="957"/>
                    </a:lnTo>
                    <a:lnTo>
                      <a:pt x="474" y="959"/>
                    </a:lnTo>
                    <a:lnTo>
                      <a:pt x="472" y="957"/>
                    </a:lnTo>
                    <a:lnTo>
                      <a:pt x="472" y="959"/>
                    </a:lnTo>
                    <a:lnTo>
                      <a:pt x="471" y="959"/>
                    </a:lnTo>
                    <a:lnTo>
                      <a:pt x="469" y="959"/>
                    </a:lnTo>
                    <a:lnTo>
                      <a:pt x="469" y="961"/>
                    </a:lnTo>
                    <a:lnTo>
                      <a:pt x="467" y="961"/>
                    </a:lnTo>
                    <a:lnTo>
                      <a:pt x="467" y="959"/>
                    </a:lnTo>
                    <a:lnTo>
                      <a:pt x="465" y="959"/>
                    </a:lnTo>
                    <a:lnTo>
                      <a:pt x="465" y="961"/>
                    </a:lnTo>
                    <a:lnTo>
                      <a:pt x="463" y="961"/>
                    </a:lnTo>
                    <a:lnTo>
                      <a:pt x="463" y="963"/>
                    </a:lnTo>
                    <a:lnTo>
                      <a:pt x="461" y="965"/>
                    </a:lnTo>
                    <a:lnTo>
                      <a:pt x="459" y="965"/>
                    </a:lnTo>
                    <a:lnTo>
                      <a:pt x="459" y="967"/>
                    </a:lnTo>
                    <a:lnTo>
                      <a:pt x="459" y="968"/>
                    </a:lnTo>
                    <a:lnTo>
                      <a:pt x="459" y="970"/>
                    </a:lnTo>
                    <a:lnTo>
                      <a:pt x="457" y="970"/>
                    </a:lnTo>
                    <a:lnTo>
                      <a:pt x="457" y="972"/>
                    </a:lnTo>
                    <a:lnTo>
                      <a:pt x="459" y="972"/>
                    </a:lnTo>
                    <a:lnTo>
                      <a:pt x="457" y="974"/>
                    </a:lnTo>
                    <a:lnTo>
                      <a:pt x="459" y="976"/>
                    </a:lnTo>
                    <a:lnTo>
                      <a:pt x="461" y="976"/>
                    </a:lnTo>
                    <a:lnTo>
                      <a:pt x="463" y="978"/>
                    </a:lnTo>
                    <a:lnTo>
                      <a:pt x="465" y="978"/>
                    </a:lnTo>
                    <a:lnTo>
                      <a:pt x="465" y="980"/>
                    </a:lnTo>
                    <a:lnTo>
                      <a:pt x="467" y="980"/>
                    </a:lnTo>
                    <a:lnTo>
                      <a:pt x="467" y="978"/>
                    </a:lnTo>
                    <a:lnTo>
                      <a:pt x="469" y="978"/>
                    </a:lnTo>
                    <a:lnTo>
                      <a:pt x="469" y="980"/>
                    </a:lnTo>
                    <a:lnTo>
                      <a:pt x="471" y="980"/>
                    </a:lnTo>
                    <a:lnTo>
                      <a:pt x="472" y="980"/>
                    </a:lnTo>
                    <a:lnTo>
                      <a:pt x="472" y="982"/>
                    </a:lnTo>
                    <a:lnTo>
                      <a:pt x="474" y="982"/>
                    </a:lnTo>
                    <a:lnTo>
                      <a:pt x="474" y="984"/>
                    </a:lnTo>
                    <a:lnTo>
                      <a:pt x="472" y="984"/>
                    </a:lnTo>
                    <a:lnTo>
                      <a:pt x="472" y="986"/>
                    </a:lnTo>
                    <a:lnTo>
                      <a:pt x="471" y="990"/>
                    </a:lnTo>
                    <a:lnTo>
                      <a:pt x="471" y="992"/>
                    </a:lnTo>
                    <a:lnTo>
                      <a:pt x="469" y="992"/>
                    </a:lnTo>
                    <a:lnTo>
                      <a:pt x="471" y="992"/>
                    </a:lnTo>
                    <a:lnTo>
                      <a:pt x="472" y="992"/>
                    </a:lnTo>
                    <a:lnTo>
                      <a:pt x="474" y="990"/>
                    </a:lnTo>
                    <a:lnTo>
                      <a:pt x="476" y="990"/>
                    </a:lnTo>
                    <a:lnTo>
                      <a:pt x="476" y="988"/>
                    </a:lnTo>
                    <a:lnTo>
                      <a:pt x="478" y="990"/>
                    </a:lnTo>
                    <a:lnTo>
                      <a:pt x="480" y="990"/>
                    </a:lnTo>
                    <a:lnTo>
                      <a:pt x="482" y="990"/>
                    </a:lnTo>
                    <a:lnTo>
                      <a:pt x="484" y="990"/>
                    </a:lnTo>
                    <a:lnTo>
                      <a:pt x="486" y="992"/>
                    </a:lnTo>
                    <a:lnTo>
                      <a:pt x="486" y="990"/>
                    </a:lnTo>
                    <a:lnTo>
                      <a:pt x="488" y="988"/>
                    </a:lnTo>
                    <a:lnTo>
                      <a:pt x="488" y="986"/>
                    </a:lnTo>
                    <a:lnTo>
                      <a:pt x="490" y="988"/>
                    </a:lnTo>
                    <a:lnTo>
                      <a:pt x="492" y="988"/>
                    </a:lnTo>
                    <a:lnTo>
                      <a:pt x="494" y="988"/>
                    </a:lnTo>
                    <a:lnTo>
                      <a:pt x="494" y="990"/>
                    </a:lnTo>
                    <a:lnTo>
                      <a:pt x="496" y="988"/>
                    </a:lnTo>
                    <a:lnTo>
                      <a:pt x="496" y="990"/>
                    </a:lnTo>
                    <a:lnTo>
                      <a:pt x="496" y="992"/>
                    </a:lnTo>
                    <a:lnTo>
                      <a:pt x="496" y="993"/>
                    </a:lnTo>
                    <a:lnTo>
                      <a:pt x="496" y="995"/>
                    </a:lnTo>
                    <a:lnTo>
                      <a:pt x="497" y="993"/>
                    </a:lnTo>
                    <a:lnTo>
                      <a:pt x="497" y="995"/>
                    </a:lnTo>
                    <a:lnTo>
                      <a:pt x="497" y="993"/>
                    </a:lnTo>
                    <a:lnTo>
                      <a:pt x="499" y="993"/>
                    </a:lnTo>
                    <a:lnTo>
                      <a:pt x="499" y="995"/>
                    </a:lnTo>
                    <a:lnTo>
                      <a:pt x="499" y="997"/>
                    </a:lnTo>
                    <a:lnTo>
                      <a:pt x="501" y="997"/>
                    </a:lnTo>
                    <a:lnTo>
                      <a:pt x="501" y="999"/>
                    </a:lnTo>
                    <a:lnTo>
                      <a:pt x="499" y="999"/>
                    </a:lnTo>
                    <a:lnTo>
                      <a:pt x="501" y="1003"/>
                    </a:lnTo>
                    <a:lnTo>
                      <a:pt x="499" y="1003"/>
                    </a:lnTo>
                    <a:lnTo>
                      <a:pt x="499" y="1005"/>
                    </a:lnTo>
                    <a:lnTo>
                      <a:pt x="497" y="1005"/>
                    </a:lnTo>
                    <a:lnTo>
                      <a:pt x="497" y="1007"/>
                    </a:lnTo>
                    <a:lnTo>
                      <a:pt x="497" y="1009"/>
                    </a:lnTo>
                    <a:lnTo>
                      <a:pt x="499" y="1009"/>
                    </a:lnTo>
                    <a:lnTo>
                      <a:pt x="497" y="1011"/>
                    </a:lnTo>
                    <a:lnTo>
                      <a:pt x="497" y="1013"/>
                    </a:lnTo>
                    <a:lnTo>
                      <a:pt x="496" y="1015"/>
                    </a:lnTo>
                    <a:lnTo>
                      <a:pt x="496" y="1017"/>
                    </a:lnTo>
                    <a:lnTo>
                      <a:pt x="494" y="1015"/>
                    </a:lnTo>
                    <a:lnTo>
                      <a:pt x="494" y="1017"/>
                    </a:lnTo>
                    <a:lnTo>
                      <a:pt x="492" y="1017"/>
                    </a:lnTo>
                    <a:lnTo>
                      <a:pt x="492" y="1018"/>
                    </a:lnTo>
                    <a:lnTo>
                      <a:pt x="490" y="1020"/>
                    </a:lnTo>
                    <a:lnTo>
                      <a:pt x="492" y="1020"/>
                    </a:lnTo>
                    <a:lnTo>
                      <a:pt x="492" y="1022"/>
                    </a:lnTo>
                    <a:lnTo>
                      <a:pt x="490" y="1022"/>
                    </a:lnTo>
                    <a:lnTo>
                      <a:pt x="490" y="1026"/>
                    </a:lnTo>
                    <a:lnTo>
                      <a:pt x="488" y="1026"/>
                    </a:lnTo>
                    <a:lnTo>
                      <a:pt x="488" y="1028"/>
                    </a:lnTo>
                    <a:lnTo>
                      <a:pt x="486" y="1028"/>
                    </a:lnTo>
                    <a:lnTo>
                      <a:pt x="486" y="1030"/>
                    </a:lnTo>
                    <a:lnTo>
                      <a:pt x="484" y="1030"/>
                    </a:lnTo>
                    <a:lnTo>
                      <a:pt x="484" y="1028"/>
                    </a:lnTo>
                    <a:lnTo>
                      <a:pt x="482" y="1028"/>
                    </a:lnTo>
                    <a:lnTo>
                      <a:pt x="480" y="1028"/>
                    </a:lnTo>
                    <a:lnTo>
                      <a:pt x="480" y="1026"/>
                    </a:lnTo>
                    <a:lnTo>
                      <a:pt x="478" y="1026"/>
                    </a:lnTo>
                    <a:lnTo>
                      <a:pt x="478" y="1028"/>
                    </a:lnTo>
                    <a:lnTo>
                      <a:pt x="476" y="1030"/>
                    </a:lnTo>
                    <a:lnTo>
                      <a:pt x="476" y="1028"/>
                    </a:lnTo>
                    <a:lnTo>
                      <a:pt x="474" y="1028"/>
                    </a:lnTo>
                    <a:lnTo>
                      <a:pt x="472" y="1028"/>
                    </a:lnTo>
                    <a:lnTo>
                      <a:pt x="472" y="1030"/>
                    </a:lnTo>
                    <a:lnTo>
                      <a:pt x="472" y="1034"/>
                    </a:lnTo>
                    <a:lnTo>
                      <a:pt x="472" y="1036"/>
                    </a:lnTo>
                    <a:lnTo>
                      <a:pt x="472" y="1040"/>
                    </a:lnTo>
                    <a:lnTo>
                      <a:pt x="472" y="1042"/>
                    </a:lnTo>
                    <a:lnTo>
                      <a:pt x="474" y="1042"/>
                    </a:lnTo>
                    <a:lnTo>
                      <a:pt x="474" y="1043"/>
                    </a:lnTo>
                    <a:lnTo>
                      <a:pt x="474" y="1045"/>
                    </a:lnTo>
                    <a:lnTo>
                      <a:pt x="474" y="1047"/>
                    </a:lnTo>
                    <a:lnTo>
                      <a:pt x="476" y="1047"/>
                    </a:lnTo>
                    <a:lnTo>
                      <a:pt x="476" y="1049"/>
                    </a:lnTo>
                    <a:lnTo>
                      <a:pt x="476" y="1051"/>
                    </a:lnTo>
                    <a:lnTo>
                      <a:pt x="474" y="1051"/>
                    </a:lnTo>
                    <a:lnTo>
                      <a:pt x="476" y="1053"/>
                    </a:lnTo>
                    <a:lnTo>
                      <a:pt x="476" y="1055"/>
                    </a:lnTo>
                    <a:lnTo>
                      <a:pt x="474" y="1055"/>
                    </a:lnTo>
                    <a:lnTo>
                      <a:pt x="472" y="1055"/>
                    </a:lnTo>
                    <a:lnTo>
                      <a:pt x="474" y="1055"/>
                    </a:lnTo>
                    <a:lnTo>
                      <a:pt x="474" y="1057"/>
                    </a:lnTo>
                    <a:lnTo>
                      <a:pt x="474" y="1059"/>
                    </a:lnTo>
                    <a:lnTo>
                      <a:pt x="472" y="1059"/>
                    </a:lnTo>
                    <a:lnTo>
                      <a:pt x="472" y="1061"/>
                    </a:lnTo>
                    <a:lnTo>
                      <a:pt x="472" y="1063"/>
                    </a:lnTo>
                    <a:lnTo>
                      <a:pt x="472" y="1065"/>
                    </a:lnTo>
                    <a:lnTo>
                      <a:pt x="471" y="1065"/>
                    </a:lnTo>
                    <a:lnTo>
                      <a:pt x="471" y="1067"/>
                    </a:lnTo>
                    <a:lnTo>
                      <a:pt x="471" y="1068"/>
                    </a:lnTo>
                    <a:lnTo>
                      <a:pt x="469" y="1068"/>
                    </a:lnTo>
                    <a:lnTo>
                      <a:pt x="467" y="1068"/>
                    </a:lnTo>
                    <a:lnTo>
                      <a:pt x="467" y="1070"/>
                    </a:lnTo>
                    <a:lnTo>
                      <a:pt x="465" y="1068"/>
                    </a:lnTo>
                    <a:lnTo>
                      <a:pt x="465" y="1070"/>
                    </a:lnTo>
                    <a:lnTo>
                      <a:pt x="465" y="1068"/>
                    </a:lnTo>
                    <a:lnTo>
                      <a:pt x="463" y="1068"/>
                    </a:lnTo>
                    <a:lnTo>
                      <a:pt x="463" y="1070"/>
                    </a:lnTo>
                    <a:lnTo>
                      <a:pt x="463" y="1072"/>
                    </a:lnTo>
                    <a:lnTo>
                      <a:pt x="463" y="1074"/>
                    </a:lnTo>
                    <a:lnTo>
                      <a:pt x="461" y="1074"/>
                    </a:lnTo>
                    <a:lnTo>
                      <a:pt x="459" y="1074"/>
                    </a:lnTo>
                    <a:lnTo>
                      <a:pt x="457" y="1074"/>
                    </a:lnTo>
                    <a:lnTo>
                      <a:pt x="457" y="1076"/>
                    </a:lnTo>
                    <a:lnTo>
                      <a:pt x="457" y="1074"/>
                    </a:lnTo>
                    <a:lnTo>
                      <a:pt x="455" y="1076"/>
                    </a:lnTo>
                    <a:lnTo>
                      <a:pt x="455" y="1074"/>
                    </a:lnTo>
                    <a:lnTo>
                      <a:pt x="453" y="1074"/>
                    </a:lnTo>
                    <a:lnTo>
                      <a:pt x="451" y="1074"/>
                    </a:lnTo>
                    <a:lnTo>
                      <a:pt x="451" y="1072"/>
                    </a:lnTo>
                    <a:lnTo>
                      <a:pt x="449" y="1072"/>
                    </a:lnTo>
                    <a:lnTo>
                      <a:pt x="449" y="1074"/>
                    </a:lnTo>
                    <a:lnTo>
                      <a:pt x="447" y="1076"/>
                    </a:lnTo>
                    <a:lnTo>
                      <a:pt x="447" y="1078"/>
                    </a:lnTo>
                    <a:lnTo>
                      <a:pt x="446" y="1078"/>
                    </a:lnTo>
                    <a:lnTo>
                      <a:pt x="444" y="1078"/>
                    </a:lnTo>
                    <a:lnTo>
                      <a:pt x="442" y="1078"/>
                    </a:lnTo>
                    <a:lnTo>
                      <a:pt x="440" y="1078"/>
                    </a:lnTo>
                    <a:lnTo>
                      <a:pt x="440" y="1076"/>
                    </a:lnTo>
                    <a:lnTo>
                      <a:pt x="438" y="1076"/>
                    </a:lnTo>
                    <a:lnTo>
                      <a:pt x="436" y="1074"/>
                    </a:lnTo>
                    <a:lnTo>
                      <a:pt x="434" y="1074"/>
                    </a:lnTo>
                    <a:lnTo>
                      <a:pt x="436" y="1072"/>
                    </a:lnTo>
                    <a:lnTo>
                      <a:pt x="434" y="1072"/>
                    </a:lnTo>
                    <a:lnTo>
                      <a:pt x="432" y="1072"/>
                    </a:lnTo>
                    <a:lnTo>
                      <a:pt x="432" y="1074"/>
                    </a:lnTo>
                    <a:lnTo>
                      <a:pt x="430" y="1074"/>
                    </a:lnTo>
                    <a:lnTo>
                      <a:pt x="428" y="1074"/>
                    </a:lnTo>
                    <a:lnTo>
                      <a:pt x="428" y="1072"/>
                    </a:lnTo>
                    <a:lnTo>
                      <a:pt x="428" y="1074"/>
                    </a:lnTo>
                    <a:lnTo>
                      <a:pt x="426" y="1074"/>
                    </a:lnTo>
                    <a:lnTo>
                      <a:pt x="426" y="1076"/>
                    </a:lnTo>
                    <a:lnTo>
                      <a:pt x="424" y="1076"/>
                    </a:lnTo>
                    <a:lnTo>
                      <a:pt x="424" y="1078"/>
                    </a:lnTo>
                    <a:lnTo>
                      <a:pt x="423" y="1080"/>
                    </a:lnTo>
                    <a:lnTo>
                      <a:pt x="421" y="1080"/>
                    </a:lnTo>
                    <a:lnTo>
                      <a:pt x="421" y="1078"/>
                    </a:lnTo>
                    <a:lnTo>
                      <a:pt x="421" y="1076"/>
                    </a:lnTo>
                    <a:lnTo>
                      <a:pt x="423" y="1076"/>
                    </a:lnTo>
                    <a:lnTo>
                      <a:pt x="421" y="1074"/>
                    </a:lnTo>
                    <a:lnTo>
                      <a:pt x="421" y="1072"/>
                    </a:lnTo>
                    <a:lnTo>
                      <a:pt x="421" y="1070"/>
                    </a:lnTo>
                    <a:lnTo>
                      <a:pt x="419" y="1070"/>
                    </a:lnTo>
                    <a:lnTo>
                      <a:pt x="417" y="1070"/>
                    </a:lnTo>
                    <a:lnTo>
                      <a:pt x="417" y="1068"/>
                    </a:lnTo>
                    <a:lnTo>
                      <a:pt x="415" y="1068"/>
                    </a:lnTo>
                    <a:lnTo>
                      <a:pt x="413" y="1068"/>
                    </a:lnTo>
                    <a:lnTo>
                      <a:pt x="413" y="1067"/>
                    </a:lnTo>
                    <a:lnTo>
                      <a:pt x="411" y="1067"/>
                    </a:lnTo>
                    <a:lnTo>
                      <a:pt x="409" y="1067"/>
                    </a:lnTo>
                    <a:lnTo>
                      <a:pt x="411" y="1067"/>
                    </a:lnTo>
                    <a:lnTo>
                      <a:pt x="409" y="1067"/>
                    </a:lnTo>
                    <a:lnTo>
                      <a:pt x="407" y="1067"/>
                    </a:lnTo>
                    <a:lnTo>
                      <a:pt x="405" y="1065"/>
                    </a:lnTo>
                    <a:lnTo>
                      <a:pt x="405" y="1067"/>
                    </a:lnTo>
                    <a:lnTo>
                      <a:pt x="403" y="1067"/>
                    </a:lnTo>
                    <a:lnTo>
                      <a:pt x="403" y="1068"/>
                    </a:lnTo>
                    <a:lnTo>
                      <a:pt x="403" y="1070"/>
                    </a:lnTo>
                    <a:lnTo>
                      <a:pt x="403" y="1072"/>
                    </a:lnTo>
                    <a:lnTo>
                      <a:pt x="401" y="1072"/>
                    </a:lnTo>
                    <a:lnTo>
                      <a:pt x="399" y="1072"/>
                    </a:lnTo>
                    <a:lnTo>
                      <a:pt x="398" y="1072"/>
                    </a:lnTo>
                    <a:lnTo>
                      <a:pt x="396" y="1072"/>
                    </a:lnTo>
                    <a:lnTo>
                      <a:pt x="396" y="1074"/>
                    </a:lnTo>
                    <a:lnTo>
                      <a:pt x="396" y="1076"/>
                    </a:lnTo>
                    <a:lnTo>
                      <a:pt x="394" y="1076"/>
                    </a:lnTo>
                    <a:lnTo>
                      <a:pt x="392" y="1078"/>
                    </a:lnTo>
                    <a:lnTo>
                      <a:pt x="392" y="1080"/>
                    </a:lnTo>
                    <a:lnTo>
                      <a:pt x="392" y="1082"/>
                    </a:lnTo>
                    <a:lnTo>
                      <a:pt x="390" y="1084"/>
                    </a:lnTo>
                    <a:lnTo>
                      <a:pt x="390" y="1086"/>
                    </a:lnTo>
                    <a:lnTo>
                      <a:pt x="392" y="1086"/>
                    </a:lnTo>
                    <a:lnTo>
                      <a:pt x="392" y="1088"/>
                    </a:lnTo>
                    <a:lnTo>
                      <a:pt x="392" y="1090"/>
                    </a:lnTo>
                    <a:lnTo>
                      <a:pt x="390" y="1090"/>
                    </a:lnTo>
                    <a:lnTo>
                      <a:pt x="388" y="1090"/>
                    </a:lnTo>
                    <a:lnTo>
                      <a:pt x="388" y="1091"/>
                    </a:lnTo>
                    <a:lnTo>
                      <a:pt x="388" y="1093"/>
                    </a:lnTo>
                    <a:lnTo>
                      <a:pt x="390" y="1095"/>
                    </a:lnTo>
                    <a:lnTo>
                      <a:pt x="390" y="1097"/>
                    </a:lnTo>
                    <a:lnTo>
                      <a:pt x="390" y="1099"/>
                    </a:lnTo>
                    <a:lnTo>
                      <a:pt x="392" y="1101"/>
                    </a:lnTo>
                    <a:lnTo>
                      <a:pt x="394" y="1103"/>
                    </a:lnTo>
                    <a:lnTo>
                      <a:pt x="394" y="1105"/>
                    </a:lnTo>
                    <a:lnTo>
                      <a:pt x="396" y="1107"/>
                    </a:lnTo>
                    <a:lnTo>
                      <a:pt x="394" y="1109"/>
                    </a:lnTo>
                    <a:lnTo>
                      <a:pt x="394" y="1111"/>
                    </a:lnTo>
                    <a:lnTo>
                      <a:pt x="394" y="1113"/>
                    </a:lnTo>
                    <a:lnTo>
                      <a:pt x="394" y="1111"/>
                    </a:lnTo>
                    <a:lnTo>
                      <a:pt x="392" y="1111"/>
                    </a:lnTo>
                    <a:lnTo>
                      <a:pt x="392" y="1113"/>
                    </a:lnTo>
                    <a:lnTo>
                      <a:pt x="390" y="1113"/>
                    </a:lnTo>
                    <a:lnTo>
                      <a:pt x="388" y="1113"/>
                    </a:lnTo>
                    <a:lnTo>
                      <a:pt x="388" y="1115"/>
                    </a:lnTo>
                    <a:lnTo>
                      <a:pt x="386" y="1116"/>
                    </a:lnTo>
                    <a:lnTo>
                      <a:pt x="384" y="1116"/>
                    </a:lnTo>
                    <a:lnTo>
                      <a:pt x="382" y="1116"/>
                    </a:lnTo>
                    <a:lnTo>
                      <a:pt x="382" y="1118"/>
                    </a:lnTo>
                    <a:lnTo>
                      <a:pt x="380" y="1118"/>
                    </a:lnTo>
                    <a:lnTo>
                      <a:pt x="380" y="1116"/>
                    </a:lnTo>
                    <a:lnTo>
                      <a:pt x="380" y="1115"/>
                    </a:lnTo>
                    <a:lnTo>
                      <a:pt x="378" y="1115"/>
                    </a:lnTo>
                    <a:lnTo>
                      <a:pt x="378" y="1113"/>
                    </a:lnTo>
                    <a:lnTo>
                      <a:pt x="378" y="1111"/>
                    </a:lnTo>
                    <a:lnTo>
                      <a:pt x="378" y="1109"/>
                    </a:lnTo>
                    <a:lnTo>
                      <a:pt x="376" y="1109"/>
                    </a:lnTo>
                    <a:lnTo>
                      <a:pt x="376" y="1107"/>
                    </a:lnTo>
                    <a:lnTo>
                      <a:pt x="376" y="1105"/>
                    </a:lnTo>
                    <a:lnTo>
                      <a:pt x="376" y="1103"/>
                    </a:lnTo>
                    <a:lnTo>
                      <a:pt x="374" y="1103"/>
                    </a:lnTo>
                    <a:lnTo>
                      <a:pt x="374" y="1101"/>
                    </a:lnTo>
                    <a:lnTo>
                      <a:pt x="374" y="1099"/>
                    </a:lnTo>
                    <a:lnTo>
                      <a:pt x="374" y="1097"/>
                    </a:lnTo>
                    <a:lnTo>
                      <a:pt x="373" y="1097"/>
                    </a:lnTo>
                    <a:lnTo>
                      <a:pt x="373" y="1095"/>
                    </a:lnTo>
                    <a:lnTo>
                      <a:pt x="374" y="1095"/>
                    </a:lnTo>
                    <a:lnTo>
                      <a:pt x="374" y="1093"/>
                    </a:lnTo>
                    <a:lnTo>
                      <a:pt x="374" y="1091"/>
                    </a:lnTo>
                    <a:lnTo>
                      <a:pt x="373" y="1090"/>
                    </a:lnTo>
                    <a:lnTo>
                      <a:pt x="373" y="1088"/>
                    </a:lnTo>
                    <a:lnTo>
                      <a:pt x="374" y="1088"/>
                    </a:lnTo>
                    <a:lnTo>
                      <a:pt x="374" y="1086"/>
                    </a:lnTo>
                    <a:lnTo>
                      <a:pt x="376" y="1086"/>
                    </a:lnTo>
                    <a:lnTo>
                      <a:pt x="374" y="1084"/>
                    </a:lnTo>
                    <a:lnTo>
                      <a:pt x="374" y="1082"/>
                    </a:lnTo>
                    <a:lnTo>
                      <a:pt x="373" y="1080"/>
                    </a:lnTo>
                    <a:lnTo>
                      <a:pt x="371" y="1078"/>
                    </a:lnTo>
                    <a:lnTo>
                      <a:pt x="369" y="1078"/>
                    </a:lnTo>
                    <a:lnTo>
                      <a:pt x="369" y="1076"/>
                    </a:lnTo>
                    <a:lnTo>
                      <a:pt x="369" y="1072"/>
                    </a:lnTo>
                    <a:lnTo>
                      <a:pt x="369" y="1070"/>
                    </a:lnTo>
                    <a:lnTo>
                      <a:pt x="371" y="1070"/>
                    </a:lnTo>
                    <a:lnTo>
                      <a:pt x="371" y="1068"/>
                    </a:lnTo>
                    <a:lnTo>
                      <a:pt x="369" y="1067"/>
                    </a:lnTo>
                    <a:lnTo>
                      <a:pt x="371" y="1065"/>
                    </a:lnTo>
                    <a:lnTo>
                      <a:pt x="371" y="1063"/>
                    </a:lnTo>
                    <a:lnTo>
                      <a:pt x="373" y="1063"/>
                    </a:lnTo>
                    <a:lnTo>
                      <a:pt x="374" y="1061"/>
                    </a:lnTo>
                    <a:lnTo>
                      <a:pt x="376" y="1061"/>
                    </a:lnTo>
                    <a:lnTo>
                      <a:pt x="376" y="1059"/>
                    </a:lnTo>
                    <a:lnTo>
                      <a:pt x="376" y="1057"/>
                    </a:lnTo>
                    <a:lnTo>
                      <a:pt x="378" y="1057"/>
                    </a:lnTo>
                    <a:lnTo>
                      <a:pt x="378" y="1055"/>
                    </a:lnTo>
                    <a:lnTo>
                      <a:pt x="376" y="1055"/>
                    </a:lnTo>
                    <a:lnTo>
                      <a:pt x="376" y="1053"/>
                    </a:lnTo>
                    <a:lnTo>
                      <a:pt x="378" y="1053"/>
                    </a:lnTo>
                    <a:lnTo>
                      <a:pt x="378" y="1051"/>
                    </a:lnTo>
                    <a:lnTo>
                      <a:pt x="378" y="1049"/>
                    </a:lnTo>
                    <a:lnTo>
                      <a:pt x="378" y="1047"/>
                    </a:lnTo>
                    <a:lnTo>
                      <a:pt x="378" y="1045"/>
                    </a:lnTo>
                    <a:lnTo>
                      <a:pt x="378" y="1043"/>
                    </a:lnTo>
                    <a:lnTo>
                      <a:pt x="378" y="1042"/>
                    </a:lnTo>
                    <a:lnTo>
                      <a:pt x="378" y="1040"/>
                    </a:lnTo>
                    <a:lnTo>
                      <a:pt x="378" y="1038"/>
                    </a:lnTo>
                    <a:lnTo>
                      <a:pt x="378" y="1036"/>
                    </a:lnTo>
                    <a:lnTo>
                      <a:pt x="376" y="1036"/>
                    </a:lnTo>
                    <a:lnTo>
                      <a:pt x="374" y="1034"/>
                    </a:lnTo>
                    <a:lnTo>
                      <a:pt x="373" y="1034"/>
                    </a:lnTo>
                    <a:lnTo>
                      <a:pt x="373" y="1032"/>
                    </a:lnTo>
                    <a:lnTo>
                      <a:pt x="371" y="1030"/>
                    </a:lnTo>
                    <a:lnTo>
                      <a:pt x="371" y="1028"/>
                    </a:lnTo>
                    <a:lnTo>
                      <a:pt x="369" y="1028"/>
                    </a:lnTo>
                    <a:lnTo>
                      <a:pt x="367" y="1028"/>
                    </a:lnTo>
                    <a:lnTo>
                      <a:pt x="367" y="1026"/>
                    </a:lnTo>
                    <a:lnTo>
                      <a:pt x="365" y="1026"/>
                    </a:lnTo>
                    <a:lnTo>
                      <a:pt x="363" y="1024"/>
                    </a:lnTo>
                    <a:lnTo>
                      <a:pt x="363" y="1022"/>
                    </a:lnTo>
                    <a:lnTo>
                      <a:pt x="363" y="1020"/>
                    </a:lnTo>
                    <a:lnTo>
                      <a:pt x="363" y="1018"/>
                    </a:lnTo>
                    <a:lnTo>
                      <a:pt x="363" y="1017"/>
                    </a:lnTo>
                    <a:lnTo>
                      <a:pt x="363" y="1015"/>
                    </a:lnTo>
                    <a:lnTo>
                      <a:pt x="363" y="1013"/>
                    </a:lnTo>
                    <a:lnTo>
                      <a:pt x="363" y="1011"/>
                    </a:lnTo>
                    <a:lnTo>
                      <a:pt x="361" y="1009"/>
                    </a:lnTo>
                    <a:lnTo>
                      <a:pt x="361" y="1007"/>
                    </a:lnTo>
                    <a:lnTo>
                      <a:pt x="361" y="1005"/>
                    </a:lnTo>
                    <a:lnTo>
                      <a:pt x="361" y="1003"/>
                    </a:lnTo>
                    <a:lnTo>
                      <a:pt x="363" y="1003"/>
                    </a:lnTo>
                    <a:lnTo>
                      <a:pt x="361" y="1001"/>
                    </a:lnTo>
                    <a:lnTo>
                      <a:pt x="361" y="999"/>
                    </a:lnTo>
                    <a:lnTo>
                      <a:pt x="361" y="997"/>
                    </a:lnTo>
                    <a:lnTo>
                      <a:pt x="361" y="995"/>
                    </a:lnTo>
                    <a:lnTo>
                      <a:pt x="363" y="995"/>
                    </a:lnTo>
                    <a:lnTo>
                      <a:pt x="363" y="993"/>
                    </a:lnTo>
                    <a:lnTo>
                      <a:pt x="363" y="992"/>
                    </a:lnTo>
                    <a:lnTo>
                      <a:pt x="363" y="990"/>
                    </a:lnTo>
                    <a:lnTo>
                      <a:pt x="363" y="988"/>
                    </a:lnTo>
                    <a:lnTo>
                      <a:pt x="363" y="986"/>
                    </a:lnTo>
                    <a:lnTo>
                      <a:pt x="365" y="984"/>
                    </a:lnTo>
                    <a:lnTo>
                      <a:pt x="365" y="982"/>
                    </a:lnTo>
                    <a:lnTo>
                      <a:pt x="363" y="982"/>
                    </a:lnTo>
                    <a:lnTo>
                      <a:pt x="363" y="980"/>
                    </a:lnTo>
                    <a:lnTo>
                      <a:pt x="363" y="978"/>
                    </a:lnTo>
                    <a:lnTo>
                      <a:pt x="361" y="978"/>
                    </a:lnTo>
                    <a:lnTo>
                      <a:pt x="359" y="978"/>
                    </a:lnTo>
                    <a:lnTo>
                      <a:pt x="357" y="978"/>
                    </a:lnTo>
                    <a:lnTo>
                      <a:pt x="357" y="980"/>
                    </a:lnTo>
                    <a:lnTo>
                      <a:pt x="357" y="982"/>
                    </a:lnTo>
                    <a:lnTo>
                      <a:pt x="355" y="982"/>
                    </a:lnTo>
                    <a:lnTo>
                      <a:pt x="357" y="982"/>
                    </a:lnTo>
                    <a:lnTo>
                      <a:pt x="355" y="982"/>
                    </a:lnTo>
                    <a:lnTo>
                      <a:pt x="355" y="984"/>
                    </a:lnTo>
                    <a:lnTo>
                      <a:pt x="353" y="984"/>
                    </a:lnTo>
                    <a:lnTo>
                      <a:pt x="351" y="984"/>
                    </a:lnTo>
                    <a:lnTo>
                      <a:pt x="351" y="982"/>
                    </a:lnTo>
                    <a:lnTo>
                      <a:pt x="350" y="982"/>
                    </a:lnTo>
                    <a:lnTo>
                      <a:pt x="350" y="984"/>
                    </a:lnTo>
                    <a:lnTo>
                      <a:pt x="348" y="984"/>
                    </a:lnTo>
                    <a:lnTo>
                      <a:pt x="348" y="986"/>
                    </a:lnTo>
                    <a:lnTo>
                      <a:pt x="348" y="984"/>
                    </a:lnTo>
                    <a:lnTo>
                      <a:pt x="348" y="982"/>
                    </a:lnTo>
                    <a:lnTo>
                      <a:pt x="346" y="984"/>
                    </a:lnTo>
                    <a:lnTo>
                      <a:pt x="346" y="982"/>
                    </a:lnTo>
                    <a:lnTo>
                      <a:pt x="344" y="984"/>
                    </a:lnTo>
                    <a:lnTo>
                      <a:pt x="344" y="982"/>
                    </a:lnTo>
                    <a:lnTo>
                      <a:pt x="342" y="982"/>
                    </a:lnTo>
                    <a:lnTo>
                      <a:pt x="342" y="980"/>
                    </a:lnTo>
                    <a:lnTo>
                      <a:pt x="340" y="980"/>
                    </a:lnTo>
                    <a:lnTo>
                      <a:pt x="340" y="978"/>
                    </a:lnTo>
                    <a:lnTo>
                      <a:pt x="340" y="980"/>
                    </a:lnTo>
                    <a:lnTo>
                      <a:pt x="338" y="980"/>
                    </a:lnTo>
                    <a:lnTo>
                      <a:pt x="338" y="978"/>
                    </a:lnTo>
                    <a:lnTo>
                      <a:pt x="338" y="980"/>
                    </a:lnTo>
                    <a:lnTo>
                      <a:pt x="336" y="980"/>
                    </a:lnTo>
                    <a:lnTo>
                      <a:pt x="334" y="980"/>
                    </a:lnTo>
                    <a:lnTo>
                      <a:pt x="334" y="982"/>
                    </a:lnTo>
                    <a:lnTo>
                      <a:pt x="334" y="984"/>
                    </a:lnTo>
                    <a:lnTo>
                      <a:pt x="336" y="984"/>
                    </a:lnTo>
                    <a:lnTo>
                      <a:pt x="336" y="986"/>
                    </a:lnTo>
                    <a:lnTo>
                      <a:pt x="334" y="986"/>
                    </a:lnTo>
                    <a:lnTo>
                      <a:pt x="334" y="984"/>
                    </a:lnTo>
                    <a:lnTo>
                      <a:pt x="334" y="986"/>
                    </a:lnTo>
                    <a:lnTo>
                      <a:pt x="334" y="988"/>
                    </a:lnTo>
                    <a:lnTo>
                      <a:pt x="334" y="986"/>
                    </a:lnTo>
                    <a:lnTo>
                      <a:pt x="332" y="986"/>
                    </a:lnTo>
                    <a:lnTo>
                      <a:pt x="332" y="988"/>
                    </a:lnTo>
                    <a:lnTo>
                      <a:pt x="330" y="988"/>
                    </a:lnTo>
                    <a:lnTo>
                      <a:pt x="332" y="988"/>
                    </a:lnTo>
                    <a:lnTo>
                      <a:pt x="330" y="988"/>
                    </a:lnTo>
                    <a:lnTo>
                      <a:pt x="330" y="990"/>
                    </a:lnTo>
                    <a:lnTo>
                      <a:pt x="328" y="990"/>
                    </a:lnTo>
                    <a:lnTo>
                      <a:pt x="326" y="990"/>
                    </a:lnTo>
                    <a:lnTo>
                      <a:pt x="326" y="992"/>
                    </a:lnTo>
                    <a:lnTo>
                      <a:pt x="326" y="990"/>
                    </a:lnTo>
                    <a:lnTo>
                      <a:pt x="326" y="992"/>
                    </a:lnTo>
                    <a:lnTo>
                      <a:pt x="325" y="992"/>
                    </a:lnTo>
                    <a:lnTo>
                      <a:pt x="326" y="992"/>
                    </a:lnTo>
                    <a:lnTo>
                      <a:pt x="325" y="990"/>
                    </a:lnTo>
                    <a:lnTo>
                      <a:pt x="325" y="992"/>
                    </a:lnTo>
                    <a:lnTo>
                      <a:pt x="325" y="990"/>
                    </a:lnTo>
                    <a:lnTo>
                      <a:pt x="325" y="992"/>
                    </a:lnTo>
                    <a:lnTo>
                      <a:pt x="323" y="992"/>
                    </a:lnTo>
                    <a:lnTo>
                      <a:pt x="321" y="992"/>
                    </a:lnTo>
                    <a:lnTo>
                      <a:pt x="323" y="992"/>
                    </a:lnTo>
                    <a:lnTo>
                      <a:pt x="321" y="992"/>
                    </a:lnTo>
                    <a:lnTo>
                      <a:pt x="323" y="992"/>
                    </a:lnTo>
                    <a:lnTo>
                      <a:pt x="321" y="992"/>
                    </a:lnTo>
                    <a:lnTo>
                      <a:pt x="321" y="990"/>
                    </a:lnTo>
                    <a:lnTo>
                      <a:pt x="321" y="992"/>
                    </a:lnTo>
                    <a:lnTo>
                      <a:pt x="321" y="990"/>
                    </a:lnTo>
                    <a:lnTo>
                      <a:pt x="319" y="990"/>
                    </a:lnTo>
                    <a:lnTo>
                      <a:pt x="319" y="992"/>
                    </a:lnTo>
                    <a:lnTo>
                      <a:pt x="319" y="990"/>
                    </a:lnTo>
                    <a:lnTo>
                      <a:pt x="319" y="988"/>
                    </a:lnTo>
                    <a:lnTo>
                      <a:pt x="317" y="990"/>
                    </a:lnTo>
                    <a:lnTo>
                      <a:pt x="317" y="988"/>
                    </a:lnTo>
                    <a:lnTo>
                      <a:pt x="315" y="988"/>
                    </a:lnTo>
                    <a:lnTo>
                      <a:pt x="317" y="988"/>
                    </a:lnTo>
                    <a:lnTo>
                      <a:pt x="315" y="988"/>
                    </a:lnTo>
                    <a:lnTo>
                      <a:pt x="313" y="988"/>
                    </a:lnTo>
                    <a:lnTo>
                      <a:pt x="315" y="990"/>
                    </a:lnTo>
                    <a:lnTo>
                      <a:pt x="313" y="990"/>
                    </a:lnTo>
                    <a:lnTo>
                      <a:pt x="313" y="988"/>
                    </a:lnTo>
                    <a:lnTo>
                      <a:pt x="313" y="990"/>
                    </a:lnTo>
                    <a:lnTo>
                      <a:pt x="311" y="990"/>
                    </a:lnTo>
                    <a:lnTo>
                      <a:pt x="311" y="992"/>
                    </a:lnTo>
                    <a:lnTo>
                      <a:pt x="309" y="992"/>
                    </a:lnTo>
                    <a:lnTo>
                      <a:pt x="309" y="990"/>
                    </a:lnTo>
                    <a:lnTo>
                      <a:pt x="307" y="990"/>
                    </a:lnTo>
                    <a:lnTo>
                      <a:pt x="305" y="988"/>
                    </a:lnTo>
                    <a:lnTo>
                      <a:pt x="303" y="988"/>
                    </a:lnTo>
                    <a:lnTo>
                      <a:pt x="303" y="986"/>
                    </a:lnTo>
                    <a:lnTo>
                      <a:pt x="301" y="986"/>
                    </a:lnTo>
                    <a:lnTo>
                      <a:pt x="296" y="988"/>
                    </a:lnTo>
                    <a:lnTo>
                      <a:pt x="296" y="986"/>
                    </a:lnTo>
                    <a:lnTo>
                      <a:pt x="294" y="984"/>
                    </a:lnTo>
                    <a:lnTo>
                      <a:pt x="292" y="982"/>
                    </a:lnTo>
                    <a:lnTo>
                      <a:pt x="292" y="980"/>
                    </a:lnTo>
                    <a:lnTo>
                      <a:pt x="292" y="978"/>
                    </a:lnTo>
                    <a:lnTo>
                      <a:pt x="292" y="976"/>
                    </a:lnTo>
                    <a:lnTo>
                      <a:pt x="290" y="976"/>
                    </a:lnTo>
                    <a:lnTo>
                      <a:pt x="288" y="974"/>
                    </a:lnTo>
                    <a:lnTo>
                      <a:pt x="286" y="972"/>
                    </a:lnTo>
                    <a:lnTo>
                      <a:pt x="284" y="972"/>
                    </a:lnTo>
                    <a:lnTo>
                      <a:pt x="284" y="970"/>
                    </a:lnTo>
                    <a:lnTo>
                      <a:pt x="284" y="968"/>
                    </a:lnTo>
                    <a:lnTo>
                      <a:pt x="282" y="968"/>
                    </a:lnTo>
                    <a:lnTo>
                      <a:pt x="282" y="970"/>
                    </a:lnTo>
                    <a:lnTo>
                      <a:pt x="280" y="970"/>
                    </a:lnTo>
                    <a:lnTo>
                      <a:pt x="280" y="968"/>
                    </a:lnTo>
                    <a:lnTo>
                      <a:pt x="278" y="968"/>
                    </a:lnTo>
                    <a:lnTo>
                      <a:pt x="277" y="968"/>
                    </a:lnTo>
                    <a:lnTo>
                      <a:pt x="277" y="967"/>
                    </a:lnTo>
                    <a:lnTo>
                      <a:pt x="277" y="968"/>
                    </a:lnTo>
                    <a:lnTo>
                      <a:pt x="275" y="968"/>
                    </a:lnTo>
                    <a:lnTo>
                      <a:pt x="273" y="968"/>
                    </a:lnTo>
                    <a:lnTo>
                      <a:pt x="273" y="967"/>
                    </a:lnTo>
                    <a:lnTo>
                      <a:pt x="271" y="968"/>
                    </a:lnTo>
                    <a:lnTo>
                      <a:pt x="269" y="970"/>
                    </a:lnTo>
                    <a:lnTo>
                      <a:pt x="269" y="968"/>
                    </a:lnTo>
                    <a:lnTo>
                      <a:pt x="267" y="967"/>
                    </a:lnTo>
                    <a:lnTo>
                      <a:pt x="267" y="965"/>
                    </a:lnTo>
                    <a:lnTo>
                      <a:pt x="265" y="963"/>
                    </a:lnTo>
                    <a:lnTo>
                      <a:pt x="265" y="965"/>
                    </a:lnTo>
                    <a:lnTo>
                      <a:pt x="263" y="965"/>
                    </a:lnTo>
                    <a:lnTo>
                      <a:pt x="265" y="967"/>
                    </a:lnTo>
                    <a:lnTo>
                      <a:pt x="263" y="967"/>
                    </a:lnTo>
                    <a:lnTo>
                      <a:pt x="263" y="968"/>
                    </a:lnTo>
                    <a:lnTo>
                      <a:pt x="261" y="968"/>
                    </a:lnTo>
                    <a:lnTo>
                      <a:pt x="259" y="968"/>
                    </a:lnTo>
                    <a:lnTo>
                      <a:pt x="257" y="970"/>
                    </a:lnTo>
                    <a:lnTo>
                      <a:pt x="259" y="970"/>
                    </a:lnTo>
                    <a:lnTo>
                      <a:pt x="257" y="970"/>
                    </a:lnTo>
                    <a:lnTo>
                      <a:pt x="255" y="972"/>
                    </a:lnTo>
                    <a:lnTo>
                      <a:pt x="253" y="970"/>
                    </a:lnTo>
                    <a:lnTo>
                      <a:pt x="253" y="972"/>
                    </a:lnTo>
                    <a:lnTo>
                      <a:pt x="252" y="970"/>
                    </a:lnTo>
                    <a:lnTo>
                      <a:pt x="252" y="968"/>
                    </a:lnTo>
                    <a:lnTo>
                      <a:pt x="252" y="967"/>
                    </a:lnTo>
                    <a:lnTo>
                      <a:pt x="250" y="965"/>
                    </a:lnTo>
                    <a:lnTo>
                      <a:pt x="248" y="965"/>
                    </a:lnTo>
                    <a:lnTo>
                      <a:pt x="246" y="965"/>
                    </a:lnTo>
                    <a:lnTo>
                      <a:pt x="246" y="963"/>
                    </a:lnTo>
                    <a:lnTo>
                      <a:pt x="244" y="963"/>
                    </a:lnTo>
                    <a:lnTo>
                      <a:pt x="242" y="963"/>
                    </a:lnTo>
                    <a:lnTo>
                      <a:pt x="240" y="963"/>
                    </a:lnTo>
                    <a:lnTo>
                      <a:pt x="238" y="963"/>
                    </a:lnTo>
                    <a:lnTo>
                      <a:pt x="238" y="965"/>
                    </a:lnTo>
                    <a:lnTo>
                      <a:pt x="238" y="967"/>
                    </a:lnTo>
                    <a:lnTo>
                      <a:pt x="238" y="968"/>
                    </a:lnTo>
                    <a:lnTo>
                      <a:pt x="240" y="970"/>
                    </a:lnTo>
                    <a:lnTo>
                      <a:pt x="238" y="970"/>
                    </a:lnTo>
                    <a:lnTo>
                      <a:pt x="238" y="972"/>
                    </a:lnTo>
                    <a:lnTo>
                      <a:pt x="238" y="974"/>
                    </a:lnTo>
                    <a:lnTo>
                      <a:pt x="240" y="974"/>
                    </a:lnTo>
                    <a:lnTo>
                      <a:pt x="238" y="974"/>
                    </a:lnTo>
                    <a:lnTo>
                      <a:pt x="238" y="976"/>
                    </a:lnTo>
                    <a:lnTo>
                      <a:pt x="238" y="978"/>
                    </a:lnTo>
                    <a:lnTo>
                      <a:pt x="240" y="978"/>
                    </a:lnTo>
                    <a:lnTo>
                      <a:pt x="240" y="980"/>
                    </a:lnTo>
                    <a:lnTo>
                      <a:pt x="238" y="980"/>
                    </a:lnTo>
                    <a:lnTo>
                      <a:pt x="236" y="980"/>
                    </a:lnTo>
                    <a:lnTo>
                      <a:pt x="236" y="978"/>
                    </a:lnTo>
                    <a:lnTo>
                      <a:pt x="234" y="978"/>
                    </a:lnTo>
                    <a:lnTo>
                      <a:pt x="232" y="978"/>
                    </a:lnTo>
                    <a:lnTo>
                      <a:pt x="232" y="976"/>
                    </a:lnTo>
                    <a:lnTo>
                      <a:pt x="232" y="978"/>
                    </a:lnTo>
                    <a:lnTo>
                      <a:pt x="230" y="978"/>
                    </a:lnTo>
                    <a:lnTo>
                      <a:pt x="230" y="980"/>
                    </a:lnTo>
                    <a:lnTo>
                      <a:pt x="228" y="980"/>
                    </a:lnTo>
                    <a:lnTo>
                      <a:pt x="227" y="980"/>
                    </a:lnTo>
                    <a:lnTo>
                      <a:pt x="227" y="982"/>
                    </a:lnTo>
                    <a:lnTo>
                      <a:pt x="227" y="984"/>
                    </a:lnTo>
                    <a:lnTo>
                      <a:pt x="225" y="984"/>
                    </a:lnTo>
                    <a:lnTo>
                      <a:pt x="225" y="988"/>
                    </a:lnTo>
                    <a:lnTo>
                      <a:pt x="223" y="990"/>
                    </a:lnTo>
                    <a:lnTo>
                      <a:pt x="221" y="988"/>
                    </a:lnTo>
                    <a:lnTo>
                      <a:pt x="221" y="986"/>
                    </a:lnTo>
                    <a:lnTo>
                      <a:pt x="221" y="984"/>
                    </a:lnTo>
                    <a:lnTo>
                      <a:pt x="221" y="982"/>
                    </a:lnTo>
                    <a:lnTo>
                      <a:pt x="221" y="980"/>
                    </a:lnTo>
                    <a:lnTo>
                      <a:pt x="219" y="978"/>
                    </a:lnTo>
                    <a:lnTo>
                      <a:pt x="219" y="976"/>
                    </a:lnTo>
                    <a:lnTo>
                      <a:pt x="219" y="974"/>
                    </a:lnTo>
                    <a:lnTo>
                      <a:pt x="217" y="972"/>
                    </a:lnTo>
                    <a:lnTo>
                      <a:pt x="217" y="970"/>
                    </a:lnTo>
                    <a:lnTo>
                      <a:pt x="217" y="968"/>
                    </a:lnTo>
                    <a:lnTo>
                      <a:pt x="215" y="967"/>
                    </a:lnTo>
                    <a:lnTo>
                      <a:pt x="215" y="965"/>
                    </a:lnTo>
                    <a:lnTo>
                      <a:pt x="215" y="963"/>
                    </a:lnTo>
                    <a:lnTo>
                      <a:pt x="213" y="963"/>
                    </a:lnTo>
                    <a:lnTo>
                      <a:pt x="211" y="963"/>
                    </a:lnTo>
                    <a:lnTo>
                      <a:pt x="211" y="961"/>
                    </a:lnTo>
                    <a:lnTo>
                      <a:pt x="209" y="961"/>
                    </a:lnTo>
                    <a:lnTo>
                      <a:pt x="209" y="963"/>
                    </a:lnTo>
                    <a:lnTo>
                      <a:pt x="207" y="961"/>
                    </a:lnTo>
                    <a:lnTo>
                      <a:pt x="207" y="959"/>
                    </a:lnTo>
                    <a:lnTo>
                      <a:pt x="207" y="957"/>
                    </a:lnTo>
                    <a:lnTo>
                      <a:pt x="209" y="957"/>
                    </a:lnTo>
                    <a:lnTo>
                      <a:pt x="211" y="957"/>
                    </a:lnTo>
                    <a:lnTo>
                      <a:pt x="211" y="955"/>
                    </a:lnTo>
                    <a:lnTo>
                      <a:pt x="211" y="953"/>
                    </a:lnTo>
                    <a:lnTo>
                      <a:pt x="209" y="953"/>
                    </a:lnTo>
                    <a:lnTo>
                      <a:pt x="209" y="951"/>
                    </a:lnTo>
                    <a:lnTo>
                      <a:pt x="207" y="951"/>
                    </a:lnTo>
                    <a:lnTo>
                      <a:pt x="209" y="951"/>
                    </a:lnTo>
                    <a:lnTo>
                      <a:pt x="209" y="949"/>
                    </a:lnTo>
                    <a:lnTo>
                      <a:pt x="207" y="945"/>
                    </a:lnTo>
                    <a:lnTo>
                      <a:pt x="207" y="943"/>
                    </a:lnTo>
                    <a:lnTo>
                      <a:pt x="205" y="943"/>
                    </a:lnTo>
                    <a:lnTo>
                      <a:pt x="204" y="943"/>
                    </a:lnTo>
                    <a:lnTo>
                      <a:pt x="204" y="942"/>
                    </a:lnTo>
                    <a:lnTo>
                      <a:pt x="202" y="942"/>
                    </a:lnTo>
                    <a:lnTo>
                      <a:pt x="202" y="940"/>
                    </a:lnTo>
                    <a:lnTo>
                      <a:pt x="202" y="938"/>
                    </a:lnTo>
                    <a:lnTo>
                      <a:pt x="202" y="936"/>
                    </a:lnTo>
                    <a:lnTo>
                      <a:pt x="200" y="936"/>
                    </a:lnTo>
                    <a:lnTo>
                      <a:pt x="198" y="936"/>
                    </a:lnTo>
                    <a:lnTo>
                      <a:pt x="198" y="934"/>
                    </a:lnTo>
                    <a:lnTo>
                      <a:pt x="198" y="930"/>
                    </a:lnTo>
                    <a:lnTo>
                      <a:pt x="200" y="930"/>
                    </a:lnTo>
                    <a:lnTo>
                      <a:pt x="200" y="928"/>
                    </a:lnTo>
                    <a:lnTo>
                      <a:pt x="198" y="926"/>
                    </a:lnTo>
                    <a:lnTo>
                      <a:pt x="196" y="926"/>
                    </a:lnTo>
                    <a:lnTo>
                      <a:pt x="196" y="924"/>
                    </a:lnTo>
                    <a:lnTo>
                      <a:pt x="196" y="922"/>
                    </a:lnTo>
                    <a:lnTo>
                      <a:pt x="194" y="922"/>
                    </a:lnTo>
                    <a:lnTo>
                      <a:pt x="192" y="922"/>
                    </a:lnTo>
                    <a:lnTo>
                      <a:pt x="190" y="920"/>
                    </a:lnTo>
                    <a:lnTo>
                      <a:pt x="190" y="918"/>
                    </a:lnTo>
                    <a:lnTo>
                      <a:pt x="190" y="917"/>
                    </a:lnTo>
                    <a:lnTo>
                      <a:pt x="188" y="917"/>
                    </a:lnTo>
                    <a:lnTo>
                      <a:pt x="188" y="918"/>
                    </a:lnTo>
                    <a:lnTo>
                      <a:pt x="186" y="918"/>
                    </a:lnTo>
                    <a:lnTo>
                      <a:pt x="184" y="920"/>
                    </a:lnTo>
                    <a:lnTo>
                      <a:pt x="184" y="918"/>
                    </a:lnTo>
                    <a:lnTo>
                      <a:pt x="182" y="918"/>
                    </a:lnTo>
                    <a:lnTo>
                      <a:pt x="180" y="917"/>
                    </a:lnTo>
                    <a:lnTo>
                      <a:pt x="180" y="915"/>
                    </a:lnTo>
                    <a:lnTo>
                      <a:pt x="180" y="917"/>
                    </a:lnTo>
                    <a:lnTo>
                      <a:pt x="179" y="917"/>
                    </a:lnTo>
                    <a:lnTo>
                      <a:pt x="177" y="917"/>
                    </a:lnTo>
                    <a:lnTo>
                      <a:pt x="179" y="918"/>
                    </a:lnTo>
                    <a:lnTo>
                      <a:pt x="177" y="918"/>
                    </a:lnTo>
                    <a:lnTo>
                      <a:pt x="179" y="918"/>
                    </a:lnTo>
                    <a:lnTo>
                      <a:pt x="177" y="920"/>
                    </a:lnTo>
                    <a:lnTo>
                      <a:pt x="177" y="922"/>
                    </a:lnTo>
                    <a:lnTo>
                      <a:pt x="175" y="922"/>
                    </a:lnTo>
                    <a:lnTo>
                      <a:pt x="175" y="920"/>
                    </a:lnTo>
                    <a:lnTo>
                      <a:pt x="175" y="918"/>
                    </a:lnTo>
                    <a:lnTo>
                      <a:pt x="173" y="918"/>
                    </a:lnTo>
                    <a:lnTo>
                      <a:pt x="171" y="917"/>
                    </a:lnTo>
                    <a:lnTo>
                      <a:pt x="171" y="915"/>
                    </a:lnTo>
                    <a:lnTo>
                      <a:pt x="173" y="913"/>
                    </a:lnTo>
                    <a:lnTo>
                      <a:pt x="173" y="911"/>
                    </a:lnTo>
                    <a:lnTo>
                      <a:pt x="173" y="909"/>
                    </a:lnTo>
                    <a:lnTo>
                      <a:pt x="173" y="907"/>
                    </a:lnTo>
                    <a:lnTo>
                      <a:pt x="173" y="905"/>
                    </a:lnTo>
                    <a:lnTo>
                      <a:pt x="171" y="905"/>
                    </a:lnTo>
                    <a:lnTo>
                      <a:pt x="171" y="903"/>
                    </a:lnTo>
                    <a:lnTo>
                      <a:pt x="169" y="903"/>
                    </a:lnTo>
                    <a:lnTo>
                      <a:pt x="167" y="903"/>
                    </a:lnTo>
                    <a:lnTo>
                      <a:pt x="165" y="905"/>
                    </a:lnTo>
                    <a:lnTo>
                      <a:pt x="163" y="905"/>
                    </a:lnTo>
                    <a:lnTo>
                      <a:pt x="163" y="907"/>
                    </a:lnTo>
                    <a:lnTo>
                      <a:pt x="163" y="909"/>
                    </a:lnTo>
                    <a:lnTo>
                      <a:pt x="163" y="911"/>
                    </a:lnTo>
                    <a:lnTo>
                      <a:pt x="161" y="909"/>
                    </a:lnTo>
                    <a:lnTo>
                      <a:pt x="159" y="907"/>
                    </a:lnTo>
                    <a:lnTo>
                      <a:pt x="159" y="905"/>
                    </a:lnTo>
                    <a:lnTo>
                      <a:pt x="159" y="903"/>
                    </a:lnTo>
                    <a:lnTo>
                      <a:pt x="157" y="903"/>
                    </a:lnTo>
                    <a:lnTo>
                      <a:pt x="157" y="901"/>
                    </a:lnTo>
                    <a:lnTo>
                      <a:pt x="157" y="899"/>
                    </a:lnTo>
                    <a:lnTo>
                      <a:pt x="159" y="897"/>
                    </a:lnTo>
                    <a:lnTo>
                      <a:pt x="159" y="895"/>
                    </a:lnTo>
                    <a:lnTo>
                      <a:pt x="159" y="893"/>
                    </a:lnTo>
                    <a:lnTo>
                      <a:pt x="159" y="892"/>
                    </a:lnTo>
                    <a:lnTo>
                      <a:pt x="159" y="890"/>
                    </a:lnTo>
                    <a:lnTo>
                      <a:pt x="161" y="890"/>
                    </a:lnTo>
                    <a:lnTo>
                      <a:pt x="159" y="890"/>
                    </a:lnTo>
                    <a:lnTo>
                      <a:pt x="159" y="888"/>
                    </a:lnTo>
                    <a:lnTo>
                      <a:pt x="157" y="888"/>
                    </a:lnTo>
                    <a:lnTo>
                      <a:pt x="157" y="886"/>
                    </a:lnTo>
                    <a:lnTo>
                      <a:pt x="155" y="886"/>
                    </a:lnTo>
                    <a:lnTo>
                      <a:pt x="155" y="884"/>
                    </a:lnTo>
                    <a:lnTo>
                      <a:pt x="155" y="882"/>
                    </a:lnTo>
                    <a:lnTo>
                      <a:pt x="157" y="880"/>
                    </a:lnTo>
                    <a:lnTo>
                      <a:pt x="159" y="880"/>
                    </a:lnTo>
                    <a:lnTo>
                      <a:pt x="159" y="878"/>
                    </a:lnTo>
                    <a:lnTo>
                      <a:pt x="159" y="876"/>
                    </a:lnTo>
                    <a:lnTo>
                      <a:pt x="159" y="874"/>
                    </a:lnTo>
                    <a:lnTo>
                      <a:pt x="157" y="872"/>
                    </a:lnTo>
                    <a:lnTo>
                      <a:pt x="157" y="870"/>
                    </a:lnTo>
                    <a:lnTo>
                      <a:pt x="159" y="870"/>
                    </a:lnTo>
                    <a:lnTo>
                      <a:pt x="157" y="870"/>
                    </a:lnTo>
                    <a:lnTo>
                      <a:pt x="159" y="868"/>
                    </a:lnTo>
                    <a:lnTo>
                      <a:pt x="159" y="867"/>
                    </a:lnTo>
                    <a:lnTo>
                      <a:pt x="159" y="865"/>
                    </a:lnTo>
                    <a:lnTo>
                      <a:pt x="157" y="865"/>
                    </a:lnTo>
                    <a:lnTo>
                      <a:pt x="159" y="863"/>
                    </a:lnTo>
                    <a:lnTo>
                      <a:pt x="159" y="861"/>
                    </a:lnTo>
                    <a:lnTo>
                      <a:pt x="161" y="863"/>
                    </a:lnTo>
                    <a:lnTo>
                      <a:pt x="161" y="861"/>
                    </a:lnTo>
                    <a:lnTo>
                      <a:pt x="161" y="859"/>
                    </a:lnTo>
                    <a:lnTo>
                      <a:pt x="163" y="859"/>
                    </a:lnTo>
                    <a:lnTo>
                      <a:pt x="161" y="857"/>
                    </a:lnTo>
                    <a:lnTo>
                      <a:pt x="161" y="855"/>
                    </a:lnTo>
                    <a:lnTo>
                      <a:pt x="163" y="853"/>
                    </a:lnTo>
                    <a:lnTo>
                      <a:pt x="165" y="851"/>
                    </a:lnTo>
                    <a:lnTo>
                      <a:pt x="167" y="851"/>
                    </a:lnTo>
                    <a:lnTo>
                      <a:pt x="169" y="851"/>
                    </a:lnTo>
                    <a:lnTo>
                      <a:pt x="169" y="853"/>
                    </a:lnTo>
                    <a:lnTo>
                      <a:pt x="169" y="851"/>
                    </a:lnTo>
                    <a:lnTo>
                      <a:pt x="171" y="851"/>
                    </a:lnTo>
                    <a:lnTo>
                      <a:pt x="169" y="849"/>
                    </a:lnTo>
                    <a:lnTo>
                      <a:pt x="169" y="847"/>
                    </a:lnTo>
                    <a:lnTo>
                      <a:pt x="167" y="847"/>
                    </a:lnTo>
                    <a:lnTo>
                      <a:pt x="167" y="845"/>
                    </a:lnTo>
                    <a:lnTo>
                      <a:pt x="165" y="843"/>
                    </a:lnTo>
                    <a:lnTo>
                      <a:pt x="165" y="842"/>
                    </a:lnTo>
                    <a:lnTo>
                      <a:pt x="163" y="842"/>
                    </a:lnTo>
                    <a:lnTo>
                      <a:pt x="163" y="840"/>
                    </a:lnTo>
                    <a:lnTo>
                      <a:pt x="161" y="838"/>
                    </a:lnTo>
                    <a:lnTo>
                      <a:pt x="159" y="836"/>
                    </a:lnTo>
                    <a:lnTo>
                      <a:pt x="159" y="834"/>
                    </a:lnTo>
                    <a:lnTo>
                      <a:pt x="159" y="832"/>
                    </a:lnTo>
                    <a:lnTo>
                      <a:pt x="159" y="830"/>
                    </a:lnTo>
                    <a:lnTo>
                      <a:pt x="159" y="832"/>
                    </a:lnTo>
                    <a:lnTo>
                      <a:pt x="159" y="830"/>
                    </a:lnTo>
                    <a:lnTo>
                      <a:pt x="161" y="830"/>
                    </a:lnTo>
                    <a:lnTo>
                      <a:pt x="163" y="830"/>
                    </a:lnTo>
                    <a:lnTo>
                      <a:pt x="165" y="830"/>
                    </a:lnTo>
                    <a:lnTo>
                      <a:pt x="167" y="830"/>
                    </a:lnTo>
                    <a:lnTo>
                      <a:pt x="167" y="828"/>
                    </a:lnTo>
                    <a:lnTo>
                      <a:pt x="169" y="828"/>
                    </a:lnTo>
                    <a:lnTo>
                      <a:pt x="169" y="826"/>
                    </a:lnTo>
                    <a:lnTo>
                      <a:pt x="171" y="824"/>
                    </a:lnTo>
                    <a:lnTo>
                      <a:pt x="171" y="822"/>
                    </a:lnTo>
                    <a:lnTo>
                      <a:pt x="173" y="822"/>
                    </a:lnTo>
                    <a:lnTo>
                      <a:pt x="173" y="820"/>
                    </a:lnTo>
                    <a:lnTo>
                      <a:pt x="175" y="820"/>
                    </a:lnTo>
                    <a:lnTo>
                      <a:pt x="177" y="818"/>
                    </a:lnTo>
                    <a:lnTo>
                      <a:pt x="177" y="817"/>
                    </a:lnTo>
                    <a:lnTo>
                      <a:pt x="179" y="815"/>
                    </a:lnTo>
                    <a:lnTo>
                      <a:pt x="179" y="817"/>
                    </a:lnTo>
                    <a:lnTo>
                      <a:pt x="180" y="817"/>
                    </a:lnTo>
                    <a:lnTo>
                      <a:pt x="180" y="815"/>
                    </a:lnTo>
                    <a:lnTo>
                      <a:pt x="180" y="813"/>
                    </a:lnTo>
                    <a:lnTo>
                      <a:pt x="182" y="813"/>
                    </a:lnTo>
                    <a:lnTo>
                      <a:pt x="182" y="811"/>
                    </a:lnTo>
                    <a:lnTo>
                      <a:pt x="184" y="811"/>
                    </a:lnTo>
                    <a:lnTo>
                      <a:pt x="184" y="813"/>
                    </a:lnTo>
                    <a:lnTo>
                      <a:pt x="186" y="811"/>
                    </a:lnTo>
                    <a:lnTo>
                      <a:pt x="186" y="809"/>
                    </a:lnTo>
                    <a:lnTo>
                      <a:pt x="186" y="807"/>
                    </a:lnTo>
                    <a:lnTo>
                      <a:pt x="188" y="807"/>
                    </a:lnTo>
                    <a:lnTo>
                      <a:pt x="188" y="805"/>
                    </a:lnTo>
                    <a:lnTo>
                      <a:pt x="188" y="803"/>
                    </a:lnTo>
                    <a:lnTo>
                      <a:pt x="186" y="803"/>
                    </a:lnTo>
                    <a:lnTo>
                      <a:pt x="188" y="803"/>
                    </a:lnTo>
                    <a:lnTo>
                      <a:pt x="186" y="803"/>
                    </a:lnTo>
                    <a:lnTo>
                      <a:pt x="186" y="801"/>
                    </a:lnTo>
                    <a:lnTo>
                      <a:pt x="184" y="799"/>
                    </a:lnTo>
                    <a:lnTo>
                      <a:pt x="184" y="797"/>
                    </a:lnTo>
                    <a:lnTo>
                      <a:pt x="186" y="799"/>
                    </a:lnTo>
                    <a:lnTo>
                      <a:pt x="186" y="797"/>
                    </a:lnTo>
                    <a:lnTo>
                      <a:pt x="188" y="797"/>
                    </a:lnTo>
                    <a:lnTo>
                      <a:pt x="188" y="799"/>
                    </a:lnTo>
                    <a:lnTo>
                      <a:pt x="190" y="799"/>
                    </a:lnTo>
                    <a:lnTo>
                      <a:pt x="188" y="797"/>
                    </a:lnTo>
                    <a:lnTo>
                      <a:pt x="188" y="795"/>
                    </a:lnTo>
                    <a:lnTo>
                      <a:pt x="188" y="794"/>
                    </a:lnTo>
                    <a:lnTo>
                      <a:pt x="188" y="792"/>
                    </a:lnTo>
                    <a:lnTo>
                      <a:pt x="188" y="790"/>
                    </a:lnTo>
                    <a:lnTo>
                      <a:pt x="190" y="790"/>
                    </a:lnTo>
                    <a:lnTo>
                      <a:pt x="190" y="788"/>
                    </a:lnTo>
                    <a:lnTo>
                      <a:pt x="190" y="790"/>
                    </a:lnTo>
                    <a:lnTo>
                      <a:pt x="188" y="790"/>
                    </a:lnTo>
                    <a:lnTo>
                      <a:pt x="188" y="788"/>
                    </a:lnTo>
                    <a:lnTo>
                      <a:pt x="190" y="788"/>
                    </a:lnTo>
                    <a:lnTo>
                      <a:pt x="190" y="786"/>
                    </a:lnTo>
                    <a:lnTo>
                      <a:pt x="192" y="786"/>
                    </a:lnTo>
                    <a:lnTo>
                      <a:pt x="194" y="784"/>
                    </a:lnTo>
                    <a:lnTo>
                      <a:pt x="194" y="782"/>
                    </a:lnTo>
                    <a:lnTo>
                      <a:pt x="194" y="780"/>
                    </a:lnTo>
                    <a:lnTo>
                      <a:pt x="192" y="780"/>
                    </a:lnTo>
                    <a:lnTo>
                      <a:pt x="194" y="780"/>
                    </a:lnTo>
                    <a:lnTo>
                      <a:pt x="196" y="780"/>
                    </a:lnTo>
                    <a:lnTo>
                      <a:pt x="198" y="780"/>
                    </a:lnTo>
                    <a:lnTo>
                      <a:pt x="200" y="780"/>
                    </a:lnTo>
                    <a:lnTo>
                      <a:pt x="200" y="778"/>
                    </a:lnTo>
                    <a:lnTo>
                      <a:pt x="202" y="778"/>
                    </a:lnTo>
                    <a:lnTo>
                      <a:pt x="204" y="778"/>
                    </a:lnTo>
                    <a:lnTo>
                      <a:pt x="204" y="776"/>
                    </a:lnTo>
                    <a:lnTo>
                      <a:pt x="205" y="776"/>
                    </a:lnTo>
                    <a:lnTo>
                      <a:pt x="205" y="774"/>
                    </a:lnTo>
                    <a:lnTo>
                      <a:pt x="207" y="774"/>
                    </a:lnTo>
                    <a:lnTo>
                      <a:pt x="209" y="774"/>
                    </a:lnTo>
                    <a:lnTo>
                      <a:pt x="209" y="772"/>
                    </a:lnTo>
                    <a:lnTo>
                      <a:pt x="209" y="770"/>
                    </a:lnTo>
                    <a:lnTo>
                      <a:pt x="209" y="769"/>
                    </a:lnTo>
                    <a:lnTo>
                      <a:pt x="211" y="769"/>
                    </a:lnTo>
                    <a:lnTo>
                      <a:pt x="211" y="767"/>
                    </a:lnTo>
                    <a:lnTo>
                      <a:pt x="209" y="767"/>
                    </a:lnTo>
                    <a:lnTo>
                      <a:pt x="209" y="765"/>
                    </a:lnTo>
                    <a:lnTo>
                      <a:pt x="207" y="765"/>
                    </a:lnTo>
                    <a:lnTo>
                      <a:pt x="205" y="765"/>
                    </a:lnTo>
                    <a:lnTo>
                      <a:pt x="205" y="763"/>
                    </a:lnTo>
                    <a:lnTo>
                      <a:pt x="205" y="761"/>
                    </a:lnTo>
                    <a:lnTo>
                      <a:pt x="204" y="759"/>
                    </a:lnTo>
                    <a:lnTo>
                      <a:pt x="202" y="759"/>
                    </a:lnTo>
                    <a:lnTo>
                      <a:pt x="200" y="757"/>
                    </a:lnTo>
                    <a:lnTo>
                      <a:pt x="200" y="755"/>
                    </a:lnTo>
                    <a:lnTo>
                      <a:pt x="200" y="753"/>
                    </a:lnTo>
                    <a:lnTo>
                      <a:pt x="200" y="751"/>
                    </a:lnTo>
                    <a:lnTo>
                      <a:pt x="198" y="751"/>
                    </a:lnTo>
                    <a:lnTo>
                      <a:pt x="198" y="749"/>
                    </a:lnTo>
                    <a:lnTo>
                      <a:pt x="196" y="749"/>
                    </a:lnTo>
                    <a:lnTo>
                      <a:pt x="196" y="747"/>
                    </a:lnTo>
                    <a:lnTo>
                      <a:pt x="196" y="745"/>
                    </a:lnTo>
                    <a:lnTo>
                      <a:pt x="194" y="744"/>
                    </a:lnTo>
                    <a:lnTo>
                      <a:pt x="196" y="742"/>
                    </a:lnTo>
                    <a:lnTo>
                      <a:pt x="198" y="742"/>
                    </a:lnTo>
                    <a:lnTo>
                      <a:pt x="200" y="742"/>
                    </a:lnTo>
                    <a:lnTo>
                      <a:pt x="202" y="742"/>
                    </a:lnTo>
                    <a:lnTo>
                      <a:pt x="204" y="742"/>
                    </a:lnTo>
                    <a:lnTo>
                      <a:pt x="205" y="742"/>
                    </a:lnTo>
                    <a:lnTo>
                      <a:pt x="207" y="742"/>
                    </a:lnTo>
                    <a:lnTo>
                      <a:pt x="209" y="744"/>
                    </a:lnTo>
                    <a:lnTo>
                      <a:pt x="213" y="744"/>
                    </a:lnTo>
                    <a:lnTo>
                      <a:pt x="215" y="744"/>
                    </a:lnTo>
                    <a:lnTo>
                      <a:pt x="217" y="742"/>
                    </a:lnTo>
                    <a:lnTo>
                      <a:pt x="217" y="744"/>
                    </a:lnTo>
                    <a:lnTo>
                      <a:pt x="219" y="744"/>
                    </a:lnTo>
                    <a:lnTo>
                      <a:pt x="219" y="745"/>
                    </a:lnTo>
                    <a:lnTo>
                      <a:pt x="219" y="744"/>
                    </a:lnTo>
                    <a:lnTo>
                      <a:pt x="221" y="744"/>
                    </a:lnTo>
                    <a:lnTo>
                      <a:pt x="223" y="742"/>
                    </a:lnTo>
                    <a:lnTo>
                      <a:pt x="225" y="744"/>
                    </a:lnTo>
                    <a:lnTo>
                      <a:pt x="227" y="744"/>
                    </a:lnTo>
                    <a:lnTo>
                      <a:pt x="228" y="744"/>
                    </a:lnTo>
                    <a:lnTo>
                      <a:pt x="228" y="742"/>
                    </a:lnTo>
                    <a:lnTo>
                      <a:pt x="230" y="742"/>
                    </a:lnTo>
                    <a:lnTo>
                      <a:pt x="232" y="742"/>
                    </a:lnTo>
                    <a:lnTo>
                      <a:pt x="234" y="742"/>
                    </a:lnTo>
                    <a:lnTo>
                      <a:pt x="236" y="742"/>
                    </a:lnTo>
                    <a:lnTo>
                      <a:pt x="238" y="742"/>
                    </a:lnTo>
                    <a:lnTo>
                      <a:pt x="238" y="740"/>
                    </a:lnTo>
                    <a:lnTo>
                      <a:pt x="240" y="740"/>
                    </a:lnTo>
                    <a:lnTo>
                      <a:pt x="242" y="740"/>
                    </a:lnTo>
                    <a:lnTo>
                      <a:pt x="242" y="742"/>
                    </a:lnTo>
                    <a:lnTo>
                      <a:pt x="244" y="742"/>
                    </a:lnTo>
                    <a:lnTo>
                      <a:pt x="244" y="740"/>
                    </a:lnTo>
                    <a:lnTo>
                      <a:pt x="246" y="740"/>
                    </a:lnTo>
                    <a:lnTo>
                      <a:pt x="246" y="738"/>
                    </a:lnTo>
                    <a:lnTo>
                      <a:pt x="244" y="736"/>
                    </a:lnTo>
                    <a:lnTo>
                      <a:pt x="242" y="734"/>
                    </a:lnTo>
                    <a:lnTo>
                      <a:pt x="242" y="732"/>
                    </a:lnTo>
                    <a:lnTo>
                      <a:pt x="242" y="730"/>
                    </a:lnTo>
                    <a:lnTo>
                      <a:pt x="242" y="728"/>
                    </a:lnTo>
                    <a:lnTo>
                      <a:pt x="242" y="726"/>
                    </a:lnTo>
                    <a:lnTo>
                      <a:pt x="244" y="726"/>
                    </a:lnTo>
                    <a:lnTo>
                      <a:pt x="244" y="724"/>
                    </a:lnTo>
                    <a:lnTo>
                      <a:pt x="244" y="722"/>
                    </a:lnTo>
                    <a:lnTo>
                      <a:pt x="242" y="722"/>
                    </a:lnTo>
                    <a:lnTo>
                      <a:pt x="242" y="720"/>
                    </a:lnTo>
                    <a:lnTo>
                      <a:pt x="240" y="720"/>
                    </a:lnTo>
                    <a:lnTo>
                      <a:pt x="238" y="720"/>
                    </a:lnTo>
                    <a:lnTo>
                      <a:pt x="238" y="719"/>
                    </a:lnTo>
                    <a:lnTo>
                      <a:pt x="238" y="717"/>
                    </a:lnTo>
                    <a:lnTo>
                      <a:pt x="236" y="717"/>
                    </a:lnTo>
                    <a:lnTo>
                      <a:pt x="234" y="717"/>
                    </a:lnTo>
                    <a:lnTo>
                      <a:pt x="234" y="715"/>
                    </a:lnTo>
                    <a:lnTo>
                      <a:pt x="232" y="715"/>
                    </a:lnTo>
                    <a:lnTo>
                      <a:pt x="232" y="713"/>
                    </a:lnTo>
                    <a:lnTo>
                      <a:pt x="234" y="713"/>
                    </a:lnTo>
                    <a:lnTo>
                      <a:pt x="234" y="711"/>
                    </a:lnTo>
                    <a:lnTo>
                      <a:pt x="232" y="711"/>
                    </a:lnTo>
                    <a:lnTo>
                      <a:pt x="232" y="709"/>
                    </a:lnTo>
                    <a:lnTo>
                      <a:pt x="232" y="707"/>
                    </a:lnTo>
                    <a:lnTo>
                      <a:pt x="232" y="705"/>
                    </a:lnTo>
                    <a:lnTo>
                      <a:pt x="232" y="703"/>
                    </a:lnTo>
                    <a:lnTo>
                      <a:pt x="234" y="701"/>
                    </a:lnTo>
                    <a:lnTo>
                      <a:pt x="232" y="701"/>
                    </a:lnTo>
                    <a:lnTo>
                      <a:pt x="232" y="699"/>
                    </a:lnTo>
                    <a:lnTo>
                      <a:pt x="232" y="697"/>
                    </a:lnTo>
                    <a:lnTo>
                      <a:pt x="234" y="697"/>
                    </a:lnTo>
                    <a:lnTo>
                      <a:pt x="234" y="695"/>
                    </a:lnTo>
                    <a:lnTo>
                      <a:pt x="236" y="694"/>
                    </a:lnTo>
                    <a:lnTo>
                      <a:pt x="234" y="694"/>
                    </a:lnTo>
                    <a:lnTo>
                      <a:pt x="234" y="692"/>
                    </a:lnTo>
                    <a:lnTo>
                      <a:pt x="232" y="692"/>
                    </a:lnTo>
                    <a:lnTo>
                      <a:pt x="232" y="690"/>
                    </a:lnTo>
                    <a:lnTo>
                      <a:pt x="232" y="688"/>
                    </a:lnTo>
                    <a:lnTo>
                      <a:pt x="232" y="686"/>
                    </a:lnTo>
                    <a:lnTo>
                      <a:pt x="232" y="684"/>
                    </a:lnTo>
                    <a:lnTo>
                      <a:pt x="230" y="684"/>
                    </a:lnTo>
                    <a:lnTo>
                      <a:pt x="228" y="682"/>
                    </a:lnTo>
                    <a:lnTo>
                      <a:pt x="230" y="680"/>
                    </a:lnTo>
                    <a:lnTo>
                      <a:pt x="228" y="680"/>
                    </a:lnTo>
                    <a:lnTo>
                      <a:pt x="227" y="680"/>
                    </a:lnTo>
                    <a:lnTo>
                      <a:pt x="227" y="678"/>
                    </a:lnTo>
                    <a:lnTo>
                      <a:pt x="225" y="678"/>
                    </a:lnTo>
                    <a:lnTo>
                      <a:pt x="225" y="676"/>
                    </a:lnTo>
                    <a:lnTo>
                      <a:pt x="227" y="676"/>
                    </a:lnTo>
                    <a:lnTo>
                      <a:pt x="228" y="676"/>
                    </a:lnTo>
                    <a:lnTo>
                      <a:pt x="228" y="674"/>
                    </a:lnTo>
                    <a:lnTo>
                      <a:pt x="227" y="672"/>
                    </a:lnTo>
                    <a:lnTo>
                      <a:pt x="225" y="672"/>
                    </a:lnTo>
                    <a:lnTo>
                      <a:pt x="223" y="672"/>
                    </a:lnTo>
                    <a:lnTo>
                      <a:pt x="223" y="670"/>
                    </a:lnTo>
                    <a:lnTo>
                      <a:pt x="221" y="670"/>
                    </a:lnTo>
                    <a:lnTo>
                      <a:pt x="219" y="670"/>
                    </a:lnTo>
                    <a:lnTo>
                      <a:pt x="219" y="669"/>
                    </a:lnTo>
                    <a:lnTo>
                      <a:pt x="217" y="669"/>
                    </a:lnTo>
                    <a:lnTo>
                      <a:pt x="215" y="669"/>
                    </a:lnTo>
                    <a:lnTo>
                      <a:pt x="215" y="667"/>
                    </a:lnTo>
                    <a:lnTo>
                      <a:pt x="213" y="667"/>
                    </a:lnTo>
                    <a:lnTo>
                      <a:pt x="211" y="665"/>
                    </a:lnTo>
                    <a:lnTo>
                      <a:pt x="211" y="667"/>
                    </a:lnTo>
                    <a:lnTo>
                      <a:pt x="209" y="667"/>
                    </a:lnTo>
                    <a:lnTo>
                      <a:pt x="209" y="669"/>
                    </a:lnTo>
                    <a:lnTo>
                      <a:pt x="209" y="670"/>
                    </a:lnTo>
                    <a:lnTo>
                      <a:pt x="207" y="670"/>
                    </a:lnTo>
                    <a:lnTo>
                      <a:pt x="207" y="672"/>
                    </a:lnTo>
                    <a:lnTo>
                      <a:pt x="205" y="672"/>
                    </a:lnTo>
                    <a:lnTo>
                      <a:pt x="205" y="674"/>
                    </a:lnTo>
                    <a:lnTo>
                      <a:pt x="204" y="674"/>
                    </a:lnTo>
                    <a:lnTo>
                      <a:pt x="204" y="676"/>
                    </a:lnTo>
                    <a:lnTo>
                      <a:pt x="204" y="678"/>
                    </a:lnTo>
                    <a:lnTo>
                      <a:pt x="204" y="680"/>
                    </a:lnTo>
                    <a:lnTo>
                      <a:pt x="202" y="680"/>
                    </a:lnTo>
                    <a:lnTo>
                      <a:pt x="202" y="682"/>
                    </a:lnTo>
                    <a:lnTo>
                      <a:pt x="200" y="682"/>
                    </a:lnTo>
                    <a:lnTo>
                      <a:pt x="200" y="684"/>
                    </a:lnTo>
                    <a:lnTo>
                      <a:pt x="198" y="684"/>
                    </a:lnTo>
                    <a:lnTo>
                      <a:pt x="196" y="684"/>
                    </a:lnTo>
                    <a:lnTo>
                      <a:pt x="194" y="684"/>
                    </a:lnTo>
                    <a:lnTo>
                      <a:pt x="192" y="684"/>
                    </a:lnTo>
                    <a:lnTo>
                      <a:pt x="192" y="686"/>
                    </a:lnTo>
                    <a:lnTo>
                      <a:pt x="190" y="686"/>
                    </a:lnTo>
                    <a:lnTo>
                      <a:pt x="190" y="684"/>
                    </a:lnTo>
                    <a:lnTo>
                      <a:pt x="190" y="686"/>
                    </a:lnTo>
                    <a:lnTo>
                      <a:pt x="188" y="686"/>
                    </a:lnTo>
                    <a:lnTo>
                      <a:pt x="184" y="682"/>
                    </a:lnTo>
                    <a:lnTo>
                      <a:pt x="182" y="682"/>
                    </a:lnTo>
                    <a:lnTo>
                      <a:pt x="182" y="684"/>
                    </a:lnTo>
                    <a:lnTo>
                      <a:pt x="180" y="686"/>
                    </a:lnTo>
                    <a:lnTo>
                      <a:pt x="180" y="688"/>
                    </a:lnTo>
                    <a:lnTo>
                      <a:pt x="179" y="688"/>
                    </a:lnTo>
                    <a:lnTo>
                      <a:pt x="179" y="690"/>
                    </a:lnTo>
                    <a:lnTo>
                      <a:pt x="177" y="690"/>
                    </a:lnTo>
                    <a:lnTo>
                      <a:pt x="175" y="692"/>
                    </a:lnTo>
                    <a:lnTo>
                      <a:pt x="175" y="694"/>
                    </a:lnTo>
                    <a:lnTo>
                      <a:pt x="175" y="695"/>
                    </a:lnTo>
                    <a:lnTo>
                      <a:pt x="173" y="697"/>
                    </a:lnTo>
                    <a:lnTo>
                      <a:pt x="173" y="699"/>
                    </a:lnTo>
                    <a:lnTo>
                      <a:pt x="173" y="701"/>
                    </a:lnTo>
                    <a:lnTo>
                      <a:pt x="175" y="703"/>
                    </a:lnTo>
                    <a:lnTo>
                      <a:pt x="175" y="705"/>
                    </a:lnTo>
                    <a:lnTo>
                      <a:pt x="173" y="705"/>
                    </a:lnTo>
                    <a:lnTo>
                      <a:pt x="171" y="705"/>
                    </a:lnTo>
                    <a:lnTo>
                      <a:pt x="171" y="707"/>
                    </a:lnTo>
                    <a:lnTo>
                      <a:pt x="169" y="707"/>
                    </a:lnTo>
                    <a:lnTo>
                      <a:pt x="167" y="707"/>
                    </a:lnTo>
                    <a:lnTo>
                      <a:pt x="167" y="709"/>
                    </a:lnTo>
                    <a:lnTo>
                      <a:pt x="167" y="711"/>
                    </a:lnTo>
                    <a:lnTo>
                      <a:pt x="169" y="711"/>
                    </a:lnTo>
                    <a:lnTo>
                      <a:pt x="167" y="713"/>
                    </a:lnTo>
                    <a:lnTo>
                      <a:pt x="165" y="713"/>
                    </a:lnTo>
                    <a:lnTo>
                      <a:pt x="163" y="713"/>
                    </a:lnTo>
                    <a:lnTo>
                      <a:pt x="163" y="715"/>
                    </a:lnTo>
                    <a:lnTo>
                      <a:pt x="161" y="715"/>
                    </a:lnTo>
                    <a:lnTo>
                      <a:pt x="159" y="715"/>
                    </a:lnTo>
                    <a:lnTo>
                      <a:pt x="159" y="717"/>
                    </a:lnTo>
                    <a:lnTo>
                      <a:pt x="157" y="717"/>
                    </a:lnTo>
                    <a:lnTo>
                      <a:pt x="155" y="717"/>
                    </a:lnTo>
                    <a:lnTo>
                      <a:pt x="155" y="719"/>
                    </a:lnTo>
                    <a:lnTo>
                      <a:pt x="154" y="719"/>
                    </a:lnTo>
                    <a:lnTo>
                      <a:pt x="152" y="719"/>
                    </a:lnTo>
                    <a:lnTo>
                      <a:pt x="150" y="719"/>
                    </a:lnTo>
                    <a:lnTo>
                      <a:pt x="148" y="719"/>
                    </a:lnTo>
                    <a:lnTo>
                      <a:pt x="148" y="720"/>
                    </a:lnTo>
                    <a:lnTo>
                      <a:pt x="146" y="720"/>
                    </a:lnTo>
                    <a:lnTo>
                      <a:pt x="146" y="722"/>
                    </a:lnTo>
                    <a:lnTo>
                      <a:pt x="144" y="722"/>
                    </a:lnTo>
                    <a:lnTo>
                      <a:pt x="142" y="722"/>
                    </a:lnTo>
                    <a:lnTo>
                      <a:pt x="142" y="724"/>
                    </a:lnTo>
                    <a:lnTo>
                      <a:pt x="142" y="726"/>
                    </a:lnTo>
                    <a:lnTo>
                      <a:pt x="142" y="728"/>
                    </a:lnTo>
                    <a:lnTo>
                      <a:pt x="142" y="730"/>
                    </a:lnTo>
                    <a:lnTo>
                      <a:pt x="140" y="730"/>
                    </a:lnTo>
                    <a:lnTo>
                      <a:pt x="140" y="728"/>
                    </a:lnTo>
                    <a:lnTo>
                      <a:pt x="140" y="730"/>
                    </a:lnTo>
                    <a:lnTo>
                      <a:pt x="138" y="730"/>
                    </a:lnTo>
                    <a:lnTo>
                      <a:pt x="136" y="730"/>
                    </a:lnTo>
                    <a:lnTo>
                      <a:pt x="136" y="728"/>
                    </a:lnTo>
                    <a:lnTo>
                      <a:pt x="134" y="728"/>
                    </a:lnTo>
                    <a:lnTo>
                      <a:pt x="134" y="726"/>
                    </a:lnTo>
                    <a:lnTo>
                      <a:pt x="132" y="724"/>
                    </a:lnTo>
                    <a:lnTo>
                      <a:pt x="132" y="726"/>
                    </a:lnTo>
                    <a:lnTo>
                      <a:pt x="130" y="726"/>
                    </a:lnTo>
                    <a:lnTo>
                      <a:pt x="130" y="728"/>
                    </a:lnTo>
                    <a:lnTo>
                      <a:pt x="127" y="730"/>
                    </a:lnTo>
                    <a:lnTo>
                      <a:pt x="125" y="730"/>
                    </a:lnTo>
                    <a:lnTo>
                      <a:pt x="125" y="732"/>
                    </a:lnTo>
                    <a:lnTo>
                      <a:pt x="123" y="732"/>
                    </a:lnTo>
                    <a:lnTo>
                      <a:pt x="121" y="732"/>
                    </a:lnTo>
                    <a:lnTo>
                      <a:pt x="121" y="730"/>
                    </a:lnTo>
                    <a:lnTo>
                      <a:pt x="123" y="728"/>
                    </a:lnTo>
                    <a:lnTo>
                      <a:pt x="123" y="726"/>
                    </a:lnTo>
                    <a:lnTo>
                      <a:pt x="123" y="724"/>
                    </a:lnTo>
                    <a:lnTo>
                      <a:pt x="121" y="722"/>
                    </a:lnTo>
                    <a:lnTo>
                      <a:pt x="121" y="720"/>
                    </a:lnTo>
                    <a:lnTo>
                      <a:pt x="119" y="720"/>
                    </a:lnTo>
                    <a:lnTo>
                      <a:pt x="119" y="719"/>
                    </a:lnTo>
                    <a:lnTo>
                      <a:pt x="119" y="717"/>
                    </a:lnTo>
                    <a:lnTo>
                      <a:pt x="117" y="717"/>
                    </a:lnTo>
                    <a:lnTo>
                      <a:pt x="117" y="715"/>
                    </a:lnTo>
                    <a:lnTo>
                      <a:pt x="115" y="713"/>
                    </a:lnTo>
                    <a:lnTo>
                      <a:pt x="115" y="711"/>
                    </a:lnTo>
                    <a:lnTo>
                      <a:pt x="115" y="709"/>
                    </a:lnTo>
                    <a:lnTo>
                      <a:pt x="113" y="709"/>
                    </a:lnTo>
                    <a:lnTo>
                      <a:pt x="113" y="707"/>
                    </a:lnTo>
                    <a:lnTo>
                      <a:pt x="111" y="705"/>
                    </a:lnTo>
                    <a:lnTo>
                      <a:pt x="111" y="703"/>
                    </a:lnTo>
                    <a:lnTo>
                      <a:pt x="109" y="703"/>
                    </a:lnTo>
                    <a:lnTo>
                      <a:pt x="109" y="701"/>
                    </a:lnTo>
                    <a:lnTo>
                      <a:pt x="109" y="699"/>
                    </a:lnTo>
                    <a:lnTo>
                      <a:pt x="107" y="697"/>
                    </a:lnTo>
                    <a:lnTo>
                      <a:pt x="106" y="697"/>
                    </a:lnTo>
                    <a:lnTo>
                      <a:pt x="104" y="697"/>
                    </a:lnTo>
                    <a:lnTo>
                      <a:pt x="102" y="697"/>
                    </a:lnTo>
                    <a:lnTo>
                      <a:pt x="100" y="697"/>
                    </a:lnTo>
                    <a:lnTo>
                      <a:pt x="98" y="697"/>
                    </a:lnTo>
                    <a:lnTo>
                      <a:pt x="96" y="697"/>
                    </a:lnTo>
                    <a:lnTo>
                      <a:pt x="94" y="697"/>
                    </a:lnTo>
                    <a:lnTo>
                      <a:pt x="94" y="699"/>
                    </a:lnTo>
                    <a:lnTo>
                      <a:pt x="92" y="699"/>
                    </a:lnTo>
                    <a:lnTo>
                      <a:pt x="92" y="701"/>
                    </a:lnTo>
                    <a:lnTo>
                      <a:pt x="90" y="703"/>
                    </a:lnTo>
                    <a:lnTo>
                      <a:pt x="88" y="701"/>
                    </a:lnTo>
                    <a:lnTo>
                      <a:pt x="88" y="699"/>
                    </a:lnTo>
                    <a:lnTo>
                      <a:pt x="86" y="699"/>
                    </a:lnTo>
                    <a:lnTo>
                      <a:pt x="84" y="699"/>
                    </a:lnTo>
                    <a:lnTo>
                      <a:pt x="84" y="701"/>
                    </a:lnTo>
                    <a:lnTo>
                      <a:pt x="82" y="699"/>
                    </a:lnTo>
                    <a:lnTo>
                      <a:pt x="81" y="699"/>
                    </a:lnTo>
                    <a:lnTo>
                      <a:pt x="81" y="697"/>
                    </a:lnTo>
                    <a:lnTo>
                      <a:pt x="79" y="699"/>
                    </a:lnTo>
                    <a:lnTo>
                      <a:pt x="75" y="699"/>
                    </a:lnTo>
                    <a:lnTo>
                      <a:pt x="75" y="701"/>
                    </a:lnTo>
                    <a:lnTo>
                      <a:pt x="73" y="701"/>
                    </a:lnTo>
                    <a:lnTo>
                      <a:pt x="71" y="699"/>
                    </a:lnTo>
                    <a:lnTo>
                      <a:pt x="71" y="697"/>
                    </a:lnTo>
                    <a:lnTo>
                      <a:pt x="71" y="695"/>
                    </a:lnTo>
                    <a:lnTo>
                      <a:pt x="71" y="694"/>
                    </a:lnTo>
                    <a:lnTo>
                      <a:pt x="71" y="692"/>
                    </a:lnTo>
                    <a:lnTo>
                      <a:pt x="71" y="690"/>
                    </a:lnTo>
                    <a:lnTo>
                      <a:pt x="69" y="688"/>
                    </a:lnTo>
                    <a:lnTo>
                      <a:pt x="69" y="686"/>
                    </a:lnTo>
                    <a:lnTo>
                      <a:pt x="69" y="684"/>
                    </a:lnTo>
                    <a:lnTo>
                      <a:pt x="71" y="682"/>
                    </a:lnTo>
                    <a:lnTo>
                      <a:pt x="71" y="680"/>
                    </a:lnTo>
                    <a:lnTo>
                      <a:pt x="73" y="680"/>
                    </a:lnTo>
                    <a:lnTo>
                      <a:pt x="71" y="680"/>
                    </a:lnTo>
                    <a:lnTo>
                      <a:pt x="71" y="678"/>
                    </a:lnTo>
                    <a:lnTo>
                      <a:pt x="73" y="678"/>
                    </a:lnTo>
                    <a:lnTo>
                      <a:pt x="73" y="676"/>
                    </a:lnTo>
                    <a:lnTo>
                      <a:pt x="71" y="676"/>
                    </a:lnTo>
                    <a:lnTo>
                      <a:pt x="71" y="674"/>
                    </a:lnTo>
                    <a:lnTo>
                      <a:pt x="73" y="674"/>
                    </a:lnTo>
                    <a:lnTo>
                      <a:pt x="73" y="672"/>
                    </a:lnTo>
                    <a:lnTo>
                      <a:pt x="73" y="670"/>
                    </a:lnTo>
                    <a:lnTo>
                      <a:pt x="75" y="670"/>
                    </a:lnTo>
                    <a:lnTo>
                      <a:pt x="77" y="669"/>
                    </a:lnTo>
                    <a:lnTo>
                      <a:pt x="77" y="667"/>
                    </a:lnTo>
                    <a:lnTo>
                      <a:pt x="79" y="667"/>
                    </a:lnTo>
                    <a:lnTo>
                      <a:pt x="81" y="667"/>
                    </a:lnTo>
                    <a:lnTo>
                      <a:pt x="81" y="669"/>
                    </a:lnTo>
                    <a:lnTo>
                      <a:pt x="82" y="669"/>
                    </a:lnTo>
                    <a:lnTo>
                      <a:pt x="82" y="667"/>
                    </a:lnTo>
                    <a:lnTo>
                      <a:pt x="84" y="667"/>
                    </a:lnTo>
                    <a:lnTo>
                      <a:pt x="84" y="665"/>
                    </a:lnTo>
                    <a:lnTo>
                      <a:pt x="82" y="663"/>
                    </a:lnTo>
                    <a:lnTo>
                      <a:pt x="84" y="663"/>
                    </a:lnTo>
                    <a:lnTo>
                      <a:pt x="84" y="661"/>
                    </a:lnTo>
                    <a:lnTo>
                      <a:pt x="82" y="655"/>
                    </a:lnTo>
                    <a:lnTo>
                      <a:pt x="82" y="649"/>
                    </a:lnTo>
                    <a:lnTo>
                      <a:pt x="81" y="647"/>
                    </a:lnTo>
                    <a:lnTo>
                      <a:pt x="79" y="645"/>
                    </a:lnTo>
                    <a:lnTo>
                      <a:pt x="79" y="644"/>
                    </a:lnTo>
                    <a:lnTo>
                      <a:pt x="79" y="642"/>
                    </a:lnTo>
                    <a:lnTo>
                      <a:pt x="81" y="642"/>
                    </a:lnTo>
                    <a:lnTo>
                      <a:pt x="81" y="640"/>
                    </a:lnTo>
                    <a:lnTo>
                      <a:pt x="81" y="638"/>
                    </a:lnTo>
                    <a:lnTo>
                      <a:pt x="82" y="638"/>
                    </a:lnTo>
                    <a:lnTo>
                      <a:pt x="82" y="636"/>
                    </a:lnTo>
                    <a:lnTo>
                      <a:pt x="84" y="636"/>
                    </a:lnTo>
                    <a:lnTo>
                      <a:pt x="84" y="634"/>
                    </a:lnTo>
                    <a:lnTo>
                      <a:pt x="88" y="632"/>
                    </a:lnTo>
                    <a:lnTo>
                      <a:pt x="86" y="632"/>
                    </a:lnTo>
                    <a:lnTo>
                      <a:pt x="86" y="630"/>
                    </a:lnTo>
                    <a:lnTo>
                      <a:pt x="88" y="630"/>
                    </a:lnTo>
                    <a:lnTo>
                      <a:pt x="88" y="628"/>
                    </a:lnTo>
                    <a:lnTo>
                      <a:pt x="88" y="630"/>
                    </a:lnTo>
                    <a:lnTo>
                      <a:pt x="90" y="630"/>
                    </a:lnTo>
                    <a:lnTo>
                      <a:pt x="90" y="628"/>
                    </a:lnTo>
                    <a:lnTo>
                      <a:pt x="90" y="626"/>
                    </a:lnTo>
                    <a:lnTo>
                      <a:pt x="92" y="626"/>
                    </a:lnTo>
                    <a:lnTo>
                      <a:pt x="92" y="624"/>
                    </a:lnTo>
                    <a:lnTo>
                      <a:pt x="92" y="622"/>
                    </a:lnTo>
                    <a:lnTo>
                      <a:pt x="92" y="620"/>
                    </a:lnTo>
                    <a:lnTo>
                      <a:pt x="94" y="620"/>
                    </a:lnTo>
                    <a:lnTo>
                      <a:pt x="94" y="619"/>
                    </a:lnTo>
                    <a:lnTo>
                      <a:pt x="96" y="619"/>
                    </a:lnTo>
                    <a:lnTo>
                      <a:pt x="98" y="615"/>
                    </a:lnTo>
                    <a:lnTo>
                      <a:pt x="96" y="613"/>
                    </a:lnTo>
                    <a:lnTo>
                      <a:pt x="94" y="613"/>
                    </a:lnTo>
                    <a:lnTo>
                      <a:pt x="94" y="611"/>
                    </a:lnTo>
                    <a:lnTo>
                      <a:pt x="94" y="609"/>
                    </a:lnTo>
                    <a:lnTo>
                      <a:pt x="96" y="609"/>
                    </a:lnTo>
                    <a:lnTo>
                      <a:pt x="96" y="607"/>
                    </a:lnTo>
                    <a:lnTo>
                      <a:pt x="96" y="605"/>
                    </a:lnTo>
                    <a:lnTo>
                      <a:pt x="98" y="605"/>
                    </a:lnTo>
                    <a:lnTo>
                      <a:pt x="100" y="605"/>
                    </a:lnTo>
                    <a:lnTo>
                      <a:pt x="100" y="603"/>
                    </a:lnTo>
                    <a:lnTo>
                      <a:pt x="102" y="603"/>
                    </a:lnTo>
                    <a:lnTo>
                      <a:pt x="104" y="603"/>
                    </a:lnTo>
                    <a:lnTo>
                      <a:pt x="104" y="601"/>
                    </a:lnTo>
                    <a:lnTo>
                      <a:pt x="106" y="601"/>
                    </a:lnTo>
                    <a:lnTo>
                      <a:pt x="106" y="599"/>
                    </a:lnTo>
                    <a:lnTo>
                      <a:pt x="106" y="597"/>
                    </a:lnTo>
                    <a:lnTo>
                      <a:pt x="104" y="597"/>
                    </a:lnTo>
                    <a:lnTo>
                      <a:pt x="104" y="595"/>
                    </a:lnTo>
                    <a:lnTo>
                      <a:pt x="104" y="597"/>
                    </a:lnTo>
                    <a:lnTo>
                      <a:pt x="104" y="595"/>
                    </a:lnTo>
                    <a:lnTo>
                      <a:pt x="102" y="595"/>
                    </a:lnTo>
                    <a:lnTo>
                      <a:pt x="102" y="594"/>
                    </a:lnTo>
                    <a:lnTo>
                      <a:pt x="102" y="595"/>
                    </a:lnTo>
                    <a:lnTo>
                      <a:pt x="102" y="594"/>
                    </a:lnTo>
                    <a:lnTo>
                      <a:pt x="100" y="594"/>
                    </a:lnTo>
                    <a:lnTo>
                      <a:pt x="102" y="594"/>
                    </a:lnTo>
                    <a:lnTo>
                      <a:pt x="102" y="592"/>
                    </a:lnTo>
                    <a:lnTo>
                      <a:pt x="100" y="592"/>
                    </a:lnTo>
                    <a:lnTo>
                      <a:pt x="100" y="590"/>
                    </a:lnTo>
                    <a:lnTo>
                      <a:pt x="102" y="590"/>
                    </a:lnTo>
                    <a:lnTo>
                      <a:pt x="104" y="590"/>
                    </a:lnTo>
                    <a:lnTo>
                      <a:pt x="106" y="590"/>
                    </a:lnTo>
                    <a:lnTo>
                      <a:pt x="106" y="588"/>
                    </a:lnTo>
                    <a:lnTo>
                      <a:pt x="107" y="588"/>
                    </a:lnTo>
                    <a:lnTo>
                      <a:pt x="107" y="586"/>
                    </a:lnTo>
                    <a:lnTo>
                      <a:pt x="109" y="584"/>
                    </a:lnTo>
                    <a:lnTo>
                      <a:pt x="109" y="582"/>
                    </a:lnTo>
                    <a:lnTo>
                      <a:pt x="107" y="582"/>
                    </a:lnTo>
                    <a:lnTo>
                      <a:pt x="107" y="580"/>
                    </a:lnTo>
                    <a:lnTo>
                      <a:pt x="107" y="578"/>
                    </a:lnTo>
                    <a:lnTo>
                      <a:pt x="107" y="580"/>
                    </a:lnTo>
                    <a:lnTo>
                      <a:pt x="109" y="580"/>
                    </a:lnTo>
                    <a:lnTo>
                      <a:pt x="109" y="578"/>
                    </a:lnTo>
                    <a:lnTo>
                      <a:pt x="111" y="576"/>
                    </a:lnTo>
                    <a:lnTo>
                      <a:pt x="113" y="574"/>
                    </a:lnTo>
                    <a:lnTo>
                      <a:pt x="115" y="574"/>
                    </a:lnTo>
                    <a:lnTo>
                      <a:pt x="115" y="572"/>
                    </a:lnTo>
                    <a:lnTo>
                      <a:pt x="113" y="572"/>
                    </a:lnTo>
                    <a:lnTo>
                      <a:pt x="111" y="572"/>
                    </a:lnTo>
                    <a:lnTo>
                      <a:pt x="109" y="572"/>
                    </a:lnTo>
                    <a:lnTo>
                      <a:pt x="107" y="572"/>
                    </a:lnTo>
                    <a:lnTo>
                      <a:pt x="106" y="570"/>
                    </a:lnTo>
                    <a:lnTo>
                      <a:pt x="104" y="570"/>
                    </a:lnTo>
                    <a:lnTo>
                      <a:pt x="102" y="569"/>
                    </a:lnTo>
                    <a:lnTo>
                      <a:pt x="102" y="567"/>
                    </a:lnTo>
                    <a:lnTo>
                      <a:pt x="102" y="565"/>
                    </a:lnTo>
                    <a:lnTo>
                      <a:pt x="100" y="565"/>
                    </a:lnTo>
                    <a:lnTo>
                      <a:pt x="100" y="563"/>
                    </a:lnTo>
                    <a:lnTo>
                      <a:pt x="98" y="563"/>
                    </a:lnTo>
                    <a:lnTo>
                      <a:pt x="98" y="561"/>
                    </a:lnTo>
                    <a:lnTo>
                      <a:pt x="96" y="561"/>
                    </a:lnTo>
                    <a:lnTo>
                      <a:pt x="94" y="561"/>
                    </a:lnTo>
                    <a:lnTo>
                      <a:pt x="94" y="559"/>
                    </a:lnTo>
                    <a:lnTo>
                      <a:pt x="92" y="559"/>
                    </a:lnTo>
                    <a:lnTo>
                      <a:pt x="90" y="559"/>
                    </a:lnTo>
                    <a:lnTo>
                      <a:pt x="88" y="559"/>
                    </a:lnTo>
                    <a:lnTo>
                      <a:pt x="86" y="561"/>
                    </a:lnTo>
                    <a:lnTo>
                      <a:pt x="84" y="561"/>
                    </a:lnTo>
                    <a:lnTo>
                      <a:pt x="84" y="563"/>
                    </a:lnTo>
                    <a:lnTo>
                      <a:pt x="82" y="563"/>
                    </a:lnTo>
                    <a:lnTo>
                      <a:pt x="82" y="565"/>
                    </a:lnTo>
                    <a:lnTo>
                      <a:pt x="81" y="565"/>
                    </a:lnTo>
                    <a:lnTo>
                      <a:pt x="79" y="567"/>
                    </a:lnTo>
                    <a:lnTo>
                      <a:pt x="77" y="567"/>
                    </a:lnTo>
                    <a:lnTo>
                      <a:pt x="77" y="569"/>
                    </a:lnTo>
                    <a:lnTo>
                      <a:pt x="77" y="570"/>
                    </a:lnTo>
                    <a:lnTo>
                      <a:pt x="75" y="570"/>
                    </a:lnTo>
                    <a:lnTo>
                      <a:pt x="73" y="572"/>
                    </a:lnTo>
                    <a:lnTo>
                      <a:pt x="73" y="570"/>
                    </a:lnTo>
                    <a:lnTo>
                      <a:pt x="71" y="570"/>
                    </a:lnTo>
                    <a:lnTo>
                      <a:pt x="69" y="570"/>
                    </a:lnTo>
                    <a:lnTo>
                      <a:pt x="67" y="570"/>
                    </a:lnTo>
                    <a:lnTo>
                      <a:pt x="65" y="570"/>
                    </a:lnTo>
                    <a:lnTo>
                      <a:pt x="65" y="572"/>
                    </a:lnTo>
                    <a:lnTo>
                      <a:pt x="65" y="574"/>
                    </a:lnTo>
                    <a:lnTo>
                      <a:pt x="63" y="572"/>
                    </a:lnTo>
                    <a:lnTo>
                      <a:pt x="61" y="572"/>
                    </a:lnTo>
                    <a:lnTo>
                      <a:pt x="61" y="574"/>
                    </a:lnTo>
                    <a:lnTo>
                      <a:pt x="61" y="576"/>
                    </a:lnTo>
                    <a:lnTo>
                      <a:pt x="59" y="576"/>
                    </a:lnTo>
                    <a:lnTo>
                      <a:pt x="59" y="578"/>
                    </a:lnTo>
                    <a:lnTo>
                      <a:pt x="57" y="578"/>
                    </a:lnTo>
                    <a:lnTo>
                      <a:pt x="54" y="576"/>
                    </a:lnTo>
                    <a:lnTo>
                      <a:pt x="54" y="578"/>
                    </a:lnTo>
                    <a:lnTo>
                      <a:pt x="54" y="580"/>
                    </a:lnTo>
                    <a:lnTo>
                      <a:pt x="52" y="580"/>
                    </a:lnTo>
                    <a:lnTo>
                      <a:pt x="50" y="580"/>
                    </a:lnTo>
                    <a:lnTo>
                      <a:pt x="48" y="580"/>
                    </a:lnTo>
                    <a:lnTo>
                      <a:pt x="48" y="578"/>
                    </a:lnTo>
                    <a:lnTo>
                      <a:pt x="46" y="578"/>
                    </a:lnTo>
                    <a:lnTo>
                      <a:pt x="44" y="576"/>
                    </a:lnTo>
                    <a:lnTo>
                      <a:pt x="44" y="574"/>
                    </a:lnTo>
                    <a:lnTo>
                      <a:pt x="44" y="572"/>
                    </a:lnTo>
                    <a:lnTo>
                      <a:pt x="42" y="572"/>
                    </a:lnTo>
                    <a:lnTo>
                      <a:pt x="40" y="570"/>
                    </a:lnTo>
                    <a:lnTo>
                      <a:pt x="38" y="569"/>
                    </a:lnTo>
                    <a:lnTo>
                      <a:pt x="38" y="567"/>
                    </a:lnTo>
                    <a:lnTo>
                      <a:pt x="40" y="565"/>
                    </a:lnTo>
                    <a:lnTo>
                      <a:pt x="40" y="563"/>
                    </a:lnTo>
                    <a:lnTo>
                      <a:pt x="38" y="563"/>
                    </a:lnTo>
                    <a:lnTo>
                      <a:pt x="38" y="561"/>
                    </a:lnTo>
                    <a:lnTo>
                      <a:pt x="36" y="561"/>
                    </a:lnTo>
                    <a:lnTo>
                      <a:pt x="36" y="559"/>
                    </a:lnTo>
                    <a:lnTo>
                      <a:pt x="36" y="557"/>
                    </a:lnTo>
                    <a:lnTo>
                      <a:pt x="36" y="555"/>
                    </a:lnTo>
                    <a:lnTo>
                      <a:pt x="36" y="553"/>
                    </a:lnTo>
                    <a:lnTo>
                      <a:pt x="36" y="551"/>
                    </a:lnTo>
                    <a:lnTo>
                      <a:pt x="34" y="551"/>
                    </a:lnTo>
                    <a:lnTo>
                      <a:pt x="34" y="549"/>
                    </a:lnTo>
                    <a:lnTo>
                      <a:pt x="34" y="547"/>
                    </a:lnTo>
                    <a:lnTo>
                      <a:pt x="36" y="547"/>
                    </a:lnTo>
                    <a:lnTo>
                      <a:pt x="36" y="546"/>
                    </a:lnTo>
                    <a:lnTo>
                      <a:pt x="36" y="544"/>
                    </a:lnTo>
                    <a:lnTo>
                      <a:pt x="36" y="542"/>
                    </a:lnTo>
                    <a:lnTo>
                      <a:pt x="36" y="540"/>
                    </a:lnTo>
                    <a:lnTo>
                      <a:pt x="36" y="538"/>
                    </a:lnTo>
                    <a:lnTo>
                      <a:pt x="36" y="536"/>
                    </a:lnTo>
                    <a:lnTo>
                      <a:pt x="34" y="538"/>
                    </a:lnTo>
                    <a:lnTo>
                      <a:pt x="34" y="536"/>
                    </a:lnTo>
                    <a:lnTo>
                      <a:pt x="34" y="534"/>
                    </a:lnTo>
                    <a:lnTo>
                      <a:pt x="33" y="534"/>
                    </a:lnTo>
                    <a:lnTo>
                      <a:pt x="33" y="532"/>
                    </a:lnTo>
                    <a:lnTo>
                      <a:pt x="33" y="530"/>
                    </a:lnTo>
                    <a:lnTo>
                      <a:pt x="34" y="530"/>
                    </a:lnTo>
                    <a:lnTo>
                      <a:pt x="33" y="530"/>
                    </a:lnTo>
                    <a:lnTo>
                      <a:pt x="34" y="530"/>
                    </a:lnTo>
                    <a:lnTo>
                      <a:pt x="33" y="528"/>
                    </a:lnTo>
                    <a:lnTo>
                      <a:pt x="34" y="528"/>
                    </a:lnTo>
                    <a:lnTo>
                      <a:pt x="33" y="528"/>
                    </a:lnTo>
                    <a:lnTo>
                      <a:pt x="34" y="528"/>
                    </a:lnTo>
                    <a:lnTo>
                      <a:pt x="34" y="526"/>
                    </a:lnTo>
                    <a:lnTo>
                      <a:pt x="33" y="526"/>
                    </a:lnTo>
                    <a:lnTo>
                      <a:pt x="33" y="528"/>
                    </a:lnTo>
                    <a:lnTo>
                      <a:pt x="33" y="526"/>
                    </a:lnTo>
                    <a:lnTo>
                      <a:pt x="34" y="526"/>
                    </a:lnTo>
                    <a:lnTo>
                      <a:pt x="33" y="526"/>
                    </a:lnTo>
                    <a:lnTo>
                      <a:pt x="34" y="526"/>
                    </a:lnTo>
                    <a:lnTo>
                      <a:pt x="34" y="524"/>
                    </a:lnTo>
                    <a:lnTo>
                      <a:pt x="33" y="524"/>
                    </a:lnTo>
                    <a:lnTo>
                      <a:pt x="34" y="524"/>
                    </a:lnTo>
                    <a:lnTo>
                      <a:pt x="34" y="522"/>
                    </a:lnTo>
                    <a:lnTo>
                      <a:pt x="36" y="522"/>
                    </a:lnTo>
                    <a:lnTo>
                      <a:pt x="38" y="522"/>
                    </a:lnTo>
                    <a:lnTo>
                      <a:pt x="38" y="524"/>
                    </a:lnTo>
                    <a:lnTo>
                      <a:pt x="40" y="524"/>
                    </a:lnTo>
                    <a:lnTo>
                      <a:pt x="40" y="526"/>
                    </a:lnTo>
                    <a:lnTo>
                      <a:pt x="40" y="524"/>
                    </a:lnTo>
                    <a:lnTo>
                      <a:pt x="40" y="526"/>
                    </a:lnTo>
                    <a:lnTo>
                      <a:pt x="42" y="526"/>
                    </a:lnTo>
                    <a:lnTo>
                      <a:pt x="42" y="524"/>
                    </a:lnTo>
                    <a:lnTo>
                      <a:pt x="40" y="524"/>
                    </a:lnTo>
                    <a:lnTo>
                      <a:pt x="40" y="522"/>
                    </a:lnTo>
                    <a:lnTo>
                      <a:pt x="40" y="521"/>
                    </a:lnTo>
                    <a:lnTo>
                      <a:pt x="40" y="519"/>
                    </a:lnTo>
                    <a:lnTo>
                      <a:pt x="40" y="517"/>
                    </a:lnTo>
                    <a:lnTo>
                      <a:pt x="42" y="517"/>
                    </a:lnTo>
                    <a:lnTo>
                      <a:pt x="42" y="519"/>
                    </a:lnTo>
                    <a:lnTo>
                      <a:pt x="42" y="517"/>
                    </a:lnTo>
                    <a:lnTo>
                      <a:pt x="44" y="517"/>
                    </a:lnTo>
                    <a:lnTo>
                      <a:pt x="44" y="519"/>
                    </a:lnTo>
                    <a:lnTo>
                      <a:pt x="46" y="519"/>
                    </a:lnTo>
                    <a:lnTo>
                      <a:pt x="46" y="521"/>
                    </a:lnTo>
                    <a:lnTo>
                      <a:pt x="46" y="522"/>
                    </a:lnTo>
                    <a:lnTo>
                      <a:pt x="48" y="522"/>
                    </a:lnTo>
                    <a:lnTo>
                      <a:pt x="48" y="521"/>
                    </a:lnTo>
                    <a:lnTo>
                      <a:pt x="50" y="521"/>
                    </a:lnTo>
                    <a:lnTo>
                      <a:pt x="50" y="519"/>
                    </a:lnTo>
                    <a:lnTo>
                      <a:pt x="48" y="519"/>
                    </a:lnTo>
                    <a:lnTo>
                      <a:pt x="48" y="517"/>
                    </a:lnTo>
                    <a:lnTo>
                      <a:pt x="46" y="517"/>
                    </a:lnTo>
                    <a:lnTo>
                      <a:pt x="46" y="515"/>
                    </a:lnTo>
                    <a:lnTo>
                      <a:pt x="46" y="513"/>
                    </a:lnTo>
                    <a:lnTo>
                      <a:pt x="46" y="511"/>
                    </a:lnTo>
                    <a:lnTo>
                      <a:pt x="44" y="513"/>
                    </a:lnTo>
                    <a:lnTo>
                      <a:pt x="44" y="511"/>
                    </a:lnTo>
                    <a:lnTo>
                      <a:pt x="44" y="509"/>
                    </a:lnTo>
                    <a:lnTo>
                      <a:pt x="44" y="507"/>
                    </a:lnTo>
                    <a:lnTo>
                      <a:pt x="44" y="505"/>
                    </a:lnTo>
                    <a:lnTo>
                      <a:pt x="46" y="505"/>
                    </a:lnTo>
                    <a:lnTo>
                      <a:pt x="44" y="505"/>
                    </a:lnTo>
                    <a:lnTo>
                      <a:pt x="46" y="505"/>
                    </a:lnTo>
                    <a:lnTo>
                      <a:pt x="46" y="503"/>
                    </a:lnTo>
                    <a:lnTo>
                      <a:pt x="44" y="503"/>
                    </a:lnTo>
                    <a:lnTo>
                      <a:pt x="46" y="503"/>
                    </a:lnTo>
                    <a:lnTo>
                      <a:pt x="46" y="501"/>
                    </a:lnTo>
                    <a:lnTo>
                      <a:pt x="44" y="501"/>
                    </a:lnTo>
                    <a:lnTo>
                      <a:pt x="44" y="499"/>
                    </a:lnTo>
                    <a:lnTo>
                      <a:pt x="44" y="497"/>
                    </a:lnTo>
                    <a:lnTo>
                      <a:pt x="42" y="497"/>
                    </a:lnTo>
                    <a:lnTo>
                      <a:pt x="42" y="496"/>
                    </a:lnTo>
                    <a:lnTo>
                      <a:pt x="40" y="496"/>
                    </a:lnTo>
                    <a:lnTo>
                      <a:pt x="38" y="496"/>
                    </a:lnTo>
                    <a:lnTo>
                      <a:pt x="38" y="494"/>
                    </a:lnTo>
                    <a:lnTo>
                      <a:pt x="38" y="496"/>
                    </a:lnTo>
                    <a:lnTo>
                      <a:pt x="38" y="494"/>
                    </a:lnTo>
                    <a:lnTo>
                      <a:pt x="36" y="494"/>
                    </a:lnTo>
                    <a:lnTo>
                      <a:pt x="36" y="492"/>
                    </a:lnTo>
                    <a:lnTo>
                      <a:pt x="34" y="492"/>
                    </a:lnTo>
                    <a:lnTo>
                      <a:pt x="34" y="490"/>
                    </a:lnTo>
                    <a:lnTo>
                      <a:pt x="33" y="490"/>
                    </a:lnTo>
                    <a:lnTo>
                      <a:pt x="31" y="488"/>
                    </a:lnTo>
                    <a:lnTo>
                      <a:pt x="29" y="488"/>
                    </a:lnTo>
                    <a:lnTo>
                      <a:pt x="29" y="486"/>
                    </a:lnTo>
                    <a:lnTo>
                      <a:pt x="27" y="486"/>
                    </a:lnTo>
                    <a:lnTo>
                      <a:pt x="27" y="484"/>
                    </a:lnTo>
                    <a:lnTo>
                      <a:pt x="29" y="484"/>
                    </a:lnTo>
                    <a:lnTo>
                      <a:pt x="27" y="484"/>
                    </a:lnTo>
                    <a:lnTo>
                      <a:pt x="27" y="482"/>
                    </a:lnTo>
                    <a:lnTo>
                      <a:pt x="27" y="484"/>
                    </a:lnTo>
                    <a:lnTo>
                      <a:pt x="25" y="484"/>
                    </a:lnTo>
                    <a:lnTo>
                      <a:pt x="25" y="482"/>
                    </a:lnTo>
                    <a:lnTo>
                      <a:pt x="23" y="482"/>
                    </a:lnTo>
                    <a:lnTo>
                      <a:pt x="21" y="482"/>
                    </a:lnTo>
                    <a:lnTo>
                      <a:pt x="21" y="480"/>
                    </a:lnTo>
                    <a:lnTo>
                      <a:pt x="19" y="480"/>
                    </a:lnTo>
                    <a:lnTo>
                      <a:pt x="17" y="480"/>
                    </a:lnTo>
                    <a:lnTo>
                      <a:pt x="17" y="482"/>
                    </a:lnTo>
                    <a:lnTo>
                      <a:pt x="15" y="482"/>
                    </a:lnTo>
                    <a:lnTo>
                      <a:pt x="17" y="482"/>
                    </a:lnTo>
                    <a:lnTo>
                      <a:pt x="15" y="480"/>
                    </a:lnTo>
                    <a:lnTo>
                      <a:pt x="13" y="480"/>
                    </a:lnTo>
                    <a:lnTo>
                      <a:pt x="13" y="478"/>
                    </a:lnTo>
                    <a:lnTo>
                      <a:pt x="11" y="478"/>
                    </a:lnTo>
                    <a:lnTo>
                      <a:pt x="13" y="478"/>
                    </a:lnTo>
                    <a:lnTo>
                      <a:pt x="13" y="476"/>
                    </a:lnTo>
                    <a:lnTo>
                      <a:pt x="15" y="476"/>
                    </a:lnTo>
                    <a:lnTo>
                      <a:pt x="15" y="474"/>
                    </a:lnTo>
                    <a:lnTo>
                      <a:pt x="15" y="472"/>
                    </a:lnTo>
                    <a:lnTo>
                      <a:pt x="17" y="472"/>
                    </a:lnTo>
                    <a:lnTo>
                      <a:pt x="17" y="474"/>
                    </a:lnTo>
                    <a:lnTo>
                      <a:pt x="19" y="474"/>
                    </a:lnTo>
                    <a:lnTo>
                      <a:pt x="21" y="474"/>
                    </a:lnTo>
                    <a:lnTo>
                      <a:pt x="21" y="472"/>
                    </a:lnTo>
                    <a:lnTo>
                      <a:pt x="23" y="472"/>
                    </a:lnTo>
                    <a:lnTo>
                      <a:pt x="25" y="472"/>
                    </a:lnTo>
                    <a:lnTo>
                      <a:pt x="25" y="471"/>
                    </a:lnTo>
                    <a:lnTo>
                      <a:pt x="25" y="469"/>
                    </a:lnTo>
                    <a:lnTo>
                      <a:pt x="27" y="469"/>
                    </a:lnTo>
                    <a:lnTo>
                      <a:pt x="25" y="467"/>
                    </a:lnTo>
                    <a:lnTo>
                      <a:pt x="23" y="465"/>
                    </a:lnTo>
                    <a:lnTo>
                      <a:pt x="23" y="463"/>
                    </a:lnTo>
                    <a:lnTo>
                      <a:pt x="23" y="461"/>
                    </a:lnTo>
                    <a:lnTo>
                      <a:pt x="23" y="459"/>
                    </a:lnTo>
                    <a:lnTo>
                      <a:pt x="23" y="457"/>
                    </a:lnTo>
                    <a:lnTo>
                      <a:pt x="25" y="455"/>
                    </a:lnTo>
                    <a:lnTo>
                      <a:pt x="25" y="453"/>
                    </a:lnTo>
                    <a:lnTo>
                      <a:pt x="23" y="451"/>
                    </a:lnTo>
                    <a:lnTo>
                      <a:pt x="23" y="449"/>
                    </a:lnTo>
                    <a:lnTo>
                      <a:pt x="25" y="447"/>
                    </a:lnTo>
                    <a:lnTo>
                      <a:pt x="25" y="446"/>
                    </a:lnTo>
                    <a:lnTo>
                      <a:pt x="27" y="446"/>
                    </a:lnTo>
                    <a:lnTo>
                      <a:pt x="29" y="446"/>
                    </a:lnTo>
                    <a:lnTo>
                      <a:pt x="29" y="444"/>
                    </a:lnTo>
                    <a:lnTo>
                      <a:pt x="29" y="442"/>
                    </a:lnTo>
                    <a:lnTo>
                      <a:pt x="31" y="440"/>
                    </a:lnTo>
                    <a:lnTo>
                      <a:pt x="29" y="440"/>
                    </a:lnTo>
                    <a:lnTo>
                      <a:pt x="29" y="438"/>
                    </a:lnTo>
                    <a:lnTo>
                      <a:pt x="27" y="436"/>
                    </a:lnTo>
                    <a:lnTo>
                      <a:pt x="23" y="434"/>
                    </a:lnTo>
                    <a:lnTo>
                      <a:pt x="21" y="434"/>
                    </a:lnTo>
                    <a:lnTo>
                      <a:pt x="21" y="432"/>
                    </a:lnTo>
                    <a:lnTo>
                      <a:pt x="19" y="432"/>
                    </a:lnTo>
                    <a:lnTo>
                      <a:pt x="17" y="432"/>
                    </a:lnTo>
                    <a:lnTo>
                      <a:pt x="15" y="432"/>
                    </a:lnTo>
                    <a:lnTo>
                      <a:pt x="15" y="430"/>
                    </a:lnTo>
                    <a:lnTo>
                      <a:pt x="15" y="428"/>
                    </a:lnTo>
                    <a:lnTo>
                      <a:pt x="15" y="426"/>
                    </a:lnTo>
                    <a:lnTo>
                      <a:pt x="15" y="428"/>
                    </a:lnTo>
                    <a:lnTo>
                      <a:pt x="11" y="428"/>
                    </a:lnTo>
                    <a:lnTo>
                      <a:pt x="11" y="426"/>
                    </a:lnTo>
                    <a:lnTo>
                      <a:pt x="9" y="424"/>
                    </a:lnTo>
                    <a:lnTo>
                      <a:pt x="8" y="424"/>
                    </a:lnTo>
                    <a:lnTo>
                      <a:pt x="6" y="422"/>
                    </a:lnTo>
                    <a:lnTo>
                      <a:pt x="8" y="422"/>
                    </a:lnTo>
                    <a:lnTo>
                      <a:pt x="8" y="421"/>
                    </a:lnTo>
                    <a:lnTo>
                      <a:pt x="6" y="421"/>
                    </a:lnTo>
                    <a:lnTo>
                      <a:pt x="4" y="419"/>
                    </a:lnTo>
                    <a:lnTo>
                      <a:pt x="2" y="417"/>
                    </a:lnTo>
                    <a:lnTo>
                      <a:pt x="0" y="417"/>
                    </a:lnTo>
                    <a:lnTo>
                      <a:pt x="0" y="415"/>
                    </a:lnTo>
                    <a:lnTo>
                      <a:pt x="2" y="413"/>
                    </a:lnTo>
                    <a:lnTo>
                      <a:pt x="4" y="413"/>
                    </a:lnTo>
                    <a:lnTo>
                      <a:pt x="6" y="413"/>
                    </a:lnTo>
                    <a:lnTo>
                      <a:pt x="6" y="411"/>
                    </a:lnTo>
                    <a:lnTo>
                      <a:pt x="8" y="413"/>
                    </a:lnTo>
                    <a:lnTo>
                      <a:pt x="9" y="413"/>
                    </a:lnTo>
                    <a:lnTo>
                      <a:pt x="9" y="415"/>
                    </a:lnTo>
                    <a:lnTo>
                      <a:pt x="9" y="413"/>
                    </a:lnTo>
                    <a:lnTo>
                      <a:pt x="11" y="413"/>
                    </a:lnTo>
                    <a:lnTo>
                      <a:pt x="13" y="415"/>
                    </a:lnTo>
                    <a:lnTo>
                      <a:pt x="15" y="415"/>
                    </a:lnTo>
                    <a:lnTo>
                      <a:pt x="17" y="417"/>
                    </a:lnTo>
                    <a:lnTo>
                      <a:pt x="19" y="419"/>
                    </a:lnTo>
                    <a:lnTo>
                      <a:pt x="19" y="417"/>
                    </a:lnTo>
                    <a:lnTo>
                      <a:pt x="21" y="417"/>
                    </a:lnTo>
                    <a:lnTo>
                      <a:pt x="21" y="415"/>
                    </a:lnTo>
                    <a:lnTo>
                      <a:pt x="23" y="415"/>
                    </a:lnTo>
                    <a:lnTo>
                      <a:pt x="21" y="413"/>
                    </a:lnTo>
                    <a:lnTo>
                      <a:pt x="17" y="411"/>
                    </a:lnTo>
                    <a:lnTo>
                      <a:pt x="15" y="411"/>
                    </a:lnTo>
                    <a:lnTo>
                      <a:pt x="15" y="409"/>
                    </a:lnTo>
                    <a:lnTo>
                      <a:pt x="17" y="409"/>
                    </a:lnTo>
                    <a:lnTo>
                      <a:pt x="15" y="409"/>
                    </a:lnTo>
                    <a:lnTo>
                      <a:pt x="15" y="407"/>
                    </a:lnTo>
                    <a:lnTo>
                      <a:pt x="15" y="405"/>
                    </a:lnTo>
                    <a:lnTo>
                      <a:pt x="15" y="403"/>
                    </a:lnTo>
                    <a:lnTo>
                      <a:pt x="17" y="403"/>
                    </a:lnTo>
                    <a:lnTo>
                      <a:pt x="17" y="401"/>
                    </a:lnTo>
                    <a:lnTo>
                      <a:pt x="19" y="403"/>
                    </a:lnTo>
                    <a:lnTo>
                      <a:pt x="19" y="401"/>
                    </a:lnTo>
                    <a:lnTo>
                      <a:pt x="19" y="399"/>
                    </a:lnTo>
                    <a:lnTo>
                      <a:pt x="17" y="397"/>
                    </a:lnTo>
                    <a:lnTo>
                      <a:pt x="17" y="396"/>
                    </a:lnTo>
                    <a:lnTo>
                      <a:pt x="15" y="394"/>
                    </a:lnTo>
                    <a:lnTo>
                      <a:pt x="15" y="392"/>
                    </a:lnTo>
                    <a:lnTo>
                      <a:pt x="13" y="390"/>
                    </a:lnTo>
                    <a:lnTo>
                      <a:pt x="13" y="388"/>
                    </a:lnTo>
                    <a:lnTo>
                      <a:pt x="11" y="388"/>
                    </a:lnTo>
                    <a:lnTo>
                      <a:pt x="11" y="386"/>
                    </a:lnTo>
                    <a:lnTo>
                      <a:pt x="15" y="386"/>
                    </a:lnTo>
                    <a:lnTo>
                      <a:pt x="15" y="384"/>
                    </a:lnTo>
                    <a:lnTo>
                      <a:pt x="17" y="386"/>
                    </a:lnTo>
                    <a:lnTo>
                      <a:pt x="17" y="384"/>
                    </a:lnTo>
                    <a:lnTo>
                      <a:pt x="19" y="384"/>
                    </a:lnTo>
                    <a:lnTo>
                      <a:pt x="19" y="382"/>
                    </a:lnTo>
                    <a:lnTo>
                      <a:pt x="17" y="382"/>
                    </a:lnTo>
                    <a:lnTo>
                      <a:pt x="17" y="380"/>
                    </a:lnTo>
                    <a:lnTo>
                      <a:pt x="17" y="378"/>
                    </a:lnTo>
                    <a:lnTo>
                      <a:pt x="17" y="376"/>
                    </a:lnTo>
                    <a:lnTo>
                      <a:pt x="19" y="376"/>
                    </a:lnTo>
                    <a:lnTo>
                      <a:pt x="19" y="374"/>
                    </a:lnTo>
                    <a:lnTo>
                      <a:pt x="19" y="372"/>
                    </a:lnTo>
                    <a:lnTo>
                      <a:pt x="17" y="372"/>
                    </a:lnTo>
                    <a:lnTo>
                      <a:pt x="17" y="371"/>
                    </a:lnTo>
                    <a:lnTo>
                      <a:pt x="17" y="369"/>
                    </a:lnTo>
                    <a:lnTo>
                      <a:pt x="15" y="367"/>
                    </a:lnTo>
                    <a:lnTo>
                      <a:pt x="15" y="365"/>
                    </a:lnTo>
                    <a:lnTo>
                      <a:pt x="15" y="363"/>
                    </a:lnTo>
                    <a:lnTo>
                      <a:pt x="15" y="361"/>
                    </a:lnTo>
                    <a:lnTo>
                      <a:pt x="13" y="361"/>
                    </a:lnTo>
                    <a:lnTo>
                      <a:pt x="15" y="359"/>
                    </a:lnTo>
                    <a:lnTo>
                      <a:pt x="15" y="357"/>
                    </a:lnTo>
                    <a:lnTo>
                      <a:pt x="17" y="357"/>
                    </a:lnTo>
                    <a:lnTo>
                      <a:pt x="19" y="357"/>
                    </a:lnTo>
                    <a:lnTo>
                      <a:pt x="21" y="357"/>
                    </a:lnTo>
                    <a:lnTo>
                      <a:pt x="19" y="355"/>
                    </a:lnTo>
                    <a:lnTo>
                      <a:pt x="19" y="351"/>
                    </a:lnTo>
                    <a:lnTo>
                      <a:pt x="19" y="349"/>
                    </a:lnTo>
                    <a:lnTo>
                      <a:pt x="17" y="349"/>
                    </a:lnTo>
                    <a:lnTo>
                      <a:pt x="15" y="349"/>
                    </a:lnTo>
                    <a:lnTo>
                      <a:pt x="15" y="347"/>
                    </a:lnTo>
                    <a:lnTo>
                      <a:pt x="17" y="347"/>
                    </a:lnTo>
                    <a:lnTo>
                      <a:pt x="17" y="346"/>
                    </a:lnTo>
                    <a:lnTo>
                      <a:pt x="17" y="344"/>
                    </a:lnTo>
                    <a:lnTo>
                      <a:pt x="15" y="344"/>
                    </a:lnTo>
                    <a:lnTo>
                      <a:pt x="15" y="342"/>
                    </a:lnTo>
                    <a:lnTo>
                      <a:pt x="17" y="342"/>
                    </a:lnTo>
                    <a:lnTo>
                      <a:pt x="19" y="342"/>
                    </a:lnTo>
                    <a:lnTo>
                      <a:pt x="19" y="340"/>
                    </a:lnTo>
                    <a:lnTo>
                      <a:pt x="19" y="338"/>
                    </a:lnTo>
                    <a:lnTo>
                      <a:pt x="19" y="336"/>
                    </a:lnTo>
                    <a:lnTo>
                      <a:pt x="21" y="336"/>
                    </a:lnTo>
                    <a:lnTo>
                      <a:pt x="19" y="334"/>
                    </a:lnTo>
                    <a:lnTo>
                      <a:pt x="21" y="334"/>
                    </a:lnTo>
                    <a:lnTo>
                      <a:pt x="21" y="332"/>
                    </a:lnTo>
                    <a:lnTo>
                      <a:pt x="23" y="332"/>
                    </a:lnTo>
                    <a:lnTo>
                      <a:pt x="23" y="330"/>
                    </a:lnTo>
                    <a:lnTo>
                      <a:pt x="23" y="328"/>
                    </a:lnTo>
                    <a:lnTo>
                      <a:pt x="23" y="330"/>
                    </a:lnTo>
                    <a:lnTo>
                      <a:pt x="25" y="330"/>
                    </a:lnTo>
                    <a:lnTo>
                      <a:pt x="27" y="330"/>
                    </a:lnTo>
                    <a:lnTo>
                      <a:pt x="27" y="328"/>
                    </a:lnTo>
                    <a:lnTo>
                      <a:pt x="29" y="328"/>
                    </a:lnTo>
                    <a:lnTo>
                      <a:pt x="29" y="326"/>
                    </a:lnTo>
                    <a:lnTo>
                      <a:pt x="27" y="326"/>
                    </a:lnTo>
                    <a:lnTo>
                      <a:pt x="29" y="324"/>
                    </a:lnTo>
                    <a:lnTo>
                      <a:pt x="29" y="322"/>
                    </a:lnTo>
                    <a:lnTo>
                      <a:pt x="31" y="322"/>
                    </a:lnTo>
                    <a:lnTo>
                      <a:pt x="33" y="322"/>
                    </a:lnTo>
                    <a:lnTo>
                      <a:pt x="34" y="324"/>
                    </a:lnTo>
                    <a:lnTo>
                      <a:pt x="36" y="324"/>
                    </a:lnTo>
                    <a:lnTo>
                      <a:pt x="38" y="324"/>
                    </a:lnTo>
                    <a:lnTo>
                      <a:pt x="40" y="324"/>
                    </a:lnTo>
                    <a:lnTo>
                      <a:pt x="40" y="322"/>
                    </a:lnTo>
                    <a:lnTo>
                      <a:pt x="42" y="321"/>
                    </a:lnTo>
                    <a:lnTo>
                      <a:pt x="44" y="321"/>
                    </a:lnTo>
                    <a:lnTo>
                      <a:pt x="46" y="319"/>
                    </a:lnTo>
                    <a:lnTo>
                      <a:pt x="48" y="319"/>
                    </a:lnTo>
                    <a:lnTo>
                      <a:pt x="50" y="319"/>
                    </a:lnTo>
                    <a:lnTo>
                      <a:pt x="52" y="319"/>
                    </a:lnTo>
                    <a:lnTo>
                      <a:pt x="54" y="319"/>
                    </a:lnTo>
                    <a:lnTo>
                      <a:pt x="56" y="319"/>
                    </a:lnTo>
                    <a:lnTo>
                      <a:pt x="57" y="319"/>
                    </a:lnTo>
                    <a:lnTo>
                      <a:pt x="59" y="321"/>
                    </a:lnTo>
                    <a:lnTo>
                      <a:pt x="59" y="319"/>
                    </a:lnTo>
                    <a:lnTo>
                      <a:pt x="61" y="321"/>
                    </a:lnTo>
                    <a:lnTo>
                      <a:pt x="63" y="321"/>
                    </a:lnTo>
                    <a:lnTo>
                      <a:pt x="63" y="319"/>
                    </a:lnTo>
                    <a:lnTo>
                      <a:pt x="63" y="317"/>
                    </a:lnTo>
                    <a:lnTo>
                      <a:pt x="63" y="315"/>
                    </a:lnTo>
                    <a:lnTo>
                      <a:pt x="65" y="315"/>
                    </a:lnTo>
                    <a:lnTo>
                      <a:pt x="67" y="315"/>
                    </a:lnTo>
                    <a:lnTo>
                      <a:pt x="67" y="313"/>
                    </a:lnTo>
                    <a:lnTo>
                      <a:pt x="67" y="315"/>
                    </a:lnTo>
                    <a:lnTo>
                      <a:pt x="69" y="315"/>
                    </a:lnTo>
                    <a:lnTo>
                      <a:pt x="69" y="317"/>
                    </a:lnTo>
                    <a:lnTo>
                      <a:pt x="71" y="317"/>
                    </a:lnTo>
                    <a:lnTo>
                      <a:pt x="73" y="317"/>
                    </a:lnTo>
                    <a:lnTo>
                      <a:pt x="75" y="315"/>
                    </a:lnTo>
                    <a:lnTo>
                      <a:pt x="75" y="313"/>
                    </a:lnTo>
                    <a:lnTo>
                      <a:pt x="77" y="313"/>
                    </a:lnTo>
                    <a:lnTo>
                      <a:pt x="77" y="315"/>
                    </a:lnTo>
                    <a:lnTo>
                      <a:pt x="79" y="313"/>
                    </a:lnTo>
                    <a:lnTo>
                      <a:pt x="81" y="315"/>
                    </a:lnTo>
                    <a:lnTo>
                      <a:pt x="82" y="315"/>
                    </a:lnTo>
                    <a:lnTo>
                      <a:pt x="82" y="313"/>
                    </a:lnTo>
                    <a:lnTo>
                      <a:pt x="82" y="311"/>
                    </a:lnTo>
                    <a:lnTo>
                      <a:pt x="84" y="311"/>
                    </a:lnTo>
                    <a:lnTo>
                      <a:pt x="82" y="311"/>
                    </a:lnTo>
                    <a:lnTo>
                      <a:pt x="82" y="309"/>
                    </a:lnTo>
                    <a:lnTo>
                      <a:pt x="84" y="307"/>
                    </a:lnTo>
                    <a:lnTo>
                      <a:pt x="82" y="307"/>
                    </a:lnTo>
                    <a:lnTo>
                      <a:pt x="82" y="305"/>
                    </a:lnTo>
                    <a:lnTo>
                      <a:pt x="82" y="303"/>
                    </a:lnTo>
                    <a:lnTo>
                      <a:pt x="82" y="301"/>
                    </a:lnTo>
                    <a:lnTo>
                      <a:pt x="82" y="299"/>
                    </a:lnTo>
                    <a:lnTo>
                      <a:pt x="81" y="298"/>
                    </a:lnTo>
                    <a:lnTo>
                      <a:pt x="82" y="298"/>
                    </a:lnTo>
                    <a:lnTo>
                      <a:pt x="82" y="296"/>
                    </a:lnTo>
                    <a:lnTo>
                      <a:pt x="82" y="294"/>
                    </a:lnTo>
                    <a:lnTo>
                      <a:pt x="82" y="292"/>
                    </a:lnTo>
                    <a:lnTo>
                      <a:pt x="82" y="290"/>
                    </a:lnTo>
                    <a:lnTo>
                      <a:pt x="84" y="290"/>
                    </a:lnTo>
                    <a:lnTo>
                      <a:pt x="84" y="288"/>
                    </a:lnTo>
                    <a:lnTo>
                      <a:pt x="84" y="286"/>
                    </a:lnTo>
                    <a:lnTo>
                      <a:pt x="86" y="284"/>
                    </a:lnTo>
                    <a:lnTo>
                      <a:pt x="88" y="284"/>
                    </a:lnTo>
                    <a:lnTo>
                      <a:pt x="88" y="282"/>
                    </a:lnTo>
                    <a:lnTo>
                      <a:pt x="90" y="280"/>
                    </a:lnTo>
                    <a:lnTo>
                      <a:pt x="92" y="280"/>
                    </a:lnTo>
                    <a:lnTo>
                      <a:pt x="92" y="282"/>
                    </a:lnTo>
                    <a:lnTo>
                      <a:pt x="94" y="282"/>
                    </a:lnTo>
                    <a:lnTo>
                      <a:pt x="94" y="284"/>
                    </a:lnTo>
                    <a:lnTo>
                      <a:pt x="96" y="284"/>
                    </a:lnTo>
                    <a:lnTo>
                      <a:pt x="96" y="282"/>
                    </a:lnTo>
                    <a:lnTo>
                      <a:pt x="98" y="282"/>
                    </a:lnTo>
                    <a:lnTo>
                      <a:pt x="100" y="284"/>
                    </a:lnTo>
                    <a:lnTo>
                      <a:pt x="102" y="284"/>
                    </a:lnTo>
                    <a:lnTo>
                      <a:pt x="102" y="282"/>
                    </a:lnTo>
                    <a:lnTo>
                      <a:pt x="104" y="284"/>
                    </a:lnTo>
                    <a:lnTo>
                      <a:pt x="104" y="282"/>
                    </a:lnTo>
                    <a:lnTo>
                      <a:pt x="106" y="282"/>
                    </a:lnTo>
                    <a:lnTo>
                      <a:pt x="106" y="280"/>
                    </a:lnTo>
                    <a:lnTo>
                      <a:pt x="107" y="282"/>
                    </a:lnTo>
                    <a:lnTo>
                      <a:pt x="109" y="282"/>
                    </a:lnTo>
                    <a:lnTo>
                      <a:pt x="111" y="282"/>
                    </a:lnTo>
                    <a:lnTo>
                      <a:pt x="113" y="282"/>
                    </a:lnTo>
                    <a:lnTo>
                      <a:pt x="115" y="282"/>
                    </a:lnTo>
                    <a:lnTo>
                      <a:pt x="115" y="280"/>
                    </a:lnTo>
                    <a:lnTo>
                      <a:pt x="117" y="280"/>
                    </a:lnTo>
                    <a:lnTo>
                      <a:pt x="117" y="282"/>
                    </a:lnTo>
                    <a:lnTo>
                      <a:pt x="119" y="282"/>
                    </a:lnTo>
                    <a:lnTo>
                      <a:pt x="119" y="280"/>
                    </a:lnTo>
                    <a:lnTo>
                      <a:pt x="121" y="280"/>
                    </a:lnTo>
                    <a:lnTo>
                      <a:pt x="121" y="278"/>
                    </a:lnTo>
                    <a:lnTo>
                      <a:pt x="121" y="276"/>
                    </a:lnTo>
                    <a:lnTo>
                      <a:pt x="123" y="276"/>
                    </a:lnTo>
                    <a:lnTo>
                      <a:pt x="123" y="274"/>
                    </a:lnTo>
                    <a:lnTo>
                      <a:pt x="125" y="273"/>
                    </a:lnTo>
                    <a:lnTo>
                      <a:pt x="127" y="273"/>
                    </a:lnTo>
                    <a:lnTo>
                      <a:pt x="127" y="271"/>
                    </a:lnTo>
                    <a:lnTo>
                      <a:pt x="127" y="269"/>
                    </a:lnTo>
                    <a:lnTo>
                      <a:pt x="129" y="269"/>
                    </a:lnTo>
                    <a:lnTo>
                      <a:pt x="129" y="271"/>
                    </a:lnTo>
                    <a:lnTo>
                      <a:pt x="129" y="269"/>
                    </a:lnTo>
                    <a:lnTo>
                      <a:pt x="130" y="269"/>
                    </a:lnTo>
                    <a:lnTo>
                      <a:pt x="129" y="269"/>
                    </a:lnTo>
                    <a:lnTo>
                      <a:pt x="130" y="267"/>
                    </a:lnTo>
                    <a:lnTo>
                      <a:pt x="130" y="265"/>
                    </a:lnTo>
                    <a:lnTo>
                      <a:pt x="130" y="263"/>
                    </a:lnTo>
                    <a:lnTo>
                      <a:pt x="130" y="261"/>
                    </a:lnTo>
                    <a:lnTo>
                      <a:pt x="132" y="261"/>
                    </a:lnTo>
                    <a:lnTo>
                      <a:pt x="134" y="261"/>
                    </a:lnTo>
                    <a:lnTo>
                      <a:pt x="134" y="259"/>
                    </a:lnTo>
                    <a:lnTo>
                      <a:pt x="134" y="257"/>
                    </a:lnTo>
                    <a:lnTo>
                      <a:pt x="132" y="255"/>
                    </a:lnTo>
                    <a:lnTo>
                      <a:pt x="132" y="253"/>
                    </a:lnTo>
                    <a:lnTo>
                      <a:pt x="130" y="253"/>
                    </a:lnTo>
                    <a:lnTo>
                      <a:pt x="132" y="253"/>
                    </a:lnTo>
                    <a:lnTo>
                      <a:pt x="132" y="251"/>
                    </a:lnTo>
                    <a:lnTo>
                      <a:pt x="132" y="249"/>
                    </a:lnTo>
                    <a:lnTo>
                      <a:pt x="132" y="248"/>
                    </a:lnTo>
                    <a:lnTo>
                      <a:pt x="132" y="246"/>
                    </a:lnTo>
                    <a:lnTo>
                      <a:pt x="134" y="244"/>
                    </a:lnTo>
                    <a:lnTo>
                      <a:pt x="136" y="244"/>
                    </a:lnTo>
                    <a:lnTo>
                      <a:pt x="138" y="242"/>
                    </a:lnTo>
                    <a:lnTo>
                      <a:pt x="140" y="242"/>
                    </a:lnTo>
                    <a:lnTo>
                      <a:pt x="140" y="240"/>
                    </a:lnTo>
                    <a:lnTo>
                      <a:pt x="142" y="240"/>
                    </a:lnTo>
                    <a:lnTo>
                      <a:pt x="142" y="238"/>
                    </a:lnTo>
                    <a:lnTo>
                      <a:pt x="142" y="236"/>
                    </a:lnTo>
                    <a:lnTo>
                      <a:pt x="144" y="236"/>
                    </a:lnTo>
                    <a:lnTo>
                      <a:pt x="144" y="238"/>
                    </a:lnTo>
                    <a:lnTo>
                      <a:pt x="146" y="238"/>
                    </a:lnTo>
                    <a:lnTo>
                      <a:pt x="146" y="240"/>
                    </a:lnTo>
                    <a:lnTo>
                      <a:pt x="146" y="242"/>
                    </a:lnTo>
                    <a:lnTo>
                      <a:pt x="146" y="244"/>
                    </a:lnTo>
                    <a:lnTo>
                      <a:pt x="148" y="244"/>
                    </a:lnTo>
                    <a:lnTo>
                      <a:pt x="148" y="242"/>
                    </a:lnTo>
                    <a:lnTo>
                      <a:pt x="150" y="242"/>
                    </a:lnTo>
                    <a:lnTo>
                      <a:pt x="152" y="242"/>
                    </a:lnTo>
                    <a:lnTo>
                      <a:pt x="152" y="240"/>
                    </a:lnTo>
                    <a:lnTo>
                      <a:pt x="152" y="238"/>
                    </a:lnTo>
                    <a:lnTo>
                      <a:pt x="150" y="238"/>
                    </a:lnTo>
                    <a:lnTo>
                      <a:pt x="148" y="234"/>
                    </a:lnTo>
                    <a:lnTo>
                      <a:pt x="146" y="234"/>
                    </a:lnTo>
                    <a:lnTo>
                      <a:pt x="146" y="232"/>
                    </a:lnTo>
                    <a:lnTo>
                      <a:pt x="146" y="230"/>
                    </a:lnTo>
                    <a:lnTo>
                      <a:pt x="144" y="228"/>
                    </a:lnTo>
                    <a:lnTo>
                      <a:pt x="146" y="226"/>
                    </a:lnTo>
                    <a:lnTo>
                      <a:pt x="146" y="224"/>
                    </a:lnTo>
                    <a:lnTo>
                      <a:pt x="144" y="224"/>
                    </a:lnTo>
                    <a:lnTo>
                      <a:pt x="144" y="223"/>
                    </a:lnTo>
                    <a:lnTo>
                      <a:pt x="142" y="221"/>
                    </a:lnTo>
                    <a:lnTo>
                      <a:pt x="142" y="217"/>
                    </a:lnTo>
                    <a:lnTo>
                      <a:pt x="140" y="217"/>
                    </a:lnTo>
                    <a:lnTo>
                      <a:pt x="140" y="215"/>
                    </a:lnTo>
                    <a:lnTo>
                      <a:pt x="138" y="215"/>
                    </a:lnTo>
                    <a:lnTo>
                      <a:pt x="138" y="213"/>
                    </a:lnTo>
                    <a:lnTo>
                      <a:pt x="138" y="211"/>
                    </a:lnTo>
                    <a:lnTo>
                      <a:pt x="136" y="211"/>
                    </a:lnTo>
                    <a:lnTo>
                      <a:pt x="134" y="209"/>
                    </a:lnTo>
                    <a:lnTo>
                      <a:pt x="134" y="207"/>
                    </a:lnTo>
                    <a:lnTo>
                      <a:pt x="134" y="205"/>
                    </a:lnTo>
                    <a:lnTo>
                      <a:pt x="134" y="203"/>
                    </a:lnTo>
                    <a:lnTo>
                      <a:pt x="136" y="201"/>
                    </a:lnTo>
                    <a:lnTo>
                      <a:pt x="134" y="199"/>
                    </a:lnTo>
                    <a:lnTo>
                      <a:pt x="134" y="198"/>
                    </a:lnTo>
                    <a:lnTo>
                      <a:pt x="132" y="196"/>
                    </a:lnTo>
                    <a:lnTo>
                      <a:pt x="132" y="194"/>
                    </a:lnTo>
                    <a:lnTo>
                      <a:pt x="130" y="194"/>
                    </a:lnTo>
                    <a:lnTo>
                      <a:pt x="130" y="192"/>
                    </a:lnTo>
                    <a:lnTo>
                      <a:pt x="130" y="190"/>
                    </a:lnTo>
                    <a:lnTo>
                      <a:pt x="130" y="186"/>
                    </a:lnTo>
                    <a:lnTo>
                      <a:pt x="129" y="186"/>
                    </a:lnTo>
                    <a:lnTo>
                      <a:pt x="129" y="184"/>
                    </a:lnTo>
                    <a:lnTo>
                      <a:pt x="129" y="182"/>
                    </a:lnTo>
                    <a:lnTo>
                      <a:pt x="129" y="180"/>
                    </a:lnTo>
                    <a:lnTo>
                      <a:pt x="129" y="178"/>
                    </a:lnTo>
                    <a:lnTo>
                      <a:pt x="129" y="176"/>
                    </a:lnTo>
                    <a:lnTo>
                      <a:pt x="127" y="176"/>
                    </a:lnTo>
                    <a:lnTo>
                      <a:pt x="125" y="176"/>
                    </a:lnTo>
                    <a:lnTo>
                      <a:pt x="123" y="174"/>
                    </a:lnTo>
                    <a:lnTo>
                      <a:pt x="121" y="174"/>
                    </a:lnTo>
                    <a:lnTo>
                      <a:pt x="121" y="173"/>
                    </a:lnTo>
                    <a:lnTo>
                      <a:pt x="119" y="173"/>
                    </a:lnTo>
                    <a:lnTo>
                      <a:pt x="117" y="171"/>
                    </a:lnTo>
                    <a:lnTo>
                      <a:pt x="117" y="169"/>
                    </a:lnTo>
                    <a:lnTo>
                      <a:pt x="117" y="167"/>
                    </a:lnTo>
                    <a:lnTo>
                      <a:pt x="117" y="165"/>
                    </a:lnTo>
                    <a:lnTo>
                      <a:pt x="117" y="163"/>
                    </a:lnTo>
                    <a:lnTo>
                      <a:pt x="117" y="161"/>
                    </a:lnTo>
                    <a:lnTo>
                      <a:pt x="117" y="159"/>
                    </a:lnTo>
                    <a:lnTo>
                      <a:pt x="117" y="157"/>
                    </a:lnTo>
                    <a:lnTo>
                      <a:pt x="115" y="157"/>
                    </a:lnTo>
                    <a:lnTo>
                      <a:pt x="115" y="155"/>
                    </a:lnTo>
                    <a:lnTo>
                      <a:pt x="113" y="153"/>
                    </a:lnTo>
                    <a:lnTo>
                      <a:pt x="115" y="153"/>
                    </a:lnTo>
                    <a:lnTo>
                      <a:pt x="117" y="153"/>
                    </a:lnTo>
                    <a:lnTo>
                      <a:pt x="117" y="151"/>
                    </a:lnTo>
                    <a:lnTo>
                      <a:pt x="117" y="149"/>
                    </a:lnTo>
                    <a:lnTo>
                      <a:pt x="119" y="149"/>
                    </a:lnTo>
                    <a:lnTo>
                      <a:pt x="119" y="148"/>
                    </a:lnTo>
                    <a:lnTo>
                      <a:pt x="119" y="146"/>
                    </a:lnTo>
                    <a:lnTo>
                      <a:pt x="121" y="146"/>
                    </a:lnTo>
                    <a:lnTo>
                      <a:pt x="121" y="144"/>
                    </a:lnTo>
                    <a:lnTo>
                      <a:pt x="119" y="144"/>
                    </a:lnTo>
                    <a:lnTo>
                      <a:pt x="119" y="142"/>
                    </a:lnTo>
                    <a:lnTo>
                      <a:pt x="117" y="140"/>
                    </a:lnTo>
                    <a:lnTo>
                      <a:pt x="117" y="138"/>
                    </a:lnTo>
                    <a:lnTo>
                      <a:pt x="117" y="136"/>
                    </a:lnTo>
                    <a:lnTo>
                      <a:pt x="119" y="136"/>
                    </a:lnTo>
                    <a:lnTo>
                      <a:pt x="121" y="136"/>
                    </a:lnTo>
                    <a:lnTo>
                      <a:pt x="121" y="134"/>
                    </a:lnTo>
                    <a:lnTo>
                      <a:pt x="123" y="134"/>
                    </a:lnTo>
                    <a:lnTo>
                      <a:pt x="125" y="134"/>
                    </a:lnTo>
                    <a:lnTo>
                      <a:pt x="125" y="132"/>
                    </a:lnTo>
                    <a:lnTo>
                      <a:pt x="127" y="132"/>
                    </a:lnTo>
                    <a:lnTo>
                      <a:pt x="127" y="130"/>
                    </a:lnTo>
                    <a:lnTo>
                      <a:pt x="127" y="128"/>
                    </a:lnTo>
                    <a:lnTo>
                      <a:pt x="125" y="126"/>
                    </a:lnTo>
                    <a:lnTo>
                      <a:pt x="123" y="126"/>
                    </a:lnTo>
                    <a:lnTo>
                      <a:pt x="125" y="126"/>
                    </a:lnTo>
                    <a:lnTo>
                      <a:pt x="125" y="124"/>
                    </a:lnTo>
                    <a:lnTo>
                      <a:pt x="129" y="124"/>
                    </a:lnTo>
                    <a:lnTo>
                      <a:pt x="130" y="123"/>
                    </a:lnTo>
                    <a:lnTo>
                      <a:pt x="130" y="121"/>
                    </a:lnTo>
                    <a:lnTo>
                      <a:pt x="130" y="119"/>
                    </a:lnTo>
                    <a:lnTo>
                      <a:pt x="132" y="117"/>
                    </a:lnTo>
                    <a:lnTo>
                      <a:pt x="134" y="119"/>
                    </a:lnTo>
                    <a:lnTo>
                      <a:pt x="134" y="117"/>
                    </a:lnTo>
                    <a:lnTo>
                      <a:pt x="136" y="117"/>
                    </a:lnTo>
                    <a:lnTo>
                      <a:pt x="136" y="115"/>
                    </a:lnTo>
                    <a:lnTo>
                      <a:pt x="136" y="113"/>
                    </a:lnTo>
                    <a:lnTo>
                      <a:pt x="136" y="111"/>
                    </a:lnTo>
                    <a:lnTo>
                      <a:pt x="134" y="109"/>
                    </a:lnTo>
                    <a:lnTo>
                      <a:pt x="134" y="107"/>
                    </a:lnTo>
                    <a:lnTo>
                      <a:pt x="134" y="105"/>
                    </a:lnTo>
                    <a:lnTo>
                      <a:pt x="134" y="103"/>
                    </a:lnTo>
                    <a:lnTo>
                      <a:pt x="136" y="105"/>
                    </a:lnTo>
                    <a:lnTo>
                      <a:pt x="136" y="103"/>
                    </a:lnTo>
                    <a:lnTo>
                      <a:pt x="136" y="101"/>
                    </a:lnTo>
                    <a:lnTo>
                      <a:pt x="134" y="101"/>
                    </a:lnTo>
                    <a:lnTo>
                      <a:pt x="136" y="99"/>
                    </a:lnTo>
                    <a:lnTo>
                      <a:pt x="136" y="98"/>
                    </a:lnTo>
                    <a:lnTo>
                      <a:pt x="136" y="96"/>
                    </a:lnTo>
                    <a:lnTo>
                      <a:pt x="136" y="94"/>
                    </a:lnTo>
                    <a:lnTo>
                      <a:pt x="136" y="92"/>
                    </a:lnTo>
                    <a:lnTo>
                      <a:pt x="136" y="90"/>
                    </a:lnTo>
                    <a:lnTo>
                      <a:pt x="136" y="88"/>
                    </a:lnTo>
                    <a:lnTo>
                      <a:pt x="134" y="88"/>
                    </a:lnTo>
                    <a:lnTo>
                      <a:pt x="134" y="86"/>
                    </a:lnTo>
                    <a:lnTo>
                      <a:pt x="132" y="86"/>
                    </a:lnTo>
                    <a:lnTo>
                      <a:pt x="132" y="84"/>
                    </a:lnTo>
                    <a:lnTo>
                      <a:pt x="132" y="82"/>
                    </a:lnTo>
                    <a:lnTo>
                      <a:pt x="134" y="80"/>
                    </a:lnTo>
                    <a:lnTo>
                      <a:pt x="136" y="80"/>
                    </a:lnTo>
                    <a:lnTo>
                      <a:pt x="136" y="78"/>
                    </a:lnTo>
                    <a:lnTo>
                      <a:pt x="136" y="76"/>
                    </a:lnTo>
                    <a:lnTo>
                      <a:pt x="138" y="76"/>
                    </a:lnTo>
                    <a:lnTo>
                      <a:pt x="138" y="74"/>
                    </a:lnTo>
                    <a:lnTo>
                      <a:pt x="138" y="73"/>
                    </a:lnTo>
                    <a:lnTo>
                      <a:pt x="136" y="73"/>
                    </a:lnTo>
                    <a:lnTo>
                      <a:pt x="136" y="71"/>
                    </a:lnTo>
                    <a:lnTo>
                      <a:pt x="136" y="69"/>
                    </a:lnTo>
                    <a:lnTo>
                      <a:pt x="136" y="67"/>
                    </a:lnTo>
                    <a:lnTo>
                      <a:pt x="136" y="65"/>
                    </a:lnTo>
                    <a:lnTo>
                      <a:pt x="134" y="65"/>
                    </a:lnTo>
                    <a:lnTo>
                      <a:pt x="134" y="63"/>
                    </a:lnTo>
                    <a:lnTo>
                      <a:pt x="132" y="63"/>
                    </a:lnTo>
                    <a:lnTo>
                      <a:pt x="132" y="61"/>
                    </a:lnTo>
                    <a:lnTo>
                      <a:pt x="132" y="59"/>
                    </a:lnTo>
                    <a:lnTo>
                      <a:pt x="130" y="57"/>
                    </a:lnTo>
                    <a:lnTo>
                      <a:pt x="130" y="55"/>
                    </a:lnTo>
                    <a:lnTo>
                      <a:pt x="130" y="53"/>
                    </a:lnTo>
                    <a:lnTo>
                      <a:pt x="132" y="53"/>
                    </a:lnTo>
                    <a:lnTo>
                      <a:pt x="132" y="51"/>
                    </a:lnTo>
                    <a:lnTo>
                      <a:pt x="130" y="51"/>
                    </a:lnTo>
                    <a:lnTo>
                      <a:pt x="132" y="51"/>
                    </a:lnTo>
                    <a:lnTo>
                      <a:pt x="132" y="50"/>
                    </a:lnTo>
                    <a:lnTo>
                      <a:pt x="136" y="50"/>
                    </a:lnTo>
                    <a:lnTo>
                      <a:pt x="136" y="48"/>
                    </a:lnTo>
                    <a:lnTo>
                      <a:pt x="138" y="46"/>
                    </a:lnTo>
                    <a:lnTo>
                      <a:pt x="136" y="46"/>
                    </a:lnTo>
                    <a:lnTo>
                      <a:pt x="138" y="44"/>
                    </a:lnTo>
                    <a:lnTo>
                      <a:pt x="136" y="44"/>
                    </a:lnTo>
                    <a:lnTo>
                      <a:pt x="136" y="42"/>
                    </a:lnTo>
                    <a:lnTo>
                      <a:pt x="136" y="40"/>
                    </a:lnTo>
                    <a:lnTo>
                      <a:pt x="138" y="40"/>
                    </a:lnTo>
                    <a:lnTo>
                      <a:pt x="138" y="38"/>
                    </a:lnTo>
                    <a:lnTo>
                      <a:pt x="140" y="38"/>
                    </a:lnTo>
                    <a:lnTo>
                      <a:pt x="140" y="40"/>
                    </a:lnTo>
                    <a:lnTo>
                      <a:pt x="142" y="40"/>
                    </a:lnTo>
                    <a:lnTo>
                      <a:pt x="144" y="40"/>
                    </a:lnTo>
                    <a:lnTo>
                      <a:pt x="144" y="38"/>
                    </a:lnTo>
                    <a:lnTo>
                      <a:pt x="146" y="38"/>
                    </a:lnTo>
                    <a:lnTo>
                      <a:pt x="146" y="40"/>
                    </a:lnTo>
                    <a:lnTo>
                      <a:pt x="148" y="42"/>
                    </a:lnTo>
                    <a:lnTo>
                      <a:pt x="150" y="42"/>
                    </a:lnTo>
                    <a:lnTo>
                      <a:pt x="152" y="42"/>
                    </a:lnTo>
                    <a:lnTo>
                      <a:pt x="154" y="40"/>
                    </a:lnTo>
                    <a:lnTo>
                      <a:pt x="155" y="42"/>
                    </a:lnTo>
                    <a:lnTo>
                      <a:pt x="157" y="42"/>
                    </a:lnTo>
                    <a:lnTo>
                      <a:pt x="157" y="44"/>
                    </a:lnTo>
                    <a:lnTo>
                      <a:pt x="159" y="44"/>
                    </a:lnTo>
                    <a:lnTo>
                      <a:pt x="161" y="46"/>
                    </a:lnTo>
                    <a:lnTo>
                      <a:pt x="161" y="44"/>
                    </a:lnTo>
                    <a:lnTo>
                      <a:pt x="163" y="46"/>
                    </a:lnTo>
                    <a:lnTo>
                      <a:pt x="165" y="46"/>
                    </a:lnTo>
                    <a:lnTo>
                      <a:pt x="165" y="48"/>
                    </a:lnTo>
                    <a:lnTo>
                      <a:pt x="167" y="50"/>
                    </a:lnTo>
                    <a:lnTo>
                      <a:pt x="167" y="51"/>
                    </a:lnTo>
                    <a:lnTo>
                      <a:pt x="169" y="51"/>
                    </a:lnTo>
                    <a:lnTo>
                      <a:pt x="171" y="51"/>
                    </a:lnTo>
                    <a:lnTo>
                      <a:pt x="171" y="53"/>
                    </a:lnTo>
                    <a:lnTo>
                      <a:pt x="173" y="53"/>
                    </a:lnTo>
                    <a:lnTo>
                      <a:pt x="173" y="51"/>
                    </a:lnTo>
                    <a:lnTo>
                      <a:pt x="173" y="53"/>
                    </a:lnTo>
                    <a:lnTo>
                      <a:pt x="175" y="53"/>
                    </a:lnTo>
                    <a:lnTo>
                      <a:pt x="177" y="51"/>
                    </a:lnTo>
                    <a:lnTo>
                      <a:pt x="179" y="53"/>
                    </a:lnTo>
                    <a:lnTo>
                      <a:pt x="177" y="53"/>
                    </a:lnTo>
                    <a:lnTo>
                      <a:pt x="179" y="53"/>
                    </a:lnTo>
                    <a:lnTo>
                      <a:pt x="179" y="55"/>
                    </a:lnTo>
                    <a:lnTo>
                      <a:pt x="180" y="55"/>
                    </a:lnTo>
                    <a:lnTo>
                      <a:pt x="180" y="53"/>
                    </a:lnTo>
                    <a:lnTo>
                      <a:pt x="182" y="53"/>
                    </a:lnTo>
                    <a:lnTo>
                      <a:pt x="182" y="51"/>
                    </a:lnTo>
                    <a:lnTo>
                      <a:pt x="184" y="51"/>
                    </a:lnTo>
                    <a:lnTo>
                      <a:pt x="184" y="50"/>
                    </a:lnTo>
                    <a:lnTo>
                      <a:pt x="184" y="48"/>
                    </a:lnTo>
                    <a:lnTo>
                      <a:pt x="186" y="48"/>
                    </a:lnTo>
                    <a:lnTo>
                      <a:pt x="186" y="50"/>
                    </a:lnTo>
                    <a:lnTo>
                      <a:pt x="188" y="50"/>
                    </a:lnTo>
                    <a:lnTo>
                      <a:pt x="190" y="50"/>
                    </a:lnTo>
                    <a:lnTo>
                      <a:pt x="190" y="51"/>
                    </a:lnTo>
                    <a:lnTo>
                      <a:pt x="192" y="53"/>
                    </a:lnTo>
                    <a:lnTo>
                      <a:pt x="194" y="51"/>
                    </a:lnTo>
                    <a:lnTo>
                      <a:pt x="196" y="51"/>
                    </a:lnTo>
                    <a:lnTo>
                      <a:pt x="198" y="53"/>
                    </a:lnTo>
                    <a:lnTo>
                      <a:pt x="196" y="53"/>
                    </a:lnTo>
                    <a:lnTo>
                      <a:pt x="196" y="55"/>
                    </a:lnTo>
                    <a:lnTo>
                      <a:pt x="198" y="55"/>
                    </a:lnTo>
                    <a:lnTo>
                      <a:pt x="200" y="55"/>
                    </a:lnTo>
                    <a:lnTo>
                      <a:pt x="200" y="53"/>
                    </a:lnTo>
                    <a:lnTo>
                      <a:pt x="200" y="51"/>
                    </a:lnTo>
                    <a:lnTo>
                      <a:pt x="202" y="50"/>
                    </a:lnTo>
                    <a:lnTo>
                      <a:pt x="202" y="48"/>
                    </a:lnTo>
                    <a:lnTo>
                      <a:pt x="204" y="48"/>
                    </a:lnTo>
                    <a:lnTo>
                      <a:pt x="204" y="46"/>
                    </a:lnTo>
                    <a:lnTo>
                      <a:pt x="205" y="46"/>
                    </a:lnTo>
                    <a:lnTo>
                      <a:pt x="205" y="48"/>
                    </a:lnTo>
                    <a:lnTo>
                      <a:pt x="207" y="46"/>
                    </a:lnTo>
                    <a:lnTo>
                      <a:pt x="207" y="48"/>
                    </a:lnTo>
                    <a:lnTo>
                      <a:pt x="209" y="48"/>
                    </a:lnTo>
                    <a:lnTo>
                      <a:pt x="211" y="48"/>
                    </a:lnTo>
                    <a:lnTo>
                      <a:pt x="211" y="46"/>
                    </a:lnTo>
                    <a:lnTo>
                      <a:pt x="211" y="44"/>
                    </a:lnTo>
                    <a:lnTo>
                      <a:pt x="209" y="42"/>
                    </a:lnTo>
                    <a:lnTo>
                      <a:pt x="211" y="42"/>
                    </a:lnTo>
                    <a:lnTo>
                      <a:pt x="211" y="40"/>
                    </a:lnTo>
                    <a:lnTo>
                      <a:pt x="211" y="38"/>
                    </a:lnTo>
                    <a:lnTo>
                      <a:pt x="211" y="36"/>
                    </a:lnTo>
                    <a:lnTo>
                      <a:pt x="209" y="36"/>
                    </a:lnTo>
                    <a:lnTo>
                      <a:pt x="209" y="34"/>
                    </a:lnTo>
                    <a:lnTo>
                      <a:pt x="209" y="32"/>
                    </a:lnTo>
                    <a:lnTo>
                      <a:pt x="211" y="32"/>
                    </a:lnTo>
                    <a:lnTo>
                      <a:pt x="213" y="32"/>
                    </a:lnTo>
                    <a:lnTo>
                      <a:pt x="213" y="34"/>
                    </a:lnTo>
                    <a:lnTo>
                      <a:pt x="215" y="34"/>
                    </a:lnTo>
                    <a:lnTo>
                      <a:pt x="217" y="34"/>
                    </a:lnTo>
                    <a:lnTo>
                      <a:pt x="219" y="34"/>
                    </a:lnTo>
                    <a:lnTo>
                      <a:pt x="219" y="32"/>
                    </a:lnTo>
                    <a:lnTo>
                      <a:pt x="221" y="32"/>
                    </a:lnTo>
                    <a:lnTo>
                      <a:pt x="221" y="30"/>
                    </a:lnTo>
                    <a:lnTo>
                      <a:pt x="223" y="30"/>
                    </a:lnTo>
                    <a:lnTo>
                      <a:pt x="223" y="32"/>
                    </a:lnTo>
                    <a:lnTo>
                      <a:pt x="223" y="30"/>
                    </a:lnTo>
                    <a:lnTo>
                      <a:pt x="223" y="32"/>
                    </a:lnTo>
                    <a:lnTo>
                      <a:pt x="225" y="32"/>
                    </a:lnTo>
                    <a:lnTo>
                      <a:pt x="225" y="34"/>
                    </a:lnTo>
                    <a:lnTo>
                      <a:pt x="225" y="36"/>
                    </a:lnTo>
                    <a:lnTo>
                      <a:pt x="227" y="36"/>
                    </a:lnTo>
                    <a:lnTo>
                      <a:pt x="228" y="38"/>
                    </a:lnTo>
                    <a:lnTo>
                      <a:pt x="228" y="40"/>
                    </a:lnTo>
                    <a:lnTo>
                      <a:pt x="230" y="40"/>
                    </a:lnTo>
                    <a:lnTo>
                      <a:pt x="230" y="38"/>
                    </a:lnTo>
                    <a:lnTo>
                      <a:pt x="230" y="36"/>
                    </a:lnTo>
                    <a:lnTo>
                      <a:pt x="230" y="34"/>
                    </a:lnTo>
                    <a:lnTo>
                      <a:pt x="230" y="32"/>
                    </a:lnTo>
                    <a:lnTo>
                      <a:pt x="232" y="30"/>
                    </a:lnTo>
                    <a:lnTo>
                      <a:pt x="232" y="28"/>
                    </a:lnTo>
                    <a:lnTo>
                      <a:pt x="234" y="30"/>
                    </a:lnTo>
                    <a:lnTo>
                      <a:pt x="234" y="32"/>
                    </a:lnTo>
                    <a:lnTo>
                      <a:pt x="236" y="32"/>
                    </a:lnTo>
                    <a:lnTo>
                      <a:pt x="236" y="34"/>
                    </a:lnTo>
                    <a:lnTo>
                      <a:pt x="238" y="34"/>
                    </a:lnTo>
                    <a:lnTo>
                      <a:pt x="238" y="36"/>
                    </a:lnTo>
                    <a:lnTo>
                      <a:pt x="238" y="38"/>
                    </a:lnTo>
                    <a:lnTo>
                      <a:pt x="240" y="38"/>
                    </a:lnTo>
                    <a:lnTo>
                      <a:pt x="240" y="40"/>
                    </a:lnTo>
                    <a:lnTo>
                      <a:pt x="238" y="40"/>
                    </a:lnTo>
                    <a:lnTo>
                      <a:pt x="240" y="42"/>
                    </a:lnTo>
                    <a:lnTo>
                      <a:pt x="242" y="42"/>
                    </a:lnTo>
                    <a:lnTo>
                      <a:pt x="244" y="42"/>
                    </a:lnTo>
                    <a:lnTo>
                      <a:pt x="246" y="42"/>
                    </a:lnTo>
                    <a:lnTo>
                      <a:pt x="246" y="40"/>
                    </a:lnTo>
                    <a:lnTo>
                      <a:pt x="248" y="40"/>
                    </a:lnTo>
                    <a:lnTo>
                      <a:pt x="250" y="40"/>
                    </a:lnTo>
                    <a:lnTo>
                      <a:pt x="248" y="38"/>
                    </a:lnTo>
                    <a:lnTo>
                      <a:pt x="248" y="36"/>
                    </a:lnTo>
                    <a:lnTo>
                      <a:pt x="250" y="36"/>
                    </a:lnTo>
                    <a:lnTo>
                      <a:pt x="250" y="34"/>
                    </a:lnTo>
                    <a:lnTo>
                      <a:pt x="250" y="32"/>
                    </a:lnTo>
                    <a:lnTo>
                      <a:pt x="250" y="30"/>
                    </a:lnTo>
                    <a:lnTo>
                      <a:pt x="252" y="32"/>
                    </a:lnTo>
                    <a:lnTo>
                      <a:pt x="252" y="30"/>
                    </a:lnTo>
                    <a:lnTo>
                      <a:pt x="252" y="28"/>
                    </a:lnTo>
                    <a:lnTo>
                      <a:pt x="253" y="28"/>
                    </a:lnTo>
                    <a:lnTo>
                      <a:pt x="252" y="28"/>
                    </a:lnTo>
                    <a:lnTo>
                      <a:pt x="253" y="28"/>
                    </a:lnTo>
                    <a:lnTo>
                      <a:pt x="252" y="26"/>
                    </a:lnTo>
                    <a:lnTo>
                      <a:pt x="252" y="25"/>
                    </a:lnTo>
                    <a:lnTo>
                      <a:pt x="253" y="25"/>
                    </a:lnTo>
                    <a:lnTo>
                      <a:pt x="252" y="25"/>
                    </a:lnTo>
                    <a:lnTo>
                      <a:pt x="252" y="23"/>
                    </a:lnTo>
                    <a:lnTo>
                      <a:pt x="250" y="21"/>
                    </a:lnTo>
                    <a:lnTo>
                      <a:pt x="250" y="19"/>
                    </a:lnTo>
                    <a:lnTo>
                      <a:pt x="252" y="17"/>
                    </a:lnTo>
                    <a:lnTo>
                      <a:pt x="252" y="15"/>
                    </a:lnTo>
                    <a:lnTo>
                      <a:pt x="253" y="13"/>
                    </a:lnTo>
                    <a:lnTo>
                      <a:pt x="253" y="11"/>
                    </a:lnTo>
                    <a:lnTo>
                      <a:pt x="255" y="11"/>
                    </a:lnTo>
                    <a:lnTo>
                      <a:pt x="257" y="11"/>
                    </a:lnTo>
                    <a:lnTo>
                      <a:pt x="259" y="11"/>
                    </a:lnTo>
                    <a:lnTo>
                      <a:pt x="259" y="13"/>
                    </a:lnTo>
                    <a:lnTo>
                      <a:pt x="261" y="13"/>
                    </a:lnTo>
                    <a:lnTo>
                      <a:pt x="263" y="11"/>
                    </a:lnTo>
                    <a:lnTo>
                      <a:pt x="263" y="13"/>
                    </a:lnTo>
                    <a:lnTo>
                      <a:pt x="265" y="13"/>
                    </a:lnTo>
                    <a:lnTo>
                      <a:pt x="267" y="11"/>
                    </a:lnTo>
                    <a:lnTo>
                      <a:pt x="267" y="9"/>
                    </a:lnTo>
                    <a:lnTo>
                      <a:pt x="269" y="9"/>
                    </a:lnTo>
                    <a:lnTo>
                      <a:pt x="271" y="9"/>
                    </a:lnTo>
                    <a:lnTo>
                      <a:pt x="271" y="7"/>
                    </a:lnTo>
                    <a:lnTo>
                      <a:pt x="273" y="9"/>
                    </a:lnTo>
                    <a:lnTo>
                      <a:pt x="275" y="7"/>
                    </a:lnTo>
                    <a:lnTo>
                      <a:pt x="277" y="5"/>
                    </a:lnTo>
                    <a:lnTo>
                      <a:pt x="275" y="3"/>
                    </a:lnTo>
                    <a:lnTo>
                      <a:pt x="273" y="1"/>
                    </a:lnTo>
                    <a:lnTo>
                      <a:pt x="275" y="1"/>
                    </a:lnTo>
                    <a:lnTo>
                      <a:pt x="277" y="1"/>
                    </a:lnTo>
                    <a:lnTo>
                      <a:pt x="278" y="1"/>
                    </a:lnTo>
                    <a:lnTo>
                      <a:pt x="280" y="1"/>
                    </a:lnTo>
                    <a:lnTo>
                      <a:pt x="280" y="0"/>
                    </a:lnTo>
                    <a:lnTo>
                      <a:pt x="282" y="0"/>
                    </a:lnTo>
                    <a:lnTo>
                      <a:pt x="284" y="0"/>
                    </a:lnTo>
                    <a:lnTo>
                      <a:pt x="286" y="1"/>
                    </a:lnTo>
                    <a:lnTo>
                      <a:pt x="288" y="1"/>
                    </a:lnTo>
                    <a:lnTo>
                      <a:pt x="290" y="1"/>
                    </a:lnTo>
                    <a:lnTo>
                      <a:pt x="292" y="1"/>
                    </a:lnTo>
                    <a:lnTo>
                      <a:pt x="294" y="1"/>
                    </a:lnTo>
                    <a:lnTo>
                      <a:pt x="296" y="3"/>
                    </a:lnTo>
                    <a:lnTo>
                      <a:pt x="298" y="3"/>
                    </a:lnTo>
                    <a:lnTo>
                      <a:pt x="300" y="5"/>
                    </a:lnTo>
                    <a:lnTo>
                      <a:pt x="300" y="7"/>
                    </a:lnTo>
                    <a:lnTo>
                      <a:pt x="301" y="7"/>
                    </a:lnTo>
                    <a:lnTo>
                      <a:pt x="303" y="7"/>
                    </a:lnTo>
                    <a:lnTo>
                      <a:pt x="305" y="9"/>
                    </a:lnTo>
                    <a:lnTo>
                      <a:pt x="305" y="11"/>
                    </a:lnTo>
                    <a:lnTo>
                      <a:pt x="309" y="11"/>
                    </a:lnTo>
                    <a:lnTo>
                      <a:pt x="311" y="11"/>
                    </a:lnTo>
                    <a:lnTo>
                      <a:pt x="313" y="15"/>
                    </a:lnTo>
                    <a:lnTo>
                      <a:pt x="313" y="17"/>
                    </a:lnTo>
                    <a:lnTo>
                      <a:pt x="315" y="19"/>
                    </a:lnTo>
                    <a:lnTo>
                      <a:pt x="317" y="19"/>
                    </a:lnTo>
                    <a:lnTo>
                      <a:pt x="319" y="19"/>
                    </a:lnTo>
                    <a:lnTo>
                      <a:pt x="321" y="21"/>
                    </a:lnTo>
                    <a:lnTo>
                      <a:pt x="321" y="25"/>
                    </a:lnTo>
                    <a:lnTo>
                      <a:pt x="321" y="23"/>
                    </a:lnTo>
                    <a:lnTo>
                      <a:pt x="323" y="23"/>
                    </a:lnTo>
                    <a:lnTo>
                      <a:pt x="323" y="25"/>
                    </a:lnTo>
                    <a:lnTo>
                      <a:pt x="325" y="25"/>
                    </a:lnTo>
                    <a:lnTo>
                      <a:pt x="325" y="26"/>
                    </a:lnTo>
                    <a:lnTo>
                      <a:pt x="325" y="28"/>
                    </a:lnTo>
                    <a:lnTo>
                      <a:pt x="326" y="30"/>
                    </a:lnTo>
                    <a:lnTo>
                      <a:pt x="326" y="32"/>
                    </a:lnTo>
                    <a:lnTo>
                      <a:pt x="328" y="32"/>
                    </a:lnTo>
                    <a:lnTo>
                      <a:pt x="328" y="34"/>
                    </a:lnTo>
                    <a:lnTo>
                      <a:pt x="330" y="34"/>
                    </a:lnTo>
                    <a:lnTo>
                      <a:pt x="330" y="36"/>
                    </a:lnTo>
                    <a:lnTo>
                      <a:pt x="332" y="38"/>
                    </a:lnTo>
                    <a:lnTo>
                      <a:pt x="332" y="40"/>
                    </a:lnTo>
                    <a:lnTo>
                      <a:pt x="332" y="42"/>
                    </a:lnTo>
                    <a:lnTo>
                      <a:pt x="332" y="44"/>
                    </a:lnTo>
                    <a:lnTo>
                      <a:pt x="334" y="44"/>
                    </a:lnTo>
                    <a:lnTo>
                      <a:pt x="334" y="46"/>
                    </a:lnTo>
                    <a:lnTo>
                      <a:pt x="336" y="46"/>
                    </a:lnTo>
                    <a:lnTo>
                      <a:pt x="336" y="48"/>
                    </a:lnTo>
                    <a:lnTo>
                      <a:pt x="336" y="50"/>
                    </a:lnTo>
                    <a:lnTo>
                      <a:pt x="334" y="51"/>
                    </a:lnTo>
                    <a:lnTo>
                      <a:pt x="332" y="51"/>
                    </a:lnTo>
                    <a:lnTo>
                      <a:pt x="332" y="53"/>
                    </a:lnTo>
                    <a:lnTo>
                      <a:pt x="332" y="55"/>
                    </a:lnTo>
                    <a:lnTo>
                      <a:pt x="334" y="55"/>
                    </a:lnTo>
                    <a:lnTo>
                      <a:pt x="334" y="57"/>
                    </a:lnTo>
                    <a:lnTo>
                      <a:pt x="336" y="57"/>
                    </a:lnTo>
                    <a:lnTo>
                      <a:pt x="336" y="59"/>
                    </a:lnTo>
                    <a:lnTo>
                      <a:pt x="336" y="61"/>
                    </a:lnTo>
                    <a:lnTo>
                      <a:pt x="336" y="63"/>
                    </a:lnTo>
                    <a:lnTo>
                      <a:pt x="336" y="65"/>
                    </a:lnTo>
                    <a:lnTo>
                      <a:pt x="338" y="65"/>
                    </a:lnTo>
                    <a:lnTo>
                      <a:pt x="338" y="67"/>
                    </a:lnTo>
                    <a:lnTo>
                      <a:pt x="338" y="71"/>
                    </a:lnTo>
                    <a:lnTo>
                      <a:pt x="336" y="71"/>
                    </a:lnTo>
                    <a:lnTo>
                      <a:pt x="334" y="71"/>
                    </a:lnTo>
                    <a:lnTo>
                      <a:pt x="332" y="71"/>
                    </a:lnTo>
                    <a:lnTo>
                      <a:pt x="330" y="71"/>
                    </a:lnTo>
                    <a:lnTo>
                      <a:pt x="328" y="69"/>
                    </a:lnTo>
                    <a:lnTo>
                      <a:pt x="328" y="71"/>
                    </a:lnTo>
                    <a:lnTo>
                      <a:pt x="328" y="73"/>
                    </a:lnTo>
                    <a:lnTo>
                      <a:pt x="328" y="74"/>
                    </a:lnTo>
                    <a:lnTo>
                      <a:pt x="328" y="76"/>
                    </a:lnTo>
                    <a:lnTo>
                      <a:pt x="326" y="76"/>
                    </a:lnTo>
                    <a:lnTo>
                      <a:pt x="326" y="78"/>
                    </a:lnTo>
                    <a:lnTo>
                      <a:pt x="328" y="78"/>
                    </a:lnTo>
                    <a:lnTo>
                      <a:pt x="328" y="80"/>
                    </a:lnTo>
                    <a:lnTo>
                      <a:pt x="326" y="80"/>
                    </a:lnTo>
                    <a:lnTo>
                      <a:pt x="326" y="82"/>
                    </a:lnTo>
                    <a:lnTo>
                      <a:pt x="325" y="82"/>
                    </a:lnTo>
                    <a:lnTo>
                      <a:pt x="323" y="82"/>
                    </a:lnTo>
                    <a:lnTo>
                      <a:pt x="323" y="84"/>
                    </a:lnTo>
                    <a:lnTo>
                      <a:pt x="323" y="86"/>
                    </a:lnTo>
                    <a:lnTo>
                      <a:pt x="323" y="88"/>
                    </a:lnTo>
                    <a:lnTo>
                      <a:pt x="323" y="90"/>
                    </a:lnTo>
                    <a:lnTo>
                      <a:pt x="323" y="92"/>
                    </a:lnTo>
                    <a:lnTo>
                      <a:pt x="321" y="92"/>
                    </a:lnTo>
                    <a:lnTo>
                      <a:pt x="323" y="94"/>
                    </a:lnTo>
                    <a:lnTo>
                      <a:pt x="323" y="96"/>
                    </a:lnTo>
                    <a:lnTo>
                      <a:pt x="325" y="96"/>
                    </a:lnTo>
                    <a:lnTo>
                      <a:pt x="325" y="98"/>
                    </a:lnTo>
                    <a:lnTo>
                      <a:pt x="326" y="96"/>
                    </a:lnTo>
                    <a:lnTo>
                      <a:pt x="328" y="98"/>
                    </a:lnTo>
                    <a:lnTo>
                      <a:pt x="328" y="99"/>
                    </a:lnTo>
                    <a:lnTo>
                      <a:pt x="326" y="99"/>
                    </a:lnTo>
                    <a:lnTo>
                      <a:pt x="326" y="101"/>
                    </a:lnTo>
                    <a:lnTo>
                      <a:pt x="326" y="103"/>
                    </a:lnTo>
                    <a:lnTo>
                      <a:pt x="328" y="101"/>
                    </a:lnTo>
                    <a:lnTo>
                      <a:pt x="330" y="103"/>
                    </a:lnTo>
                    <a:lnTo>
                      <a:pt x="332" y="103"/>
                    </a:lnTo>
                    <a:lnTo>
                      <a:pt x="334" y="105"/>
                    </a:lnTo>
                    <a:lnTo>
                      <a:pt x="336" y="105"/>
                    </a:lnTo>
                    <a:lnTo>
                      <a:pt x="338" y="105"/>
                    </a:lnTo>
                    <a:lnTo>
                      <a:pt x="340" y="105"/>
                    </a:lnTo>
                    <a:lnTo>
                      <a:pt x="340" y="107"/>
                    </a:lnTo>
                    <a:lnTo>
                      <a:pt x="342" y="105"/>
                    </a:lnTo>
                    <a:lnTo>
                      <a:pt x="342" y="103"/>
                    </a:lnTo>
                    <a:lnTo>
                      <a:pt x="344" y="103"/>
                    </a:lnTo>
                    <a:lnTo>
                      <a:pt x="344" y="101"/>
                    </a:lnTo>
                    <a:lnTo>
                      <a:pt x="346" y="101"/>
                    </a:lnTo>
                    <a:lnTo>
                      <a:pt x="348" y="99"/>
                    </a:lnTo>
                    <a:lnTo>
                      <a:pt x="348" y="98"/>
                    </a:lnTo>
                    <a:lnTo>
                      <a:pt x="350" y="98"/>
                    </a:lnTo>
                    <a:lnTo>
                      <a:pt x="350" y="96"/>
                    </a:lnTo>
                    <a:lnTo>
                      <a:pt x="351" y="94"/>
                    </a:lnTo>
                    <a:lnTo>
                      <a:pt x="353" y="96"/>
                    </a:lnTo>
                    <a:lnTo>
                      <a:pt x="355" y="96"/>
                    </a:lnTo>
                    <a:lnTo>
                      <a:pt x="357" y="96"/>
                    </a:lnTo>
                    <a:lnTo>
                      <a:pt x="357" y="98"/>
                    </a:lnTo>
                    <a:lnTo>
                      <a:pt x="359" y="99"/>
                    </a:lnTo>
                    <a:lnTo>
                      <a:pt x="361" y="99"/>
                    </a:lnTo>
                    <a:lnTo>
                      <a:pt x="361" y="101"/>
                    </a:lnTo>
                    <a:lnTo>
                      <a:pt x="363" y="99"/>
                    </a:lnTo>
                    <a:lnTo>
                      <a:pt x="363" y="98"/>
                    </a:lnTo>
                    <a:lnTo>
                      <a:pt x="365" y="98"/>
                    </a:lnTo>
                    <a:lnTo>
                      <a:pt x="365" y="99"/>
                    </a:lnTo>
                    <a:lnTo>
                      <a:pt x="367" y="101"/>
                    </a:lnTo>
                    <a:lnTo>
                      <a:pt x="367" y="103"/>
                    </a:lnTo>
                    <a:lnTo>
                      <a:pt x="369" y="103"/>
                    </a:lnTo>
                    <a:lnTo>
                      <a:pt x="369" y="105"/>
                    </a:lnTo>
                    <a:lnTo>
                      <a:pt x="371" y="105"/>
                    </a:lnTo>
                    <a:lnTo>
                      <a:pt x="373" y="107"/>
                    </a:lnTo>
                    <a:lnTo>
                      <a:pt x="374" y="107"/>
                    </a:lnTo>
                    <a:lnTo>
                      <a:pt x="374" y="105"/>
                    </a:lnTo>
                    <a:lnTo>
                      <a:pt x="376" y="103"/>
                    </a:lnTo>
                    <a:lnTo>
                      <a:pt x="378" y="101"/>
                    </a:lnTo>
                    <a:lnTo>
                      <a:pt x="380" y="101"/>
                    </a:lnTo>
                    <a:lnTo>
                      <a:pt x="380" y="103"/>
                    </a:lnTo>
                    <a:lnTo>
                      <a:pt x="378" y="103"/>
                    </a:lnTo>
                    <a:lnTo>
                      <a:pt x="380" y="103"/>
                    </a:lnTo>
                    <a:lnTo>
                      <a:pt x="382" y="103"/>
                    </a:lnTo>
                    <a:lnTo>
                      <a:pt x="384" y="105"/>
                    </a:lnTo>
                    <a:lnTo>
                      <a:pt x="386" y="105"/>
                    </a:lnTo>
                    <a:lnTo>
                      <a:pt x="386" y="107"/>
                    </a:lnTo>
                    <a:lnTo>
                      <a:pt x="386" y="109"/>
                    </a:lnTo>
                    <a:lnTo>
                      <a:pt x="388" y="109"/>
                    </a:lnTo>
                    <a:lnTo>
                      <a:pt x="390" y="111"/>
                    </a:lnTo>
                    <a:lnTo>
                      <a:pt x="390" y="113"/>
                    </a:lnTo>
                    <a:lnTo>
                      <a:pt x="390" y="115"/>
                    </a:lnTo>
                    <a:lnTo>
                      <a:pt x="392" y="117"/>
                    </a:lnTo>
                    <a:lnTo>
                      <a:pt x="394" y="119"/>
                    </a:lnTo>
                    <a:lnTo>
                      <a:pt x="394" y="121"/>
                    </a:lnTo>
                    <a:lnTo>
                      <a:pt x="394" y="123"/>
                    </a:lnTo>
                    <a:lnTo>
                      <a:pt x="396" y="124"/>
                    </a:lnTo>
                    <a:lnTo>
                      <a:pt x="398" y="130"/>
                    </a:lnTo>
                    <a:lnTo>
                      <a:pt x="399" y="132"/>
                    </a:lnTo>
                    <a:lnTo>
                      <a:pt x="398" y="132"/>
                    </a:lnTo>
                    <a:lnTo>
                      <a:pt x="396" y="134"/>
                    </a:lnTo>
                    <a:lnTo>
                      <a:pt x="396" y="136"/>
                    </a:lnTo>
                    <a:lnTo>
                      <a:pt x="394" y="138"/>
                    </a:lnTo>
                    <a:lnTo>
                      <a:pt x="392" y="138"/>
                    </a:lnTo>
                    <a:lnTo>
                      <a:pt x="390" y="138"/>
                    </a:lnTo>
                    <a:lnTo>
                      <a:pt x="388" y="138"/>
                    </a:lnTo>
                    <a:lnTo>
                      <a:pt x="388" y="136"/>
                    </a:lnTo>
                    <a:lnTo>
                      <a:pt x="386" y="136"/>
                    </a:lnTo>
                    <a:lnTo>
                      <a:pt x="384" y="136"/>
                    </a:lnTo>
                    <a:lnTo>
                      <a:pt x="384" y="138"/>
                    </a:lnTo>
                    <a:lnTo>
                      <a:pt x="382" y="138"/>
                    </a:lnTo>
                    <a:lnTo>
                      <a:pt x="380" y="138"/>
                    </a:lnTo>
                    <a:lnTo>
                      <a:pt x="378" y="140"/>
                    </a:lnTo>
                    <a:lnTo>
                      <a:pt x="378" y="142"/>
                    </a:lnTo>
                    <a:lnTo>
                      <a:pt x="378" y="144"/>
                    </a:lnTo>
                    <a:lnTo>
                      <a:pt x="378" y="146"/>
                    </a:lnTo>
                    <a:lnTo>
                      <a:pt x="380" y="148"/>
                    </a:lnTo>
                    <a:lnTo>
                      <a:pt x="382" y="149"/>
                    </a:lnTo>
                    <a:lnTo>
                      <a:pt x="382" y="151"/>
                    </a:lnTo>
                    <a:lnTo>
                      <a:pt x="384" y="151"/>
                    </a:lnTo>
                    <a:lnTo>
                      <a:pt x="382" y="151"/>
                    </a:lnTo>
                    <a:lnTo>
                      <a:pt x="382" y="153"/>
                    </a:lnTo>
                    <a:lnTo>
                      <a:pt x="384" y="153"/>
                    </a:lnTo>
                    <a:lnTo>
                      <a:pt x="386" y="153"/>
                    </a:lnTo>
                    <a:lnTo>
                      <a:pt x="386" y="155"/>
                    </a:lnTo>
                    <a:lnTo>
                      <a:pt x="386" y="157"/>
                    </a:lnTo>
                    <a:lnTo>
                      <a:pt x="384" y="157"/>
                    </a:lnTo>
                    <a:lnTo>
                      <a:pt x="382" y="157"/>
                    </a:lnTo>
                    <a:lnTo>
                      <a:pt x="380" y="157"/>
                    </a:lnTo>
                    <a:lnTo>
                      <a:pt x="382" y="157"/>
                    </a:lnTo>
                    <a:lnTo>
                      <a:pt x="382" y="159"/>
                    </a:lnTo>
                    <a:lnTo>
                      <a:pt x="380" y="159"/>
                    </a:lnTo>
                    <a:lnTo>
                      <a:pt x="382" y="161"/>
                    </a:lnTo>
                    <a:lnTo>
                      <a:pt x="380" y="161"/>
                    </a:lnTo>
                    <a:lnTo>
                      <a:pt x="380" y="159"/>
                    </a:lnTo>
                    <a:lnTo>
                      <a:pt x="380" y="161"/>
                    </a:lnTo>
                    <a:lnTo>
                      <a:pt x="380" y="163"/>
                    </a:lnTo>
                    <a:lnTo>
                      <a:pt x="378" y="163"/>
                    </a:lnTo>
                    <a:lnTo>
                      <a:pt x="378" y="165"/>
                    </a:lnTo>
                    <a:lnTo>
                      <a:pt x="378" y="163"/>
                    </a:lnTo>
                    <a:lnTo>
                      <a:pt x="378" y="165"/>
                    </a:lnTo>
                    <a:lnTo>
                      <a:pt x="378" y="163"/>
                    </a:lnTo>
                    <a:lnTo>
                      <a:pt x="376" y="163"/>
                    </a:lnTo>
                    <a:lnTo>
                      <a:pt x="376" y="161"/>
                    </a:lnTo>
                    <a:lnTo>
                      <a:pt x="374" y="161"/>
                    </a:lnTo>
                    <a:lnTo>
                      <a:pt x="373" y="161"/>
                    </a:lnTo>
                    <a:lnTo>
                      <a:pt x="371" y="161"/>
                    </a:lnTo>
                    <a:lnTo>
                      <a:pt x="371" y="159"/>
                    </a:lnTo>
                    <a:lnTo>
                      <a:pt x="369" y="157"/>
                    </a:lnTo>
                    <a:lnTo>
                      <a:pt x="371" y="155"/>
                    </a:lnTo>
                    <a:lnTo>
                      <a:pt x="369" y="155"/>
                    </a:lnTo>
                    <a:lnTo>
                      <a:pt x="371" y="153"/>
                    </a:lnTo>
                    <a:lnTo>
                      <a:pt x="369" y="151"/>
                    </a:lnTo>
                    <a:lnTo>
                      <a:pt x="369" y="149"/>
                    </a:lnTo>
                    <a:lnTo>
                      <a:pt x="367" y="149"/>
                    </a:lnTo>
                    <a:lnTo>
                      <a:pt x="367" y="151"/>
                    </a:lnTo>
                    <a:lnTo>
                      <a:pt x="365" y="151"/>
                    </a:lnTo>
                    <a:lnTo>
                      <a:pt x="365" y="153"/>
                    </a:lnTo>
                    <a:lnTo>
                      <a:pt x="367" y="153"/>
                    </a:lnTo>
                    <a:lnTo>
                      <a:pt x="365" y="153"/>
                    </a:lnTo>
                    <a:lnTo>
                      <a:pt x="363" y="153"/>
                    </a:lnTo>
                    <a:lnTo>
                      <a:pt x="361" y="153"/>
                    </a:lnTo>
                    <a:lnTo>
                      <a:pt x="361" y="151"/>
                    </a:lnTo>
                    <a:lnTo>
                      <a:pt x="361" y="153"/>
                    </a:lnTo>
                    <a:lnTo>
                      <a:pt x="359" y="153"/>
                    </a:lnTo>
                    <a:lnTo>
                      <a:pt x="357" y="153"/>
                    </a:lnTo>
                    <a:lnTo>
                      <a:pt x="357" y="155"/>
                    </a:lnTo>
                    <a:lnTo>
                      <a:pt x="355" y="155"/>
                    </a:lnTo>
                    <a:lnTo>
                      <a:pt x="355" y="157"/>
                    </a:lnTo>
                    <a:lnTo>
                      <a:pt x="353" y="157"/>
                    </a:lnTo>
                    <a:lnTo>
                      <a:pt x="353" y="159"/>
                    </a:lnTo>
                    <a:lnTo>
                      <a:pt x="351" y="159"/>
                    </a:lnTo>
                    <a:lnTo>
                      <a:pt x="350" y="159"/>
                    </a:lnTo>
                    <a:lnTo>
                      <a:pt x="348" y="161"/>
                    </a:lnTo>
                    <a:lnTo>
                      <a:pt x="346" y="163"/>
                    </a:lnTo>
                    <a:lnTo>
                      <a:pt x="346" y="165"/>
                    </a:lnTo>
                    <a:lnTo>
                      <a:pt x="344" y="165"/>
                    </a:lnTo>
                    <a:lnTo>
                      <a:pt x="344" y="167"/>
                    </a:lnTo>
                    <a:lnTo>
                      <a:pt x="342" y="167"/>
                    </a:lnTo>
                    <a:lnTo>
                      <a:pt x="342" y="169"/>
                    </a:lnTo>
                    <a:lnTo>
                      <a:pt x="340" y="169"/>
                    </a:lnTo>
                    <a:lnTo>
                      <a:pt x="342" y="167"/>
                    </a:lnTo>
                    <a:lnTo>
                      <a:pt x="344" y="167"/>
                    </a:lnTo>
                    <a:lnTo>
                      <a:pt x="342" y="167"/>
                    </a:lnTo>
                    <a:lnTo>
                      <a:pt x="342" y="165"/>
                    </a:lnTo>
                    <a:lnTo>
                      <a:pt x="340" y="165"/>
                    </a:lnTo>
                    <a:lnTo>
                      <a:pt x="340" y="163"/>
                    </a:lnTo>
                    <a:lnTo>
                      <a:pt x="338" y="163"/>
                    </a:lnTo>
                    <a:lnTo>
                      <a:pt x="338" y="161"/>
                    </a:lnTo>
                    <a:lnTo>
                      <a:pt x="338" y="159"/>
                    </a:lnTo>
                    <a:lnTo>
                      <a:pt x="338" y="157"/>
                    </a:lnTo>
                    <a:lnTo>
                      <a:pt x="336" y="157"/>
                    </a:lnTo>
                    <a:lnTo>
                      <a:pt x="336" y="155"/>
                    </a:lnTo>
                    <a:lnTo>
                      <a:pt x="334" y="155"/>
                    </a:lnTo>
                    <a:lnTo>
                      <a:pt x="332" y="155"/>
                    </a:lnTo>
                    <a:lnTo>
                      <a:pt x="334" y="155"/>
                    </a:lnTo>
                    <a:lnTo>
                      <a:pt x="332" y="155"/>
                    </a:lnTo>
                    <a:lnTo>
                      <a:pt x="332" y="153"/>
                    </a:lnTo>
                    <a:lnTo>
                      <a:pt x="330" y="153"/>
                    </a:lnTo>
                    <a:lnTo>
                      <a:pt x="330" y="151"/>
                    </a:lnTo>
                    <a:lnTo>
                      <a:pt x="328" y="151"/>
                    </a:lnTo>
                    <a:lnTo>
                      <a:pt x="328" y="149"/>
                    </a:lnTo>
                    <a:lnTo>
                      <a:pt x="326" y="149"/>
                    </a:lnTo>
                    <a:lnTo>
                      <a:pt x="325" y="149"/>
                    </a:lnTo>
                    <a:lnTo>
                      <a:pt x="323" y="149"/>
                    </a:lnTo>
                    <a:lnTo>
                      <a:pt x="323" y="148"/>
                    </a:lnTo>
                    <a:lnTo>
                      <a:pt x="321" y="148"/>
                    </a:lnTo>
                    <a:lnTo>
                      <a:pt x="321" y="146"/>
                    </a:lnTo>
                    <a:lnTo>
                      <a:pt x="321" y="144"/>
                    </a:lnTo>
                    <a:lnTo>
                      <a:pt x="319" y="142"/>
                    </a:lnTo>
                    <a:lnTo>
                      <a:pt x="321" y="142"/>
                    </a:lnTo>
                    <a:lnTo>
                      <a:pt x="319" y="142"/>
                    </a:lnTo>
                    <a:lnTo>
                      <a:pt x="319" y="140"/>
                    </a:lnTo>
                    <a:lnTo>
                      <a:pt x="319" y="138"/>
                    </a:lnTo>
                    <a:lnTo>
                      <a:pt x="321" y="136"/>
                    </a:lnTo>
                    <a:lnTo>
                      <a:pt x="319" y="138"/>
                    </a:lnTo>
                    <a:lnTo>
                      <a:pt x="319" y="140"/>
                    </a:lnTo>
                    <a:lnTo>
                      <a:pt x="319" y="142"/>
                    </a:lnTo>
                    <a:lnTo>
                      <a:pt x="321" y="142"/>
                    </a:lnTo>
                    <a:lnTo>
                      <a:pt x="319" y="142"/>
                    </a:lnTo>
                    <a:lnTo>
                      <a:pt x="319" y="144"/>
                    </a:lnTo>
                    <a:lnTo>
                      <a:pt x="321" y="144"/>
                    </a:lnTo>
                    <a:lnTo>
                      <a:pt x="321" y="146"/>
                    </a:lnTo>
                    <a:lnTo>
                      <a:pt x="321" y="148"/>
                    </a:lnTo>
                    <a:lnTo>
                      <a:pt x="323" y="148"/>
                    </a:lnTo>
                    <a:lnTo>
                      <a:pt x="323" y="149"/>
                    </a:lnTo>
                    <a:lnTo>
                      <a:pt x="325" y="149"/>
                    </a:lnTo>
                    <a:lnTo>
                      <a:pt x="326" y="149"/>
                    </a:lnTo>
                    <a:lnTo>
                      <a:pt x="325" y="149"/>
                    </a:lnTo>
                    <a:lnTo>
                      <a:pt x="326" y="149"/>
                    </a:lnTo>
                    <a:lnTo>
                      <a:pt x="326" y="151"/>
                    </a:lnTo>
                    <a:lnTo>
                      <a:pt x="328" y="149"/>
                    </a:lnTo>
                    <a:lnTo>
                      <a:pt x="328" y="151"/>
                    </a:lnTo>
                    <a:lnTo>
                      <a:pt x="330" y="151"/>
                    </a:lnTo>
                    <a:lnTo>
                      <a:pt x="330" y="153"/>
                    </a:lnTo>
                    <a:lnTo>
                      <a:pt x="332" y="153"/>
                    </a:lnTo>
                    <a:lnTo>
                      <a:pt x="332" y="155"/>
                    </a:lnTo>
                    <a:lnTo>
                      <a:pt x="330" y="153"/>
                    </a:lnTo>
                    <a:lnTo>
                      <a:pt x="332" y="155"/>
                    </a:lnTo>
                    <a:lnTo>
                      <a:pt x="334" y="155"/>
                    </a:lnTo>
                    <a:lnTo>
                      <a:pt x="334" y="157"/>
                    </a:lnTo>
                    <a:lnTo>
                      <a:pt x="336" y="157"/>
                    </a:lnTo>
                    <a:lnTo>
                      <a:pt x="336" y="159"/>
                    </a:lnTo>
                    <a:lnTo>
                      <a:pt x="338" y="159"/>
                    </a:lnTo>
                    <a:lnTo>
                      <a:pt x="338" y="161"/>
                    </a:lnTo>
                    <a:lnTo>
                      <a:pt x="338" y="163"/>
                    </a:lnTo>
                    <a:lnTo>
                      <a:pt x="340" y="163"/>
                    </a:lnTo>
                    <a:lnTo>
                      <a:pt x="340" y="165"/>
                    </a:lnTo>
                    <a:lnTo>
                      <a:pt x="340" y="167"/>
                    </a:lnTo>
                    <a:lnTo>
                      <a:pt x="342" y="167"/>
                    </a:lnTo>
                    <a:lnTo>
                      <a:pt x="342" y="165"/>
                    </a:lnTo>
                    <a:lnTo>
                      <a:pt x="342" y="167"/>
                    </a:lnTo>
                    <a:lnTo>
                      <a:pt x="340" y="169"/>
                    </a:lnTo>
                    <a:lnTo>
                      <a:pt x="340" y="167"/>
                    </a:lnTo>
                    <a:lnTo>
                      <a:pt x="340" y="169"/>
                    </a:lnTo>
                    <a:lnTo>
                      <a:pt x="338" y="169"/>
                    </a:lnTo>
                    <a:lnTo>
                      <a:pt x="336" y="169"/>
                    </a:lnTo>
                    <a:lnTo>
                      <a:pt x="336" y="171"/>
                    </a:lnTo>
                    <a:lnTo>
                      <a:pt x="334" y="171"/>
                    </a:lnTo>
                    <a:lnTo>
                      <a:pt x="332" y="171"/>
                    </a:lnTo>
                    <a:lnTo>
                      <a:pt x="332" y="173"/>
                    </a:lnTo>
                    <a:lnTo>
                      <a:pt x="330" y="173"/>
                    </a:lnTo>
                    <a:lnTo>
                      <a:pt x="332" y="173"/>
                    </a:lnTo>
                    <a:lnTo>
                      <a:pt x="334" y="171"/>
                    </a:lnTo>
                    <a:lnTo>
                      <a:pt x="332" y="173"/>
                    </a:lnTo>
                    <a:lnTo>
                      <a:pt x="330" y="173"/>
                    </a:lnTo>
                    <a:lnTo>
                      <a:pt x="328" y="174"/>
                    </a:lnTo>
                    <a:lnTo>
                      <a:pt x="328" y="173"/>
                    </a:lnTo>
                    <a:lnTo>
                      <a:pt x="328" y="171"/>
                    </a:lnTo>
                    <a:lnTo>
                      <a:pt x="326" y="171"/>
                    </a:lnTo>
                    <a:lnTo>
                      <a:pt x="328" y="171"/>
                    </a:lnTo>
                    <a:lnTo>
                      <a:pt x="326" y="171"/>
                    </a:lnTo>
                    <a:lnTo>
                      <a:pt x="326" y="169"/>
                    </a:lnTo>
                    <a:lnTo>
                      <a:pt x="326" y="167"/>
                    </a:lnTo>
                    <a:lnTo>
                      <a:pt x="325" y="167"/>
                    </a:lnTo>
                    <a:lnTo>
                      <a:pt x="326" y="169"/>
                    </a:lnTo>
                    <a:lnTo>
                      <a:pt x="326" y="171"/>
                    </a:lnTo>
                    <a:lnTo>
                      <a:pt x="326" y="173"/>
                    </a:lnTo>
                    <a:lnTo>
                      <a:pt x="328" y="173"/>
                    </a:lnTo>
                    <a:lnTo>
                      <a:pt x="328" y="174"/>
                    </a:lnTo>
                    <a:lnTo>
                      <a:pt x="326" y="174"/>
                    </a:lnTo>
                    <a:lnTo>
                      <a:pt x="325" y="174"/>
                    </a:lnTo>
                    <a:lnTo>
                      <a:pt x="325" y="176"/>
                    </a:lnTo>
                    <a:lnTo>
                      <a:pt x="326" y="174"/>
                    </a:lnTo>
                    <a:lnTo>
                      <a:pt x="326" y="176"/>
                    </a:lnTo>
                    <a:lnTo>
                      <a:pt x="326" y="174"/>
                    </a:lnTo>
                    <a:lnTo>
                      <a:pt x="328" y="174"/>
                    </a:lnTo>
                    <a:lnTo>
                      <a:pt x="326" y="174"/>
                    </a:lnTo>
                    <a:lnTo>
                      <a:pt x="325" y="176"/>
                    </a:lnTo>
                    <a:lnTo>
                      <a:pt x="323" y="176"/>
                    </a:lnTo>
                    <a:lnTo>
                      <a:pt x="321" y="176"/>
                    </a:lnTo>
                    <a:lnTo>
                      <a:pt x="317" y="178"/>
                    </a:lnTo>
                    <a:lnTo>
                      <a:pt x="315" y="178"/>
                    </a:lnTo>
                    <a:lnTo>
                      <a:pt x="313" y="180"/>
                    </a:lnTo>
                    <a:lnTo>
                      <a:pt x="311" y="182"/>
                    </a:lnTo>
                    <a:lnTo>
                      <a:pt x="309" y="184"/>
                    </a:lnTo>
                    <a:lnTo>
                      <a:pt x="309" y="186"/>
                    </a:lnTo>
                    <a:lnTo>
                      <a:pt x="307" y="186"/>
                    </a:lnTo>
                    <a:lnTo>
                      <a:pt x="307" y="188"/>
                    </a:lnTo>
                    <a:lnTo>
                      <a:pt x="307" y="190"/>
                    </a:lnTo>
                    <a:lnTo>
                      <a:pt x="305" y="190"/>
                    </a:lnTo>
                    <a:lnTo>
                      <a:pt x="305" y="192"/>
                    </a:lnTo>
                    <a:lnTo>
                      <a:pt x="305" y="190"/>
                    </a:lnTo>
                    <a:lnTo>
                      <a:pt x="305" y="192"/>
                    </a:lnTo>
                    <a:lnTo>
                      <a:pt x="303" y="192"/>
                    </a:lnTo>
                    <a:lnTo>
                      <a:pt x="301" y="192"/>
                    </a:lnTo>
                    <a:lnTo>
                      <a:pt x="300" y="192"/>
                    </a:lnTo>
                    <a:lnTo>
                      <a:pt x="298" y="192"/>
                    </a:lnTo>
                    <a:lnTo>
                      <a:pt x="296" y="194"/>
                    </a:lnTo>
                    <a:lnTo>
                      <a:pt x="296" y="192"/>
                    </a:lnTo>
                    <a:lnTo>
                      <a:pt x="298" y="192"/>
                    </a:lnTo>
                    <a:lnTo>
                      <a:pt x="296" y="192"/>
                    </a:lnTo>
                    <a:lnTo>
                      <a:pt x="298" y="192"/>
                    </a:lnTo>
                    <a:lnTo>
                      <a:pt x="296" y="192"/>
                    </a:lnTo>
                    <a:lnTo>
                      <a:pt x="296" y="190"/>
                    </a:lnTo>
                    <a:lnTo>
                      <a:pt x="298" y="190"/>
                    </a:lnTo>
                    <a:lnTo>
                      <a:pt x="298" y="188"/>
                    </a:lnTo>
                    <a:lnTo>
                      <a:pt x="296" y="188"/>
                    </a:lnTo>
                    <a:lnTo>
                      <a:pt x="298" y="188"/>
                    </a:lnTo>
                    <a:lnTo>
                      <a:pt x="298" y="190"/>
                    </a:lnTo>
                    <a:lnTo>
                      <a:pt x="296" y="190"/>
                    </a:lnTo>
                    <a:lnTo>
                      <a:pt x="296" y="192"/>
                    </a:lnTo>
                    <a:lnTo>
                      <a:pt x="296" y="194"/>
                    </a:lnTo>
                    <a:lnTo>
                      <a:pt x="294" y="196"/>
                    </a:lnTo>
                    <a:lnTo>
                      <a:pt x="292" y="196"/>
                    </a:lnTo>
                    <a:lnTo>
                      <a:pt x="292" y="194"/>
                    </a:lnTo>
                    <a:lnTo>
                      <a:pt x="290" y="194"/>
                    </a:lnTo>
                    <a:lnTo>
                      <a:pt x="290" y="192"/>
                    </a:lnTo>
                    <a:lnTo>
                      <a:pt x="290" y="194"/>
                    </a:lnTo>
                    <a:lnTo>
                      <a:pt x="290" y="192"/>
                    </a:lnTo>
                    <a:lnTo>
                      <a:pt x="290" y="194"/>
                    </a:lnTo>
                    <a:lnTo>
                      <a:pt x="290" y="192"/>
                    </a:lnTo>
                    <a:lnTo>
                      <a:pt x="288" y="192"/>
                    </a:lnTo>
                    <a:lnTo>
                      <a:pt x="290" y="192"/>
                    </a:lnTo>
                    <a:lnTo>
                      <a:pt x="288" y="192"/>
                    </a:lnTo>
                    <a:lnTo>
                      <a:pt x="288" y="190"/>
                    </a:lnTo>
                    <a:lnTo>
                      <a:pt x="286" y="190"/>
                    </a:lnTo>
                    <a:lnTo>
                      <a:pt x="288" y="190"/>
                    </a:lnTo>
                    <a:lnTo>
                      <a:pt x="286" y="190"/>
                    </a:lnTo>
                    <a:lnTo>
                      <a:pt x="286" y="188"/>
                    </a:lnTo>
                    <a:lnTo>
                      <a:pt x="284" y="188"/>
                    </a:lnTo>
                    <a:lnTo>
                      <a:pt x="282" y="188"/>
                    </a:lnTo>
                    <a:lnTo>
                      <a:pt x="282" y="186"/>
                    </a:lnTo>
                    <a:lnTo>
                      <a:pt x="280" y="184"/>
                    </a:lnTo>
                    <a:lnTo>
                      <a:pt x="278" y="184"/>
                    </a:lnTo>
                    <a:lnTo>
                      <a:pt x="280" y="184"/>
                    </a:lnTo>
                    <a:lnTo>
                      <a:pt x="282" y="186"/>
                    </a:lnTo>
                    <a:lnTo>
                      <a:pt x="282" y="188"/>
                    </a:lnTo>
                    <a:lnTo>
                      <a:pt x="284" y="188"/>
                    </a:lnTo>
                    <a:lnTo>
                      <a:pt x="282" y="188"/>
                    </a:lnTo>
                    <a:lnTo>
                      <a:pt x="284" y="188"/>
                    </a:lnTo>
                    <a:lnTo>
                      <a:pt x="284" y="190"/>
                    </a:lnTo>
                    <a:lnTo>
                      <a:pt x="286" y="190"/>
                    </a:lnTo>
                    <a:lnTo>
                      <a:pt x="288" y="190"/>
                    </a:lnTo>
                    <a:lnTo>
                      <a:pt x="288" y="192"/>
                    </a:lnTo>
                    <a:lnTo>
                      <a:pt x="290" y="192"/>
                    </a:lnTo>
                    <a:lnTo>
                      <a:pt x="290" y="194"/>
                    </a:lnTo>
                    <a:lnTo>
                      <a:pt x="292" y="194"/>
                    </a:lnTo>
                    <a:lnTo>
                      <a:pt x="292" y="196"/>
                    </a:lnTo>
                    <a:lnTo>
                      <a:pt x="294" y="196"/>
                    </a:lnTo>
                    <a:lnTo>
                      <a:pt x="294" y="198"/>
                    </a:lnTo>
                    <a:lnTo>
                      <a:pt x="292" y="198"/>
                    </a:lnTo>
                    <a:lnTo>
                      <a:pt x="292" y="199"/>
                    </a:lnTo>
                    <a:lnTo>
                      <a:pt x="290" y="201"/>
                    </a:lnTo>
                    <a:lnTo>
                      <a:pt x="290" y="203"/>
                    </a:lnTo>
                    <a:lnTo>
                      <a:pt x="286" y="205"/>
                    </a:lnTo>
                    <a:lnTo>
                      <a:pt x="286" y="207"/>
                    </a:lnTo>
                    <a:lnTo>
                      <a:pt x="284" y="207"/>
                    </a:lnTo>
                    <a:lnTo>
                      <a:pt x="284" y="209"/>
                    </a:lnTo>
                    <a:lnTo>
                      <a:pt x="282" y="213"/>
                    </a:lnTo>
                    <a:lnTo>
                      <a:pt x="280" y="213"/>
                    </a:lnTo>
                    <a:lnTo>
                      <a:pt x="280" y="215"/>
                    </a:lnTo>
                    <a:lnTo>
                      <a:pt x="280" y="217"/>
                    </a:lnTo>
                    <a:lnTo>
                      <a:pt x="278" y="219"/>
                    </a:lnTo>
                    <a:lnTo>
                      <a:pt x="278" y="223"/>
                    </a:lnTo>
                    <a:lnTo>
                      <a:pt x="277" y="223"/>
                    </a:lnTo>
                    <a:lnTo>
                      <a:pt x="277" y="224"/>
                    </a:lnTo>
                    <a:lnTo>
                      <a:pt x="277" y="226"/>
                    </a:lnTo>
                    <a:lnTo>
                      <a:pt x="277" y="228"/>
                    </a:lnTo>
                    <a:lnTo>
                      <a:pt x="277" y="230"/>
                    </a:lnTo>
                    <a:lnTo>
                      <a:pt x="277" y="232"/>
                    </a:lnTo>
                    <a:lnTo>
                      <a:pt x="277" y="234"/>
                    </a:lnTo>
                    <a:lnTo>
                      <a:pt x="277" y="236"/>
                    </a:lnTo>
                    <a:lnTo>
                      <a:pt x="277" y="238"/>
                    </a:lnTo>
                    <a:lnTo>
                      <a:pt x="277" y="240"/>
                    </a:lnTo>
                    <a:lnTo>
                      <a:pt x="277" y="242"/>
                    </a:lnTo>
                    <a:lnTo>
                      <a:pt x="277" y="244"/>
                    </a:lnTo>
                    <a:lnTo>
                      <a:pt x="277" y="246"/>
                    </a:lnTo>
                    <a:lnTo>
                      <a:pt x="277" y="248"/>
                    </a:lnTo>
                    <a:lnTo>
                      <a:pt x="277" y="249"/>
                    </a:lnTo>
                    <a:lnTo>
                      <a:pt x="277" y="251"/>
                    </a:lnTo>
                    <a:lnTo>
                      <a:pt x="277" y="253"/>
                    </a:lnTo>
                    <a:lnTo>
                      <a:pt x="277" y="255"/>
                    </a:lnTo>
                    <a:lnTo>
                      <a:pt x="277" y="257"/>
                    </a:lnTo>
                    <a:lnTo>
                      <a:pt x="275" y="257"/>
                    </a:lnTo>
                    <a:lnTo>
                      <a:pt x="275" y="259"/>
                    </a:lnTo>
                    <a:lnTo>
                      <a:pt x="275" y="261"/>
                    </a:lnTo>
                    <a:lnTo>
                      <a:pt x="275" y="263"/>
                    </a:lnTo>
                    <a:lnTo>
                      <a:pt x="273" y="265"/>
                    </a:lnTo>
                    <a:lnTo>
                      <a:pt x="273" y="267"/>
                    </a:lnTo>
                    <a:lnTo>
                      <a:pt x="273" y="269"/>
                    </a:lnTo>
                    <a:lnTo>
                      <a:pt x="271" y="269"/>
                    </a:lnTo>
                    <a:lnTo>
                      <a:pt x="271" y="271"/>
                    </a:lnTo>
                    <a:lnTo>
                      <a:pt x="271" y="273"/>
                    </a:lnTo>
                    <a:lnTo>
                      <a:pt x="269" y="273"/>
                    </a:lnTo>
                    <a:lnTo>
                      <a:pt x="269" y="274"/>
                    </a:lnTo>
                    <a:lnTo>
                      <a:pt x="267" y="274"/>
                    </a:lnTo>
                    <a:lnTo>
                      <a:pt x="267" y="276"/>
                    </a:lnTo>
                    <a:lnTo>
                      <a:pt x="265" y="278"/>
                    </a:lnTo>
                    <a:lnTo>
                      <a:pt x="265" y="280"/>
                    </a:lnTo>
                    <a:lnTo>
                      <a:pt x="265" y="282"/>
                    </a:lnTo>
                    <a:lnTo>
                      <a:pt x="263" y="284"/>
                    </a:lnTo>
                    <a:lnTo>
                      <a:pt x="263" y="286"/>
                    </a:lnTo>
                    <a:lnTo>
                      <a:pt x="263" y="288"/>
                    </a:lnTo>
                    <a:lnTo>
                      <a:pt x="263" y="290"/>
                    </a:lnTo>
                    <a:lnTo>
                      <a:pt x="263" y="292"/>
                    </a:lnTo>
                    <a:lnTo>
                      <a:pt x="263" y="294"/>
                    </a:lnTo>
                    <a:lnTo>
                      <a:pt x="263" y="296"/>
                    </a:lnTo>
                    <a:lnTo>
                      <a:pt x="263" y="298"/>
                    </a:lnTo>
                    <a:lnTo>
                      <a:pt x="263" y="299"/>
                    </a:lnTo>
                    <a:lnTo>
                      <a:pt x="263" y="301"/>
                    </a:lnTo>
                    <a:lnTo>
                      <a:pt x="265" y="303"/>
                    </a:lnTo>
                    <a:lnTo>
                      <a:pt x="265" y="305"/>
                    </a:lnTo>
                    <a:lnTo>
                      <a:pt x="265" y="307"/>
                    </a:lnTo>
                    <a:lnTo>
                      <a:pt x="265" y="309"/>
                    </a:lnTo>
                    <a:lnTo>
                      <a:pt x="265" y="311"/>
                    </a:lnTo>
                    <a:lnTo>
                      <a:pt x="265" y="313"/>
                    </a:lnTo>
                    <a:lnTo>
                      <a:pt x="267" y="315"/>
                    </a:lnTo>
                    <a:lnTo>
                      <a:pt x="267" y="317"/>
                    </a:lnTo>
                    <a:lnTo>
                      <a:pt x="267" y="319"/>
                    </a:lnTo>
                    <a:lnTo>
                      <a:pt x="267" y="321"/>
                    </a:lnTo>
                    <a:lnTo>
                      <a:pt x="269" y="321"/>
                    </a:lnTo>
                    <a:lnTo>
                      <a:pt x="269" y="322"/>
                    </a:lnTo>
                    <a:lnTo>
                      <a:pt x="267" y="322"/>
                    </a:lnTo>
                    <a:lnTo>
                      <a:pt x="267" y="324"/>
                    </a:lnTo>
                    <a:lnTo>
                      <a:pt x="267" y="326"/>
                    </a:lnTo>
                    <a:lnTo>
                      <a:pt x="265" y="328"/>
                    </a:lnTo>
                    <a:lnTo>
                      <a:pt x="267" y="330"/>
                    </a:lnTo>
                    <a:lnTo>
                      <a:pt x="265" y="330"/>
                    </a:lnTo>
                    <a:lnTo>
                      <a:pt x="263" y="330"/>
                    </a:lnTo>
                    <a:lnTo>
                      <a:pt x="263" y="332"/>
                    </a:lnTo>
                    <a:lnTo>
                      <a:pt x="261" y="332"/>
                    </a:lnTo>
                    <a:lnTo>
                      <a:pt x="261" y="334"/>
                    </a:lnTo>
                    <a:lnTo>
                      <a:pt x="259" y="334"/>
                    </a:lnTo>
                    <a:lnTo>
                      <a:pt x="259" y="336"/>
                    </a:lnTo>
                    <a:lnTo>
                      <a:pt x="259" y="338"/>
                    </a:lnTo>
                    <a:lnTo>
                      <a:pt x="259" y="340"/>
                    </a:lnTo>
                    <a:lnTo>
                      <a:pt x="259" y="342"/>
                    </a:lnTo>
                    <a:lnTo>
                      <a:pt x="257" y="342"/>
                    </a:lnTo>
                    <a:lnTo>
                      <a:pt x="259" y="346"/>
                    </a:lnTo>
                    <a:lnTo>
                      <a:pt x="259" y="347"/>
                    </a:lnTo>
                    <a:lnTo>
                      <a:pt x="259" y="349"/>
                    </a:lnTo>
                    <a:lnTo>
                      <a:pt x="259" y="351"/>
                    </a:lnTo>
                    <a:lnTo>
                      <a:pt x="259" y="353"/>
                    </a:lnTo>
                    <a:lnTo>
                      <a:pt x="257" y="353"/>
                    </a:lnTo>
                    <a:lnTo>
                      <a:pt x="255" y="355"/>
                    </a:lnTo>
                    <a:lnTo>
                      <a:pt x="255" y="357"/>
                    </a:lnTo>
                    <a:lnTo>
                      <a:pt x="255" y="359"/>
                    </a:lnTo>
                    <a:lnTo>
                      <a:pt x="255" y="361"/>
                    </a:lnTo>
                    <a:lnTo>
                      <a:pt x="255" y="363"/>
                    </a:lnTo>
                    <a:lnTo>
                      <a:pt x="255" y="365"/>
                    </a:lnTo>
                    <a:lnTo>
                      <a:pt x="255" y="367"/>
                    </a:lnTo>
                    <a:lnTo>
                      <a:pt x="255" y="369"/>
                    </a:lnTo>
                    <a:lnTo>
                      <a:pt x="253" y="369"/>
                    </a:lnTo>
                    <a:lnTo>
                      <a:pt x="253" y="371"/>
                    </a:lnTo>
                    <a:lnTo>
                      <a:pt x="253" y="369"/>
                    </a:lnTo>
                    <a:lnTo>
                      <a:pt x="253" y="371"/>
                    </a:lnTo>
                    <a:lnTo>
                      <a:pt x="252" y="371"/>
                    </a:lnTo>
                    <a:lnTo>
                      <a:pt x="252" y="372"/>
                    </a:lnTo>
                    <a:lnTo>
                      <a:pt x="250" y="372"/>
                    </a:lnTo>
                    <a:lnTo>
                      <a:pt x="250" y="374"/>
                    </a:lnTo>
                    <a:lnTo>
                      <a:pt x="248" y="374"/>
                    </a:lnTo>
                    <a:lnTo>
                      <a:pt x="248" y="376"/>
                    </a:lnTo>
                    <a:lnTo>
                      <a:pt x="248" y="378"/>
                    </a:lnTo>
                    <a:lnTo>
                      <a:pt x="248" y="382"/>
                    </a:lnTo>
                    <a:lnTo>
                      <a:pt x="248" y="384"/>
                    </a:lnTo>
                    <a:lnTo>
                      <a:pt x="248" y="386"/>
                    </a:lnTo>
                    <a:lnTo>
                      <a:pt x="248" y="384"/>
                    </a:lnTo>
                    <a:lnTo>
                      <a:pt x="246" y="384"/>
                    </a:lnTo>
                    <a:lnTo>
                      <a:pt x="246" y="386"/>
                    </a:lnTo>
                    <a:lnTo>
                      <a:pt x="246" y="388"/>
                    </a:lnTo>
                    <a:lnTo>
                      <a:pt x="246" y="390"/>
                    </a:lnTo>
                    <a:lnTo>
                      <a:pt x="248" y="392"/>
                    </a:lnTo>
                    <a:lnTo>
                      <a:pt x="248" y="394"/>
                    </a:lnTo>
                    <a:lnTo>
                      <a:pt x="248" y="396"/>
                    </a:lnTo>
                    <a:lnTo>
                      <a:pt x="246" y="396"/>
                    </a:lnTo>
                    <a:lnTo>
                      <a:pt x="244" y="394"/>
                    </a:lnTo>
                    <a:lnTo>
                      <a:pt x="244" y="396"/>
                    </a:lnTo>
                    <a:lnTo>
                      <a:pt x="246" y="396"/>
                    </a:lnTo>
                    <a:lnTo>
                      <a:pt x="244" y="396"/>
                    </a:lnTo>
                    <a:lnTo>
                      <a:pt x="244" y="397"/>
                    </a:lnTo>
                    <a:lnTo>
                      <a:pt x="244" y="396"/>
                    </a:lnTo>
                    <a:lnTo>
                      <a:pt x="244" y="397"/>
                    </a:lnTo>
                    <a:lnTo>
                      <a:pt x="244" y="399"/>
                    </a:lnTo>
                    <a:lnTo>
                      <a:pt x="242" y="399"/>
                    </a:lnTo>
                    <a:lnTo>
                      <a:pt x="242" y="401"/>
                    </a:lnTo>
                    <a:lnTo>
                      <a:pt x="240" y="401"/>
                    </a:lnTo>
                    <a:lnTo>
                      <a:pt x="242" y="405"/>
                    </a:lnTo>
                    <a:lnTo>
                      <a:pt x="242" y="407"/>
                    </a:lnTo>
                    <a:lnTo>
                      <a:pt x="242" y="409"/>
                    </a:lnTo>
                    <a:lnTo>
                      <a:pt x="244" y="409"/>
                    </a:lnTo>
                    <a:lnTo>
                      <a:pt x="244" y="411"/>
                    </a:lnTo>
                    <a:lnTo>
                      <a:pt x="244" y="413"/>
                    </a:lnTo>
                    <a:lnTo>
                      <a:pt x="246" y="413"/>
                    </a:lnTo>
                    <a:lnTo>
                      <a:pt x="244" y="413"/>
                    </a:lnTo>
                    <a:lnTo>
                      <a:pt x="244" y="411"/>
                    </a:lnTo>
                    <a:lnTo>
                      <a:pt x="242" y="411"/>
                    </a:lnTo>
                    <a:lnTo>
                      <a:pt x="242" y="409"/>
                    </a:lnTo>
                    <a:lnTo>
                      <a:pt x="242" y="411"/>
                    </a:lnTo>
                    <a:lnTo>
                      <a:pt x="240" y="411"/>
                    </a:lnTo>
                    <a:lnTo>
                      <a:pt x="240" y="413"/>
                    </a:lnTo>
                    <a:lnTo>
                      <a:pt x="240" y="415"/>
                    </a:lnTo>
                    <a:lnTo>
                      <a:pt x="240" y="417"/>
                    </a:lnTo>
                    <a:lnTo>
                      <a:pt x="240" y="419"/>
                    </a:lnTo>
                    <a:lnTo>
                      <a:pt x="242" y="419"/>
                    </a:lnTo>
                    <a:lnTo>
                      <a:pt x="240" y="419"/>
                    </a:lnTo>
                    <a:lnTo>
                      <a:pt x="242" y="421"/>
                    </a:lnTo>
                    <a:lnTo>
                      <a:pt x="240" y="421"/>
                    </a:lnTo>
                    <a:lnTo>
                      <a:pt x="240" y="422"/>
                    </a:lnTo>
                    <a:lnTo>
                      <a:pt x="238" y="422"/>
                    </a:lnTo>
                    <a:lnTo>
                      <a:pt x="240" y="424"/>
                    </a:lnTo>
                    <a:lnTo>
                      <a:pt x="240" y="426"/>
                    </a:lnTo>
                    <a:lnTo>
                      <a:pt x="240" y="428"/>
                    </a:lnTo>
                    <a:lnTo>
                      <a:pt x="240" y="426"/>
                    </a:lnTo>
                    <a:lnTo>
                      <a:pt x="240" y="428"/>
                    </a:lnTo>
                    <a:lnTo>
                      <a:pt x="238" y="428"/>
                    </a:lnTo>
                    <a:lnTo>
                      <a:pt x="238" y="430"/>
                    </a:lnTo>
                    <a:lnTo>
                      <a:pt x="238" y="432"/>
                    </a:lnTo>
                    <a:lnTo>
                      <a:pt x="238" y="434"/>
                    </a:lnTo>
                    <a:lnTo>
                      <a:pt x="238" y="436"/>
                    </a:lnTo>
                    <a:lnTo>
                      <a:pt x="240" y="436"/>
                    </a:lnTo>
                    <a:lnTo>
                      <a:pt x="240" y="438"/>
                    </a:lnTo>
                    <a:lnTo>
                      <a:pt x="242" y="438"/>
                    </a:lnTo>
                    <a:lnTo>
                      <a:pt x="244" y="438"/>
                    </a:lnTo>
                    <a:lnTo>
                      <a:pt x="244" y="436"/>
                    </a:lnTo>
                    <a:lnTo>
                      <a:pt x="246" y="438"/>
                    </a:lnTo>
                    <a:lnTo>
                      <a:pt x="244" y="438"/>
                    </a:lnTo>
                    <a:lnTo>
                      <a:pt x="244" y="440"/>
                    </a:lnTo>
                    <a:lnTo>
                      <a:pt x="246" y="440"/>
                    </a:lnTo>
                    <a:lnTo>
                      <a:pt x="244" y="440"/>
                    </a:lnTo>
                    <a:lnTo>
                      <a:pt x="242" y="440"/>
                    </a:lnTo>
                    <a:lnTo>
                      <a:pt x="240" y="442"/>
                    </a:lnTo>
                    <a:lnTo>
                      <a:pt x="240" y="444"/>
                    </a:lnTo>
                    <a:lnTo>
                      <a:pt x="242" y="444"/>
                    </a:lnTo>
                    <a:lnTo>
                      <a:pt x="240" y="444"/>
                    </a:lnTo>
                    <a:lnTo>
                      <a:pt x="242" y="444"/>
                    </a:lnTo>
                    <a:lnTo>
                      <a:pt x="240" y="446"/>
                    </a:lnTo>
                    <a:lnTo>
                      <a:pt x="242" y="446"/>
                    </a:lnTo>
                    <a:lnTo>
                      <a:pt x="240" y="446"/>
                    </a:lnTo>
                    <a:lnTo>
                      <a:pt x="238" y="447"/>
                    </a:lnTo>
                    <a:lnTo>
                      <a:pt x="238" y="449"/>
                    </a:lnTo>
                    <a:lnTo>
                      <a:pt x="238" y="451"/>
                    </a:lnTo>
                    <a:lnTo>
                      <a:pt x="238" y="453"/>
                    </a:lnTo>
                    <a:lnTo>
                      <a:pt x="238" y="455"/>
                    </a:lnTo>
                    <a:lnTo>
                      <a:pt x="238" y="457"/>
                    </a:lnTo>
                    <a:lnTo>
                      <a:pt x="240" y="457"/>
                    </a:lnTo>
                    <a:lnTo>
                      <a:pt x="238" y="457"/>
                    </a:lnTo>
                    <a:lnTo>
                      <a:pt x="238" y="459"/>
                    </a:lnTo>
                    <a:lnTo>
                      <a:pt x="238" y="461"/>
                    </a:lnTo>
                    <a:lnTo>
                      <a:pt x="238" y="463"/>
                    </a:lnTo>
                    <a:lnTo>
                      <a:pt x="238" y="465"/>
                    </a:lnTo>
                    <a:lnTo>
                      <a:pt x="238" y="467"/>
                    </a:lnTo>
                    <a:lnTo>
                      <a:pt x="236" y="467"/>
                    </a:lnTo>
                    <a:lnTo>
                      <a:pt x="236" y="469"/>
                    </a:lnTo>
                    <a:lnTo>
                      <a:pt x="234" y="469"/>
                    </a:lnTo>
                    <a:lnTo>
                      <a:pt x="234" y="471"/>
                    </a:lnTo>
                    <a:lnTo>
                      <a:pt x="234" y="472"/>
                    </a:lnTo>
                    <a:lnTo>
                      <a:pt x="232" y="472"/>
                    </a:lnTo>
                    <a:lnTo>
                      <a:pt x="232" y="474"/>
                    </a:lnTo>
                    <a:lnTo>
                      <a:pt x="232" y="476"/>
                    </a:lnTo>
                    <a:lnTo>
                      <a:pt x="234" y="478"/>
                    </a:lnTo>
                    <a:lnTo>
                      <a:pt x="234" y="480"/>
                    </a:lnTo>
                    <a:lnTo>
                      <a:pt x="234" y="482"/>
                    </a:lnTo>
                    <a:lnTo>
                      <a:pt x="234" y="480"/>
                    </a:lnTo>
                    <a:lnTo>
                      <a:pt x="234" y="482"/>
                    </a:lnTo>
                    <a:lnTo>
                      <a:pt x="232" y="482"/>
                    </a:lnTo>
                    <a:lnTo>
                      <a:pt x="232" y="480"/>
                    </a:lnTo>
                    <a:lnTo>
                      <a:pt x="230" y="480"/>
                    </a:lnTo>
                    <a:lnTo>
                      <a:pt x="230" y="482"/>
                    </a:lnTo>
                    <a:lnTo>
                      <a:pt x="230" y="484"/>
                    </a:lnTo>
                    <a:lnTo>
                      <a:pt x="230" y="486"/>
                    </a:lnTo>
                    <a:lnTo>
                      <a:pt x="228" y="486"/>
                    </a:lnTo>
                    <a:lnTo>
                      <a:pt x="228" y="488"/>
                    </a:lnTo>
                    <a:lnTo>
                      <a:pt x="228" y="490"/>
                    </a:lnTo>
                    <a:lnTo>
                      <a:pt x="228" y="492"/>
                    </a:lnTo>
                    <a:lnTo>
                      <a:pt x="228" y="494"/>
                    </a:lnTo>
                    <a:lnTo>
                      <a:pt x="228" y="496"/>
                    </a:lnTo>
                    <a:lnTo>
                      <a:pt x="227" y="496"/>
                    </a:lnTo>
                    <a:lnTo>
                      <a:pt x="225" y="497"/>
                    </a:lnTo>
                    <a:lnTo>
                      <a:pt x="225" y="499"/>
                    </a:lnTo>
                    <a:lnTo>
                      <a:pt x="225" y="501"/>
                    </a:lnTo>
                    <a:lnTo>
                      <a:pt x="225" y="503"/>
                    </a:lnTo>
                    <a:lnTo>
                      <a:pt x="223" y="503"/>
                    </a:lnTo>
                    <a:lnTo>
                      <a:pt x="223" y="505"/>
                    </a:lnTo>
                    <a:lnTo>
                      <a:pt x="225" y="505"/>
                    </a:lnTo>
                    <a:lnTo>
                      <a:pt x="225" y="507"/>
                    </a:lnTo>
                    <a:lnTo>
                      <a:pt x="223" y="507"/>
                    </a:lnTo>
                    <a:lnTo>
                      <a:pt x="223" y="509"/>
                    </a:lnTo>
                    <a:lnTo>
                      <a:pt x="223" y="507"/>
                    </a:lnTo>
                    <a:lnTo>
                      <a:pt x="221" y="509"/>
                    </a:lnTo>
                    <a:lnTo>
                      <a:pt x="221" y="511"/>
                    </a:lnTo>
                    <a:lnTo>
                      <a:pt x="221" y="513"/>
                    </a:lnTo>
                    <a:lnTo>
                      <a:pt x="219" y="513"/>
                    </a:lnTo>
                    <a:lnTo>
                      <a:pt x="219" y="515"/>
                    </a:lnTo>
                    <a:lnTo>
                      <a:pt x="219" y="517"/>
                    </a:lnTo>
                    <a:lnTo>
                      <a:pt x="217" y="517"/>
                    </a:lnTo>
                    <a:lnTo>
                      <a:pt x="215" y="517"/>
                    </a:lnTo>
                    <a:lnTo>
                      <a:pt x="215" y="519"/>
                    </a:lnTo>
                    <a:lnTo>
                      <a:pt x="215" y="521"/>
                    </a:lnTo>
                    <a:lnTo>
                      <a:pt x="215" y="522"/>
                    </a:lnTo>
                    <a:lnTo>
                      <a:pt x="215" y="524"/>
                    </a:lnTo>
                    <a:lnTo>
                      <a:pt x="215" y="526"/>
                    </a:lnTo>
                    <a:lnTo>
                      <a:pt x="215" y="528"/>
                    </a:lnTo>
                    <a:lnTo>
                      <a:pt x="217" y="528"/>
                    </a:lnTo>
                    <a:lnTo>
                      <a:pt x="215" y="528"/>
                    </a:lnTo>
                    <a:lnTo>
                      <a:pt x="215" y="530"/>
                    </a:lnTo>
                    <a:lnTo>
                      <a:pt x="215" y="532"/>
                    </a:lnTo>
                    <a:lnTo>
                      <a:pt x="215" y="534"/>
                    </a:lnTo>
                    <a:lnTo>
                      <a:pt x="215" y="536"/>
                    </a:lnTo>
                    <a:lnTo>
                      <a:pt x="215" y="538"/>
                    </a:lnTo>
                    <a:lnTo>
                      <a:pt x="215" y="540"/>
                    </a:lnTo>
                    <a:lnTo>
                      <a:pt x="213" y="540"/>
                    </a:lnTo>
                    <a:lnTo>
                      <a:pt x="213" y="542"/>
                    </a:lnTo>
                    <a:lnTo>
                      <a:pt x="213" y="544"/>
                    </a:lnTo>
                    <a:lnTo>
                      <a:pt x="211" y="544"/>
                    </a:lnTo>
                    <a:lnTo>
                      <a:pt x="213" y="544"/>
                    </a:lnTo>
                    <a:lnTo>
                      <a:pt x="211" y="544"/>
                    </a:lnTo>
                    <a:lnTo>
                      <a:pt x="211" y="546"/>
                    </a:lnTo>
                    <a:lnTo>
                      <a:pt x="211" y="547"/>
                    </a:lnTo>
                    <a:lnTo>
                      <a:pt x="209" y="547"/>
                    </a:lnTo>
                    <a:lnTo>
                      <a:pt x="211" y="547"/>
                    </a:lnTo>
                    <a:lnTo>
                      <a:pt x="211" y="549"/>
                    </a:lnTo>
                    <a:lnTo>
                      <a:pt x="209" y="549"/>
                    </a:lnTo>
                    <a:lnTo>
                      <a:pt x="207" y="549"/>
                    </a:lnTo>
                    <a:lnTo>
                      <a:pt x="207" y="551"/>
                    </a:lnTo>
                    <a:lnTo>
                      <a:pt x="207" y="553"/>
                    </a:lnTo>
                    <a:lnTo>
                      <a:pt x="207" y="555"/>
                    </a:lnTo>
                    <a:lnTo>
                      <a:pt x="205" y="555"/>
                    </a:lnTo>
                    <a:lnTo>
                      <a:pt x="205" y="557"/>
                    </a:lnTo>
                    <a:lnTo>
                      <a:pt x="204" y="557"/>
                    </a:lnTo>
                    <a:lnTo>
                      <a:pt x="204" y="559"/>
                    </a:lnTo>
                    <a:lnTo>
                      <a:pt x="202" y="559"/>
                    </a:lnTo>
                    <a:lnTo>
                      <a:pt x="202" y="561"/>
                    </a:lnTo>
                    <a:lnTo>
                      <a:pt x="202" y="563"/>
                    </a:lnTo>
                    <a:lnTo>
                      <a:pt x="202" y="565"/>
                    </a:lnTo>
                    <a:lnTo>
                      <a:pt x="200" y="565"/>
                    </a:lnTo>
                    <a:lnTo>
                      <a:pt x="200" y="567"/>
                    </a:lnTo>
                    <a:lnTo>
                      <a:pt x="200" y="569"/>
                    </a:lnTo>
                    <a:lnTo>
                      <a:pt x="198" y="569"/>
                    </a:lnTo>
                    <a:lnTo>
                      <a:pt x="198" y="570"/>
                    </a:lnTo>
                    <a:lnTo>
                      <a:pt x="198" y="572"/>
                    </a:lnTo>
                    <a:lnTo>
                      <a:pt x="198" y="574"/>
                    </a:lnTo>
                    <a:lnTo>
                      <a:pt x="198" y="576"/>
                    </a:lnTo>
                    <a:lnTo>
                      <a:pt x="198" y="578"/>
                    </a:lnTo>
                    <a:lnTo>
                      <a:pt x="198" y="580"/>
                    </a:lnTo>
                    <a:lnTo>
                      <a:pt x="198" y="582"/>
                    </a:lnTo>
                    <a:lnTo>
                      <a:pt x="200" y="582"/>
                    </a:lnTo>
                    <a:lnTo>
                      <a:pt x="200" y="584"/>
                    </a:lnTo>
                    <a:lnTo>
                      <a:pt x="202" y="584"/>
                    </a:lnTo>
                    <a:lnTo>
                      <a:pt x="204" y="586"/>
                    </a:lnTo>
                    <a:lnTo>
                      <a:pt x="204" y="588"/>
                    </a:lnTo>
                    <a:lnTo>
                      <a:pt x="202" y="588"/>
                    </a:lnTo>
                    <a:lnTo>
                      <a:pt x="202" y="590"/>
                    </a:lnTo>
                    <a:lnTo>
                      <a:pt x="202" y="592"/>
                    </a:lnTo>
                    <a:lnTo>
                      <a:pt x="202" y="590"/>
                    </a:lnTo>
                    <a:lnTo>
                      <a:pt x="202" y="592"/>
                    </a:lnTo>
                    <a:lnTo>
                      <a:pt x="200" y="59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" name="Freeform 40">
                <a:extLst>
                  <a:ext uri="{FF2B5EF4-FFF2-40B4-BE49-F238E27FC236}">
                    <a16:creationId xmlns="" xmlns:a16="http://schemas.microsoft.com/office/drawing/2014/main" id="{01364F8F-2D77-4DF8-B569-8982F7DB3E5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43713" y="3325813"/>
                <a:ext cx="625475" cy="1130300"/>
              </a:xfrm>
              <a:custGeom>
                <a:avLst/>
                <a:gdLst>
                  <a:gd name="T0" fmla="*/ 269 w 394"/>
                  <a:gd name="T1" fmla="*/ 614 h 712"/>
                  <a:gd name="T2" fmla="*/ 273 w 394"/>
                  <a:gd name="T3" fmla="*/ 604 h 712"/>
                  <a:gd name="T4" fmla="*/ 279 w 394"/>
                  <a:gd name="T5" fmla="*/ 592 h 712"/>
                  <a:gd name="T6" fmla="*/ 285 w 394"/>
                  <a:gd name="T7" fmla="*/ 587 h 712"/>
                  <a:gd name="T8" fmla="*/ 283 w 394"/>
                  <a:gd name="T9" fmla="*/ 585 h 712"/>
                  <a:gd name="T10" fmla="*/ 292 w 394"/>
                  <a:gd name="T11" fmla="*/ 577 h 712"/>
                  <a:gd name="T12" fmla="*/ 298 w 394"/>
                  <a:gd name="T13" fmla="*/ 565 h 712"/>
                  <a:gd name="T14" fmla="*/ 292 w 394"/>
                  <a:gd name="T15" fmla="*/ 567 h 712"/>
                  <a:gd name="T16" fmla="*/ 300 w 394"/>
                  <a:gd name="T17" fmla="*/ 562 h 712"/>
                  <a:gd name="T18" fmla="*/ 302 w 394"/>
                  <a:gd name="T19" fmla="*/ 558 h 712"/>
                  <a:gd name="T20" fmla="*/ 306 w 394"/>
                  <a:gd name="T21" fmla="*/ 556 h 712"/>
                  <a:gd name="T22" fmla="*/ 304 w 394"/>
                  <a:gd name="T23" fmla="*/ 552 h 712"/>
                  <a:gd name="T24" fmla="*/ 304 w 394"/>
                  <a:gd name="T25" fmla="*/ 556 h 712"/>
                  <a:gd name="T26" fmla="*/ 304 w 394"/>
                  <a:gd name="T27" fmla="*/ 552 h 712"/>
                  <a:gd name="T28" fmla="*/ 302 w 394"/>
                  <a:gd name="T29" fmla="*/ 548 h 712"/>
                  <a:gd name="T30" fmla="*/ 306 w 394"/>
                  <a:gd name="T31" fmla="*/ 546 h 712"/>
                  <a:gd name="T32" fmla="*/ 304 w 394"/>
                  <a:gd name="T33" fmla="*/ 544 h 712"/>
                  <a:gd name="T34" fmla="*/ 304 w 394"/>
                  <a:gd name="T35" fmla="*/ 537 h 712"/>
                  <a:gd name="T36" fmla="*/ 309 w 394"/>
                  <a:gd name="T37" fmla="*/ 533 h 712"/>
                  <a:gd name="T38" fmla="*/ 308 w 394"/>
                  <a:gd name="T39" fmla="*/ 527 h 712"/>
                  <a:gd name="T40" fmla="*/ 298 w 394"/>
                  <a:gd name="T41" fmla="*/ 525 h 712"/>
                  <a:gd name="T42" fmla="*/ 300 w 394"/>
                  <a:gd name="T43" fmla="*/ 519 h 712"/>
                  <a:gd name="T44" fmla="*/ 298 w 394"/>
                  <a:gd name="T45" fmla="*/ 519 h 712"/>
                  <a:gd name="T46" fmla="*/ 298 w 394"/>
                  <a:gd name="T47" fmla="*/ 515 h 712"/>
                  <a:gd name="T48" fmla="*/ 296 w 394"/>
                  <a:gd name="T49" fmla="*/ 506 h 712"/>
                  <a:gd name="T50" fmla="*/ 321 w 394"/>
                  <a:gd name="T51" fmla="*/ 479 h 712"/>
                  <a:gd name="T52" fmla="*/ 277 w 394"/>
                  <a:gd name="T53" fmla="*/ 490 h 712"/>
                  <a:gd name="T54" fmla="*/ 271 w 394"/>
                  <a:gd name="T55" fmla="*/ 485 h 712"/>
                  <a:gd name="T56" fmla="*/ 263 w 394"/>
                  <a:gd name="T57" fmla="*/ 477 h 712"/>
                  <a:gd name="T58" fmla="*/ 265 w 394"/>
                  <a:gd name="T59" fmla="*/ 479 h 712"/>
                  <a:gd name="T60" fmla="*/ 250 w 394"/>
                  <a:gd name="T61" fmla="*/ 483 h 712"/>
                  <a:gd name="T62" fmla="*/ 298 w 394"/>
                  <a:gd name="T63" fmla="*/ 456 h 712"/>
                  <a:gd name="T64" fmla="*/ 246 w 394"/>
                  <a:gd name="T65" fmla="*/ 479 h 712"/>
                  <a:gd name="T66" fmla="*/ 244 w 394"/>
                  <a:gd name="T67" fmla="*/ 485 h 712"/>
                  <a:gd name="T68" fmla="*/ 242 w 394"/>
                  <a:gd name="T69" fmla="*/ 479 h 712"/>
                  <a:gd name="T70" fmla="*/ 302 w 394"/>
                  <a:gd name="T71" fmla="*/ 446 h 712"/>
                  <a:gd name="T72" fmla="*/ 281 w 394"/>
                  <a:gd name="T73" fmla="*/ 452 h 712"/>
                  <a:gd name="T74" fmla="*/ 258 w 394"/>
                  <a:gd name="T75" fmla="*/ 454 h 712"/>
                  <a:gd name="T76" fmla="*/ 294 w 394"/>
                  <a:gd name="T77" fmla="*/ 429 h 712"/>
                  <a:gd name="T78" fmla="*/ 288 w 394"/>
                  <a:gd name="T79" fmla="*/ 429 h 712"/>
                  <a:gd name="T80" fmla="*/ 283 w 394"/>
                  <a:gd name="T81" fmla="*/ 427 h 712"/>
                  <a:gd name="T82" fmla="*/ 286 w 394"/>
                  <a:gd name="T83" fmla="*/ 425 h 712"/>
                  <a:gd name="T84" fmla="*/ 154 w 394"/>
                  <a:gd name="T85" fmla="*/ 410 h 712"/>
                  <a:gd name="T86" fmla="*/ 152 w 394"/>
                  <a:gd name="T87" fmla="*/ 417 h 712"/>
                  <a:gd name="T88" fmla="*/ 54 w 394"/>
                  <a:gd name="T89" fmla="*/ 452 h 712"/>
                  <a:gd name="T90" fmla="*/ 146 w 394"/>
                  <a:gd name="T91" fmla="*/ 412 h 712"/>
                  <a:gd name="T92" fmla="*/ 144 w 394"/>
                  <a:gd name="T93" fmla="*/ 417 h 712"/>
                  <a:gd name="T94" fmla="*/ 48 w 394"/>
                  <a:gd name="T95" fmla="*/ 450 h 712"/>
                  <a:gd name="T96" fmla="*/ 62 w 394"/>
                  <a:gd name="T97" fmla="*/ 442 h 712"/>
                  <a:gd name="T98" fmla="*/ 64 w 394"/>
                  <a:gd name="T99" fmla="*/ 433 h 712"/>
                  <a:gd name="T100" fmla="*/ 104 w 394"/>
                  <a:gd name="T101" fmla="*/ 421 h 712"/>
                  <a:gd name="T102" fmla="*/ 66 w 394"/>
                  <a:gd name="T103" fmla="*/ 433 h 712"/>
                  <a:gd name="T104" fmla="*/ 156 w 394"/>
                  <a:gd name="T105" fmla="*/ 392 h 712"/>
                  <a:gd name="T106" fmla="*/ 112 w 394"/>
                  <a:gd name="T107" fmla="*/ 396 h 712"/>
                  <a:gd name="T108" fmla="*/ 100 w 394"/>
                  <a:gd name="T109" fmla="*/ 400 h 712"/>
                  <a:gd name="T110" fmla="*/ 148 w 394"/>
                  <a:gd name="T111" fmla="*/ 366 h 712"/>
                  <a:gd name="T112" fmla="*/ 196 w 394"/>
                  <a:gd name="T113" fmla="*/ 16 h 712"/>
                  <a:gd name="T114" fmla="*/ 150 w 394"/>
                  <a:gd name="T115" fmla="*/ 35 h 712"/>
                  <a:gd name="T116" fmla="*/ 200 w 394"/>
                  <a:gd name="T117" fmla="*/ 2 h 7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94" h="712">
                    <a:moveTo>
                      <a:pt x="394" y="710"/>
                    </a:moveTo>
                    <a:lnTo>
                      <a:pt x="394" y="712"/>
                    </a:lnTo>
                    <a:lnTo>
                      <a:pt x="394" y="710"/>
                    </a:lnTo>
                    <a:close/>
                    <a:moveTo>
                      <a:pt x="267" y="625"/>
                    </a:moveTo>
                    <a:lnTo>
                      <a:pt x="267" y="623"/>
                    </a:lnTo>
                    <a:lnTo>
                      <a:pt x="267" y="625"/>
                    </a:lnTo>
                    <a:close/>
                    <a:moveTo>
                      <a:pt x="269" y="621"/>
                    </a:moveTo>
                    <a:lnTo>
                      <a:pt x="269" y="619"/>
                    </a:lnTo>
                    <a:lnTo>
                      <a:pt x="269" y="621"/>
                    </a:lnTo>
                    <a:close/>
                    <a:moveTo>
                      <a:pt x="269" y="615"/>
                    </a:moveTo>
                    <a:lnTo>
                      <a:pt x="269" y="614"/>
                    </a:lnTo>
                    <a:lnTo>
                      <a:pt x="269" y="612"/>
                    </a:lnTo>
                    <a:lnTo>
                      <a:pt x="269" y="614"/>
                    </a:lnTo>
                    <a:lnTo>
                      <a:pt x="269" y="615"/>
                    </a:lnTo>
                    <a:close/>
                    <a:moveTo>
                      <a:pt x="269" y="612"/>
                    </a:moveTo>
                    <a:lnTo>
                      <a:pt x="271" y="612"/>
                    </a:lnTo>
                    <a:lnTo>
                      <a:pt x="269" y="612"/>
                    </a:lnTo>
                    <a:close/>
                    <a:moveTo>
                      <a:pt x="273" y="604"/>
                    </a:moveTo>
                    <a:lnTo>
                      <a:pt x="273" y="602"/>
                    </a:lnTo>
                    <a:lnTo>
                      <a:pt x="275" y="602"/>
                    </a:lnTo>
                    <a:lnTo>
                      <a:pt x="275" y="604"/>
                    </a:lnTo>
                    <a:lnTo>
                      <a:pt x="273" y="604"/>
                    </a:lnTo>
                    <a:close/>
                    <a:moveTo>
                      <a:pt x="277" y="600"/>
                    </a:moveTo>
                    <a:lnTo>
                      <a:pt x="275" y="600"/>
                    </a:lnTo>
                    <a:lnTo>
                      <a:pt x="277" y="600"/>
                    </a:lnTo>
                    <a:close/>
                    <a:moveTo>
                      <a:pt x="273" y="604"/>
                    </a:moveTo>
                    <a:lnTo>
                      <a:pt x="273" y="602"/>
                    </a:lnTo>
                    <a:lnTo>
                      <a:pt x="273" y="604"/>
                    </a:lnTo>
                    <a:close/>
                    <a:moveTo>
                      <a:pt x="279" y="598"/>
                    </a:moveTo>
                    <a:lnTo>
                      <a:pt x="277" y="598"/>
                    </a:lnTo>
                    <a:lnTo>
                      <a:pt x="279" y="598"/>
                    </a:lnTo>
                    <a:close/>
                    <a:moveTo>
                      <a:pt x="277" y="592"/>
                    </a:moveTo>
                    <a:lnTo>
                      <a:pt x="279" y="592"/>
                    </a:lnTo>
                    <a:lnTo>
                      <a:pt x="279" y="594"/>
                    </a:lnTo>
                    <a:lnTo>
                      <a:pt x="279" y="596"/>
                    </a:lnTo>
                    <a:lnTo>
                      <a:pt x="277" y="598"/>
                    </a:lnTo>
                    <a:lnTo>
                      <a:pt x="277" y="596"/>
                    </a:lnTo>
                    <a:lnTo>
                      <a:pt x="277" y="594"/>
                    </a:lnTo>
                    <a:lnTo>
                      <a:pt x="277" y="592"/>
                    </a:lnTo>
                    <a:close/>
                    <a:moveTo>
                      <a:pt x="286" y="585"/>
                    </a:moveTo>
                    <a:lnTo>
                      <a:pt x="285" y="585"/>
                    </a:lnTo>
                    <a:lnTo>
                      <a:pt x="286" y="585"/>
                    </a:lnTo>
                    <a:close/>
                    <a:moveTo>
                      <a:pt x="286" y="587"/>
                    </a:moveTo>
                    <a:lnTo>
                      <a:pt x="285" y="587"/>
                    </a:lnTo>
                    <a:lnTo>
                      <a:pt x="286" y="585"/>
                    </a:lnTo>
                    <a:lnTo>
                      <a:pt x="286" y="583"/>
                    </a:lnTo>
                    <a:lnTo>
                      <a:pt x="288" y="583"/>
                    </a:lnTo>
                    <a:lnTo>
                      <a:pt x="288" y="585"/>
                    </a:lnTo>
                    <a:lnTo>
                      <a:pt x="286" y="585"/>
                    </a:lnTo>
                    <a:lnTo>
                      <a:pt x="286" y="587"/>
                    </a:lnTo>
                    <a:close/>
                    <a:moveTo>
                      <a:pt x="286" y="583"/>
                    </a:moveTo>
                    <a:lnTo>
                      <a:pt x="288" y="583"/>
                    </a:lnTo>
                    <a:lnTo>
                      <a:pt x="286" y="583"/>
                    </a:lnTo>
                    <a:close/>
                    <a:moveTo>
                      <a:pt x="283" y="587"/>
                    </a:moveTo>
                    <a:lnTo>
                      <a:pt x="283" y="585"/>
                    </a:lnTo>
                    <a:lnTo>
                      <a:pt x="281" y="585"/>
                    </a:lnTo>
                    <a:lnTo>
                      <a:pt x="281" y="583"/>
                    </a:lnTo>
                    <a:lnTo>
                      <a:pt x="281" y="585"/>
                    </a:lnTo>
                    <a:lnTo>
                      <a:pt x="283" y="585"/>
                    </a:lnTo>
                    <a:lnTo>
                      <a:pt x="283" y="587"/>
                    </a:lnTo>
                    <a:close/>
                    <a:moveTo>
                      <a:pt x="338" y="554"/>
                    </a:moveTo>
                    <a:lnTo>
                      <a:pt x="340" y="554"/>
                    </a:lnTo>
                    <a:lnTo>
                      <a:pt x="338" y="554"/>
                    </a:lnTo>
                    <a:close/>
                    <a:moveTo>
                      <a:pt x="292" y="577"/>
                    </a:moveTo>
                    <a:lnTo>
                      <a:pt x="292" y="575"/>
                    </a:lnTo>
                    <a:lnTo>
                      <a:pt x="292" y="577"/>
                    </a:lnTo>
                    <a:close/>
                    <a:moveTo>
                      <a:pt x="290" y="579"/>
                    </a:moveTo>
                    <a:lnTo>
                      <a:pt x="290" y="577"/>
                    </a:lnTo>
                    <a:lnTo>
                      <a:pt x="292" y="577"/>
                    </a:lnTo>
                    <a:lnTo>
                      <a:pt x="290" y="577"/>
                    </a:lnTo>
                    <a:lnTo>
                      <a:pt x="290" y="579"/>
                    </a:lnTo>
                    <a:close/>
                    <a:moveTo>
                      <a:pt x="294" y="575"/>
                    </a:moveTo>
                    <a:lnTo>
                      <a:pt x="292" y="573"/>
                    </a:lnTo>
                    <a:lnTo>
                      <a:pt x="292" y="571"/>
                    </a:lnTo>
                    <a:lnTo>
                      <a:pt x="294" y="573"/>
                    </a:lnTo>
                    <a:lnTo>
                      <a:pt x="294" y="575"/>
                    </a:lnTo>
                    <a:close/>
                    <a:moveTo>
                      <a:pt x="298" y="565"/>
                    </a:moveTo>
                    <a:lnTo>
                      <a:pt x="298" y="567"/>
                    </a:lnTo>
                    <a:lnTo>
                      <a:pt x="296" y="567"/>
                    </a:lnTo>
                    <a:lnTo>
                      <a:pt x="294" y="569"/>
                    </a:lnTo>
                    <a:lnTo>
                      <a:pt x="292" y="569"/>
                    </a:lnTo>
                    <a:lnTo>
                      <a:pt x="294" y="569"/>
                    </a:lnTo>
                    <a:lnTo>
                      <a:pt x="294" y="567"/>
                    </a:lnTo>
                    <a:lnTo>
                      <a:pt x="296" y="567"/>
                    </a:lnTo>
                    <a:lnTo>
                      <a:pt x="298" y="565"/>
                    </a:lnTo>
                    <a:close/>
                    <a:moveTo>
                      <a:pt x="294" y="567"/>
                    </a:moveTo>
                    <a:lnTo>
                      <a:pt x="292" y="569"/>
                    </a:lnTo>
                    <a:lnTo>
                      <a:pt x="292" y="567"/>
                    </a:lnTo>
                    <a:lnTo>
                      <a:pt x="294" y="567"/>
                    </a:lnTo>
                    <a:close/>
                    <a:moveTo>
                      <a:pt x="292" y="567"/>
                    </a:moveTo>
                    <a:lnTo>
                      <a:pt x="292" y="569"/>
                    </a:lnTo>
                    <a:lnTo>
                      <a:pt x="292" y="567"/>
                    </a:lnTo>
                    <a:lnTo>
                      <a:pt x="292" y="569"/>
                    </a:lnTo>
                    <a:lnTo>
                      <a:pt x="292" y="571"/>
                    </a:lnTo>
                    <a:lnTo>
                      <a:pt x="290" y="571"/>
                    </a:lnTo>
                    <a:lnTo>
                      <a:pt x="290" y="569"/>
                    </a:lnTo>
                    <a:lnTo>
                      <a:pt x="290" y="567"/>
                    </a:lnTo>
                    <a:lnTo>
                      <a:pt x="292" y="567"/>
                    </a:lnTo>
                    <a:close/>
                    <a:moveTo>
                      <a:pt x="300" y="562"/>
                    </a:moveTo>
                    <a:lnTo>
                      <a:pt x="300" y="560"/>
                    </a:lnTo>
                    <a:lnTo>
                      <a:pt x="300" y="562"/>
                    </a:lnTo>
                    <a:lnTo>
                      <a:pt x="298" y="564"/>
                    </a:lnTo>
                    <a:lnTo>
                      <a:pt x="298" y="562"/>
                    </a:lnTo>
                    <a:lnTo>
                      <a:pt x="300" y="560"/>
                    </a:lnTo>
                    <a:lnTo>
                      <a:pt x="300" y="562"/>
                    </a:lnTo>
                    <a:close/>
                    <a:moveTo>
                      <a:pt x="302" y="560"/>
                    </a:moveTo>
                    <a:lnTo>
                      <a:pt x="302" y="558"/>
                    </a:lnTo>
                    <a:lnTo>
                      <a:pt x="302" y="560"/>
                    </a:lnTo>
                    <a:close/>
                    <a:moveTo>
                      <a:pt x="304" y="558"/>
                    </a:moveTo>
                    <a:lnTo>
                      <a:pt x="302" y="558"/>
                    </a:lnTo>
                    <a:lnTo>
                      <a:pt x="304" y="558"/>
                    </a:lnTo>
                    <a:close/>
                    <a:moveTo>
                      <a:pt x="304" y="556"/>
                    </a:moveTo>
                    <a:lnTo>
                      <a:pt x="302" y="558"/>
                    </a:lnTo>
                    <a:lnTo>
                      <a:pt x="302" y="556"/>
                    </a:lnTo>
                    <a:lnTo>
                      <a:pt x="304" y="556"/>
                    </a:lnTo>
                    <a:close/>
                    <a:moveTo>
                      <a:pt x="302" y="556"/>
                    </a:moveTo>
                    <a:lnTo>
                      <a:pt x="302" y="554"/>
                    </a:lnTo>
                    <a:lnTo>
                      <a:pt x="302" y="556"/>
                    </a:lnTo>
                    <a:close/>
                    <a:moveTo>
                      <a:pt x="306" y="552"/>
                    </a:moveTo>
                    <a:lnTo>
                      <a:pt x="306" y="554"/>
                    </a:lnTo>
                    <a:lnTo>
                      <a:pt x="306" y="556"/>
                    </a:lnTo>
                    <a:lnTo>
                      <a:pt x="308" y="556"/>
                    </a:lnTo>
                    <a:lnTo>
                      <a:pt x="308" y="558"/>
                    </a:lnTo>
                    <a:lnTo>
                      <a:pt x="308" y="560"/>
                    </a:lnTo>
                    <a:lnTo>
                      <a:pt x="306" y="560"/>
                    </a:lnTo>
                    <a:lnTo>
                      <a:pt x="304" y="560"/>
                    </a:lnTo>
                    <a:lnTo>
                      <a:pt x="302" y="562"/>
                    </a:lnTo>
                    <a:lnTo>
                      <a:pt x="302" y="560"/>
                    </a:lnTo>
                    <a:lnTo>
                      <a:pt x="304" y="558"/>
                    </a:lnTo>
                    <a:lnTo>
                      <a:pt x="304" y="556"/>
                    </a:lnTo>
                    <a:lnTo>
                      <a:pt x="304" y="554"/>
                    </a:lnTo>
                    <a:lnTo>
                      <a:pt x="304" y="552"/>
                    </a:lnTo>
                    <a:lnTo>
                      <a:pt x="306" y="552"/>
                    </a:lnTo>
                    <a:close/>
                    <a:moveTo>
                      <a:pt x="306" y="552"/>
                    </a:moveTo>
                    <a:lnTo>
                      <a:pt x="304" y="552"/>
                    </a:lnTo>
                    <a:lnTo>
                      <a:pt x="306" y="552"/>
                    </a:lnTo>
                    <a:close/>
                    <a:moveTo>
                      <a:pt x="302" y="554"/>
                    </a:moveTo>
                    <a:lnTo>
                      <a:pt x="302" y="552"/>
                    </a:lnTo>
                    <a:lnTo>
                      <a:pt x="302" y="554"/>
                    </a:lnTo>
                    <a:close/>
                    <a:moveTo>
                      <a:pt x="304" y="554"/>
                    </a:moveTo>
                    <a:lnTo>
                      <a:pt x="304" y="552"/>
                    </a:lnTo>
                    <a:lnTo>
                      <a:pt x="304" y="554"/>
                    </a:lnTo>
                    <a:lnTo>
                      <a:pt x="304" y="556"/>
                    </a:lnTo>
                    <a:lnTo>
                      <a:pt x="302" y="556"/>
                    </a:lnTo>
                    <a:lnTo>
                      <a:pt x="302" y="554"/>
                    </a:lnTo>
                    <a:lnTo>
                      <a:pt x="304" y="554"/>
                    </a:lnTo>
                    <a:lnTo>
                      <a:pt x="304" y="552"/>
                    </a:lnTo>
                    <a:lnTo>
                      <a:pt x="304" y="554"/>
                    </a:lnTo>
                    <a:close/>
                    <a:moveTo>
                      <a:pt x="304" y="552"/>
                    </a:moveTo>
                    <a:lnTo>
                      <a:pt x="304" y="550"/>
                    </a:lnTo>
                    <a:lnTo>
                      <a:pt x="304" y="552"/>
                    </a:lnTo>
                    <a:close/>
                    <a:moveTo>
                      <a:pt x="306" y="550"/>
                    </a:moveTo>
                    <a:lnTo>
                      <a:pt x="306" y="552"/>
                    </a:lnTo>
                    <a:lnTo>
                      <a:pt x="304" y="552"/>
                    </a:lnTo>
                    <a:lnTo>
                      <a:pt x="304" y="550"/>
                    </a:lnTo>
                    <a:lnTo>
                      <a:pt x="306" y="550"/>
                    </a:lnTo>
                    <a:close/>
                    <a:moveTo>
                      <a:pt x="304" y="552"/>
                    </a:moveTo>
                    <a:lnTo>
                      <a:pt x="304" y="550"/>
                    </a:lnTo>
                    <a:lnTo>
                      <a:pt x="304" y="552"/>
                    </a:lnTo>
                    <a:close/>
                    <a:moveTo>
                      <a:pt x="302" y="552"/>
                    </a:moveTo>
                    <a:lnTo>
                      <a:pt x="302" y="550"/>
                    </a:lnTo>
                    <a:lnTo>
                      <a:pt x="304" y="550"/>
                    </a:lnTo>
                    <a:lnTo>
                      <a:pt x="304" y="552"/>
                    </a:lnTo>
                    <a:lnTo>
                      <a:pt x="302" y="552"/>
                    </a:lnTo>
                    <a:close/>
                    <a:moveTo>
                      <a:pt x="302" y="548"/>
                    </a:moveTo>
                    <a:lnTo>
                      <a:pt x="302" y="550"/>
                    </a:lnTo>
                    <a:lnTo>
                      <a:pt x="302" y="548"/>
                    </a:lnTo>
                    <a:close/>
                    <a:moveTo>
                      <a:pt x="306" y="546"/>
                    </a:moveTo>
                    <a:lnTo>
                      <a:pt x="308" y="546"/>
                    </a:lnTo>
                    <a:lnTo>
                      <a:pt x="308" y="548"/>
                    </a:lnTo>
                    <a:lnTo>
                      <a:pt x="309" y="548"/>
                    </a:lnTo>
                    <a:lnTo>
                      <a:pt x="309" y="550"/>
                    </a:lnTo>
                    <a:lnTo>
                      <a:pt x="308" y="550"/>
                    </a:lnTo>
                    <a:lnTo>
                      <a:pt x="306" y="550"/>
                    </a:lnTo>
                    <a:lnTo>
                      <a:pt x="306" y="548"/>
                    </a:lnTo>
                    <a:lnTo>
                      <a:pt x="306" y="546"/>
                    </a:lnTo>
                    <a:close/>
                    <a:moveTo>
                      <a:pt x="306" y="546"/>
                    </a:moveTo>
                    <a:lnTo>
                      <a:pt x="306" y="544"/>
                    </a:lnTo>
                    <a:lnTo>
                      <a:pt x="308" y="544"/>
                    </a:lnTo>
                    <a:lnTo>
                      <a:pt x="308" y="546"/>
                    </a:lnTo>
                    <a:lnTo>
                      <a:pt x="306" y="546"/>
                    </a:lnTo>
                    <a:close/>
                    <a:moveTo>
                      <a:pt x="304" y="546"/>
                    </a:moveTo>
                    <a:lnTo>
                      <a:pt x="304" y="548"/>
                    </a:lnTo>
                    <a:lnTo>
                      <a:pt x="302" y="546"/>
                    </a:lnTo>
                    <a:lnTo>
                      <a:pt x="304" y="544"/>
                    </a:lnTo>
                    <a:lnTo>
                      <a:pt x="304" y="546"/>
                    </a:lnTo>
                    <a:close/>
                    <a:moveTo>
                      <a:pt x="304" y="544"/>
                    </a:moveTo>
                    <a:lnTo>
                      <a:pt x="304" y="542"/>
                    </a:lnTo>
                    <a:lnTo>
                      <a:pt x="304" y="540"/>
                    </a:lnTo>
                    <a:lnTo>
                      <a:pt x="306" y="540"/>
                    </a:lnTo>
                    <a:lnTo>
                      <a:pt x="306" y="542"/>
                    </a:lnTo>
                    <a:lnTo>
                      <a:pt x="304" y="542"/>
                    </a:lnTo>
                    <a:lnTo>
                      <a:pt x="304" y="544"/>
                    </a:lnTo>
                    <a:close/>
                    <a:moveTo>
                      <a:pt x="306" y="540"/>
                    </a:moveTo>
                    <a:lnTo>
                      <a:pt x="306" y="539"/>
                    </a:lnTo>
                    <a:lnTo>
                      <a:pt x="306" y="540"/>
                    </a:lnTo>
                    <a:close/>
                    <a:moveTo>
                      <a:pt x="306" y="539"/>
                    </a:moveTo>
                    <a:lnTo>
                      <a:pt x="304" y="537"/>
                    </a:lnTo>
                    <a:lnTo>
                      <a:pt x="306" y="537"/>
                    </a:lnTo>
                    <a:lnTo>
                      <a:pt x="306" y="539"/>
                    </a:lnTo>
                    <a:close/>
                    <a:moveTo>
                      <a:pt x="309" y="535"/>
                    </a:moveTo>
                    <a:lnTo>
                      <a:pt x="311" y="535"/>
                    </a:lnTo>
                    <a:lnTo>
                      <a:pt x="311" y="537"/>
                    </a:lnTo>
                    <a:lnTo>
                      <a:pt x="309" y="537"/>
                    </a:lnTo>
                    <a:lnTo>
                      <a:pt x="309" y="535"/>
                    </a:lnTo>
                    <a:close/>
                    <a:moveTo>
                      <a:pt x="309" y="533"/>
                    </a:moveTo>
                    <a:lnTo>
                      <a:pt x="308" y="533"/>
                    </a:lnTo>
                    <a:lnTo>
                      <a:pt x="309" y="533"/>
                    </a:lnTo>
                    <a:close/>
                    <a:moveTo>
                      <a:pt x="309" y="533"/>
                    </a:moveTo>
                    <a:lnTo>
                      <a:pt x="308" y="531"/>
                    </a:lnTo>
                    <a:lnTo>
                      <a:pt x="309" y="531"/>
                    </a:lnTo>
                    <a:lnTo>
                      <a:pt x="309" y="533"/>
                    </a:lnTo>
                    <a:close/>
                    <a:moveTo>
                      <a:pt x="300" y="533"/>
                    </a:moveTo>
                    <a:lnTo>
                      <a:pt x="298" y="533"/>
                    </a:lnTo>
                    <a:lnTo>
                      <a:pt x="298" y="531"/>
                    </a:lnTo>
                    <a:lnTo>
                      <a:pt x="300" y="531"/>
                    </a:lnTo>
                    <a:lnTo>
                      <a:pt x="300" y="533"/>
                    </a:lnTo>
                    <a:close/>
                    <a:moveTo>
                      <a:pt x="308" y="529"/>
                    </a:moveTo>
                    <a:lnTo>
                      <a:pt x="306" y="527"/>
                    </a:lnTo>
                    <a:lnTo>
                      <a:pt x="308" y="527"/>
                    </a:lnTo>
                    <a:lnTo>
                      <a:pt x="308" y="529"/>
                    </a:lnTo>
                    <a:close/>
                    <a:moveTo>
                      <a:pt x="306" y="527"/>
                    </a:moveTo>
                    <a:lnTo>
                      <a:pt x="304" y="527"/>
                    </a:lnTo>
                    <a:lnTo>
                      <a:pt x="304" y="525"/>
                    </a:lnTo>
                    <a:lnTo>
                      <a:pt x="304" y="527"/>
                    </a:lnTo>
                    <a:lnTo>
                      <a:pt x="306" y="527"/>
                    </a:lnTo>
                    <a:close/>
                    <a:moveTo>
                      <a:pt x="298" y="525"/>
                    </a:moveTo>
                    <a:lnTo>
                      <a:pt x="296" y="525"/>
                    </a:lnTo>
                    <a:lnTo>
                      <a:pt x="296" y="523"/>
                    </a:lnTo>
                    <a:lnTo>
                      <a:pt x="298" y="523"/>
                    </a:lnTo>
                    <a:lnTo>
                      <a:pt x="298" y="525"/>
                    </a:lnTo>
                    <a:close/>
                    <a:moveTo>
                      <a:pt x="304" y="525"/>
                    </a:moveTo>
                    <a:lnTo>
                      <a:pt x="302" y="525"/>
                    </a:lnTo>
                    <a:lnTo>
                      <a:pt x="300" y="523"/>
                    </a:lnTo>
                    <a:lnTo>
                      <a:pt x="300" y="521"/>
                    </a:lnTo>
                    <a:lnTo>
                      <a:pt x="302" y="521"/>
                    </a:lnTo>
                    <a:lnTo>
                      <a:pt x="304" y="523"/>
                    </a:lnTo>
                    <a:lnTo>
                      <a:pt x="304" y="525"/>
                    </a:lnTo>
                    <a:close/>
                    <a:moveTo>
                      <a:pt x="300" y="521"/>
                    </a:moveTo>
                    <a:lnTo>
                      <a:pt x="298" y="521"/>
                    </a:lnTo>
                    <a:lnTo>
                      <a:pt x="298" y="519"/>
                    </a:lnTo>
                    <a:lnTo>
                      <a:pt x="300" y="519"/>
                    </a:lnTo>
                    <a:lnTo>
                      <a:pt x="300" y="521"/>
                    </a:lnTo>
                    <a:close/>
                    <a:moveTo>
                      <a:pt x="300" y="519"/>
                    </a:moveTo>
                    <a:lnTo>
                      <a:pt x="298" y="519"/>
                    </a:lnTo>
                    <a:lnTo>
                      <a:pt x="300" y="517"/>
                    </a:lnTo>
                    <a:lnTo>
                      <a:pt x="300" y="519"/>
                    </a:lnTo>
                    <a:close/>
                    <a:moveTo>
                      <a:pt x="298" y="514"/>
                    </a:moveTo>
                    <a:lnTo>
                      <a:pt x="298" y="515"/>
                    </a:lnTo>
                    <a:lnTo>
                      <a:pt x="300" y="515"/>
                    </a:lnTo>
                    <a:lnTo>
                      <a:pt x="300" y="517"/>
                    </a:lnTo>
                    <a:lnTo>
                      <a:pt x="298" y="517"/>
                    </a:lnTo>
                    <a:lnTo>
                      <a:pt x="298" y="519"/>
                    </a:lnTo>
                    <a:lnTo>
                      <a:pt x="298" y="521"/>
                    </a:lnTo>
                    <a:lnTo>
                      <a:pt x="298" y="519"/>
                    </a:lnTo>
                    <a:lnTo>
                      <a:pt x="298" y="521"/>
                    </a:lnTo>
                    <a:lnTo>
                      <a:pt x="298" y="519"/>
                    </a:lnTo>
                    <a:lnTo>
                      <a:pt x="296" y="519"/>
                    </a:lnTo>
                    <a:lnTo>
                      <a:pt x="298" y="517"/>
                    </a:lnTo>
                    <a:lnTo>
                      <a:pt x="298" y="515"/>
                    </a:lnTo>
                    <a:lnTo>
                      <a:pt x="298" y="517"/>
                    </a:lnTo>
                    <a:lnTo>
                      <a:pt x="298" y="515"/>
                    </a:lnTo>
                    <a:lnTo>
                      <a:pt x="298" y="514"/>
                    </a:lnTo>
                    <a:close/>
                    <a:moveTo>
                      <a:pt x="298" y="515"/>
                    </a:moveTo>
                    <a:lnTo>
                      <a:pt x="298" y="514"/>
                    </a:lnTo>
                    <a:lnTo>
                      <a:pt x="298" y="515"/>
                    </a:lnTo>
                    <a:close/>
                    <a:moveTo>
                      <a:pt x="298" y="510"/>
                    </a:moveTo>
                    <a:lnTo>
                      <a:pt x="298" y="512"/>
                    </a:lnTo>
                    <a:lnTo>
                      <a:pt x="298" y="510"/>
                    </a:lnTo>
                    <a:close/>
                    <a:moveTo>
                      <a:pt x="298" y="510"/>
                    </a:moveTo>
                    <a:lnTo>
                      <a:pt x="298" y="508"/>
                    </a:lnTo>
                    <a:lnTo>
                      <a:pt x="298" y="510"/>
                    </a:lnTo>
                    <a:close/>
                    <a:moveTo>
                      <a:pt x="298" y="508"/>
                    </a:moveTo>
                    <a:lnTo>
                      <a:pt x="296" y="508"/>
                    </a:lnTo>
                    <a:lnTo>
                      <a:pt x="296" y="506"/>
                    </a:lnTo>
                    <a:lnTo>
                      <a:pt x="296" y="504"/>
                    </a:lnTo>
                    <a:lnTo>
                      <a:pt x="298" y="506"/>
                    </a:lnTo>
                    <a:lnTo>
                      <a:pt x="298" y="508"/>
                    </a:lnTo>
                    <a:close/>
                    <a:moveTo>
                      <a:pt x="294" y="500"/>
                    </a:moveTo>
                    <a:lnTo>
                      <a:pt x="294" y="502"/>
                    </a:lnTo>
                    <a:lnTo>
                      <a:pt x="294" y="500"/>
                    </a:lnTo>
                    <a:close/>
                    <a:moveTo>
                      <a:pt x="323" y="481"/>
                    </a:moveTo>
                    <a:lnTo>
                      <a:pt x="323" y="483"/>
                    </a:lnTo>
                    <a:lnTo>
                      <a:pt x="321" y="483"/>
                    </a:lnTo>
                    <a:lnTo>
                      <a:pt x="323" y="481"/>
                    </a:lnTo>
                    <a:close/>
                    <a:moveTo>
                      <a:pt x="321" y="479"/>
                    </a:moveTo>
                    <a:lnTo>
                      <a:pt x="319" y="479"/>
                    </a:lnTo>
                    <a:lnTo>
                      <a:pt x="321" y="479"/>
                    </a:lnTo>
                    <a:close/>
                    <a:moveTo>
                      <a:pt x="317" y="481"/>
                    </a:moveTo>
                    <a:lnTo>
                      <a:pt x="319" y="479"/>
                    </a:lnTo>
                    <a:lnTo>
                      <a:pt x="319" y="481"/>
                    </a:lnTo>
                    <a:lnTo>
                      <a:pt x="317" y="481"/>
                    </a:lnTo>
                    <a:close/>
                    <a:moveTo>
                      <a:pt x="279" y="492"/>
                    </a:moveTo>
                    <a:lnTo>
                      <a:pt x="277" y="494"/>
                    </a:lnTo>
                    <a:lnTo>
                      <a:pt x="277" y="492"/>
                    </a:lnTo>
                    <a:lnTo>
                      <a:pt x="279" y="492"/>
                    </a:lnTo>
                    <a:close/>
                    <a:moveTo>
                      <a:pt x="277" y="490"/>
                    </a:moveTo>
                    <a:lnTo>
                      <a:pt x="275" y="490"/>
                    </a:lnTo>
                    <a:lnTo>
                      <a:pt x="275" y="489"/>
                    </a:lnTo>
                    <a:lnTo>
                      <a:pt x="275" y="487"/>
                    </a:lnTo>
                    <a:lnTo>
                      <a:pt x="275" y="489"/>
                    </a:lnTo>
                    <a:lnTo>
                      <a:pt x="277" y="489"/>
                    </a:lnTo>
                    <a:lnTo>
                      <a:pt x="277" y="490"/>
                    </a:lnTo>
                    <a:close/>
                    <a:moveTo>
                      <a:pt x="275" y="489"/>
                    </a:moveTo>
                    <a:lnTo>
                      <a:pt x="273" y="489"/>
                    </a:lnTo>
                    <a:lnTo>
                      <a:pt x="273" y="487"/>
                    </a:lnTo>
                    <a:lnTo>
                      <a:pt x="273" y="485"/>
                    </a:lnTo>
                    <a:lnTo>
                      <a:pt x="271" y="485"/>
                    </a:lnTo>
                    <a:lnTo>
                      <a:pt x="271" y="483"/>
                    </a:lnTo>
                    <a:lnTo>
                      <a:pt x="273" y="485"/>
                    </a:lnTo>
                    <a:lnTo>
                      <a:pt x="273" y="487"/>
                    </a:lnTo>
                    <a:lnTo>
                      <a:pt x="275" y="487"/>
                    </a:lnTo>
                    <a:lnTo>
                      <a:pt x="275" y="489"/>
                    </a:lnTo>
                    <a:close/>
                    <a:moveTo>
                      <a:pt x="261" y="479"/>
                    </a:moveTo>
                    <a:lnTo>
                      <a:pt x="261" y="481"/>
                    </a:lnTo>
                    <a:lnTo>
                      <a:pt x="261" y="479"/>
                    </a:lnTo>
                    <a:close/>
                    <a:moveTo>
                      <a:pt x="267" y="479"/>
                    </a:moveTo>
                    <a:lnTo>
                      <a:pt x="265" y="479"/>
                    </a:lnTo>
                    <a:lnTo>
                      <a:pt x="263" y="477"/>
                    </a:lnTo>
                    <a:lnTo>
                      <a:pt x="265" y="477"/>
                    </a:lnTo>
                    <a:lnTo>
                      <a:pt x="265" y="479"/>
                    </a:lnTo>
                    <a:lnTo>
                      <a:pt x="267" y="479"/>
                    </a:lnTo>
                    <a:close/>
                    <a:moveTo>
                      <a:pt x="265" y="477"/>
                    </a:moveTo>
                    <a:lnTo>
                      <a:pt x="263" y="477"/>
                    </a:lnTo>
                    <a:lnTo>
                      <a:pt x="265" y="477"/>
                    </a:lnTo>
                    <a:close/>
                    <a:moveTo>
                      <a:pt x="261" y="477"/>
                    </a:moveTo>
                    <a:lnTo>
                      <a:pt x="263" y="477"/>
                    </a:lnTo>
                    <a:lnTo>
                      <a:pt x="265" y="479"/>
                    </a:lnTo>
                    <a:lnTo>
                      <a:pt x="263" y="479"/>
                    </a:lnTo>
                    <a:lnTo>
                      <a:pt x="265" y="479"/>
                    </a:lnTo>
                    <a:lnTo>
                      <a:pt x="265" y="481"/>
                    </a:lnTo>
                    <a:lnTo>
                      <a:pt x="263" y="479"/>
                    </a:lnTo>
                    <a:lnTo>
                      <a:pt x="261" y="479"/>
                    </a:lnTo>
                    <a:lnTo>
                      <a:pt x="260" y="479"/>
                    </a:lnTo>
                    <a:lnTo>
                      <a:pt x="261" y="477"/>
                    </a:lnTo>
                    <a:close/>
                    <a:moveTo>
                      <a:pt x="250" y="481"/>
                    </a:moveTo>
                    <a:lnTo>
                      <a:pt x="250" y="483"/>
                    </a:lnTo>
                    <a:lnTo>
                      <a:pt x="248" y="483"/>
                    </a:lnTo>
                    <a:lnTo>
                      <a:pt x="250" y="483"/>
                    </a:lnTo>
                    <a:lnTo>
                      <a:pt x="248" y="483"/>
                    </a:lnTo>
                    <a:lnTo>
                      <a:pt x="250" y="483"/>
                    </a:lnTo>
                    <a:lnTo>
                      <a:pt x="250" y="481"/>
                    </a:lnTo>
                    <a:close/>
                    <a:moveTo>
                      <a:pt x="236" y="489"/>
                    </a:moveTo>
                    <a:lnTo>
                      <a:pt x="236" y="487"/>
                    </a:lnTo>
                    <a:lnTo>
                      <a:pt x="236" y="489"/>
                    </a:lnTo>
                    <a:close/>
                    <a:moveTo>
                      <a:pt x="252" y="481"/>
                    </a:moveTo>
                    <a:lnTo>
                      <a:pt x="250" y="481"/>
                    </a:lnTo>
                    <a:lnTo>
                      <a:pt x="252" y="481"/>
                    </a:lnTo>
                    <a:lnTo>
                      <a:pt x="252" y="479"/>
                    </a:lnTo>
                    <a:lnTo>
                      <a:pt x="252" y="481"/>
                    </a:lnTo>
                    <a:close/>
                    <a:moveTo>
                      <a:pt x="298" y="454"/>
                    </a:moveTo>
                    <a:lnTo>
                      <a:pt x="298" y="456"/>
                    </a:lnTo>
                    <a:lnTo>
                      <a:pt x="296" y="456"/>
                    </a:lnTo>
                    <a:lnTo>
                      <a:pt x="298" y="456"/>
                    </a:lnTo>
                    <a:lnTo>
                      <a:pt x="296" y="456"/>
                    </a:lnTo>
                    <a:lnTo>
                      <a:pt x="296" y="454"/>
                    </a:lnTo>
                    <a:lnTo>
                      <a:pt x="298" y="454"/>
                    </a:lnTo>
                    <a:close/>
                    <a:moveTo>
                      <a:pt x="256" y="477"/>
                    </a:moveTo>
                    <a:lnTo>
                      <a:pt x="254" y="477"/>
                    </a:lnTo>
                    <a:lnTo>
                      <a:pt x="254" y="475"/>
                    </a:lnTo>
                    <a:lnTo>
                      <a:pt x="256" y="477"/>
                    </a:lnTo>
                    <a:close/>
                    <a:moveTo>
                      <a:pt x="246" y="477"/>
                    </a:moveTo>
                    <a:lnTo>
                      <a:pt x="246" y="479"/>
                    </a:lnTo>
                    <a:lnTo>
                      <a:pt x="248" y="479"/>
                    </a:lnTo>
                    <a:lnTo>
                      <a:pt x="248" y="481"/>
                    </a:lnTo>
                    <a:lnTo>
                      <a:pt x="250" y="483"/>
                    </a:lnTo>
                    <a:lnTo>
                      <a:pt x="248" y="483"/>
                    </a:lnTo>
                    <a:lnTo>
                      <a:pt x="250" y="483"/>
                    </a:lnTo>
                    <a:lnTo>
                      <a:pt x="248" y="483"/>
                    </a:lnTo>
                    <a:lnTo>
                      <a:pt x="248" y="485"/>
                    </a:lnTo>
                    <a:lnTo>
                      <a:pt x="246" y="485"/>
                    </a:lnTo>
                    <a:lnTo>
                      <a:pt x="244" y="485"/>
                    </a:lnTo>
                    <a:lnTo>
                      <a:pt x="244" y="483"/>
                    </a:lnTo>
                    <a:lnTo>
                      <a:pt x="244" y="485"/>
                    </a:lnTo>
                    <a:lnTo>
                      <a:pt x="242" y="485"/>
                    </a:lnTo>
                    <a:lnTo>
                      <a:pt x="242" y="483"/>
                    </a:lnTo>
                    <a:lnTo>
                      <a:pt x="240" y="483"/>
                    </a:lnTo>
                    <a:lnTo>
                      <a:pt x="240" y="485"/>
                    </a:lnTo>
                    <a:lnTo>
                      <a:pt x="240" y="487"/>
                    </a:lnTo>
                    <a:lnTo>
                      <a:pt x="240" y="485"/>
                    </a:lnTo>
                    <a:lnTo>
                      <a:pt x="238" y="485"/>
                    </a:lnTo>
                    <a:lnTo>
                      <a:pt x="238" y="483"/>
                    </a:lnTo>
                    <a:lnTo>
                      <a:pt x="240" y="481"/>
                    </a:lnTo>
                    <a:lnTo>
                      <a:pt x="240" y="479"/>
                    </a:lnTo>
                    <a:lnTo>
                      <a:pt x="242" y="479"/>
                    </a:lnTo>
                    <a:lnTo>
                      <a:pt x="242" y="481"/>
                    </a:lnTo>
                    <a:lnTo>
                      <a:pt x="242" y="479"/>
                    </a:lnTo>
                    <a:lnTo>
                      <a:pt x="244" y="479"/>
                    </a:lnTo>
                    <a:lnTo>
                      <a:pt x="244" y="477"/>
                    </a:lnTo>
                    <a:lnTo>
                      <a:pt x="246" y="477"/>
                    </a:lnTo>
                    <a:close/>
                    <a:moveTo>
                      <a:pt x="254" y="469"/>
                    </a:moveTo>
                    <a:lnTo>
                      <a:pt x="256" y="469"/>
                    </a:lnTo>
                    <a:lnTo>
                      <a:pt x="254" y="469"/>
                    </a:lnTo>
                    <a:close/>
                    <a:moveTo>
                      <a:pt x="302" y="446"/>
                    </a:moveTo>
                    <a:lnTo>
                      <a:pt x="300" y="446"/>
                    </a:lnTo>
                    <a:lnTo>
                      <a:pt x="302" y="446"/>
                    </a:lnTo>
                    <a:close/>
                    <a:moveTo>
                      <a:pt x="302" y="444"/>
                    </a:moveTo>
                    <a:lnTo>
                      <a:pt x="302" y="446"/>
                    </a:lnTo>
                    <a:lnTo>
                      <a:pt x="300" y="446"/>
                    </a:lnTo>
                    <a:lnTo>
                      <a:pt x="302" y="446"/>
                    </a:lnTo>
                    <a:lnTo>
                      <a:pt x="302" y="444"/>
                    </a:lnTo>
                    <a:close/>
                    <a:moveTo>
                      <a:pt x="286" y="452"/>
                    </a:moveTo>
                    <a:lnTo>
                      <a:pt x="288" y="454"/>
                    </a:lnTo>
                    <a:lnTo>
                      <a:pt x="286" y="454"/>
                    </a:lnTo>
                    <a:lnTo>
                      <a:pt x="286" y="452"/>
                    </a:lnTo>
                    <a:close/>
                    <a:moveTo>
                      <a:pt x="279" y="452"/>
                    </a:moveTo>
                    <a:lnTo>
                      <a:pt x="281" y="452"/>
                    </a:lnTo>
                    <a:lnTo>
                      <a:pt x="279" y="452"/>
                    </a:lnTo>
                    <a:close/>
                    <a:moveTo>
                      <a:pt x="260" y="454"/>
                    </a:moveTo>
                    <a:lnTo>
                      <a:pt x="260" y="456"/>
                    </a:lnTo>
                    <a:lnTo>
                      <a:pt x="258" y="456"/>
                    </a:lnTo>
                    <a:lnTo>
                      <a:pt x="260" y="456"/>
                    </a:lnTo>
                    <a:lnTo>
                      <a:pt x="258" y="456"/>
                    </a:lnTo>
                    <a:lnTo>
                      <a:pt x="260" y="454"/>
                    </a:lnTo>
                    <a:close/>
                    <a:moveTo>
                      <a:pt x="258" y="456"/>
                    </a:moveTo>
                    <a:lnTo>
                      <a:pt x="258" y="454"/>
                    </a:lnTo>
                    <a:lnTo>
                      <a:pt x="260" y="454"/>
                    </a:lnTo>
                    <a:lnTo>
                      <a:pt x="258" y="454"/>
                    </a:lnTo>
                    <a:lnTo>
                      <a:pt x="258" y="456"/>
                    </a:lnTo>
                    <a:close/>
                    <a:moveTo>
                      <a:pt x="252" y="458"/>
                    </a:moveTo>
                    <a:lnTo>
                      <a:pt x="252" y="456"/>
                    </a:lnTo>
                    <a:lnTo>
                      <a:pt x="252" y="458"/>
                    </a:lnTo>
                    <a:close/>
                    <a:moveTo>
                      <a:pt x="296" y="427"/>
                    </a:moveTo>
                    <a:lnTo>
                      <a:pt x="298" y="427"/>
                    </a:lnTo>
                    <a:lnTo>
                      <a:pt x="298" y="429"/>
                    </a:lnTo>
                    <a:lnTo>
                      <a:pt x="300" y="429"/>
                    </a:lnTo>
                    <a:lnTo>
                      <a:pt x="298" y="429"/>
                    </a:lnTo>
                    <a:lnTo>
                      <a:pt x="296" y="429"/>
                    </a:lnTo>
                    <a:lnTo>
                      <a:pt x="294" y="429"/>
                    </a:lnTo>
                    <a:lnTo>
                      <a:pt x="292" y="429"/>
                    </a:lnTo>
                    <a:lnTo>
                      <a:pt x="294" y="429"/>
                    </a:lnTo>
                    <a:lnTo>
                      <a:pt x="294" y="427"/>
                    </a:lnTo>
                    <a:lnTo>
                      <a:pt x="296" y="427"/>
                    </a:lnTo>
                    <a:close/>
                    <a:moveTo>
                      <a:pt x="246" y="452"/>
                    </a:moveTo>
                    <a:lnTo>
                      <a:pt x="244" y="452"/>
                    </a:lnTo>
                    <a:lnTo>
                      <a:pt x="246" y="452"/>
                    </a:lnTo>
                    <a:lnTo>
                      <a:pt x="244" y="452"/>
                    </a:lnTo>
                    <a:lnTo>
                      <a:pt x="246" y="452"/>
                    </a:lnTo>
                    <a:close/>
                    <a:moveTo>
                      <a:pt x="288" y="427"/>
                    </a:moveTo>
                    <a:lnTo>
                      <a:pt x="288" y="429"/>
                    </a:lnTo>
                    <a:lnTo>
                      <a:pt x="288" y="427"/>
                    </a:lnTo>
                    <a:close/>
                    <a:moveTo>
                      <a:pt x="288" y="425"/>
                    </a:moveTo>
                    <a:lnTo>
                      <a:pt x="290" y="425"/>
                    </a:lnTo>
                    <a:lnTo>
                      <a:pt x="290" y="427"/>
                    </a:lnTo>
                    <a:lnTo>
                      <a:pt x="292" y="427"/>
                    </a:lnTo>
                    <a:lnTo>
                      <a:pt x="290" y="427"/>
                    </a:lnTo>
                    <a:lnTo>
                      <a:pt x="292" y="427"/>
                    </a:lnTo>
                    <a:lnTo>
                      <a:pt x="290" y="427"/>
                    </a:lnTo>
                    <a:lnTo>
                      <a:pt x="288" y="427"/>
                    </a:lnTo>
                    <a:lnTo>
                      <a:pt x="288" y="425"/>
                    </a:lnTo>
                    <a:close/>
                    <a:moveTo>
                      <a:pt x="283" y="427"/>
                    </a:moveTo>
                    <a:lnTo>
                      <a:pt x="283" y="425"/>
                    </a:lnTo>
                    <a:lnTo>
                      <a:pt x="283" y="427"/>
                    </a:lnTo>
                    <a:close/>
                    <a:moveTo>
                      <a:pt x="286" y="425"/>
                    </a:moveTo>
                    <a:lnTo>
                      <a:pt x="288" y="425"/>
                    </a:lnTo>
                    <a:lnTo>
                      <a:pt x="286" y="425"/>
                    </a:lnTo>
                    <a:lnTo>
                      <a:pt x="286" y="427"/>
                    </a:lnTo>
                    <a:lnTo>
                      <a:pt x="286" y="425"/>
                    </a:lnTo>
                    <a:lnTo>
                      <a:pt x="285" y="425"/>
                    </a:lnTo>
                    <a:lnTo>
                      <a:pt x="283" y="425"/>
                    </a:lnTo>
                    <a:lnTo>
                      <a:pt x="285" y="425"/>
                    </a:lnTo>
                    <a:lnTo>
                      <a:pt x="286" y="425"/>
                    </a:lnTo>
                    <a:close/>
                    <a:moveTo>
                      <a:pt x="154" y="419"/>
                    </a:moveTo>
                    <a:lnTo>
                      <a:pt x="156" y="419"/>
                    </a:lnTo>
                    <a:lnTo>
                      <a:pt x="154" y="419"/>
                    </a:lnTo>
                    <a:lnTo>
                      <a:pt x="154" y="421"/>
                    </a:lnTo>
                    <a:lnTo>
                      <a:pt x="154" y="419"/>
                    </a:lnTo>
                    <a:close/>
                    <a:moveTo>
                      <a:pt x="215" y="391"/>
                    </a:moveTo>
                    <a:lnTo>
                      <a:pt x="215" y="392"/>
                    </a:lnTo>
                    <a:lnTo>
                      <a:pt x="215" y="391"/>
                    </a:lnTo>
                    <a:lnTo>
                      <a:pt x="213" y="391"/>
                    </a:lnTo>
                    <a:lnTo>
                      <a:pt x="215" y="391"/>
                    </a:lnTo>
                    <a:close/>
                    <a:moveTo>
                      <a:pt x="154" y="410"/>
                    </a:moveTo>
                    <a:lnTo>
                      <a:pt x="156" y="410"/>
                    </a:lnTo>
                    <a:lnTo>
                      <a:pt x="156" y="412"/>
                    </a:lnTo>
                    <a:lnTo>
                      <a:pt x="154" y="412"/>
                    </a:lnTo>
                    <a:lnTo>
                      <a:pt x="154" y="414"/>
                    </a:lnTo>
                    <a:lnTo>
                      <a:pt x="154" y="415"/>
                    </a:lnTo>
                    <a:lnTo>
                      <a:pt x="154" y="417"/>
                    </a:lnTo>
                    <a:lnTo>
                      <a:pt x="154" y="419"/>
                    </a:lnTo>
                    <a:lnTo>
                      <a:pt x="152" y="417"/>
                    </a:lnTo>
                    <a:lnTo>
                      <a:pt x="152" y="419"/>
                    </a:lnTo>
                    <a:lnTo>
                      <a:pt x="150" y="419"/>
                    </a:lnTo>
                    <a:lnTo>
                      <a:pt x="152" y="417"/>
                    </a:lnTo>
                    <a:lnTo>
                      <a:pt x="152" y="415"/>
                    </a:lnTo>
                    <a:lnTo>
                      <a:pt x="152" y="414"/>
                    </a:lnTo>
                    <a:lnTo>
                      <a:pt x="152" y="412"/>
                    </a:lnTo>
                    <a:lnTo>
                      <a:pt x="152" y="410"/>
                    </a:lnTo>
                    <a:lnTo>
                      <a:pt x="154" y="410"/>
                    </a:lnTo>
                    <a:lnTo>
                      <a:pt x="154" y="408"/>
                    </a:lnTo>
                    <a:lnTo>
                      <a:pt x="154" y="410"/>
                    </a:lnTo>
                    <a:close/>
                    <a:moveTo>
                      <a:pt x="54" y="454"/>
                    </a:moveTo>
                    <a:lnTo>
                      <a:pt x="52" y="454"/>
                    </a:lnTo>
                    <a:lnTo>
                      <a:pt x="52" y="452"/>
                    </a:lnTo>
                    <a:lnTo>
                      <a:pt x="54" y="452"/>
                    </a:lnTo>
                    <a:lnTo>
                      <a:pt x="54" y="454"/>
                    </a:lnTo>
                    <a:lnTo>
                      <a:pt x="52" y="454"/>
                    </a:lnTo>
                    <a:lnTo>
                      <a:pt x="54" y="454"/>
                    </a:lnTo>
                    <a:close/>
                    <a:moveTo>
                      <a:pt x="56" y="448"/>
                    </a:moveTo>
                    <a:lnTo>
                      <a:pt x="56" y="450"/>
                    </a:lnTo>
                    <a:lnTo>
                      <a:pt x="54" y="450"/>
                    </a:lnTo>
                    <a:lnTo>
                      <a:pt x="56" y="448"/>
                    </a:lnTo>
                    <a:close/>
                    <a:moveTo>
                      <a:pt x="142" y="410"/>
                    </a:moveTo>
                    <a:lnTo>
                      <a:pt x="144" y="410"/>
                    </a:lnTo>
                    <a:lnTo>
                      <a:pt x="144" y="412"/>
                    </a:lnTo>
                    <a:lnTo>
                      <a:pt x="146" y="412"/>
                    </a:lnTo>
                    <a:lnTo>
                      <a:pt x="146" y="414"/>
                    </a:lnTo>
                    <a:lnTo>
                      <a:pt x="146" y="415"/>
                    </a:lnTo>
                    <a:lnTo>
                      <a:pt x="146" y="417"/>
                    </a:lnTo>
                    <a:lnTo>
                      <a:pt x="148" y="417"/>
                    </a:lnTo>
                    <a:lnTo>
                      <a:pt x="148" y="419"/>
                    </a:lnTo>
                    <a:lnTo>
                      <a:pt x="146" y="419"/>
                    </a:lnTo>
                    <a:lnTo>
                      <a:pt x="148" y="419"/>
                    </a:lnTo>
                    <a:lnTo>
                      <a:pt x="146" y="421"/>
                    </a:lnTo>
                    <a:lnTo>
                      <a:pt x="146" y="419"/>
                    </a:lnTo>
                    <a:lnTo>
                      <a:pt x="144" y="419"/>
                    </a:lnTo>
                    <a:lnTo>
                      <a:pt x="144" y="417"/>
                    </a:lnTo>
                    <a:lnTo>
                      <a:pt x="144" y="415"/>
                    </a:lnTo>
                    <a:lnTo>
                      <a:pt x="144" y="414"/>
                    </a:lnTo>
                    <a:lnTo>
                      <a:pt x="142" y="414"/>
                    </a:lnTo>
                    <a:lnTo>
                      <a:pt x="142" y="412"/>
                    </a:lnTo>
                    <a:lnTo>
                      <a:pt x="142" y="410"/>
                    </a:lnTo>
                    <a:close/>
                    <a:moveTo>
                      <a:pt x="56" y="448"/>
                    </a:moveTo>
                    <a:lnTo>
                      <a:pt x="56" y="446"/>
                    </a:lnTo>
                    <a:lnTo>
                      <a:pt x="56" y="448"/>
                    </a:lnTo>
                    <a:close/>
                    <a:moveTo>
                      <a:pt x="48" y="450"/>
                    </a:moveTo>
                    <a:lnTo>
                      <a:pt x="46" y="450"/>
                    </a:lnTo>
                    <a:lnTo>
                      <a:pt x="48" y="450"/>
                    </a:lnTo>
                    <a:close/>
                    <a:moveTo>
                      <a:pt x="56" y="446"/>
                    </a:moveTo>
                    <a:lnTo>
                      <a:pt x="56" y="448"/>
                    </a:lnTo>
                    <a:lnTo>
                      <a:pt x="56" y="446"/>
                    </a:lnTo>
                    <a:close/>
                    <a:moveTo>
                      <a:pt x="192" y="383"/>
                    </a:moveTo>
                    <a:lnTo>
                      <a:pt x="192" y="385"/>
                    </a:lnTo>
                    <a:lnTo>
                      <a:pt x="190" y="385"/>
                    </a:lnTo>
                    <a:lnTo>
                      <a:pt x="190" y="383"/>
                    </a:lnTo>
                    <a:lnTo>
                      <a:pt x="192" y="383"/>
                    </a:lnTo>
                    <a:lnTo>
                      <a:pt x="192" y="381"/>
                    </a:lnTo>
                    <a:lnTo>
                      <a:pt x="192" y="383"/>
                    </a:lnTo>
                    <a:close/>
                    <a:moveTo>
                      <a:pt x="62" y="442"/>
                    </a:moveTo>
                    <a:lnTo>
                      <a:pt x="60" y="442"/>
                    </a:lnTo>
                    <a:lnTo>
                      <a:pt x="60" y="440"/>
                    </a:lnTo>
                    <a:lnTo>
                      <a:pt x="60" y="442"/>
                    </a:lnTo>
                    <a:lnTo>
                      <a:pt x="62" y="442"/>
                    </a:lnTo>
                    <a:close/>
                    <a:moveTo>
                      <a:pt x="66" y="435"/>
                    </a:moveTo>
                    <a:lnTo>
                      <a:pt x="66" y="437"/>
                    </a:lnTo>
                    <a:lnTo>
                      <a:pt x="64" y="437"/>
                    </a:lnTo>
                    <a:lnTo>
                      <a:pt x="66" y="435"/>
                    </a:lnTo>
                    <a:close/>
                    <a:moveTo>
                      <a:pt x="66" y="435"/>
                    </a:moveTo>
                    <a:lnTo>
                      <a:pt x="64" y="435"/>
                    </a:lnTo>
                    <a:lnTo>
                      <a:pt x="64" y="433"/>
                    </a:lnTo>
                    <a:lnTo>
                      <a:pt x="66" y="435"/>
                    </a:lnTo>
                    <a:lnTo>
                      <a:pt x="64" y="435"/>
                    </a:lnTo>
                    <a:lnTo>
                      <a:pt x="66" y="435"/>
                    </a:lnTo>
                    <a:close/>
                    <a:moveTo>
                      <a:pt x="98" y="419"/>
                    </a:moveTo>
                    <a:lnTo>
                      <a:pt x="100" y="419"/>
                    </a:lnTo>
                    <a:lnTo>
                      <a:pt x="100" y="421"/>
                    </a:lnTo>
                    <a:lnTo>
                      <a:pt x="102" y="421"/>
                    </a:lnTo>
                    <a:lnTo>
                      <a:pt x="104" y="421"/>
                    </a:lnTo>
                    <a:lnTo>
                      <a:pt x="104" y="419"/>
                    </a:lnTo>
                    <a:lnTo>
                      <a:pt x="106" y="419"/>
                    </a:lnTo>
                    <a:lnTo>
                      <a:pt x="104" y="421"/>
                    </a:lnTo>
                    <a:lnTo>
                      <a:pt x="106" y="421"/>
                    </a:lnTo>
                    <a:lnTo>
                      <a:pt x="104" y="421"/>
                    </a:lnTo>
                    <a:lnTo>
                      <a:pt x="102" y="421"/>
                    </a:lnTo>
                    <a:lnTo>
                      <a:pt x="100" y="421"/>
                    </a:lnTo>
                    <a:lnTo>
                      <a:pt x="98" y="421"/>
                    </a:lnTo>
                    <a:lnTo>
                      <a:pt x="98" y="419"/>
                    </a:lnTo>
                    <a:lnTo>
                      <a:pt x="98" y="421"/>
                    </a:lnTo>
                    <a:lnTo>
                      <a:pt x="98" y="419"/>
                    </a:lnTo>
                    <a:close/>
                    <a:moveTo>
                      <a:pt x="66" y="433"/>
                    </a:moveTo>
                    <a:lnTo>
                      <a:pt x="66" y="435"/>
                    </a:lnTo>
                    <a:lnTo>
                      <a:pt x="66" y="433"/>
                    </a:lnTo>
                    <a:lnTo>
                      <a:pt x="66" y="435"/>
                    </a:lnTo>
                    <a:lnTo>
                      <a:pt x="66" y="433"/>
                    </a:lnTo>
                    <a:close/>
                    <a:moveTo>
                      <a:pt x="67" y="433"/>
                    </a:moveTo>
                    <a:lnTo>
                      <a:pt x="66" y="433"/>
                    </a:lnTo>
                    <a:lnTo>
                      <a:pt x="66" y="431"/>
                    </a:lnTo>
                    <a:lnTo>
                      <a:pt x="67" y="431"/>
                    </a:lnTo>
                    <a:lnTo>
                      <a:pt x="67" y="433"/>
                    </a:lnTo>
                    <a:close/>
                    <a:moveTo>
                      <a:pt x="66" y="431"/>
                    </a:moveTo>
                    <a:lnTo>
                      <a:pt x="66" y="433"/>
                    </a:lnTo>
                    <a:lnTo>
                      <a:pt x="66" y="431"/>
                    </a:lnTo>
                    <a:close/>
                    <a:moveTo>
                      <a:pt x="156" y="392"/>
                    </a:moveTo>
                    <a:lnTo>
                      <a:pt x="156" y="391"/>
                    </a:lnTo>
                    <a:lnTo>
                      <a:pt x="158" y="391"/>
                    </a:lnTo>
                    <a:lnTo>
                      <a:pt x="156" y="392"/>
                    </a:lnTo>
                    <a:close/>
                    <a:moveTo>
                      <a:pt x="25" y="439"/>
                    </a:moveTo>
                    <a:lnTo>
                      <a:pt x="27" y="439"/>
                    </a:lnTo>
                    <a:lnTo>
                      <a:pt x="25" y="439"/>
                    </a:lnTo>
                    <a:lnTo>
                      <a:pt x="27" y="439"/>
                    </a:lnTo>
                    <a:lnTo>
                      <a:pt x="27" y="440"/>
                    </a:lnTo>
                    <a:lnTo>
                      <a:pt x="25" y="439"/>
                    </a:lnTo>
                    <a:close/>
                    <a:moveTo>
                      <a:pt x="112" y="398"/>
                    </a:moveTo>
                    <a:lnTo>
                      <a:pt x="112" y="396"/>
                    </a:lnTo>
                    <a:lnTo>
                      <a:pt x="112" y="398"/>
                    </a:lnTo>
                    <a:close/>
                    <a:moveTo>
                      <a:pt x="2" y="442"/>
                    </a:moveTo>
                    <a:lnTo>
                      <a:pt x="0" y="442"/>
                    </a:lnTo>
                    <a:lnTo>
                      <a:pt x="2" y="442"/>
                    </a:lnTo>
                    <a:close/>
                    <a:moveTo>
                      <a:pt x="12" y="439"/>
                    </a:moveTo>
                    <a:lnTo>
                      <a:pt x="12" y="437"/>
                    </a:lnTo>
                    <a:lnTo>
                      <a:pt x="12" y="439"/>
                    </a:lnTo>
                    <a:close/>
                    <a:moveTo>
                      <a:pt x="98" y="400"/>
                    </a:moveTo>
                    <a:lnTo>
                      <a:pt x="98" y="398"/>
                    </a:lnTo>
                    <a:lnTo>
                      <a:pt x="100" y="398"/>
                    </a:lnTo>
                    <a:lnTo>
                      <a:pt x="100" y="400"/>
                    </a:lnTo>
                    <a:lnTo>
                      <a:pt x="98" y="400"/>
                    </a:lnTo>
                    <a:lnTo>
                      <a:pt x="96" y="400"/>
                    </a:lnTo>
                    <a:lnTo>
                      <a:pt x="98" y="400"/>
                    </a:lnTo>
                    <a:lnTo>
                      <a:pt x="98" y="398"/>
                    </a:lnTo>
                    <a:lnTo>
                      <a:pt x="98" y="400"/>
                    </a:lnTo>
                    <a:close/>
                    <a:moveTo>
                      <a:pt x="150" y="366"/>
                    </a:moveTo>
                    <a:lnTo>
                      <a:pt x="152" y="364"/>
                    </a:lnTo>
                    <a:lnTo>
                      <a:pt x="152" y="366"/>
                    </a:lnTo>
                    <a:lnTo>
                      <a:pt x="152" y="367"/>
                    </a:lnTo>
                    <a:lnTo>
                      <a:pt x="150" y="367"/>
                    </a:lnTo>
                    <a:lnTo>
                      <a:pt x="148" y="366"/>
                    </a:lnTo>
                    <a:lnTo>
                      <a:pt x="150" y="366"/>
                    </a:lnTo>
                    <a:close/>
                    <a:moveTo>
                      <a:pt x="158" y="39"/>
                    </a:moveTo>
                    <a:lnTo>
                      <a:pt x="156" y="41"/>
                    </a:lnTo>
                    <a:lnTo>
                      <a:pt x="158" y="39"/>
                    </a:lnTo>
                    <a:close/>
                    <a:moveTo>
                      <a:pt x="198" y="16"/>
                    </a:moveTo>
                    <a:lnTo>
                      <a:pt x="198" y="14"/>
                    </a:lnTo>
                    <a:lnTo>
                      <a:pt x="200" y="14"/>
                    </a:lnTo>
                    <a:lnTo>
                      <a:pt x="202" y="14"/>
                    </a:lnTo>
                    <a:lnTo>
                      <a:pt x="198" y="14"/>
                    </a:lnTo>
                    <a:lnTo>
                      <a:pt x="198" y="16"/>
                    </a:lnTo>
                    <a:lnTo>
                      <a:pt x="196" y="16"/>
                    </a:lnTo>
                    <a:lnTo>
                      <a:pt x="198" y="16"/>
                    </a:lnTo>
                    <a:close/>
                    <a:moveTo>
                      <a:pt x="202" y="10"/>
                    </a:moveTo>
                    <a:lnTo>
                      <a:pt x="204" y="10"/>
                    </a:lnTo>
                    <a:lnTo>
                      <a:pt x="202" y="10"/>
                    </a:lnTo>
                    <a:close/>
                    <a:moveTo>
                      <a:pt x="190" y="18"/>
                    </a:moveTo>
                    <a:lnTo>
                      <a:pt x="188" y="18"/>
                    </a:lnTo>
                    <a:lnTo>
                      <a:pt x="190" y="18"/>
                    </a:lnTo>
                    <a:close/>
                    <a:moveTo>
                      <a:pt x="202" y="8"/>
                    </a:moveTo>
                    <a:lnTo>
                      <a:pt x="202" y="10"/>
                    </a:lnTo>
                    <a:lnTo>
                      <a:pt x="202" y="8"/>
                    </a:lnTo>
                    <a:close/>
                    <a:moveTo>
                      <a:pt x="150" y="35"/>
                    </a:moveTo>
                    <a:lnTo>
                      <a:pt x="150" y="37"/>
                    </a:lnTo>
                    <a:lnTo>
                      <a:pt x="150" y="35"/>
                    </a:lnTo>
                    <a:close/>
                    <a:moveTo>
                      <a:pt x="200" y="6"/>
                    </a:moveTo>
                    <a:lnTo>
                      <a:pt x="200" y="4"/>
                    </a:lnTo>
                    <a:lnTo>
                      <a:pt x="200" y="6"/>
                    </a:lnTo>
                    <a:close/>
                    <a:moveTo>
                      <a:pt x="200" y="4"/>
                    </a:moveTo>
                    <a:lnTo>
                      <a:pt x="200" y="6"/>
                    </a:lnTo>
                    <a:lnTo>
                      <a:pt x="200" y="4"/>
                    </a:lnTo>
                    <a:lnTo>
                      <a:pt x="198" y="4"/>
                    </a:lnTo>
                    <a:lnTo>
                      <a:pt x="198" y="2"/>
                    </a:lnTo>
                    <a:lnTo>
                      <a:pt x="200" y="2"/>
                    </a:lnTo>
                    <a:lnTo>
                      <a:pt x="200" y="4"/>
                    </a:lnTo>
                    <a:close/>
                    <a:moveTo>
                      <a:pt x="198" y="2"/>
                    </a:moveTo>
                    <a:lnTo>
                      <a:pt x="196" y="2"/>
                    </a:lnTo>
                    <a:lnTo>
                      <a:pt x="196" y="0"/>
                    </a:lnTo>
                    <a:lnTo>
                      <a:pt x="198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41">
                <a:extLst>
                  <a:ext uri="{FF2B5EF4-FFF2-40B4-BE49-F238E27FC236}">
                    <a16:creationId xmlns="" xmlns:a16="http://schemas.microsoft.com/office/drawing/2014/main" id="{C32C78FB-036D-430C-9845-792C941EEE3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46888" y="3298826"/>
                <a:ext cx="530225" cy="985838"/>
              </a:xfrm>
              <a:custGeom>
                <a:avLst/>
                <a:gdLst>
                  <a:gd name="T0" fmla="*/ 275 w 334"/>
                  <a:gd name="T1" fmla="*/ 617 h 621"/>
                  <a:gd name="T2" fmla="*/ 281 w 334"/>
                  <a:gd name="T3" fmla="*/ 604 h 621"/>
                  <a:gd name="T4" fmla="*/ 279 w 334"/>
                  <a:gd name="T5" fmla="*/ 604 h 621"/>
                  <a:gd name="T6" fmla="*/ 279 w 334"/>
                  <a:gd name="T7" fmla="*/ 600 h 621"/>
                  <a:gd name="T8" fmla="*/ 290 w 334"/>
                  <a:gd name="T9" fmla="*/ 592 h 621"/>
                  <a:gd name="T10" fmla="*/ 290 w 334"/>
                  <a:gd name="T11" fmla="*/ 592 h 621"/>
                  <a:gd name="T12" fmla="*/ 334 w 334"/>
                  <a:gd name="T13" fmla="*/ 569 h 621"/>
                  <a:gd name="T14" fmla="*/ 306 w 334"/>
                  <a:gd name="T15" fmla="*/ 573 h 621"/>
                  <a:gd name="T16" fmla="*/ 307 w 334"/>
                  <a:gd name="T17" fmla="*/ 565 h 621"/>
                  <a:gd name="T18" fmla="*/ 300 w 334"/>
                  <a:gd name="T19" fmla="*/ 565 h 621"/>
                  <a:gd name="T20" fmla="*/ 307 w 334"/>
                  <a:gd name="T21" fmla="*/ 554 h 621"/>
                  <a:gd name="T22" fmla="*/ 307 w 334"/>
                  <a:gd name="T23" fmla="*/ 552 h 621"/>
                  <a:gd name="T24" fmla="*/ 325 w 334"/>
                  <a:gd name="T25" fmla="*/ 511 h 621"/>
                  <a:gd name="T26" fmla="*/ 292 w 334"/>
                  <a:gd name="T27" fmla="*/ 519 h 621"/>
                  <a:gd name="T28" fmla="*/ 317 w 334"/>
                  <a:gd name="T29" fmla="*/ 506 h 621"/>
                  <a:gd name="T30" fmla="*/ 263 w 334"/>
                  <a:gd name="T31" fmla="*/ 498 h 621"/>
                  <a:gd name="T32" fmla="*/ 238 w 334"/>
                  <a:gd name="T33" fmla="*/ 502 h 621"/>
                  <a:gd name="T34" fmla="*/ 298 w 334"/>
                  <a:gd name="T35" fmla="*/ 463 h 621"/>
                  <a:gd name="T36" fmla="*/ 265 w 334"/>
                  <a:gd name="T37" fmla="*/ 469 h 621"/>
                  <a:gd name="T38" fmla="*/ 246 w 334"/>
                  <a:gd name="T39" fmla="*/ 471 h 621"/>
                  <a:gd name="T40" fmla="*/ 138 w 334"/>
                  <a:gd name="T41" fmla="*/ 488 h 621"/>
                  <a:gd name="T42" fmla="*/ 52 w 334"/>
                  <a:gd name="T43" fmla="*/ 469 h 621"/>
                  <a:gd name="T44" fmla="*/ 50 w 334"/>
                  <a:gd name="T45" fmla="*/ 469 h 621"/>
                  <a:gd name="T46" fmla="*/ 52 w 334"/>
                  <a:gd name="T47" fmla="*/ 469 h 621"/>
                  <a:gd name="T48" fmla="*/ 58 w 334"/>
                  <a:gd name="T49" fmla="*/ 459 h 621"/>
                  <a:gd name="T50" fmla="*/ 60 w 334"/>
                  <a:gd name="T51" fmla="*/ 454 h 621"/>
                  <a:gd name="T52" fmla="*/ 62 w 334"/>
                  <a:gd name="T53" fmla="*/ 452 h 621"/>
                  <a:gd name="T54" fmla="*/ 64 w 334"/>
                  <a:gd name="T55" fmla="*/ 452 h 621"/>
                  <a:gd name="T56" fmla="*/ 125 w 334"/>
                  <a:gd name="T57" fmla="*/ 423 h 621"/>
                  <a:gd name="T58" fmla="*/ 64 w 334"/>
                  <a:gd name="T59" fmla="*/ 450 h 621"/>
                  <a:gd name="T60" fmla="*/ 65 w 334"/>
                  <a:gd name="T61" fmla="*/ 450 h 621"/>
                  <a:gd name="T62" fmla="*/ 64 w 334"/>
                  <a:gd name="T63" fmla="*/ 448 h 621"/>
                  <a:gd name="T64" fmla="*/ 65 w 334"/>
                  <a:gd name="T65" fmla="*/ 448 h 621"/>
                  <a:gd name="T66" fmla="*/ 92 w 334"/>
                  <a:gd name="T67" fmla="*/ 427 h 621"/>
                  <a:gd name="T68" fmla="*/ 21 w 334"/>
                  <a:gd name="T69" fmla="*/ 456 h 621"/>
                  <a:gd name="T70" fmla="*/ 2 w 334"/>
                  <a:gd name="T71" fmla="*/ 457 h 621"/>
                  <a:gd name="T72" fmla="*/ 0 w 334"/>
                  <a:gd name="T73" fmla="*/ 457 h 621"/>
                  <a:gd name="T74" fmla="*/ 2 w 334"/>
                  <a:gd name="T75" fmla="*/ 456 h 621"/>
                  <a:gd name="T76" fmla="*/ 256 w 334"/>
                  <a:gd name="T77" fmla="*/ 227 h 621"/>
                  <a:gd name="T78" fmla="*/ 121 w 334"/>
                  <a:gd name="T79" fmla="*/ 217 h 621"/>
                  <a:gd name="T80" fmla="*/ 154 w 334"/>
                  <a:gd name="T81" fmla="*/ 58 h 621"/>
                  <a:gd name="T82" fmla="*/ 185 w 334"/>
                  <a:gd name="T83" fmla="*/ 36 h 621"/>
                  <a:gd name="T84" fmla="*/ 152 w 334"/>
                  <a:gd name="T85" fmla="*/ 56 h 621"/>
                  <a:gd name="T86" fmla="*/ 158 w 334"/>
                  <a:gd name="T87" fmla="*/ 52 h 621"/>
                  <a:gd name="T88" fmla="*/ 150 w 334"/>
                  <a:gd name="T89" fmla="*/ 56 h 621"/>
                  <a:gd name="T90" fmla="*/ 188 w 334"/>
                  <a:gd name="T91" fmla="*/ 33 h 621"/>
                  <a:gd name="T92" fmla="*/ 148 w 334"/>
                  <a:gd name="T93" fmla="*/ 54 h 621"/>
                  <a:gd name="T94" fmla="*/ 144 w 334"/>
                  <a:gd name="T95" fmla="*/ 50 h 621"/>
                  <a:gd name="T96" fmla="*/ 196 w 334"/>
                  <a:gd name="T97" fmla="*/ 19 h 621"/>
                  <a:gd name="T98" fmla="*/ 181 w 334"/>
                  <a:gd name="T99" fmla="*/ 6 h 621"/>
                  <a:gd name="T100" fmla="*/ 179 w 334"/>
                  <a:gd name="T101" fmla="*/ 2 h 621"/>
                  <a:gd name="T102" fmla="*/ 181 w 334"/>
                  <a:gd name="T103" fmla="*/ 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34" h="621">
                    <a:moveTo>
                      <a:pt x="273" y="621"/>
                    </a:moveTo>
                    <a:lnTo>
                      <a:pt x="273" y="619"/>
                    </a:lnTo>
                    <a:lnTo>
                      <a:pt x="273" y="621"/>
                    </a:lnTo>
                    <a:close/>
                    <a:moveTo>
                      <a:pt x="275" y="617"/>
                    </a:moveTo>
                    <a:lnTo>
                      <a:pt x="275" y="615"/>
                    </a:lnTo>
                    <a:lnTo>
                      <a:pt x="275" y="617"/>
                    </a:lnTo>
                    <a:close/>
                    <a:moveTo>
                      <a:pt x="283" y="602"/>
                    </a:moveTo>
                    <a:lnTo>
                      <a:pt x="281" y="604"/>
                    </a:lnTo>
                    <a:lnTo>
                      <a:pt x="281" y="602"/>
                    </a:lnTo>
                    <a:lnTo>
                      <a:pt x="283" y="602"/>
                    </a:lnTo>
                    <a:close/>
                    <a:moveTo>
                      <a:pt x="277" y="604"/>
                    </a:moveTo>
                    <a:lnTo>
                      <a:pt x="279" y="604"/>
                    </a:lnTo>
                    <a:lnTo>
                      <a:pt x="277" y="604"/>
                    </a:lnTo>
                    <a:close/>
                    <a:moveTo>
                      <a:pt x="279" y="600"/>
                    </a:moveTo>
                    <a:lnTo>
                      <a:pt x="279" y="602"/>
                    </a:lnTo>
                    <a:lnTo>
                      <a:pt x="279" y="600"/>
                    </a:lnTo>
                    <a:close/>
                    <a:moveTo>
                      <a:pt x="292" y="592"/>
                    </a:moveTo>
                    <a:lnTo>
                      <a:pt x="290" y="592"/>
                    </a:lnTo>
                    <a:lnTo>
                      <a:pt x="292" y="592"/>
                    </a:lnTo>
                    <a:close/>
                    <a:moveTo>
                      <a:pt x="290" y="592"/>
                    </a:moveTo>
                    <a:lnTo>
                      <a:pt x="288" y="592"/>
                    </a:lnTo>
                    <a:lnTo>
                      <a:pt x="290" y="592"/>
                    </a:lnTo>
                    <a:close/>
                    <a:moveTo>
                      <a:pt x="290" y="590"/>
                    </a:moveTo>
                    <a:lnTo>
                      <a:pt x="290" y="592"/>
                    </a:lnTo>
                    <a:lnTo>
                      <a:pt x="290" y="590"/>
                    </a:lnTo>
                    <a:close/>
                    <a:moveTo>
                      <a:pt x="334" y="569"/>
                    </a:moveTo>
                    <a:lnTo>
                      <a:pt x="332" y="569"/>
                    </a:lnTo>
                    <a:lnTo>
                      <a:pt x="334" y="569"/>
                    </a:lnTo>
                    <a:close/>
                    <a:moveTo>
                      <a:pt x="306" y="577"/>
                    </a:moveTo>
                    <a:lnTo>
                      <a:pt x="304" y="577"/>
                    </a:lnTo>
                    <a:lnTo>
                      <a:pt x="306" y="577"/>
                    </a:lnTo>
                    <a:close/>
                    <a:moveTo>
                      <a:pt x="306" y="573"/>
                    </a:moveTo>
                    <a:lnTo>
                      <a:pt x="306" y="575"/>
                    </a:lnTo>
                    <a:lnTo>
                      <a:pt x="306" y="573"/>
                    </a:lnTo>
                    <a:close/>
                    <a:moveTo>
                      <a:pt x="309" y="565"/>
                    </a:moveTo>
                    <a:lnTo>
                      <a:pt x="307" y="565"/>
                    </a:lnTo>
                    <a:lnTo>
                      <a:pt x="307" y="563"/>
                    </a:lnTo>
                    <a:lnTo>
                      <a:pt x="309" y="565"/>
                    </a:lnTo>
                    <a:close/>
                    <a:moveTo>
                      <a:pt x="300" y="567"/>
                    </a:moveTo>
                    <a:lnTo>
                      <a:pt x="300" y="565"/>
                    </a:lnTo>
                    <a:lnTo>
                      <a:pt x="302" y="565"/>
                    </a:lnTo>
                    <a:lnTo>
                      <a:pt x="300" y="567"/>
                    </a:lnTo>
                    <a:close/>
                    <a:moveTo>
                      <a:pt x="307" y="552"/>
                    </a:moveTo>
                    <a:lnTo>
                      <a:pt x="307" y="554"/>
                    </a:lnTo>
                    <a:lnTo>
                      <a:pt x="307" y="552"/>
                    </a:lnTo>
                    <a:close/>
                    <a:moveTo>
                      <a:pt x="307" y="552"/>
                    </a:moveTo>
                    <a:lnTo>
                      <a:pt x="307" y="550"/>
                    </a:lnTo>
                    <a:lnTo>
                      <a:pt x="307" y="552"/>
                    </a:lnTo>
                    <a:close/>
                    <a:moveTo>
                      <a:pt x="304" y="544"/>
                    </a:moveTo>
                    <a:lnTo>
                      <a:pt x="302" y="544"/>
                    </a:lnTo>
                    <a:lnTo>
                      <a:pt x="304" y="544"/>
                    </a:lnTo>
                    <a:close/>
                    <a:moveTo>
                      <a:pt x="325" y="511"/>
                    </a:moveTo>
                    <a:lnTo>
                      <a:pt x="325" y="509"/>
                    </a:lnTo>
                    <a:lnTo>
                      <a:pt x="325" y="511"/>
                    </a:lnTo>
                    <a:close/>
                    <a:moveTo>
                      <a:pt x="292" y="517"/>
                    </a:moveTo>
                    <a:lnTo>
                      <a:pt x="292" y="519"/>
                    </a:lnTo>
                    <a:lnTo>
                      <a:pt x="292" y="517"/>
                    </a:lnTo>
                    <a:close/>
                    <a:moveTo>
                      <a:pt x="317" y="506"/>
                    </a:moveTo>
                    <a:lnTo>
                      <a:pt x="315" y="506"/>
                    </a:lnTo>
                    <a:lnTo>
                      <a:pt x="317" y="506"/>
                    </a:lnTo>
                    <a:close/>
                    <a:moveTo>
                      <a:pt x="271" y="502"/>
                    </a:moveTo>
                    <a:lnTo>
                      <a:pt x="271" y="500"/>
                    </a:lnTo>
                    <a:lnTo>
                      <a:pt x="271" y="502"/>
                    </a:lnTo>
                    <a:close/>
                    <a:moveTo>
                      <a:pt x="263" y="498"/>
                    </a:moveTo>
                    <a:lnTo>
                      <a:pt x="261" y="498"/>
                    </a:lnTo>
                    <a:lnTo>
                      <a:pt x="263" y="498"/>
                    </a:lnTo>
                    <a:close/>
                    <a:moveTo>
                      <a:pt x="238" y="504"/>
                    </a:moveTo>
                    <a:lnTo>
                      <a:pt x="238" y="502"/>
                    </a:lnTo>
                    <a:lnTo>
                      <a:pt x="238" y="504"/>
                    </a:lnTo>
                    <a:close/>
                    <a:moveTo>
                      <a:pt x="298" y="463"/>
                    </a:moveTo>
                    <a:lnTo>
                      <a:pt x="296" y="463"/>
                    </a:lnTo>
                    <a:lnTo>
                      <a:pt x="298" y="463"/>
                    </a:lnTo>
                    <a:close/>
                    <a:moveTo>
                      <a:pt x="284" y="469"/>
                    </a:moveTo>
                    <a:lnTo>
                      <a:pt x="283" y="469"/>
                    </a:lnTo>
                    <a:lnTo>
                      <a:pt x="284" y="469"/>
                    </a:lnTo>
                    <a:close/>
                    <a:moveTo>
                      <a:pt x="265" y="469"/>
                    </a:moveTo>
                    <a:lnTo>
                      <a:pt x="265" y="471"/>
                    </a:lnTo>
                    <a:lnTo>
                      <a:pt x="265" y="469"/>
                    </a:lnTo>
                    <a:close/>
                    <a:moveTo>
                      <a:pt x="248" y="471"/>
                    </a:moveTo>
                    <a:lnTo>
                      <a:pt x="246" y="471"/>
                    </a:lnTo>
                    <a:lnTo>
                      <a:pt x="248" y="471"/>
                    </a:lnTo>
                    <a:close/>
                    <a:moveTo>
                      <a:pt x="138" y="488"/>
                    </a:moveTo>
                    <a:lnTo>
                      <a:pt x="137" y="488"/>
                    </a:lnTo>
                    <a:lnTo>
                      <a:pt x="138" y="488"/>
                    </a:lnTo>
                    <a:close/>
                    <a:moveTo>
                      <a:pt x="148" y="457"/>
                    </a:moveTo>
                    <a:lnTo>
                      <a:pt x="148" y="459"/>
                    </a:lnTo>
                    <a:lnTo>
                      <a:pt x="148" y="457"/>
                    </a:lnTo>
                    <a:close/>
                    <a:moveTo>
                      <a:pt x="52" y="469"/>
                    </a:moveTo>
                    <a:lnTo>
                      <a:pt x="50" y="469"/>
                    </a:lnTo>
                    <a:lnTo>
                      <a:pt x="52" y="469"/>
                    </a:lnTo>
                    <a:close/>
                    <a:moveTo>
                      <a:pt x="52" y="469"/>
                    </a:moveTo>
                    <a:lnTo>
                      <a:pt x="50" y="469"/>
                    </a:lnTo>
                    <a:lnTo>
                      <a:pt x="52" y="469"/>
                    </a:lnTo>
                    <a:close/>
                    <a:moveTo>
                      <a:pt x="52" y="469"/>
                    </a:moveTo>
                    <a:lnTo>
                      <a:pt x="52" y="467"/>
                    </a:lnTo>
                    <a:lnTo>
                      <a:pt x="52" y="469"/>
                    </a:lnTo>
                    <a:close/>
                    <a:moveTo>
                      <a:pt x="54" y="461"/>
                    </a:moveTo>
                    <a:lnTo>
                      <a:pt x="54" y="463"/>
                    </a:lnTo>
                    <a:lnTo>
                      <a:pt x="54" y="461"/>
                    </a:lnTo>
                    <a:close/>
                    <a:moveTo>
                      <a:pt x="58" y="459"/>
                    </a:moveTo>
                    <a:lnTo>
                      <a:pt x="58" y="461"/>
                    </a:lnTo>
                    <a:lnTo>
                      <a:pt x="58" y="459"/>
                    </a:lnTo>
                    <a:close/>
                    <a:moveTo>
                      <a:pt x="62" y="454"/>
                    </a:moveTo>
                    <a:lnTo>
                      <a:pt x="60" y="454"/>
                    </a:lnTo>
                    <a:lnTo>
                      <a:pt x="62" y="454"/>
                    </a:lnTo>
                    <a:close/>
                    <a:moveTo>
                      <a:pt x="62" y="452"/>
                    </a:moveTo>
                    <a:lnTo>
                      <a:pt x="62" y="454"/>
                    </a:lnTo>
                    <a:lnTo>
                      <a:pt x="62" y="452"/>
                    </a:lnTo>
                    <a:close/>
                    <a:moveTo>
                      <a:pt x="62" y="452"/>
                    </a:moveTo>
                    <a:lnTo>
                      <a:pt x="62" y="454"/>
                    </a:lnTo>
                    <a:lnTo>
                      <a:pt x="62" y="452"/>
                    </a:lnTo>
                    <a:close/>
                    <a:moveTo>
                      <a:pt x="64" y="452"/>
                    </a:moveTo>
                    <a:lnTo>
                      <a:pt x="62" y="452"/>
                    </a:lnTo>
                    <a:lnTo>
                      <a:pt x="64" y="452"/>
                    </a:lnTo>
                    <a:close/>
                    <a:moveTo>
                      <a:pt x="123" y="425"/>
                    </a:moveTo>
                    <a:lnTo>
                      <a:pt x="125" y="423"/>
                    </a:lnTo>
                    <a:lnTo>
                      <a:pt x="125" y="425"/>
                    </a:lnTo>
                    <a:lnTo>
                      <a:pt x="123" y="425"/>
                    </a:lnTo>
                    <a:close/>
                    <a:moveTo>
                      <a:pt x="62" y="450"/>
                    </a:moveTo>
                    <a:lnTo>
                      <a:pt x="64" y="450"/>
                    </a:lnTo>
                    <a:lnTo>
                      <a:pt x="62" y="450"/>
                    </a:lnTo>
                    <a:close/>
                    <a:moveTo>
                      <a:pt x="65" y="450"/>
                    </a:moveTo>
                    <a:lnTo>
                      <a:pt x="64" y="450"/>
                    </a:lnTo>
                    <a:lnTo>
                      <a:pt x="65" y="450"/>
                    </a:lnTo>
                    <a:close/>
                    <a:moveTo>
                      <a:pt x="64" y="450"/>
                    </a:moveTo>
                    <a:lnTo>
                      <a:pt x="64" y="448"/>
                    </a:lnTo>
                    <a:lnTo>
                      <a:pt x="64" y="450"/>
                    </a:lnTo>
                    <a:close/>
                    <a:moveTo>
                      <a:pt x="64" y="448"/>
                    </a:moveTo>
                    <a:lnTo>
                      <a:pt x="64" y="450"/>
                    </a:lnTo>
                    <a:lnTo>
                      <a:pt x="64" y="448"/>
                    </a:lnTo>
                    <a:close/>
                    <a:moveTo>
                      <a:pt x="64" y="448"/>
                    </a:moveTo>
                    <a:lnTo>
                      <a:pt x="65" y="448"/>
                    </a:lnTo>
                    <a:lnTo>
                      <a:pt x="64" y="448"/>
                    </a:lnTo>
                    <a:close/>
                    <a:moveTo>
                      <a:pt x="94" y="429"/>
                    </a:moveTo>
                    <a:lnTo>
                      <a:pt x="92" y="429"/>
                    </a:lnTo>
                    <a:lnTo>
                      <a:pt x="92" y="427"/>
                    </a:lnTo>
                    <a:lnTo>
                      <a:pt x="94" y="429"/>
                    </a:lnTo>
                    <a:close/>
                    <a:moveTo>
                      <a:pt x="21" y="456"/>
                    </a:moveTo>
                    <a:lnTo>
                      <a:pt x="23" y="456"/>
                    </a:lnTo>
                    <a:lnTo>
                      <a:pt x="21" y="456"/>
                    </a:lnTo>
                    <a:close/>
                    <a:moveTo>
                      <a:pt x="19" y="454"/>
                    </a:moveTo>
                    <a:lnTo>
                      <a:pt x="19" y="456"/>
                    </a:lnTo>
                    <a:lnTo>
                      <a:pt x="19" y="454"/>
                    </a:lnTo>
                    <a:close/>
                    <a:moveTo>
                      <a:pt x="2" y="457"/>
                    </a:moveTo>
                    <a:lnTo>
                      <a:pt x="4" y="457"/>
                    </a:lnTo>
                    <a:lnTo>
                      <a:pt x="2" y="457"/>
                    </a:lnTo>
                    <a:close/>
                    <a:moveTo>
                      <a:pt x="2" y="457"/>
                    </a:moveTo>
                    <a:lnTo>
                      <a:pt x="0" y="457"/>
                    </a:lnTo>
                    <a:lnTo>
                      <a:pt x="2" y="457"/>
                    </a:lnTo>
                    <a:close/>
                    <a:moveTo>
                      <a:pt x="2" y="456"/>
                    </a:moveTo>
                    <a:lnTo>
                      <a:pt x="2" y="457"/>
                    </a:lnTo>
                    <a:lnTo>
                      <a:pt x="2" y="456"/>
                    </a:lnTo>
                    <a:close/>
                    <a:moveTo>
                      <a:pt x="133" y="386"/>
                    </a:moveTo>
                    <a:lnTo>
                      <a:pt x="133" y="384"/>
                    </a:lnTo>
                    <a:lnTo>
                      <a:pt x="133" y="386"/>
                    </a:lnTo>
                    <a:close/>
                    <a:moveTo>
                      <a:pt x="256" y="227"/>
                    </a:moveTo>
                    <a:lnTo>
                      <a:pt x="256" y="229"/>
                    </a:lnTo>
                    <a:lnTo>
                      <a:pt x="256" y="227"/>
                    </a:lnTo>
                    <a:close/>
                    <a:moveTo>
                      <a:pt x="123" y="217"/>
                    </a:moveTo>
                    <a:lnTo>
                      <a:pt x="121" y="217"/>
                    </a:lnTo>
                    <a:lnTo>
                      <a:pt x="123" y="217"/>
                    </a:lnTo>
                    <a:close/>
                    <a:moveTo>
                      <a:pt x="154" y="58"/>
                    </a:moveTo>
                    <a:lnTo>
                      <a:pt x="154" y="60"/>
                    </a:lnTo>
                    <a:lnTo>
                      <a:pt x="154" y="58"/>
                    </a:lnTo>
                    <a:close/>
                    <a:moveTo>
                      <a:pt x="188" y="36"/>
                    </a:moveTo>
                    <a:lnTo>
                      <a:pt x="186" y="36"/>
                    </a:lnTo>
                    <a:lnTo>
                      <a:pt x="188" y="36"/>
                    </a:lnTo>
                    <a:close/>
                    <a:moveTo>
                      <a:pt x="185" y="36"/>
                    </a:moveTo>
                    <a:lnTo>
                      <a:pt x="186" y="36"/>
                    </a:lnTo>
                    <a:lnTo>
                      <a:pt x="185" y="36"/>
                    </a:lnTo>
                    <a:close/>
                    <a:moveTo>
                      <a:pt x="150" y="56"/>
                    </a:moveTo>
                    <a:lnTo>
                      <a:pt x="152" y="56"/>
                    </a:lnTo>
                    <a:lnTo>
                      <a:pt x="150" y="56"/>
                    </a:lnTo>
                    <a:lnTo>
                      <a:pt x="152" y="56"/>
                    </a:lnTo>
                    <a:lnTo>
                      <a:pt x="150" y="56"/>
                    </a:lnTo>
                    <a:close/>
                    <a:moveTo>
                      <a:pt x="158" y="52"/>
                    </a:moveTo>
                    <a:lnTo>
                      <a:pt x="156" y="52"/>
                    </a:lnTo>
                    <a:lnTo>
                      <a:pt x="158" y="52"/>
                    </a:lnTo>
                    <a:close/>
                    <a:moveTo>
                      <a:pt x="150" y="54"/>
                    </a:moveTo>
                    <a:lnTo>
                      <a:pt x="150" y="56"/>
                    </a:lnTo>
                    <a:lnTo>
                      <a:pt x="150" y="54"/>
                    </a:lnTo>
                    <a:close/>
                    <a:moveTo>
                      <a:pt x="186" y="35"/>
                    </a:moveTo>
                    <a:lnTo>
                      <a:pt x="186" y="33"/>
                    </a:lnTo>
                    <a:lnTo>
                      <a:pt x="188" y="33"/>
                    </a:lnTo>
                    <a:lnTo>
                      <a:pt x="186" y="35"/>
                    </a:lnTo>
                    <a:close/>
                    <a:moveTo>
                      <a:pt x="148" y="54"/>
                    </a:moveTo>
                    <a:lnTo>
                      <a:pt x="148" y="52"/>
                    </a:lnTo>
                    <a:lnTo>
                      <a:pt x="148" y="54"/>
                    </a:lnTo>
                    <a:close/>
                    <a:moveTo>
                      <a:pt x="146" y="50"/>
                    </a:moveTo>
                    <a:lnTo>
                      <a:pt x="146" y="52"/>
                    </a:lnTo>
                    <a:lnTo>
                      <a:pt x="146" y="50"/>
                    </a:lnTo>
                    <a:close/>
                    <a:moveTo>
                      <a:pt x="144" y="50"/>
                    </a:moveTo>
                    <a:lnTo>
                      <a:pt x="144" y="52"/>
                    </a:lnTo>
                    <a:lnTo>
                      <a:pt x="144" y="50"/>
                    </a:lnTo>
                    <a:close/>
                    <a:moveTo>
                      <a:pt x="196" y="17"/>
                    </a:moveTo>
                    <a:lnTo>
                      <a:pt x="196" y="19"/>
                    </a:lnTo>
                    <a:lnTo>
                      <a:pt x="196" y="17"/>
                    </a:lnTo>
                    <a:lnTo>
                      <a:pt x="194" y="17"/>
                    </a:lnTo>
                    <a:lnTo>
                      <a:pt x="196" y="17"/>
                    </a:lnTo>
                    <a:close/>
                    <a:moveTo>
                      <a:pt x="181" y="6"/>
                    </a:moveTo>
                    <a:lnTo>
                      <a:pt x="179" y="6"/>
                    </a:lnTo>
                    <a:lnTo>
                      <a:pt x="181" y="6"/>
                    </a:lnTo>
                    <a:close/>
                    <a:moveTo>
                      <a:pt x="179" y="4"/>
                    </a:moveTo>
                    <a:lnTo>
                      <a:pt x="179" y="2"/>
                    </a:lnTo>
                    <a:lnTo>
                      <a:pt x="179" y="4"/>
                    </a:lnTo>
                    <a:close/>
                    <a:moveTo>
                      <a:pt x="181" y="0"/>
                    </a:moveTo>
                    <a:lnTo>
                      <a:pt x="179" y="0"/>
                    </a:lnTo>
                    <a:lnTo>
                      <a:pt x="181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42">
                <a:extLst>
                  <a:ext uri="{FF2B5EF4-FFF2-40B4-BE49-F238E27FC236}">
                    <a16:creationId xmlns="" xmlns:a16="http://schemas.microsoft.com/office/drawing/2014/main" id="{A30363E0-8326-4B00-9B32-C62D7F0233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67075" y="3060701"/>
                <a:ext cx="1169988" cy="860425"/>
              </a:xfrm>
              <a:custGeom>
                <a:avLst/>
                <a:gdLst>
                  <a:gd name="T0" fmla="*/ 209 w 737"/>
                  <a:gd name="T1" fmla="*/ 288 h 542"/>
                  <a:gd name="T2" fmla="*/ 215 w 737"/>
                  <a:gd name="T3" fmla="*/ 279 h 542"/>
                  <a:gd name="T4" fmla="*/ 194 w 737"/>
                  <a:gd name="T5" fmla="*/ 260 h 542"/>
                  <a:gd name="T6" fmla="*/ 205 w 737"/>
                  <a:gd name="T7" fmla="*/ 254 h 542"/>
                  <a:gd name="T8" fmla="*/ 186 w 737"/>
                  <a:gd name="T9" fmla="*/ 244 h 542"/>
                  <a:gd name="T10" fmla="*/ 194 w 737"/>
                  <a:gd name="T11" fmla="*/ 242 h 542"/>
                  <a:gd name="T12" fmla="*/ 184 w 737"/>
                  <a:gd name="T13" fmla="*/ 233 h 542"/>
                  <a:gd name="T14" fmla="*/ 176 w 737"/>
                  <a:gd name="T15" fmla="*/ 221 h 542"/>
                  <a:gd name="T16" fmla="*/ 176 w 737"/>
                  <a:gd name="T17" fmla="*/ 213 h 542"/>
                  <a:gd name="T18" fmla="*/ 178 w 737"/>
                  <a:gd name="T19" fmla="*/ 181 h 542"/>
                  <a:gd name="T20" fmla="*/ 178 w 737"/>
                  <a:gd name="T21" fmla="*/ 177 h 542"/>
                  <a:gd name="T22" fmla="*/ 178 w 737"/>
                  <a:gd name="T23" fmla="*/ 173 h 542"/>
                  <a:gd name="T24" fmla="*/ 180 w 737"/>
                  <a:gd name="T25" fmla="*/ 179 h 542"/>
                  <a:gd name="T26" fmla="*/ 180 w 737"/>
                  <a:gd name="T27" fmla="*/ 165 h 542"/>
                  <a:gd name="T28" fmla="*/ 176 w 737"/>
                  <a:gd name="T29" fmla="*/ 152 h 542"/>
                  <a:gd name="T30" fmla="*/ 196 w 737"/>
                  <a:gd name="T31" fmla="*/ 158 h 542"/>
                  <a:gd name="T32" fmla="*/ 182 w 737"/>
                  <a:gd name="T33" fmla="*/ 154 h 542"/>
                  <a:gd name="T34" fmla="*/ 186 w 737"/>
                  <a:gd name="T35" fmla="*/ 152 h 542"/>
                  <a:gd name="T36" fmla="*/ 194 w 737"/>
                  <a:gd name="T37" fmla="*/ 150 h 542"/>
                  <a:gd name="T38" fmla="*/ 198 w 737"/>
                  <a:gd name="T39" fmla="*/ 146 h 542"/>
                  <a:gd name="T40" fmla="*/ 198 w 737"/>
                  <a:gd name="T41" fmla="*/ 142 h 542"/>
                  <a:gd name="T42" fmla="*/ 184 w 737"/>
                  <a:gd name="T43" fmla="*/ 144 h 542"/>
                  <a:gd name="T44" fmla="*/ 207 w 737"/>
                  <a:gd name="T45" fmla="*/ 146 h 542"/>
                  <a:gd name="T46" fmla="*/ 192 w 737"/>
                  <a:gd name="T47" fmla="*/ 131 h 542"/>
                  <a:gd name="T48" fmla="*/ 207 w 737"/>
                  <a:gd name="T49" fmla="*/ 135 h 542"/>
                  <a:gd name="T50" fmla="*/ 213 w 737"/>
                  <a:gd name="T51" fmla="*/ 135 h 542"/>
                  <a:gd name="T52" fmla="*/ 205 w 737"/>
                  <a:gd name="T53" fmla="*/ 127 h 542"/>
                  <a:gd name="T54" fmla="*/ 203 w 737"/>
                  <a:gd name="T55" fmla="*/ 127 h 542"/>
                  <a:gd name="T56" fmla="*/ 213 w 737"/>
                  <a:gd name="T57" fmla="*/ 127 h 542"/>
                  <a:gd name="T58" fmla="*/ 215 w 737"/>
                  <a:gd name="T59" fmla="*/ 129 h 542"/>
                  <a:gd name="T60" fmla="*/ 207 w 737"/>
                  <a:gd name="T61" fmla="*/ 119 h 542"/>
                  <a:gd name="T62" fmla="*/ 215 w 737"/>
                  <a:gd name="T63" fmla="*/ 119 h 542"/>
                  <a:gd name="T64" fmla="*/ 219 w 737"/>
                  <a:gd name="T65" fmla="*/ 110 h 542"/>
                  <a:gd name="T66" fmla="*/ 217 w 737"/>
                  <a:gd name="T67" fmla="*/ 113 h 542"/>
                  <a:gd name="T68" fmla="*/ 209 w 737"/>
                  <a:gd name="T69" fmla="*/ 106 h 542"/>
                  <a:gd name="T70" fmla="*/ 215 w 737"/>
                  <a:gd name="T71" fmla="*/ 102 h 542"/>
                  <a:gd name="T72" fmla="*/ 203 w 737"/>
                  <a:gd name="T73" fmla="*/ 123 h 542"/>
                  <a:gd name="T74" fmla="*/ 182 w 737"/>
                  <a:gd name="T75" fmla="*/ 140 h 542"/>
                  <a:gd name="T76" fmla="*/ 155 w 737"/>
                  <a:gd name="T77" fmla="*/ 173 h 542"/>
                  <a:gd name="T78" fmla="*/ 101 w 737"/>
                  <a:gd name="T79" fmla="*/ 125 h 542"/>
                  <a:gd name="T80" fmla="*/ 146 w 737"/>
                  <a:gd name="T81" fmla="*/ 173 h 542"/>
                  <a:gd name="T82" fmla="*/ 163 w 737"/>
                  <a:gd name="T83" fmla="*/ 169 h 542"/>
                  <a:gd name="T84" fmla="*/ 171 w 737"/>
                  <a:gd name="T85" fmla="*/ 190 h 542"/>
                  <a:gd name="T86" fmla="*/ 173 w 737"/>
                  <a:gd name="T87" fmla="*/ 204 h 542"/>
                  <a:gd name="T88" fmla="*/ 176 w 737"/>
                  <a:gd name="T89" fmla="*/ 221 h 542"/>
                  <a:gd name="T90" fmla="*/ 184 w 737"/>
                  <a:gd name="T91" fmla="*/ 244 h 542"/>
                  <a:gd name="T92" fmla="*/ 199 w 737"/>
                  <a:gd name="T93" fmla="*/ 258 h 542"/>
                  <a:gd name="T94" fmla="*/ 215 w 737"/>
                  <a:gd name="T95" fmla="*/ 296 h 542"/>
                  <a:gd name="T96" fmla="*/ 190 w 737"/>
                  <a:gd name="T97" fmla="*/ 235 h 542"/>
                  <a:gd name="T98" fmla="*/ 201 w 737"/>
                  <a:gd name="T99" fmla="*/ 163 h 542"/>
                  <a:gd name="T100" fmla="*/ 224 w 737"/>
                  <a:gd name="T101" fmla="*/ 160 h 542"/>
                  <a:gd name="T102" fmla="*/ 213 w 737"/>
                  <a:gd name="T103" fmla="*/ 140 h 542"/>
                  <a:gd name="T104" fmla="*/ 223 w 737"/>
                  <a:gd name="T105" fmla="*/ 121 h 542"/>
                  <a:gd name="T106" fmla="*/ 234 w 737"/>
                  <a:gd name="T107" fmla="*/ 111 h 542"/>
                  <a:gd name="T108" fmla="*/ 334 w 737"/>
                  <a:gd name="T109" fmla="*/ 148 h 542"/>
                  <a:gd name="T110" fmla="*/ 570 w 737"/>
                  <a:gd name="T111" fmla="*/ 311 h 542"/>
                  <a:gd name="T112" fmla="*/ 682 w 737"/>
                  <a:gd name="T113" fmla="*/ 442 h 542"/>
                  <a:gd name="T114" fmla="*/ 472 w 737"/>
                  <a:gd name="T115" fmla="*/ 415 h 542"/>
                  <a:gd name="T116" fmla="*/ 315 w 737"/>
                  <a:gd name="T117" fmla="*/ 486 h 542"/>
                  <a:gd name="T118" fmla="*/ 63 w 737"/>
                  <a:gd name="T119" fmla="*/ 319 h 542"/>
                  <a:gd name="T120" fmla="*/ 69 w 737"/>
                  <a:gd name="T121" fmla="*/ 35 h 542"/>
                  <a:gd name="T122" fmla="*/ 173 w 737"/>
                  <a:gd name="T123" fmla="*/ 100 h 542"/>
                  <a:gd name="T124" fmla="*/ 234 w 737"/>
                  <a:gd name="T125" fmla="*/ 158 h 5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37" h="542">
                    <a:moveTo>
                      <a:pt x="211" y="296"/>
                    </a:moveTo>
                    <a:lnTo>
                      <a:pt x="209" y="296"/>
                    </a:lnTo>
                    <a:lnTo>
                      <a:pt x="211" y="296"/>
                    </a:lnTo>
                    <a:close/>
                    <a:moveTo>
                      <a:pt x="209" y="294"/>
                    </a:moveTo>
                    <a:lnTo>
                      <a:pt x="211" y="294"/>
                    </a:lnTo>
                    <a:lnTo>
                      <a:pt x="209" y="294"/>
                    </a:lnTo>
                    <a:close/>
                    <a:moveTo>
                      <a:pt x="213" y="292"/>
                    </a:moveTo>
                    <a:lnTo>
                      <a:pt x="213" y="294"/>
                    </a:lnTo>
                    <a:lnTo>
                      <a:pt x="213" y="292"/>
                    </a:lnTo>
                    <a:lnTo>
                      <a:pt x="213" y="294"/>
                    </a:lnTo>
                    <a:lnTo>
                      <a:pt x="213" y="292"/>
                    </a:lnTo>
                    <a:lnTo>
                      <a:pt x="213" y="294"/>
                    </a:lnTo>
                    <a:lnTo>
                      <a:pt x="215" y="294"/>
                    </a:lnTo>
                    <a:lnTo>
                      <a:pt x="213" y="294"/>
                    </a:lnTo>
                    <a:lnTo>
                      <a:pt x="215" y="294"/>
                    </a:lnTo>
                    <a:lnTo>
                      <a:pt x="213" y="294"/>
                    </a:lnTo>
                    <a:lnTo>
                      <a:pt x="213" y="292"/>
                    </a:lnTo>
                    <a:lnTo>
                      <a:pt x="213" y="294"/>
                    </a:lnTo>
                    <a:lnTo>
                      <a:pt x="213" y="292"/>
                    </a:lnTo>
                    <a:close/>
                    <a:moveTo>
                      <a:pt x="211" y="294"/>
                    </a:moveTo>
                    <a:lnTo>
                      <a:pt x="209" y="294"/>
                    </a:lnTo>
                    <a:lnTo>
                      <a:pt x="209" y="292"/>
                    </a:lnTo>
                    <a:lnTo>
                      <a:pt x="211" y="292"/>
                    </a:lnTo>
                    <a:lnTo>
                      <a:pt x="209" y="292"/>
                    </a:lnTo>
                    <a:lnTo>
                      <a:pt x="211" y="292"/>
                    </a:lnTo>
                    <a:lnTo>
                      <a:pt x="209" y="292"/>
                    </a:lnTo>
                    <a:lnTo>
                      <a:pt x="211" y="292"/>
                    </a:lnTo>
                    <a:lnTo>
                      <a:pt x="209" y="294"/>
                    </a:lnTo>
                    <a:lnTo>
                      <a:pt x="211" y="294"/>
                    </a:lnTo>
                    <a:close/>
                    <a:moveTo>
                      <a:pt x="215" y="294"/>
                    </a:moveTo>
                    <a:lnTo>
                      <a:pt x="215" y="292"/>
                    </a:lnTo>
                    <a:lnTo>
                      <a:pt x="215" y="294"/>
                    </a:lnTo>
                    <a:close/>
                    <a:moveTo>
                      <a:pt x="209" y="292"/>
                    </a:moveTo>
                    <a:lnTo>
                      <a:pt x="209" y="290"/>
                    </a:lnTo>
                    <a:lnTo>
                      <a:pt x="209" y="292"/>
                    </a:lnTo>
                    <a:lnTo>
                      <a:pt x="209" y="290"/>
                    </a:lnTo>
                    <a:lnTo>
                      <a:pt x="209" y="292"/>
                    </a:lnTo>
                    <a:close/>
                    <a:moveTo>
                      <a:pt x="207" y="290"/>
                    </a:moveTo>
                    <a:lnTo>
                      <a:pt x="209" y="290"/>
                    </a:lnTo>
                    <a:lnTo>
                      <a:pt x="209" y="292"/>
                    </a:lnTo>
                    <a:lnTo>
                      <a:pt x="207" y="294"/>
                    </a:lnTo>
                    <a:lnTo>
                      <a:pt x="207" y="292"/>
                    </a:lnTo>
                    <a:lnTo>
                      <a:pt x="205" y="292"/>
                    </a:lnTo>
                    <a:lnTo>
                      <a:pt x="205" y="290"/>
                    </a:lnTo>
                    <a:lnTo>
                      <a:pt x="207" y="290"/>
                    </a:lnTo>
                    <a:lnTo>
                      <a:pt x="205" y="290"/>
                    </a:lnTo>
                    <a:lnTo>
                      <a:pt x="205" y="292"/>
                    </a:lnTo>
                    <a:lnTo>
                      <a:pt x="207" y="292"/>
                    </a:lnTo>
                    <a:lnTo>
                      <a:pt x="207" y="294"/>
                    </a:lnTo>
                    <a:lnTo>
                      <a:pt x="207" y="292"/>
                    </a:lnTo>
                    <a:lnTo>
                      <a:pt x="209" y="292"/>
                    </a:lnTo>
                    <a:lnTo>
                      <a:pt x="207" y="292"/>
                    </a:lnTo>
                    <a:lnTo>
                      <a:pt x="207" y="290"/>
                    </a:lnTo>
                    <a:close/>
                    <a:moveTo>
                      <a:pt x="207" y="290"/>
                    </a:moveTo>
                    <a:lnTo>
                      <a:pt x="209" y="290"/>
                    </a:lnTo>
                    <a:lnTo>
                      <a:pt x="207" y="290"/>
                    </a:lnTo>
                    <a:lnTo>
                      <a:pt x="209" y="290"/>
                    </a:lnTo>
                    <a:lnTo>
                      <a:pt x="207" y="290"/>
                    </a:lnTo>
                    <a:lnTo>
                      <a:pt x="207" y="288"/>
                    </a:lnTo>
                    <a:lnTo>
                      <a:pt x="207" y="290"/>
                    </a:lnTo>
                    <a:close/>
                    <a:moveTo>
                      <a:pt x="213" y="290"/>
                    </a:moveTo>
                    <a:lnTo>
                      <a:pt x="213" y="292"/>
                    </a:lnTo>
                    <a:lnTo>
                      <a:pt x="213" y="290"/>
                    </a:lnTo>
                    <a:close/>
                    <a:moveTo>
                      <a:pt x="211" y="290"/>
                    </a:moveTo>
                    <a:lnTo>
                      <a:pt x="209" y="290"/>
                    </a:lnTo>
                    <a:lnTo>
                      <a:pt x="211" y="290"/>
                    </a:lnTo>
                    <a:close/>
                    <a:moveTo>
                      <a:pt x="215" y="290"/>
                    </a:moveTo>
                    <a:lnTo>
                      <a:pt x="215" y="292"/>
                    </a:lnTo>
                    <a:lnTo>
                      <a:pt x="215" y="290"/>
                    </a:lnTo>
                    <a:close/>
                    <a:moveTo>
                      <a:pt x="209" y="290"/>
                    </a:moveTo>
                    <a:lnTo>
                      <a:pt x="209" y="288"/>
                    </a:lnTo>
                    <a:lnTo>
                      <a:pt x="209" y="290"/>
                    </a:lnTo>
                    <a:close/>
                    <a:moveTo>
                      <a:pt x="213" y="292"/>
                    </a:moveTo>
                    <a:lnTo>
                      <a:pt x="213" y="290"/>
                    </a:lnTo>
                    <a:lnTo>
                      <a:pt x="213" y="292"/>
                    </a:lnTo>
                    <a:lnTo>
                      <a:pt x="213" y="290"/>
                    </a:lnTo>
                    <a:lnTo>
                      <a:pt x="213" y="292"/>
                    </a:lnTo>
                    <a:lnTo>
                      <a:pt x="215" y="292"/>
                    </a:lnTo>
                    <a:lnTo>
                      <a:pt x="213" y="290"/>
                    </a:lnTo>
                    <a:lnTo>
                      <a:pt x="215" y="290"/>
                    </a:lnTo>
                    <a:lnTo>
                      <a:pt x="215" y="292"/>
                    </a:lnTo>
                    <a:lnTo>
                      <a:pt x="213" y="292"/>
                    </a:lnTo>
                    <a:lnTo>
                      <a:pt x="215" y="292"/>
                    </a:lnTo>
                    <a:lnTo>
                      <a:pt x="213" y="292"/>
                    </a:lnTo>
                    <a:close/>
                    <a:moveTo>
                      <a:pt x="207" y="288"/>
                    </a:moveTo>
                    <a:lnTo>
                      <a:pt x="209" y="288"/>
                    </a:lnTo>
                    <a:lnTo>
                      <a:pt x="207" y="288"/>
                    </a:lnTo>
                    <a:close/>
                    <a:moveTo>
                      <a:pt x="215" y="290"/>
                    </a:moveTo>
                    <a:lnTo>
                      <a:pt x="215" y="288"/>
                    </a:lnTo>
                    <a:lnTo>
                      <a:pt x="215" y="290"/>
                    </a:lnTo>
                    <a:close/>
                    <a:moveTo>
                      <a:pt x="215" y="290"/>
                    </a:moveTo>
                    <a:lnTo>
                      <a:pt x="215" y="288"/>
                    </a:lnTo>
                    <a:lnTo>
                      <a:pt x="215" y="290"/>
                    </a:lnTo>
                    <a:close/>
                    <a:moveTo>
                      <a:pt x="211" y="286"/>
                    </a:moveTo>
                    <a:lnTo>
                      <a:pt x="211" y="288"/>
                    </a:lnTo>
                    <a:lnTo>
                      <a:pt x="211" y="286"/>
                    </a:lnTo>
                    <a:close/>
                    <a:moveTo>
                      <a:pt x="213" y="286"/>
                    </a:moveTo>
                    <a:lnTo>
                      <a:pt x="211" y="288"/>
                    </a:lnTo>
                    <a:lnTo>
                      <a:pt x="211" y="286"/>
                    </a:lnTo>
                    <a:lnTo>
                      <a:pt x="211" y="288"/>
                    </a:lnTo>
                    <a:lnTo>
                      <a:pt x="211" y="286"/>
                    </a:lnTo>
                    <a:lnTo>
                      <a:pt x="213" y="286"/>
                    </a:lnTo>
                    <a:close/>
                    <a:moveTo>
                      <a:pt x="211" y="288"/>
                    </a:moveTo>
                    <a:lnTo>
                      <a:pt x="211" y="286"/>
                    </a:lnTo>
                    <a:lnTo>
                      <a:pt x="211" y="288"/>
                    </a:lnTo>
                    <a:lnTo>
                      <a:pt x="209" y="286"/>
                    </a:lnTo>
                    <a:lnTo>
                      <a:pt x="211" y="286"/>
                    </a:lnTo>
                    <a:lnTo>
                      <a:pt x="211" y="288"/>
                    </a:lnTo>
                    <a:lnTo>
                      <a:pt x="211" y="286"/>
                    </a:lnTo>
                    <a:lnTo>
                      <a:pt x="211" y="288"/>
                    </a:lnTo>
                    <a:lnTo>
                      <a:pt x="211" y="286"/>
                    </a:lnTo>
                    <a:lnTo>
                      <a:pt x="213" y="286"/>
                    </a:lnTo>
                    <a:lnTo>
                      <a:pt x="211" y="286"/>
                    </a:lnTo>
                    <a:lnTo>
                      <a:pt x="211" y="288"/>
                    </a:lnTo>
                    <a:lnTo>
                      <a:pt x="209" y="290"/>
                    </a:lnTo>
                    <a:lnTo>
                      <a:pt x="209" y="288"/>
                    </a:lnTo>
                    <a:lnTo>
                      <a:pt x="209" y="290"/>
                    </a:lnTo>
                    <a:lnTo>
                      <a:pt x="209" y="288"/>
                    </a:lnTo>
                    <a:lnTo>
                      <a:pt x="209" y="290"/>
                    </a:lnTo>
                    <a:lnTo>
                      <a:pt x="211" y="288"/>
                    </a:lnTo>
                    <a:close/>
                    <a:moveTo>
                      <a:pt x="211" y="286"/>
                    </a:moveTo>
                    <a:lnTo>
                      <a:pt x="211" y="285"/>
                    </a:lnTo>
                    <a:lnTo>
                      <a:pt x="211" y="286"/>
                    </a:lnTo>
                    <a:close/>
                    <a:moveTo>
                      <a:pt x="211" y="286"/>
                    </a:moveTo>
                    <a:lnTo>
                      <a:pt x="211" y="285"/>
                    </a:lnTo>
                    <a:lnTo>
                      <a:pt x="209" y="285"/>
                    </a:lnTo>
                    <a:lnTo>
                      <a:pt x="211" y="285"/>
                    </a:lnTo>
                    <a:lnTo>
                      <a:pt x="211" y="286"/>
                    </a:lnTo>
                    <a:close/>
                    <a:moveTo>
                      <a:pt x="209" y="288"/>
                    </a:moveTo>
                    <a:lnTo>
                      <a:pt x="209" y="286"/>
                    </a:lnTo>
                    <a:lnTo>
                      <a:pt x="209" y="288"/>
                    </a:lnTo>
                    <a:lnTo>
                      <a:pt x="209" y="286"/>
                    </a:lnTo>
                    <a:lnTo>
                      <a:pt x="207" y="286"/>
                    </a:lnTo>
                    <a:lnTo>
                      <a:pt x="207" y="285"/>
                    </a:lnTo>
                    <a:lnTo>
                      <a:pt x="209" y="285"/>
                    </a:lnTo>
                    <a:lnTo>
                      <a:pt x="207" y="285"/>
                    </a:lnTo>
                    <a:lnTo>
                      <a:pt x="209" y="285"/>
                    </a:lnTo>
                    <a:lnTo>
                      <a:pt x="209" y="283"/>
                    </a:lnTo>
                    <a:lnTo>
                      <a:pt x="211" y="283"/>
                    </a:lnTo>
                    <a:lnTo>
                      <a:pt x="209" y="283"/>
                    </a:lnTo>
                    <a:lnTo>
                      <a:pt x="209" y="285"/>
                    </a:lnTo>
                    <a:lnTo>
                      <a:pt x="209" y="286"/>
                    </a:lnTo>
                    <a:lnTo>
                      <a:pt x="209" y="285"/>
                    </a:lnTo>
                    <a:lnTo>
                      <a:pt x="209" y="286"/>
                    </a:lnTo>
                    <a:lnTo>
                      <a:pt x="209" y="285"/>
                    </a:lnTo>
                    <a:lnTo>
                      <a:pt x="209" y="286"/>
                    </a:lnTo>
                    <a:lnTo>
                      <a:pt x="209" y="285"/>
                    </a:lnTo>
                    <a:lnTo>
                      <a:pt x="209" y="286"/>
                    </a:lnTo>
                    <a:lnTo>
                      <a:pt x="209" y="288"/>
                    </a:lnTo>
                    <a:close/>
                    <a:moveTo>
                      <a:pt x="209" y="281"/>
                    </a:moveTo>
                    <a:lnTo>
                      <a:pt x="209" y="283"/>
                    </a:lnTo>
                    <a:lnTo>
                      <a:pt x="209" y="281"/>
                    </a:lnTo>
                    <a:close/>
                    <a:moveTo>
                      <a:pt x="209" y="279"/>
                    </a:moveTo>
                    <a:lnTo>
                      <a:pt x="209" y="281"/>
                    </a:lnTo>
                    <a:lnTo>
                      <a:pt x="209" y="279"/>
                    </a:lnTo>
                    <a:close/>
                    <a:moveTo>
                      <a:pt x="213" y="290"/>
                    </a:moveTo>
                    <a:lnTo>
                      <a:pt x="211" y="290"/>
                    </a:lnTo>
                    <a:lnTo>
                      <a:pt x="211" y="288"/>
                    </a:lnTo>
                    <a:lnTo>
                      <a:pt x="211" y="290"/>
                    </a:lnTo>
                    <a:lnTo>
                      <a:pt x="213" y="290"/>
                    </a:lnTo>
                    <a:lnTo>
                      <a:pt x="213" y="288"/>
                    </a:lnTo>
                    <a:lnTo>
                      <a:pt x="213" y="290"/>
                    </a:lnTo>
                    <a:lnTo>
                      <a:pt x="213" y="288"/>
                    </a:lnTo>
                    <a:lnTo>
                      <a:pt x="213" y="286"/>
                    </a:lnTo>
                    <a:lnTo>
                      <a:pt x="213" y="288"/>
                    </a:lnTo>
                    <a:lnTo>
                      <a:pt x="213" y="286"/>
                    </a:lnTo>
                    <a:lnTo>
                      <a:pt x="213" y="288"/>
                    </a:lnTo>
                    <a:lnTo>
                      <a:pt x="213" y="286"/>
                    </a:lnTo>
                    <a:lnTo>
                      <a:pt x="213" y="288"/>
                    </a:lnTo>
                    <a:lnTo>
                      <a:pt x="213" y="286"/>
                    </a:lnTo>
                    <a:lnTo>
                      <a:pt x="215" y="286"/>
                    </a:lnTo>
                    <a:lnTo>
                      <a:pt x="213" y="286"/>
                    </a:lnTo>
                    <a:lnTo>
                      <a:pt x="215" y="286"/>
                    </a:lnTo>
                    <a:lnTo>
                      <a:pt x="215" y="288"/>
                    </a:lnTo>
                    <a:lnTo>
                      <a:pt x="215" y="286"/>
                    </a:lnTo>
                    <a:lnTo>
                      <a:pt x="215" y="288"/>
                    </a:lnTo>
                    <a:lnTo>
                      <a:pt x="215" y="286"/>
                    </a:lnTo>
                    <a:lnTo>
                      <a:pt x="215" y="288"/>
                    </a:lnTo>
                    <a:lnTo>
                      <a:pt x="217" y="288"/>
                    </a:lnTo>
                    <a:lnTo>
                      <a:pt x="215" y="286"/>
                    </a:lnTo>
                    <a:lnTo>
                      <a:pt x="217" y="286"/>
                    </a:lnTo>
                    <a:lnTo>
                      <a:pt x="217" y="288"/>
                    </a:lnTo>
                    <a:lnTo>
                      <a:pt x="217" y="286"/>
                    </a:lnTo>
                    <a:lnTo>
                      <a:pt x="217" y="285"/>
                    </a:lnTo>
                    <a:lnTo>
                      <a:pt x="215" y="285"/>
                    </a:lnTo>
                    <a:lnTo>
                      <a:pt x="217" y="285"/>
                    </a:lnTo>
                    <a:lnTo>
                      <a:pt x="217" y="286"/>
                    </a:lnTo>
                    <a:lnTo>
                      <a:pt x="217" y="285"/>
                    </a:lnTo>
                    <a:lnTo>
                      <a:pt x="217" y="283"/>
                    </a:lnTo>
                    <a:lnTo>
                      <a:pt x="215" y="283"/>
                    </a:lnTo>
                    <a:lnTo>
                      <a:pt x="215" y="281"/>
                    </a:lnTo>
                    <a:lnTo>
                      <a:pt x="215" y="283"/>
                    </a:lnTo>
                    <a:lnTo>
                      <a:pt x="213" y="283"/>
                    </a:lnTo>
                    <a:lnTo>
                      <a:pt x="213" y="281"/>
                    </a:lnTo>
                    <a:lnTo>
                      <a:pt x="213" y="283"/>
                    </a:lnTo>
                    <a:lnTo>
                      <a:pt x="215" y="281"/>
                    </a:lnTo>
                    <a:lnTo>
                      <a:pt x="215" y="283"/>
                    </a:lnTo>
                    <a:lnTo>
                      <a:pt x="217" y="285"/>
                    </a:lnTo>
                    <a:lnTo>
                      <a:pt x="217" y="286"/>
                    </a:lnTo>
                    <a:lnTo>
                      <a:pt x="217" y="288"/>
                    </a:lnTo>
                    <a:lnTo>
                      <a:pt x="215" y="288"/>
                    </a:lnTo>
                    <a:lnTo>
                      <a:pt x="213" y="290"/>
                    </a:lnTo>
                    <a:close/>
                    <a:moveTo>
                      <a:pt x="213" y="290"/>
                    </a:moveTo>
                    <a:lnTo>
                      <a:pt x="211" y="290"/>
                    </a:lnTo>
                    <a:lnTo>
                      <a:pt x="213" y="290"/>
                    </a:lnTo>
                    <a:close/>
                    <a:moveTo>
                      <a:pt x="209" y="279"/>
                    </a:moveTo>
                    <a:lnTo>
                      <a:pt x="209" y="281"/>
                    </a:lnTo>
                    <a:lnTo>
                      <a:pt x="209" y="279"/>
                    </a:lnTo>
                    <a:close/>
                    <a:moveTo>
                      <a:pt x="209" y="281"/>
                    </a:moveTo>
                    <a:lnTo>
                      <a:pt x="209" y="279"/>
                    </a:lnTo>
                    <a:lnTo>
                      <a:pt x="209" y="281"/>
                    </a:lnTo>
                    <a:close/>
                    <a:moveTo>
                      <a:pt x="211" y="279"/>
                    </a:moveTo>
                    <a:lnTo>
                      <a:pt x="211" y="277"/>
                    </a:lnTo>
                    <a:lnTo>
                      <a:pt x="211" y="279"/>
                    </a:lnTo>
                    <a:close/>
                    <a:moveTo>
                      <a:pt x="211" y="277"/>
                    </a:moveTo>
                    <a:lnTo>
                      <a:pt x="211" y="279"/>
                    </a:lnTo>
                    <a:lnTo>
                      <a:pt x="211" y="277"/>
                    </a:lnTo>
                    <a:lnTo>
                      <a:pt x="211" y="279"/>
                    </a:lnTo>
                    <a:lnTo>
                      <a:pt x="211" y="277"/>
                    </a:lnTo>
                    <a:close/>
                    <a:moveTo>
                      <a:pt x="213" y="277"/>
                    </a:moveTo>
                    <a:lnTo>
                      <a:pt x="213" y="275"/>
                    </a:lnTo>
                    <a:lnTo>
                      <a:pt x="213" y="277"/>
                    </a:lnTo>
                    <a:close/>
                    <a:moveTo>
                      <a:pt x="215" y="279"/>
                    </a:moveTo>
                    <a:lnTo>
                      <a:pt x="215" y="281"/>
                    </a:lnTo>
                    <a:lnTo>
                      <a:pt x="215" y="279"/>
                    </a:lnTo>
                    <a:lnTo>
                      <a:pt x="215" y="281"/>
                    </a:lnTo>
                    <a:lnTo>
                      <a:pt x="213" y="279"/>
                    </a:lnTo>
                    <a:lnTo>
                      <a:pt x="215" y="279"/>
                    </a:lnTo>
                    <a:lnTo>
                      <a:pt x="213" y="279"/>
                    </a:lnTo>
                    <a:lnTo>
                      <a:pt x="213" y="277"/>
                    </a:lnTo>
                    <a:lnTo>
                      <a:pt x="213" y="279"/>
                    </a:lnTo>
                    <a:lnTo>
                      <a:pt x="215" y="279"/>
                    </a:lnTo>
                    <a:lnTo>
                      <a:pt x="215" y="277"/>
                    </a:lnTo>
                    <a:lnTo>
                      <a:pt x="215" y="279"/>
                    </a:lnTo>
                    <a:lnTo>
                      <a:pt x="215" y="277"/>
                    </a:lnTo>
                    <a:lnTo>
                      <a:pt x="215" y="279"/>
                    </a:lnTo>
                    <a:lnTo>
                      <a:pt x="215" y="277"/>
                    </a:lnTo>
                    <a:lnTo>
                      <a:pt x="215" y="279"/>
                    </a:lnTo>
                    <a:close/>
                    <a:moveTo>
                      <a:pt x="211" y="277"/>
                    </a:moveTo>
                    <a:lnTo>
                      <a:pt x="213" y="277"/>
                    </a:lnTo>
                    <a:lnTo>
                      <a:pt x="213" y="275"/>
                    </a:lnTo>
                    <a:lnTo>
                      <a:pt x="211" y="277"/>
                    </a:lnTo>
                    <a:lnTo>
                      <a:pt x="213" y="277"/>
                    </a:lnTo>
                    <a:lnTo>
                      <a:pt x="213" y="275"/>
                    </a:lnTo>
                    <a:lnTo>
                      <a:pt x="213" y="277"/>
                    </a:lnTo>
                    <a:lnTo>
                      <a:pt x="211" y="277"/>
                    </a:lnTo>
                    <a:close/>
                    <a:moveTo>
                      <a:pt x="213" y="275"/>
                    </a:moveTo>
                    <a:lnTo>
                      <a:pt x="211" y="277"/>
                    </a:lnTo>
                    <a:lnTo>
                      <a:pt x="211" y="275"/>
                    </a:lnTo>
                    <a:lnTo>
                      <a:pt x="213" y="275"/>
                    </a:lnTo>
                    <a:lnTo>
                      <a:pt x="211" y="275"/>
                    </a:lnTo>
                    <a:lnTo>
                      <a:pt x="213" y="275"/>
                    </a:lnTo>
                    <a:close/>
                    <a:moveTo>
                      <a:pt x="213" y="275"/>
                    </a:moveTo>
                    <a:lnTo>
                      <a:pt x="211" y="275"/>
                    </a:lnTo>
                    <a:lnTo>
                      <a:pt x="213" y="275"/>
                    </a:lnTo>
                    <a:lnTo>
                      <a:pt x="211" y="275"/>
                    </a:lnTo>
                    <a:lnTo>
                      <a:pt x="213" y="275"/>
                    </a:lnTo>
                    <a:lnTo>
                      <a:pt x="211" y="275"/>
                    </a:lnTo>
                    <a:lnTo>
                      <a:pt x="213" y="275"/>
                    </a:lnTo>
                    <a:close/>
                    <a:moveTo>
                      <a:pt x="213" y="275"/>
                    </a:moveTo>
                    <a:lnTo>
                      <a:pt x="211" y="273"/>
                    </a:lnTo>
                    <a:lnTo>
                      <a:pt x="213" y="275"/>
                    </a:lnTo>
                    <a:close/>
                    <a:moveTo>
                      <a:pt x="215" y="275"/>
                    </a:moveTo>
                    <a:lnTo>
                      <a:pt x="215" y="277"/>
                    </a:lnTo>
                    <a:lnTo>
                      <a:pt x="215" y="275"/>
                    </a:lnTo>
                    <a:close/>
                    <a:moveTo>
                      <a:pt x="213" y="273"/>
                    </a:moveTo>
                    <a:lnTo>
                      <a:pt x="215" y="273"/>
                    </a:lnTo>
                    <a:lnTo>
                      <a:pt x="213" y="273"/>
                    </a:lnTo>
                    <a:close/>
                    <a:moveTo>
                      <a:pt x="209" y="273"/>
                    </a:moveTo>
                    <a:lnTo>
                      <a:pt x="211" y="273"/>
                    </a:lnTo>
                    <a:lnTo>
                      <a:pt x="209" y="273"/>
                    </a:lnTo>
                    <a:lnTo>
                      <a:pt x="211" y="275"/>
                    </a:lnTo>
                    <a:lnTo>
                      <a:pt x="211" y="273"/>
                    </a:lnTo>
                    <a:lnTo>
                      <a:pt x="213" y="273"/>
                    </a:lnTo>
                    <a:lnTo>
                      <a:pt x="211" y="273"/>
                    </a:lnTo>
                    <a:lnTo>
                      <a:pt x="211" y="275"/>
                    </a:lnTo>
                    <a:lnTo>
                      <a:pt x="209" y="275"/>
                    </a:lnTo>
                    <a:lnTo>
                      <a:pt x="209" y="273"/>
                    </a:lnTo>
                    <a:lnTo>
                      <a:pt x="209" y="271"/>
                    </a:lnTo>
                    <a:lnTo>
                      <a:pt x="209" y="273"/>
                    </a:lnTo>
                    <a:lnTo>
                      <a:pt x="209" y="275"/>
                    </a:lnTo>
                    <a:lnTo>
                      <a:pt x="211" y="275"/>
                    </a:lnTo>
                    <a:lnTo>
                      <a:pt x="211" y="273"/>
                    </a:lnTo>
                    <a:lnTo>
                      <a:pt x="209" y="273"/>
                    </a:lnTo>
                    <a:close/>
                    <a:moveTo>
                      <a:pt x="215" y="273"/>
                    </a:moveTo>
                    <a:lnTo>
                      <a:pt x="213" y="273"/>
                    </a:lnTo>
                    <a:lnTo>
                      <a:pt x="215" y="273"/>
                    </a:lnTo>
                    <a:close/>
                    <a:moveTo>
                      <a:pt x="213" y="271"/>
                    </a:moveTo>
                    <a:lnTo>
                      <a:pt x="213" y="273"/>
                    </a:lnTo>
                    <a:lnTo>
                      <a:pt x="213" y="271"/>
                    </a:lnTo>
                    <a:lnTo>
                      <a:pt x="213" y="273"/>
                    </a:lnTo>
                    <a:lnTo>
                      <a:pt x="213" y="271"/>
                    </a:lnTo>
                    <a:close/>
                    <a:moveTo>
                      <a:pt x="209" y="269"/>
                    </a:moveTo>
                    <a:lnTo>
                      <a:pt x="207" y="269"/>
                    </a:lnTo>
                    <a:lnTo>
                      <a:pt x="209" y="269"/>
                    </a:lnTo>
                    <a:close/>
                    <a:moveTo>
                      <a:pt x="213" y="269"/>
                    </a:moveTo>
                    <a:lnTo>
                      <a:pt x="213" y="271"/>
                    </a:lnTo>
                    <a:lnTo>
                      <a:pt x="213" y="269"/>
                    </a:lnTo>
                    <a:close/>
                    <a:moveTo>
                      <a:pt x="213" y="271"/>
                    </a:moveTo>
                    <a:lnTo>
                      <a:pt x="213" y="269"/>
                    </a:lnTo>
                    <a:lnTo>
                      <a:pt x="213" y="271"/>
                    </a:lnTo>
                    <a:close/>
                    <a:moveTo>
                      <a:pt x="215" y="269"/>
                    </a:moveTo>
                    <a:lnTo>
                      <a:pt x="215" y="271"/>
                    </a:lnTo>
                    <a:lnTo>
                      <a:pt x="215" y="269"/>
                    </a:lnTo>
                    <a:close/>
                    <a:moveTo>
                      <a:pt x="215" y="269"/>
                    </a:moveTo>
                    <a:lnTo>
                      <a:pt x="217" y="269"/>
                    </a:lnTo>
                    <a:lnTo>
                      <a:pt x="215" y="269"/>
                    </a:lnTo>
                    <a:close/>
                    <a:moveTo>
                      <a:pt x="207" y="265"/>
                    </a:moveTo>
                    <a:lnTo>
                      <a:pt x="205" y="265"/>
                    </a:lnTo>
                    <a:lnTo>
                      <a:pt x="207" y="265"/>
                    </a:lnTo>
                    <a:close/>
                    <a:moveTo>
                      <a:pt x="207" y="265"/>
                    </a:moveTo>
                    <a:lnTo>
                      <a:pt x="209" y="267"/>
                    </a:lnTo>
                    <a:lnTo>
                      <a:pt x="207" y="267"/>
                    </a:lnTo>
                    <a:lnTo>
                      <a:pt x="209" y="267"/>
                    </a:lnTo>
                    <a:lnTo>
                      <a:pt x="207" y="267"/>
                    </a:lnTo>
                    <a:lnTo>
                      <a:pt x="209" y="267"/>
                    </a:lnTo>
                    <a:lnTo>
                      <a:pt x="207" y="265"/>
                    </a:lnTo>
                    <a:lnTo>
                      <a:pt x="207" y="267"/>
                    </a:lnTo>
                    <a:lnTo>
                      <a:pt x="209" y="267"/>
                    </a:lnTo>
                    <a:lnTo>
                      <a:pt x="209" y="265"/>
                    </a:lnTo>
                    <a:lnTo>
                      <a:pt x="209" y="267"/>
                    </a:lnTo>
                    <a:lnTo>
                      <a:pt x="207" y="267"/>
                    </a:lnTo>
                    <a:lnTo>
                      <a:pt x="207" y="269"/>
                    </a:lnTo>
                    <a:lnTo>
                      <a:pt x="207" y="267"/>
                    </a:lnTo>
                    <a:lnTo>
                      <a:pt x="207" y="265"/>
                    </a:lnTo>
                    <a:lnTo>
                      <a:pt x="207" y="267"/>
                    </a:lnTo>
                    <a:lnTo>
                      <a:pt x="207" y="265"/>
                    </a:lnTo>
                    <a:close/>
                    <a:moveTo>
                      <a:pt x="207" y="263"/>
                    </a:moveTo>
                    <a:lnTo>
                      <a:pt x="207" y="265"/>
                    </a:lnTo>
                    <a:lnTo>
                      <a:pt x="207" y="263"/>
                    </a:lnTo>
                    <a:close/>
                    <a:moveTo>
                      <a:pt x="205" y="263"/>
                    </a:moveTo>
                    <a:lnTo>
                      <a:pt x="207" y="263"/>
                    </a:lnTo>
                    <a:lnTo>
                      <a:pt x="205" y="263"/>
                    </a:lnTo>
                    <a:close/>
                    <a:moveTo>
                      <a:pt x="207" y="263"/>
                    </a:moveTo>
                    <a:lnTo>
                      <a:pt x="205" y="263"/>
                    </a:lnTo>
                    <a:lnTo>
                      <a:pt x="207" y="263"/>
                    </a:lnTo>
                    <a:close/>
                    <a:moveTo>
                      <a:pt x="213" y="265"/>
                    </a:moveTo>
                    <a:lnTo>
                      <a:pt x="213" y="267"/>
                    </a:lnTo>
                    <a:lnTo>
                      <a:pt x="213" y="265"/>
                    </a:lnTo>
                    <a:close/>
                    <a:moveTo>
                      <a:pt x="205" y="265"/>
                    </a:moveTo>
                    <a:lnTo>
                      <a:pt x="205" y="263"/>
                    </a:lnTo>
                    <a:lnTo>
                      <a:pt x="205" y="265"/>
                    </a:lnTo>
                    <a:lnTo>
                      <a:pt x="205" y="263"/>
                    </a:lnTo>
                    <a:lnTo>
                      <a:pt x="205" y="265"/>
                    </a:lnTo>
                    <a:lnTo>
                      <a:pt x="205" y="263"/>
                    </a:lnTo>
                    <a:lnTo>
                      <a:pt x="203" y="263"/>
                    </a:lnTo>
                    <a:lnTo>
                      <a:pt x="205" y="263"/>
                    </a:lnTo>
                    <a:lnTo>
                      <a:pt x="205" y="265"/>
                    </a:lnTo>
                    <a:close/>
                    <a:moveTo>
                      <a:pt x="205" y="263"/>
                    </a:moveTo>
                    <a:lnTo>
                      <a:pt x="205" y="261"/>
                    </a:lnTo>
                    <a:lnTo>
                      <a:pt x="205" y="263"/>
                    </a:lnTo>
                    <a:close/>
                    <a:moveTo>
                      <a:pt x="194" y="260"/>
                    </a:moveTo>
                    <a:lnTo>
                      <a:pt x="194" y="258"/>
                    </a:lnTo>
                    <a:lnTo>
                      <a:pt x="194" y="260"/>
                    </a:lnTo>
                    <a:close/>
                    <a:moveTo>
                      <a:pt x="213" y="263"/>
                    </a:moveTo>
                    <a:lnTo>
                      <a:pt x="213" y="265"/>
                    </a:lnTo>
                    <a:lnTo>
                      <a:pt x="213" y="263"/>
                    </a:lnTo>
                    <a:close/>
                    <a:moveTo>
                      <a:pt x="215" y="267"/>
                    </a:moveTo>
                    <a:lnTo>
                      <a:pt x="215" y="269"/>
                    </a:lnTo>
                    <a:lnTo>
                      <a:pt x="215" y="267"/>
                    </a:lnTo>
                    <a:lnTo>
                      <a:pt x="215" y="265"/>
                    </a:lnTo>
                    <a:lnTo>
                      <a:pt x="215" y="267"/>
                    </a:lnTo>
                    <a:lnTo>
                      <a:pt x="215" y="265"/>
                    </a:lnTo>
                    <a:lnTo>
                      <a:pt x="215" y="263"/>
                    </a:lnTo>
                    <a:lnTo>
                      <a:pt x="215" y="265"/>
                    </a:lnTo>
                    <a:lnTo>
                      <a:pt x="215" y="267"/>
                    </a:lnTo>
                    <a:lnTo>
                      <a:pt x="215" y="269"/>
                    </a:lnTo>
                    <a:lnTo>
                      <a:pt x="215" y="271"/>
                    </a:lnTo>
                    <a:lnTo>
                      <a:pt x="215" y="273"/>
                    </a:lnTo>
                    <a:lnTo>
                      <a:pt x="215" y="271"/>
                    </a:lnTo>
                    <a:lnTo>
                      <a:pt x="215" y="273"/>
                    </a:lnTo>
                    <a:lnTo>
                      <a:pt x="215" y="275"/>
                    </a:lnTo>
                    <a:lnTo>
                      <a:pt x="215" y="273"/>
                    </a:lnTo>
                    <a:lnTo>
                      <a:pt x="215" y="271"/>
                    </a:lnTo>
                    <a:lnTo>
                      <a:pt x="215" y="269"/>
                    </a:lnTo>
                    <a:lnTo>
                      <a:pt x="215" y="267"/>
                    </a:lnTo>
                    <a:lnTo>
                      <a:pt x="215" y="269"/>
                    </a:lnTo>
                    <a:lnTo>
                      <a:pt x="215" y="267"/>
                    </a:lnTo>
                    <a:close/>
                    <a:moveTo>
                      <a:pt x="215" y="263"/>
                    </a:moveTo>
                    <a:lnTo>
                      <a:pt x="213" y="263"/>
                    </a:lnTo>
                    <a:lnTo>
                      <a:pt x="215" y="263"/>
                    </a:lnTo>
                    <a:close/>
                    <a:moveTo>
                      <a:pt x="194" y="258"/>
                    </a:moveTo>
                    <a:lnTo>
                      <a:pt x="194" y="260"/>
                    </a:lnTo>
                    <a:lnTo>
                      <a:pt x="194" y="258"/>
                    </a:lnTo>
                    <a:lnTo>
                      <a:pt x="194" y="260"/>
                    </a:lnTo>
                    <a:lnTo>
                      <a:pt x="194" y="258"/>
                    </a:lnTo>
                    <a:close/>
                    <a:moveTo>
                      <a:pt x="196" y="258"/>
                    </a:moveTo>
                    <a:lnTo>
                      <a:pt x="194" y="258"/>
                    </a:lnTo>
                    <a:lnTo>
                      <a:pt x="196" y="258"/>
                    </a:lnTo>
                    <a:lnTo>
                      <a:pt x="196" y="260"/>
                    </a:lnTo>
                    <a:lnTo>
                      <a:pt x="194" y="260"/>
                    </a:lnTo>
                    <a:lnTo>
                      <a:pt x="196" y="260"/>
                    </a:lnTo>
                    <a:lnTo>
                      <a:pt x="194" y="260"/>
                    </a:lnTo>
                    <a:lnTo>
                      <a:pt x="194" y="258"/>
                    </a:lnTo>
                    <a:lnTo>
                      <a:pt x="196" y="258"/>
                    </a:lnTo>
                    <a:close/>
                    <a:moveTo>
                      <a:pt x="203" y="260"/>
                    </a:moveTo>
                    <a:lnTo>
                      <a:pt x="205" y="260"/>
                    </a:lnTo>
                    <a:lnTo>
                      <a:pt x="203" y="260"/>
                    </a:lnTo>
                    <a:close/>
                    <a:moveTo>
                      <a:pt x="211" y="261"/>
                    </a:moveTo>
                    <a:lnTo>
                      <a:pt x="213" y="261"/>
                    </a:lnTo>
                    <a:lnTo>
                      <a:pt x="211" y="261"/>
                    </a:lnTo>
                    <a:close/>
                    <a:moveTo>
                      <a:pt x="213" y="263"/>
                    </a:moveTo>
                    <a:lnTo>
                      <a:pt x="213" y="261"/>
                    </a:lnTo>
                    <a:lnTo>
                      <a:pt x="213" y="263"/>
                    </a:lnTo>
                    <a:lnTo>
                      <a:pt x="213" y="261"/>
                    </a:lnTo>
                    <a:lnTo>
                      <a:pt x="213" y="263"/>
                    </a:lnTo>
                    <a:close/>
                    <a:moveTo>
                      <a:pt x="201" y="260"/>
                    </a:moveTo>
                    <a:lnTo>
                      <a:pt x="203" y="260"/>
                    </a:lnTo>
                    <a:lnTo>
                      <a:pt x="201" y="260"/>
                    </a:lnTo>
                    <a:lnTo>
                      <a:pt x="201" y="258"/>
                    </a:lnTo>
                    <a:lnTo>
                      <a:pt x="201" y="260"/>
                    </a:lnTo>
                    <a:lnTo>
                      <a:pt x="201" y="258"/>
                    </a:lnTo>
                    <a:lnTo>
                      <a:pt x="201" y="260"/>
                    </a:lnTo>
                    <a:close/>
                    <a:moveTo>
                      <a:pt x="207" y="260"/>
                    </a:moveTo>
                    <a:lnTo>
                      <a:pt x="207" y="258"/>
                    </a:lnTo>
                    <a:lnTo>
                      <a:pt x="207" y="260"/>
                    </a:lnTo>
                    <a:lnTo>
                      <a:pt x="209" y="260"/>
                    </a:lnTo>
                    <a:lnTo>
                      <a:pt x="209" y="261"/>
                    </a:lnTo>
                    <a:lnTo>
                      <a:pt x="209" y="263"/>
                    </a:lnTo>
                    <a:lnTo>
                      <a:pt x="211" y="263"/>
                    </a:lnTo>
                    <a:lnTo>
                      <a:pt x="209" y="263"/>
                    </a:lnTo>
                    <a:lnTo>
                      <a:pt x="211" y="263"/>
                    </a:lnTo>
                    <a:lnTo>
                      <a:pt x="209" y="263"/>
                    </a:lnTo>
                    <a:lnTo>
                      <a:pt x="211" y="263"/>
                    </a:lnTo>
                    <a:lnTo>
                      <a:pt x="209" y="265"/>
                    </a:lnTo>
                    <a:lnTo>
                      <a:pt x="207" y="265"/>
                    </a:lnTo>
                    <a:lnTo>
                      <a:pt x="209" y="265"/>
                    </a:lnTo>
                    <a:lnTo>
                      <a:pt x="207" y="265"/>
                    </a:lnTo>
                    <a:lnTo>
                      <a:pt x="207" y="263"/>
                    </a:lnTo>
                    <a:lnTo>
                      <a:pt x="207" y="265"/>
                    </a:lnTo>
                    <a:lnTo>
                      <a:pt x="207" y="263"/>
                    </a:lnTo>
                    <a:lnTo>
                      <a:pt x="207" y="261"/>
                    </a:lnTo>
                    <a:lnTo>
                      <a:pt x="207" y="260"/>
                    </a:lnTo>
                    <a:close/>
                    <a:moveTo>
                      <a:pt x="203" y="256"/>
                    </a:moveTo>
                    <a:lnTo>
                      <a:pt x="205" y="256"/>
                    </a:lnTo>
                    <a:lnTo>
                      <a:pt x="203" y="256"/>
                    </a:lnTo>
                    <a:close/>
                    <a:moveTo>
                      <a:pt x="209" y="258"/>
                    </a:moveTo>
                    <a:lnTo>
                      <a:pt x="211" y="258"/>
                    </a:lnTo>
                    <a:lnTo>
                      <a:pt x="209" y="258"/>
                    </a:lnTo>
                    <a:lnTo>
                      <a:pt x="211" y="258"/>
                    </a:lnTo>
                    <a:lnTo>
                      <a:pt x="211" y="260"/>
                    </a:lnTo>
                    <a:lnTo>
                      <a:pt x="213" y="260"/>
                    </a:lnTo>
                    <a:lnTo>
                      <a:pt x="213" y="261"/>
                    </a:lnTo>
                    <a:lnTo>
                      <a:pt x="213" y="260"/>
                    </a:lnTo>
                    <a:lnTo>
                      <a:pt x="211" y="260"/>
                    </a:lnTo>
                    <a:lnTo>
                      <a:pt x="211" y="258"/>
                    </a:lnTo>
                    <a:lnTo>
                      <a:pt x="209" y="258"/>
                    </a:lnTo>
                    <a:close/>
                    <a:moveTo>
                      <a:pt x="211" y="258"/>
                    </a:moveTo>
                    <a:lnTo>
                      <a:pt x="211" y="260"/>
                    </a:lnTo>
                    <a:lnTo>
                      <a:pt x="211" y="258"/>
                    </a:lnTo>
                    <a:close/>
                    <a:moveTo>
                      <a:pt x="211" y="260"/>
                    </a:moveTo>
                    <a:lnTo>
                      <a:pt x="213" y="260"/>
                    </a:lnTo>
                    <a:lnTo>
                      <a:pt x="211" y="260"/>
                    </a:lnTo>
                    <a:close/>
                    <a:moveTo>
                      <a:pt x="205" y="256"/>
                    </a:moveTo>
                    <a:lnTo>
                      <a:pt x="207" y="256"/>
                    </a:lnTo>
                    <a:lnTo>
                      <a:pt x="205" y="256"/>
                    </a:lnTo>
                    <a:close/>
                    <a:moveTo>
                      <a:pt x="173" y="246"/>
                    </a:moveTo>
                    <a:lnTo>
                      <a:pt x="173" y="244"/>
                    </a:lnTo>
                    <a:lnTo>
                      <a:pt x="173" y="246"/>
                    </a:lnTo>
                    <a:close/>
                    <a:moveTo>
                      <a:pt x="198" y="254"/>
                    </a:moveTo>
                    <a:lnTo>
                      <a:pt x="199" y="254"/>
                    </a:lnTo>
                    <a:lnTo>
                      <a:pt x="199" y="252"/>
                    </a:lnTo>
                    <a:lnTo>
                      <a:pt x="199" y="254"/>
                    </a:lnTo>
                    <a:lnTo>
                      <a:pt x="198" y="254"/>
                    </a:lnTo>
                    <a:close/>
                    <a:moveTo>
                      <a:pt x="201" y="252"/>
                    </a:moveTo>
                    <a:lnTo>
                      <a:pt x="201" y="254"/>
                    </a:lnTo>
                    <a:lnTo>
                      <a:pt x="203" y="254"/>
                    </a:lnTo>
                    <a:lnTo>
                      <a:pt x="203" y="256"/>
                    </a:lnTo>
                    <a:lnTo>
                      <a:pt x="203" y="254"/>
                    </a:lnTo>
                    <a:lnTo>
                      <a:pt x="205" y="256"/>
                    </a:lnTo>
                    <a:lnTo>
                      <a:pt x="203" y="254"/>
                    </a:lnTo>
                    <a:lnTo>
                      <a:pt x="205" y="254"/>
                    </a:lnTo>
                    <a:lnTo>
                      <a:pt x="205" y="256"/>
                    </a:lnTo>
                    <a:lnTo>
                      <a:pt x="203" y="256"/>
                    </a:lnTo>
                    <a:lnTo>
                      <a:pt x="203" y="254"/>
                    </a:lnTo>
                    <a:lnTo>
                      <a:pt x="201" y="252"/>
                    </a:lnTo>
                    <a:lnTo>
                      <a:pt x="201" y="254"/>
                    </a:lnTo>
                    <a:lnTo>
                      <a:pt x="201" y="252"/>
                    </a:lnTo>
                    <a:close/>
                    <a:moveTo>
                      <a:pt x="205" y="254"/>
                    </a:moveTo>
                    <a:lnTo>
                      <a:pt x="207" y="254"/>
                    </a:lnTo>
                    <a:lnTo>
                      <a:pt x="207" y="256"/>
                    </a:lnTo>
                    <a:lnTo>
                      <a:pt x="207" y="254"/>
                    </a:lnTo>
                    <a:lnTo>
                      <a:pt x="205" y="254"/>
                    </a:lnTo>
                    <a:close/>
                    <a:moveTo>
                      <a:pt x="190" y="248"/>
                    </a:moveTo>
                    <a:lnTo>
                      <a:pt x="190" y="250"/>
                    </a:lnTo>
                    <a:lnTo>
                      <a:pt x="190" y="248"/>
                    </a:lnTo>
                    <a:lnTo>
                      <a:pt x="190" y="250"/>
                    </a:lnTo>
                    <a:lnTo>
                      <a:pt x="190" y="248"/>
                    </a:lnTo>
                    <a:lnTo>
                      <a:pt x="190" y="250"/>
                    </a:lnTo>
                    <a:lnTo>
                      <a:pt x="190" y="248"/>
                    </a:lnTo>
                    <a:close/>
                    <a:moveTo>
                      <a:pt x="203" y="254"/>
                    </a:moveTo>
                    <a:lnTo>
                      <a:pt x="201" y="252"/>
                    </a:lnTo>
                    <a:lnTo>
                      <a:pt x="203" y="252"/>
                    </a:lnTo>
                    <a:lnTo>
                      <a:pt x="203" y="254"/>
                    </a:lnTo>
                    <a:close/>
                    <a:moveTo>
                      <a:pt x="198" y="250"/>
                    </a:moveTo>
                    <a:lnTo>
                      <a:pt x="199" y="252"/>
                    </a:lnTo>
                    <a:lnTo>
                      <a:pt x="199" y="250"/>
                    </a:lnTo>
                    <a:lnTo>
                      <a:pt x="199" y="252"/>
                    </a:lnTo>
                    <a:lnTo>
                      <a:pt x="201" y="252"/>
                    </a:lnTo>
                    <a:lnTo>
                      <a:pt x="199" y="252"/>
                    </a:lnTo>
                    <a:lnTo>
                      <a:pt x="199" y="254"/>
                    </a:lnTo>
                    <a:lnTo>
                      <a:pt x="201" y="254"/>
                    </a:lnTo>
                    <a:lnTo>
                      <a:pt x="201" y="252"/>
                    </a:lnTo>
                    <a:lnTo>
                      <a:pt x="201" y="254"/>
                    </a:lnTo>
                    <a:lnTo>
                      <a:pt x="201" y="252"/>
                    </a:lnTo>
                    <a:lnTo>
                      <a:pt x="201" y="254"/>
                    </a:lnTo>
                    <a:lnTo>
                      <a:pt x="201" y="252"/>
                    </a:lnTo>
                    <a:lnTo>
                      <a:pt x="201" y="254"/>
                    </a:lnTo>
                    <a:lnTo>
                      <a:pt x="203" y="256"/>
                    </a:lnTo>
                    <a:lnTo>
                      <a:pt x="201" y="256"/>
                    </a:lnTo>
                    <a:lnTo>
                      <a:pt x="203" y="256"/>
                    </a:lnTo>
                    <a:lnTo>
                      <a:pt x="201" y="256"/>
                    </a:lnTo>
                    <a:lnTo>
                      <a:pt x="203" y="256"/>
                    </a:lnTo>
                    <a:lnTo>
                      <a:pt x="201" y="254"/>
                    </a:lnTo>
                    <a:lnTo>
                      <a:pt x="203" y="254"/>
                    </a:lnTo>
                    <a:lnTo>
                      <a:pt x="201" y="254"/>
                    </a:lnTo>
                    <a:lnTo>
                      <a:pt x="201" y="256"/>
                    </a:lnTo>
                    <a:lnTo>
                      <a:pt x="201" y="254"/>
                    </a:lnTo>
                    <a:lnTo>
                      <a:pt x="201" y="256"/>
                    </a:lnTo>
                    <a:lnTo>
                      <a:pt x="199" y="256"/>
                    </a:lnTo>
                    <a:lnTo>
                      <a:pt x="199" y="254"/>
                    </a:lnTo>
                    <a:lnTo>
                      <a:pt x="199" y="256"/>
                    </a:lnTo>
                    <a:lnTo>
                      <a:pt x="199" y="254"/>
                    </a:lnTo>
                    <a:lnTo>
                      <a:pt x="199" y="256"/>
                    </a:lnTo>
                    <a:lnTo>
                      <a:pt x="199" y="254"/>
                    </a:lnTo>
                    <a:lnTo>
                      <a:pt x="199" y="252"/>
                    </a:lnTo>
                    <a:lnTo>
                      <a:pt x="198" y="252"/>
                    </a:lnTo>
                    <a:lnTo>
                      <a:pt x="199" y="252"/>
                    </a:lnTo>
                    <a:lnTo>
                      <a:pt x="198" y="252"/>
                    </a:lnTo>
                    <a:lnTo>
                      <a:pt x="199" y="252"/>
                    </a:lnTo>
                    <a:lnTo>
                      <a:pt x="198" y="252"/>
                    </a:lnTo>
                    <a:lnTo>
                      <a:pt x="198" y="250"/>
                    </a:lnTo>
                    <a:close/>
                    <a:moveTo>
                      <a:pt x="199" y="250"/>
                    </a:moveTo>
                    <a:lnTo>
                      <a:pt x="198" y="250"/>
                    </a:lnTo>
                    <a:lnTo>
                      <a:pt x="199" y="250"/>
                    </a:lnTo>
                    <a:close/>
                    <a:moveTo>
                      <a:pt x="201" y="250"/>
                    </a:moveTo>
                    <a:lnTo>
                      <a:pt x="201" y="252"/>
                    </a:lnTo>
                    <a:lnTo>
                      <a:pt x="201" y="250"/>
                    </a:lnTo>
                    <a:close/>
                    <a:moveTo>
                      <a:pt x="196" y="250"/>
                    </a:moveTo>
                    <a:lnTo>
                      <a:pt x="198" y="252"/>
                    </a:lnTo>
                    <a:lnTo>
                      <a:pt x="198" y="254"/>
                    </a:lnTo>
                    <a:lnTo>
                      <a:pt x="196" y="254"/>
                    </a:lnTo>
                    <a:lnTo>
                      <a:pt x="196" y="252"/>
                    </a:lnTo>
                    <a:lnTo>
                      <a:pt x="196" y="254"/>
                    </a:lnTo>
                    <a:lnTo>
                      <a:pt x="196" y="252"/>
                    </a:lnTo>
                    <a:lnTo>
                      <a:pt x="196" y="254"/>
                    </a:lnTo>
                    <a:lnTo>
                      <a:pt x="196" y="252"/>
                    </a:lnTo>
                    <a:lnTo>
                      <a:pt x="196" y="250"/>
                    </a:lnTo>
                    <a:lnTo>
                      <a:pt x="194" y="250"/>
                    </a:lnTo>
                    <a:lnTo>
                      <a:pt x="196" y="250"/>
                    </a:lnTo>
                    <a:lnTo>
                      <a:pt x="194" y="248"/>
                    </a:lnTo>
                    <a:lnTo>
                      <a:pt x="196" y="248"/>
                    </a:lnTo>
                    <a:lnTo>
                      <a:pt x="196" y="250"/>
                    </a:lnTo>
                    <a:lnTo>
                      <a:pt x="196" y="248"/>
                    </a:lnTo>
                    <a:lnTo>
                      <a:pt x="194" y="248"/>
                    </a:lnTo>
                    <a:lnTo>
                      <a:pt x="196" y="248"/>
                    </a:lnTo>
                    <a:lnTo>
                      <a:pt x="194" y="248"/>
                    </a:lnTo>
                    <a:lnTo>
                      <a:pt x="196" y="248"/>
                    </a:lnTo>
                    <a:lnTo>
                      <a:pt x="194" y="248"/>
                    </a:lnTo>
                    <a:lnTo>
                      <a:pt x="196" y="248"/>
                    </a:lnTo>
                    <a:lnTo>
                      <a:pt x="194" y="248"/>
                    </a:lnTo>
                    <a:lnTo>
                      <a:pt x="196" y="248"/>
                    </a:lnTo>
                    <a:lnTo>
                      <a:pt x="194" y="248"/>
                    </a:lnTo>
                    <a:lnTo>
                      <a:pt x="194" y="250"/>
                    </a:lnTo>
                    <a:lnTo>
                      <a:pt x="194" y="248"/>
                    </a:lnTo>
                    <a:lnTo>
                      <a:pt x="192" y="248"/>
                    </a:lnTo>
                    <a:lnTo>
                      <a:pt x="194" y="248"/>
                    </a:lnTo>
                    <a:lnTo>
                      <a:pt x="194" y="246"/>
                    </a:lnTo>
                    <a:lnTo>
                      <a:pt x="194" y="248"/>
                    </a:lnTo>
                    <a:lnTo>
                      <a:pt x="196" y="248"/>
                    </a:lnTo>
                    <a:lnTo>
                      <a:pt x="196" y="250"/>
                    </a:lnTo>
                    <a:close/>
                    <a:moveTo>
                      <a:pt x="196" y="252"/>
                    </a:moveTo>
                    <a:lnTo>
                      <a:pt x="196" y="254"/>
                    </a:lnTo>
                    <a:lnTo>
                      <a:pt x="198" y="252"/>
                    </a:lnTo>
                    <a:lnTo>
                      <a:pt x="196" y="252"/>
                    </a:lnTo>
                    <a:close/>
                    <a:moveTo>
                      <a:pt x="190" y="246"/>
                    </a:moveTo>
                    <a:lnTo>
                      <a:pt x="192" y="246"/>
                    </a:lnTo>
                    <a:lnTo>
                      <a:pt x="192" y="248"/>
                    </a:lnTo>
                    <a:lnTo>
                      <a:pt x="192" y="246"/>
                    </a:lnTo>
                    <a:lnTo>
                      <a:pt x="190" y="246"/>
                    </a:lnTo>
                    <a:close/>
                    <a:moveTo>
                      <a:pt x="198" y="248"/>
                    </a:moveTo>
                    <a:lnTo>
                      <a:pt x="198" y="250"/>
                    </a:lnTo>
                    <a:lnTo>
                      <a:pt x="196" y="248"/>
                    </a:lnTo>
                    <a:lnTo>
                      <a:pt x="198" y="248"/>
                    </a:lnTo>
                    <a:close/>
                    <a:moveTo>
                      <a:pt x="186" y="242"/>
                    </a:moveTo>
                    <a:lnTo>
                      <a:pt x="184" y="244"/>
                    </a:lnTo>
                    <a:lnTo>
                      <a:pt x="184" y="242"/>
                    </a:lnTo>
                    <a:lnTo>
                      <a:pt x="186" y="242"/>
                    </a:lnTo>
                    <a:close/>
                    <a:moveTo>
                      <a:pt x="186" y="242"/>
                    </a:moveTo>
                    <a:lnTo>
                      <a:pt x="186" y="244"/>
                    </a:lnTo>
                    <a:lnTo>
                      <a:pt x="186" y="242"/>
                    </a:lnTo>
                    <a:lnTo>
                      <a:pt x="186" y="244"/>
                    </a:lnTo>
                    <a:lnTo>
                      <a:pt x="186" y="242"/>
                    </a:lnTo>
                    <a:close/>
                    <a:moveTo>
                      <a:pt x="184" y="240"/>
                    </a:moveTo>
                    <a:lnTo>
                      <a:pt x="182" y="240"/>
                    </a:lnTo>
                    <a:lnTo>
                      <a:pt x="184" y="240"/>
                    </a:lnTo>
                    <a:close/>
                    <a:moveTo>
                      <a:pt x="186" y="240"/>
                    </a:moveTo>
                    <a:lnTo>
                      <a:pt x="186" y="242"/>
                    </a:lnTo>
                    <a:lnTo>
                      <a:pt x="186" y="240"/>
                    </a:lnTo>
                    <a:close/>
                    <a:moveTo>
                      <a:pt x="184" y="240"/>
                    </a:moveTo>
                    <a:lnTo>
                      <a:pt x="182" y="240"/>
                    </a:lnTo>
                    <a:lnTo>
                      <a:pt x="184" y="240"/>
                    </a:lnTo>
                    <a:close/>
                    <a:moveTo>
                      <a:pt x="186" y="240"/>
                    </a:moveTo>
                    <a:lnTo>
                      <a:pt x="186" y="242"/>
                    </a:lnTo>
                    <a:lnTo>
                      <a:pt x="184" y="242"/>
                    </a:lnTo>
                    <a:lnTo>
                      <a:pt x="184" y="240"/>
                    </a:lnTo>
                    <a:lnTo>
                      <a:pt x="186" y="240"/>
                    </a:lnTo>
                    <a:close/>
                    <a:moveTo>
                      <a:pt x="184" y="240"/>
                    </a:moveTo>
                    <a:lnTo>
                      <a:pt x="184" y="242"/>
                    </a:lnTo>
                    <a:lnTo>
                      <a:pt x="186" y="242"/>
                    </a:lnTo>
                    <a:lnTo>
                      <a:pt x="184" y="242"/>
                    </a:lnTo>
                    <a:lnTo>
                      <a:pt x="186" y="242"/>
                    </a:lnTo>
                    <a:lnTo>
                      <a:pt x="186" y="240"/>
                    </a:lnTo>
                    <a:lnTo>
                      <a:pt x="186" y="242"/>
                    </a:lnTo>
                    <a:lnTo>
                      <a:pt x="186" y="240"/>
                    </a:lnTo>
                    <a:lnTo>
                      <a:pt x="184" y="240"/>
                    </a:lnTo>
                    <a:close/>
                    <a:moveTo>
                      <a:pt x="182" y="238"/>
                    </a:moveTo>
                    <a:lnTo>
                      <a:pt x="182" y="240"/>
                    </a:lnTo>
                    <a:lnTo>
                      <a:pt x="182" y="238"/>
                    </a:lnTo>
                    <a:lnTo>
                      <a:pt x="182" y="240"/>
                    </a:lnTo>
                    <a:lnTo>
                      <a:pt x="182" y="238"/>
                    </a:lnTo>
                    <a:close/>
                    <a:moveTo>
                      <a:pt x="188" y="240"/>
                    </a:moveTo>
                    <a:lnTo>
                      <a:pt x="186" y="240"/>
                    </a:lnTo>
                    <a:lnTo>
                      <a:pt x="186" y="242"/>
                    </a:lnTo>
                    <a:lnTo>
                      <a:pt x="186" y="240"/>
                    </a:lnTo>
                    <a:lnTo>
                      <a:pt x="186" y="242"/>
                    </a:lnTo>
                    <a:lnTo>
                      <a:pt x="186" y="240"/>
                    </a:lnTo>
                    <a:lnTo>
                      <a:pt x="188" y="240"/>
                    </a:lnTo>
                    <a:close/>
                    <a:moveTo>
                      <a:pt x="186" y="238"/>
                    </a:moveTo>
                    <a:lnTo>
                      <a:pt x="184" y="238"/>
                    </a:lnTo>
                    <a:lnTo>
                      <a:pt x="186" y="238"/>
                    </a:lnTo>
                    <a:close/>
                    <a:moveTo>
                      <a:pt x="184" y="238"/>
                    </a:moveTo>
                    <a:lnTo>
                      <a:pt x="184" y="236"/>
                    </a:lnTo>
                    <a:lnTo>
                      <a:pt x="184" y="238"/>
                    </a:lnTo>
                    <a:close/>
                    <a:moveTo>
                      <a:pt x="178" y="236"/>
                    </a:moveTo>
                    <a:lnTo>
                      <a:pt x="180" y="236"/>
                    </a:lnTo>
                    <a:lnTo>
                      <a:pt x="178" y="236"/>
                    </a:lnTo>
                    <a:close/>
                    <a:moveTo>
                      <a:pt x="178" y="236"/>
                    </a:moveTo>
                    <a:lnTo>
                      <a:pt x="178" y="235"/>
                    </a:lnTo>
                    <a:lnTo>
                      <a:pt x="180" y="235"/>
                    </a:lnTo>
                    <a:lnTo>
                      <a:pt x="178" y="236"/>
                    </a:lnTo>
                    <a:close/>
                    <a:moveTo>
                      <a:pt x="184" y="238"/>
                    </a:moveTo>
                    <a:lnTo>
                      <a:pt x="182" y="238"/>
                    </a:lnTo>
                    <a:lnTo>
                      <a:pt x="182" y="236"/>
                    </a:lnTo>
                    <a:lnTo>
                      <a:pt x="180" y="236"/>
                    </a:lnTo>
                    <a:lnTo>
                      <a:pt x="180" y="235"/>
                    </a:lnTo>
                    <a:lnTo>
                      <a:pt x="180" y="236"/>
                    </a:lnTo>
                    <a:lnTo>
                      <a:pt x="182" y="236"/>
                    </a:lnTo>
                    <a:lnTo>
                      <a:pt x="182" y="238"/>
                    </a:lnTo>
                    <a:lnTo>
                      <a:pt x="184" y="238"/>
                    </a:lnTo>
                    <a:close/>
                    <a:moveTo>
                      <a:pt x="184" y="235"/>
                    </a:moveTo>
                    <a:lnTo>
                      <a:pt x="186" y="236"/>
                    </a:lnTo>
                    <a:lnTo>
                      <a:pt x="184" y="235"/>
                    </a:lnTo>
                    <a:close/>
                    <a:moveTo>
                      <a:pt x="184" y="235"/>
                    </a:moveTo>
                    <a:lnTo>
                      <a:pt x="184" y="236"/>
                    </a:lnTo>
                    <a:lnTo>
                      <a:pt x="184" y="235"/>
                    </a:lnTo>
                    <a:close/>
                    <a:moveTo>
                      <a:pt x="178" y="235"/>
                    </a:moveTo>
                    <a:lnTo>
                      <a:pt x="178" y="233"/>
                    </a:lnTo>
                    <a:lnTo>
                      <a:pt x="178" y="235"/>
                    </a:lnTo>
                    <a:lnTo>
                      <a:pt x="180" y="235"/>
                    </a:lnTo>
                    <a:lnTo>
                      <a:pt x="178" y="235"/>
                    </a:lnTo>
                    <a:close/>
                    <a:moveTo>
                      <a:pt x="192" y="248"/>
                    </a:moveTo>
                    <a:lnTo>
                      <a:pt x="192" y="246"/>
                    </a:lnTo>
                    <a:lnTo>
                      <a:pt x="190" y="246"/>
                    </a:lnTo>
                    <a:lnTo>
                      <a:pt x="190" y="244"/>
                    </a:lnTo>
                    <a:lnTo>
                      <a:pt x="188" y="244"/>
                    </a:lnTo>
                    <a:lnTo>
                      <a:pt x="190" y="244"/>
                    </a:lnTo>
                    <a:lnTo>
                      <a:pt x="188" y="242"/>
                    </a:lnTo>
                    <a:lnTo>
                      <a:pt x="190" y="242"/>
                    </a:lnTo>
                    <a:lnTo>
                      <a:pt x="190" y="244"/>
                    </a:lnTo>
                    <a:lnTo>
                      <a:pt x="190" y="242"/>
                    </a:lnTo>
                    <a:lnTo>
                      <a:pt x="188" y="242"/>
                    </a:lnTo>
                    <a:lnTo>
                      <a:pt x="188" y="240"/>
                    </a:lnTo>
                    <a:lnTo>
                      <a:pt x="188" y="242"/>
                    </a:lnTo>
                    <a:lnTo>
                      <a:pt x="188" y="240"/>
                    </a:lnTo>
                    <a:lnTo>
                      <a:pt x="188" y="242"/>
                    </a:lnTo>
                    <a:lnTo>
                      <a:pt x="188" y="240"/>
                    </a:lnTo>
                    <a:lnTo>
                      <a:pt x="188" y="242"/>
                    </a:lnTo>
                    <a:lnTo>
                      <a:pt x="188" y="240"/>
                    </a:lnTo>
                    <a:lnTo>
                      <a:pt x="190" y="242"/>
                    </a:lnTo>
                    <a:lnTo>
                      <a:pt x="190" y="244"/>
                    </a:lnTo>
                    <a:lnTo>
                      <a:pt x="190" y="242"/>
                    </a:lnTo>
                    <a:lnTo>
                      <a:pt x="192" y="242"/>
                    </a:lnTo>
                    <a:lnTo>
                      <a:pt x="190" y="242"/>
                    </a:lnTo>
                    <a:lnTo>
                      <a:pt x="190" y="244"/>
                    </a:lnTo>
                    <a:lnTo>
                      <a:pt x="192" y="244"/>
                    </a:lnTo>
                    <a:lnTo>
                      <a:pt x="190" y="244"/>
                    </a:lnTo>
                    <a:lnTo>
                      <a:pt x="192" y="244"/>
                    </a:lnTo>
                    <a:lnTo>
                      <a:pt x="192" y="246"/>
                    </a:lnTo>
                    <a:lnTo>
                      <a:pt x="194" y="246"/>
                    </a:lnTo>
                    <a:lnTo>
                      <a:pt x="194" y="244"/>
                    </a:lnTo>
                    <a:lnTo>
                      <a:pt x="192" y="244"/>
                    </a:lnTo>
                    <a:lnTo>
                      <a:pt x="194" y="244"/>
                    </a:lnTo>
                    <a:lnTo>
                      <a:pt x="194" y="246"/>
                    </a:lnTo>
                    <a:lnTo>
                      <a:pt x="196" y="246"/>
                    </a:lnTo>
                    <a:lnTo>
                      <a:pt x="196" y="244"/>
                    </a:lnTo>
                    <a:lnTo>
                      <a:pt x="196" y="246"/>
                    </a:lnTo>
                    <a:lnTo>
                      <a:pt x="194" y="246"/>
                    </a:lnTo>
                    <a:lnTo>
                      <a:pt x="196" y="246"/>
                    </a:lnTo>
                    <a:lnTo>
                      <a:pt x="194" y="246"/>
                    </a:lnTo>
                    <a:lnTo>
                      <a:pt x="194" y="244"/>
                    </a:lnTo>
                    <a:lnTo>
                      <a:pt x="196" y="244"/>
                    </a:lnTo>
                    <a:lnTo>
                      <a:pt x="194" y="244"/>
                    </a:lnTo>
                    <a:lnTo>
                      <a:pt x="196" y="244"/>
                    </a:lnTo>
                    <a:lnTo>
                      <a:pt x="194" y="244"/>
                    </a:lnTo>
                    <a:lnTo>
                      <a:pt x="194" y="242"/>
                    </a:lnTo>
                    <a:lnTo>
                      <a:pt x="196" y="242"/>
                    </a:lnTo>
                    <a:lnTo>
                      <a:pt x="194" y="242"/>
                    </a:lnTo>
                    <a:lnTo>
                      <a:pt x="196" y="242"/>
                    </a:lnTo>
                    <a:lnTo>
                      <a:pt x="196" y="244"/>
                    </a:lnTo>
                    <a:lnTo>
                      <a:pt x="196" y="246"/>
                    </a:lnTo>
                    <a:lnTo>
                      <a:pt x="196" y="244"/>
                    </a:lnTo>
                    <a:lnTo>
                      <a:pt x="196" y="242"/>
                    </a:lnTo>
                    <a:lnTo>
                      <a:pt x="196" y="240"/>
                    </a:lnTo>
                    <a:lnTo>
                      <a:pt x="196" y="242"/>
                    </a:lnTo>
                    <a:lnTo>
                      <a:pt x="196" y="240"/>
                    </a:lnTo>
                    <a:lnTo>
                      <a:pt x="196" y="238"/>
                    </a:lnTo>
                    <a:lnTo>
                      <a:pt x="196" y="240"/>
                    </a:lnTo>
                    <a:lnTo>
                      <a:pt x="196" y="238"/>
                    </a:lnTo>
                    <a:lnTo>
                      <a:pt x="194" y="238"/>
                    </a:lnTo>
                    <a:lnTo>
                      <a:pt x="192" y="238"/>
                    </a:lnTo>
                    <a:lnTo>
                      <a:pt x="192" y="240"/>
                    </a:lnTo>
                    <a:lnTo>
                      <a:pt x="192" y="238"/>
                    </a:lnTo>
                    <a:lnTo>
                      <a:pt x="192" y="240"/>
                    </a:lnTo>
                    <a:lnTo>
                      <a:pt x="192" y="238"/>
                    </a:lnTo>
                    <a:lnTo>
                      <a:pt x="194" y="238"/>
                    </a:lnTo>
                    <a:lnTo>
                      <a:pt x="192" y="238"/>
                    </a:lnTo>
                    <a:lnTo>
                      <a:pt x="190" y="238"/>
                    </a:lnTo>
                    <a:lnTo>
                      <a:pt x="190" y="236"/>
                    </a:lnTo>
                    <a:lnTo>
                      <a:pt x="188" y="236"/>
                    </a:lnTo>
                    <a:lnTo>
                      <a:pt x="190" y="236"/>
                    </a:lnTo>
                    <a:lnTo>
                      <a:pt x="192" y="236"/>
                    </a:lnTo>
                    <a:lnTo>
                      <a:pt x="192" y="238"/>
                    </a:lnTo>
                    <a:lnTo>
                      <a:pt x="190" y="238"/>
                    </a:lnTo>
                    <a:lnTo>
                      <a:pt x="192" y="238"/>
                    </a:lnTo>
                    <a:lnTo>
                      <a:pt x="194" y="238"/>
                    </a:lnTo>
                    <a:lnTo>
                      <a:pt x="196" y="238"/>
                    </a:lnTo>
                    <a:lnTo>
                      <a:pt x="196" y="240"/>
                    </a:lnTo>
                    <a:lnTo>
                      <a:pt x="198" y="242"/>
                    </a:lnTo>
                    <a:lnTo>
                      <a:pt x="198" y="244"/>
                    </a:lnTo>
                    <a:lnTo>
                      <a:pt x="198" y="246"/>
                    </a:lnTo>
                    <a:lnTo>
                      <a:pt x="198" y="248"/>
                    </a:lnTo>
                    <a:lnTo>
                      <a:pt x="196" y="248"/>
                    </a:lnTo>
                    <a:lnTo>
                      <a:pt x="196" y="250"/>
                    </a:lnTo>
                    <a:lnTo>
                      <a:pt x="196" y="248"/>
                    </a:lnTo>
                    <a:lnTo>
                      <a:pt x="194" y="246"/>
                    </a:lnTo>
                    <a:lnTo>
                      <a:pt x="194" y="248"/>
                    </a:lnTo>
                    <a:lnTo>
                      <a:pt x="192" y="248"/>
                    </a:lnTo>
                    <a:lnTo>
                      <a:pt x="194" y="248"/>
                    </a:lnTo>
                    <a:lnTo>
                      <a:pt x="192" y="250"/>
                    </a:lnTo>
                    <a:lnTo>
                      <a:pt x="192" y="248"/>
                    </a:lnTo>
                    <a:close/>
                    <a:moveTo>
                      <a:pt x="190" y="244"/>
                    </a:moveTo>
                    <a:lnTo>
                      <a:pt x="188" y="244"/>
                    </a:lnTo>
                    <a:lnTo>
                      <a:pt x="190" y="244"/>
                    </a:lnTo>
                    <a:close/>
                    <a:moveTo>
                      <a:pt x="186" y="236"/>
                    </a:moveTo>
                    <a:lnTo>
                      <a:pt x="188" y="236"/>
                    </a:lnTo>
                    <a:lnTo>
                      <a:pt x="186" y="236"/>
                    </a:lnTo>
                    <a:lnTo>
                      <a:pt x="188" y="236"/>
                    </a:lnTo>
                    <a:lnTo>
                      <a:pt x="186" y="236"/>
                    </a:lnTo>
                    <a:lnTo>
                      <a:pt x="186" y="235"/>
                    </a:lnTo>
                    <a:lnTo>
                      <a:pt x="186" y="236"/>
                    </a:lnTo>
                    <a:close/>
                    <a:moveTo>
                      <a:pt x="182" y="233"/>
                    </a:moveTo>
                    <a:lnTo>
                      <a:pt x="180" y="235"/>
                    </a:lnTo>
                    <a:lnTo>
                      <a:pt x="180" y="233"/>
                    </a:lnTo>
                    <a:lnTo>
                      <a:pt x="182" y="233"/>
                    </a:lnTo>
                    <a:close/>
                    <a:moveTo>
                      <a:pt x="182" y="233"/>
                    </a:moveTo>
                    <a:lnTo>
                      <a:pt x="180" y="233"/>
                    </a:lnTo>
                    <a:lnTo>
                      <a:pt x="182" y="233"/>
                    </a:lnTo>
                    <a:close/>
                    <a:moveTo>
                      <a:pt x="184" y="235"/>
                    </a:moveTo>
                    <a:lnTo>
                      <a:pt x="184" y="236"/>
                    </a:lnTo>
                    <a:lnTo>
                      <a:pt x="186" y="236"/>
                    </a:lnTo>
                    <a:lnTo>
                      <a:pt x="186" y="238"/>
                    </a:lnTo>
                    <a:lnTo>
                      <a:pt x="184" y="238"/>
                    </a:lnTo>
                    <a:lnTo>
                      <a:pt x="182" y="238"/>
                    </a:lnTo>
                    <a:lnTo>
                      <a:pt x="182" y="236"/>
                    </a:lnTo>
                    <a:lnTo>
                      <a:pt x="184" y="236"/>
                    </a:lnTo>
                    <a:lnTo>
                      <a:pt x="182" y="236"/>
                    </a:lnTo>
                    <a:lnTo>
                      <a:pt x="184" y="236"/>
                    </a:lnTo>
                    <a:lnTo>
                      <a:pt x="184" y="238"/>
                    </a:lnTo>
                    <a:lnTo>
                      <a:pt x="182" y="236"/>
                    </a:lnTo>
                    <a:lnTo>
                      <a:pt x="184" y="238"/>
                    </a:lnTo>
                    <a:lnTo>
                      <a:pt x="184" y="236"/>
                    </a:lnTo>
                    <a:lnTo>
                      <a:pt x="184" y="238"/>
                    </a:lnTo>
                    <a:lnTo>
                      <a:pt x="186" y="238"/>
                    </a:lnTo>
                    <a:lnTo>
                      <a:pt x="186" y="236"/>
                    </a:lnTo>
                    <a:lnTo>
                      <a:pt x="184" y="236"/>
                    </a:lnTo>
                    <a:lnTo>
                      <a:pt x="184" y="235"/>
                    </a:lnTo>
                    <a:lnTo>
                      <a:pt x="182" y="235"/>
                    </a:lnTo>
                    <a:lnTo>
                      <a:pt x="182" y="236"/>
                    </a:lnTo>
                    <a:lnTo>
                      <a:pt x="182" y="235"/>
                    </a:lnTo>
                    <a:lnTo>
                      <a:pt x="182" y="236"/>
                    </a:lnTo>
                    <a:lnTo>
                      <a:pt x="180" y="235"/>
                    </a:lnTo>
                    <a:lnTo>
                      <a:pt x="182" y="235"/>
                    </a:lnTo>
                    <a:lnTo>
                      <a:pt x="180" y="235"/>
                    </a:lnTo>
                    <a:lnTo>
                      <a:pt x="182" y="235"/>
                    </a:lnTo>
                    <a:lnTo>
                      <a:pt x="184" y="235"/>
                    </a:lnTo>
                    <a:lnTo>
                      <a:pt x="182" y="235"/>
                    </a:lnTo>
                    <a:lnTo>
                      <a:pt x="184" y="233"/>
                    </a:lnTo>
                    <a:lnTo>
                      <a:pt x="184" y="235"/>
                    </a:lnTo>
                    <a:close/>
                    <a:moveTo>
                      <a:pt x="184" y="235"/>
                    </a:moveTo>
                    <a:lnTo>
                      <a:pt x="184" y="233"/>
                    </a:lnTo>
                    <a:lnTo>
                      <a:pt x="184" y="235"/>
                    </a:lnTo>
                    <a:close/>
                    <a:moveTo>
                      <a:pt x="188" y="235"/>
                    </a:moveTo>
                    <a:lnTo>
                      <a:pt x="188" y="236"/>
                    </a:lnTo>
                    <a:lnTo>
                      <a:pt x="188" y="235"/>
                    </a:lnTo>
                    <a:lnTo>
                      <a:pt x="186" y="235"/>
                    </a:lnTo>
                    <a:lnTo>
                      <a:pt x="188" y="235"/>
                    </a:lnTo>
                    <a:lnTo>
                      <a:pt x="188" y="236"/>
                    </a:lnTo>
                    <a:lnTo>
                      <a:pt x="188" y="235"/>
                    </a:lnTo>
                    <a:close/>
                    <a:moveTo>
                      <a:pt x="180" y="231"/>
                    </a:moveTo>
                    <a:lnTo>
                      <a:pt x="180" y="233"/>
                    </a:lnTo>
                    <a:lnTo>
                      <a:pt x="180" y="231"/>
                    </a:lnTo>
                    <a:lnTo>
                      <a:pt x="180" y="233"/>
                    </a:lnTo>
                    <a:lnTo>
                      <a:pt x="180" y="235"/>
                    </a:lnTo>
                    <a:lnTo>
                      <a:pt x="180" y="233"/>
                    </a:lnTo>
                    <a:lnTo>
                      <a:pt x="180" y="231"/>
                    </a:lnTo>
                    <a:close/>
                    <a:moveTo>
                      <a:pt x="186" y="233"/>
                    </a:moveTo>
                    <a:lnTo>
                      <a:pt x="188" y="235"/>
                    </a:lnTo>
                    <a:lnTo>
                      <a:pt x="186" y="233"/>
                    </a:lnTo>
                    <a:close/>
                    <a:moveTo>
                      <a:pt x="184" y="233"/>
                    </a:moveTo>
                    <a:lnTo>
                      <a:pt x="182" y="233"/>
                    </a:lnTo>
                    <a:lnTo>
                      <a:pt x="184" y="233"/>
                    </a:lnTo>
                    <a:lnTo>
                      <a:pt x="182" y="233"/>
                    </a:lnTo>
                    <a:lnTo>
                      <a:pt x="184" y="233"/>
                    </a:lnTo>
                    <a:lnTo>
                      <a:pt x="182" y="233"/>
                    </a:lnTo>
                    <a:lnTo>
                      <a:pt x="184" y="233"/>
                    </a:lnTo>
                    <a:close/>
                    <a:moveTo>
                      <a:pt x="178" y="233"/>
                    </a:moveTo>
                    <a:lnTo>
                      <a:pt x="178" y="231"/>
                    </a:lnTo>
                    <a:lnTo>
                      <a:pt x="178" y="233"/>
                    </a:lnTo>
                    <a:lnTo>
                      <a:pt x="178" y="231"/>
                    </a:lnTo>
                    <a:lnTo>
                      <a:pt x="178" y="233"/>
                    </a:lnTo>
                    <a:lnTo>
                      <a:pt x="180" y="233"/>
                    </a:lnTo>
                    <a:lnTo>
                      <a:pt x="180" y="235"/>
                    </a:lnTo>
                    <a:lnTo>
                      <a:pt x="180" y="233"/>
                    </a:lnTo>
                    <a:lnTo>
                      <a:pt x="180" y="235"/>
                    </a:lnTo>
                    <a:lnTo>
                      <a:pt x="180" y="233"/>
                    </a:lnTo>
                    <a:lnTo>
                      <a:pt x="178" y="233"/>
                    </a:lnTo>
                    <a:lnTo>
                      <a:pt x="178" y="231"/>
                    </a:lnTo>
                    <a:lnTo>
                      <a:pt x="178" y="233"/>
                    </a:lnTo>
                    <a:close/>
                    <a:moveTo>
                      <a:pt x="186" y="233"/>
                    </a:moveTo>
                    <a:lnTo>
                      <a:pt x="184" y="233"/>
                    </a:lnTo>
                    <a:lnTo>
                      <a:pt x="186" y="233"/>
                    </a:lnTo>
                    <a:close/>
                    <a:moveTo>
                      <a:pt x="180" y="229"/>
                    </a:moveTo>
                    <a:lnTo>
                      <a:pt x="180" y="231"/>
                    </a:lnTo>
                    <a:lnTo>
                      <a:pt x="178" y="231"/>
                    </a:lnTo>
                    <a:lnTo>
                      <a:pt x="178" y="229"/>
                    </a:lnTo>
                    <a:lnTo>
                      <a:pt x="178" y="231"/>
                    </a:lnTo>
                    <a:lnTo>
                      <a:pt x="178" y="229"/>
                    </a:lnTo>
                    <a:lnTo>
                      <a:pt x="180" y="229"/>
                    </a:lnTo>
                    <a:lnTo>
                      <a:pt x="178" y="229"/>
                    </a:lnTo>
                    <a:lnTo>
                      <a:pt x="180" y="229"/>
                    </a:lnTo>
                    <a:close/>
                    <a:moveTo>
                      <a:pt x="178" y="231"/>
                    </a:moveTo>
                    <a:lnTo>
                      <a:pt x="180" y="231"/>
                    </a:lnTo>
                    <a:lnTo>
                      <a:pt x="180" y="229"/>
                    </a:lnTo>
                    <a:lnTo>
                      <a:pt x="178" y="229"/>
                    </a:lnTo>
                    <a:lnTo>
                      <a:pt x="178" y="231"/>
                    </a:lnTo>
                    <a:close/>
                    <a:moveTo>
                      <a:pt x="180" y="229"/>
                    </a:moveTo>
                    <a:lnTo>
                      <a:pt x="178" y="229"/>
                    </a:lnTo>
                    <a:lnTo>
                      <a:pt x="180" y="229"/>
                    </a:lnTo>
                    <a:lnTo>
                      <a:pt x="178" y="229"/>
                    </a:lnTo>
                    <a:lnTo>
                      <a:pt x="180" y="229"/>
                    </a:lnTo>
                    <a:close/>
                    <a:moveTo>
                      <a:pt x="178" y="225"/>
                    </a:moveTo>
                    <a:lnTo>
                      <a:pt x="178" y="227"/>
                    </a:lnTo>
                    <a:lnTo>
                      <a:pt x="178" y="225"/>
                    </a:lnTo>
                    <a:lnTo>
                      <a:pt x="178" y="227"/>
                    </a:lnTo>
                    <a:lnTo>
                      <a:pt x="178" y="229"/>
                    </a:lnTo>
                    <a:lnTo>
                      <a:pt x="178" y="227"/>
                    </a:lnTo>
                    <a:lnTo>
                      <a:pt x="180" y="227"/>
                    </a:lnTo>
                    <a:lnTo>
                      <a:pt x="178" y="227"/>
                    </a:lnTo>
                    <a:lnTo>
                      <a:pt x="180" y="227"/>
                    </a:lnTo>
                    <a:lnTo>
                      <a:pt x="180" y="229"/>
                    </a:lnTo>
                    <a:lnTo>
                      <a:pt x="180" y="227"/>
                    </a:lnTo>
                    <a:lnTo>
                      <a:pt x="180" y="229"/>
                    </a:lnTo>
                    <a:lnTo>
                      <a:pt x="180" y="227"/>
                    </a:lnTo>
                    <a:lnTo>
                      <a:pt x="180" y="229"/>
                    </a:lnTo>
                    <a:lnTo>
                      <a:pt x="180" y="227"/>
                    </a:lnTo>
                    <a:lnTo>
                      <a:pt x="180" y="229"/>
                    </a:lnTo>
                    <a:lnTo>
                      <a:pt x="180" y="231"/>
                    </a:lnTo>
                    <a:lnTo>
                      <a:pt x="180" y="229"/>
                    </a:lnTo>
                    <a:lnTo>
                      <a:pt x="178" y="229"/>
                    </a:lnTo>
                    <a:lnTo>
                      <a:pt x="178" y="227"/>
                    </a:lnTo>
                    <a:lnTo>
                      <a:pt x="176" y="227"/>
                    </a:lnTo>
                    <a:lnTo>
                      <a:pt x="178" y="227"/>
                    </a:lnTo>
                    <a:lnTo>
                      <a:pt x="176" y="225"/>
                    </a:lnTo>
                    <a:lnTo>
                      <a:pt x="178" y="225"/>
                    </a:lnTo>
                    <a:lnTo>
                      <a:pt x="176" y="225"/>
                    </a:lnTo>
                    <a:lnTo>
                      <a:pt x="178" y="225"/>
                    </a:lnTo>
                    <a:lnTo>
                      <a:pt x="178" y="227"/>
                    </a:lnTo>
                    <a:lnTo>
                      <a:pt x="178" y="225"/>
                    </a:lnTo>
                    <a:close/>
                    <a:moveTo>
                      <a:pt x="182" y="227"/>
                    </a:moveTo>
                    <a:lnTo>
                      <a:pt x="184" y="227"/>
                    </a:lnTo>
                    <a:lnTo>
                      <a:pt x="182" y="229"/>
                    </a:lnTo>
                    <a:lnTo>
                      <a:pt x="182" y="227"/>
                    </a:lnTo>
                    <a:lnTo>
                      <a:pt x="182" y="229"/>
                    </a:lnTo>
                    <a:lnTo>
                      <a:pt x="184" y="229"/>
                    </a:lnTo>
                    <a:lnTo>
                      <a:pt x="184" y="231"/>
                    </a:lnTo>
                    <a:lnTo>
                      <a:pt x="184" y="233"/>
                    </a:lnTo>
                    <a:lnTo>
                      <a:pt x="182" y="231"/>
                    </a:lnTo>
                    <a:lnTo>
                      <a:pt x="182" y="233"/>
                    </a:lnTo>
                    <a:lnTo>
                      <a:pt x="182" y="231"/>
                    </a:lnTo>
                    <a:lnTo>
                      <a:pt x="180" y="231"/>
                    </a:lnTo>
                    <a:lnTo>
                      <a:pt x="182" y="231"/>
                    </a:lnTo>
                    <a:lnTo>
                      <a:pt x="182" y="229"/>
                    </a:lnTo>
                    <a:lnTo>
                      <a:pt x="182" y="231"/>
                    </a:lnTo>
                    <a:lnTo>
                      <a:pt x="182" y="229"/>
                    </a:lnTo>
                    <a:lnTo>
                      <a:pt x="182" y="231"/>
                    </a:lnTo>
                    <a:lnTo>
                      <a:pt x="184" y="231"/>
                    </a:lnTo>
                    <a:lnTo>
                      <a:pt x="184" y="229"/>
                    </a:lnTo>
                    <a:lnTo>
                      <a:pt x="182" y="229"/>
                    </a:lnTo>
                    <a:lnTo>
                      <a:pt x="180" y="227"/>
                    </a:lnTo>
                    <a:lnTo>
                      <a:pt x="182" y="227"/>
                    </a:lnTo>
                    <a:lnTo>
                      <a:pt x="180" y="227"/>
                    </a:lnTo>
                    <a:lnTo>
                      <a:pt x="182" y="227"/>
                    </a:lnTo>
                    <a:lnTo>
                      <a:pt x="182" y="229"/>
                    </a:lnTo>
                    <a:lnTo>
                      <a:pt x="182" y="227"/>
                    </a:lnTo>
                    <a:lnTo>
                      <a:pt x="182" y="225"/>
                    </a:lnTo>
                    <a:lnTo>
                      <a:pt x="180" y="225"/>
                    </a:lnTo>
                    <a:lnTo>
                      <a:pt x="182" y="225"/>
                    </a:lnTo>
                    <a:lnTo>
                      <a:pt x="182" y="227"/>
                    </a:lnTo>
                    <a:close/>
                    <a:moveTo>
                      <a:pt x="180" y="225"/>
                    </a:moveTo>
                    <a:lnTo>
                      <a:pt x="180" y="227"/>
                    </a:lnTo>
                    <a:lnTo>
                      <a:pt x="180" y="225"/>
                    </a:lnTo>
                    <a:lnTo>
                      <a:pt x="178" y="227"/>
                    </a:lnTo>
                    <a:lnTo>
                      <a:pt x="180" y="227"/>
                    </a:lnTo>
                    <a:lnTo>
                      <a:pt x="178" y="227"/>
                    </a:lnTo>
                    <a:lnTo>
                      <a:pt x="178" y="225"/>
                    </a:lnTo>
                    <a:lnTo>
                      <a:pt x="178" y="227"/>
                    </a:lnTo>
                    <a:lnTo>
                      <a:pt x="180" y="225"/>
                    </a:lnTo>
                    <a:close/>
                    <a:moveTo>
                      <a:pt x="180" y="225"/>
                    </a:moveTo>
                    <a:lnTo>
                      <a:pt x="180" y="223"/>
                    </a:lnTo>
                    <a:lnTo>
                      <a:pt x="180" y="225"/>
                    </a:lnTo>
                    <a:close/>
                    <a:moveTo>
                      <a:pt x="180" y="223"/>
                    </a:moveTo>
                    <a:lnTo>
                      <a:pt x="182" y="223"/>
                    </a:lnTo>
                    <a:lnTo>
                      <a:pt x="182" y="225"/>
                    </a:lnTo>
                    <a:lnTo>
                      <a:pt x="180" y="225"/>
                    </a:lnTo>
                    <a:lnTo>
                      <a:pt x="182" y="225"/>
                    </a:lnTo>
                    <a:lnTo>
                      <a:pt x="182" y="223"/>
                    </a:lnTo>
                    <a:lnTo>
                      <a:pt x="180" y="223"/>
                    </a:lnTo>
                    <a:close/>
                    <a:moveTo>
                      <a:pt x="176" y="221"/>
                    </a:moveTo>
                    <a:lnTo>
                      <a:pt x="178" y="221"/>
                    </a:lnTo>
                    <a:lnTo>
                      <a:pt x="176" y="221"/>
                    </a:lnTo>
                    <a:close/>
                    <a:moveTo>
                      <a:pt x="176" y="221"/>
                    </a:moveTo>
                    <a:lnTo>
                      <a:pt x="176" y="219"/>
                    </a:lnTo>
                    <a:lnTo>
                      <a:pt x="176" y="221"/>
                    </a:lnTo>
                    <a:lnTo>
                      <a:pt x="176" y="219"/>
                    </a:lnTo>
                    <a:lnTo>
                      <a:pt x="176" y="221"/>
                    </a:lnTo>
                    <a:close/>
                    <a:moveTo>
                      <a:pt x="176" y="219"/>
                    </a:moveTo>
                    <a:lnTo>
                      <a:pt x="178" y="219"/>
                    </a:lnTo>
                    <a:lnTo>
                      <a:pt x="178" y="221"/>
                    </a:lnTo>
                    <a:lnTo>
                      <a:pt x="180" y="221"/>
                    </a:lnTo>
                    <a:lnTo>
                      <a:pt x="178" y="221"/>
                    </a:lnTo>
                    <a:lnTo>
                      <a:pt x="178" y="219"/>
                    </a:lnTo>
                    <a:lnTo>
                      <a:pt x="178" y="221"/>
                    </a:lnTo>
                    <a:lnTo>
                      <a:pt x="178" y="219"/>
                    </a:lnTo>
                    <a:lnTo>
                      <a:pt x="176" y="219"/>
                    </a:lnTo>
                    <a:lnTo>
                      <a:pt x="178" y="219"/>
                    </a:lnTo>
                    <a:lnTo>
                      <a:pt x="176" y="219"/>
                    </a:lnTo>
                    <a:close/>
                    <a:moveTo>
                      <a:pt x="178" y="219"/>
                    </a:moveTo>
                    <a:lnTo>
                      <a:pt x="180" y="219"/>
                    </a:lnTo>
                    <a:lnTo>
                      <a:pt x="180" y="221"/>
                    </a:lnTo>
                    <a:lnTo>
                      <a:pt x="180" y="219"/>
                    </a:lnTo>
                    <a:lnTo>
                      <a:pt x="178" y="219"/>
                    </a:lnTo>
                    <a:close/>
                    <a:moveTo>
                      <a:pt x="180" y="223"/>
                    </a:moveTo>
                    <a:lnTo>
                      <a:pt x="180" y="221"/>
                    </a:lnTo>
                    <a:lnTo>
                      <a:pt x="180" y="219"/>
                    </a:lnTo>
                    <a:lnTo>
                      <a:pt x="180" y="221"/>
                    </a:lnTo>
                    <a:lnTo>
                      <a:pt x="180" y="219"/>
                    </a:lnTo>
                    <a:lnTo>
                      <a:pt x="178" y="219"/>
                    </a:lnTo>
                    <a:lnTo>
                      <a:pt x="180" y="219"/>
                    </a:lnTo>
                    <a:lnTo>
                      <a:pt x="180" y="221"/>
                    </a:lnTo>
                    <a:lnTo>
                      <a:pt x="180" y="223"/>
                    </a:lnTo>
                    <a:close/>
                    <a:moveTo>
                      <a:pt x="178" y="217"/>
                    </a:moveTo>
                    <a:lnTo>
                      <a:pt x="178" y="219"/>
                    </a:lnTo>
                    <a:lnTo>
                      <a:pt x="178" y="217"/>
                    </a:lnTo>
                    <a:lnTo>
                      <a:pt x="180" y="217"/>
                    </a:lnTo>
                    <a:lnTo>
                      <a:pt x="180" y="219"/>
                    </a:lnTo>
                    <a:lnTo>
                      <a:pt x="180" y="217"/>
                    </a:lnTo>
                    <a:lnTo>
                      <a:pt x="178" y="217"/>
                    </a:lnTo>
                    <a:lnTo>
                      <a:pt x="180" y="217"/>
                    </a:lnTo>
                    <a:lnTo>
                      <a:pt x="180" y="219"/>
                    </a:lnTo>
                    <a:lnTo>
                      <a:pt x="180" y="217"/>
                    </a:lnTo>
                    <a:lnTo>
                      <a:pt x="180" y="215"/>
                    </a:lnTo>
                    <a:lnTo>
                      <a:pt x="178" y="215"/>
                    </a:lnTo>
                    <a:lnTo>
                      <a:pt x="180" y="215"/>
                    </a:lnTo>
                    <a:lnTo>
                      <a:pt x="178" y="215"/>
                    </a:lnTo>
                    <a:lnTo>
                      <a:pt x="180" y="215"/>
                    </a:lnTo>
                    <a:lnTo>
                      <a:pt x="180" y="217"/>
                    </a:lnTo>
                    <a:lnTo>
                      <a:pt x="180" y="219"/>
                    </a:lnTo>
                    <a:lnTo>
                      <a:pt x="178" y="219"/>
                    </a:lnTo>
                    <a:lnTo>
                      <a:pt x="178" y="217"/>
                    </a:lnTo>
                    <a:lnTo>
                      <a:pt x="178" y="215"/>
                    </a:lnTo>
                    <a:lnTo>
                      <a:pt x="178" y="217"/>
                    </a:lnTo>
                    <a:lnTo>
                      <a:pt x="178" y="215"/>
                    </a:lnTo>
                    <a:lnTo>
                      <a:pt x="178" y="217"/>
                    </a:lnTo>
                    <a:close/>
                    <a:moveTo>
                      <a:pt x="178" y="217"/>
                    </a:moveTo>
                    <a:lnTo>
                      <a:pt x="178" y="215"/>
                    </a:lnTo>
                    <a:lnTo>
                      <a:pt x="178" y="217"/>
                    </a:lnTo>
                    <a:close/>
                    <a:moveTo>
                      <a:pt x="169" y="211"/>
                    </a:moveTo>
                    <a:lnTo>
                      <a:pt x="167" y="211"/>
                    </a:lnTo>
                    <a:lnTo>
                      <a:pt x="169" y="211"/>
                    </a:lnTo>
                    <a:close/>
                    <a:moveTo>
                      <a:pt x="169" y="211"/>
                    </a:moveTo>
                    <a:lnTo>
                      <a:pt x="167" y="211"/>
                    </a:lnTo>
                    <a:lnTo>
                      <a:pt x="169" y="211"/>
                    </a:lnTo>
                    <a:close/>
                    <a:moveTo>
                      <a:pt x="173" y="210"/>
                    </a:moveTo>
                    <a:lnTo>
                      <a:pt x="171" y="210"/>
                    </a:lnTo>
                    <a:lnTo>
                      <a:pt x="173" y="210"/>
                    </a:lnTo>
                    <a:close/>
                    <a:moveTo>
                      <a:pt x="176" y="210"/>
                    </a:moveTo>
                    <a:lnTo>
                      <a:pt x="176" y="211"/>
                    </a:lnTo>
                    <a:lnTo>
                      <a:pt x="178" y="211"/>
                    </a:lnTo>
                    <a:lnTo>
                      <a:pt x="178" y="213"/>
                    </a:lnTo>
                    <a:lnTo>
                      <a:pt x="178" y="215"/>
                    </a:lnTo>
                    <a:lnTo>
                      <a:pt x="178" y="217"/>
                    </a:lnTo>
                    <a:lnTo>
                      <a:pt x="178" y="219"/>
                    </a:lnTo>
                    <a:lnTo>
                      <a:pt x="176" y="219"/>
                    </a:lnTo>
                    <a:lnTo>
                      <a:pt x="176" y="217"/>
                    </a:lnTo>
                    <a:lnTo>
                      <a:pt x="176" y="215"/>
                    </a:lnTo>
                    <a:lnTo>
                      <a:pt x="176" y="217"/>
                    </a:lnTo>
                    <a:lnTo>
                      <a:pt x="176" y="219"/>
                    </a:lnTo>
                    <a:lnTo>
                      <a:pt x="176" y="217"/>
                    </a:lnTo>
                    <a:lnTo>
                      <a:pt x="176" y="215"/>
                    </a:lnTo>
                    <a:lnTo>
                      <a:pt x="176" y="217"/>
                    </a:lnTo>
                    <a:lnTo>
                      <a:pt x="176" y="215"/>
                    </a:lnTo>
                    <a:lnTo>
                      <a:pt x="174" y="215"/>
                    </a:lnTo>
                    <a:lnTo>
                      <a:pt x="174" y="213"/>
                    </a:lnTo>
                    <a:lnTo>
                      <a:pt x="174" y="215"/>
                    </a:lnTo>
                    <a:lnTo>
                      <a:pt x="176" y="215"/>
                    </a:lnTo>
                    <a:lnTo>
                      <a:pt x="176" y="213"/>
                    </a:lnTo>
                    <a:lnTo>
                      <a:pt x="176" y="211"/>
                    </a:lnTo>
                    <a:lnTo>
                      <a:pt x="174" y="211"/>
                    </a:lnTo>
                    <a:lnTo>
                      <a:pt x="174" y="213"/>
                    </a:lnTo>
                    <a:lnTo>
                      <a:pt x="174" y="215"/>
                    </a:lnTo>
                    <a:lnTo>
                      <a:pt x="174" y="213"/>
                    </a:lnTo>
                    <a:lnTo>
                      <a:pt x="174" y="211"/>
                    </a:lnTo>
                    <a:lnTo>
                      <a:pt x="174" y="213"/>
                    </a:lnTo>
                    <a:lnTo>
                      <a:pt x="174" y="211"/>
                    </a:lnTo>
                    <a:lnTo>
                      <a:pt x="174" y="213"/>
                    </a:lnTo>
                    <a:lnTo>
                      <a:pt x="174" y="211"/>
                    </a:lnTo>
                    <a:lnTo>
                      <a:pt x="174" y="213"/>
                    </a:lnTo>
                    <a:lnTo>
                      <a:pt x="174" y="211"/>
                    </a:lnTo>
                    <a:lnTo>
                      <a:pt x="176" y="211"/>
                    </a:lnTo>
                    <a:lnTo>
                      <a:pt x="176" y="213"/>
                    </a:lnTo>
                    <a:lnTo>
                      <a:pt x="176" y="215"/>
                    </a:lnTo>
                    <a:lnTo>
                      <a:pt x="176" y="213"/>
                    </a:lnTo>
                    <a:lnTo>
                      <a:pt x="176" y="215"/>
                    </a:lnTo>
                    <a:lnTo>
                      <a:pt x="176" y="213"/>
                    </a:lnTo>
                    <a:lnTo>
                      <a:pt x="176" y="215"/>
                    </a:lnTo>
                    <a:lnTo>
                      <a:pt x="178" y="215"/>
                    </a:lnTo>
                    <a:lnTo>
                      <a:pt x="176" y="215"/>
                    </a:lnTo>
                    <a:lnTo>
                      <a:pt x="178" y="215"/>
                    </a:lnTo>
                    <a:lnTo>
                      <a:pt x="176" y="215"/>
                    </a:lnTo>
                    <a:lnTo>
                      <a:pt x="176" y="217"/>
                    </a:lnTo>
                    <a:lnTo>
                      <a:pt x="178" y="217"/>
                    </a:lnTo>
                    <a:lnTo>
                      <a:pt x="176" y="217"/>
                    </a:lnTo>
                    <a:lnTo>
                      <a:pt x="178" y="215"/>
                    </a:lnTo>
                    <a:lnTo>
                      <a:pt x="178" y="213"/>
                    </a:lnTo>
                    <a:lnTo>
                      <a:pt x="178" y="215"/>
                    </a:lnTo>
                    <a:lnTo>
                      <a:pt x="178" y="213"/>
                    </a:lnTo>
                    <a:lnTo>
                      <a:pt x="176" y="213"/>
                    </a:lnTo>
                    <a:lnTo>
                      <a:pt x="176" y="211"/>
                    </a:lnTo>
                    <a:lnTo>
                      <a:pt x="176" y="213"/>
                    </a:lnTo>
                    <a:lnTo>
                      <a:pt x="176" y="211"/>
                    </a:lnTo>
                    <a:lnTo>
                      <a:pt x="176" y="213"/>
                    </a:lnTo>
                    <a:lnTo>
                      <a:pt x="176" y="211"/>
                    </a:lnTo>
                    <a:lnTo>
                      <a:pt x="174" y="211"/>
                    </a:lnTo>
                    <a:lnTo>
                      <a:pt x="174" y="210"/>
                    </a:lnTo>
                    <a:lnTo>
                      <a:pt x="174" y="211"/>
                    </a:lnTo>
                    <a:lnTo>
                      <a:pt x="174" y="210"/>
                    </a:lnTo>
                    <a:lnTo>
                      <a:pt x="176" y="211"/>
                    </a:lnTo>
                    <a:lnTo>
                      <a:pt x="176" y="210"/>
                    </a:lnTo>
                    <a:lnTo>
                      <a:pt x="174" y="210"/>
                    </a:lnTo>
                    <a:lnTo>
                      <a:pt x="176" y="210"/>
                    </a:lnTo>
                    <a:close/>
                    <a:moveTo>
                      <a:pt x="167" y="198"/>
                    </a:moveTo>
                    <a:lnTo>
                      <a:pt x="167" y="200"/>
                    </a:lnTo>
                    <a:lnTo>
                      <a:pt x="167" y="198"/>
                    </a:lnTo>
                    <a:lnTo>
                      <a:pt x="169" y="198"/>
                    </a:lnTo>
                    <a:lnTo>
                      <a:pt x="167" y="198"/>
                    </a:lnTo>
                    <a:close/>
                    <a:moveTo>
                      <a:pt x="174" y="202"/>
                    </a:moveTo>
                    <a:lnTo>
                      <a:pt x="174" y="200"/>
                    </a:lnTo>
                    <a:lnTo>
                      <a:pt x="174" y="202"/>
                    </a:lnTo>
                    <a:close/>
                    <a:moveTo>
                      <a:pt x="174" y="202"/>
                    </a:moveTo>
                    <a:lnTo>
                      <a:pt x="174" y="204"/>
                    </a:lnTo>
                    <a:lnTo>
                      <a:pt x="174" y="202"/>
                    </a:lnTo>
                    <a:lnTo>
                      <a:pt x="174" y="200"/>
                    </a:lnTo>
                    <a:lnTo>
                      <a:pt x="174" y="202"/>
                    </a:lnTo>
                    <a:lnTo>
                      <a:pt x="176" y="202"/>
                    </a:lnTo>
                    <a:lnTo>
                      <a:pt x="176" y="204"/>
                    </a:lnTo>
                    <a:lnTo>
                      <a:pt x="176" y="202"/>
                    </a:lnTo>
                    <a:lnTo>
                      <a:pt x="176" y="204"/>
                    </a:lnTo>
                    <a:lnTo>
                      <a:pt x="176" y="206"/>
                    </a:lnTo>
                    <a:lnTo>
                      <a:pt x="174" y="204"/>
                    </a:lnTo>
                    <a:lnTo>
                      <a:pt x="174" y="202"/>
                    </a:lnTo>
                    <a:lnTo>
                      <a:pt x="174" y="200"/>
                    </a:lnTo>
                    <a:lnTo>
                      <a:pt x="174" y="202"/>
                    </a:lnTo>
                    <a:lnTo>
                      <a:pt x="174" y="200"/>
                    </a:lnTo>
                    <a:lnTo>
                      <a:pt x="174" y="202"/>
                    </a:lnTo>
                    <a:close/>
                    <a:moveTo>
                      <a:pt x="171" y="198"/>
                    </a:moveTo>
                    <a:lnTo>
                      <a:pt x="171" y="200"/>
                    </a:lnTo>
                    <a:lnTo>
                      <a:pt x="169" y="200"/>
                    </a:lnTo>
                    <a:lnTo>
                      <a:pt x="169" y="198"/>
                    </a:lnTo>
                    <a:lnTo>
                      <a:pt x="171" y="198"/>
                    </a:lnTo>
                    <a:lnTo>
                      <a:pt x="169" y="198"/>
                    </a:lnTo>
                    <a:lnTo>
                      <a:pt x="171" y="198"/>
                    </a:lnTo>
                    <a:close/>
                    <a:moveTo>
                      <a:pt x="165" y="190"/>
                    </a:moveTo>
                    <a:lnTo>
                      <a:pt x="165" y="188"/>
                    </a:lnTo>
                    <a:lnTo>
                      <a:pt x="165" y="190"/>
                    </a:lnTo>
                    <a:close/>
                    <a:moveTo>
                      <a:pt x="165" y="188"/>
                    </a:moveTo>
                    <a:lnTo>
                      <a:pt x="165" y="190"/>
                    </a:lnTo>
                    <a:lnTo>
                      <a:pt x="165" y="188"/>
                    </a:lnTo>
                    <a:lnTo>
                      <a:pt x="165" y="190"/>
                    </a:lnTo>
                    <a:lnTo>
                      <a:pt x="165" y="188"/>
                    </a:lnTo>
                    <a:lnTo>
                      <a:pt x="165" y="190"/>
                    </a:lnTo>
                    <a:lnTo>
                      <a:pt x="165" y="188"/>
                    </a:lnTo>
                    <a:close/>
                    <a:moveTo>
                      <a:pt x="167" y="188"/>
                    </a:moveTo>
                    <a:lnTo>
                      <a:pt x="167" y="190"/>
                    </a:lnTo>
                    <a:lnTo>
                      <a:pt x="165" y="190"/>
                    </a:lnTo>
                    <a:lnTo>
                      <a:pt x="167" y="190"/>
                    </a:lnTo>
                    <a:lnTo>
                      <a:pt x="165" y="190"/>
                    </a:lnTo>
                    <a:lnTo>
                      <a:pt x="167" y="190"/>
                    </a:lnTo>
                    <a:lnTo>
                      <a:pt x="167" y="188"/>
                    </a:lnTo>
                    <a:close/>
                    <a:moveTo>
                      <a:pt x="171" y="190"/>
                    </a:moveTo>
                    <a:lnTo>
                      <a:pt x="171" y="188"/>
                    </a:lnTo>
                    <a:lnTo>
                      <a:pt x="169" y="188"/>
                    </a:lnTo>
                    <a:lnTo>
                      <a:pt x="171" y="188"/>
                    </a:lnTo>
                    <a:lnTo>
                      <a:pt x="169" y="188"/>
                    </a:lnTo>
                    <a:lnTo>
                      <a:pt x="171" y="188"/>
                    </a:lnTo>
                    <a:lnTo>
                      <a:pt x="171" y="190"/>
                    </a:lnTo>
                    <a:close/>
                    <a:moveTo>
                      <a:pt x="173" y="190"/>
                    </a:moveTo>
                    <a:lnTo>
                      <a:pt x="171" y="190"/>
                    </a:lnTo>
                    <a:lnTo>
                      <a:pt x="171" y="188"/>
                    </a:lnTo>
                    <a:lnTo>
                      <a:pt x="171" y="190"/>
                    </a:lnTo>
                    <a:lnTo>
                      <a:pt x="171" y="188"/>
                    </a:lnTo>
                    <a:lnTo>
                      <a:pt x="173" y="188"/>
                    </a:lnTo>
                    <a:lnTo>
                      <a:pt x="173" y="190"/>
                    </a:lnTo>
                    <a:close/>
                    <a:moveTo>
                      <a:pt x="167" y="183"/>
                    </a:moveTo>
                    <a:lnTo>
                      <a:pt x="167" y="185"/>
                    </a:lnTo>
                    <a:lnTo>
                      <a:pt x="167" y="183"/>
                    </a:lnTo>
                    <a:lnTo>
                      <a:pt x="167" y="185"/>
                    </a:lnTo>
                    <a:lnTo>
                      <a:pt x="167" y="183"/>
                    </a:lnTo>
                    <a:lnTo>
                      <a:pt x="167" y="185"/>
                    </a:lnTo>
                    <a:lnTo>
                      <a:pt x="169" y="185"/>
                    </a:lnTo>
                    <a:lnTo>
                      <a:pt x="167" y="185"/>
                    </a:lnTo>
                    <a:lnTo>
                      <a:pt x="167" y="183"/>
                    </a:lnTo>
                    <a:lnTo>
                      <a:pt x="167" y="181"/>
                    </a:lnTo>
                    <a:lnTo>
                      <a:pt x="167" y="183"/>
                    </a:lnTo>
                    <a:close/>
                    <a:moveTo>
                      <a:pt x="169" y="181"/>
                    </a:moveTo>
                    <a:lnTo>
                      <a:pt x="167" y="181"/>
                    </a:lnTo>
                    <a:lnTo>
                      <a:pt x="169" y="181"/>
                    </a:lnTo>
                    <a:lnTo>
                      <a:pt x="167" y="181"/>
                    </a:lnTo>
                    <a:lnTo>
                      <a:pt x="169" y="181"/>
                    </a:lnTo>
                    <a:lnTo>
                      <a:pt x="167" y="181"/>
                    </a:lnTo>
                    <a:lnTo>
                      <a:pt x="169" y="181"/>
                    </a:lnTo>
                    <a:close/>
                    <a:moveTo>
                      <a:pt x="171" y="181"/>
                    </a:moveTo>
                    <a:lnTo>
                      <a:pt x="169" y="181"/>
                    </a:lnTo>
                    <a:lnTo>
                      <a:pt x="171" y="181"/>
                    </a:lnTo>
                    <a:close/>
                    <a:moveTo>
                      <a:pt x="171" y="181"/>
                    </a:moveTo>
                    <a:lnTo>
                      <a:pt x="171" y="179"/>
                    </a:lnTo>
                    <a:lnTo>
                      <a:pt x="171" y="181"/>
                    </a:lnTo>
                    <a:lnTo>
                      <a:pt x="171" y="179"/>
                    </a:lnTo>
                    <a:lnTo>
                      <a:pt x="171" y="181"/>
                    </a:lnTo>
                    <a:close/>
                    <a:moveTo>
                      <a:pt x="159" y="175"/>
                    </a:moveTo>
                    <a:lnTo>
                      <a:pt x="159" y="177"/>
                    </a:lnTo>
                    <a:lnTo>
                      <a:pt x="157" y="177"/>
                    </a:lnTo>
                    <a:lnTo>
                      <a:pt x="157" y="175"/>
                    </a:lnTo>
                    <a:lnTo>
                      <a:pt x="157" y="177"/>
                    </a:lnTo>
                    <a:lnTo>
                      <a:pt x="157" y="175"/>
                    </a:lnTo>
                    <a:lnTo>
                      <a:pt x="159" y="175"/>
                    </a:lnTo>
                    <a:lnTo>
                      <a:pt x="157" y="175"/>
                    </a:lnTo>
                    <a:lnTo>
                      <a:pt x="159" y="175"/>
                    </a:lnTo>
                    <a:close/>
                    <a:moveTo>
                      <a:pt x="173" y="181"/>
                    </a:moveTo>
                    <a:lnTo>
                      <a:pt x="173" y="179"/>
                    </a:lnTo>
                    <a:lnTo>
                      <a:pt x="173" y="181"/>
                    </a:lnTo>
                    <a:close/>
                    <a:moveTo>
                      <a:pt x="176" y="186"/>
                    </a:moveTo>
                    <a:lnTo>
                      <a:pt x="176" y="188"/>
                    </a:lnTo>
                    <a:lnTo>
                      <a:pt x="176" y="186"/>
                    </a:lnTo>
                    <a:lnTo>
                      <a:pt x="176" y="188"/>
                    </a:lnTo>
                    <a:lnTo>
                      <a:pt x="176" y="186"/>
                    </a:lnTo>
                    <a:lnTo>
                      <a:pt x="178" y="186"/>
                    </a:lnTo>
                    <a:lnTo>
                      <a:pt x="178" y="185"/>
                    </a:lnTo>
                    <a:lnTo>
                      <a:pt x="178" y="183"/>
                    </a:lnTo>
                    <a:lnTo>
                      <a:pt x="178" y="181"/>
                    </a:lnTo>
                    <a:lnTo>
                      <a:pt x="178" y="183"/>
                    </a:lnTo>
                    <a:lnTo>
                      <a:pt x="180" y="181"/>
                    </a:lnTo>
                    <a:lnTo>
                      <a:pt x="180" y="183"/>
                    </a:lnTo>
                    <a:lnTo>
                      <a:pt x="180" y="181"/>
                    </a:lnTo>
                    <a:lnTo>
                      <a:pt x="180" y="183"/>
                    </a:lnTo>
                    <a:lnTo>
                      <a:pt x="178" y="183"/>
                    </a:lnTo>
                    <a:lnTo>
                      <a:pt x="178" y="185"/>
                    </a:lnTo>
                    <a:lnTo>
                      <a:pt x="178" y="186"/>
                    </a:lnTo>
                    <a:lnTo>
                      <a:pt x="176" y="188"/>
                    </a:lnTo>
                    <a:lnTo>
                      <a:pt x="174" y="188"/>
                    </a:lnTo>
                    <a:lnTo>
                      <a:pt x="176" y="188"/>
                    </a:lnTo>
                    <a:lnTo>
                      <a:pt x="174" y="188"/>
                    </a:lnTo>
                    <a:lnTo>
                      <a:pt x="173" y="190"/>
                    </a:lnTo>
                    <a:lnTo>
                      <a:pt x="173" y="188"/>
                    </a:lnTo>
                    <a:lnTo>
                      <a:pt x="174" y="188"/>
                    </a:lnTo>
                    <a:lnTo>
                      <a:pt x="174" y="186"/>
                    </a:lnTo>
                    <a:lnTo>
                      <a:pt x="173" y="185"/>
                    </a:lnTo>
                    <a:lnTo>
                      <a:pt x="174" y="185"/>
                    </a:lnTo>
                    <a:lnTo>
                      <a:pt x="174" y="183"/>
                    </a:lnTo>
                    <a:lnTo>
                      <a:pt x="176" y="183"/>
                    </a:lnTo>
                    <a:lnTo>
                      <a:pt x="178" y="183"/>
                    </a:lnTo>
                    <a:lnTo>
                      <a:pt x="176" y="183"/>
                    </a:lnTo>
                    <a:lnTo>
                      <a:pt x="176" y="185"/>
                    </a:lnTo>
                    <a:lnTo>
                      <a:pt x="176" y="183"/>
                    </a:lnTo>
                    <a:lnTo>
                      <a:pt x="176" y="185"/>
                    </a:lnTo>
                    <a:lnTo>
                      <a:pt x="176" y="183"/>
                    </a:lnTo>
                    <a:lnTo>
                      <a:pt x="176" y="185"/>
                    </a:lnTo>
                    <a:lnTo>
                      <a:pt x="174" y="185"/>
                    </a:lnTo>
                    <a:lnTo>
                      <a:pt x="176" y="185"/>
                    </a:lnTo>
                    <a:lnTo>
                      <a:pt x="174" y="185"/>
                    </a:lnTo>
                    <a:lnTo>
                      <a:pt x="174" y="186"/>
                    </a:lnTo>
                    <a:lnTo>
                      <a:pt x="176" y="186"/>
                    </a:lnTo>
                    <a:close/>
                    <a:moveTo>
                      <a:pt x="155" y="173"/>
                    </a:moveTo>
                    <a:lnTo>
                      <a:pt x="153" y="173"/>
                    </a:lnTo>
                    <a:lnTo>
                      <a:pt x="155" y="173"/>
                    </a:lnTo>
                    <a:close/>
                    <a:moveTo>
                      <a:pt x="171" y="181"/>
                    </a:moveTo>
                    <a:lnTo>
                      <a:pt x="173" y="181"/>
                    </a:lnTo>
                    <a:lnTo>
                      <a:pt x="173" y="179"/>
                    </a:lnTo>
                    <a:lnTo>
                      <a:pt x="173" y="181"/>
                    </a:lnTo>
                    <a:lnTo>
                      <a:pt x="173" y="179"/>
                    </a:lnTo>
                    <a:lnTo>
                      <a:pt x="173" y="181"/>
                    </a:lnTo>
                    <a:lnTo>
                      <a:pt x="173" y="179"/>
                    </a:lnTo>
                    <a:lnTo>
                      <a:pt x="174" y="179"/>
                    </a:lnTo>
                    <a:lnTo>
                      <a:pt x="173" y="181"/>
                    </a:lnTo>
                    <a:lnTo>
                      <a:pt x="174" y="179"/>
                    </a:lnTo>
                    <a:lnTo>
                      <a:pt x="174" y="181"/>
                    </a:lnTo>
                    <a:lnTo>
                      <a:pt x="173" y="181"/>
                    </a:lnTo>
                    <a:lnTo>
                      <a:pt x="171" y="181"/>
                    </a:lnTo>
                    <a:lnTo>
                      <a:pt x="169" y="183"/>
                    </a:lnTo>
                    <a:lnTo>
                      <a:pt x="171" y="183"/>
                    </a:lnTo>
                    <a:lnTo>
                      <a:pt x="171" y="181"/>
                    </a:lnTo>
                    <a:lnTo>
                      <a:pt x="169" y="183"/>
                    </a:lnTo>
                    <a:lnTo>
                      <a:pt x="169" y="181"/>
                    </a:lnTo>
                    <a:lnTo>
                      <a:pt x="171" y="181"/>
                    </a:lnTo>
                    <a:close/>
                    <a:moveTo>
                      <a:pt x="180" y="177"/>
                    </a:moveTo>
                    <a:lnTo>
                      <a:pt x="180" y="179"/>
                    </a:lnTo>
                    <a:lnTo>
                      <a:pt x="180" y="177"/>
                    </a:lnTo>
                    <a:lnTo>
                      <a:pt x="180" y="179"/>
                    </a:lnTo>
                    <a:lnTo>
                      <a:pt x="178" y="179"/>
                    </a:lnTo>
                    <a:lnTo>
                      <a:pt x="178" y="181"/>
                    </a:lnTo>
                    <a:lnTo>
                      <a:pt x="178" y="183"/>
                    </a:lnTo>
                    <a:lnTo>
                      <a:pt x="178" y="181"/>
                    </a:lnTo>
                    <a:lnTo>
                      <a:pt x="178" y="179"/>
                    </a:lnTo>
                    <a:lnTo>
                      <a:pt x="180" y="179"/>
                    </a:lnTo>
                    <a:lnTo>
                      <a:pt x="178" y="179"/>
                    </a:lnTo>
                    <a:lnTo>
                      <a:pt x="178" y="177"/>
                    </a:lnTo>
                    <a:lnTo>
                      <a:pt x="178" y="179"/>
                    </a:lnTo>
                    <a:lnTo>
                      <a:pt x="180" y="179"/>
                    </a:lnTo>
                    <a:lnTo>
                      <a:pt x="178" y="177"/>
                    </a:lnTo>
                    <a:lnTo>
                      <a:pt x="178" y="179"/>
                    </a:lnTo>
                    <a:lnTo>
                      <a:pt x="178" y="177"/>
                    </a:lnTo>
                    <a:lnTo>
                      <a:pt x="180" y="177"/>
                    </a:lnTo>
                    <a:close/>
                    <a:moveTo>
                      <a:pt x="178" y="175"/>
                    </a:moveTo>
                    <a:lnTo>
                      <a:pt x="180" y="175"/>
                    </a:lnTo>
                    <a:lnTo>
                      <a:pt x="178" y="175"/>
                    </a:lnTo>
                    <a:lnTo>
                      <a:pt x="180" y="173"/>
                    </a:lnTo>
                    <a:lnTo>
                      <a:pt x="180" y="175"/>
                    </a:lnTo>
                    <a:lnTo>
                      <a:pt x="178" y="175"/>
                    </a:lnTo>
                    <a:close/>
                    <a:moveTo>
                      <a:pt x="165" y="167"/>
                    </a:moveTo>
                    <a:lnTo>
                      <a:pt x="163" y="167"/>
                    </a:lnTo>
                    <a:lnTo>
                      <a:pt x="165" y="167"/>
                    </a:lnTo>
                    <a:lnTo>
                      <a:pt x="163" y="167"/>
                    </a:lnTo>
                    <a:lnTo>
                      <a:pt x="165" y="167"/>
                    </a:lnTo>
                    <a:close/>
                    <a:moveTo>
                      <a:pt x="176" y="171"/>
                    </a:moveTo>
                    <a:lnTo>
                      <a:pt x="178" y="171"/>
                    </a:lnTo>
                    <a:lnTo>
                      <a:pt x="176" y="171"/>
                    </a:lnTo>
                    <a:close/>
                    <a:moveTo>
                      <a:pt x="176" y="171"/>
                    </a:moveTo>
                    <a:lnTo>
                      <a:pt x="178" y="171"/>
                    </a:lnTo>
                    <a:lnTo>
                      <a:pt x="176" y="171"/>
                    </a:lnTo>
                    <a:lnTo>
                      <a:pt x="178" y="171"/>
                    </a:lnTo>
                    <a:lnTo>
                      <a:pt x="178" y="169"/>
                    </a:lnTo>
                    <a:lnTo>
                      <a:pt x="178" y="171"/>
                    </a:lnTo>
                    <a:lnTo>
                      <a:pt x="178" y="169"/>
                    </a:lnTo>
                    <a:lnTo>
                      <a:pt x="178" y="171"/>
                    </a:lnTo>
                    <a:lnTo>
                      <a:pt x="178" y="169"/>
                    </a:lnTo>
                    <a:lnTo>
                      <a:pt x="178" y="171"/>
                    </a:lnTo>
                    <a:lnTo>
                      <a:pt x="178" y="169"/>
                    </a:lnTo>
                    <a:lnTo>
                      <a:pt x="178" y="171"/>
                    </a:lnTo>
                    <a:lnTo>
                      <a:pt x="178" y="173"/>
                    </a:lnTo>
                    <a:lnTo>
                      <a:pt x="178" y="171"/>
                    </a:lnTo>
                    <a:lnTo>
                      <a:pt x="178" y="173"/>
                    </a:lnTo>
                    <a:lnTo>
                      <a:pt x="178" y="171"/>
                    </a:lnTo>
                    <a:lnTo>
                      <a:pt x="178" y="173"/>
                    </a:lnTo>
                    <a:lnTo>
                      <a:pt x="176" y="173"/>
                    </a:lnTo>
                    <a:lnTo>
                      <a:pt x="176" y="171"/>
                    </a:lnTo>
                    <a:lnTo>
                      <a:pt x="176" y="173"/>
                    </a:lnTo>
                    <a:lnTo>
                      <a:pt x="176" y="171"/>
                    </a:lnTo>
                    <a:lnTo>
                      <a:pt x="176" y="173"/>
                    </a:lnTo>
                    <a:lnTo>
                      <a:pt x="176" y="171"/>
                    </a:lnTo>
                    <a:close/>
                    <a:moveTo>
                      <a:pt x="182" y="171"/>
                    </a:moveTo>
                    <a:lnTo>
                      <a:pt x="182" y="173"/>
                    </a:lnTo>
                    <a:lnTo>
                      <a:pt x="180" y="173"/>
                    </a:lnTo>
                    <a:lnTo>
                      <a:pt x="180" y="175"/>
                    </a:lnTo>
                    <a:lnTo>
                      <a:pt x="180" y="173"/>
                    </a:lnTo>
                    <a:lnTo>
                      <a:pt x="178" y="173"/>
                    </a:lnTo>
                    <a:lnTo>
                      <a:pt x="178" y="175"/>
                    </a:lnTo>
                    <a:lnTo>
                      <a:pt x="176" y="175"/>
                    </a:lnTo>
                    <a:lnTo>
                      <a:pt x="178" y="177"/>
                    </a:lnTo>
                    <a:lnTo>
                      <a:pt x="178" y="175"/>
                    </a:lnTo>
                    <a:lnTo>
                      <a:pt x="178" y="177"/>
                    </a:lnTo>
                    <a:lnTo>
                      <a:pt x="178" y="175"/>
                    </a:lnTo>
                    <a:lnTo>
                      <a:pt x="178" y="177"/>
                    </a:lnTo>
                    <a:lnTo>
                      <a:pt x="180" y="177"/>
                    </a:lnTo>
                    <a:lnTo>
                      <a:pt x="178" y="175"/>
                    </a:lnTo>
                    <a:lnTo>
                      <a:pt x="180" y="175"/>
                    </a:lnTo>
                    <a:lnTo>
                      <a:pt x="178" y="175"/>
                    </a:lnTo>
                    <a:lnTo>
                      <a:pt x="180" y="175"/>
                    </a:lnTo>
                    <a:lnTo>
                      <a:pt x="178" y="175"/>
                    </a:lnTo>
                    <a:lnTo>
                      <a:pt x="180" y="175"/>
                    </a:lnTo>
                    <a:lnTo>
                      <a:pt x="180" y="173"/>
                    </a:lnTo>
                    <a:lnTo>
                      <a:pt x="182" y="173"/>
                    </a:lnTo>
                    <a:lnTo>
                      <a:pt x="180" y="173"/>
                    </a:lnTo>
                    <a:lnTo>
                      <a:pt x="180" y="175"/>
                    </a:lnTo>
                    <a:lnTo>
                      <a:pt x="180" y="173"/>
                    </a:lnTo>
                    <a:lnTo>
                      <a:pt x="182" y="173"/>
                    </a:lnTo>
                    <a:lnTo>
                      <a:pt x="182" y="175"/>
                    </a:lnTo>
                    <a:lnTo>
                      <a:pt x="182" y="173"/>
                    </a:lnTo>
                    <a:lnTo>
                      <a:pt x="182" y="175"/>
                    </a:lnTo>
                    <a:lnTo>
                      <a:pt x="182" y="173"/>
                    </a:lnTo>
                    <a:lnTo>
                      <a:pt x="182" y="175"/>
                    </a:lnTo>
                    <a:lnTo>
                      <a:pt x="180" y="175"/>
                    </a:lnTo>
                    <a:lnTo>
                      <a:pt x="180" y="177"/>
                    </a:lnTo>
                    <a:lnTo>
                      <a:pt x="180" y="175"/>
                    </a:lnTo>
                    <a:lnTo>
                      <a:pt x="180" y="177"/>
                    </a:lnTo>
                    <a:lnTo>
                      <a:pt x="178" y="177"/>
                    </a:lnTo>
                    <a:lnTo>
                      <a:pt x="178" y="179"/>
                    </a:lnTo>
                    <a:lnTo>
                      <a:pt x="178" y="177"/>
                    </a:lnTo>
                    <a:lnTo>
                      <a:pt x="178" y="179"/>
                    </a:lnTo>
                    <a:lnTo>
                      <a:pt x="176" y="179"/>
                    </a:lnTo>
                    <a:lnTo>
                      <a:pt x="176" y="181"/>
                    </a:lnTo>
                    <a:lnTo>
                      <a:pt x="176" y="179"/>
                    </a:lnTo>
                    <a:lnTo>
                      <a:pt x="176" y="181"/>
                    </a:lnTo>
                    <a:lnTo>
                      <a:pt x="176" y="179"/>
                    </a:lnTo>
                    <a:lnTo>
                      <a:pt x="176" y="181"/>
                    </a:lnTo>
                    <a:lnTo>
                      <a:pt x="174" y="181"/>
                    </a:lnTo>
                    <a:lnTo>
                      <a:pt x="174" y="183"/>
                    </a:lnTo>
                    <a:lnTo>
                      <a:pt x="174" y="181"/>
                    </a:lnTo>
                    <a:lnTo>
                      <a:pt x="174" y="183"/>
                    </a:lnTo>
                    <a:lnTo>
                      <a:pt x="174" y="181"/>
                    </a:lnTo>
                    <a:lnTo>
                      <a:pt x="174" y="183"/>
                    </a:lnTo>
                    <a:lnTo>
                      <a:pt x="174" y="181"/>
                    </a:lnTo>
                    <a:lnTo>
                      <a:pt x="174" y="183"/>
                    </a:lnTo>
                    <a:lnTo>
                      <a:pt x="173" y="183"/>
                    </a:lnTo>
                    <a:lnTo>
                      <a:pt x="171" y="183"/>
                    </a:lnTo>
                    <a:lnTo>
                      <a:pt x="171" y="185"/>
                    </a:lnTo>
                    <a:lnTo>
                      <a:pt x="173" y="185"/>
                    </a:lnTo>
                    <a:lnTo>
                      <a:pt x="171" y="185"/>
                    </a:lnTo>
                    <a:lnTo>
                      <a:pt x="173" y="185"/>
                    </a:lnTo>
                    <a:lnTo>
                      <a:pt x="171" y="185"/>
                    </a:lnTo>
                    <a:lnTo>
                      <a:pt x="173" y="185"/>
                    </a:lnTo>
                    <a:lnTo>
                      <a:pt x="173" y="186"/>
                    </a:lnTo>
                    <a:lnTo>
                      <a:pt x="173" y="185"/>
                    </a:lnTo>
                    <a:lnTo>
                      <a:pt x="173" y="183"/>
                    </a:lnTo>
                    <a:lnTo>
                      <a:pt x="173" y="185"/>
                    </a:lnTo>
                    <a:lnTo>
                      <a:pt x="174" y="185"/>
                    </a:lnTo>
                    <a:lnTo>
                      <a:pt x="174" y="183"/>
                    </a:lnTo>
                    <a:lnTo>
                      <a:pt x="174" y="181"/>
                    </a:lnTo>
                    <a:lnTo>
                      <a:pt x="174" y="183"/>
                    </a:lnTo>
                    <a:lnTo>
                      <a:pt x="174" y="181"/>
                    </a:lnTo>
                    <a:lnTo>
                      <a:pt x="174" y="183"/>
                    </a:lnTo>
                    <a:lnTo>
                      <a:pt x="174" y="181"/>
                    </a:lnTo>
                    <a:lnTo>
                      <a:pt x="176" y="181"/>
                    </a:lnTo>
                    <a:lnTo>
                      <a:pt x="174" y="181"/>
                    </a:lnTo>
                    <a:lnTo>
                      <a:pt x="176" y="181"/>
                    </a:lnTo>
                    <a:lnTo>
                      <a:pt x="174" y="181"/>
                    </a:lnTo>
                    <a:lnTo>
                      <a:pt x="176" y="181"/>
                    </a:lnTo>
                    <a:lnTo>
                      <a:pt x="176" y="179"/>
                    </a:lnTo>
                    <a:lnTo>
                      <a:pt x="176" y="181"/>
                    </a:lnTo>
                    <a:lnTo>
                      <a:pt x="178" y="181"/>
                    </a:lnTo>
                    <a:lnTo>
                      <a:pt x="178" y="179"/>
                    </a:lnTo>
                    <a:lnTo>
                      <a:pt x="178" y="181"/>
                    </a:lnTo>
                    <a:lnTo>
                      <a:pt x="178" y="183"/>
                    </a:lnTo>
                    <a:lnTo>
                      <a:pt x="176" y="183"/>
                    </a:lnTo>
                    <a:lnTo>
                      <a:pt x="174" y="183"/>
                    </a:lnTo>
                    <a:lnTo>
                      <a:pt x="174" y="185"/>
                    </a:lnTo>
                    <a:lnTo>
                      <a:pt x="173" y="185"/>
                    </a:lnTo>
                    <a:lnTo>
                      <a:pt x="173" y="186"/>
                    </a:lnTo>
                    <a:lnTo>
                      <a:pt x="174" y="186"/>
                    </a:lnTo>
                    <a:lnTo>
                      <a:pt x="174" y="188"/>
                    </a:lnTo>
                    <a:lnTo>
                      <a:pt x="173" y="188"/>
                    </a:lnTo>
                    <a:lnTo>
                      <a:pt x="173" y="186"/>
                    </a:lnTo>
                    <a:lnTo>
                      <a:pt x="171" y="186"/>
                    </a:lnTo>
                    <a:lnTo>
                      <a:pt x="171" y="185"/>
                    </a:lnTo>
                    <a:lnTo>
                      <a:pt x="171" y="186"/>
                    </a:lnTo>
                    <a:lnTo>
                      <a:pt x="171" y="185"/>
                    </a:lnTo>
                    <a:lnTo>
                      <a:pt x="171" y="183"/>
                    </a:lnTo>
                    <a:lnTo>
                      <a:pt x="173" y="183"/>
                    </a:lnTo>
                    <a:lnTo>
                      <a:pt x="173" y="181"/>
                    </a:lnTo>
                    <a:lnTo>
                      <a:pt x="173" y="183"/>
                    </a:lnTo>
                    <a:lnTo>
                      <a:pt x="173" y="181"/>
                    </a:lnTo>
                    <a:lnTo>
                      <a:pt x="174" y="181"/>
                    </a:lnTo>
                    <a:lnTo>
                      <a:pt x="174" y="179"/>
                    </a:lnTo>
                    <a:lnTo>
                      <a:pt x="174" y="181"/>
                    </a:lnTo>
                    <a:lnTo>
                      <a:pt x="174" y="179"/>
                    </a:lnTo>
                    <a:lnTo>
                      <a:pt x="174" y="181"/>
                    </a:lnTo>
                    <a:lnTo>
                      <a:pt x="174" y="179"/>
                    </a:lnTo>
                    <a:lnTo>
                      <a:pt x="176" y="179"/>
                    </a:lnTo>
                    <a:lnTo>
                      <a:pt x="176" y="177"/>
                    </a:lnTo>
                    <a:lnTo>
                      <a:pt x="176" y="179"/>
                    </a:lnTo>
                    <a:lnTo>
                      <a:pt x="174" y="179"/>
                    </a:lnTo>
                    <a:lnTo>
                      <a:pt x="176" y="179"/>
                    </a:lnTo>
                    <a:lnTo>
                      <a:pt x="176" y="177"/>
                    </a:lnTo>
                    <a:lnTo>
                      <a:pt x="176" y="179"/>
                    </a:lnTo>
                    <a:lnTo>
                      <a:pt x="178" y="177"/>
                    </a:lnTo>
                    <a:lnTo>
                      <a:pt x="176" y="177"/>
                    </a:lnTo>
                    <a:lnTo>
                      <a:pt x="176" y="175"/>
                    </a:lnTo>
                    <a:lnTo>
                      <a:pt x="176" y="173"/>
                    </a:lnTo>
                    <a:lnTo>
                      <a:pt x="178" y="173"/>
                    </a:lnTo>
                    <a:lnTo>
                      <a:pt x="178" y="171"/>
                    </a:lnTo>
                    <a:lnTo>
                      <a:pt x="180" y="171"/>
                    </a:lnTo>
                    <a:lnTo>
                      <a:pt x="182" y="171"/>
                    </a:lnTo>
                    <a:lnTo>
                      <a:pt x="180" y="171"/>
                    </a:lnTo>
                    <a:lnTo>
                      <a:pt x="180" y="173"/>
                    </a:lnTo>
                    <a:lnTo>
                      <a:pt x="180" y="171"/>
                    </a:lnTo>
                    <a:lnTo>
                      <a:pt x="180" y="173"/>
                    </a:lnTo>
                    <a:lnTo>
                      <a:pt x="178" y="173"/>
                    </a:lnTo>
                    <a:lnTo>
                      <a:pt x="180" y="173"/>
                    </a:lnTo>
                    <a:lnTo>
                      <a:pt x="180" y="171"/>
                    </a:lnTo>
                    <a:lnTo>
                      <a:pt x="180" y="173"/>
                    </a:lnTo>
                    <a:lnTo>
                      <a:pt x="182" y="171"/>
                    </a:lnTo>
                    <a:lnTo>
                      <a:pt x="180" y="173"/>
                    </a:lnTo>
                    <a:lnTo>
                      <a:pt x="182" y="173"/>
                    </a:lnTo>
                    <a:lnTo>
                      <a:pt x="182" y="171"/>
                    </a:lnTo>
                    <a:close/>
                    <a:moveTo>
                      <a:pt x="178" y="175"/>
                    </a:moveTo>
                    <a:lnTo>
                      <a:pt x="176" y="175"/>
                    </a:lnTo>
                    <a:lnTo>
                      <a:pt x="178" y="175"/>
                    </a:lnTo>
                    <a:close/>
                    <a:moveTo>
                      <a:pt x="173" y="185"/>
                    </a:moveTo>
                    <a:lnTo>
                      <a:pt x="173" y="186"/>
                    </a:lnTo>
                    <a:lnTo>
                      <a:pt x="173" y="185"/>
                    </a:lnTo>
                    <a:lnTo>
                      <a:pt x="173" y="186"/>
                    </a:lnTo>
                    <a:lnTo>
                      <a:pt x="173" y="185"/>
                    </a:lnTo>
                    <a:lnTo>
                      <a:pt x="173" y="186"/>
                    </a:lnTo>
                    <a:lnTo>
                      <a:pt x="171" y="186"/>
                    </a:lnTo>
                    <a:lnTo>
                      <a:pt x="173" y="186"/>
                    </a:lnTo>
                    <a:lnTo>
                      <a:pt x="171" y="186"/>
                    </a:lnTo>
                    <a:lnTo>
                      <a:pt x="173" y="186"/>
                    </a:lnTo>
                    <a:lnTo>
                      <a:pt x="173" y="185"/>
                    </a:lnTo>
                    <a:close/>
                    <a:moveTo>
                      <a:pt x="182" y="167"/>
                    </a:moveTo>
                    <a:lnTo>
                      <a:pt x="180" y="167"/>
                    </a:lnTo>
                    <a:lnTo>
                      <a:pt x="182" y="167"/>
                    </a:lnTo>
                    <a:lnTo>
                      <a:pt x="182" y="169"/>
                    </a:lnTo>
                    <a:lnTo>
                      <a:pt x="182" y="167"/>
                    </a:lnTo>
                    <a:lnTo>
                      <a:pt x="182" y="169"/>
                    </a:lnTo>
                    <a:lnTo>
                      <a:pt x="180" y="169"/>
                    </a:lnTo>
                    <a:lnTo>
                      <a:pt x="182" y="169"/>
                    </a:lnTo>
                    <a:lnTo>
                      <a:pt x="180" y="169"/>
                    </a:lnTo>
                    <a:lnTo>
                      <a:pt x="180" y="171"/>
                    </a:lnTo>
                    <a:lnTo>
                      <a:pt x="180" y="169"/>
                    </a:lnTo>
                    <a:lnTo>
                      <a:pt x="180" y="171"/>
                    </a:lnTo>
                    <a:lnTo>
                      <a:pt x="180" y="169"/>
                    </a:lnTo>
                    <a:lnTo>
                      <a:pt x="180" y="171"/>
                    </a:lnTo>
                    <a:lnTo>
                      <a:pt x="182" y="171"/>
                    </a:lnTo>
                    <a:lnTo>
                      <a:pt x="182" y="169"/>
                    </a:lnTo>
                    <a:lnTo>
                      <a:pt x="180" y="169"/>
                    </a:lnTo>
                    <a:lnTo>
                      <a:pt x="182" y="169"/>
                    </a:lnTo>
                    <a:lnTo>
                      <a:pt x="184" y="169"/>
                    </a:lnTo>
                    <a:lnTo>
                      <a:pt x="182" y="169"/>
                    </a:lnTo>
                    <a:lnTo>
                      <a:pt x="182" y="167"/>
                    </a:lnTo>
                    <a:lnTo>
                      <a:pt x="184" y="167"/>
                    </a:lnTo>
                    <a:lnTo>
                      <a:pt x="182" y="167"/>
                    </a:lnTo>
                    <a:lnTo>
                      <a:pt x="182" y="169"/>
                    </a:lnTo>
                    <a:lnTo>
                      <a:pt x="184" y="169"/>
                    </a:lnTo>
                    <a:lnTo>
                      <a:pt x="184" y="167"/>
                    </a:lnTo>
                    <a:lnTo>
                      <a:pt x="184" y="169"/>
                    </a:lnTo>
                    <a:lnTo>
                      <a:pt x="184" y="167"/>
                    </a:lnTo>
                    <a:lnTo>
                      <a:pt x="184" y="169"/>
                    </a:lnTo>
                    <a:lnTo>
                      <a:pt x="182" y="169"/>
                    </a:lnTo>
                    <a:lnTo>
                      <a:pt x="184" y="169"/>
                    </a:lnTo>
                    <a:lnTo>
                      <a:pt x="182" y="169"/>
                    </a:lnTo>
                    <a:lnTo>
                      <a:pt x="182" y="171"/>
                    </a:lnTo>
                    <a:lnTo>
                      <a:pt x="180" y="171"/>
                    </a:lnTo>
                    <a:lnTo>
                      <a:pt x="178" y="171"/>
                    </a:lnTo>
                    <a:lnTo>
                      <a:pt x="178" y="169"/>
                    </a:lnTo>
                    <a:lnTo>
                      <a:pt x="180" y="167"/>
                    </a:lnTo>
                    <a:lnTo>
                      <a:pt x="182" y="167"/>
                    </a:lnTo>
                    <a:close/>
                    <a:moveTo>
                      <a:pt x="188" y="169"/>
                    </a:moveTo>
                    <a:lnTo>
                      <a:pt x="186" y="169"/>
                    </a:lnTo>
                    <a:lnTo>
                      <a:pt x="186" y="171"/>
                    </a:lnTo>
                    <a:lnTo>
                      <a:pt x="186" y="169"/>
                    </a:lnTo>
                    <a:lnTo>
                      <a:pt x="186" y="171"/>
                    </a:lnTo>
                    <a:lnTo>
                      <a:pt x="184" y="171"/>
                    </a:lnTo>
                    <a:lnTo>
                      <a:pt x="186" y="171"/>
                    </a:lnTo>
                    <a:lnTo>
                      <a:pt x="184" y="171"/>
                    </a:lnTo>
                    <a:lnTo>
                      <a:pt x="182" y="171"/>
                    </a:lnTo>
                    <a:lnTo>
                      <a:pt x="182" y="169"/>
                    </a:lnTo>
                    <a:lnTo>
                      <a:pt x="184" y="169"/>
                    </a:lnTo>
                    <a:lnTo>
                      <a:pt x="184" y="171"/>
                    </a:lnTo>
                    <a:lnTo>
                      <a:pt x="186" y="171"/>
                    </a:lnTo>
                    <a:lnTo>
                      <a:pt x="186" y="169"/>
                    </a:lnTo>
                    <a:lnTo>
                      <a:pt x="188" y="169"/>
                    </a:lnTo>
                    <a:lnTo>
                      <a:pt x="188" y="171"/>
                    </a:lnTo>
                    <a:lnTo>
                      <a:pt x="186" y="171"/>
                    </a:lnTo>
                    <a:lnTo>
                      <a:pt x="186" y="169"/>
                    </a:lnTo>
                    <a:lnTo>
                      <a:pt x="188" y="169"/>
                    </a:lnTo>
                    <a:close/>
                    <a:moveTo>
                      <a:pt x="184" y="171"/>
                    </a:moveTo>
                    <a:lnTo>
                      <a:pt x="184" y="169"/>
                    </a:lnTo>
                    <a:lnTo>
                      <a:pt x="184" y="171"/>
                    </a:lnTo>
                    <a:close/>
                    <a:moveTo>
                      <a:pt x="192" y="167"/>
                    </a:moveTo>
                    <a:lnTo>
                      <a:pt x="192" y="169"/>
                    </a:lnTo>
                    <a:lnTo>
                      <a:pt x="192" y="167"/>
                    </a:lnTo>
                    <a:close/>
                    <a:moveTo>
                      <a:pt x="186" y="167"/>
                    </a:moveTo>
                    <a:lnTo>
                      <a:pt x="186" y="169"/>
                    </a:lnTo>
                    <a:lnTo>
                      <a:pt x="184" y="169"/>
                    </a:lnTo>
                    <a:lnTo>
                      <a:pt x="184" y="167"/>
                    </a:lnTo>
                    <a:lnTo>
                      <a:pt x="186" y="167"/>
                    </a:lnTo>
                    <a:lnTo>
                      <a:pt x="186" y="165"/>
                    </a:lnTo>
                    <a:lnTo>
                      <a:pt x="186" y="167"/>
                    </a:lnTo>
                    <a:close/>
                    <a:moveTo>
                      <a:pt x="192" y="167"/>
                    </a:moveTo>
                    <a:lnTo>
                      <a:pt x="192" y="169"/>
                    </a:lnTo>
                    <a:lnTo>
                      <a:pt x="192" y="171"/>
                    </a:lnTo>
                    <a:lnTo>
                      <a:pt x="192" y="169"/>
                    </a:lnTo>
                    <a:lnTo>
                      <a:pt x="192" y="167"/>
                    </a:lnTo>
                    <a:lnTo>
                      <a:pt x="192" y="169"/>
                    </a:lnTo>
                    <a:lnTo>
                      <a:pt x="192" y="171"/>
                    </a:lnTo>
                    <a:lnTo>
                      <a:pt x="194" y="171"/>
                    </a:lnTo>
                    <a:lnTo>
                      <a:pt x="192" y="171"/>
                    </a:lnTo>
                    <a:lnTo>
                      <a:pt x="192" y="173"/>
                    </a:lnTo>
                    <a:lnTo>
                      <a:pt x="190" y="173"/>
                    </a:lnTo>
                    <a:lnTo>
                      <a:pt x="188" y="175"/>
                    </a:lnTo>
                    <a:lnTo>
                      <a:pt x="190" y="175"/>
                    </a:lnTo>
                    <a:lnTo>
                      <a:pt x="190" y="173"/>
                    </a:lnTo>
                    <a:lnTo>
                      <a:pt x="190" y="175"/>
                    </a:lnTo>
                    <a:lnTo>
                      <a:pt x="188" y="175"/>
                    </a:lnTo>
                    <a:lnTo>
                      <a:pt x="186" y="175"/>
                    </a:lnTo>
                    <a:lnTo>
                      <a:pt x="184" y="177"/>
                    </a:lnTo>
                    <a:lnTo>
                      <a:pt x="184" y="175"/>
                    </a:lnTo>
                    <a:lnTo>
                      <a:pt x="184" y="177"/>
                    </a:lnTo>
                    <a:lnTo>
                      <a:pt x="182" y="177"/>
                    </a:lnTo>
                    <a:lnTo>
                      <a:pt x="180" y="177"/>
                    </a:lnTo>
                    <a:lnTo>
                      <a:pt x="180" y="179"/>
                    </a:lnTo>
                    <a:lnTo>
                      <a:pt x="180" y="181"/>
                    </a:lnTo>
                    <a:lnTo>
                      <a:pt x="180" y="179"/>
                    </a:lnTo>
                    <a:lnTo>
                      <a:pt x="180" y="181"/>
                    </a:lnTo>
                    <a:lnTo>
                      <a:pt x="180" y="179"/>
                    </a:lnTo>
                    <a:lnTo>
                      <a:pt x="180" y="181"/>
                    </a:lnTo>
                    <a:lnTo>
                      <a:pt x="180" y="179"/>
                    </a:lnTo>
                    <a:lnTo>
                      <a:pt x="180" y="181"/>
                    </a:lnTo>
                    <a:lnTo>
                      <a:pt x="180" y="179"/>
                    </a:lnTo>
                    <a:lnTo>
                      <a:pt x="178" y="179"/>
                    </a:lnTo>
                    <a:lnTo>
                      <a:pt x="180" y="179"/>
                    </a:lnTo>
                    <a:lnTo>
                      <a:pt x="180" y="177"/>
                    </a:lnTo>
                    <a:lnTo>
                      <a:pt x="180" y="175"/>
                    </a:lnTo>
                    <a:lnTo>
                      <a:pt x="182" y="175"/>
                    </a:lnTo>
                    <a:lnTo>
                      <a:pt x="182" y="173"/>
                    </a:lnTo>
                    <a:lnTo>
                      <a:pt x="184" y="173"/>
                    </a:lnTo>
                    <a:lnTo>
                      <a:pt x="182" y="173"/>
                    </a:lnTo>
                    <a:lnTo>
                      <a:pt x="184" y="173"/>
                    </a:lnTo>
                    <a:lnTo>
                      <a:pt x="182" y="173"/>
                    </a:lnTo>
                    <a:lnTo>
                      <a:pt x="182" y="171"/>
                    </a:lnTo>
                    <a:lnTo>
                      <a:pt x="182" y="173"/>
                    </a:lnTo>
                    <a:lnTo>
                      <a:pt x="182" y="171"/>
                    </a:lnTo>
                    <a:lnTo>
                      <a:pt x="184" y="171"/>
                    </a:lnTo>
                    <a:lnTo>
                      <a:pt x="182" y="171"/>
                    </a:lnTo>
                    <a:lnTo>
                      <a:pt x="184" y="171"/>
                    </a:lnTo>
                    <a:lnTo>
                      <a:pt x="182" y="171"/>
                    </a:lnTo>
                    <a:lnTo>
                      <a:pt x="182" y="173"/>
                    </a:lnTo>
                    <a:lnTo>
                      <a:pt x="184" y="173"/>
                    </a:lnTo>
                    <a:lnTo>
                      <a:pt x="182" y="173"/>
                    </a:lnTo>
                    <a:lnTo>
                      <a:pt x="184" y="173"/>
                    </a:lnTo>
                    <a:lnTo>
                      <a:pt x="184" y="171"/>
                    </a:lnTo>
                    <a:lnTo>
                      <a:pt x="184" y="173"/>
                    </a:lnTo>
                    <a:lnTo>
                      <a:pt x="186" y="173"/>
                    </a:lnTo>
                    <a:lnTo>
                      <a:pt x="186" y="171"/>
                    </a:lnTo>
                    <a:lnTo>
                      <a:pt x="184" y="171"/>
                    </a:lnTo>
                    <a:lnTo>
                      <a:pt x="186" y="171"/>
                    </a:lnTo>
                    <a:lnTo>
                      <a:pt x="184" y="171"/>
                    </a:lnTo>
                    <a:lnTo>
                      <a:pt x="186" y="171"/>
                    </a:lnTo>
                    <a:lnTo>
                      <a:pt x="186" y="173"/>
                    </a:lnTo>
                    <a:lnTo>
                      <a:pt x="186" y="171"/>
                    </a:lnTo>
                    <a:lnTo>
                      <a:pt x="186" y="173"/>
                    </a:lnTo>
                    <a:lnTo>
                      <a:pt x="186" y="171"/>
                    </a:lnTo>
                    <a:lnTo>
                      <a:pt x="186" y="173"/>
                    </a:lnTo>
                    <a:lnTo>
                      <a:pt x="186" y="171"/>
                    </a:lnTo>
                    <a:lnTo>
                      <a:pt x="186" y="173"/>
                    </a:lnTo>
                    <a:lnTo>
                      <a:pt x="184" y="173"/>
                    </a:lnTo>
                    <a:lnTo>
                      <a:pt x="182" y="173"/>
                    </a:lnTo>
                    <a:lnTo>
                      <a:pt x="184" y="173"/>
                    </a:lnTo>
                    <a:lnTo>
                      <a:pt x="182" y="173"/>
                    </a:lnTo>
                    <a:lnTo>
                      <a:pt x="182" y="175"/>
                    </a:lnTo>
                    <a:lnTo>
                      <a:pt x="184" y="175"/>
                    </a:lnTo>
                    <a:lnTo>
                      <a:pt x="182" y="175"/>
                    </a:lnTo>
                    <a:lnTo>
                      <a:pt x="182" y="177"/>
                    </a:lnTo>
                    <a:lnTo>
                      <a:pt x="182" y="175"/>
                    </a:lnTo>
                    <a:lnTo>
                      <a:pt x="184" y="175"/>
                    </a:lnTo>
                    <a:lnTo>
                      <a:pt x="186" y="175"/>
                    </a:lnTo>
                    <a:lnTo>
                      <a:pt x="184" y="175"/>
                    </a:lnTo>
                    <a:lnTo>
                      <a:pt x="186" y="175"/>
                    </a:lnTo>
                    <a:lnTo>
                      <a:pt x="186" y="173"/>
                    </a:lnTo>
                    <a:lnTo>
                      <a:pt x="186" y="175"/>
                    </a:lnTo>
                    <a:lnTo>
                      <a:pt x="188" y="175"/>
                    </a:lnTo>
                    <a:lnTo>
                      <a:pt x="188" y="173"/>
                    </a:lnTo>
                    <a:lnTo>
                      <a:pt x="190" y="173"/>
                    </a:lnTo>
                    <a:lnTo>
                      <a:pt x="190" y="171"/>
                    </a:lnTo>
                    <a:lnTo>
                      <a:pt x="192" y="171"/>
                    </a:lnTo>
                    <a:lnTo>
                      <a:pt x="190" y="171"/>
                    </a:lnTo>
                    <a:lnTo>
                      <a:pt x="192" y="171"/>
                    </a:lnTo>
                    <a:lnTo>
                      <a:pt x="192" y="169"/>
                    </a:lnTo>
                    <a:lnTo>
                      <a:pt x="190" y="169"/>
                    </a:lnTo>
                    <a:lnTo>
                      <a:pt x="192" y="169"/>
                    </a:lnTo>
                    <a:lnTo>
                      <a:pt x="190" y="169"/>
                    </a:lnTo>
                    <a:lnTo>
                      <a:pt x="192" y="169"/>
                    </a:lnTo>
                    <a:lnTo>
                      <a:pt x="192" y="167"/>
                    </a:lnTo>
                    <a:lnTo>
                      <a:pt x="190" y="167"/>
                    </a:lnTo>
                    <a:lnTo>
                      <a:pt x="192" y="167"/>
                    </a:lnTo>
                    <a:close/>
                    <a:moveTo>
                      <a:pt x="180" y="177"/>
                    </a:moveTo>
                    <a:lnTo>
                      <a:pt x="180" y="179"/>
                    </a:lnTo>
                    <a:lnTo>
                      <a:pt x="180" y="177"/>
                    </a:lnTo>
                    <a:close/>
                    <a:moveTo>
                      <a:pt x="190" y="169"/>
                    </a:moveTo>
                    <a:lnTo>
                      <a:pt x="190" y="167"/>
                    </a:lnTo>
                    <a:lnTo>
                      <a:pt x="190" y="165"/>
                    </a:lnTo>
                    <a:lnTo>
                      <a:pt x="190" y="167"/>
                    </a:lnTo>
                    <a:lnTo>
                      <a:pt x="190" y="165"/>
                    </a:lnTo>
                    <a:lnTo>
                      <a:pt x="190" y="167"/>
                    </a:lnTo>
                    <a:lnTo>
                      <a:pt x="190" y="169"/>
                    </a:lnTo>
                    <a:close/>
                    <a:moveTo>
                      <a:pt x="190" y="167"/>
                    </a:moveTo>
                    <a:lnTo>
                      <a:pt x="188" y="169"/>
                    </a:lnTo>
                    <a:lnTo>
                      <a:pt x="188" y="167"/>
                    </a:lnTo>
                    <a:lnTo>
                      <a:pt x="188" y="169"/>
                    </a:lnTo>
                    <a:lnTo>
                      <a:pt x="190" y="169"/>
                    </a:lnTo>
                    <a:lnTo>
                      <a:pt x="190" y="167"/>
                    </a:lnTo>
                    <a:lnTo>
                      <a:pt x="190" y="169"/>
                    </a:lnTo>
                    <a:lnTo>
                      <a:pt x="188" y="169"/>
                    </a:lnTo>
                    <a:lnTo>
                      <a:pt x="188" y="171"/>
                    </a:lnTo>
                    <a:lnTo>
                      <a:pt x="188" y="169"/>
                    </a:lnTo>
                    <a:lnTo>
                      <a:pt x="188" y="167"/>
                    </a:lnTo>
                    <a:lnTo>
                      <a:pt x="188" y="165"/>
                    </a:lnTo>
                    <a:lnTo>
                      <a:pt x="188" y="167"/>
                    </a:lnTo>
                    <a:lnTo>
                      <a:pt x="190" y="167"/>
                    </a:lnTo>
                    <a:lnTo>
                      <a:pt x="190" y="165"/>
                    </a:lnTo>
                    <a:lnTo>
                      <a:pt x="190" y="167"/>
                    </a:lnTo>
                    <a:close/>
                    <a:moveTo>
                      <a:pt x="188" y="165"/>
                    </a:moveTo>
                    <a:lnTo>
                      <a:pt x="188" y="167"/>
                    </a:lnTo>
                    <a:lnTo>
                      <a:pt x="188" y="165"/>
                    </a:lnTo>
                    <a:close/>
                    <a:moveTo>
                      <a:pt x="184" y="163"/>
                    </a:moveTo>
                    <a:lnTo>
                      <a:pt x="182" y="165"/>
                    </a:lnTo>
                    <a:lnTo>
                      <a:pt x="184" y="165"/>
                    </a:lnTo>
                    <a:lnTo>
                      <a:pt x="182" y="165"/>
                    </a:lnTo>
                    <a:lnTo>
                      <a:pt x="184" y="165"/>
                    </a:lnTo>
                    <a:lnTo>
                      <a:pt x="182" y="167"/>
                    </a:lnTo>
                    <a:lnTo>
                      <a:pt x="184" y="167"/>
                    </a:lnTo>
                    <a:lnTo>
                      <a:pt x="184" y="165"/>
                    </a:lnTo>
                    <a:lnTo>
                      <a:pt x="184" y="163"/>
                    </a:lnTo>
                    <a:lnTo>
                      <a:pt x="186" y="163"/>
                    </a:lnTo>
                    <a:lnTo>
                      <a:pt x="186" y="165"/>
                    </a:lnTo>
                    <a:lnTo>
                      <a:pt x="186" y="163"/>
                    </a:lnTo>
                    <a:lnTo>
                      <a:pt x="186" y="165"/>
                    </a:lnTo>
                    <a:lnTo>
                      <a:pt x="186" y="163"/>
                    </a:lnTo>
                    <a:lnTo>
                      <a:pt x="186" y="165"/>
                    </a:lnTo>
                    <a:lnTo>
                      <a:pt x="184" y="165"/>
                    </a:lnTo>
                    <a:lnTo>
                      <a:pt x="182" y="167"/>
                    </a:lnTo>
                    <a:lnTo>
                      <a:pt x="180" y="167"/>
                    </a:lnTo>
                    <a:lnTo>
                      <a:pt x="180" y="165"/>
                    </a:lnTo>
                    <a:lnTo>
                      <a:pt x="182" y="165"/>
                    </a:lnTo>
                    <a:lnTo>
                      <a:pt x="182" y="163"/>
                    </a:lnTo>
                    <a:lnTo>
                      <a:pt x="184" y="163"/>
                    </a:lnTo>
                    <a:lnTo>
                      <a:pt x="182" y="163"/>
                    </a:lnTo>
                    <a:lnTo>
                      <a:pt x="182" y="165"/>
                    </a:lnTo>
                    <a:lnTo>
                      <a:pt x="182" y="163"/>
                    </a:lnTo>
                    <a:lnTo>
                      <a:pt x="182" y="165"/>
                    </a:lnTo>
                    <a:lnTo>
                      <a:pt x="182" y="163"/>
                    </a:lnTo>
                    <a:lnTo>
                      <a:pt x="184" y="163"/>
                    </a:lnTo>
                    <a:close/>
                    <a:moveTo>
                      <a:pt x="188" y="163"/>
                    </a:moveTo>
                    <a:lnTo>
                      <a:pt x="188" y="161"/>
                    </a:lnTo>
                    <a:lnTo>
                      <a:pt x="188" y="163"/>
                    </a:lnTo>
                    <a:close/>
                    <a:moveTo>
                      <a:pt x="188" y="163"/>
                    </a:moveTo>
                    <a:lnTo>
                      <a:pt x="190" y="163"/>
                    </a:lnTo>
                    <a:lnTo>
                      <a:pt x="188" y="161"/>
                    </a:lnTo>
                    <a:lnTo>
                      <a:pt x="188" y="163"/>
                    </a:lnTo>
                    <a:lnTo>
                      <a:pt x="188" y="161"/>
                    </a:lnTo>
                    <a:lnTo>
                      <a:pt x="188" y="160"/>
                    </a:lnTo>
                    <a:lnTo>
                      <a:pt x="188" y="161"/>
                    </a:lnTo>
                    <a:lnTo>
                      <a:pt x="190" y="161"/>
                    </a:lnTo>
                    <a:lnTo>
                      <a:pt x="190" y="160"/>
                    </a:lnTo>
                    <a:lnTo>
                      <a:pt x="188" y="160"/>
                    </a:lnTo>
                    <a:lnTo>
                      <a:pt x="190" y="160"/>
                    </a:lnTo>
                    <a:lnTo>
                      <a:pt x="190" y="161"/>
                    </a:lnTo>
                    <a:lnTo>
                      <a:pt x="190" y="160"/>
                    </a:lnTo>
                    <a:lnTo>
                      <a:pt x="190" y="161"/>
                    </a:lnTo>
                    <a:lnTo>
                      <a:pt x="188" y="161"/>
                    </a:lnTo>
                    <a:lnTo>
                      <a:pt x="190" y="161"/>
                    </a:lnTo>
                    <a:lnTo>
                      <a:pt x="190" y="163"/>
                    </a:lnTo>
                    <a:lnTo>
                      <a:pt x="188" y="163"/>
                    </a:lnTo>
                    <a:lnTo>
                      <a:pt x="188" y="161"/>
                    </a:lnTo>
                    <a:lnTo>
                      <a:pt x="188" y="163"/>
                    </a:lnTo>
                    <a:close/>
                    <a:moveTo>
                      <a:pt x="192" y="161"/>
                    </a:moveTo>
                    <a:lnTo>
                      <a:pt x="192" y="160"/>
                    </a:lnTo>
                    <a:lnTo>
                      <a:pt x="192" y="161"/>
                    </a:lnTo>
                    <a:close/>
                    <a:moveTo>
                      <a:pt x="186" y="160"/>
                    </a:moveTo>
                    <a:lnTo>
                      <a:pt x="186" y="161"/>
                    </a:lnTo>
                    <a:lnTo>
                      <a:pt x="186" y="160"/>
                    </a:lnTo>
                    <a:lnTo>
                      <a:pt x="186" y="158"/>
                    </a:lnTo>
                    <a:lnTo>
                      <a:pt x="186" y="160"/>
                    </a:lnTo>
                    <a:lnTo>
                      <a:pt x="186" y="158"/>
                    </a:lnTo>
                    <a:lnTo>
                      <a:pt x="186" y="160"/>
                    </a:lnTo>
                    <a:lnTo>
                      <a:pt x="186" y="158"/>
                    </a:lnTo>
                    <a:lnTo>
                      <a:pt x="186" y="160"/>
                    </a:lnTo>
                    <a:close/>
                    <a:moveTo>
                      <a:pt x="186" y="158"/>
                    </a:moveTo>
                    <a:lnTo>
                      <a:pt x="184" y="158"/>
                    </a:lnTo>
                    <a:lnTo>
                      <a:pt x="186" y="158"/>
                    </a:lnTo>
                    <a:close/>
                    <a:moveTo>
                      <a:pt x="198" y="161"/>
                    </a:moveTo>
                    <a:lnTo>
                      <a:pt x="198" y="160"/>
                    </a:lnTo>
                    <a:lnTo>
                      <a:pt x="198" y="161"/>
                    </a:lnTo>
                    <a:close/>
                    <a:moveTo>
                      <a:pt x="192" y="160"/>
                    </a:moveTo>
                    <a:lnTo>
                      <a:pt x="192" y="158"/>
                    </a:lnTo>
                    <a:lnTo>
                      <a:pt x="192" y="160"/>
                    </a:lnTo>
                    <a:lnTo>
                      <a:pt x="192" y="158"/>
                    </a:lnTo>
                    <a:lnTo>
                      <a:pt x="192" y="160"/>
                    </a:lnTo>
                    <a:close/>
                    <a:moveTo>
                      <a:pt x="188" y="158"/>
                    </a:moveTo>
                    <a:lnTo>
                      <a:pt x="190" y="158"/>
                    </a:lnTo>
                    <a:lnTo>
                      <a:pt x="188" y="158"/>
                    </a:lnTo>
                    <a:close/>
                    <a:moveTo>
                      <a:pt x="196" y="158"/>
                    </a:moveTo>
                    <a:lnTo>
                      <a:pt x="196" y="160"/>
                    </a:lnTo>
                    <a:lnTo>
                      <a:pt x="196" y="161"/>
                    </a:lnTo>
                    <a:lnTo>
                      <a:pt x="194" y="160"/>
                    </a:lnTo>
                    <a:lnTo>
                      <a:pt x="194" y="161"/>
                    </a:lnTo>
                    <a:lnTo>
                      <a:pt x="192" y="161"/>
                    </a:lnTo>
                    <a:lnTo>
                      <a:pt x="190" y="161"/>
                    </a:lnTo>
                    <a:lnTo>
                      <a:pt x="190" y="163"/>
                    </a:lnTo>
                    <a:lnTo>
                      <a:pt x="190" y="165"/>
                    </a:lnTo>
                    <a:lnTo>
                      <a:pt x="190" y="163"/>
                    </a:lnTo>
                    <a:lnTo>
                      <a:pt x="190" y="161"/>
                    </a:lnTo>
                    <a:lnTo>
                      <a:pt x="190" y="163"/>
                    </a:lnTo>
                    <a:lnTo>
                      <a:pt x="190" y="161"/>
                    </a:lnTo>
                    <a:lnTo>
                      <a:pt x="190" y="160"/>
                    </a:lnTo>
                    <a:lnTo>
                      <a:pt x="190" y="161"/>
                    </a:lnTo>
                    <a:lnTo>
                      <a:pt x="190" y="160"/>
                    </a:lnTo>
                    <a:lnTo>
                      <a:pt x="192" y="160"/>
                    </a:lnTo>
                    <a:lnTo>
                      <a:pt x="190" y="160"/>
                    </a:lnTo>
                    <a:lnTo>
                      <a:pt x="192" y="160"/>
                    </a:lnTo>
                    <a:lnTo>
                      <a:pt x="190" y="160"/>
                    </a:lnTo>
                    <a:lnTo>
                      <a:pt x="190" y="161"/>
                    </a:lnTo>
                    <a:lnTo>
                      <a:pt x="190" y="160"/>
                    </a:lnTo>
                    <a:lnTo>
                      <a:pt x="190" y="161"/>
                    </a:lnTo>
                    <a:lnTo>
                      <a:pt x="190" y="160"/>
                    </a:lnTo>
                    <a:lnTo>
                      <a:pt x="190" y="161"/>
                    </a:lnTo>
                    <a:lnTo>
                      <a:pt x="192" y="161"/>
                    </a:lnTo>
                    <a:lnTo>
                      <a:pt x="194" y="161"/>
                    </a:lnTo>
                    <a:lnTo>
                      <a:pt x="194" y="160"/>
                    </a:lnTo>
                    <a:lnTo>
                      <a:pt x="192" y="160"/>
                    </a:lnTo>
                    <a:lnTo>
                      <a:pt x="194" y="160"/>
                    </a:lnTo>
                    <a:lnTo>
                      <a:pt x="192" y="160"/>
                    </a:lnTo>
                    <a:lnTo>
                      <a:pt x="194" y="160"/>
                    </a:lnTo>
                    <a:lnTo>
                      <a:pt x="194" y="158"/>
                    </a:lnTo>
                    <a:lnTo>
                      <a:pt x="194" y="160"/>
                    </a:lnTo>
                    <a:lnTo>
                      <a:pt x="196" y="160"/>
                    </a:lnTo>
                    <a:lnTo>
                      <a:pt x="196" y="158"/>
                    </a:lnTo>
                    <a:lnTo>
                      <a:pt x="194" y="158"/>
                    </a:lnTo>
                    <a:lnTo>
                      <a:pt x="196" y="158"/>
                    </a:lnTo>
                    <a:close/>
                    <a:moveTo>
                      <a:pt x="190" y="158"/>
                    </a:moveTo>
                    <a:lnTo>
                      <a:pt x="188" y="158"/>
                    </a:lnTo>
                    <a:lnTo>
                      <a:pt x="190" y="158"/>
                    </a:lnTo>
                    <a:lnTo>
                      <a:pt x="192" y="158"/>
                    </a:lnTo>
                    <a:lnTo>
                      <a:pt x="192" y="156"/>
                    </a:lnTo>
                    <a:lnTo>
                      <a:pt x="192" y="158"/>
                    </a:lnTo>
                    <a:lnTo>
                      <a:pt x="190" y="158"/>
                    </a:lnTo>
                    <a:lnTo>
                      <a:pt x="192" y="158"/>
                    </a:lnTo>
                    <a:lnTo>
                      <a:pt x="190" y="158"/>
                    </a:lnTo>
                    <a:lnTo>
                      <a:pt x="190" y="160"/>
                    </a:lnTo>
                    <a:lnTo>
                      <a:pt x="190" y="158"/>
                    </a:lnTo>
                    <a:lnTo>
                      <a:pt x="190" y="160"/>
                    </a:lnTo>
                    <a:lnTo>
                      <a:pt x="190" y="158"/>
                    </a:lnTo>
                    <a:lnTo>
                      <a:pt x="188" y="158"/>
                    </a:lnTo>
                    <a:lnTo>
                      <a:pt x="190" y="158"/>
                    </a:lnTo>
                    <a:lnTo>
                      <a:pt x="188" y="158"/>
                    </a:lnTo>
                    <a:lnTo>
                      <a:pt x="190" y="158"/>
                    </a:lnTo>
                    <a:close/>
                    <a:moveTo>
                      <a:pt x="176" y="152"/>
                    </a:moveTo>
                    <a:lnTo>
                      <a:pt x="174" y="152"/>
                    </a:lnTo>
                    <a:lnTo>
                      <a:pt x="176" y="152"/>
                    </a:lnTo>
                    <a:lnTo>
                      <a:pt x="174" y="152"/>
                    </a:lnTo>
                    <a:lnTo>
                      <a:pt x="176" y="152"/>
                    </a:lnTo>
                    <a:close/>
                    <a:moveTo>
                      <a:pt x="192" y="158"/>
                    </a:moveTo>
                    <a:lnTo>
                      <a:pt x="192" y="160"/>
                    </a:lnTo>
                    <a:lnTo>
                      <a:pt x="190" y="160"/>
                    </a:lnTo>
                    <a:lnTo>
                      <a:pt x="190" y="158"/>
                    </a:lnTo>
                    <a:lnTo>
                      <a:pt x="192" y="158"/>
                    </a:lnTo>
                    <a:lnTo>
                      <a:pt x="192" y="156"/>
                    </a:lnTo>
                    <a:lnTo>
                      <a:pt x="192" y="158"/>
                    </a:lnTo>
                    <a:close/>
                    <a:moveTo>
                      <a:pt x="178" y="152"/>
                    </a:moveTo>
                    <a:lnTo>
                      <a:pt x="178" y="154"/>
                    </a:lnTo>
                    <a:lnTo>
                      <a:pt x="176" y="154"/>
                    </a:lnTo>
                    <a:lnTo>
                      <a:pt x="178" y="154"/>
                    </a:lnTo>
                    <a:lnTo>
                      <a:pt x="176" y="154"/>
                    </a:lnTo>
                    <a:lnTo>
                      <a:pt x="176" y="156"/>
                    </a:lnTo>
                    <a:lnTo>
                      <a:pt x="176" y="154"/>
                    </a:lnTo>
                    <a:lnTo>
                      <a:pt x="176" y="156"/>
                    </a:lnTo>
                    <a:lnTo>
                      <a:pt x="176" y="154"/>
                    </a:lnTo>
                    <a:lnTo>
                      <a:pt x="178" y="154"/>
                    </a:lnTo>
                    <a:lnTo>
                      <a:pt x="178" y="152"/>
                    </a:lnTo>
                    <a:lnTo>
                      <a:pt x="176" y="152"/>
                    </a:lnTo>
                    <a:lnTo>
                      <a:pt x="176" y="154"/>
                    </a:lnTo>
                    <a:lnTo>
                      <a:pt x="176" y="152"/>
                    </a:lnTo>
                    <a:lnTo>
                      <a:pt x="178" y="152"/>
                    </a:lnTo>
                    <a:lnTo>
                      <a:pt x="176" y="152"/>
                    </a:lnTo>
                    <a:lnTo>
                      <a:pt x="178" y="152"/>
                    </a:lnTo>
                    <a:lnTo>
                      <a:pt x="176" y="152"/>
                    </a:lnTo>
                    <a:lnTo>
                      <a:pt x="176" y="154"/>
                    </a:lnTo>
                    <a:lnTo>
                      <a:pt x="176" y="152"/>
                    </a:lnTo>
                    <a:lnTo>
                      <a:pt x="178" y="152"/>
                    </a:lnTo>
                    <a:close/>
                    <a:moveTo>
                      <a:pt x="199" y="160"/>
                    </a:moveTo>
                    <a:lnTo>
                      <a:pt x="199" y="158"/>
                    </a:lnTo>
                    <a:lnTo>
                      <a:pt x="199" y="160"/>
                    </a:lnTo>
                    <a:close/>
                    <a:moveTo>
                      <a:pt x="199" y="160"/>
                    </a:moveTo>
                    <a:lnTo>
                      <a:pt x="199" y="158"/>
                    </a:lnTo>
                    <a:lnTo>
                      <a:pt x="199" y="160"/>
                    </a:lnTo>
                    <a:close/>
                    <a:moveTo>
                      <a:pt x="201" y="161"/>
                    </a:moveTo>
                    <a:lnTo>
                      <a:pt x="199" y="161"/>
                    </a:lnTo>
                    <a:lnTo>
                      <a:pt x="201" y="161"/>
                    </a:lnTo>
                    <a:lnTo>
                      <a:pt x="199" y="161"/>
                    </a:lnTo>
                    <a:lnTo>
                      <a:pt x="201" y="161"/>
                    </a:lnTo>
                    <a:lnTo>
                      <a:pt x="199" y="161"/>
                    </a:lnTo>
                    <a:lnTo>
                      <a:pt x="199" y="163"/>
                    </a:lnTo>
                    <a:lnTo>
                      <a:pt x="201" y="161"/>
                    </a:lnTo>
                    <a:lnTo>
                      <a:pt x="201" y="163"/>
                    </a:lnTo>
                    <a:lnTo>
                      <a:pt x="203" y="161"/>
                    </a:lnTo>
                    <a:lnTo>
                      <a:pt x="203" y="163"/>
                    </a:lnTo>
                    <a:lnTo>
                      <a:pt x="203" y="161"/>
                    </a:lnTo>
                    <a:lnTo>
                      <a:pt x="201" y="160"/>
                    </a:lnTo>
                    <a:lnTo>
                      <a:pt x="203" y="161"/>
                    </a:lnTo>
                    <a:lnTo>
                      <a:pt x="203" y="163"/>
                    </a:lnTo>
                    <a:lnTo>
                      <a:pt x="201" y="163"/>
                    </a:lnTo>
                    <a:lnTo>
                      <a:pt x="199" y="163"/>
                    </a:lnTo>
                    <a:lnTo>
                      <a:pt x="198" y="163"/>
                    </a:lnTo>
                    <a:lnTo>
                      <a:pt x="198" y="165"/>
                    </a:lnTo>
                    <a:lnTo>
                      <a:pt x="196" y="165"/>
                    </a:lnTo>
                    <a:lnTo>
                      <a:pt x="194" y="165"/>
                    </a:lnTo>
                    <a:lnTo>
                      <a:pt x="192" y="165"/>
                    </a:lnTo>
                    <a:lnTo>
                      <a:pt x="190" y="165"/>
                    </a:lnTo>
                    <a:lnTo>
                      <a:pt x="190" y="163"/>
                    </a:lnTo>
                    <a:lnTo>
                      <a:pt x="192" y="163"/>
                    </a:lnTo>
                    <a:lnTo>
                      <a:pt x="190" y="163"/>
                    </a:lnTo>
                    <a:lnTo>
                      <a:pt x="190" y="161"/>
                    </a:lnTo>
                    <a:lnTo>
                      <a:pt x="192" y="161"/>
                    </a:lnTo>
                    <a:lnTo>
                      <a:pt x="192" y="163"/>
                    </a:lnTo>
                    <a:lnTo>
                      <a:pt x="192" y="161"/>
                    </a:lnTo>
                    <a:lnTo>
                      <a:pt x="194" y="161"/>
                    </a:lnTo>
                    <a:lnTo>
                      <a:pt x="196" y="161"/>
                    </a:lnTo>
                    <a:lnTo>
                      <a:pt x="196" y="160"/>
                    </a:lnTo>
                    <a:lnTo>
                      <a:pt x="196" y="158"/>
                    </a:lnTo>
                    <a:lnTo>
                      <a:pt x="196" y="160"/>
                    </a:lnTo>
                    <a:lnTo>
                      <a:pt x="198" y="158"/>
                    </a:lnTo>
                    <a:lnTo>
                      <a:pt x="198" y="160"/>
                    </a:lnTo>
                    <a:lnTo>
                      <a:pt x="198" y="158"/>
                    </a:lnTo>
                    <a:lnTo>
                      <a:pt x="198" y="160"/>
                    </a:lnTo>
                    <a:lnTo>
                      <a:pt x="196" y="160"/>
                    </a:lnTo>
                    <a:lnTo>
                      <a:pt x="198" y="160"/>
                    </a:lnTo>
                    <a:lnTo>
                      <a:pt x="198" y="161"/>
                    </a:lnTo>
                    <a:lnTo>
                      <a:pt x="198" y="160"/>
                    </a:lnTo>
                    <a:lnTo>
                      <a:pt x="196" y="161"/>
                    </a:lnTo>
                    <a:lnTo>
                      <a:pt x="198" y="161"/>
                    </a:lnTo>
                    <a:lnTo>
                      <a:pt x="196" y="161"/>
                    </a:lnTo>
                    <a:lnTo>
                      <a:pt x="198" y="161"/>
                    </a:lnTo>
                    <a:lnTo>
                      <a:pt x="196" y="161"/>
                    </a:lnTo>
                    <a:lnTo>
                      <a:pt x="198" y="161"/>
                    </a:lnTo>
                    <a:lnTo>
                      <a:pt x="198" y="160"/>
                    </a:lnTo>
                    <a:lnTo>
                      <a:pt x="199" y="160"/>
                    </a:lnTo>
                    <a:lnTo>
                      <a:pt x="199" y="161"/>
                    </a:lnTo>
                    <a:lnTo>
                      <a:pt x="199" y="160"/>
                    </a:lnTo>
                    <a:lnTo>
                      <a:pt x="199" y="161"/>
                    </a:lnTo>
                    <a:lnTo>
                      <a:pt x="199" y="160"/>
                    </a:lnTo>
                    <a:lnTo>
                      <a:pt x="199" y="161"/>
                    </a:lnTo>
                    <a:lnTo>
                      <a:pt x="199" y="160"/>
                    </a:lnTo>
                    <a:lnTo>
                      <a:pt x="199" y="161"/>
                    </a:lnTo>
                    <a:lnTo>
                      <a:pt x="199" y="160"/>
                    </a:lnTo>
                    <a:lnTo>
                      <a:pt x="198" y="160"/>
                    </a:lnTo>
                    <a:lnTo>
                      <a:pt x="198" y="161"/>
                    </a:lnTo>
                    <a:lnTo>
                      <a:pt x="199" y="161"/>
                    </a:lnTo>
                    <a:lnTo>
                      <a:pt x="198" y="161"/>
                    </a:lnTo>
                    <a:lnTo>
                      <a:pt x="199" y="161"/>
                    </a:lnTo>
                    <a:lnTo>
                      <a:pt x="198" y="161"/>
                    </a:lnTo>
                    <a:lnTo>
                      <a:pt x="199" y="161"/>
                    </a:lnTo>
                    <a:lnTo>
                      <a:pt x="201" y="160"/>
                    </a:lnTo>
                    <a:lnTo>
                      <a:pt x="199" y="160"/>
                    </a:lnTo>
                    <a:lnTo>
                      <a:pt x="199" y="158"/>
                    </a:lnTo>
                    <a:lnTo>
                      <a:pt x="201" y="160"/>
                    </a:lnTo>
                    <a:lnTo>
                      <a:pt x="201" y="158"/>
                    </a:lnTo>
                    <a:lnTo>
                      <a:pt x="201" y="160"/>
                    </a:lnTo>
                    <a:lnTo>
                      <a:pt x="201" y="161"/>
                    </a:lnTo>
                    <a:close/>
                    <a:moveTo>
                      <a:pt x="178" y="152"/>
                    </a:moveTo>
                    <a:lnTo>
                      <a:pt x="178" y="150"/>
                    </a:lnTo>
                    <a:lnTo>
                      <a:pt x="178" y="152"/>
                    </a:lnTo>
                    <a:lnTo>
                      <a:pt x="178" y="150"/>
                    </a:lnTo>
                    <a:lnTo>
                      <a:pt x="178" y="152"/>
                    </a:lnTo>
                    <a:lnTo>
                      <a:pt x="178" y="150"/>
                    </a:lnTo>
                    <a:lnTo>
                      <a:pt x="178" y="152"/>
                    </a:lnTo>
                    <a:close/>
                    <a:moveTo>
                      <a:pt x="196" y="156"/>
                    </a:moveTo>
                    <a:lnTo>
                      <a:pt x="196" y="158"/>
                    </a:lnTo>
                    <a:lnTo>
                      <a:pt x="196" y="156"/>
                    </a:lnTo>
                    <a:lnTo>
                      <a:pt x="196" y="158"/>
                    </a:lnTo>
                    <a:lnTo>
                      <a:pt x="196" y="156"/>
                    </a:lnTo>
                    <a:lnTo>
                      <a:pt x="196" y="158"/>
                    </a:lnTo>
                    <a:lnTo>
                      <a:pt x="198" y="158"/>
                    </a:lnTo>
                    <a:lnTo>
                      <a:pt x="198" y="156"/>
                    </a:lnTo>
                    <a:lnTo>
                      <a:pt x="198" y="158"/>
                    </a:lnTo>
                    <a:lnTo>
                      <a:pt x="196" y="158"/>
                    </a:lnTo>
                    <a:lnTo>
                      <a:pt x="198" y="158"/>
                    </a:lnTo>
                    <a:lnTo>
                      <a:pt x="198" y="160"/>
                    </a:lnTo>
                    <a:lnTo>
                      <a:pt x="198" y="158"/>
                    </a:lnTo>
                    <a:lnTo>
                      <a:pt x="196" y="158"/>
                    </a:lnTo>
                    <a:lnTo>
                      <a:pt x="196" y="160"/>
                    </a:lnTo>
                    <a:lnTo>
                      <a:pt x="196" y="158"/>
                    </a:lnTo>
                    <a:lnTo>
                      <a:pt x="194" y="158"/>
                    </a:lnTo>
                    <a:lnTo>
                      <a:pt x="196" y="158"/>
                    </a:lnTo>
                    <a:lnTo>
                      <a:pt x="194" y="158"/>
                    </a:lnTo>
                    <a:lnTo>
                      <a:pt x="194" y="156"/>
                    </a:lnTo>
                    <a:lnTo>
                      <a:pt x="196" y="156"/>
                    </a:lnTo>
                    <a:lnTo>
                      <a:pt x="194" y="156"/>
                    </a:lnTo>
                    <a:lnTo>
                      <a:pt x="196" y="156"/>
                    </a:lnTo>
                    <a:close/>
                    <a:moveTo>
                      <a:pt x="174" y="150"/>
                    </a:moveTo>
                    <a:lnTo>
                      <a:pt x="176" y="150"/>
                    </a:lnTo>
                    <a:lnTo>
                      <a:pt x="174" y="150"/>
                    </a:lnTo>
                    <a:close/>
                    <a:moveTo>
                      <a:pt x="176" y="150"/>
                    </a:moveTo>
                    <a:lnTo>
                      <a:pt x="176" y="148"/>
                    </a:lnTo>
                    <a:lnTo>
                      <a:pt x="176" y="150"/>
                    </a:lnTo>
                    <a:lnTo>
                      <a:pt x="176" y="148"/>
                    </a:lnTo>
                    <a:lnTo>
                      <a:pt x="176" y="150"/>
                    </a:lnTo>
                    <a:close/>
                    <a:moveTo>
                      <a:pt x="176" y="148"/>
                    </a:moveTo>
                    <a:lnTo>
                      <a:pt x="176" y="150"/>
                    </a:lnTo>
                    <a:lnTo>
                      <a:pt x="178" y="150"/>
                    </a:lnTo>
                    <a:lnTo>
                      <a:pt x="178" y="152"/>
                    </a:lnTo>
                    <a:lnTo>
                      <a:pt x="176" y="152"/>
                    </a:lnTo>
                    <a:lnTo>
                      <a:pt x="176" y="150"/>
                    </a:lnTo>
                    <a:lnTo>
                      <a:pt x="176" y="152"/>
                    </a:lnTo>
                    <a:lnTo>
                      <a:pt x="176" y="150"/>
                    </a:lnTo>
                    <a:lnTo>
                      <a:pt x="176" y="148"/>
                    </a:lnTo>
                    <a:close/>
                    <a:moveTo>
                      <a:pt x="176" y="150"/>
                    </a:moveTo>
                    <a:lnTo>
                      <a:pt x="176" y="148"/>
                    </a:lnTo>
                    <a:lnTo>
                      <a:pt x="176" y="150"/>
                    </a:lnTo>
                    <a:close/>
                    <a:moveTo>
                      <a:pt x="199" y="156"/>
                    </a:moveTo>
                    <a:lnTo>
                      <a:pt x="199" y="158"/>
                    </a:lnTo>
                    <a:lnTo>
                      <a:pt x="198" y="158"/>
                    </a:lnTo>
                    <a:lnTo>
                      <a:pt x="199" y="158"/>
                    </a:lnTo>
                    <a:lnTo>
                      <a:pt x="199" y="156"/>
                    </a:lnTo>
                    <a:close/>
                    <a:moveTo>
                      <a:pt x="184" y="150"/>
                    </a:moveTo>
                    <a:lnTo>
                      <a:pt x="182" y="150"/>
                    </a:lnTo>
                    <a:lnTo>
                      <a:pt x="184" y="150"/>
                    </a:lnTo>
                    <a:close/>
                    <a:moveTo>
                      <a:pt x="196" y="156"/>
                    </a:moveTo>
                    <a:lnTo>
                      <a:pt x="194" y="156"/>
                    </a:lnTo>
                    <a:lnTo>
                      <a:pt x="196" y="154"/>
                    </a:lnTo>
                    <a:lnTo>
                      <a:pt x="196" y="156"/>
                    </a:lnTo>
                    <a:close/>
                    <a:moveTo>
                      <a:pt x="199" y="156"/>
                    </a:moveTo>
                    <a:lnTo>
                      <a:pt x="198" y="156"/>
                    </a:lnTo>
                    <a:lnTo>
                      <a:pt x="198" y="158"/>
                    </a:lnTo>
                    <a:lnTo>
                      <a:pt x="198" y="156"/>
                    </a:lnTo>
                    <a:lnTo>
                      <a:pt x="199" y="156"/>
                    </a:lnTo>
                    <a:lnTo>
                      <a:pt x="198" y="156"/>
                    </a:lnTo>
                    <a:lnTo>
                      <a:pt x="199" y="156"/>
                    </a:lnTo>
                    <a:lnTo>
                      <a:pt x="198" y="156"/>
                    </a:lnTo>
                    <a:lnTo>
                      <a:pt x="199" y="156"/>
                    </a:lnTo>
                    <a:close/>
                    <a:moveTo>
                      <a:pt x="199" y="156"/>
                    </a:moveTo>
                    <a:lnTo>
                      <a:pt x="199" y="154"/>
                    </a:lnTo>
                    <a:lnTo>
                      <a:pt x="201" y="154"/>
                    </a:lnTo>
                    <a:lnTo>
                      <a:pt x="199" y="154"/>
                    </a:lnTo>
                    <a:lnTo>
                      <a:pt x="199" y="156"/>
                    </a:lnTo>
                    <a:lnTo>
                      <a:pt x="201" y="156"/>
                    </a:lnTo>
                    <a:lnTo>
                      <a:pt x="199" y="156"/>
                    </a:lnTo>
                    <a:close/>
                    <a:moveTo>
                      <a:pt x="201" y="154"/>
                    </a:moveTo>
                    <a:lnTo>
                      <a:pt x="199" y="154"/>
                    </a:lnTo>
                    <a:lnTo>
                      <a:pt x="201" y="154"/>
                    </a:lnTo>
                    <a:close/>
                    <a:moveTo>
                      <a:pt x="180" y="146"/>
                    </a:moveTo>
                    <a:lnTo>
                      <a:pt x="180" y="148"/>
                    </a:lnTo>
                    <a:lnTo>
                      <a:pt x="178" y="148"/>
                    </a:lnTo>
                    <a:lnTo>
                      <a:pt x="178" y="146"/>
                    </a:lnTo>
                    <a:lnTo>
                      <a:pt x="178" y="148"/>
                    </a:lnTo>
                    <a:lnTo>
                      <a:pt x="178" y="146"/>
                    </a:lnTo>
                    <a:lnTo>
                      <a:pt x="180" y="146"/>
                    </a:lnTo>
                    <a:lnTo>
                      <a:pt x="180" y="148"/>
                    </a:lnTo>
                    <a:lnTo>
                      <a:pt x="180" y="146"/>
                    </a:lnTo>
                    <a:lnTo>
                      <a:pt x="178" y="146"/>
                    </a:lnTo>
                    <a:lnTo>
                      <a:pt x="180" y="146"/>
                    </a:lnTo>
                    <a:close/>
                    <a:moveTo>
                      <a:pt x="199" y="154"/>
                    </a:moveTo>
                    <a:lnTo>
                      <a:pt x="198" y="152"/>
                    </a:lnTo>
                    <a:lnTo>
                      <a:pt x="198" y="154"/>
                    </a:lnTo>
                    <a:lnTo>
                      <a:pt x="199" y="154"/>
                    </a:lnTo>
                    <a:lnTo>
                      <a:pt x="198" y="154"/>
                    </a:lnTo>
                    <a:lnTo>
                      <a:pt x="199" y="154"/>
                    </a:lnTo>
                    <a:lnTo>
                      <a:pt x="198" y="154"/>
                    </a:lnTo>
                    <a:lnTo>
                      <a:pt x="198" y="152"/>
                    </a:lnTo>
                    <a:lnTo>
                      <a:pt x="199" y="152"/>
                    </a:lnTo>
                    <a:lnTo>
                      <a:pt x="199" y="154"/>
                    </a:lnTo>
                    <a:close/>
                    <a:moveTo>
                      <a:pt x="203" y="154"/>
                    </a:moveTo>
                    <a:lnTo>
                      <a:pt x="201" y="154"/>
                    </a:lnTo>
                    <a:lnTo>
                      <a:pt x="203" y="154"/>
                    </a:lnTo>
                    <a:close/>
                    <a:moveTo>
                      <a:pt x="182" y="148"/>
                    </a:moveTo>
                    <a:lnTo>
                      <a:pt x="182" y="146"/>
                    </a:lnTo>
                    <a:lnTo>
                      <a:pt x="182" y="148"/>
                    </a:lnTo>
                    <a:close/>
                    <a:moveTo>
                      <a:pt x="188" y="150"/>
                    </a:moveTo>
                    <a:lnTo>
                      <a:pt x="188" y="152"/>
                    </a:lnTo>
                    <a:lnTo>
                      <a:pt x="186" y="152"/>
                    </a:lnTo>
                    <a:lnTo>
                      <a:pt x="186" y="154"/>
                    </a:lnTo>
                    <a:lnTo>
                      <a:pt x="186" y="156"/>
                    </a:lnTo>
                    <a:lnTo>
                      <a:pt x="186" y="158"/>
                    </a:lnTo>
                    <a:lnTo>
                      <a:pt x="186" y="156"/>
                    </a:lnTo>
                    <a:lnTo>
                      <a:pt x="186" y="158"/>
                    </a:lnTo>
                    <a:lnTo>
                      <a:pt x="186" y="156"/>
                    </a:lnTo>
                    <a:lnTo>
                      <a:pt x="186" y="158"/>
                    </a:lnTo>
                    <a:lnTo>
                      <a:pt x="186" y="156"/>
                    </a:lnTo>
                    <a:lnTo>
                      <a:pt x="186" y="158"/>
                    </a:lnTo>
                    <a:lnTo>
                      <a:pt x="186" y="160"/>
                    </a:lnTo>
                    <a:lnTo>
                      <a:pt x="184" y="160"/>
                    </a:lnTo>
                    <a:lnTo>
                      <a:pt x="184" y="158"/>
                    </a:lnTo>
                    <a:lnTo>
                      <a:pt x="184" y="160"/>
                    </a:lnTo>
                    <a:lnTo>
                      <a:pt x="184" y="158"/>
                    </a:lnTo>
                    <a:lnTo>
                      <a:pt x="186" y="158"/>
                    </a:lnTo>
                    <a:lnTo>
                      <a:pt x="184" y="158"/>
                    </a:lnTo>
                    <a:lnTo>
                      <a:pt x="184" y="156"/>
                    </a:lnTo>
                    <a:lnTo>
                      <a:pt x="182" y="154"/>
                    </a:lnTo>
                    <a:lnTo>
                      <a:pt x="180" y="156"/>
                    </a:lnTo>
                    <a:lnTo>
                      <a:pt x="180" y="154"/>
                    </a:lnTo>
                    <a:lnTo>
                      <a:pt x="178" y="154"/>
                    </a:lnTo>
                    <a:lnTo>
                      <a:pt x="180" y="154"/>
                    </a:lnTo>
                    <a:lnTo>
                      <a:pt x="180" y="152"/>
                    </a:lnTo>
                    <a:lnTo>
                      <a:pt x="180" y="154"/>
                    </a:lnTo>
                    <a:lnTo>
                      <a:pt x="180" y="152"/>
                    </a:lnTo>
                    <a:lnTo>
                      <a:pt x="178" y="152"/>
                    </a:lnTo>
                    <a:lnTo>
                      <a:pt x="178" y="150"/>
                    </a:lnTo>
                    <a:lnTo>
                      <a:pt x="178" y="152"/>
                    </a:lnTo>
                    <a:lnTo>
                      <a:pt x="180" y="152"/>
                    </a:lnTo>
                    <a:lnTo>
                      <a:pt x="178" y="152"/>
                    </a:lnTo>
                    <a:lnTo>
                      <a:pt x="180" y="152"/>
                    </a:lnTo>
                    <a:lnTo>
                      <a:pt x="178" y="152"/>
                    </a:lnTo>
                    <a:lnTo>
                      <a:pt x="180" y="152"/>
                    </a:lnTo>
                    <a:lnTo>
                      <a:pt x="180" y="150"/>
                    </a:lnTo>
                    <a:lnTo>
                      <a:pt x="180" y="152"/>
                    </a:lnTo>
                    <a:lnTo>
                      <a:pt x="180" y="150"/>
                    </a:lnTo>
                    <a:lnTo>
                      <a:pt x="178" y="150"/>
                    </a:lnTo>
                    <a:lnTo>
                      <a:pt x="178" y="148"/>
                    </a:lnTo>
                    <a:lnTo>
                      <a:pt x="178" y="150"/>
                    </a:lnTo>
                    <a:lnTo>
                      <a:pt x="180" y="150"/>
                    </a:lnTo>
                    <a:lnTo>
                      <a:pt x="180" y="148"/>
                    </a:lnTo>
                    <a:lnTo>
                      <a:pt x="180" y="150"/>
                    </a:lnTo>
                    <a:lnTo>
                      <a:pt x="182" y="148"/>
                    </a:lnTo>
                    <a:lnTo>
                      <a:pt x="180" y="148"/>
                    </a:lnTo>
                    <a:lnTo>
                      <a:pt x="182" y="148"/>
                    </a:lnTo>
                    <a:lnTo>
                      <a:pt x="182" y="150"/>
                    </a:lnTo>
                    <a:lnTo>
                      <a:pt x="182" y="148"/>
                    </a:lnTo>
                    <a:lnTo>
                      <a:pt x="180" y="150"/>
                    </a:lnTo>
                    <a:lnTo>
                      <a:pt x="182" y="150"/>
                    </a:lnTo>
                    <a:lnTo>
                      <a:pt x="180" y="150"/>
                    </a:lnTo>
                    <a:lnTo>
                      <a:pt x="182" y="150"/>
                    </a:lnTo>
                    <a:lnTo>
                      <a:pt x="180" y="150"/>
                    </a:lnTo>
                    <a:lnTo>
                      <a:pt x="182" y="150"/>
                    </a:lnTo>
                    <a:lnTo>
                      <a:pt x="182" y="152"/>
                    </a:lnTo>
                    <a:lnTo>
                      <a:pt x="184" y="152"/>
                    </a:lnTo>
                    <a:lnTo>
                      <a:pt x="184" y="150"/>
                    </a:lnTo>
                    <a:lnTo>
                      <a:pt x="184" y="152"/>
                    </a:lnTo>
                    <a:lnTo>
                      <a:pt x="184" y="150"/>
                    </a:lnTo>
                    <a:lnTo>
                      <a:pt x="184" y="148"/>
                    </a:lnTo>
                    <a:lnTo>
                      <a:pt x="182" y="148"/>
                    </a:lnTo>
                    <a:lnTo>
                      <a:pt x="184" y="148"/>
                    </a:lnTo>
                    <a:lnTo>
                      <a:pt x="182" y="148"/>
                    </a:lnTo>
                    <a:lnTo>
                      <a:pt x="184" y="148"/>
                    </a:lnTo>
                    <a:lnTo>
                      <a:pt x="184" y="150"/>
                    </a:lnTo>
                    <a:lnTo>
                      <a:pt x="186" y="148"/>
                    </a:lnTo>
                    <a:lnTo>
                      <a:pt x="186" y="150"/>
                    </a:lnTo>
                    <a:lnTo>
                      <a:pt x="186" y="148"/>
                    </a:lnTo>
                    <a:lnTo>
                      <a:pt x="186" y="150"/>
                    </a:lnTo>
                    <a:lnTo>
                      <a:pt x="184" y="150"/>
                    </a:lnTo>
                    <a:lnTo>
                      <a:pt x="186" y="150"/>
                    </a:lnTo>
                    <a:lnTo>
                      <a:pt x="186" y="148"/>
                    </a:lnTo>
                    <a:lnTo>
                      <a:pt x="186" y="150"/>
                    </a:lnTo>
                    <a:lnTo>
                      <a:pt x="186" y="148"/>
                    </a:lnTo>
                    <a:lnTo>
                      <a:pt x="186" y="150"/>
                    </a:lnTo>
                    <a:lnTo>
                      <a:pt x="186" y="148"/>
                    </a:lnTo>
                    <a:lnTo>
                      <a:pt x="184" y="150"/>
                    </a:lnTo>
                    <a:lnTo>
                      <a:pt x="184" y="148"/>
                    </a:lnTo>
                    <a:lnTo>
                      <a:pt x="186" y="148"/>
                    </a:lnTo>
                    <a:lnTo>
                      <a:pt x="186" y="150"/>
                    </a:lnTo>
                    <a:lnTo>
                      <a:pt x="188" y="150"/>
                    </a:lnTo>
                    <a:close/>
                    <a:moveTo>
                      <a:pt x="201" y="154"/>
                    </a:moveTo>
                    <a:lnTo>
                      <a:pt x="201" y="152"/>
                    </a:lnTo>
                    <a:lnTo>
                      <a:pt x="201" y="154"/>
                    </a:lnTo>
                    <a:close/>
                    <a:moveTo>
                      <a:pt x="196" y="152"/>
                    </a:moveTo>
                    <a:lnTo>
                      <a:pt x="196" y="150"/>
                    </a:lnTo>
                    <a:lnTo>
                      <a:pt x="196" y="152"/>
                    </a:lnTo>
                    <a:lnTo>
                      <a:pt x="196" y="150"/>
                    </a:lnTo>
                    <a:lnTo>
                      <a:pt x="196" y="152"/>
                    </a:lnTo>
                    <a:lnTo>
                      <a:pt x="196" y="150"/>
                    </a:lnTo>
                    <a:lnTo>
                      <a:pt x="196" y="152"/>
                    </a:lnTo>
                    <a:close/>
                    <a:moveTo>
                      <a:pt x="199" y="152"/>
                    </a:moveTo>
                    <a:lnTo>
                      <a:pt x="198" y="152"/>
                    </a:lnTo>
                    <a:lnTo>
                      <a:pt x="199" y="152"/>
                    </a:lnTo>
                    <a:lnTo>
                      <a:pt x="198" y="152"/>
                    </a:lnTo>
                    <a:lnTo>
                      <a:pt x="199" y="152"/>
                    </a:lnTo>
                    <a:close/>
                    <a:moveTo>
                      <a:pt x="188" y="158"/>
                    </a:moveTo>
                    <a:lnTo>
                      <a:pt x="186" y="160"/>
                    </a:lnTo>
                    <a:lnTo>
                      <a:pt x="188" y="160"/>
                    </a:lnTo>
                    <a:lnTo>
                      <a:pt x="186" y="160"/>
                    </a:lnTo>
                    <a:lnTo>
                      <a:pt x="188" y="160"/>
                    </a:lnTo>
                    <a:lnTo>
                      <a:pt x="188" y="158"/>
                    </a:lnTo>
                    <a:lnTo>
                      <a:pt x="188" y="160"/>
                    </a:lnTo>
                    <a:lnTo>
                      <a:pt x="188" y="158"/>
                    </a:lnTo>
                    <a:lnTo>
                      <a:pt x="188" y="160"/>
                    </a:lnTo>
                    <a:lnTo>
                      <a:pt x="188" y="158"/>
                    </a:lnTo>
                    <a:lnTo>
                      <a:pt x="190" y="160"/>
                    </a:lnTo>
                    <a:lnTo>
                      <a:pt x="188" y="160"/>
                    </a:lnTo>
                    <a:lnTo>
                      <a:pt x="190" y="160"/>
                    </a:lnTo>
                    <a:lnTo>
                      <a:pt x="188" y="160"/>
                    </a:lnTo>
                    <a:lnTo>
                      <a:pt x="188" y="161"/>
                    </a:lnTo>
                    <a:lnTo>
                      <a:pt x="186" y="161"/>
                    </a:lnTo>
                    <a:lnTo>
                      <a:pt x="188" y="161"/>
                    </a:lnTo>
                    <a:lnTo>
                      <a:pt x="188" y="160"/>
                    </a:lnTo>
                    <a:lnTo>
                      <a:pt x="188" y="161"/>
                    </a:lnTo>
                    <a:lnTo>
                      <a:pt x="188" y="160"/>
                    </a:lnTo>
                    <a:lnTo>
                      <a:pt x="188" y="161"/>
                    </a:lnTo>
                    <a:lnTo>
                      <a:pt x="188" y="163"/>
                    </a:lnTo>
                    <a:lnTo>
                      <a:pt x="188" y="165"/>
                    </a:lnTo>
                    <a:lnTo>
                      <a:pt x="186" y="163"/>
                    </a:lnTo>
                    <a:lnTo>
                      <a:pt x="188" y="163"/>
                    </a:lnTo>
                    <a:lnTo>
                      <a:pt x="186" y="163"/>
                    </a:lnTo>
                    <a:lnTo>
                      <a:pt x="186" y="161"/>
                    </a:lnTo>
                    <a:lnTo>
                      <a:pt x="186" y="160"/>
                    </a:lnTo>
                    <a:lnTo>
                      <a:pt x="186" y="161"/>
                    </a:lnTo>
                    <a:lnTo>
                      <a:pt x="186" y="160"/>
                    </a:lnTo>
                    <a:lnTo>
                      <a:pt x="186" y="161"/>
                    </a:lnTo>
                    <a:lnTo>
                      <a:pt x="186" y="160"/>
                    </a:lnTo>
                    <a:lnTo>
                      <a:pt x="186" y="158"/>
                    </a:lnTo>
                    <a:lnTo>
                      <a:pt x="188" y="158"/>
                    </a:lnTo>
                    <a:lnTo>
                      <a:pt x="186" y="158"/>
                    </a:lnTo>
                    <a:lnTo>
                      <a:pt x="186" y="156"/>
                    </a:lnTo>
                    <a:lnTo>
                      <a:pt x="186" y="154"/>
                    </a:lnTo>
                    <a:lnTo>
                      <a:pt x="186" y="156"/>
                    </a:lnTo>
                    <a:lnTo>
                      <a:pt x="186" y="154"/>
                    </a:lnTo>
                    <a:lnTo>
                      <a:pt x="188" y="152"/>
                    </a:lnTo>
                    <a:lnTo>
                      <a:pt x="186" y="152"/>
                    </a:lnTo>
                    <a:lnTo>
                      <a:pt x="186" y="154"/>
                    </a:lnTo>
                    <a:lnTo>
                      <a:pt x="186" y="152"/>
                    </a:lnTo>
                    <a:lnTo>
                      <a:pt x="188" y="152"/>
                    </a:lnTo>
                    <a:lnTo>
                      <a:pt x="188" y="150"/>
                    </a:lnTo>
                    <a:lnTo>
                      <a:pt x="190" y="150"/>
                    </a:lnTo>
                    <a:lnTo>
                      <a:pt x="188" y="150"/>
                    </a:lnTo>
                    <a:lnTo>
                      <a:pt x="190" y="150"/>
                    </a:lnTo>
                    <a:lnTo>
                      <a:pt x="188" y="150"/>
                    </a:lnTo>
                    <a:lnTo>
                      <a:pt x="190" y="150"/>
                    </a:lnTo>
                    <a:lnTo>
                      <a:pt x="190" y="152"/>
                    </a:lnTo>
                    <a:lnTo>
                      <a:pt x="190" y="150"/>
                    </a:lnTo>
                    <a:lnTo>
                      <a:pt x="190" y="152"/>
                    </a:lnTo>
                    <a:lnTo>
                      <a:pt x="190" y="150"/>
                    </a:lnTo>
                    <a:lnTo>
                      <a:pt x="192" y="150"/>
                    </a:lnTo>
                    <a:lnTo>
                      <a:pt x="190" y="150"/>
                    </a:lnTo>
                    <a:lnTo>
                      <a:pt x="190" y="152"/>
                    </a:lnTo>
                    <a:lnTo>
                      <a:pt x="192" y="152"/>
                    </a:lnTo>
                    <a:lnTo>
                      <a:pt x="192" y="150"/>
                    </a:lnTo>
                    <a:lnTo>
                      <a:pt x="192" y="152"/>
                    </a:lnTo>
                    <a:lnTo>
                      <a:pt x="192" y="150"/>
                    </a:lnTo>
                    <a:lnTo>
                      <a:pt x="194" y="150"/>
                    </a:lnTo>
                    <a:lnTo>
                      <a:pt x="192" y="150"/>
                    </a:lnTo>
                    <a:lnTo>
                      <a:pt x="192" y="152"/>
                    </a:lnTo>
                    <a:lnTo>
                      <a:pt x="192" y="150"/>
                    </a:lnTo>
                    <a:lnTo>
                      <a:pt x="192" y="152"/>
                    </a:lnTo>
                    <a:lnTo>
                      <a:pt x="194" y="152"/>
                    </a:lnTo>
                    <a:lnTo>
                      <a:pt x="194" y="150"/>
                    </a:lnTo>
                    <a:lnTo>
                      <a:pt x="194" y="152"/>
                    </a:lnTo>
                    <a:lnTo>
                      <a:pt x="194" y="150"/>
                    </a:lnTo>
                    <a:lnTo>
                      <a:pt x="194" y="152"/>
                    </a:lnTo>
                    <a:lnTo>
                      <a:pt x="192" y="152"/>
                    </a:lnTo>
                    <a:lnTo>
                      <a:pt x="194" y="152"/>
                    </a:lnTo>
                    <a:lnTo>
                      <a:pt x="192" y="152"/>
                    </a:lnTo>
                    <a:lnTo>
                      <a:pt x="194" y="152"/>
                    </a:lnTo>
                    <a:lnTo>
                      <a:pt x="196" y="152"/>
                    </a:lnTo>
                    <a:lnTo>
                      <a:pt x="194" y="152"/>
                    </a:lnTo>
                    <a:lnTo>
                      <a:pt x="196" y="152"/>
                    </a:lnTo>
                    <a:lnTo>
                      <a:pt x="196" y="150"/>
                    </a:lnTo>
                    <a:lnTo>
                      <a:pt x="196" y="152"/>
                    </a:lnTo>
                    <a:lnTo>
                      <a:pt x="194" y="154"/>
                    </a:lnTo>
                    <a:lnTo>
                      <a:pt x="192" y="152"/>
                    </a:lnTo>
                    <a:lnTo>
                      <a:pt x="192" y="154"/>
                    </a:lnTo>
                    <a:lnTo>
                      <a:pt x="192" y="152"/>
                    </a:lnTo>
                    <a:lnTo>
                      <a:pt x="192" y="154"/>
                    </a:lnTo>
                    <a:lnTo>
                      <a:pt x="192" y="156"/>
                    </a:lnTo>
                    <a:lnTo>
                      <a:pt x="190" y="156"/>
                    </a:lnTo>
                    <a:lnTo>
                      <a:pt x="188" y="158"/>
                    </a:lnTo>
                    <a:close/>
                    <a:moveTo>
                      <a:pt x="198" y="150"/>
                    </a:moveTo>
                    <a:lnTo>
                      <a:pt x="198" y="152"/>
                    </a:lnTo>
                    <a:lnTo>
                      <a:pt x="196" y="152"/>
                    </a:lnTo>
                    <a:lnTo>
                      <a:pt x="198" y="152"/>
                    </a:lnTo>
                    <a:lnTo>
                      <a:pt x="196" y="152"/>
                    </a:lnTo>
                    <a:lnTo>
                      <a:pt x="196" y="154"/>
                    </a:lnTo>
                    <a:lnTo>
                      <a:pt x="196" y="152"/>
                    </a:lnTo>
                    <a:lnTo>
                      <a:pt x="196" y="154"/>
                    </a:lnTo>
                    <a:lnTo>
                      <a:pt x="196" y="152"/>
                    </a:lnTo>
                    <a:lnTo>
                      <a:pt x="198" y="152"/>
                    </a:lnTo>
                    <a:lnTo>
                      <a:pt x="196" y="154"/>
                    </a:lnTo>
                    <a:lnTo>
                      <a:pt x="196" y="152"/>
                    </a:lnTo>
                    <a:lnTo>
                      <a:pt x="196" y="150"/>
                    </a:lnTo>
                    <a:lnTo>
                      <a:pt x="196" y="152"/>
                    </a:lnTo>
                    <a:lnTo>
                      <a:pt x="198" y="152"/>
                    </a:lnTo>
                    <a:lnTo>
                      <a:pt x="198" y="150"/>
                    </a:lnTo>
                    <a:close/>
                    <a:moveTo>
                      <a:pt x="201" y="158"/>
                    </a:moveTo>
                    <a:lnTo>
                      <a:pt x="199" y="158"/>
                    </a:lnTo>
                    <a:lnTo>
                      <a:pt x="199" y="156"/>
                    </a:lnTo>
                    <a:lnTo>
                      <a:pt x="199" y="158"/>
                    </a:lnTo>
                    <a:lnTo>
                      <a:pt x="201" y="156"/>
                    </a:lnTo>
                    <a:lnTo>
                      <a:pt x="201" y="158"/>
                    </a:lnTo>
                    <a:lnTo>
                      <a:pt x="201" y="156"/>
                    </a:lnTo>
                    <a:lnTo>
                      <a:pt x="201" y="158"/>
                    </a:lnTo>
                    <a:lnTo>
                      <a:pt x="201" y="156"/>
                    </a:lnTo>
                    <a:lnTo>
                      <a:pt x="201" y="158"/>
                    </a:lnTo>
                    <a:lnTo>
                      <a:pt x="203" y="156"/>
                    </a:lnTo>
                    <a:lnTo>
                      <a:pt x="201" y="156"/>
                    </a:lnTo>
                    <a:lnTo>
                      <a:pt x="203" y="156"/>
                    </a:lnTo>
                    <a:lnTo>
                      <a:pt x="201" y="156"/>
                    </a:lnTo>
                    <a:lnTo>
                      <a:pt x="203" y="156"/>
                    </a:lnTo>
                    <a:lnTo>
                      <a:pt x="203" y="154"/>
                    </a:lnTo>
                    <a:lnTo>
                      <a:pt x="203" y="156"/>
                    </a:lnTo>
                    <a:lnTo>
                      <a:pt x="203" y="154"/>
                    </a:lnTo>
                    <a:lnTo>
                      <a:pt x="201" y="154"/>
                    </a:lnTo>
                    <a:lnTo>
                      <a:pt x="203" y="154"/>
                    </a:lnTo>
                    <a:lnTo>
                      <a:pt x="201" y="154"/>
                    </a:lnTo>
                    <a:lnTo>
                      <a:pt x="203" y="154"/>
                    </a:lnTo>
                    <a:lnTo>
                      <a:pt x="201" y="154"/>
                    </a:lnTo>
                    <a:lnTo>
                      <a:pt x="203" y="154"/>
                    </a:lnTo>
                    <a:lnTo>
                      <a:pt x="203" y="152"/>
                    </a:lnTo>
                    <a:lnTo>
                      <a:pt x="203" y="154"/>
                    </a:lnTo>
                    <a:lnTo>
                      <a:pt x="203" y="156"/>
                    </a:lnTo>
                    <a:lnTo>
                      <a:pt x="203" y="154"/>
                    </a:lnTo>
                    <a:lnTo>
                      <a:pt x="205" y="154"/>
                    </a:lnTo>
                    <a:lnTo>
                      <a:pt x="203" y="154"/>
                    </a:lnTo>
                    <a:lnTo>
                      <a:pt x="205" y="154"/>
                    </a:lnTo>
                    <a:lnTo>
                      <a:pt x="203" y="154"/>
                    </a:lnTo>
                    <a:lnTo>
                      <a:pt x="203" y="152"/>
                    </a:lnTo>
                    <a:lnTo>
                      <a:pt x="203" y="154"/>
                    </a:lnTo>
                    <a:lnTo>
                      <a:pt x="203" y="152"/>
                    </a:lnTo>
                    <a:lnTo>
                      <a:pt x="203" y="154"/>
                    </a:lnTo>
                    <a:lnTo>
                      <a:pt x="205" y="154"/>
                    </a:lnTo>
                    <a:lnTo>
                      <a:pt x="203" y="152"/>
                    </a:lnTo>
                    <a:lnTo>
                      <a:pt x="205" y="154"/>
                    </a:lnTo>
                    <a:lnTo>
                      <a:pt x="205" y="152"/>
                    </a:lnTo>
                    <a:lnTo>
                      <a:pt x="203" y="152"/>
                    </a:lnTo>
                    <a:lnTo>
                      <a:pt x="205" y="152"/>
                    </a:lnTo>
                    <a:lnTo>
                      <a:pt x="205" y="154"/>
                    </a:lnTo>
                    <a:lnTo>
                      <a:pt x="203" y="154"/>
                    </a:lnTo>
                    <a:lnTo>
                      <a:pt x="203" y="156"/>
                    </a:lnTo>
                    <a:lnTo>
                      <a:pt x="201" y="158"/>
                    </a:lnTo>
                    <a:close/>
                    <a:moveTo>
                      <a:pt x="201" y="152"/>
                    </a:moveTo>
                    <a:lnTo>
                      <a:pt x="201" y="150"/>
                    </a:lnTo>
                    <a:lnTo>
                      <a:pt x="201" y="152"/>
                    </a:lnTo>
                    <a:close/>
                    <a:moveTo>
                      <a:pt x="201" y="150"/>
                    </a:moveTo>
                    <a:lnTo>
                      <a:pt x="201" y="152"/>
                    </a:lnTo>
                    <a:lnTo>
                      <a:pt x="201" y="150"/>
                    </a:lnTo>
                    <a:lnTo>
                      <a:pt x="201" y="152"/>
                    </a:lnTo>
                    <a:lnTo>
                      <a:pt x="201" y="150"/>
                    </a:lnTo>
                    <a:close/>
                    <a:moveTo>
                      <a:pt x="194" y="150"/>
                    </a:moveTo>
                    <a:lnTo>
                      <a:pt x="194" y="148"/>
                    </a:lnTo>
                    <a:lnTo>
                      <a:pt x="194" y="150"/>
                    </a:lnTo>
                    <a:lnTo>
                      <a:pt x="196" y="150"/>
                    </a:lnTo>
                    <a:lnTo>
                      <a:pt x="194" y="150"/>
                    </a:lnTo>
                    <a:lnTo>
                      <a:pt x="196" y="150"/>
                    </a:lnTo>
                    <a:lnTo>
                      <a:pt x="196" y="148"/>
                    </a:lnTo>
                    <a:lnTo>
                      <a:pt x="196" y="150"/>
                    </a:lnTo>
                    <a:lnTo>
                      <a:pt x="196" y="148"/>
                    </a:lnTo>
                    <a:lnTo>
                      <a:pt x="196" y="150"/>
                    </a:lnTo>
                    <a:lnTo>
                      <a:pt x="194" y="150"/>
                    </a:lnTo>
                    <a:lnTo>
                      <a:pt x="196" y="150"/>
                    </a:lnTo>
                    <a:lnTo>
                      <a:pt x="194" y="150"/>
                    </a:lnTo>
                    <a:close/>
                    <a:moveTo>
                      <a:pt x="198" y="150"/>
                    </a:moveTo>
                    <a:lnTo>
                      <a:pt x="198" y="148"/>
                    </a:lnTo>
                    <a:lnTo>
                      <a:pt x="198" y="150"/>
                    </a:lnTo>
                    <a:close/>
                    <a:moveTo>
                      <a:pt x="199" y="150"/>
                    </a:moveTo>
                    <a:lnTo>
                      <a:pt x="199" y="152"/>
                    </a:lnTo>
                    <a:lnTo>
                      <a:pt x="199" y="150"/>
                    </a:lnTo>
                    <a:close/>
                    <a:moveTo>
                      <a:pt x="196" y="150"/>
                    </a:moveTo>
                    <a:lnTo>
                      <a:pt x="198" y="150"/>
                    </a:lnTo>
                    <a:lnTo>
                      <a:pt x="196" y="150"/>
                    </a:lnTo>
                    <a:lnTo>
                      <a:pt x="198" y="150"/>
                    </a:lnTo>
                    <a:lnTo>
                      <a:pt x="196" y="150"/>
                    </a:lnTo>
                    <a:lnTo>
                      <a:pt x="198" y="150"/>
                    </a:lnTo>
                    <a:lnTo>
                      <a:pt x="196" y="150"/>
                    </a:lnTo>
                    <a:lnTo>
                      <a:pt x="196" y="148"/>
                    </a:lnTo>
                    <a:lnTo>
                      <a:pt x="198" y="150"/>
                    </a:lnTo>
                    <a:lnTo>
                      <a:pt x="196" y="150"/>
                    </a:lnTo>
                    <a:lnTo>
                      <a:pt x="196" y="148"/>
                    </a:lnTo>
                    <a:lnTo>
                      <a:pt x="196" y="150"/>
                    </a:lnTo>
                    <a:close/>
                    <a:moveTo>
                      <a:pt x="198" y="148"/>
                    </a:moveTo>
                    <a:lnTo>
                      <a:pt x="198" y="150"/>
                    </a:lnTo>
                    <a:lnTo>
                      <a:pt x="196" y="148"/>
                    </a:lnTo>
                    <a:lnTo>
                      <a:pt x="198" y="148"/>
                    </a:lnTo>
                    <a:close/>
                    <a:moveTo>
                      <a:pt x="201" y="150"/>
                    </a:moveTo>
                    <a:lnTo>
                      <a:pt x="203" y="150"/>
                    </a:lnTo>
                    <a:lnTo>
                      <a:pt x="203" y="152"/>
                    </a:lnTo>
                    <a:lnTo>
                      <a:pt x="203" y="150"/>
                    </a:lnTo>
                    <a:lnTo>
                      <a:pt x="201" y="150"/>
                    </a:lnTo>
                    <a:lnTo>
                      <a:pt x="203" y="150"/>
                    </a:lnTo>
                    <a:lnTo>
                      <a:pt x="201" y="150"/>
                    </a:lnTo>
                    <a:lnTo>
                      <a:pt x="203" y="150"/>
                    </a:lnTo>
                    <a:lnTo>
                      <a:pt x="201" y="150"/>
                    </a:lnTo>
                    <a:close/>
                    <a:moveTo>
                      <a:pt x="205" y="152"/>
                    </a:moveTo>
                    <a:lnTo>
                      <a:pt x="205" y="150"/>
                    </a:lnTo>
                    <a:lnTo>
                      <a:pt x="205" y="152"/>
                    </a:lnTo>
                    <a:close/>
                    <a:moveTo>
                      <a:pt x="180" y="142"/>
                    </a:moveTo>
                    <a:lnTo>
                      <a:pt x="180" y="144"/>
                    </a:lnTo>
                    <a:lnTo>
                      <a:pt x="180" y="142"/>
                    </a:lnTo>
                    <a:close/>
                    <a:moveTo>
                      <a:pt x="201" y="150"/>
                    </a:moveTo>
                    <a:lnTo>
                      <a:pt x="203" y="150"/>
                    </a:lnTo>
                    <a:lnTo>
                      <a:pt x="201" y="150"/>
                    </a:lnTo>
                    <a:close/>
                    <a:moveTo>
                      <a:pt x="205" y="150"/>
                    </a:moveTo>
                    <a:lnTo>
                      <a:pt x="207" y="150"/>
                    </a:lnTo>
                    <a:lnTo>
                      <a:pt x="205" y="150"/>
                    </a:lnTo>
                    <a:close/>
                    <a:moveTo>
                      <a:pt x="198" y="148"/>
                    </a:moveTo>
                    <a:lnTo>
                      <a:pt x="196" y="148"/>
                    </a:lnTo>
                    <a:lnTo>
                      <a:pt x="198" y="148"/>
                    </a:lnTo>
                    <a:close/>
                    <a:moveTo>
                      <a:pt x="199" y="148"/>
                    </a:moveTo>
                    <a:lnTo>
                      <a:pt x="199" y="150"/>
                    </a:lnTo>
                    <a:lnTo>
                      <a:pt x="199" y="148"/>
                    </a:lnTo>
                    <a:close/>
                    <a:moveTo>
                      <a:pt x="213" y="154"/>
                    </a:moveTo>
                    <a:lnTo>
                      <a:pt x="215" y="154"/>
                    </a:lnTo>
                    <a:lnTo>
                      <a:pt x="213" y="152"/>
                    </a:lnTo>
                    <a:lnTo>
                      <a:pt x="215" y="152"/>
                    </a:lnTo>
                    <a:lnTo>
                      <a:pt x="215" y="154"/>
                    </a:lnTo>
                    <a:lnTo>
                      <a:pt x="213" y="154"/>
                    </a:lnTo>
                    <a:close/>
                    <a:moveTo>
                      <a:pt x="198" y="148"/>
                    </a:moveTo>
                    <a:lnTo>
                      <a:pt x="198" y="146"/>
                    </a:lnTo>
                    <a:lnTo>
                      <a:pt x="198" y="148"/>
                    </a:lnTo>
                    <a:lnTo>
                      <a:pt x="198" y="146"/>
                    </a:lnTo>
                    <a:lnTo>
                      <a:pt x="198" y="148"/>
                    </a:lnTo>
                    <a:close/>
                    <a:moveTo>
                      <a:pt x="186" y="144"/>
                    </a:moveTo>
                    <a:lnTo>
                      <a:pt x="186" y="142"/>
                    </a:lnTo>
                    <a:lnTo>
                      <a:pt x="186" y="144"/>
                    </a:lnTo>
                    <a:lnTo>
                      <a:pt x="186" y="142"/>
                    </a:lnTo>
                    <a:lnTo>
                      <a:pt x="186" y="144"/>
                    </a:lnTo>
                    <a:close/>
                    <a:moveTo>
                      <a:pt x="211" y="150"/>
                    </a:moveTo>
                    <a:lnTo>
                      <a:pt x="213" y="150"/>
                    </a:lnTo>
                    <a:lnTo>
                      <a:pt x="211" y="150"/>
                    </a:lnTo>
                    <a:lnTo>
                      <a:pt x="211" y="152"/>
                    </a:lnTo>
                    <a:lnTo>
                      <a:pt x="211" y="150"/>
                    </a:lnTo>
                    <a:close/>
                    <a:moveTo>
                      <a:pt x="194" y="146"/>
                    </a:moveTo>
                    <a:lnTo>
                      <a:pt x="194" y="148"/>
                    </a:lnTo>
                    <a:lnTo>
                      <a:pt x="194" y="146"/>
                    </a:lnTo>
                    <a:lnTo>
                      <a:pt x="194" y="144"/>
                    </a:lnTo>
                    <a:lnTo>
                      <a:pt x="194" y="146"/>
                    </a:lnTo>
                    <a:lnTo>
                      <a:pt x="194" y="144"/>
                    </a:lnTo>
                    <a:lnTo>
                      <a:pt x="196" y="144"/>
                    </a:lnTo>
                    <a:lnTo>
                      <a:pt x="196" y="146"/>
                    </a:lnTo>
                    <a:lnTo>
                      <a:pt x="194" y="146"/>
                    </a:lnTo>
                    <a:close/>
                    <a:moveTo>
                      <a:pt x="215" y="150"/>
                    </a:moveTo>
                    <a:lnTo>
                      <a:pt x="215" y="152"/>
                    </a:lnTo>
                    <a:lnTo>
                      <a:pt x="215" y="150"/>
                    </a:lnTo>
                    <a:close/>
                    <a:moveTo>
                      <a:pt x="203" y="146"/>
                    </a:moveTo>
                    <a:lnTo>
                      <a:pt x="201" y="148"/>
                    </a:lnTo>
                    <a:lnTo>
                      <a:pt x="201" y="146"/>
                    </a:lnTo>
                    <a:lnTo>
                      <a:pt x="203" y="146"/>
                    </a:lnTo>
                    <a:close/>
                    <a:moveTo>
                      <a:pt x="196" y="146"/>
                    </a:moveTo>
                    <a:lnTo>
                      <a:pt x="196" y="144"/>
                    </a:lnTo>
                    <a:lnTo>
                      <a:pt x="198" y="144"/>
                    </a:lnTo>
                    <a:lnTo>
                      <a:pt x="196" y="146"/>
                    </a:lnTo>
                    <a:close/>
                    <a:moveTo>
                      <a:pt x="199" y="146"/>
                    </a:moveTo>
                    <a:lnTo>
                      <a:pt x="201" y="146"/>
                    </a:lnTo>
                    <a:lnTo>
                      <a:pt x="199" y="146"/>
                    </a:lnTo>
                    <a:lnTo>
                      <a:pt x="201" y="146"/>
                    </a:lnTo>
                    <a:lnTo>
                      <a:pt x="199" y="146"/>
                    </a:lnTo>
                    <a:lnTo>
                      <a:pt x="201" y="146"/>
                    </a:lnTo>
                    <a:lnTo>
                      <a:pt x="199" y="148"/>
                    </a:lnTo>
                    <a:lnTo>
                      <a:pt x="199" y="146"/>
                    </a:lnTo>
                    <a:lnTo>
                      <a:pt x="199" y="148"/>
                    </a:lnTo>
                    <a:lnTo>
                      <a:pt x="199" y="146"/>
                    </a:lnTo>
                    <a:close/>
                    <a:moveTo>
                      <a:pt x="198" y="144"/>
                    </a:moveTo>
                    <a:lnTo>
                      <a:pt x="199" y="146"/>
                    </a:lnTo>
                    <a:lnTo>
                      <a:pt x="198" y="146"/>
                    </a:lnTo>
                    <a:lnTo>
                      <a:pt x="198" y="144"/>
                    </a:lnTo>
                    <a:close/>
                    <a:moveTo>
                      <a:pt x="198" y="144"/>
                    </a:moveTo>
                    <a:lnTo>
                      <a:pt x="198" y="146"/>
                    </a:lnTo>
                    <a:lnTo>
                      <a:pt x="198" y="144"/>
                    </a:lnTo>
                    <a:lnTo>
                      <a:pt x="198" y="146"/>
                    </a:lnTo>
                    <a:lnTo>
                      <a:pt x="198" y="144"/>
                    </a:lnTo>
                    <a:close/>
                    <a:moveTo>
                      <a:pt x="209" y="148"/>
                    </a:moveTo>
                    <a:lnTo>
                      <a:pt x="211" y="148"/>
                    </a:lnTo>
                    <a:lnTo>
                      <a:pt x="209" y="148"/>
                    </a:lnTo>
                    <a:close/>
                    <a:moveTo>
                      <a:pt x="198" y="144"/>
                    </a:moveTo>
                    <a:lnTo>
                      <a:pt x="198" y="146"/>
                    </a:lnTo>
                    <a:lnTo>
                      <a:pt x="198" y="144"/>
                    </a:lnTo>
                    <a:lnTo>
                      <a:pt x="198" y="146"/>
                    </a:lnTo>
                    <a:lnTo>
                      <a:pt x="198" y="144"/>
                    </a:lnTo>
                    <a:lnTo>
                      <a:pt x="198" y="146"/>
                    </a:lnTo>
                    <a:lnTo>
                      <a:pt x="198" y="144"/>
                    </a:lnTo>
                    <a:lnTo>
                      <a:pt x="199" y="144"/>
                    </a:lnTo>
                    <a:lnTo>
                      <a:pt x="199" y="146"/>
                    </a:lnTo>
                    <a:lnTo>
                      <a:pt x="199" y="144"/>
                    </a:lnTo>
                    <a:lnTo>
                      <a:pt x="199" y="146"/>
                    </a:lnTo>
                    <a:lnTo>
                      <a:pt x="199" y="144"/>
                    </a:lnTo>
                    <a:lnTo>
                      <a:pt x="198" y="144"/>
                    </a:lnTo>
                    <a:close/>
                    <a:moveTo>
                      <a:pt x="213" y="150"/>
                    </a:moveTo>
                    <a:lnTo>
                      <a:pt x="211" y="150"/>
                    </a:lnTo>
                    <a:lnTo>
                      <a:pt x="213" y="150"/>
                    </a:lnTo>
                    <a:lnTo>
                      <a:pt x="211" y="150"/>
                    </a:lnTo>
                    <a:lnTo>
                      <a:pt x="213" y="150"/>
                    </a:lnTo>
                    <a:lnTo>
                      <a:pt x="211" y="150"/>
                    </a:lnTo>
                    <a:lnTo>
                      <a:pt x="211" y="148"/>
                    </a:lnTo>
                    <a:lnTo>
                      <a:pt x="213" y="148"/>
                    </a:lnTo>
                    <a:lnTo>
                      <a:pt x="211" y="148"/>
                    </a:lnTo>
                    <a:lnTo>
                      <a:pt x="211" y="150"/>
                    </a:lnTo>
                    <a:lnTo>
                      <a:pt x="213" y="148"/>
                    </a:lnTo>
                    <a:lnTo>
                      <a:pt x="213" y="150"/>
                    </a:lnTo>
                    <a:lnTo>
                      <a:pt x="213" y="148"/>
                    </a:lnTo>
                    <a:lnTo>
                      <a:pt x="213" y="150"/>
                    </a:lnTo>
                    <a:lnTo>
                      <a:pt x="211" y="150"/>
                    </a:lnTo>
                    <a:lnTo>
                      <a:pt x="213" y="150"/>
                    </a:lnTo>
                    <a:close/>
                    <a:moveTo>
                      <a:pt x="215" y="150"/>
                    </a:moveTo>
                    <a:lnTo>
                      <a:pt x="217" y="150"/>
                    </a:lnTo>
                    <a:lnTo>
                      <a:pt x="215" y="150"/>
                    </a:lnTo>
                    <a:close/>
                    <a:moveTo>
                      <a:pt x="182" y="142"/>
                    </a:moveTo>
                    <a:lnTo>
                      <a:pt x="182" y="140"/>
                    </a:lnTo>
                    <a:lnTo>
                      <a:pt x="184" y="140"/>
                    </a:lnTo>
                    <a:lnTo>
                      <a:pt x="184" y="138"/>
                    </a:lnTo>
                    <a:lnTo>
                      <a:pt x="184" y="140"/>
                    </a:lnTo>
                    <a:lnTo>
                      <a:pt x="182" y="140"/>
                    </a:lnTo>
                    <a:lnTo>
                      <a:pt x="182" y="142"/>
                    </a:lnTo>
                    <a:lnTo>
                      <a:pt x="182" y="140"/>
                    </a:lnTo>
                    <a:lnTo>
                      <a:pt x="182" y="142"/>
                    </a:lnTo>
                    <a:lnTo>
                      <a:pt x="184" y="142"/>
                    </a:lnTo>
                    <a:lnTo>
                      <a:pt x="182" y="142"/>
                    </a:lnTo>
                    <a:close/>
                    <a:moveTo>
                      <a:pt x="201" y="146"/>
                    </a:moveTo>
                    <a:lnTo>
                      <a:pt x="201" y="144"/>
                    </a:lnTo>
                    <a:lnTo>
                      <a:pt x="201" y="146"/>
                    </a:lnTo>
                    <a:close/>
                    <a:moveTo>
                      <a:pt x="196" y="142"/>
                    </a:moveTo>
                    <a:lnTo>
                      <a:pt x="196" y="144"/>
                    </a:lnTo>
                    <a:lnTo>
                      <a:pt x="196" y="142"/>
                    </a:lnTo>
                    <a:lnTo>
                      <a:pt x="196" y="144"/>
                    </a:lnTo>
                    <a:lnTo>
                      <a:pt x="196" y="142"/>
                    </a:lnTo>
                    <a:lnTo>
                      <a:pt x="196" y="144"/>
                    </a:lnTo>
                    <a:lnTo>
                      <a:pt x="196" y="142"/>
                    </a:lnTo>
                    <a:lnTo>
                      <a:pt x="196" y="144"/>
                    </a:lnTo>
                    <a:lnTo>
                      <a:pt x="194" y="144"/>
                    </a:lnTo>
                    <a:lnTo>
                      <a:pt x="194" y="142"/>
                    </a:lnTo>
                    <a:lnTo>
                      <a:pt x="196" y="142"/>
                    </a:lnTo>
                    <a:lnTo>
                      <a:pt x="194" y="142"/>
                    </a:lnTo>
                    <a:lnTo>
                      <a:pt x="196" y="144"/>
                    </a:lnTo>
                    <a:lnTo>
                      <a:pt x="196" y="142"/>
                    </a:lnTo>
                    <a:lnTo>
                      <a:pt x="196" y="144"/>
                    </a:lnTo>
                    <a:lnTo>
                      <a:pt x="196" y="142"/>
                    </a:lnTo>
                    <a:close/>
                    <a:moveTo>
                      <a:pt x="184" y="138"/>
                    </a:moveTo>
                    <a:lnTo>
                      <a:pt x="182" y="138"/>
                    </a:lnTo>
                    <a:lnTo>
                      <a:pt x="184" y="138"/>
                    </a:lnTo>
                    <a:close/>
                    <a:moveTo>
                      <a:pt x="184" y="138"/>
                    </a:moveTo>
                    <a:lnTo>
                      <a:pt x="182" y="138"/>
                    </a:lnTo>
                    <a:lnTo>
                      <a:pt x="184" y="138"/>
                    </a:lnTo>
                    <a:close/>
                    <a:moveTo>
                      <a:pt x="199" y="142"/>
                    </a:moveTo>
                    <a:lnTo>
                      <a:pt x="199" y="144"/>
                    </a:lnTo>
                    <a:lnTo>
                      <a:pt x="199" y="142"/>
                    </a:lnTo>
                    <a:close/>
                    <a:moveTo>
                      <a:pt x="211" y="148"/>
                    </a:moveTo>
                    <a:lnTo>
                      <a:pt x="213" y="148"/>
                    </a:lnTo>
                    <a:lnTo>
                      <a:pt x="211" y="148"/>
                    </a:lnTo>
                    <a:lnTo>
                      <a:pt x="213" y="148"/>
                    </a:lnTo>
                    <a:lnTo>
                      <a:pt x="211" y="148"/>
                    </a:lnTo>
                    <a:lnTo>
                      <a:pt x="211" y="150"/>
                    </a:lnTo>
                    <a:lnTo>
                      <a:pt x="211" y="148"/>
                    </a:lnTo>
                    <a:lnTo>
                      <a:pt x="211" y="146"/>
                    </a:lnTo>
                    <a:lnTo>
                      <a:pt x="213" y="146"/>
                    </a:lnTo>
                    <a:lnTo>
                      <a:pt x="211" y="146"/>
                    </a:lnTo>
                    <a:lnTo>
                      <a:pt x="211" y="148"/>
                    </a:lnTo>
                    <a:close/>
                    <a:moveTo>
                      <a:pt x="196" y="142"/>
                    </a:moveTo>
                    <a:lnTo>
                      <a:pt x="196" y="140"/>
                    </a:lnTo>
                    <a:lnTo>
                      <a:pt x="196" y="142"/>
                    </a:lnTo>
                    <a:close/>
                    <a:moveTo>
                      <a:pt x="198" y="142"/>
                    </a:moveTo>
                    <a:lnTo>
                      <a:pt x="199" y="142"/>
                    </a:lnTo>
                    <a:lnTo>
                      <a:pt x="199" y="144"/>
                    </a:lnTo>
                    <a:lnTo>
                      <a:pt x="198" y="144"/>
                    </a:lnTo>
                    <a:lnTo>
                      <a:pt x="199" y="144"/>
                    </a:lnTo>
                    <a:lnTo>
                      <a:pt x="199" y="142"/>
                    </a:lnTo>
                    <a:lnTo>
                      <a:pt x="198" y="142"/>
                    </a:lnTo>
                    <a:lnTo>
                      <a:pt x="199" y="142"/>
                    </a:lnTo>
                    <a:lnTo>
                      <a:pt x="198" y="142"/>
                    </a:lnTo>
                    <a:close/>
                    <a:moveTo>
                      <a:pt x="211" y="146"/>
                    </a:moveTo>
                    <a:lnTo>
                      <a:pt x="211" y="148"/>
                    </a:lnTo>
                    <a:lnTo>
                      <a:pt x="209" y="148"/>
                    </a:lnTo>
                    <a:lnTo>
                      <a:pt x="211" y="148"/>
                    </a:lnTo>
                    <a:lnTo>
                      <a:pt x="209" y="148"/>
                    </a:lnTo>
                    <a:lnTo>
                      <a:pt x="209" y="146"/>
                    </a:lnTo>
                    <a:lnTo>
                      <a:pt x="209" y="144"/>
                    </a:lnTo>
                    <a:lnTo>
                      <a:pt x="209" y="146"/>
                    </a:lnTo>
                    <a:lnTo>
                      <a:pt x="211" y="146"/>
                    </a:lnTo>
                    <a:close/>
                    <a:moveTo>
                      <a:pt x="213" y="146"/>
                    </a:moveTo>
                    <a:lnTo>
                      <a:pt x="213" y="148"/>
                    </a:lnTo>
                    <a:lnTo>
                      <a:pt x="213" y="146"/>
                    </a:lnTo>
                    <a:close/>
                    <a:moveTo>
                      <a:pt x="196" y="140"/>
                    </a:moveTo>
                    <a:lnTo>
                      <a:pt x="196" y="142"/>
                    </a:lnTo>
                    <a:lnTo>
                      <a:pt x="196" y="140"/>
                    </a:lnTo>
                    <a:lnTo>
                      <a:pt x="196" y="142"/>
                    </a:lnTo>
                    <a:lnTo>
                      <a:pt x="198" y="144"/>
                    </a:lnTo>
                    <a:lnTo>
                      <a:pt x="198" y="142"/>
                    </a:lnTo>
                    <a:lnTo>
                      <a:pt x="198" y="144"/>
                    </a:lnTo>
                    <a:lnTo>
                      <a:pt x="196" y="144"/>
                    </a:lnTo>
                    <a:lnTo>
                      <a:pt x="196" y="146"/>
                    </a:lnTo>
                    <a:lnTo>
                      <a:pt x="196" y="144"/>
                    </a:lnTo>
                    <a:lnTo>
                      <a:pt x="198" y="144"/>
                    </a:lnTo>
                    <a:lnTo>
                      <a:pt x="196" y="144"/>
                    </a:lnTo>
                    <a:lnTo>
                      <a:pt x="198" y="144"/>
                    </a:lnTo>
                    <a:lnTo>
                      <a:pt x="196" y="144"/>
                    </a:lnTo>
                    <a:lnTo>
                      <a:pt x="196" y="142"/>
                    </a:lnTo>
                    <a:lnTo>
                      <a:pt x="196" y="144"/>
                    </a:lnTo>
                    <a:lnTo>
                      <a:pt x="196" y="142"/>
                    </a:lnTo>
                    <a:lnTo>
                      <a:pt x="196" y="144"/>
                    </a:lnTo>
                    <a:lnTo>
                      <a:pt x="196" y="142"/>
                    </a:lnTo>
                    <a:lnTo>
                      <a:pt x="196" y="140"/>
                    </a:lnTo>
                    <a:close/>
                    <a:moveTo>
                      <a:pt x="203" y="142"/>
                    </a:moveTo>
                    <a:lnTo>
                      <a:pt x="201" y="142"/>
                    </a:lnTo>
                    <a:lnTo>
                      <a:pt x="203" y="142"/>
                    </a:lnTo>
                    <a:close/>
                    <a:moveTo>
                      <a:pt x="199" y="142"/>
                    </a:moveTo>
                    <a:lnTo>
                      <a:pt x="201" y="142"/>
                    </a:lnTo>
                    <a:lnTo>
                      <a:pt x="201" y="144"/>
                    </a:lnTo>
                    <a:lnTo>
                      <a:pt x="201" y="142"/>
                    </a:lnTo>
                    <a:lnTo>
                      <a:pt x="199" y="142"/>
                    </a:lnTo>
                    <a:lnTo>
                      <a:pt x="199" y="144"/>
                    </a:lnTo>
                    <a:lnTo>
                      <a:pt x="199" y="142"/>
                    </a:lnTo>
                    <a:lnTo>
                      <a:pt x="198" y="142"/>
                    </a:lnTo>
                    <a:lnTo>
                      <a:pt x="199" y="142"/>
                    </a:lnTo>
                    <a:lnTo>
                      <a:pt x="199" y="140"/>
                    </a:lnTo>
                    <a:lnTo>
                      <a:pt x="199" y="142"/>
                    </a:lnTo>
                    <a:lnTo>
                      <a:pt x="199" y="140"/>
                    </a:lnTo>
                    <a:lnTo>
                      <a:pt x="199" y="142"/>
                    </a:lnTo>
                    <a:close/>
                    <a:moveTo>
                      <a:pt x="190" y="136"/>
                    </a:moveTo>
                    <a:lnTo>
                      <a:pt x="190" y="138"/>
                    </a:lnTo>
                    <a:lnTo>
                      <a:pt x="188" y="138"/>
                    </a:lnTo>
                    <a:lnTo>
                      <a:pt x="188" y="136"/>
                    </a:lnTo>
                    <a:lnTo>
                      <a:pt x="190" y="136"/>
                    </a:lnTo>
                    <a:close/>
                    <a:moveTo>
                      <a:pt x="190" y="136"/>
                    </a:moveTo>
                    <a:lnTo>
                      <a:pt x="188" y="136"/>
                    </a:lnTo>
                    <a:lnTo>
                      <a:pt x="190" y="136"/>
                    </a:lnTo>
                    <a:close/>
                    <a:moveTo>
                      <a:pt x="199" y="142"/>
                    </a:moveTo>
                    <a:lnTo>
                      <a:pt x="201" y="142"/>
                    </a:lnTo>
                    <a:lnTo>
                      <a:pt x="199" y="142"/>
                    </a:lnTo>
                    <a:lnTo>
                      <a:pt x="201" y="142"/>
                    </a:lnTo>
                    <a:lnTo>
                      <a:pt x="201" y="140"/>
                    </a:lnTo>
                    <a:lnTo>
                      <a:pt x="201" y="142"/>
                    </a:lnTo>
                    <a:lnTo>
                      <a:pt x="199" y="142"/>
                    </a:lnTo>
                    <a:close/>
                    <a:moveTo>
                      <a:pt x="194" y="138"/>
                    </a:moveTo>
                    <a:lnTo>
                      <a:pt x="192" y="138"/>
                    </a:lnTo>
                    <a:lnTo>
                      <a:pt x="194" y="138"/>
                    </a:lnTo>
                    <a:lnTo>
                      <a:pt x="192" y="138"/>
                    </a:lnTo>
                    <a:lnTo>
                      <a:pt x="192" y="140"/>
                    </a:lnTo>
                    <a:lnTo>
                      <a:pt x="194" y="140"/>
                    </a:lnTo>
                    <a:lnTo>
                      <a:pt x="192" y="140"/>
                    </a:lnTo>
                    <a:lnTo>
                      <a:pt x="192" y="142"/>
                    </a:lnTo>
                    <a:lnTo>
                      <a:pt x="194" y="142"/>
                    </a:lnTo>
                    <a:lnTo>
                      <a:pt x="192" y="142"/>
                    </a:lnTo>
                    <a:lnTo>
                      <a:pt x="194" y="142"/>
                    </a:lnTo>
                    <a:lnTo>
                      <a:pt x="192" y="142"/>
                    </a:lnTo>
                    <a:lnTo>
                      <a:pt x="194" y="142"/>
                    </a:lnTo>
                    <a:lnTo>
                      <a:pt x="194" y="140"/>
                    </a:lnTo>
                    <a:lnTo>
                      <a:pt x="194" y="138"/>
                    </a:lnTo>
                    <a:lnTo>
                      <a:pt x="194" y="140"/>
                    </a:lnTo>
                    <a:lnTo>
                      <a:pt x="196" y="140"/>
                    </a:lnTo>
                    <a:lnTo>
                      <a:pt x="194" y="140"/>
                    </a:lnTo>
                    <a:lnTo>
                      <a:pt x="194" y="142"/>
                    </a:lnTo>
                    <a:lnTo>
                      <a:pt x="194" y="144"/>
                    </a:lnTo>
                    <a:lnTo>
                      <a:pt x="192" y="146"/>
                    </a:lnTo>
                    <a:lnTo>
                      <a:pt x="194" y="146"/>
                    </a:lnTo>
                    <a:lnTo>
                      <a:pt x="192" y="146"/>
                    </a:lnTo>
                    <a:lnTo>
                      <a:pt x="192" y="148"/>
                    </a:lnTo>
                    <a:lnTo>
                      <a:pt x="194" y="148"/>
                    </a:lnTo>
                    <a:lnTo>
                      <a:pt x="194" y="146"/>
                    </a:lnTo>
                    <a:lnTo>
                      <a:pt x="194" y="148"/>
                    </a:lnTo>
                    <a:lnTo>
                      <a:pt x="194" y="150"/>
                    </a:lnTo>
                    <a:lnTo>
                      <a:pt x="192" y="150"/>
                    </a:lnTo>
                    <a:lnTo>
                      <a:pt x="194" y="150"/>
                    </a:lnTo>
                    <a:lnTo>
                      <a:pt x="192" y="150"/>
                    </a:lnTo>
                    <a:lnTo>
                      <a:pt x="190" y="148"/>
                    </a:lnTo>
                    <a:lnTo>
                      <a:pt x="188" y="148"/>
                    </a:lnTo>
                    <a:lnTo>
                      <a:pt x="188" y="150"/>
                    </a:lnTo>
                    <a:lnTo>
                      <a:pt x="186" y="150"/>
                    </a:lnTo>
                    <a:lnTo>
                      <a:pt x="186" y="148"/>
                    </a:lnTo>
                    <a:lnTo>
                      <a:pt x="184" y="150"/>
                    </a:lnTo>
                    <a:lnTo>
                      <a:pt x="184" y="148"/>
                    </a:lnTo>
                    <a:lnTo>
                      <a:pt x="184" y="146"/>
                    </a:lnTo>
                    <a:lnTo>
                      <a:pt x="184" y="148"/>
                    </a:lnTo>
                    <a:lnTo>
                      <a:pt x="182" y="148"/>
                    </a:lnTo>
                    <a:lnTo>
                      <a:pt x="182" y="146"/>
                    </a:lnTo>
                    <a:lnTo>
                      <a:pt x="182" y="148"/>
                    </a:lnTo>
                    <a:lnTo>
                      <a:pt x="180" y="148"/>
                    </a:lnTo>
                    <a:lnTo>
                      <a:pt x="180" y="146"/>
                    </a:lnTo>
                    <a:lnTo>
                      <a:pt x="180" y="144"/>
                    </a:lnTo>
                    <a:lnTo>
                      <a:pt x="180" y="142"/>
                    </a:lnTo>
                    <a:lnTo>
                      <a:pt x="180" y="144"/>
                    </a:lnTo>
                    <a:lnTo>
                      <a:pt x="180" y="146"/>
                    </a:lnTo>
                    <a:lnTo>
                      <a:pt x="180" y="144"/>
                    </a:lnTo>
                    <a:lnTo>
                      <a:pt x="180" y="146"/>
                    </a:lnTo>
                    <a:lnTo>
                      <a:pt x="182" y="146"/>
                    </a:lnTo>
                    <a:lnTo>
                      <a:pt x="180" y="146"/>
                    </a:lnTo>
                    <a:lnTo>
                      <a:pt x="182" y="146"/>
                    </a:lnTo>
                    <a:lnTo>
                      <a:pt x="180" y="146"/>
                    </a:lnTo>
                    <a:lnTo>
                      <a:pt x="182" y="144"/>
                    </a:lnTo>
                    <a:lnTo>
                      <a:pt x="182" y="146"/>
                    </a:lnTo>
                    <a:lnTo>
                      <a:pt x="184" y="146"/>
                    </a:lnTo>
                    <a:lnTo>
                      <a:pt x="182" y="146"/>
                    </a:lnTo>
                    <a:lnTo>
                      <a:pt x="184" y="146"/>
                    </a:lnTo>
                    <a:lnTo>
                      <a:pt x="182" y="146"/>
                    </a:lnTo>
                    <a:lnTo>
                      <a:pt x="184" y="146"/>
                    </a:lnTo>
                    <a:lnTo>
                      <a:pt x="182" y="146"/>
                    </a:lnTo>
                    <a:lnTo>
                      <a:pt x="184" y="146"/>
                    </a:lnTo>
                    <a:lnTo>
                      <a:pt x="184" y="144"/>
                    </a:lnTo>
                    <a:lnTo>
                      <a:pt x="182" y="144"/>
                    </a:lnTo>
                    <a:lnTo>
                      <a:pt x="184" y="144"/>
                    </a:lnTo>
                    <a:lnTo>
                      <a:pt x="182" y="144"/>
                    </a:lnTo>
                    <a:lnTo>
                      <a:pt x="182" y="142"/>
                    </a:lnTo>
                    <a:lnTo>
                      <a:pt x="184" y="142"/>
                    </a:lnTo>
                    <a:lnTo>
                      <a:pt x="182" y="142"/>
                    </a:lnTo>
                    <a:lnTo>
                      <a:pt x="184" y="142"/>
                    </a:lnTo>
                    <a:lnTo>
                      <a:pt x="184" y="144"/>
                    </a:lnTo>
                    <a:lnTo>
                      <a:pt x="184" y="142"/>
                    </a:lnTo>
                    <a:lnTo>
                      <a:pt x="184" y="144"/>
                    </a:lnTo>
                    <a:lnTo>
                      <a:pt x="186" y="144"/>
                    </a:lnTo>
                    <a:lnTo>
                      <a:pt x="184" y="144"/>
                    </a:lnTo>
                    <a:lnTo>
                      <a:pt x="186" y="144"/>
                    </a:lnTo>
                    <a:lnTo>
                      <a:pt x="184" y="144"/>
                    </a:lnTo>
                    <a:lnTo>
                      <a:pt x="186" y="144"/>
                    </a:lnTo>
                    <a:lnTo>
                      <a:pt x="184" y="144"/>
                    </a:lnTo>
                    <a:lnTo>
                      <a:pt x="184" y="146"/>
                    </a:lnTo>
                    <a:lnTo>
                      <a:pt x="186" y="146"/>
                    </a:lnTo>
                    <a:lnTo>
                      <a:pt x="186" y="144"/>
                    </a:lnTo>
                    <a:lnTo>
                      <a:pt x="186" y="142"/>
                    </a:lnTo>
                    <a:lnTo>
                      <a:pt x="188" y="142"/>
                    </a:lnTo>
                    <a:lnTo>
                      <a:pt x="186" y="144"/>
                    </a:lnTo>
                    <a:lnTo>
                      <a:pt x="188" y="144"/>
                    </a:lnTo>
                    <a:lnTo>
                      <a:pt x="188" y="142"/>
                    </a:lnTo>
                    <a:lnTo>
                      <a:pt x="188" y="144"/>
                    </a:lnTo>
                    <a:lnTo>
                      <a:pt x="186" y="144"/>
                    </a:lnTo>
                    <a:lnTo>
                      <a:pt x="188" y="144"/>
                    </a:lnTo>
                    <a:lnTo>
                      <a:pt x="190" y="142"/>
                    </a:lnTo>
                    <a:lnTo>
                      <a:pt x="188" y="142"/>
                    </a:lnTo>
                    <a:lnTo>
                      <a:pt x="190" y="142"/>
                    </a:lnTo>
                    <a:lnTo>
                      <a:pt x="188" y="142"/>
                    </a:lnTo>
                    <a:lnTo>
                      <a:pt x="190" y="142"/>
                    </a:lnTo>
                    <a:lnTo>
                      <a:pt x="192" y="142"/>
                    </a:lnTo>
                    <a:lnTo>
                      <a:pt x="190" y="142"/>
                    </a:lnTo>
                    <a:lnTo>
                      <a:pt x="192" y="142"/>
                    </a:lnTo>
                    <a:lnTo>
                      <a:pt x="190" y="140"/>
                    </a:lnTo>
                    <a:lnTo>
                      <a:pt x="190" y="138"/>
                    </a:lnTo>
                    <a:lnTo>
                      <a:pt x="190" y="140"/>
                    </a:lnTo>
                    <a:lnTo>
                      <a:pt x="190" y="138"/>
                    </a:lnTo>
                    <a:lnTo>
                      <a:pt x="190" y="140"/>
                    </a:lnTo>
                    <a:lnTo>
                      <a:pt x="192" y="140"/>
                    </a:lnTo>
                    <a:lnTo>
                      <a:pt x="190" y="140"/>
                    </a:lnTo>
                    <a:lnTo>
                      <a:pt x="192" y="140"/>
                    </a:lnTo>
                    <a:lnTo>
                      <a:pt x="190" y="140"/>
                    </a:lnTo>
                    <a:lnTo>
                      <a:pt x="192" y="140"/>
                    </a:lnTo>
                    <a:lnTo>
                      <a:pt x="192" y="142"/>
                    </a:lnTo>
                    <a:lnTo>
                      <a:pt x="192" y="144"/>
                    </a:lnTo>
                    <a:lnTo>
                      <a:pt x="192" y="142"/>
                    </a:lnTo>
                    <a:lnTo>
                      <a:pt x="192" y="140"/>
                    </a:lnTo>
                    <a:lnTo>
                      <a:pt x="192" y="142"/>
                    </a:lnTo>
                    <a:lnTo>
                      <a:pt x="192" y="140"/>
                    </a:lnTo>
                    <a:lnTo>
                      <a:pt x="192" y="138"/>
                    </a:lnTo>
                    <a:lnTo>
                      <a:pt x="192" y="140"/>
                    </a:lnTo>
                    <a:lnTo>
                      <a:pt x="192" y="138"/>
                    </a:lnTo>
                    <a:lnTo>
                      <a:pt x="194" y="138"/>
                    </a:lnTo>
                    <a:close/>
                    <a:moveTo>
                      <a:pt x="199" y="140"/>
                    </a:moveTo>
                    <a:lnTo>
                      <a:pt x="201" y="140"/>
                    </a:lnTo>
                    <a:lnTo>
                      <a:pt x="199" y="140"/>
                    </a:lnTo>
                    <a:close/>
                    <a:moveTo>
                      <a:pt x="203" y="140"/>
                    </a:moveTo>
                    <a:lnTo>
                      <a:pt x="203" y="142"/>
                    </a:lnTo>
                    <a:lnTo>
                      <a:pt x="201" y="142"/>
                    </a:lnTo>
                    <a:lnTo>
                      <a:pt x="201" y="140"/>
                    </a:lnTo>
                    <a:lnTo>
                      <a:pt x="201" y="142"/>
                    </a:lnTo>
                    <a:lnTo>
                      <a:pt x="203" y="140"/>
                    </a:lnTo>
                    <a:lnTo>
                      <a:pt x="203" y="142"/>
                    </a:lnTo>
                    <a:lnTo>
                      <a:pt x="203" y="140"/>
                    </a:lnTo>
                    <a:lnTo>
                      <a:pt x="203" y="142"/>
                    </a:lnTo>
                    <a:lnTo>
                      <a:pt x="203" y="140"/>
                    </a:lnTo>
                    <a:close/>
                    <a:moveTo>
                      <a:pt x="205" y="140"/>
                    </a:moveTo>
                    <a:lnTo>
                      <a:pt x="203" y="140"/>
                    </a:lnTo>
                    <a:lnTo>
                      <a:pt x="205" y="140"/>
                    </a:lnTo>
                    <a:lnTo>
                      <a:pt x="203" y="140"/>
                    </a:lnTo>
                    <a:lnTo>
                      <a:pt x="203" y="142"/>
                    </a:lnTo>
                    <a:lnTo>
                      <a:pt x="205" y="142"/>
                    </a:lnTo>
                    <a:lnTo>
                      <a:pt x="203" y="142"/>
                    </a:lnTo>
                    <a:lnTo>
                      <a:pt x="203" y="140"/>
                    </a:lnTo>
                    <a:lnTo>
                      <a:pt x="205" y="140"/>
                    </a:lnTo>
                    <a:close/>
                    <a:moveTo>
                      <a:pt x="203" y="148"/>
                    </a:moveTo>
                    <a:lnTo>
                      <a:pt x="203" y="146"/>
                    </a:lnTo>
                    <a:lnTo>
                      <a:pt x="201" y="144"/>
                    </a:lnTo>
                    <a:lnTo>
                      <a:pt x="201" y="146"/>
                    </a:lnTo>
                    <a:lnTo>
                      <a:pt x="201" y="148"/>
                    </a:lnTo>
                    <a:lnTo>
                      <a:pt x="201" y="146"/>
                    </a:lnTo>
                    <a:lnTo>
                      <a:pt x="201" y="144"/>
                    </a:lnTo>
                    <a:lnTo>
                      <a:pt x="203" y="144"/>
                    </a:lnTo>
                    <a:lnTo>
                      <a:pt x="201" y="144"/>
                    </a:lnTo>
                    <a:lnTo>
                      <a:pt x="203" y="144"/>
                    </a:lnTo>
                    <a:lnTo>
                      <a:pt x="201" y="144"/>
                    </a:lnTo>
                    <a:lnTo>
                      <a:pt x="203" y="144"/>
                    </a:lnTo>
                    <a:lnTo>
                      <a:pt x="203" y="142"/>
                    </a:lnTo>
                    <a:lnTo>
                      <a:pt x="203" y="144"/>
                    </a:lnTo>
                    <a:lnTo>
                      <a:pt x="203" y="142"/>
                    </a:lnTo>
                    <a:lnTo>
                      <a:pt x="205" y="142"/>
                    </a:lnTo>
                    <a:lnTo>
                      <a:pt x="205" y="140"/>
                    </a:lnTo>
                    <a:lnTo>
                      <a:pt x="205" y="142"/>
                    </a:lnTo>
                    <a:lnTo>
                      <a:pt x="205" y="140"/>
                    </a:lnTo>
                    <a:lnTo>
                      <a:pt x="205" y="142"/>
                    </a:lnTo>
                    <a:lnTo>
                      <a:pt x="205" y="144"/>
                    </a:lnTo>
                    <a:lnTo>
                      <a:pt x="203" y="144"/>
                    </a:lnTo>
                    <a:lnTo>
                      <a:pt x="205" y="144"/>
                    </a:lnTo>
                    <a:lnTo>
                      <a:pt x="207" y="144"/>
                    </a:lnTo>
                    <a:lnTo>
                      <a:pt x="205" y="144"/>
                    </a:lnTo>
                    <a:lnTo>
                      <a:pt x="205" y="146"/>
                    </a:lnTo>
                    <a:lnTo>
                      <a:pt x="207" y="146"/>
                    </a:lnTo>
                    <a:lnTo>
                      <a:pt x="207" y="144"/>
                    </a:lnTo>
                    <a:lnTo>
                      <a:pt x="207" y="146"/>
                    </a:lnTo>
                    <a:lnTo>
                      <a:pt x="205" y="146"/>
                    </a:lnTo>
                    <a:lnTo>
                      <a:pt x="203" y="146"/>
                    </a:lnTo>
                    <a:lnTo>
                      <a:pt x="205" y="146"/>
                    </a:lnTo>
                    <a:lnTo>
                      <a:pt x="203" y="146"/>
                    </a:lnTo>
                    <a:lnTo>
                      <a:pt x="203" y="148"/>
                    </a:lnTo>
                    <a:lnTo>
                      <a:pt x="203" y="146"/>
                    </a:lnTo>
                    <a:lnTo>
                      <a:pt x="203" y="148"/>
                    </a:lnTo>
                    <a:lnTo>
                      <a:pt x="205" y="148"/>
                    </a:lnTo>
                    <a:lnTo>
                      <a:pt x="203" y="148"/>
                    </a:lnTo>
                    <a:lnTo>
                      <a:pt x="205" y="148"/>
                    </a:lnTo>
                    <a:lnTo>
                      <a:pt x="205" y="146"/>
                    </a:lnTo>
                    <a:lnTo>
                      <a:pt x="205" y="148"/>
                    </a:lnTo>
                    <a:lnTo>
                      <a:pt x="205" y="146"/>
                    </a:lnTo>
                    <a:lnTo>
                      <a:pt x="205" y="148"/>
                    </a:lnTo>
                    <a:lnTo>
                      <a:pt x="205" y="150"/>
                    </a:lnTo>
                    <a:lnTo>
                      <a:pt x="205" y="148"/>
                    </a:lnTo>
                    <a:lnTo>
                      <a:pt x="207" y="148"/>
                    </a:lnTo>
                    <a:lnTo>
                      <a:pt x="207" y="146"/>
                    </a:lnTo>
                    <a:lnTo>
                      <a:pt x="207" y="148"/>
                    </a:lnTo>
                    <a:lnTo>
                      <a:pt x="207" y="146"/>
                    </a:lnTo>
                    <a:lnTo>
                      <a:pt x="207" y="148"/>
                    </a:lnTo>
                    <a:lnTo>
                      <a:pt x="207" y="146"/>
                    </a:lnTo>
                    <a:lnTo>
                      <a:pt x="209" y="146"/>
                    </a:lnTo>
                    <a:lnTo>
                      <a:pt x="207" y="146"/>
                    </a:lnTo>
                    <a:lnTo>
                      <a:pt x="209" y="146"/>
                    </a:lnTo>
                    <a:lnTo>
                      <a:pt x="207" y="144"/>
                    </a:lnTo>
                    <a:lnTo>
                      <a:pt x="209" y="146"/>
                    </a:lnTo>
                    <a:lnTo>
                      <a:pt x="207" y="146"/>
                    </a:lnTo>
                    <a:lnTo>
                      <a:pt x="209" y="146"/>
                    </a:lnTo>
                    <a:lnTo>
                      <a:pt x="207" y="146"/>
                    </a:lnTo>
                    <a:lnTo>
                      <a:pt x="207" y="144"/>
                    </a:lnTo>
                    <a:lnTo>
                      <a:pt x="207" y="146"/>
                    </a:lnTo>
                    <a:lnTo>
                      <a:pt x="207" y="144"/>
                    </a:lnTo>
                    <a:lnTo>
                      <a:pt x="207" y="146"/>
                    </a:lnTo>
                    <a:lnTo>
                      <a:pt x="207" y="144"/>
                    </a:lnTo>
                    <a:lnTo>
                      <a:pt x="207" y="142"/>
                    </a:lnTo>
                    <a:lnTo>
                      <a:pt x="207" y="144"/>
                    </a:lnTo>
                    <a:lnTo>
                      <a:pt x="209" y="144"/>
                    </a:lnTo>
                    <a:lnTo>
                      <a:pt x="207" y="144"/>
                    </a:lnTo>
                    <a:lnTo>
                      <a:pt x="209" y="144"/>
                    </a:lnTo>
                    <a:lnTo>
                      <a:pt x="209" y="146"/>
                    </a:lnTo>
                    <a:lnTo>
                      <a:pt x="209" y="148"/>
                    </a:lnTo>
                    <a:lnTo>
                      <a:pt x="209" y="150"/>
                    </a:lnTo>
                    <a:lnTo>
                      <a:pt x="207" y="150"/>
                    </a:lnTo>
                    <a:lnTo>
                      <a:pt x="205" y="150"/>
                    </a:lnTo>
                    <a:lnTo>
                      <a:pt x="205" y="148"/>
                    </a:lnTo>
                    <a:lnTo>
                      <a:pt x="203" y="148"/>
                    </a:lnTo>
                    <a:lnTo>
                      <a:pt x="203" y="150"/>
                    </a:lnTo>
                    <a:lnTo>
                      <a:pt x="203" y="148"/>
                    </a:lnTo>
                    <a:lnTo>
                      <a:pt x="201" y="148"/>
                    </a:lnTo>
                    <a:lnTo>
                      <a:pt x="203" y="148"/>
                    </a:lnTo>
                    <a:lnTo>
                      <a:pt x="201" y="148"/>
                    </a:lnTo>
                    <a:lnTo>
                      <a:pt x="203" y="148"/>
                    </a:lnTo>
                    <a:close/>
                    <a:moveTo>
                      <a:pt x="209" y="142"/>
                    </a:moveTo>
                    <a:lnTo>
                      <a:pt x="211" y="142"/>
                    </a:lnTo>
                    <a:lnTo>
                      <a:pt x="209" y="142"/>
                    </a:lnTo>
                    <a:lnTo>
                      <a:pt x="209" y="144"/>
                    </a:lnTo>
                    <a:lnTo>
                      <a:pt x="209" y="142"/>
                    </a:lnTo>
                    <a:lnTo>
                      <a:pt x="209" y="144"/>
                    </a:lnTo>
                    <a:lnTo>
                      <a:pt x="209" y="142"/>
                    </a:lnTo>
                    <a:lnTo>
                      <a:pt x="209" y="144"/>
                    </a:lnTo>
                    <a:lnTo>
                      <a:pt x="211" y="144"/>
                    </a:lnTo>
                    <a:lnTo>
                      <a:pt x="211" y="146"/>
                    </a:lnTo>
                    <a:lnTo>
                      <a:pt x="211" y="144"/>
                    </a:lnTo>
                    <a:lnTo>
                      <a:pt x="209" y="144"/>
                    </a:lnTo>
                    <a:lnTo>
                      <a:pt x="209" y="146"/>
                    </a:lnTo>
                    <a:lnTo>
                      <a:pt x="209" y="144"/>
                    </a:lnTo>
                    <a:lnTo>
                      <a:pt x="209" y="142"/>
                    </a:lnTo>
                    <a:lnTo>
                      <a:pt x="209" y="144"/>
                    </a:lnTo>
                    <a:lnTo>
                      <a:pt x="209" y="142"/>
                    </a:lnTo>
                    <a:close/>
                    <a:moveTo>
                      <a:pt x="188" y="136"/>
                    </a:moveTo>
                    <a:lnTo>
                      <a:pt x="190" y="136"/>
                    </a:lnTo>
                    <a:lnTo>
                      <a:pt x="188" y="136"/>
                    </a:lnTo>
                    <a:lnTo>
                      <a:pt x="190" y="136"/>
                    </a:lnTo>
                    <a:lnTo>
                      <a:pt x="190" y="135"/>
                    </a:lnTo>
                    <a:lnTo>
                      <a:pt x="190" y="136"/>
                    </a:lnTo>
                    <a:lnTo>
                      <a:pt x="188" y="136"/>
                    </a:lnTo>
                    <a:close/>
                    <a:moveTo>
                      <a:pt x="211" y="142"/>
                    </a:moveTo>
                    <a:lnTo>
                      <a:pt x="209" y="142"/>
                    </a:lnTo>
                    <a:lnTo>
                      <a:pt x="211" y="142"/>
                    </a:lnTo>
                    <a:close/>
                    <a:moveTo>
                      <a:pt x="209" y="140"/>
                    </a:moveTo>
                    <a:lnTo>
                      <a:pt x="211" y="140"/>
                    </a:lnTo>
                    <a:lnTo>
                      <a:pt x="209" y="140"/>
                    </a:lnTo>
                    <a:lnTo>
                      <a:pt x="209" y="138"/>
                    </a:lnTo>
                    <a:lnTo>
                      <a:pt x="209" y="140"/>
                    </a:lnTo>
                    <a:close/>
                    <a:moveTo>
                      <a:pt x="211" y="142"/>
                    </a:moveTo>
                    <a:lnTo>
                      <a:pt x="211" y="140"/>
                    </a:lnTo>
                    <a:lnTo>
                      <a:pt x="211" y="142"/>
                    </a:lnTo>
                    <a:lnTo>
                      <a:pt x="211" y="140"/>
                    </a:lnTo>
                    <a:lnTo>
                      <a:pt x="211" y="142"/>
                    </a:lnTo>
                    <a:close/>
                    <a:moveTo>
                      <a:pt x="203" y="138"/>
                    </a:moveTo>
                    <a:lnTo>
                      <a:pt x="203" y="136"/>
                    </a:lnTo>
                    <a:lnTo>
                      <a:pt x="203" y="138"/>
                    </a:lnTo>
                    <a:lnTo>
                      <a:pt x="203" y="140"/>
                    </a:lnTo>
                    <a:lnTo>
                      <a:pt x="205" y="140"/>
                    </a:lnTo>
                    <a:lnTo>
                      <a:pt x="205" y="138"/>
                    </a:lnTo>
                    <a:lnTo>
                      <a:pt x="205" y="140"/>
                    </a:lnTo>
                    <a:lnTo>
                      <a:pt x="205" y="138"/>
                    </a:lnTo>
                    <a:lnTo>
                      <a:pt x="205" y="140"/>
                    </a:lnTo>
                    <a:lnTo>
                      <a:pt x="205" y="138"/>
                    </a:lnTo>
                    <a:lnTo>
                      <a:pt x="205" y="140"/>
                    </a:lnTo>
                    <a:lnTo>
                      <a:pt x="203" y="140"/>
                    </a:lnTo>
                    <a:lnTo>
                      <a:pt x="203" y="138"/>
                    </a:lnTo>
                    <a:lnTo>
                      <a:pt x="203" y="136"/>
                    </a:lnTo>
                    <a:lnTo>
                      <a:pt x="203" y="138"/>
                    </a:lnTo>
                    <a:close/>
                    <a:moveTo>
                      <a:pt x="188" y="131"/>
                    </a:moveTo>
                    <a:lnTo>
                      <a:pt x="188" y="133"/>
                    </a:lnTo>
                    <a:lnTo>
                      <a:pt x="188" y="131"/>
                    </a:lnTo>
                    <a:close/>
                    <a:moveTo>
                      <a:pt x="205" y="136"/>
                    </a:moveTo>
                    <a:lnTo>
                      <a:pt x="205" y="135"/>
                    </a:lnTo>
                    <a:lnTo>
                      <a:pt x="205" y="136"/>
                    </a:lnTo>
                    <a:lnTo>
                      <a:pt x="205" y="135"/>
                    </a:lnTo>
                    <a:lnTo>
                      <a:pt x="205" y="136"/>
                    </a:lnTo>
                    <a:close/>
                    <a:moveTo>
                      <a:pt x="207" y="136"/>
                    </a:moveTo>
                    <a:lnTo>
                      <a:pt x="205" y="136"/>
                    </a:lnTo>
                    <a:lnTo>
                      <a:pt x="205" y="138"/>
                    </a:lnTo>
                    <a:lnTo>
                      <a:pt x="207" y="138"/>
                    </a:lnTo>
                    <a:lnTo>
                      <a:pt x="205" y="138"/>
                    </a:lnTo>
                    <a:lnTo>
                      <a:pt x="207" y="138"/>
                    </a:lnTo>
                    <a:lnTo>
                      <a:pt x="205" y="140"/>
                    </a:lnTo>
                    <a:lnTo>
                      <a:pt x="205" y="138"/>
                    </a:lnTo>
                    <a:lnTo>
                      <a:pt x="205" y="136"/>
                    </a:lnTo>
                    <a:lnTo>
                      <a:pt x="205" y="138"/>
                    </a:lnTo>
                    <a:lnTo>
                      <a:pt x="205" y="136"/>
                    </a:lnTo>
                    <a:lnTo>
                      <a:pt x="207" y="136"/>
                    </a:lnTo>
                    <a:lnTo>
                      <a:pt x="205" y="136"/>
                    </a:lnTo>
                    <a:lnTo>
                      <a:pt x="207" y="136"/>
                    </a:lnTo>
                    <a:lnTo>
                      <a:pt x="207" y="135"/>
                    </a:lnTo>
                    <a:lnTo>
                      <a:pt x="207" y="136"/>
                    </a:lnTo>
                    <a:lnTo>
                      <a:pt x="207" y="135"/>
                    </a:lnTo>
                    <a:lnTo>
                      <a:pt x="207" y="136"/>
                    </a:lnTo>
                    <a:close/>
                    <a:moveTo>
                      <a:pt x="190" y="133"/>
                    </a:moveTo>
                    <a:lnTo>
                      <a:pt x="192" y="133"/>
                    </a:lnTo>
                    <a:lnTo>
                      <a:pt x="192" y="131"/>
                    </a:lnTo>
                    <a:lnTo>
                      <a:pt x="194" y="131"/>
                    </a:lnTo>
                    <a:lnTo>
                      <a:pt x="192" y="131"/>
                    </a:lnTo>
                    <a:lnTo>
                      <a:pt x="194" y="131"/>
                    </a:lnTo>
                    <a:lnTo>
                      <a:pt x="192" y="131"/>
                    </a:lnTo>
                    <a:lnTo>
                      <a:pt x="194" y="131"/>
                    </a:lnTo>
                    <a:lnTo>
                      <a:pt x="194" y="133"/>
                    </a:lnTo>
                    <a:lnTo>
                      <a:pt x="194" y="131"/>
                    </a:lnTo>
                    <a:lnTo>
                      <a:pt x="192" y="133"/>
                    </a:lnTo>
                    <a:lnTo>
                      <a:pt x="192" y="131"/>
                    </a:lnTo>
                    <a:lnTo>
                      <a:pt x="192" y="133"/>
                    </a:lnTo>
                    <a:lnTo>
                      <a:pt x="190" y="133"/>
                    </a:lnTo>
                    <a:close/>
                    <a:moveTo>
                      <a:pt x="213" y="138"/>
                    </a:moveTo>
                    <a:lnTo>
                      <a:pt x="213" y="136"/>
                    </a:lnTo>
                    <a:lnTo>
                      <a:pt x="215" y="136"/>
                    </a:lnTo>
                    <a:lnTo>
                      <a:pt x="213" y="136"/>
                    </a:lnTo>
                    <a:lnTo>
                      <a:pt x="213" y="138"/>
                    </a:lnTo>
                    <a:close/>
                    <a:moveTo>
                      <a:pt x="209" y="135"/>
                    </a:moveTo>
                    <a:lnTo>
                      <a:pt x="211" y="135"/>
                    </a:lnTo>
                    <a:lnTo>
                      <a:pt x="209" y="135"/>
                    </a:lnTo>
                    <a:close/>
                    <a:moveTo>
                      <a:pt x="201" y="133"/>
                    </a:moveTo>
                    <a:lnTo>
                      <a:pt x="199" y="133"/>
                    </a:lnTo>
                    <a:lnTo>
                      <a:pt x="199" y="131"/>
                    </a:lnTo>
                    <a:lnTo>
                      <a:pt x="199" y="133"/>
                    </a:lnTo>
                    <a:lnTo>
                      <a:pt x="201" y="133"/>
                    </a:lnTo>
                    <a:close/>
                    <a:moveTo>
                      <a:pt x="209" y="138"/>
                    </a:moveTo>
                    <a:lnTo>
                      <a:pt x="209" y="136"/>
                    </a:lnTo>
                    <a:lnTo>
                      <a:pt x="207" y="138"/>
                    </a:lnTo>
                    <a:lnTo>
                      <a:pt x="209" y="138"/>
                    </a:lnTo>
                    <a:lnTo>
                      <a:pt x="207" y="138"/>
                    </a:lnTo>
                    <a:lnTo>
                      <a:pt x="209" y="138"/>
                    </a:lnTo>
                    <a:lnTo>
                      <a:pt x="207" y="138"/>
                    </a:lnTo>
                    <a:lnTo>
                      <a:pt x="207" y="140"/>
                    </a:lnTo>
                    <a:lnTo>
                      <a:pt x="209" y="140"/>
                    </a:lnTo>
                    <a:lnTo>
                      <a:pt x="207" y="140"/>
                    </a:lnTo>
                    <a:lnTo>
                      <a:pt x="209" y="140"/>
                    </a:lnTo>
                    <a:lnTo>
                      <a:pt x="209" y="138"/>
                    </a:lnTo>
                    <a:lnTo>
                      <a:pt x="209" y="140"/>
                    </a:lnTo>
                    <a:lnTo>
                      <a:pt x="209" y="138"/>
                    </a:lnTo>
                    <a:lnTo>
                      <a:pt x="207" y="138"/>
                    </a:lnTo>
                    <a:lnTo>
                      <a:pt x="209" y="138"/>
                    </a:lnTo>
                    <a:lnTo>
                      <a:pt x="209" y="136"/>
                    </a:lnTo>
                    <a:lnTo>
                      <a:pt x="211" y="136"/>
                    </a:lnTo>
                    <a:lnTo>
                      <a:pt x="211" y="135"/>
                    </a:lnTo>
                    <a:lnTo>
                      <a:pt x="211" y="136"/>
                    </a:lnTo>
                    <a:lnTo>
                      <a:pt x="211" y="135"/>
                    </a:lnTo>
                    <a:lnTo>
                      <a:pt x="211" y="136"/>
                    </a:lnTo>
                    <a:lnTo>
                      <a:pt x="211" y="138"/>
                    </a:lnTo>
                    <a:lnTo>
                      <a:pt x="209" y="138"/>
                    </a:lnTo>
                    <a:lnTo>
                      <a:pt x="209" y="140"/>
                    </a:lnTo>
                    <a:lnTo>
                      <a:pt x="207" y="140"/>
                    </a:lnTo>
                    <a:lnTo>
                      <a:pt x="207" y="142"/>
                    </a:lnTo>
                    <a:lnTo>
                      <a:pt x="205" y="140"/>
                    </a:lnTo>
                    <a:lnTo>
                      <a:pt x="207" y="138"/>
                    </a:lnTo>
                    <a:lnTo>
                      <a:pt x="207" y="140"/>
                    </a:lnTo>
                    <a:lnTo>
                      <a:pt x="207" y="138"/>
                    </a:lnTo>
                    <a:lnTo>
                      <a:pt x="207" y="136"/>
                    </a:lnTo>
                    <a:lnTo>
                      <a:pt x="207" y="138"/>
                    </a:lnTo>
                    <a:lnTo>
                      <a:pt x="207" y="136"/>
                    </a:lnTo>
                    <a:lnTo>
                      <a:pt x="207" y="138"/>
                    </a:lnTo>
                    <a:lnTo>
                      <a:pt x="207" y="136"/>
                    </a:lnTo>
                    <a:lnTo>
                      <a:pt x="209" y="136"/>
                    </a:lnTo>
                    <a:lnTo>
                      <a:pt x="207" y="136"/>
                    </a:lnTo>
                    <a:lnTo>
                      <a:pt x="209" y="136"/>
                    </a:lnTo>
                    <a:lnTo>
                      <a:pt x="207" y="136"/>
                    </a:lnTo>
                    <a:lnTo>
                      <a:pt x="209" y="136"/>
                    </a:lnTo>
                    <a:lnTo>
                      <a:pt x="207" y="136"/>
                    </a:lnTo>
                    <a:lnTo>
                      <a:pt x="209" y="136"/>
                    </a:lnTo>
                    <a:lnTo>
                      <a:pt x="211" y="136"/>
                    </a:lnTo>
                    <a:lnTo>
                      <a:pt x="209" y="136"/>
                    </a:lnTo>
                    <a:lnTo>
                      <a:pt x="211" y="136"/>
                    </a:lnTo>
                    <a:lnTo>
                      <a:pt x="211" y="135"/>
                    </a:lnTo>
                    <a:lnTo>
                      <a:pt x="209" y="135"/>
                    </a:lnTo>
                    <a:lnTo>
                      <a:pt x="211" y="135"/>
                    </a:lnTo>
                    <a:lnTo>
                      <a:pt x="209" y="135"/>
                    </a:lnTo>
                    <a:lnTo>
                      <a:pt x="211" y="135"/>
                    </a:lnTo>
                    <a:lnTo>
                      <a:pt x="209" y="135"/>
                    </a:lnTo>
                    <a:lnTo>
                      <a:pt x="211" y="135"/>
                    </a:lnTo>
                    <a:lnTo>
                      <a:pt x="209" y="135"/>
                    </a:lnTo>
                    <a:lnTo>
                      <a:pt x="211" y="135"/>
                    </a:lnTo>
                    <a:lnTo>
                      <a:pt x="211" y="133"/>
                    </a:lnTo>
                    <a:lnTo>
                      <a:pt x="209" y="133"/>
                    </a:lnTo>
                    <a:lnTo>
                      <a:pt x="209" y="135"/>
                    </a:lnTo>
                    <a:lnTo>
                      <a:pt x="209" y="133"/>
                    </a:lnTo>
                    <a:lnTo>
                      <a:pt x="211" y="133"/>
                    </a:lnTo>
                    <a:lnTo>
                      <a:pt x="211" y="135"/>
                    </a:lnTo>
                    <a:lnTo>
                      <a:pt x="211" y="133"/>
                    </a:lnTo>
                    <a:lnTo>
                      <a:pt x="211" y="135"/>
                    </a:lnTo>
                    <a:lnTo>
                      <a:pt x="211" y="133"/>
                    </a:lnTo>
                    <a:lnTo>
                      <a:pt x="211" y="135"/>
                    </a:lnTo>
                    <a:lnTo>
                      <a:pt x="211" y="136"/>
                    </a:lnTo>
                    <a:lnTo>
                      <a:pt x="209" y="138"/>
                    </a:lnTo>
                    <a:lnTo>
                      <a:pt x="209" y="136"/>
                    </a:lnTo>
                    <a:lnTo>
                      <a:pt x="209" y="138"/>
                    </a:lnTo>
                    <a:close/>
                    <a:moveTo>
                      <a:pt x="201" y="133"/>
                    </a:moveTo>
                    <a:lnTo>
                      <a:pt x="199" y="133"/>
                    </a:lnTo>
                    <a:lnTo>
                      <a:pt x="201" y="133"/>
                    </a:lnTo>
                    <a:lnTo>
                      <a:pt x="201" y="131"/>
                    </a:lnTo>
                    <a:lnTo>
                      <a:pt x="201" y="133"/>
                    </a:lnTo>
                    <a:lnTo>
                      <a:pt x="201" y="131"/>
                    </a:lnTo>
                    <a:lnTo>
                      <a:pt x="203" y="131"/>
                    </a:lnTo>
                    <a:lnTo>
                      <a:pt x="201" y="131"/>
                    </a:lnTo>
                    <a:lnTo>
                      <a:pt x="203" y="131"/>
                    </a:lnTo>
                    <a:lnTo>
                      <a:pt x="201" y="131"/>
                    </a:lnTo>
                    <a:lnTo>
                      <a:pt x="203" y="131"/>
                    </a:lnTo>
                    <a:lnTo>
                      <a:pt x="203" y="133"/>
                    </a:lnTo>
                    <a:lnTo>
                      <a:pt x="201" y="133"/>
                    </a:lnTo>
                    <a:lnTo>
                      <a:pt x="201" y="135"/>
                    </a:lnTo>
                    <a:lnTo>
                      <a:pt x="199" y="135"/>
                    </a:lnTo>
                    <a:lnTo>
                      <a:pt x="201" y="135"/>
                    </a:lnTo>
                    <a:lnTo>
                      <a:pt x="201" y="133"/>
                    </a:lnTo>
                    <a:lnTo>
                      <a:pt x="201" y="135"/>
                    </a:lnTo>
                    <a:lnTo>
                      <a:pt x="199" y="133"/>
                    </a:lnTo>
                    <a:lnTo>
                      <a:pt x="201" y="133"/>
                    </a:lnTo>
                    <a:close/>
                    <a:moveTo>
                      <a:pt x="209" y="133"/>
                    </a:moveTo>
                    <a:lnTo>
                      <a:pt x="209" y="135"/>
                    </a:lnTo>
                    <a:lnTo>
                      <a:pt x="209" y="133"/>
                    </a:lnTo>
                    <a:lnTo>
                      <a:pt x="209" y="135"/>
                    </a:lnTo>
                    <a:lnTo>
                      <a:pt x="209" y="136"/>
                    </a:lnTo>
                    <a:lnTo>
                      <a:pt x="209" y="135"/>
                    </a:lnTo>
                    <a:lnTo>
                      <a:pt x="207" y="135"/>
                    </a:lnTo>
                    <a:lnTo>
                      <a:pt x="209" y="135"/>
                    </a:lnTo>
                    <a:lnTo>
                      <a:pt x="207" y="135"/>
                    </a:lnTo>
                    <a:lnTo>
                      <a:pt x="207" y="136"/>
                    </a:lnTo>
                    <a:lnTo>
                      <a:pt x="207" y="135"/>
                    </a:lnTo>
                    <a:lnTo>
                      <a:pt x="209" y="135"/>
                    </a:lnTo>
                    <a:lnTo>
                      <a:pt x="209" y="133"/>
                    </a:lnTo>
                    <a:lnTo>
                      <a:pt x="207" y="133"/>
                    </a:lnTo>
                    <a:lnTo>
                      <a:pt x="209" y="133"/>
                    </a:lnTo>
                    <a:close/>
                    <a:moveTo>
                      <a:pt x="207" y="135"/>
                    </a:moveTo>
                    <a:lnTo>
                      <a:pt x="209" y="135"/>
                    </a:lnTo>
                    <a:lnTo>
                      <a:pt x="207" y="135"/>
                    </a:lnTo>
                    <a:close/>
                    <a:moveTo>
                      <a:pt x="198" y="133"/>
                    </a:moveTo>
                    <a:lnTo>
                      <a:pt x="198" y="131"/>
                    </a:lnTo>
                    <a:lnTo>
                      <a:pt x="199" y="129"/>
                    </a:lnTo>
                    <a:lnTo>
                      <a:pt x="199" y="131"/>
                    </a:lnTo>
                    <a:lnTo>
                      <a:pt x="199" y="129"/>
                    </a:lnTo>
                    <a:lnTo>
                      <a:pt x="199" y="131"/>
                    </a:lnTo>
                    <a:lnTo>
                      <a:pt x="198" y="131"/>
                    </a:lnTo>
                    <a:lnTo>
                      <a:pt x="198" y="133"/>
                    </a:lnTo>
                    <a:close/>
                    <a:moveTo>
                      <a:pt x="215" y="133"/>
                    </a:moveTo>
                    <a:lnTo>
                      <a:pt x="213" y="133"/>
                    </a:lnTo>
                    <a:lnTo>
                      <a:pt x="215" y="133"/>
                    </a:lnTo>
                    <a:close/>
                    <a:moveTo>
                      <a:pt x="215" y="133"/>
                    </a:moveTo>
                    <a:lnTo>
                      <a:pt x="213" y="133"/>
                    </a:lnTo>
                    <a:lnTo>
                      <a:pt x="215" y="133"/>
                    </a:lnTo>
                    <a:close/>
                    <a:moveTo>
                      <a:pt x="201" y="129"/>
                    </a:moveTo>
                    <a:lnTo>
                      <a:pt x="201" y="131"/>
                    </a:lnTo>
                    <a:lnTo>
                      <a:pt x="201" y="129"/>
                    </a:lnTo>
                    <a:close/>
                    <a:moveTo>
                      <a:pt x="196" y="127"/>
                    </a:moveTo>
                    <a:lnTo>
                      <a:pt x="194" y="127"/>
                    </a:lnTo>
                    <a:lnTo>
                      <a:pt x="196" y="127"/>
                    </a:lnTo>
                    <a:close/>
                    <a:moveTo>
                      <a:pt x="196" y="127"/>
                    </a:moveTo>
                    <a:lnTo>
                      <a:pt x="196" y="129"/>
                    </a:lnTo>
                    <a:lnTo>
                      <a:pt x="196" y="127"/>
                    </a:lnTo>
                    <a:close/>
                    <a:moveTo>
                      <a:pt x="201" y="129"/>
                    </a:moveTo>
                    <a:lnTo>
                      <a:pt x="201" y="131"/>
                    </a:lnTo>
                    <a:lnTo>
                      <a:pt x="201" y="129"/>
                    </a:lnTo>
                    <a:lnTo>
                      <a:pt x="199" y="129"/>
                    </a:lnTo>
                    <a:lnTo>
                      <a:pt x="201" y="129"/>
                    </a:lnTo>
                    <a:close/>
                    <a:moveTo>
                      <a:pt x="205" y="131"/>
                    </a:moveTo>
                    <a:lnTo>
                      <a:pt x="205" y="129"/>
                    </a:lnTo>
                    <a:lnTo>
                      <a:pt x="205" y="131"/>
                    </a:lnTo>
                    <a:close/>
                    <a:moveTo>
                      <a:pt x="213" y="133"/>
                    </a:moveTo>
                    <a:lnTo>
                      <a:pt x="211" y="133"/>
                    </a:lnTo>
                    <a:lnTo>
                      <a:pt x="213" y="133"/>
                    </a:lnTo>
                    <a:lnTo>
                      <a:pt x="211" y="133"/>
                    </a:lnTo>
                    <a:lnTo>
                      <a:pt x="213" y="133"/>
                    </a:lnTo>
                    <a:lnTo>
                      <a:pt x="211" y="133"/>
                    </a:lnTo>
                    <a:lnTo>
                      <a:pt x="211" y="131"/>
                    </a:lnTo>
                    <a:lnTo>
                      <a:pt x="213" y="131"/>
                    </a:lnTo>
                    <a:lnTo>
                      <a:pt x="213" y="133"/>
                    </a:lnTo>
                    <a:close/>
                    <a:moveTo>
                      <a:pt x="211" y="129"/>
                    </a:moveTo>
                    <a:lnTo>
                      <a:pt x="211" y="131"/>
                    </a:lnTo>
                    <a:lnTo>
                      <a:pt x="211" y="129"/>
                    </a:lnTo>
                    <a:close/>
                    <a:moveTo>
                      <a:pt x="215" y="135"/>
                    </a:moveTo>
                    <a:lnTo>
                      <a:pt x="213" y="135"/>
                    </a:lnTo>
                    <a:lnTo>
                      <a:pt x="213" y="136"/>
                    </a:lnTo>
                    <a:lnTo>
                      <a:pt x="215" y="135"/>
                    </a:lnTo>
                    <a:lnTo>
                      <a:pt x="213" y="135"/>
                    </a:lnTo>
                    <a:lnTo>
                      <a:pt x="215" y="135"/>
                    </a:lnTo>
                    <a:lnTo>
                      <a:pt x="215" y="136"/>
                    </a:lnTo>
                    <a:lnTo>
                      <a:pt x="215" y="135"/>
                    </a:lnTo>
                    <a:lnTo>
                      <a:pt x="215" y="136"/>
                    </a:lnTo>
                    <a:lnTo>
                      <a:pt x="213" y="136"/>
                    </a:lnTo>
                    <a:lnTo>
                      <a:pt x="215" y="136"/>
                    </a:lnTo>
                    <a:lnTo>
                      <a:pt x="213" y="136"/>
                    </a:lnTo>
                    <a:lnTo>
                      <a:pt x="213" y="138"/>
                    </a:lnTo>
                    <a:lnTo>
                      <a:pt x="215" y="138"/>
                    </a:lnTo>
                    <a:lnTo>
                      <a:pt x="213" y="138"/>
                    </a:lnTo>
                    <a:lnTo>
                      <a:pt x="211" y="138"/>
                    </a:lnTo>
                    <a:lnTo>
                      <a:pt x="213" y="138"/>
                    </a:lnTo>
                    <a:lnTo>
                      <a:pt x="211" y="138"/>
                    </a:lnTo>
                    <a:lnTo>
                      <a:pt x="213" y="138"/>
                    </a:lnTo>
                    <a:lnTo>
                      <a:pt x="211" y="140"/>
                    </a:lnTo>
                    <a:lnTo>
                      <a:pt x="211" y="142"/>
                    </a:lnTo>
                    <a:lnTo>
                      <a:pt x="211" y="140"/>
                    </a:lnTo>
                    <a:lnTo>
                      <a:pt x="209" y="138"/>
                    </a:lnTo>
                    <a:lnTo>
                      <a:pt x="211" y="138"/>
                    </a:lnTo>
                    <a:lnTo>
                      <a:pt x="209" y="138"/>
                    </a:lnTo>
                    <a:lnTo>
                      <a:pt x="211" y="138"/>
                    </a:lnTo>
                    <a:lnTo>
                      <a:pt x="211" y="136"/>
                    </a:lnTo>
                    <a:lnTo>
                      <a:pt x="211" y="135"/>
                    </a:lnTo>
                    <a:lnTo>
                      <a:pt x="211" y="133"/>
                    </a:lnTo>
                    <a:lnTo>
                      <a:pt x="213" y="133"/>
                    </a:lnTo>
                    <a:lnTo>
                      <a:pt x="211" y="133"/>
                    </a:lnTo>
                    <a:lnTo>
                      <a:pt x="213" y="133"/>
                    </a:lnTo>
                    <a:lnTo>
                      <a:pt x="213" y="135"/>
                    </a:lnTo>
                    <a:lnTo>
                      <a:pt x="213" y="133"/>
                    </a:lnTo>
                    <a:lnTo>
                      <a:pt x="213" y="135"/>
                    </a:lnTo>
                    <a:lnTo>
                      <a:pt x="211" y="135"/>
                    </a:lnTo>
                    <a:lnTo>
                      <a:pt x="213" y="135"/>
                    </a:lnTo>
                    <a:lnTo>
                      <a:pt x="211" y="135"/>
                    </a:lnTo>
                    <a:lnTo>
                      <a:pt x="213" y="135"/>
                    </a:lnTo>
                    <a:lnTo>
                      <a:pt x="213" y="136"/>
                    </a:lnTo>
                    <a:lnTo>
                      <a:pt x="213" y="138"/>
                    </a:lnTo>
                    <a:lnTo>
                      <a:pt x="213" y="136"/>
                    </a:lnTo>
                    <a:lnTo>
                      <a:pt x="213" y="135"/>
                    </a:lnTo>
                    <a:lnTo>
                      <a:pt x="213" y="133"/>
                    </a:lnTo>
                    <a:lnTo>
                      <a:pt x="215" y="133"/>
                    </a:lnTo>
                    <a:lnTo>
                      <a:pt x="213" y="133"/>
                    </a:lnTo>
                    <a:lnTo>
                      <a:pt x="215" y="133"/>
                    </a:lnTo>
                    <a:lnTo>
                      <a:pt x="215" y="135"/>
                    </a:lnTo>
                    <a:lnTo>
                      <a:pt x="215" y="133"/>
                    </a:lnTo>
                    <a:lnTo>
                      <a:pt x="215" y="135"/>
                    </a:lnTo>
                    <a:lnTo>
                      <a:pt x="215" y="133"/>
                    </a:lnTo>
                    <a:lnTo>
                      <a:pt x="217" y="133"/>
                    </a:lnTo>
                    <a:lnTo>
                      <a:pt x="217" y="131"/>
                    </a:lnTo>
                    <a:lnTo>
                      <a:pt x="217" y="133"/>
                    </a:lnTo>
                    <a:lnTo>
                      <a:pt x="217" y="131"/>
                    </a:lnTo>
                    <a:lnTo>
                      <a:pt x="219" y="131"/>
                    </a:lnTo>
                    <a:lnTo>
                      <a:pt x="217" y="131"/>
                    </a:lnTo>
                    <a:lnTo>
                      <a:pt x="217" y="133"/>
                    </a:lnTo>
                    <a:lnTo>
                      <a:pt x="217" y="131"/>
                    </a:lnTo>
                    <a:lnTo>
                      <a:pt x="217" y="133"/>
                    </a:lnTo>
                    <a:lnTo>
                      <a:pt x="219" y="133"/>
                    </a:lnTo>
                    <a:lnTo>
                      <a:pt x="219" y="131"/>
                    </a:lnTo>
                    <a:lnTo>
                      <a:pt x="219" y="133"/>
                    </a:lnTo>
                    <a:lnTo>
                      <a:pt x="217" y="133"/>
                    </a:lnTo>
                    <a:lnTo>
                      <a:pt x="215" y="135"/>
                    </a:lnTo>
                    <a:lnTo>
                      <a:pt x="213" y="135"/>
                    </a:lnTo>
                    <a:lnTo>
                      <a:pt x="215" y="135"/>
                    </a:lnTo>
                    <a:close/>
                    <a:moveTo>
                      <a:pt x="215" y="135"/>
                    </a:moveTo>
                    <a:lnTo>
                      <a:pt x="213" y="135"/>
                    </a:lnTo>
                    <a:lnTo>
                      <a:pt x="215" y="135"/>
                    </a:lnTo>
                    <a:close/>
                    <a:moveTo>
                      <a:pt x="217" y="131"/>
                    </a:moveTo>
                    <a:lnTo>
                      <a:pt x="217" y="133"/>
                    </a:lnTo>
                    <a:lnTo>
                      <a:pt x="217" y="131"/>
                    </a:lnTo>
                    <a:lnTo>
                      <a:pt x="217" y="133"/>
                    </a:lnTo>
                    <a:lnTo>
                      <a:pt x="215" y="133"/>
                    </a:lnTo>
                    <a:lnTo>
                      <a:pt x="217" y="133"/>
                    </a:lnTo>
                    <a:lnTo>
                      <a:pt x="217" y="131"/>
                    </a:lnTo>
                    <a:close/>
                    <a:moveTo>
                      <a:pt x="215" y="131"/>
                    </a:moveTo>
                    <a:lnTo>
                      <a:pt x="215" y="133"/>
                    </a:lnTo>
                    <a:lnTo>
                      <a:pt x="215" y="131"/>
                    </a:lnTo>
                    <a:lnTo>
                      <a:pt x="217" y="131"/>
                    </a:lnTo>
                    <a:lnTo>
                      <a:pt x="215" y="131"/>
                    </a:lnTo>
                    <a:lnTo>
                      <a:pt x="217" y="131"/>
                    </a:lnTo>
                    <a:lnTo>
                      <a:pt x="215" y="131"/>
                    </a:lnTo>
                    <a:lnTo>
                      <a:pt x="215" y="133"/>
                    </a:lnTo>
                    <a:lnTo>
                      <a:pt x="215" y="131"/>
                    </a:lnTo>
                    <a:close/>
                    <a:moveTo>
                      <a:pt x="213" y="129"/>
                    </a:moveTo>
                    <a:lnTo>
                      <a:pt x="211" y="129"/>
                    </a:lnTo>
                    <a:lnTo>
                      <a:pt x="213" y="129"/>
                    </a:lnTo>
                    <a:lnTo>
                      <a:pt x="211" y="129"/>
                    </a:lnTo>
                    <a:lnTo>
                      <a:pt x="211" y="131"/>
                    </a:lnTo>
                    <a:lnTo>
                      <a:pt x="213" y="131"/>
                    </a:lnTo>
                    <a:lnTo>
                      <a:pt x="211" y="131"/>
                    </a:lnTo>
                    <a:lnTo>
                      <a:pt x="211" y="129"/>
                    </a:lnTo>
                    <a:lnTo>
                      <a:pt x="213" y="129"/>
                    </a:lnTo>
                    <a:close/>
                    <a:moveTo>
                      <a:pt x="198" y="131"/>
                    </a:moveTo>
                    <a:lnTo>
                      <a:pt x="196" y="131"/>
                    </a:lnTo>
                    <a:lnTo>
                      <a:pt x="198" y="131"/>
                    </a:lnTo>
                    <a:lnTo>
                      <a:pt x="196" y="131"/>
                    </a:lnTo>
                    <a:lnTo>
                      <a:pt x="198" y="131"/>
                    </a:lnTo>
                    <a:lnTo>
                      <a:pt x="196" y="131"/>
                    </a:lnTo>
                    <a:lnTo>
                      <a:pt x="194" y="131"/>
                    </a:lnTo>
                    <a:lnTo>
                      <a:pt x="194" y="133"/>
                    </a:lnTo>
                    <a:lnTo>
                      <a:pt x="196" y="133"/>
                    </a:lnTo>
                    <a:lnTo>
                      <a:pt x="194" y="133"/>
                    </a:lnTo>
                    <a:lnTo>
                      <a:pt x="196" y="133"/>
                    </a:lnTo>
                    <a:lnTo>
                      <a:pt x="198" y="131"/>
                    </a:lnTo>
                    <a:lnTo>
                      <a:pt x="198" y="133"/>
                    </a:lnTo>
                    <a:lnTo>
                      <a:pt x="198" y="131"/>
                    </a:lnTo>
                    <a:lnTo>
                      <a:pt x="198" y="133"/>
                    </a:lnTo>
                    <a:lnTo>
                      <a:pt x="196" y="133"/>
                    </a:lnTo>
                    <a:lnTo>
                      <a:pt x="198" y="133"/>
                    </a:lnTo>
                    <a:lnTo>
                      <a:pt x="196" y="133"/>
                    </a:lnTo>
                    <a:lnTo>
                      <a:pt x="194" y="133"/>
                    </a:lnTo>
                    <a:lnTo>
                      <a:pt x="192" y="133"/>
                    </a:lnTo>
                    <a:lnTo>
                      <a:pt x="194" y="133"/>
                    </a:lnTo>
                    <a:lnTo>
                      <a:pt x="194" y="131"/>
                    </a:lnTo>
                    <a:lnTo>
                      <a:pt x="194" y="133"/>
                    </a:lnTo>
                    <a:lnTo>
                      <a:pt x="194" y="131"/>
                    </a:lnTo>
                    <a:lnTo>
                      <a:pt x="194" y="129"/>
                    </a:lnTo>
                    <a:lnTo>
                      <a:pt x="196" y="129"/>
                    </a:lnTo>
                    <a:lnTo>
                      <a:pt x="194" y="129"/>
                    </a:lnTo>
                    <a:lnTo>
                      <a:pt x="196" y="129"/>
                    </a:lnTo>
                    <a:lnTo>
                      <a:pt x="194" y="129"/>
                    </a:lnTo>
                    <a:lnTo>
                      <a:pt x="196" y="129"/>
                    </a:lnTo>
                    <a:lnTo>
                      <a:pt x="194" y="131"/>
                    </a:lnTo>
                    <a:lnTo>
                      <a:pt x="196" y="131"/>
                    </a:lnTo>
                    <a:lnTo>
                      <a:pt x="194" y="131"/>
                    </a:lnTo>
                    <a:lnTo>
                      <a:pt x="194" y="129"/>
                    </a:lnTo>
                    <a:lnTo>
                      <a:pt x="194" y="131"/>
                    </a:lnTo>
                    <a:lnTo>
                      <a:pt x="196" y="131"/>
                    </a:lnTo>
                    <a:lnTo>
                      <a:pt x="196" y="129"/>
                    </a:lnTo>
                    <a:lnTo>
                      <a:pt x="196" y="131"/>
                    </a:lnTo>
                    <a:lnTo>
                      <a:pt x="196" y="129"/>
                    </a:lnTo>
                    <a:lnTo>
                      <a:pt x="196" y="131"/>
                    </a:lnTo>
                    <a:lnTo>
                      <a:pt x="198" y="131"/>
                    </a:lnTo>
                    <a:lnTo>
                      <a:pt x="198" y="129"/>
                    </a:lnTo>
                    <a:lnTo>
                      <a:pt x="198" y="131"/>
                    </a:lnTo>
                    <a:lnTo>
                      <a:pt x="198" y="129"/>
                    </a:lnTo>
                    <a:lnTo>
                      <a:pt x="198" y="131"/>
                    </a:lnTo>
                    <a:lnTo>
                      <a:pt x="198" y="129"/>
                    </a:lnTo>
                    <a:lnTo>
                      <a:pt x="198" y="131"/>
                    </a:lnTo>
                    <a:lnTo>
                      <a:pt x="198" y="129"/>
                    </a:lnTo>
                    <a:lnTo>
                      <a:pt x="198" y="127"/>
                    </a:lnTo>
                    <a:lnTo>
                      <a:pt x="198" y="125"/>
                    </a:lnTo>
                    <a:lnTo>
                      <a:pt x="199" y="125"/>
                    </a:lnTo>
                    <a:lnTo>
                      <a:pt x="199" y="123"/>
                    </a:lnTo>
                    <a:lnTo>
                      <a:pt x="199" y="125"/>
                    </a:lnTo>
                    <a:lnTo>
                      <a:pt x="201" y="125"/>
                    </a:lnTo>
                    <a:lnTo>
                      <a:pt x="199" y="125"/>
                    </a:lnTo>
                    <a:lnTo>
                      <a:pt x="199" y="127"/>
                    </a:lnTo>
                    <a:lnTo>
                      <a:pt x="199" y="125"/>
                    </a:lnTo>
                    <a:lnTo>
                      <a:pt x="198" y="125"/>
                    </a:lnTo>
                    <a:lnTo>
                      <a:pt x="198" y="127"/>
                    </a:lnTo>
                    <a:lnTo>
                      <a:pt x="198" y="129"/>
                    </a:lnTo>
                    <a:lnTo>
                      <a:pt x="199" y="129"/>
                    </a:lnTo>
                    <a:lnTo>
                      <a:pt x="199" y="127"/>
                    </a:lnTo>
                    <a:lnTo>
                      <a:pt x="199" y="129"/>
                    </a:lnTo>
                    <a:lnTo>
                      <a:pt x="199" y="127"/>
                    </a:lnTo>
                    <a:lnTo>
                      <a:pt x="199" y="125"/>
                    </a:lnTo>
                    <a:lnTo>
                      <a:pt x="199" y="127"/>
                    </a:lnTo>
                    <a:lnTo>
                      <a:pt x="199" y="125"/>
                    </a:lnTo>
                    <a:lnTo>
                      <a:pt x="199" y="127"/>
                    </a:lnTo>
                    <a:lnTo>
                      <a:pt x="199" y="125"/>
                    </a:lnTo>
                    <a:lnTo>
                      <a:pt x="199" y="127"/>
                    </a:lnTo>
                    <a:lnTo>
                      <a:pt x="201" y="127"/>
                    </a:lnTo>
                    <a:lnTo>
                      <a:pt x="201" y="125"/>
                    </a:lnTo>
                    <a:lnTo>
                      <a:pt x="203" y="125"/>
                    </a:lnTo>
                    <a:lnTo>
                      <a:pt x="201" y="125"/>
                    </a:lnTo>
                    <a:lnTo>
                      <a:pt x="203" y="125"/>
                    </a:lnTo>
                    <a:lnTo>
                      <a:pt x="203" y="127"/>
                    </a:lnTo>
                    <a:lnTo>
                      <a:pt x="201" y="127"/>
                    </a:lnTo>
                    <a:lnTo>
                      <a:pt x="201" y="125"/>
                    </a:lnTo>
                    <a:lnTo>
                      <a:pt x="201" y="127"/>
                    </a:lnTo>
                    <a:lnTo>
                      <a:pt x="199" y="127"/>
                    </a:lnTo>
                    <a:lnTo>
                      <a:pt x="199" y="129"/>
                    </a:lnTo>
                    <a:lnTo>
                      <a:pt x="201" y="127"/>
                    </a:lnTo>
                    <a:lnTo>
                      <a:pt x="201" y="129"/>
                    </a:lnTo>
                    <a:lnTo>
                      <a:pt x="199" y="129"/>
                    </a:lnTo>
                    <a:lnTo>
                      <a:pt x="198" y="129"/>
                    </a:lnTo>
                    <a:lnTo>
                      <a:pt x="198" y="131"/>
                    </a:lnTo>
                    <a:close/>
                    <a:moveTo>
                      <a:pt x="205" y="127"/>
                    </a:moveTo>
                    <a:lnTo>
                      <a:pt x="205" y="129"/>
                    </a:lnTo>
                    <a:lnTo>
                      <a:pt x="205" y="127"/>
                    </a:lnTo>
                    <a:lnTo>
                      <a:pt x="205" y="129"/>
                    </a:lnTo>
                    <a:lnTo>
                      <a:pt x="205" y="131"/>
                    </a:lnTo>
                    <a:lnTo>
                      <a:pt x="205" y="129"/>
                    </a:lnTo>
                    <a:lnTo>
                      <a:pt x="205" y="131"/>
                    </a:lnTo>
                    <a:lnTo>
                      <a:pt x="205" y="133"/>
                    </a:lnTo>
                    <a:lnTo>
                      <a:pt x="205" y="135"/>
                    </a:lnTo>
                    <a:lnTo>
                      <a:pt x="203" y="135"/>
                    </a:lnTo>
                    <a:lnTo>
                      <a:pt x="205" y="133"/>
                    </a:lnTo>
                    <a:lnTo>
                      <a:pt x="203" y="133"/>
                    </a:lnTo>
                    <a:lnTo>
                      <a:pt x="205" y="133"/>
                    </a:lnTo>
                    <a:lnTo>
                      <a:pt x="203" y="135"/>
                    </a:lnTo>
                    <a:lnTo>
                      <a:pt x="205" y="135"/>
                    </a:lnTo>
                    <a:lnTo>
                      <a:pt x="205" y="133"/>
                    </a:lnTo>
                    <a:lnTo>
                      <a:pt x="205" y="131"/>
                    </a:lnTo>
                    <a:lnTo>
                      <a:pt x="205" y="133"/>
                    </a:lnTo>
                    <a:lnTo>
                      <a:pt x="205" y="131"/>
                    </a:lnTo>
                    <a:lnTo>
                      <a:pt x="205" y="133"/>
                    </a:lnTo>
                    <a:lnTo>
                      <a:pt x="205" y="135"/>
                    </a:lnTo>
                    <a:lnTo>
                      <a:pt x="203" y="135"/>
                    </a:lnTo>
                    <a:lnTo>
                      <a:pt x="203" y="136"/>
                    </a:lnTo>
                    <a:lnTo>
                      <a:pt x="203" y="138"/>
                    </a:lnTo>
                    <a:lnTo>
                      <a:pt x="203" y="136"/>
                    </a:lnTo>
                    <a:lnTo>
                      <a:pt x="203" y="138"/>
                    </a:lnTo>
                    <a:lnTo>
                      <a:pt x="201" y="140"/>
                    </a:lnTo>
                    <a:lnTo>
                      <a:pt x="199" y="140"/>
                    </a:lnTo>
                    <a:lnTo>
                      <a:pt x="199" y="138"/>
                    </a:lnTo>
                    <a:lnTo>
                      <a:pt x="199" y="140"/>
                    </a:lnTo>
                    <a:lnTo>
                      <a:pt x="198" y="140"/>
                    </a:lnTo>
                    <a:lnTo>
                      <a:pt x="198" y="142"/>
                    </a:lnTo>
                    <a:lnTo>
                      <a:pt x="196" y="140"/>
                    </a:lnTo>
                    <a:lnTo>
                      <a:pt x="194" y="138"/>
                    </a:lnTo>
                    <a:lnTo>
                      <a:pt x="194" y="136"/>
                    </a:lnTo>
                    <a:lnTo>
                      <a:pt x="192" y="136"/>
                    </a:lnTo>
                    <a:lnTo>
                      <a:pt x="192" y="138"/>
                    </a:lnTo>
                    <a:lnTo>
                      <a:pt x="192" y="136"/>
                    </a:lnTo>
                    <a:lnTo>
                      <a:pt x="192" y="135"/>
                    </a:lnTo>
                    <a:lnTo>
                      <a:pt x="194" y="135"/>
                    </a:lnTo>
                    <a:lnTo>
                      <a:pt x="194" y="136"/>
                    </a:lnTo>
                    <a:lnTo>
                      <a:pt x="194" y="135"/>
                    </a:lnTo>
                    <a:lnTo>
                      <a:pt x="194" y="136"/>
                    </a:lnTo>
                    <a:lnTo>
                      <a:pt x="194" y="135"/>
                    </a:lnTo>
                    <a:lnTo>
                      <a:pt x="194" y="136"/>
                    </a:lnTo>
                    <a:lnTo>
                      <a:pt x="194" y="135"/>
                    </a:lnTo>
                    <a:lnTo>
                      <a:pt x="196" y="136"/>
                    </a:lnTo>
                    <a:lnTo>
                      <a:pt x="196" y="135"/>
                    </a:lnTo>
                    <a:lnTo>
                      <a:pt x="196" y="136"/>
                    </a:lnTo>
                    <a:lnTo>
                      <a:pt x="196" y="135"/>
                    </a:lnTo>
                    <a:lnTo>
                      <a:pt x="196" y="136"/>
                    </a:lnTo>
                    <a:lnTo>
                      <a:pt x="196" y="135"/>
                    </a:lnTo>
                    <a:lnTo>
                      <a:pt x="196" y="136"/>
                    </a:lnTo>
                    <a:lnTo>
                      <a:pt x="196" y="135"/>
                    </a:lnTo>
                    <a:lnTo>
                      <a:pt x="194" y="135"/>
                    </a:lnTo>
                    <a:lnTo>
                      <a:pt x="194" y="133"/>
                    </a:lnTo>
                    <a:lnTo>
                      <a:pt x="196" y="133"/>
                    </a:lnTo>
                    <a:lnTo>
                      <a:pt x="196" y="135"/>
                    </a:lnTo>
                    <a:lnTo>
                      <a:pt x="196" y="136"/>
                    </a:lnTo>
                    <a:lnTo>
                      <a:pt x="196" y="135"/>
                    </a:lnTo>
                    <a:lnTo>
                      <a:pt x="198" y="135"/>
                    </a:lnTo>
                    <a:lnTo>
                      <a:pt x="196" y="135"/>
                    </a:lnTo>
                    <a:lnTo>
                      <a:pt x="198" y="135"/>
                    </a:lnTo>
                    <a:lnTo>
                      <a:pt x="196" y="135"/>
                    </a:lnTo>
                    <a:lnTo>
                      <a:pt x="196" y="133"/>
                    </a:lnTo>
                    <a:lnTo>
                      <a:pt x="198" y="135"/>
                    </a:lnTo>
                    <a:lnTo>
                      <a:pt x="198" y="133"/>
                    </a:lnTo>
                    <a:lnTo>
                      <a:pt x="198" y="135"/>
                    </a:lnTo>
                    <a:lnTo>
                      <a:pt x="198" y="133"/>
                    </a:lnTo>
                    <a:lnTo>
                      <a:pt x="198" y="135"/>
                    </a:lnTo>
                    <a:lnTo>
                      <a:pt x="198" y="133"/>
                    </a:lnTo>
                    <a:lnTo>
                      <a:pt x="198" y="135"/>
                    </a:lnTo>
                    <a:lnTo>
                      <a:pt x="198" y="133"/>
                    </a:lnTo>
                    <a:lnTo>
                      <a:pt x="198" y="135"/>
                    </a:lnTo>
                    <a:lnTo>
                      <a:pt x="198" y="136"/>
                    </a:lnTo>
                    <a:lnTo>
                      <a:pt x="196" y="136"/>
                    </a:lnTo>
                    <a:lnTo>
                      <a:pt x="198" y="136"/>
                    </a:lnTo>
                    <a:lnTo>
                      <a:pt x="198" y="135"/>
                    </a:lnTo>
                    <a:lnTo>
                      <a:pt x="199" y="135"/>
                    </a:lnTo>
                    <a:lnTo>
                      <a:pt x="199" y="136"/>
                    </a:lnTo>
                    <a:lnTo>
                      <a:pt x="199" y="135"/>
                    </a:lnTo>
                    <a:lnTo>
                      <a:pt x="199" y="136"/>
                    </a:lnTo>
                    <a:lnTo>
                      <a:pt x="198" y="136"/>
                    </a:lnTo>
                    <a:lnTo>
                      <a:pt x="199" y="136"/>
                    </a:lnTo>
                    <a:lnTo>
                      <a:pt x="198" y="136"/>
                    </a:lnTo>
                    <a:lnTo>
                      <a:pt x="199" y="136"/>
                    </a:lnTo>
                    <a:lnTo>
                      <a:pt x="199" y="138"/>
                    </a:lnTo>
                    <a:lnTo>
                      <a:pt x="199" y="136"/>
                    </a:lnTo>
                    <a:lnTo>
                      <a:pt x="199" y="138"/>
                    </a:lnTo>
                    <a:lnTo>
                      <a:pt x="198" y="138"/>
                    </a:lnTo>
                    <a:lnTo>
                      <a:pt x="199" y="138"/>
                    </a:lnTo>
                    <a:lnTo>
                      <a:pt x="198" y="138"/>
                    </a:lnTo>
                    <a:lnTo>
                      <a:pt x="199" y="138"/>
                    </a:lnTo>
                    <a:lnTo>
                      <a:pt x="199" y="140"/>
                    </a:lnTo>
                    <a:lnTo>
                      <a:pt x="199" y="138"/>
                    </a:lnTo>
                    <a:lnTo>
                      <a:pt x="201" y="136"/>
                    </a:lnTo>
                    <a:lnTo>
                      <a:pt x="199" y="136"/>
                    </a:lnTo>
                    <a:lnTo>
                      <a:pt x="201" y="136"/>
                    </a:lnTo>
                    <a:lnTo>
                      <a:pt x="199" y="138"/>
                    </a:lnTo>
                    <a:lnTo>
                      <a:pt x="201" y="138"/>
                    </a:lnTo>
                    <a:lnTo>
                      <a:pt x="199" y="138"/>
                    </a:lnTo>
                    <a:lnTo>
                      <a:pt x="201" y="138"/>
                    </a:lnTo>
                    <a:lnTo>
                      <a:pt x="201" y="136"/>
                    </a:lnTo>
                    <a:lnTo>
                      <a:pt x="201" y="138"/>
                    </a:lnTo>
                    <a:lnTo>
                      <a:pt x="201" y="136"/>
                    </a:lnTo>
                    <a:lnTo>
                      <a:pt x="203" y="136"/>
                    </a:lnTo>
                    <a:lnTo>
                      <a:pt x="201" y="135"/>
                    </a:lnTo>
                    <a:lnTo>
                      <a:pt x="201" y="133"/>
                    </a:lnTo>
                    <a:lnTo>
                      <a:pt x="201" y="135"/>
                    </a:lnTo>
                    <a:lnTo>
                      <a:pt x="201" y="133"/>
                    </a:lnTo>
                    <a:lnTo>
                      <a:pt x="203" y="133"/>
                    </a:lnTo>
                    <a:lnTo>
                      <a:pt x="201" y="133"/>
                    </a:lnTo>
                    <a:lnTo>
                      <a:pt x="203" y="133"/>
                    </a:lnTo>
                    <a:lnTo>
                      <a:pt x="203" y="131"/>
                    </a:lnTo>
                    <a:lnTo>
                      <a:pt x="201" y="129"/>
                    </a:lnTo>
                    <a:lnTo>
                      <a:pt x="203" y="129"/>
                    </a:lnTo>
                    <a:lnTo>
                      <a:pt x="201" y="129"/>
                    </a:lnTo>
                    <a:lnTo>
                      <a:pt x="201" y="127"/>
                    </a:lnTo>
                    <a:lnTo>
                      <a:pt x="201" y="129"/>
                    </a:lnTo>
                    <a:lnTo>
                      <a:pt x="203" y="129"/>
                    </a:lnTo>
                    <a:lnTo>
                      <a:pt x="203" y="127"/>
                    </a:lnTo>
                    <a:lnTo>
                      <a:pt x="203" y="129"/>
                    </a:lnTo>
                    <a:lnTo>
                      <a:pt x="203" y="127"/>
                    </a:lnTo>
                    <a:lnTo>
                      <a:pt x="203" y="129"/>
                    </a:lnTo>
                    <a:lnTo>
                      <a:pt x="203" y="131"/>
                    </a:lnTo>
                    <a:lnTo>
                      <a:pt x="203" y="129"/>
                    </a:lnTo>
                    <a:lnTo>
                      <a:pt x="205" y="129"/>
                    </a:lnTo>
                    <a:lnTo>
                      <a:pt x="203" y="129"/>
                    </a:lnTo>
                    <a:lnTo>
                      <a:pt x="203" y="127"/>
                    </a:lnTo>
                    <a:lnTo>
                      <a:pt x="205" y="127"/>
                    </a:lnTo>
                    <a:lnTo>
                      <a:pt x="203" y="127"/>
                    </a:lnTo>
                    <a:lnTo>
                      <a:pt x="205" y="127"/>
                    </a:lnTo>
                    <a:lnTo>
                      <a:pt x="205" y="129"/>
                    </a:lnTo>
                    <a:lnTo>
                      <a:pt x="205" y="127"/>
                    </a:lnTo>
                    <a:lnTo>
                      <a:pt x="205" y="125"/>
                    </a:lnTo>
                    <a:lnTo>
                      <a:pt x="203" y="125"/>
                    </a:lnTo>
                    <a:lnTo>
                      <a:pt x="205" y="125"/>
                    </a:lnTo>
                    <a:lnTo>
                      <a:pt x="203" y="125"/>
                    </a:lnTo>
                    <a:lnTo>
                      <a:pt x="205" y="125"/>
                    </a:lnTo>
                    <a:lnTo>
                      <a:pt x="205" y="127"/>
                    </a:lnTo>
                    <a:lnTo>
                      <a:pt x="205" y="125"/>
                    </a:lnTo>
                    <a:lnTo>
                      <a:pt x="205" y="127"/>
                    </a:lnTo>
                    <a:close/>
                    <a:moveTo>
                      <a:pt x="205" y="131"/>
                    </a:moveTo>
                    <a:lnTo>
                      <a:pt x="205" y="133"/>
                    </a:lnTo>
                    <a:lnTo>
                      <a:pt x="205" y="131"/>
                    </a:lnTo>
                    <a:close/>
                    <a:moveTo>
                      <a:pt x="219" y="129"/>
                    </a:moveTo>
                    <a:lnTo>
                      <a:pt x="219" y="127"/>
                    </a:lnTo>
                    <a:lnTo>
                      <a:pt x="219" y="129"/>
                    </a:lnTo>
                    <a:close/>
                    <a:moveTo>
                      <a:pt x="203" y="125"/>
                    </a:moveTo>
                    <a:lnTo>
                      <a:pt x="203" y="123"/>
                    </a:lnTo>
                    <a:lnTo>
                      <a:pt x="203" y="125"/>
                    </a:lnTo>
                    <a:close/>
                    <a:moveTo>
                      <a:pt x="203" y="125"/>
                    </a:moveTo>
                    <a:lnTo>
                      <a:pt x="203" y="123"/>
                    </a:lnTo>
                    <a:lnTo>
                      <a:pt x="203" y="125"/>
                    </a:lnTo>
                    <a:close/>
                    <a:moveTo>
                      <a:pt x="213" y="127"/>
                    </a:moveTo>
                    <a:lnTo>
                      <a:pt x="213" y="125"/>
                    </a:lnTo>
                    <a:lnTo>
                      <a:pt x="213" y="127"/>
                    </a:lnTo>
                    <a:lnTo>
                      <a:pt x="213" y="125"/>
                    </a:lnTo>
                    <a:lnTo>
                      <a:pt x="211" y="125"/>
                    </a:lnTo>
                    <a:lnTo>
                      <a:pt x="211" y="127"/>
                    </a:lnTo>
                    <a:lnTo>
                      <a:pt x="211" y="125"/>
                    </a:lnTo>
                    <a:lnTo>
                      <a:pt x="213" y="127"/>
                    </a:lnTo>
                    <a:lnTo>
                      <a:pt x="211" y="127"/>
                    </a:lnTo>
                    <a:lnTo>
                      <a:pt x="211" y="129"/>
                    </a:lnTo>
                    <a:lnTo>
                      <a:pt x="211" y="127"/>
                    </a:lnTo>
                    <a:lnTo>
                      <a:pt x="213" y="127"/>
                    </a:lnTo>
                    <a:lnTo>
                      <a:pt x="211" y="127"/>
                    </a:lnTo>
                    <a:lnTo>
                      <a:pt x="211" y="129"/>
                    </a:lnTo>
                    <a:lnTo>
                      <a:pt x="209" y="129"/>
                    </a:lnTo>
                    <a:lnTo>
                      <a:pt x="209" y="131"/>
                    </a:lnTo>
                    <a:lnTo>
                      <a:pt x="211" y="131"/>
                    </a:lnTo>
                    <a:lnTo>
                      <a:pt x="211" y="129"/>
                    </a:lnTo>
                    <a:lnTo>
                      <a:pt x="211" y="131"/>
                    </a:lnTo>
                    <a:lnTo>
                      <a:pt x="211" y="129"/>
                    </a:lnTo>
                    <a:lnTo>
                      <a:pt x="211" y="131"/>
                    </a:lnTo>
                    <a:lnTo>
                      <a:pt x="209" y="129"/>
                    </a:lnTo>
                    <a:lnTo>
                      <a:pt x="211" y="129"/>
                    </a:lnTo>
                    <a:lnTo>
                      <a:pt x="209" y="129"/>
                    </a:lnTo>
                    <a:lnTo>
                      <a:pt x="211" y="131"/>
                    </a:lnTo>
                    <a:lnTo>
                      <a:pt x="211" y="133"/>
                    </a:lnTo>
                    <a:lnTo>
                      <a:pt x="209" y="133"/>
                    </a:lnTo>
                    <a:lnTo>
                      <a:pt x="207" y="133"/>
                    </a:lnTo>
                    <a:lnTo>
                      <a:pt x="209" y="133"/>
                    </a:lnTo>
                    <a:lnTo>
                      <a:pt x="207" y="133"/>
                    </a:lnTo>
                    <a:lnTo>
                      <a:pt x="207" y="135"/>
                    </a:lnTo>
                    <a:lnTo>
                      <a:pt x="205" y="135"/>
                    </a:lnTo>
                    <a:lnTo>
                      <a:pt x="207" y="135"/>
                    </a:lnTo>
                    <a:lnTo>
                      <a:pt x="205" y="135"/>
                    </a:lnTo>
                    <a:lnTo>
                      <a:pt x="207" y="135"/>
                    </a:lnTo>
                    <a:lnTo>
                      <a:pt x="205" y="135"/>
                    </a:lnTo>
                    <a:lnTo>
                      <a:pt x="205" y="133"/>
                    </a:lnTo>
                    <a:lnTo>
                      <a:pt x="207" y="135"/>
                    </a:lnTo>
                    <a:lnTo>
                      <a:pt x="207" y="133"/>
                    </a:lnTo>
                    <a:lnTo>
                      <a:pt x="207" y="135"/>
                    </a:lnTo>
                    <a:lnTo>
                      <a:pt x="207" y="133"/>
                    </a:lnTo>
                    <a:lnTo>
                      <a:pt x="205" y="133"/>
                    </a:lnTo>
                    <a:lnTo>
                      <a:pt x="207" y="133"/>
                    </a:lnTo>
                    <a:lnTo>
                      <a:pt x="207" y="131"/>
                    </a:lnTo>
                    <a:lnTo>
                      <a:pt x="207" y="129"/>
                    </a:lnTo>
                    <a:lnTo>
                      <a:pt x="209" y="131"/>
                    </a:lnTo>
                    <a:lnTo>
                      <a:pt x="209" y="129"/>
                    </a:lnTo>
                    <a:lnTo>
                      <a:pt x="209" y="131"/>
                    </a:lnTo>
                    <a:lnTo>
                      <a:pt x="209" y="133"/>
                    </a:lnTo>
                    <a:lnTo>
                      <a:pt x="211" y="133"/>
                    </a:lnTo>
                    <a:lnTo>
                      <a:pt x="211" y="131"/>
                    </a:lnTo>
                    <a:lnTo>
                      <a:pt x="209" y="131"/>
                    </a:lnTo>
                    <a:lnTo>
                      <a:pt x="211" y="131"/>
                    </a:lnTo>
                    <a:lnTo>
                      <a:pt x="209" y="131"/>
                    </a:lnTo>
                    <a:lnTo>
                      <a:pt x="211" y="131"/>
                    </a:lnTo>
                    <a:lnTo>
                      <a:pt x="209" y="131"/>
                    </a:lnTo>
                    <a:lnTo>
                      <a:pt x="209" y="129"/>
                    </a:lnTo>
                    <a:lnTo>
                      <a:pt x="207" y="131"/>
                    </a:lnTo>
                    <a:lnTo>
                      <a:pt x="207" y="133"/>
                    </a:lnTo>
                    <a:lnTo>
                      <a:pt x="205" y="133"/>
                    </a:lnTo>
                    <a:lnTo>
                      <a:pt x="207" y="133"/>
                    </a:lnTo>
                    <a:lnTo>
                      <a:pt x="205" y="133"/>
                    </a:lnTo>
                    <a:lnTo>
                      <a:pt x="205" y="131"/>
                    </a:lnTo>
                    <a:lnTo>
                      <a:pt x="207" y="131"/>
                    </a:lnTo>
                    <a:lnTo>
                      <a:pt x="207" y="129"/>
                    </a:lnTo>
                    <a:lnTo>
                      <a:pt x="207" y="127"/>
                    </a:lnTo>
                    <a:lnTo>
                      <a:pt x="209" y="127"/>
                    </a:lnTo>
                    <a:lnTo>
                      <a:pt x="207" y="127"/>
                    </a:lnTo>
                    <a:lnTo>
                      <a:pt x="209" y="127"/>
                    </a:lnTo>
                    <a:lnTo>
                      <a:pt x="209" y="129"/>
                    </a:lnTo>
                    <a:lnTo>
                      <a:pt x="209" y="127"/>
                    </a:lnTo>
                    <a:lnTo>
                      <a:pt x="209" y="129"/>
                    </a:lnTo>
                    <a:lnTo>
                      <a:pt x="209" y="127"/>
                    </a:lnTo>
                    <a:lnTo>
                      <a:pt x="209" y="129"/>
                    </a:lnTo>
                    <a:lnTo>
                      <a:pt x="211" y="129"/>
                    </a:lnTo>
                    <a:lnTo>
                      <a:pt x="211" y="127"/>
                    </a:lnTo>
                    <a:lnTo>
                      <a:pt x="209" y="127"/>
                    </a:lnTo>
                    <a:lnTo>
                      <a:pt x="211" y="127"/>
                    </a:lnTo>
                    <a:lnTo>
                      <a:pt x="209" y="127"/>
                    </a:lnTo>
                    <a:lnTo>
                      <a:pt x="211" y="127"/>
                    </a:lnTo>
                    <a:lnTo>
                      <a:pt x="209" y="127"/>
                    </a:lnTo>
                    <a:lnTo>
                      <a:pt x="211" y="127"/>
                    </a:lnTo>
                    <a:lnTo>
                      <a:pt x="211" y="125"/>
                    </a:lnTo>
                    <a:lnTo>
                      <a:pt x="213" y="125"/>
                    </a:lnTo>
                    <a:lnTo>
                      <a:pt x="213" y="127"/>
                    </a:lnTo>
                    <a:close/>
                    <a:moveTo>
                      <a:pt x="213" y="125"/>
                    </a:moveTo>
                    <a:lnTo>
                      <a:pt x="211" y="125"/>
                    </a:lnTo>
                    <a:lnTo>
                      <a:pt x="213" y="125"/>
                    </a:lnTo>
                    <a:close/>
                    <a:moveTo>
                      <a:pt x="215" y="125"/>
                    </a:moveTo>
                    <a:lnTo>
                      <a:pt x="215" y="127"/>
                    </a:lnTo>
                    <a:lnTo>
                      <a:pt x="213" y="129"/>
                    </a:lnTo>
                    <a:lnTo>
                      <a:pt x="213" y="127"/>
                    </a:lnTo>
                    <a:lnTo>
                      <a:pt x="213" y="125"/>
                    </a:lnTo>
                    <a:lnTo>
                      <a:pt x="213" y="127"/>
                    </a:lnTo>
                    <a:lnTo>
                      <a:pt x="213" y="125"/>
                    </a:lnTo>
                    <a:lnTo>
                      <a:pt x="213" y="127"/>
                    </a:lnTo>
                    <a:lnTo>
                      <a:pt x="215" y="127"/>
                    </a:lnTo>
                    <a:lnTo>
                      <a:pt x="215" y="125"/>
                    </a:lnTo>
                    <a:close/>
                    <a:moveTo>
                      <a:pt x="219" y="125"/>
                    </a:moveTo>
                    <a:lnTo>
                      <a:pt x="219" y="127"/>
                    </a:lnTo>
                    <a:lnTo>
                      <a:pt x="219" y="125"/>
                    </a:lnTo>
                    <a:close/>
                    <a:moveTo>
                      <a:pt x="215" y="123"/>
                    </a:moveTo>
                    <a:lnTo>
                      <a:pt x="215" y="125"/>
                    </a:lnTo>
                    <a:lnTo>
                      <a:pt x="213" y="125"/>
                    </a:lnTo>
                    <a:lnTo>
                      <a:pt x="215" y="125"/>
                    </a:lnTo>
                    <a:lnTo>
                      <a:pt x="215" y="123"/>
                    </a:lnTo>
                    <a:close/>
                    <a:moveTo>
                      <a:pt x="211" y="121"/>
                    </a:moveTo>
                    <a:lnTo>
                      <a:pt x="209" y="121"/>
                    </a:lnTo>
                    <a:lnTo>
                      <a:pt x="211" y="121"/>
                    </a:lnTo>
                    <a:close/>
                    <a:moveTo>
                      <a:pt x="203" y="119"/>
                    </a:moveTo>
                    <a:lnTo>
                      <a:pt x="203" y="117"/>
                    </a:lnTo>
                    <a:lnTo>
                      <a:pt x="203" y="119"/>
                    </a:lnTo>
                    <a:close/>
                    <a:moveTo>
                      <a:pt x="217" y="121"/>
                    </a:moveTo>
                    <a:lnTo>
                      <a:pt x="217" y="123"/>
                    </a:lnTo>
                    <a:lnTo>
                      <a:pt x="217" y="121"/>
                    </a:lnTo>
                    <a:close/>
                    <a:moveTo>
                      <a:pt x="217" y="127"/>
                    </a:moveTo>
                    <a:lnTo>
                      <a:pt x="217" y="129"/>
                    </a:lnTo>
                    <a:lnTo>
                      <a:pt x="217" y="127"/>
                    </a:lnTo>
                    <a:lnTo>
                      <a:pt x="217" y="129"/>
                    </a:lnTo>
                    <a:lnTo>
                      <a:pt x="215" y="129"/>
                    </a:lnTo>
                    <a:lnTo>
                      <a:pt x="217" y="129"/>
                    </a:lnTo>
                    <a:lnTo>
                      <a:pt x="215" y="129"/>
                    </a:lnTo>
                    <a:lnTo>
                      <a:pt x="217" y="129"/>
                    </a:lnTo>
                    <a:lnTo>
                      <a:pt x="217" y="131"/>
                    </a:lnTo>
                    <a:lnTo>
                      <a:pt x="217" y="129"/>
                    </a:lnTo>
                    <a:lnTo>
                      <a:pt x="219" y="129"/>
                    </a:lnTo>
                    <a:lnTo>
                      <a:pt x="217" y="129"/>
                    </a:lnTo>
                    <a:lnTo>
                      <a:pt x="219" y="129"/>
                    </a:lnTo>
                    <a:lnTo>
                      <a:pt x="217" y="129"/>
                    </a:lnTo>
                    <a:lnTo>
                      <a:pt x="219" y="127"/>
                    </a:lnTo>
                    <a:lnTo>
                      <a:pt x="217" y="127"/>
                    </a:lnTo>
                    <a:lnTo>
                      <a:pt x="217" y="129"/>
                    </a:lnTo>
                    <a:lnTo>
                      <a:pt x="219" y="129"/>
                    </a:lnTo>
                    <a:lnTo>
                      <a:pt x="219" y="127"/>
                    </a:lnTo>
                    <a:lnTo>
                      <a:pt x="219" y="125"/>
                    </a:lnTo>
                    <a:lnTo>
                      <a:pt x="221" y="125"/>
                    </a:lnTo>
                    <a:lnTo>
                      <a:pt x="219" y="125"/>
                    </a:lnTo>
                    <a:lnTo>
                      <a:pt x="221" y="125"/>
                    </a:lnTo>
                    <a:lnTo>
                      <a:pt x="221" y="123"/>
                    </a:lnTo>
                    <a:lnTo>
                      <a:pt x="221" y="125"/>
                    </a:lnTo>
                    <a:lnTo>
                      <a:pt x="221" y="123"/>
                    </a:lnTo>
                    <a:lnTo>
                      <a:pt x="221" y="125"/>
                    </a:lnTo>
                    <a:lnTo>
                      <a:pt x="221" y="123"/>
                    </a:lnTo>
                    <a:lnTo>
                      <a:pt x="219" y="123"/>
                    </a:lnTo>
                    <a:lnTo>
                      <a:pt x="221" y="123"/>
                    </a:lnTo>
                    <a:lnTo>
                      <a:pt x="219" y="123"/>
                    </a:lnTo>
                    <a:lnTo>
                      <a:pt x="221" y="123"/>
                    </a:lnTo>
                    <a:lnTo>
                      <a:pt x="219" y="123"/>
                    </a:lnTo>
                    <a:lnTo>
                      <a:pt x="221" y="123"/>
                    </a:lnTo>
                    <a:lnTo>
                      <a:pt x="219" y="123"/>
                    </a:lnTo>
                    <a:lnTo>
                      <a:pt x="221" y="123"/>
                    </a:lnTo>
                    <a:lnTo>
                      <a:pt x="221" y="125"/>
                    </a:lnTo>
                    <a:lnTo>
                      <a:pt x="221" y="127"/>
                    </a:lnTo>
                    <a:lnTo>
                      <a:pt x="219" y="127"/>
                    </a:lnTo>
                    <a:lnTo>
                      <a:pt x="221" y="127"/>
                    </a:lnTo>
                    <a:lnTo>
                      <a:pt x="219" y="129"/>
                    </a:lnTo>
                    <a:lnTo>
                      <a:pt x="219" y="127"/>
                    </a:lnTo>
                    <a:lnTo>
                      <a:pt x="219" y="129"/>
                    </a:lnTo>
                    <a:lnTo>
                      <a:pt x="219" y="131"/>
                    </a:lnTo>
                    <a:lnTo>
                      <a:pt x="219" y="129"/>
                    </a:lnTo>
                    <a:lnTo>
                      <a:pt x="219" y="131"/>
                    </a:lnTo>
                    <a:lnTo>
                      <a:pt x="219" y="129"/>
                    </a:lnTo>
                    <a:lnTo>
                      <a:pt x="219" y="131"/>
                    </a:lnTo>
                    <a:lnTo>
                      <a:pt x="219" y="129"/>
                    </a:lnTo>
                    <a:lnTo>
                      <a:pt x="221" y="129"/>
                    </a:lnTo>
                    <a:lnTo>
                      <a:pt x="221" y="127"/>
                    </a:lnTo>
                    <a:lnTo>
                      <a:pt x="221" y="129"/>
                    </a:lnTo>
                    <a:lnTo>
                      <a:pt x="221" y="127"/>
                    </a:lnTo>
                    <a:lnTo>
                      <a:pt x="221" y="129"/>
                    </a:lnTo>
                    <a:lnTo>
                      <a:pt x="219" y="131"/>
                    </a:lnTo>
                    <a:lnTo>
                      <a:pt x="217" y="131"/>
                    </a:lnTo>
                    <a:lnTo>
                      <a:pt x="217" y="129"/>
                    </a:lnTo>
                    <a:lnTo>
                      <a:pt x="215" y="129"/>
                    </a:lnTo>
                    <a:lnTo>
                      <a:pt x="215" y="131"/>
                    </a:lnTo>
                    <a:lnTo>
                      <a:pt x="215" y="133"/>
                    </a:lnTo>
                    <a:lnTo>
                      <a:pt x="213" y="133"/>
                    </a:lnTo>
                    <a:lnTo>
                      <a:pt x="213" y="131"/>
                    </a:lnTo>
                    <a:lnTo>
                      <a:pt x="211" y="131"/>
                    </a:lnTo>
                    <a:lnTo>
                      <a:pt x="213" y="131"/>
                    </a:lnTo>
                    <a:lnTo>
                      <a:pt x="213" y="129"/>
                    </a:lnTo>
                    <a:lnTo>
                      <a:pt x="215" y="131"/>
                    </a:lnTo>
                    <a:lnTo>
                      <a:pt x="213" y="131"/>
                    </a:lnTo>
                    <a:lnTo>
                      <a:pt x="213" y="129"/>
                    </a:lnTo>
                    <a:lnTo>
                      <a:pt x="213" y="131"/>
                    </a:lnTo>
                    <a:lnTo>
                      <a:pt x="215" y="131"/>
                    </a:lnTo>
                    <a:lnTo>
                      <a:pt x="215" y="129"/>
                    </a:lnTo>
                    <a:lnTo>
                      <a:pt x="215" y="127"/>
                    </a:lnTo>
                    <a:lnTo>
                      <a:pt x="215" y="125"/>
                    </a:lnTo>
                    <a:lnTo>
                      <a:pt x="217" y="125"/>
                    </a:lnTo>
                    <a:lnTo>
                      <a:pt x="215" y="125"/>
                    </a:lnTo>
                    <a:lnTo>
                      <a:pt x="217" y="125"/>
                    </a:lnTo>
                    <a:lnTo>
                      <a:pt x="215" y="125"/>
                    </a:lnTo>
                    <a:lnTo>
                      <a:pt x="215" y="127"/>
                    </a:lnTo>
                    <a:lnTo>
                      <a:pt x="217" y="125"/>
                    </a:lnTo>
                    <a:lnTo>
                      <a:pt x="217" y="127"/>
                    </a:lnTo>
                    <a:lnTo>
                      <a:pt x="215" y="127"/>
                    </a:lnTo>
                    <a:lnTo>
                      <a:pt x="217" y="127"/>
                    </a:lnTo>
                    <a:lnTo>
                      <a:pt x="215" y="127"/>
                    </a:lnTo>
                    <a:lnTo>
                      <a:pt x="215" y="129"/>
                    </a:lnTo>
                    <a:lnTo>
                      <a:pt x="215" y="127"/>
                    </a:lnTo>
                    <a:lnTo>
                      <a:pt x="215" y="129"/>
                    </a:lnTo>
                    <a:lnTo>
                      <a:pt x="215" y="127"/>
                    </a:lnTo>
                    <a:lnTo>
                      <a:pt x="215" y="129"/>
                    </a:lnTo>
                    <a:lnTo>
                      <a:pt x="217" y="129"/>
                    </a:lnTo>
                    <a:lnTo>
                      <a:pt x="217" y="127"/>
                    </a:lnTo>
                    <a:close/>
                    <a:moveTo>
                      <a:pt x="217" y="121"/>
                    </a:moveTo>
                    <a:lnTo>
                      <a:pt x="217" y="123"/>
                    </a:lnTo>
                    <a:lnTo>
                      <a:pt x="215" y="123"/>
                    </a:lnTo>
                    <a:lnTo>
                      <a:pt x="217" y="123"/>
                    </a:lnTo>
                    <a:lnTo>
                      <a:pt x="215" y="123"/>
                    </a:lnTo>
                    <a:lnTo>
                      <a:pt x="217" y="121"/>
                    </a:lnTo>
                    <a:lnTo>
                      <a:pt x="217" y="123"/>
                    </a:lnTo>
                    <a:lnTo>
                      <a:pt x="217" y="121"/>
                    </a:lnTo>
                    <a:close/>
                    <a:moveTo>
                      <a:pt x="205" y="119"/>
                    </a:moveTo>
                    <a:lnTo>
                      <a:pt x="203" y="119"/>
                    </a:lnTo>
                    <a:lnTo>
                      <a:pt x="203" y="117"/>
                    </a:lnTo>
                    <a:lnTo>
                      <a:pt x="205" y="117"/>
                    </a:lnTo>
                    <a:lnTo>
                      <a:pt x="203" y="117"/>
                    </a:lnTo>
                    <a:lnTo>
                      <a:pt x="205" y="117"/>
                    </a:lnTo>
                    <a:lnTo>
                      <a:pt x="205" y="119"/>
                    </a:lnTo>
                    <a:lnTo>
                      <a:pt x="205" y="117"/>
                    </a:lnTo>
                    <a:lnTo>
                      <a:pt x="205" y="119"/>
                    </a:lnTo>
                    <a:close/>
                    <a:moveTo>
                      <a:pt x="203" y="115"/>
                    </a:moveTo>
                    <a:lnTo>
                      <a:pt x="203" y="117"/>
                    </a:lnTo>
                    <a:lnTo>
                      <a:pt x="203" y="115"/>
                    </a:lnTo>
                    <a:close/>
                    <a:moveTo>
                      <a:pt x="217" y="121"/>
                    </a:moveTo>
                    <a:lnTo>
                      <a:pt x="219" y="121"/>
                    </a:lnTo>
                    <a:lnTo>
                      <a:pt x="217" y="121"/>
                    </a:lnTo>
                    <a:lnTo>
                      <a:pt x="219" y="121"/>
                    </a:lnTo>
                    <a:lnTo>
                      <a:pt x="217" y="121"/>
                    </a:lnTo>
                    <a:close/>
                    <a:moveTo>
                      <a:pt x="217" y="119"/>
                    </a:moveTo>
                    <a:lnTo>
                      <a:pt x="217" y="121"/>
                    </a:lnTo>
                    <a:lnTo>
                      <a:pt x="215" y="121"/>
                    </a:lnTo>
                    <a:lnTo>
                      <a:pt x="217" y="121"/>
                    </a:lnTo>
                    <a:lnTo>
                      <a:pt x="215" y="121"/>
                    </a:lnTo>
                    <a:lnTo>
                      <a:pt x="215" y="119"/>
                    </a:lnTo>
                    <a:lnTo>
                      <a:pt x="215" y="121"/>
                    </a:lnTo>
                    <a:lnTo>
                      <a:pt x="217" y="121"/>
                    </a:lnTo>
                    <a:lnTo>
                      <a:pt x="217" y="119"/>
                    </a:lnTo>
                    <a:lnTo>
                      <a:pt x="217" y="121"/>
                    </a:lnTo>
                    <a:lnTo>
                      <a:pt x="217" y="119"/>
                    </a:lnTo>
                    <a:close/>
                    <a:moveTo>
                      <a:pt x="215" y="119"/>
                    </a:moveTo>
                    <a:lnTo>
                      <a:pt x="215" y="121"/>
                    </a:lnTo>
                    <a:lnTo>
                      <a:pt x="215" y="119"/>
                    </a:lnTo>
                    <a:close/>
                    <a:moveTo>
                      <a:pt x="224" y="121"/>
                    </a:moveTo>
                    <a:lnTo>
                      <a:pt x="223" y="121"/>
                    </a:lnTo>
                    <a:lnTo>
                      <a:pt x="224" y="121"/>
                    </a:lnTo>
                    <a:close/>
                    <a:moveTo>
                      <a:pt x="211" y="117"/>
                    </a:moveTo>
                    <a:lnTo>
                      <a:pt x="209" y="117"/>
                    </a:lnTo>
                    <a:lnTo>
                      <a:pt x="209" y="119"/>
                    </a:lnTo>
                    <a:lnTo>
                      <a:pt x="211" y="119"/>
                    </a:lnTo>
                    <a:lnTo>
                      <a:pt x="211" y="117"/>
                    </a:lnTo>
                    <a:lnTo>
                      <a:pt x="211" y="119"/>
                    </a:lnTo>
                    <a:lnTo>
                      <a:pt x="209" y="119"/>
                    </a:lnTo>
                    <a:lnTo>
                      <a:pt x="209" y="117"/>
                    </a:lnTo>
                    <a:lnTo>
                      <a:pt x="209" y="119"/>
                    </a:lnTo>
                    <a:lnTo>
                      <a:pt x="209" y="117"/>
                    </a:lnTo>
                    <a:lnTo>
                      <a:pt x="211" y="117"/>
                    </a:lnTo>
                    <a:close/>
                    <a:moveTo>
                      <a:pt x="223" y="121"/>
                    </a:moveTo>
                    <a:lnTo>
                      <a:pt x="224" y="121"/>
                    </a:lnTo>
                    <a:lnTo>
                      <a:pt x="223" y="121"/>
                    </a:lnTo>
                    <a:close/>
                    <a:moveTo>
                      <a:pt x="215" y="119"/>
                    </a:moveTo>
                    <a:lnTo>
                      <a:pt x="215" y="117"/>
                    </a:lnTo>
                    <a:lnTo>
                      <a:pt x="215" y="119"/>
                    </a:lnTo>
                    <a:close/>
                    <a:moveTo>
                      <a:pt x="213" y="121"/>
                    </a:moveTo>
                    <a:lnTo>
                      <a:pt x="213" y="119"/>
                    </a:lnTo>
                    <a:lnTo>
                      <a:pt x="215" y="119"/>
                    </a:lnTo>
                    <a:lnTo>
                      <a:pt x="213" y="119"/>
                    </a:lnTo>
                    <a:lnTo>
                      <a:pt x="215" y="119"/>
                    </a:lnTo>
                    <a:lnTo>
                      <a:pt x="213" y="119"/>
                    </a:lnTo>
                    <a:lnTo>
                      <a:pt x="213" y="121"/>
                    </a:lnTo>
                    <a:lnTo>
                      <a:pt x="215" y="121"/>
                    </a:lnTo>
                    <a:lnTo>
                      <a:pt x="213" y="121"/>
                    </a:lnTo>
                    <a:lnTo>
                      <a:pt x="215" y="121"/>
                    </a:lnTo>
                    <a:lnTo>
                      <a:pt x="213" y="121"/>
                    </a:lnTo>
                    <a:lnTo>
                      <a:pt x="213" y="123"/>
                    </a:lnTo>
                    <a:lnTo>
                      <a:pt x="215" y="123"/>
                    </a:lnTo>
                    <a:lnTo>
                      <a:pt x="215" y="121"/>
                    </a:lnTo>
                    <a:lnTo>
                      <a:pt x="215" y="123"/>
                    </a:lnTo>
                    <a:lnTo>
                      <a:pt x="213" y="123"/>
                    </a:lnTo>
                    <a:lnTo>
                      <a:pt x="213" y="125"/>
                    </a:lnTo>
                    <a:lnTo>
                      <a:pt x="213" y="123"/>
                    </a:lnTo>
                    <a:lnTo>
                      <a:pt x="213" y="125"/>
                    </a:lnTo>
                    <a:lnTo>
                      <a:pt x="215" y="123"/>
                    </a:lnTo>
                    <a:lnTo>
                      <a:pt x="213" y="125"/>
                    </a:lnTo>
                    <a:lnTo>
                      <a:pt x="211" y="125"/>
                    </a:lnTo>
                    <a:lnTo>
                      <a:pt x="211" y="127"/>
                    </a:lnTo>
                    <a:lnTo>
                      <a:pt x="209" y="127"/>
                    </a:lnTo>
                    <a:lnTo>
                      <a:pt x="209" y="125"/>
                    </a:lnTo>
                    <a:lnTo>
                      <a:pt x="209" y="127"/>
                    </a:lnTo>
                    <a:lnTo>
                      <a:pt x="207" y="127"/>
                    </a:lnTo>
                    <a:lnTo>
                      <a:pt x="207" y="125"/>
                    </a:lnTo>
                    <a:lnTo>
                      <a:pt x="207" y="127"/>
                    </a:lnTo>
                    <a:lnTo>
                      <a:pt x="207" y="125"/>
                    </a:lnTo>
                    <a:lnTo>
                      <a:pt x="207" y="127"/>
                    </a:lnTo>
                    <a:lnTo>
                      <a:pt x="207" y="125"/>
                    </a:lnTo>
                    <a:lnTo>
                      <a:pt x="207" y="123"/>
                    </a:lnTo>
                    <a:lnTo>
                      <a:pt x="205" y="121"/>
                    </a:lnTo>
                    <a:lnTo>
                      <a:pt x="205" y="119"/>
                    </a:lnTo>
                    <a:lnTo>
                      <a:pt x="205" y="121"/>
                    </a:lnTo>
                    <a:lnTo>
                      <a:pt x="205" y="119"/>
                    </a:lnTo>
                    <a:lnTo>
                      <a:pt x="205" y="121"/>
                    </a:lnTo>
                    <a:lnTo>
                      <a:pt x="205" y="119"/>
                    </a:lnTo>
                    <a:lnTo>
                      <a:pt x="207" y="119"/>
                    </a:lnTo>
                    <a:lnTo>
                      <a:pt x="205" y="119"/>
                    </a:lnTo>
                    <a:lnTo>
                      <a:pt x="205" y="121"/>
                    </a:lnTo>
                    <a:lnTo>
                      <a:pt x="205" y="119"/>
                    </a:lnTo>
                    <a:lnTo>
                      <a:pt x="205" y="121"/>
                    </a:lnTo>
                    <a:lnTo>
                      <a:pt x="205" y="119"/>
                    </a:lnTo>
                    <a:lnTo>
                      <a:pt x="207" y="119"/>
                    </a:lnTo>
                    <a:lnTo>
                      <a:pt x="205" y="119"/>
                    </a:lnTo>
                    <a:lnTo>
                      <a:pt x="207" y="121"/>
                    </a:lnTo>
                    <a:lnTo>
                      <a:pt x="205" y="121"/>
                    </a:lnTo>
                    <a:lnTo>
                      <a:pt x="207" y="121"/>
                    </a:lnTo>
                    <a:lnTo>
                      <a:pt x="205" y="121"/>
                    </a:lnTo>
                    <a:lnTo>
                      <a:pt x="207" y="121"/>
                    </a:lnTo>
                    <a:lnTo>
                      <a:pt x="205" y="121"/>
                    </a:lnTo>
                    <a:lnTo>
                      <a:pt x="207" y="121"/>
                    </a:lnTo>
                    <a:lnTo>
                      <a:pt x="207" y="123"/>
                    </a:lnTo>
                    <a:lnTo>
                      <a:pt x="207" y="121"/>
                    </a:lnTo>
                    <a:lnTo>
                      <a:pt x="207" y="119"/>
                    </a:lnTo>
                    <a:lnTo>
                      <a:pt x="207" y="121"/>
                    </a:lnTo>
                    <a:lnTo>
                      <a:pt x="207" y="119"/>
                    </a:lnTo>
                    <a:lnTo>
                      <a:pt x="209" y="119"/>
                    </a:lnTo>
                    <a:lnTo>
                      <a:pt x="207" y="119"/>
                    </a:lnTo>
                    <a:lnTo>
                      <a:pt x="209" y="119"/>
                    </a:lnTo>
                    <a:lnTo>
                      <a:pt x="209" y="117"/>
                    </a:lnTo>
                    <a:lnTo>
                      <a:pt x="209" y="119"/>
                    </a:lnTo>
                    <a:lnTo>
                      <a:pt x="209" y="117"/>
                    </a:lnTo>
                    <a:lnTo>
                      <a:pt x="209" y="119"/>
                    </a:lnTo>
                    <a:lnTo>
                      <a:pt x="209" y="117"/>
                    </a:lnTo>
                    <a:lnTo>
                      <a:pt x="209" y="119"/>
                    </a:lnTo>
                    <a:lnTo>
                      <a:pt x="207" y="119"/>
                    </a:lnTo>
                    <a:lnTo>
                      <a:pt x="209" y="119"/>
                    </a:lnTo>
                    <a:lnTo>
                      <a:pt x="207" y="119"/>
                    </a:lnTo>
                    <a:lnTo>
                      <a:pt x="209" y="121"/>
                    </a:lnTo>
                    <a:lnTo>
                      <a:pt x="209" y="119"/>
                    </a:lnTo>
                    <a:lnTo>
                      <a:pt x="209" y="121"/>
                    </a:lnTo>
                    <a:lnTo>
                      <a:pt x="207" y="121"/>
                    </a:lnTo>
                    <a:lnTo>
                      <a:pt x="209" y="121"/>
                    </a:lnTo>
                    <a:lnTo>
                      <a:pt x="209" y="123"/>
                    </a:lnTo>
                    <a:lnTo>
                      <a:pt x="207" y="123"/>
                    </a:lnTo>
                    <a:lnTo>
                      <a:pt x="207" y="125"/>
                    </a:lnTo>
                    <a:lnTo>
                      <a:pt x="207" y="123"/>
                    </a:lnTo>
                    <a:lnTo>
                      <a:pt x="209" y="123"/>
                    </a:lnTo>
                    <a:lnTo>
                      <a:pt x="209" y="121"/>
                    </a:lnTo>
                    <a:lnTo>
                      <a:pt x="209" y="123"/>
                    </a:lnTo>
                    <a:lnTo>
                      <a:pt x="209" y="121"/>
                    </a:lnTo>
                    <a:lnTo>
                      <a:pt x="209" y="123"/>
                    </a:lnTo>
                    <a:lnTo>
                      <a:pt x="209" y="121"/>
                    </a:lnTo>
                    <a:lnTo>
                      <a:pt x="211" y="121"/>
                    </a:lnTo>
                    <a:lnTo>
                      <a:pt x="209" y="121"/>
                    </a:lnTo>
                    <a:lnTo>
                      <a:pt x="211" y="121"/>
                    </a:lnTo>
                    <a:lnTo>
                      <a:pt x="211" y="119"/>
                    </a:lnTo>
                    <a:lnTo>
                      <a:pt x="211" y="117"/>
                    </a:lnTo>
                    <a:lnTo>
                      <a:pt x="213" y="117"/>
                    </a:lnTo>
                    <a:lnTo>
                      <a:pt x="211" y="117"/>
                    </a:lnTo>
                    <a:lnTo>
                      <a:pt x="211" y="119"/>
                    </a:lnTo>
                    <a:lnTo>
                      <a:pt x="211" y="121"/>
                    </a:lnTo>
                    <a:lnTo>
                      <a:pt x="211" y="119"/>
                    </a:lnTo>
                    <a:lnTo>
                      <a:pt x="211" y="121"/>
                    </a:lnTo>
                    <a:lnTo>
                      <a:pt x="213" y="121"/>
                    </a:lnTo>
                    <a:lnTo>
                      <a:pt x="213" y="119"/>
                    </a:lnTo>
                    <a:lnTo>
                      <a:pt x="213" y="117"/>
                    </a:lnTo>
                    <a:lnTo>
                      <a:pt x="215" y="117"/>
                    </a:lnTo>
                    <a:lnTo>
                      <a:pt x="213" y="117"/>
                    </a:lnTo>
                    <a:lnTo>
                      <a:pt x="215" y="117"/>
                    </a:lnTo>
                    <a:lnTo>
                      <a:pt x="213" y="117"/>
                    </a:lnTo>
                    <a:lnTo>
                      <a:pt x="213" y="119"/>
                    </a:lnTo>
                    <a:lnTo>
                      <a:pt x="213" y="121"/>
                    </a:lnTo>
                    <a:lnTo>
                      <a:pt x="213" y="119"/>
                    </a:lnTo>
                    <a:lnTo>
                      <a:pt x="213" y="121"/>
                    </a:lnTo>
                    <a:close/>
                    <a:moveTo>
                      <a:pt x="211" y="121"/>
                    </a:moveTo>
                    <a:lnTo>
                      <a:pt x="211" y="123"/>
                    </a:lnTo>
                    <a:lnTo>
                      <a:pt x="211" y="121"/>
                    </a:lnTo>
                    <a:close/>
                    <a:moveTo>
                      <a:pt x="209" y="125"/>
                    </a:moveTo>
                    <a:lnTo>
                      <a:pt x="207" y="125"/>
                    </a:lnTo>
                    <a:lnTo>
                      <a:pt x="209" y="125"/>
                    </a:lnTo>
                    <a:close/>
                    <a:moveTo>
                      <a:pt x="209" y="117"/>
                    </a:moveTo>
                    <a:lnTo>
                      <a:pt x="211" y="117"/>
                    </a:lnTo>
                    <a:lnTo>
                      <a:pt x="209" y="117"/>
                    </a:lnTo>
                    <a:lnTo>
                      <a:pt x="211" y="117"/>
                    </a:lnTo>
                    <a:lnTo>
                      <a:pt x="209" y="117"/>
                    </a:lnTo>
                    <a:lnTo>
                      <a:pt x="211" y="117"/>
                    </a:lnTo>
                    <a:lnTo>
                      <a:pt x="209" y="117"/>
                    </a:lnTo>
                    <a:close/>
                    <a:moveTo>
                      <a:pt x="205" y="119"/>
                    </a:moveTo>
                    <a:lnTo>
                      <a:pt x="205" y="117"/>
                    </a:lnTo>
                    <a:lnTo>
                      <a:pt x="205" y="119"/>
                    </a:lnTo>
                    <a:lnTo>
                      <a:pt x="205" y="117"/>
                    </a:lnTo>
                    <a:lnTo>
                      <a:pt x="207" y="115"/>
                    </a:lnTo>
                    <a:lnTo>
                      <a:pt x="207" y="117"/>
                    </a:lnTo>
                    <a:lnTo>
                      <a:pt x="207" y="115"/>
                    </a:lnTo>
                    <a:lnTo>
                      <a:pt x="207" y="117"/>
                    </a:lnTo>
                    <a:lnTo>
                      <a:pt x="207" y="115"/>
                    </a:lnTo>
                    <a:lnTo>
                      <a:pt x="207" y="117"/>
                    </a:lnTo>
                    <a:lnTo>
                      <a:pt x="207" y="115"/>
                    </a:lnTo>
                    <a:lnTo>
                      <a:pt x="207" y="117"/>
                    </a:lnTo>
                    <a:lnTo>
                      <a:pt x="205" y="119"/>
                    </a:lnTo>
                    <a:lnTo>
                      <a:pt x="205" y="117"/>
                    </a:lnTo>
                    <a:lnTo>
                      <a:pt x="205" y="119"/>
                    </a:lnTo>
                    <a:close/>
                    <a:moveTo>
                      <a:pt x="215" y="115"/>
                    </a:moveTo>
                    <a:lnTo>
                      <a:pt x="213" y="115"/>
                    </a:lnTo>
                    <a:lnTo>
                      <a:pt x="215" y="115"/>
                    </a:lnTo>
                    <a:lnTo>
                      <a:pt x="213" y="115"/>
                    </a:lnTo>
                    <a:lnTo>
                      <a:pt x="215" y="115"/>
                    </a:lnTo>
                    <a:close/>
                    <a:moveTo>
                      <a:pt x="209" y="115"/>
                    </a:moveTo>
                    <a:lnTo>
                      <a:pt x="211" y="115"/>
                    </a:lnTo>
                    <a:lnTo>
                      <a:pt x="209" y="115"/>
                    </a:lnTo>
                    <a:lnTo>
                      <a:pt x="211" y="115"/>
                    </a:lnTo>
                    <a:lnTo>
                      <a:pt x="209" y="115"/>
                    </a:lnTo>
                    <a:lnTo>
                      <a:pt x="211" y="115"/>
                    </a:lnTo>
                    <a:lnTo>
                      <a:pt x="209" y="115"/>
                    </a:lnTo>
                    <a:lnTo>
                      <a:pt x="209" y="117"/>
                    </a:lnTo>
                    <a:lnTo>
                      <a:pt x="209" y="115"/>
                    </a:lnTo>
                    <a:lnTo>
                      <a:pt x="209" y="117"/>
                    </a:lnTo>
                    <a:lnTo>
                      <a:pt x="209" y="115"/>
                    </a:lnTo>
                    <a:lnTo>
                      <a:pt x="211" y="115"/>
                    </a:lnTo>
                    <a:lnTo>
                      <a:pt x="211" y="117"/>
                    </a:lnTo>
                    <a:lnTo>
                      <a:pt x="213" y="117"/>
                    </a:lnTo>
                    <a:lnTo>
                      <a:pt x="213" y="115"/>
                    </a:lnTo>
                    <a:lnTo>
                      <a:pt x="213" y="117"/>
                    </a:lnTo>
                    <a:lnTo>
                      <a:pt x="213" y="115"/>
                    </a:lnTo>
                    <a:lnTo>
                      <a:pt x="213" y="117"/>
                    </a:lnTo>
                    <a:lnTo>
                      <a:pt x="215" y="115"/>
                    </a:lnTo>
                    <a:lnTo>
                      <a:pt x="213" y="117"/>
                    </a:lnTo>
                    <a:lnTo>
                      <a:pt x="211" y="117"/>
                    </a:lnTo>
                    <a:lnTo>
                      <a:pt x="211" y="115"/>
                    </a:lnTo>
                    <a:lnTo>
                      <a:pt x="211" y="117"/>
                    </a:lnTo>
                    <a:lnTo>
                      <a:pt x="209" y="117"/>
                    </a:lnTo>
                    <a:lnTo>
                      <a:pt x="209" y="115"/>
                    </a:lnTo>
                    <a:close/>
                    <a:moveTo>
                      <a:pt x="224" y="119"/>
                    </a:moveTo>
                    <a:lnTo>
                      <a:pt x="223" y="119"/>
                    </a:lnTo>
                    <a:lnTo>
                      <a:pt x="224" y="119"/>
                    </a:lnTo>
                    <a:lnTo>
                      <a:pt x="223" y="119"/>
                    </a:lnTo>
                    <a:lnTo>
                      <a:pt x="224" y="119"/>
                    </a:lnTo>
                    <a:close/>
                    <a:moveTo>
                      <a:pt x="217" y="117"/>
                    </a:moveTo>
                    <a:lnTo>
                      <a:pt x="217" y="119"/>
                    </a:lnTo>
                    <a:lnTo>
                      <a:pt x="217" y="117"/>
                    </a:lnTo>
                    <a:lnTo>
                      <a:pt x="215" y="119"/>
                    </a:lnTo>
                    <a:lnTo>
                      <a:pt x="217" y="119"/>
                    </a:lnTo>
                    <a:lnTo>
                      <a:pt x="215" y="119"/>
                    </a:lnTo>
                    <a:lnTo>
                      <a:pt x="215" y="117"/>
                    </a:lnTo>
                    <a:lnTo>
                      <a:pt x="217" y="117"/>
                    </a:lnTo>
                    <a:lnTo>
                      <a:pt x="217" y="115"/>
                    </a:lnTo>
                    <a:lnTo>
                      <a:pt x="217" y="117"/>
                    </a:lnTo>
                    <a:lnTo>
                      <a:pt x="215" y="117"/>
                    </a:lnTo>
                    <a:lnTo>
                      <a:pt x="217" y="117"/>
                    </a:lnTo>
                    <a:close/>
                    <a:moveTo>
                      <a:pt x="224" y="119"/>
                    </a:moveTo>
                    <a:lnTo>
                      <a:pt x="224" y="117"/>
                    </a:lnTo>
                    <a:lnTo>
                      <a:pt x="224" y="119"/>
                    </a:lnTo>
                    <a:close/>
                    <a:moveTo>
                      <a:pt x="217" y="117"/>
                    </a:moveTo>
                    <a:lnTo>
                      <a:pt x="217" y="115"/>
                    </a:lnTo>
                    <a:lnTo>
                      <a:pt x="219" y="115"/>
                    </a:lnTo>
                    <a:lnTo>
                      <a:pt x="219" y="117"/>
                    </a:lnTo>
                    <a:lnTo>
                      <a:pt x="217" y="117"/>
                    </a:lnTo>
                    <a:close/>
                    <a:moveTo>
                      <a:pt x="219" y="117"/>
                    </a:moveTo>
                    <a:lnTo>
                      <a:pt x="219" y="115"/>
                    </a:lnTo>
                    <a:lnTo>
                      <a:pt x="219" y="117"/>
                    </a:lnTo>
                    <a:close/>
                    <a:moveTo>
                      <a:pt x="223" y="117"/>
                    </a:moveTo>
                    <a:lnTo>
                      <a:pt x="221" y="117"/>
                    </a:lnTo>
                    <a:lnTo>
                      <a:pt x="221" y="119"/>
                    </a:lnTo>
                    <a:lnTo>
                      <a:pt x="223" y="117"/>
                    </a:lnTo>
                    <a:lnTo>
                      <a:pt x="223" y="119"/>
                    </a:lnTo>
                    <a:lnTo>
                      <a:pt x="221" y="119"/>
                    </a:lnTo>
                    <a:lnTo>
                      <a:pt x="221" y="117"/>
                    </a:lnTo>
                    <a:lnTo>
                      <a:pt x="221" y="119"/>
                    </a:lnTo>
                    <a:lnTo>
                      <a:pt x="221" y="117"/>
                    </a:lnTo>
                    <a:lnTo>
                      <a:pt x="223" y="117"/>
                    </a:lnTo>
                    <a:close/>
                    <a:moveTo>
                      <a:pt x="223" y="119"/>
                    </a:moveTo>
                    <a:lnTo>
                      <a:pt x="224" y="119"/>
                    </a:lnTo>
                    <a:lnTo>
                      <a:pt x="223" y="119"/>
                    </a:lnTo>
                    <a:lnTo>
                      <a:pt x="223" y="117"/>
                    </a:lnTo>
                    <a:lnTo>
                      <a:pt x="223" y="119"/>
                    </a:lnTo>
                    <a:close/>
                    <a:moveTo>
                      <a:pt x="217" y="115"/>
                    </a:moveTo>
                    <a:lnTo>
                      <a:pt x="215" y="115"/>
                    </a:lnTo>
                    <a:lnTo>
                      <a:pt x="215" y="117"/>
                    </a:lnTo>
                    <a:lnTo>
                      <a:pt x="213" y="117"/>
                    </a:lnTo>
                    <a:lnTo>
                      <a:pt x="215" y="117"/>
                    </a:lnTo>
                    <a:lnTo>
                      <a:pt x="215" y="115"/>
                    </a:lnTo>
                    <a:lnTo>
                      <a:pt x="217" y="115"/>
                    </a:lnTo>
                    <a:close/>
                    <a:moveTo>
                      <a:pt x="207" y="113"/>
                    </a:moveTo>
                    <a:lnTo>
                      <a:pt x="207" y="111"/>
                    </a:lnTo>
                    <a:lnTo>
                      <a:pt x="207" y="113"/>
                    </a:lnTo>
                    <a:close/>
                    <a:moveTo>
                      <a:pt x="223" y="117"/>
                    </a:moveTo>
                    <a:lnTo>
                      <a:pt x="223" y="115"/>
                    </a:lnTo>
                    <a:lnTo>
                      <a:pt x="223" y="117"/>
                    </a:lnTo>
                    <a:close/>
                    <a:moveTo>
                      <a:pt x="219" y="117"/>
                    </a:moveTo>
                    <a:lnTo>
                      <a:pt x="219" y="119"/>
                    </a:lnTo>
                    <a:lnTo>
                      <a:pt x="219" y="117"/>
                    </a:lnTo>
                    <a:lnTo>
                      <a:pt x="221" y="117"/>
                    </a:lnTo>
                    <a:lnTo>
                      <a:pt x="219" y="117"/>
                    </a:lnTo>
                    <a:lnTo>
                      <a:pt x="221" y="117"/>
                    </a:lnTo>
                    <a:lnTo>
                      <a:pt x="219" y="117"/>
                    </a:lnTo>
                    <a:lnTo>
                      <a:pt x="221" y="119"/>
                    </a:lnTo>
                    <a:lnTo>
                      <a:pt x="221" y="117"/>
                    </a:lnTo>
                    <a:lnTo>
                      <a:pt x="221" y="115"/>
                    </a:lnTo>
                    <a:lnTo>
                      <a:pt x="221" y="117"/>
                    </a:lnTo>
                    <a:lnTo>
                      <a:pt x="221" y="119"/>
                    </a:lnTo>
                    <a:lnTo>
                      <a:pt x="219" y="119"/>
                    </a:lnTo>
                    <a:lnTo>
                      <a:pt x="217" y="119"/>
                    </a:lnTo>
                    <a:lnTo>
                      <a:pt x="219" y="119"/>
                    </a:lnTo>
                    <a:lnTo>
                      <a:pt x="217" y="119"/>
                    </a:lnTo>
                    <a:lnTo>
                      <a:pt x="217" y="117"/>
                    </a:lnTo>
                    <a:lnTo>
                      <a:pt x="219" y="117"/>
                    </a:lnTo>
                    <a:lnTo>
                      <a:pt x="219" y="115"/>
                    </a:lnTo>
                    <a:lnTo>
                      <a:pt x="219" y="117"/>
                    </a:lnTo>
                    <a:lnTo>
                      <a:pt x="217" y="117"/>
                    </a:lnTo>
                    <a:lnTo>
                      <a:pt x="217" y="119"/>
                    </a:lnTo>
                    <a:lnTo>
                      <a:pt x="219" y="119"/>
                    </a:lnTo>
                    <a:lnTo>
                      <a:pt x="219" y="117"/>
                    </a:lnTo>
                    <a:close/>
                    <a:moveTo>
                      <a:pt x="207" y="111"/>
                    </a:moveTo>
                    <a:lnTo>
                      <a:pt x="205" y="111"/>
                    </a:lnTo>
                    <a:lnTo>
                      <a:pt x="207" y="111"/>
                    </a:lnTo>
                    <a:lnTo>
                      <a:pt x="205" y="111"/>
                    </a:lnTo>
                    <a:lnTo>
                      <a:pt x="205" y="113"/>
                    </a:lnTo>
                    <a:lnTo>
                      <a:pt x="205" y="111"/>
                    </a:lnTo>
                    <a:lnTo>
                      <a:pt x="207" y="111"/>
                    </a:lnTo>
                    <a:lnTo>
                      <a:pt x="205" y="111"/>
                    </a:lnTo>
                    <a:lnTo>
                      <a:pt x="205" y="110"/>
                    </a:lnTo>
                    <a:lnTo>
                      <a:pt x="205" y="111"/>
                    </a:lnTo>
                    <a:lnTo>
                      <a:pt x="207" y="111"/>
                    </a:lnTo>
                    <a:close/>
                    <a:moveTo>
                      <a:pt x="221" y="115"/>
                    </a:moveTo>
                    <a:lnTo>
                      <a:pt x="223" y="115"/>
                    </a:lnTo>
                    <a:lnTo>
                      <a:pt x="221" y="115"/>
                    </a:lnTo>
                    <a:lnTo>
                      <a:pt x="223" y="115"/>
                    </a:lnTo>
                    <a:lnTo>
                      <a:pt x="221" y="115"/>
                    </a:lnTo>
                    <a:lnTo>
                      <a:pt x="221" y="113"/>
                    </a:lnTo>
                    <a:lnTo>
                      <a:pt x="221" y="115"/>
                    </a:lnTo>
                    <a:close/>
                    <a:moveTo>
                      <a:pt x="207" y="111"/>
                    </a:moveTo>
                    <a:lnTo>
                      <a:pt x="205" y="110"/>
                    </a:lnTo>
                    <a:lnTo>
                      <a:pt x="207" y="110"/>
                    </a:lnTo>
                    <a:lnTo>
                      <a:pt x="207" y="111"/>
                    </a:lnTo>
                    <a:close/>
                    <a:moveTo>
                      <a:pt x="217" y="113"/>
                    </a:moveTo>
                    <a:lnTo>
                      <a:pt x="217" y="111"/>
                    </a:lnTo>
                    <a:lnTo>
                      <a:pt x="217" y="113"/>
                    </a:lnTo>
                    <a:lnTo>
                      <a:pt x="219" y="111"/>
                    </a:lnTo>
                    <a:lnTo>
                      <a:pt x="217" y="113"/>
                    </a:lnTo>
                    <a:close/>
                    <a:moveTo>
                      <a:pt x="207" y="106"/>
                    </a:moveTo>
                    <a:lnTo>
                      <a:pt x="209" y="106"/>
                    </a:lnTo>
                    <a:lnTo>
                      <a:pt x="207" y="106"/>
                    </a:lnTo>
                    <a:close/>
                    <a:moveTo>
                      <a:pt x="217" y="110"/>
                    </a:moveTo>
                    <a:lnTo>
                      <a:pt x="219" y="110"/>
                    </a:lnTo>
                    <a:lnTo>
                      <a:pt x="217" y="110"/>
                    </a:lnTo>
                    <a:close/>
                    <a:moveTo>
                      <a:pt x="215" y="108"/>
                    </a:moveTo>
                    <a:lnTo>
                      <a:pt x="213" y="108"/>
                    </a:lnTo>
                    <a:lnTo>
                      <a:pt x="215" y="108"/>
                    </a:lnTo>
                    <a:close/>
                    <a:moveTo>
                      <a:pt x="219" y="110"/>
                    </a:moveTo>
                    <a:lnTo>
                      <a:pt x="217" y="110"/>
                    </a:lnTo>
                    <a:lnTo>
                      <a:pt x="217" y="108"/>
                    </a:lnTo>
                    <a:lnTo>
                      <a:pt x="219" y="108"/>
                    </a:lnTo>
                    <a:lnTo>
                      <a:pt x="217" y="110"/>
                    </a:lnTo>
                    <a:lnTo>
                      <a:pt x="219" y="110"/>
                    </a:lnTo>
                    <a:close/>
                    <a:moveTo>
                      <a:pt x="219" y="110"/>
                    </a:moveTo>
                    <a:lnTo>
                      <a:pt x="219" y="108"/>
                    </a:lnTo>
                    <a:lnTo>
                      <a:pt x="219" y="110"/>
                    </a:lnTo>
                    <a:lnTo>
                      <a:pt x="219" y="108"/>
                    </a:lnTo>
                    <a:lnTo>
                      <a:pt x="219" y="110"/>
                    </a:lnTo>
                    <a:close/>
                    <a:moveTo>
                      <a:pt x="205" y="104"/>
                    </a:moveTo>
                    <a:lnTo>
                      <a:pt x="203" y="104"/>
                    </a:lnTo>
                    <a:lnTo>
                      <a:pt x="205" y="104"/>
                    </a:lnTo>
                    <a:close/>
                    <a:moveTo>
                      <a:pt x="223" y="108"/>
                    </a:moveTo>
                    <a:lnTo>
                      <a:pt x="223" y="110"/>
                    </a:lnTo>
                    <a:lnTo>
                      <a:pt x="223" y="108"/>
                    </a:lnTo>
                    <a:close/>
                    <a:moveTo>
                      <a:pt x="223" y="110"/>
                    </a:moveTo>
                    <a:lnTo>
                      <a:pt x="223" y="111"/>
                    </a:lnTo>
                    <a:lnTo>
                      <a:pt x="223" y="110"/>
                    </a:lnTo>
                    <a:lnTo>
                      <a:pt x="223" y="108"/>
                    </a:lnTo>
                    <a:lnTo>
                      <a:pt x="223" y="110"/>
                    </a:lnTo>
                    <a:close/>
                    <a:moveTo>
                      <a:pt x="221" y="110"/>
                    </a:moveTo>
                    <a:lnTo>
                      <a:pt x="223" y="110"/>
                    </a:lnTo>
                    <a:lnTo>
                      <a:pt x="221" y="110"/>
                    </a:lnTo>
                    <a:lnTo>
                      <a:pt x="221" y="111"/>
                    </a:lnTo>
                    <a:lnTo>
                      <a:pt x="221" y="110"/>
                    </a:lnTo>
                    <a:lnTo>
                      <a:pt x="221" y="111"/>
                    </a:lnTo>
                    <a:lnTo>
                      <a:pt x="223" y="111"/>
                    </a:lnTo>
                    <a:lnTo>
                      <a:pt x="223" y="110"/>
                    </a:lnTo>
                    <a:lnTo>
                      <a:pt x="223" y="111"/>
                    </a:lnTo>
                    <a:lnTo>
                      <a:pt x="221" y="111"/>
                    </a:lnTo>
                    <a:lnTo>
                      <a:pt x="223" y="111"/>
                    </a:lnTo>
                    <a:lnTo>
                      <a:pt x="223" y="110"/>
                    </a:lnTo>
                    <a:lnTo>
                      <a:pt x="223" y="111"/>
                    </a:lnTo>
                    <a:lnTo>
                      <a:pt x="223" y="113"/>
                    </a:lnTo>
                    <a:lnTo>
                      <a:pt x="223" y="111"/>
                    </a:lnTo>
                    <a:lnTo>
                      <a:pt x="223" y="113"/>
                    </a:lnTo>
                    <a:lnTo>
                      <a:pt x="223" y="111"/>
                    </a:lnTo>
                    <a:lnTo>
                      <a:pt x="223" y="110"/>
                    </a:lnTo>
                    <a:lnTo>
                      <a:pt x="223" y="111"/>
                    </a:lnTo>
                    <a:lnTo>
                      <a:pt x="223" y="113"/>
                    </a:lnTo>
                    <a:lnTo>
                      <a:pt x="221" y="113"/>
                    </a:lnTo>
                    <a:lnTo>
                      <a:pt x="223" y="113"/>
                    </a:lnTo>
                    <a:lnTo>
                      <a:pt x="221" y="113"/>
                    </a:lnTo>
                    <a:lnTo>
                      <a:pt x="223" y="113"/>
                    </a:lnTo>
                    <a:lnTo>
                      <a:pt x="223" y="115"/>
                    </a:lnTo>
                    <a:lnTo>
                      <a:pt x="223" y="113"/>
                    </a:lnTo>
                    <a:lnTo>
                      <a:pt x="223" y="115"/>
                    </a:lnTo>
                    <a:lnTo>
                      <a:pt x="223" y="113"/>
                    </a:lnTo>
                    <a:lnTo>
                      <a:pt x="223" y="115"/>
                    </a:lnTo>
                    <a:lnTo>
                      <a:pt x="223" y="113"/>
                    </a:lnTo>
                    <a:lnTo>
                      <a:pt x="224" y="113"/>
                    </a:lnTo>
                    <a:lnTo>
                      <a:pt x="224" y="111"/>
                    </a:lnTo>
                    <a:lnTo>
                      <a:pt x="223" y="111"/>
                    </a:lnTo>
                    <a:lnTo>
                      <a:pt x="224" y="111"/>
                    </a:lnTo>
                    <a:lnTo>
                      <a:pt x="223" y="111"/>
                    </a:lnTo>
                    <a:lnTo>
                      <a:pt x="224" y="111"/>
                    </a:lnTo>
                    <a:lnTo>
                      <a:pt x="224" y="110"/>
                    </a:lnTo>
                    <a:lnTo>
                      <a:pt x="223" y="110"/>
                    </a:lnTo>
                    <a:lnTo>
                      <a:pt x="224" y="110"/>
                    </a:lnTo>
                    <a:lnTo>
                      <a:pt x="224" y="111"/>
                    </a:lnTo>
                    <a:lnTo>
                      <a:pt x="224" y="113"/>
                    </a:lnTo>
                    <a:lnTo>
                      <a:pt x="224" y="115"/>
                    </a:lnTo>
                    <a:lnTo>
                      <a:pt x="223" y="115"/>
                    </a:lnTo>
                    <a:lnTo>
                      <a:pt x="221" y="115"/>
                    </a:lnTo>
                    <a:lnTo>
                      <a:pt x="221" y="113"/>
                    </a:lnTo>
                    <a:lnTo>
                      <a:pt x="221" y="111"/>
                    </a:lnTo>
                    <a:lnTo>
                      <a:pt x="221" y="110"/>
                    </a:lnTo>
                    <a:lnTo>
                      <a:pt x="221" y="108"/>
                    </a:lnTo>
                    <a:lnTo>
                      <a:pt x="223" y="108"/>
                    </a:lnTo>
                    <a:lnTo>
                      <a:pt x="221" y="108"/>
                    </a:lnTo>
                    <a:lnTo>
                      <a:pt x="223" y="108"/>
                    </a:lnTo>
                    <a:lnTo>
                      <a:pt x="221" y="108"/>
                    </a:lnTo>
                    <a:lnTo>
                      <a:pt x="223" y="108"/>
                    </a:lnTo>
                    <a:lnTo>
                      <a:pt x="221" y="108"/>
                    </a:lnTo>
                    <a:lnTo>
                      <a:pt x="221" y="110"/>
                    </a:lnTo>
                    <a:close/>
                    <a:moveTo>
                      <a:pt x="213" y="115"/>
                    </a:moveTo>
                    <a:lnTo>
                      <a:pt x="215" y="115"/>
                    </a:lnTo>
                    <a:lnTo>
                      <a:pt x="213" y="115"/>
                    </a:lnTo>
                    <a:lnTo>
                      <a:pt x="211" y="115"/>
                    </a:lnTo>
                    <a:lnTo>
                      <a:pt x="209" y="115"/>
                    </a:lnTo>
                    <a:lnTo>
                      <a:pt x="207" y="115"/>
                    </a:lnTo>
                    <a:lnTo>
                      <a:pt x="207" y="113"/>
                    </a:lnTo>
                    <a:lnTo>
                      <a:pt x="207" y="111"/>
                    </a:lnTo>
                    <a:lnTo>
                      <a:pt x="209" y="111"/>
                    </a:lnTo>
                    <a:lnTo>
                      <a:pt x="211" y="111"/>
                    </a:lnTo>
                    <a:lnTo>
                      <a:pt x="211" y="110"/>
                    </a:lnTo>
                    <a:lnTo>
                      <a:pt x="211" y="111"/>
                    </a:lnTo>
                    <a:lnTo>
                      <a:pt x="211" y="110"/>
                    </a:lnTo>
                    <a:lnTo>
                      <a:pt x="213" y="110"/>
                    </a:lnTo>
                    <a:lnTo>
                      <a:pt x="211" y="111"/>
                    </a:lnTo>
                    <a:lnTo>
                      <a:pt x="213" y="110"/>
                    </a:lnTo>
                    <a:lnTo>
                      <a:pt x="213" y="111"/>
                    </a:lnTo>
                    <a:lnTo>
                      <a:pt x="213" y="110"/>
                    </a:lnTo>
                    <a:lnTo>
                      <a:pt x="213" y="111"/>
                    </a:lnTo>
                    <a:lnTo>
                      <a:pt x="213" y="110"/>
                    </a:lnTo>
                    <a:lnTo>
                      <a:pt x="213" y="108"/>
                    </a:lnTo>
                    <a:lnTo>
                      <a:pt x="213" y="106"/>
                    </a:lnTo>
                    <a:lnTo>
                      <a:pt x="215" y="106"/>
                    </a:lnTo>
                    <a:lnTo>
                      <a:pt x="215" y="104"/>
                    </a:lnTo>
                    <a:lnTo>
                      <a:pt x="215" y="106"/>
                    </a:lnTo>
                    <a:lnTo>
                      <a:pt x="215" y="104"/>
                    </a:lnTo>
                    <a:lnTo>
                      <a:pt x="215" y="106"/>
                    </a:lnTo>
                    <a:lnTo>
                      <a:pt x="215" y="108"/>
                    </a:lnTo>
                    <a:lnTo>
                      <a:pt x="215" y="106"/>
                    </a:lnTo>
                    <a:lnTo>
                      <a:pt x="213" y="106"/>
                    </a:lnTo>
                    <a:lnTo>
                      <a:pt x="213" y="108"/>
                    </a:lnTo>
                    <a:lnTo>
                      <a:pt x="215" y="108"/>
                    </a:lnTo>
                    <a:lnTo>
                      <a:pt x="217" y="108"/>
                    </a:lnTo>
                    <a:lnTo>
                      <a:pt x="217" y="106"/>
                    </a:lnTo>
                    <a:lnTo>
                      <a:pt x="217" y="108"/>
                    </a:lnTo>
                    <a:lnTo>
                      <a:pt x="217" y="110"/>
                    </a:lnTo>
                    <a:lnTo>
                      <a:pt x="217" y="108"/>
                    </a:lnTo>
                    <a:lnTo>
                      <a:pt x="219" y="108"/>
                    </a:lnTo>
                    <a:lnTo>
                      <a:pt x="219" y="106"/>
                    </a:lnTo>
                    <a:lnTo>
                      <a:pt x="219" y="108"/>
                    </a:lnTo>
                    <a:lnTo>
                      <a:pt x="219" y="106"/>
                    </a:lnTo>
                    <a:lnTo>
                      <a:pt x="219" y="108"/>
                    </a:lnTo>
                    <a:lnTo>
                      <a:pt x="217" y="108"/>
                    </a:lnTo>
                    <a:lnTo>
                      <a:pt x="217" y="110"/>
                    </a:lnTo>
                    <a:lnTo>
                      <a:pt x="217" y="108"/>
                    </a:lnTo>
                    <a:lnTo>
                      <a:pt x="217" y="110"/>
                    </a:lnTo>
                    <a:lnTo>
                      <a:pt x="215" y="110"/>
                    </a:lnTo>
                    <a:lnTo>
                      <a:pt x="217" y="110"/>
                    </a:lnTo>
                    <a:lnTo>
                      <a:pt x="215" y="110"/>
                    </a:lnTo>
                    <a:lnTo>
                      <a:pt x="215" y="111"/>
                    </a:lnTo>
                    <a:lnTo>
                      <a:pt x="215" y="113"/>
                    </a:lnTo>
                    <a:lnTo>
                      <a:pt x="217" y="113"/>
                    </a:lnTo>
                    <a:lnTo>
                      <a:pt x="215" y="113"/>
                    </a:lnTo>
                    <a:lnTo>
                      <a:pt x="217" y="113"/>
                    </a:lnTo>
                    <a:lnTo>
                      <a:pt x="217" y="115"/>
                    </a:lnTo>
                    <a:lnTo>
                      <a:pt x="217" y="113"/>
                    </a:lnTo>
                    <a:lnTo>
                      <a:pt x="219" y="113"/>
                    </a:lnTo>
                    <a:lnTo>
                      <a:pt x="219" y="111"/>
                    </a:lnTo>
                    <a:lnTo>
                      <a:pt x="219" y="113"/>
                    </a:lnTo>
                    <a:lnTo>
                      <a:pt x="219" y="111"/>
                    </a:lnTo>
                    <a:lnTo>
                      <a:pt x="219" y="113"/>
                    </a:lnTo>
                    <a:lnTo>
                      <a:pt x="219" y="111"/>
                    </a:lnTo>
                    <a:lnTo>
                      <a:pt x="219" y="113"/>
                    </a:lnTo>
                    <a:lnTo>
                      <a:pt x="221" y="111"/>
                    </a:lnTo>
                    <a:lnTo>
                      <a:pt x="219" y="111"/>
                    </a:lnTo>
                    <a:lnTo>
                      <a:pt x="219" y="110"/>
                    </a:lnTo>
                    <a:lnTo>
                      <a:pt x="221" y="110"/>
                    </a:lnTo>
                    <a:lnTo>
                      <a:pt x="221" y="108"/>
                    </a:lnTo>
                    <a:lnTo>
                      <a:pt x="221" y="110"/>
                    </a:lnTo>
                    <a:lnTo>
                      <a:pt x="219" y="110"/>
                    </a:lnTo>
                    <a:lnTo>
                      <a:pt x="219" y="111"/>
                    </a:lnTo>
                    <a:lnTo>
                      <a:pt x="219" y="110"/>
                    </a:lnTo>
                    <a:lnTo>
                      <a:pt x="219" y="111"/>
                    </a:lnTo>
                    <a:lnTo>
                      <a:pt x="219" y="110"/>
                    </a:lnTo>
                    <a:lnTo>
                      <a:pt x="219" y="108"/>
                    </a:lnTo>
                    <a:lnTo>
                      <a:pt x="221" y="108"/>
                    </a:lnTo>
                    <a:lnTo>
                      <a:pt x="219" y="108"/>
                    </a:lnTo>
                    <a:lnTo>
                      <a:pt x="221" y="108"/>
                    </a:lnTo>
                    <a:lnTo>
                      <a:pt x="221" y="106"/>
                    </a:lnTo>
                    <a:lnTo>
                      <a:pt x="219" y="106"/>
                    </a:lnTo>
                    <a:lnTo>
                      <a:pt x="221" y="108"/>
                    </a:lnTo>
                    <a:lnTo>
                      <a:pt x="221" y="110"/>
                    </a:lnTo>
                    <a:lnTo>
                      <a:pt x="221" y="111"/>
                    </a:lnTo>
                    <a:lnTo>
                      <a:pt x="219" y="113"/>
                    </a:lnTo>
                    <a:lnTo>
                      <a:pt x="221" y="113"/>
                    </a:lnTo>
                    <a:lnTo>
                      <a:pt x="219" y="113"/>
                    </a:lnTo>
                    <a:lnTo>
                      <a:pt x="221" y="113"/>
                    </a:lnTo>
                    <a:lnTo>
                      <a:pt x="221" y="111"/>
                    </a:lnTo>
                    <a:lnTo>
                      <a:pt x="221" y="113"/>
                    </a:lnTo>
                    <a:lnTo>
                      <a:pt x="219" y="113"/>
                    </a:lnTo>
                    <a:lnTo>
                      <a:pt x="219" y="115"/>
                    </a:lnTo>
                    <a:lnTo>
                      <a:pt x="217" y="115"/>
                    </a:lnTo>
                    <a:lnTo>
                      <a:pt x="215" y="115"/>
                    </a:lnTo>
                    <a:lnTo>
                      <a:pt x="217" y="115"/>
                    </a:lnTo>
                    <a:lnTo>
                      <a:pt x="215" y="115"/>
                    </a:lnTo>
                    <a:lnTo>
                      <a:pt x="213" y="115"/>
                    </a:lnTo>
                    <a:lnTo>
                      <a:pt x="215" y="115"/>
                    </a:lnTo>
                    <a:lnTo>
                      <a:pt x="213" y="115"/>
                    </a:lnTo>
                    <a:close/>
                    <a:moveTo>
                      <a:pt x="219" y="110"/>
                    </a:moveTo>
                    <a:lnTo>
                      <a:pt x="221" y="110"/>
                    </a:lnTo>
                    <a:lnTo>
                      <a:pt x="221" y="111"/>
                    </a:lnTo>
                    <a:lnTo>
                      <a:pt x="221" y="110"/>
                    </a:lnTo>
                    <a:lnTo>
                      <a:pt x="219" y="110"/>
                    </a:lnTo>
                    <a:close/>
                    <a:moveTo>
                      <a:pt x="215" y="111"/>
                    </a:moveTo>
                    <a:lnTo>
                      <a:pt x="215" y="110"/>
                    </a:lnTo>
                    <a:lnTo>
                      <a:pt x="215" y="111"/>
                    </a:lnTo>
                    <a:close/>
                    <a:moveTo>
                      <a:pt x="228" y="108"/>
                    </a:moveTo>
                    <a:lnTo>
                      <a:pt x="226" y="108"/>
                    </a:lnTo>
                    <a:lnTo>
                      <a:pt x="228" y="108"/>
                    </a:lnTo>
                    <a:close/>
                    <a:moveTo>
                      <a:pt x="228" y="108"/>
                    </a:moveTo>
                    <a:lnTo>
                      <a:pt x="226" y="108"/>
                    </a:lnTo>
                    <a:lnTo>
                      <a:pt x="226" y="106"/>
                    </a:lnTo>
                    <a:lnTo>
                      <a:pt x="226" y="108"/>
                    </a:lnTo>
                    <a:lnTo>
                      <a:pt x="226" y="106"/>
                    </a:lnTo>
                    <a:lnTo>
                      <a:pt x="228" y="106"/>
                    </a:lnTo>
                    <a:lnTo>
                      <a:pt x="228" y="108"/>
                    </a:lnTo>
                    <a:close/>
                    <a:moveTo>
                      <a:pt x="221" y="106"/>
                    </a:moveTo>
                    <a:lnTo>
                      <a:pt x="221" y="108"/>
                    </a:lnTo>
                    <a:lnTo>
                      <a:pt x="221" y="106"/>
                    </a:lnTo>
                    <a:lnTo>
                      <a:pt x="223" y="106"/>
                    </a:lnTo>
                    <a:lnTo>
                      <a:pt x="223" y="108"/>
                    </a:lnTo>
                    <a:lnTo>
                      <a:pt x="223" y="106"/>
                    </a:lnTo>
                    <a:lnTo>
                      <a:pt x="221" y="106"/>
                    </a:lnTo>
                    <a:lnTo>
                      <a:pt x="223" y="106"/>
                    </a:lnTo>
                    <a:lnTo>
                      <a:pt x="223" y="108"/>
                    </a:lnTo>
                    <a:lnTo>
                      <a:pt x="223" y="106"/>
                    </a:lnTo>
                    <a:lnTo>
                      <a:pt x="223" y="108"/>
                    </a:lnTo>
                    <a:lnTo>
                      <a:pt x="223" y="106"/>
                    </a:lnTo>
                    <a:lnTo>
                      <a:pt x="221" y="106"/>
                    </a:lnTo>
                    <a:lnTo>
                      <a:pt x="223" y="106"/>
                    </a:lnTo>
                    <a:lnTo>
                      <a:pt x="223" y="108"/>
                    </a:lnTo>
                    <a:lnTo>
                      <a:pt x="223" y="106"/>
                    </a:lnTo>
                    <a:lnTo>
                      <a:pt x="221" y="104"/>
                    </a:lnTo>
                    <a:lnTo>
                      <a:pt x="223" y="106"/>
                    </a:lnTo>
                    <a:lnTo>
                      <a:pt x="223" y="108"/>
                    </a:lnTo>
                    <a:lnTo>
                      <a:pt x="221" y="108"/>
                    </a:lnTo>
                    <a:lnTo>
                      <a:pt x="221" y="106"/>
                    </a:lnTo>
                    <a:lnTo>
                      <a:pt x="219" y="106"/>
                    </a:lnTo>
                    <a:lnTo>
                      <a:pt x="219" y="104"/>
                    </a:lnTo>
                    <a:lnTo>
                      <a:pt x="219" y="106"/>
                    </a:lnTo>
                    <a:lnTo>
                      <a:pt x="221" y="106"/>
                    </a:lnTo>
                    <a:lnTo>
                      <a:pt x="221" y="108"/>
                    </a:lnTo>
                    <a:lnTo>
                      <a:pt x="221" y="106"/>
                    </a:lnTo>
                    <a:close/>
                    <a:moveTo>
                      <a:pt x="211" y="102"/>
                    </a:moveTo>
                    <a:lnTo>
                      <a:pt x="211" y="100"/>
                    </a:lnTo>
                    <a:lnTo>
                      <a:pt x="213" y="102"/>
                    </a:lnTo>
                    <a:lnTo>
                      <a:pt x="213" y="100"/>
                    </a:lnTo>
                    <a:lnTo>
                      <a:pt x="213" y="102"/>
                    </a:lnTo>
                    <a:lnTo>
                      <a:pt x="211" y="102"/>
                    </a:lnTo>
                    <a:lnTo>
                      <a:pt x="213" y="102"/>
                    </a:lnTo>
                    <a:lnTo>
                      <a:pt x="211" y="102"/>
                    </a:lnTo>
                    <a:lnTo>
                      <a:pt x="213" y="102"/>
                    </a:lnTo>
                    <a:lnTo>
                      <a:pt x="211" y="102"/>
                    </a:lnTo>
                    <a:close/>
                    <a:moveTo>
                      <a:pt x="213" y="102"/>
                    </a:moveTo>
                    <a:lnTo>
                      <a:pt x="213" y="100"/>
                    </a:lnTo>
                    <a:lnTo>
                      <a:pt x="213" y="102"/>
                    </a:lnTo>
                    <a:close/>
                    <a:moveTo>
                      <a:pt x="217" y="102"/>
                    </a:moveTo>
                    <a:lnTo>
                      <a:pt x="217" y="104"/>
                    </a:lnTo>
                    <a:lnTo>
                      <a:pt x="217" y="102"/>
                    </a:lnTo>
                    <a:close/>
                    <a:moveTo>
                      <a:pt x="209" y="98"/>
                    </a:moveTo>
                    <a:lnTo>
                      <a:pt x="209" y="100"/>
                    </a:lnTo>
                    <a:lnTo>
                      <a:pt x="209" y="98"/>
                    </a:lnTo>
                    <a:close/>
                    <a:moveTo>
                      <a:pt x="207" y="106"/>
                    </a:moveTo>
                    <a:lnTo>
                      <a:pt x="209" y="106"/>
                    </a:lnTo>
                    <a:lnTo>
                      <a:pt x="211" y="106"/>
                    </a:lnTo>
                    <a:lnTo>
                      <a:pt x="209" y="106"/>
                    </a:lnTo>
                    <a:lnTo>
                      <a:pt x="211" y="106"/>
                    </a:lnTo>
                    <a:lnTo>
                      <a:pt x="209" y="106"/>
                    </a:lnTo>
                    <a:lnTo>
                      <a:pt x="209" y="108"/>
                    </a:lnTo>
                    <a:lnTo>
                      <a:pt x="209" y="106"/>
                    </a:lnTo>
                    <a:lnTo>
                      <a:pt x="209" y="108"/>
                    </a:lnTo>
                    <a:lnTo>
                      <a:pt x="211" y="108"/>
                    </a:lnTo>
                    <a:lnTo>
                      <a:pt x="211" y="106"/>
                    </a:lnTo>
                    <a:lnTo>
                      <a:pt x="211" y="108"/>
                    </a:lnTo>
                    <a:lnTo>
                      <a:pt x="209" y="108"/>
                    </a:lnTo>
                    <a:lnTo>
                      <a:pt x="211" y="110"/>
                    </a:lnTo>
                    <a:lnTo>
                      <a:pt x="211" y="108"/>
                    </a:lnTo>
                    <a:lnTo>
                      <a:pt x="211" y="106"/>
                    </a:lnTo>
                    <a:lnTo>
                      <a:pt x="213" y="106"/>
                    </a:lnTo>
                    <a:lnTo>
                      <a:pt x="213" y="104"/>
                    </a:lnTo>
                    <a:lnTo>
                      <a:pt x="215" y="104"/>
                    </a:lnTo>
                    <a:lnTo>
                      <a:pt x="213" y="104"/>
                    </a:lnTo>
                    <a:lnTo>
                      <a:pt x="215" y="104"/>
                    </a:lnTo>
                    <a:lnTo>
                      <a:pt x="215" y="102"/>
                    </a:lnTo>
                    <a:lnTo>
                      <a:pt x="215" y="104"/>
                    </a:lnTo>
                    <a:lnTo>
                      <a:pt x="215" y="102"/>
                    </a:lnTo>
                    <a:lnTo>
                      <a:pt x="215" y="104"/>
                    </a:lnTo>
                    <a:lnTo>
                      <a:pt x="217" y="104"/>
                    </a:lnTo>
                    <a:lnTo>
                      <a:pt x="215" y="104"/>
                    </a:lnTo>
                    <a:lnTo>
                      <a:pt x="217" y="104"/>
                    </a:lnTo>
                    <a:lnTo>
                      <a:pt x="215" y="102"/>
                    </a:lnTo>
                    <a:lnTo>
                      <a:pt x="215" y="100"/>
                    </a:lnTo>
                    <a:lnTo>
                      <a:pt x="215" y="102"/>
                    </a:lnTo>
                    <a:lnTo>
                      <a:pt x="217" y="102"/>
                    </a:lnTo>
                    <a:lnTo>
                      <a:pt x="217" y="104"/>
                    </a:lnTo>
                    <a:lnTo>
                      <a:pt x="215" y="104"/>
                    </a:lnTo>
                    <a:lnTo>
                      <a:pt x="215" y="106"/>
                    </a:lnTo>
                    <a:lnTo>
                      <a:pt x="213" y="106"/>
                    </a:lnTo>
                    <a:lnTo>
                      <a:pt x="213" y="108"/>
                    </a:lnTo>
                    <a:lnTo>
                      <a:pt x="213" y="110"/>
                    </a:lnTo>
                    <a:lnTo>
                      <a:pt x="211" y="110"/>
                    </a:lnTo>
                    <a:lnTo>
                      <a:pt x="209" y="111"/>
                    </a:lnTo>
                    <a:lnTo>
                      <a:pt x="209" y="110"/>
                    </a:lnTo>
                    <a:lnTo>
                      <a:pt x="207" y="110"/>
                    </a:lnTo>
                    <a:lnTo>
                      <a:pt x="207" y="108"/>
                    </a:lnTo>
                    <a:lnTo>
                      <a:pt x="207" y="106"/>
                    </a:lnTo>
                    <a:lnTo>
                      <a:pt x="207" y="104"/>
                    </a:lnTo>
                    <a:lnTo>
                      <a:pt x="209" y="104"/>
                    </a:lnTo>
                    <a:lnTo>
                      <a:pt x="211" y="104"/>
                    </a:lnTo>
                    <a:lnTo>
                      <a:pt x="211" y="102"/>
                    </a:lnTo>
                    <a:lnTo>
                      <a:pt x="211" y="104"/>
                    </a:lnTo>
                    <a:lnTo>
                      <a:pt x="211" y="102"/>
                    </a:lnTo>
                    <a:lnTo>
                      <a:pt x="211" y="104"/>
                    </a:lnTo>
                    <a:lnTo>
                      <a:pt x="209" y="104"/>
                    </a:lnTo>
                    <a:lnTo>
                      <a:pt x="211" y="104"/>
                    </a:lnTo>
                    <a:lnTo>
                      <a:pt x="211" y="106"/>
                    </a:lnTo>
                    <a:lnTo>
                      <a:pt x="211" y="104"/>
                    </a:lnTo>
                    <a:lnTo>
                      <a:pt x="211" y="106"/>
                    </a:lnTo>
                    <a:lnTo>
                      <a:pt x="211" y="104"/>
                    </a:lnTo>
                    <a:lnTo>
                      <a:pt x="209" y="104"/>
                    </a:lnTo>
                    <a:lnTo>
                      <a:pt x="209" y="106"/>
                    </a:lnTo>
                    <a:lnTo>
                      <a:pt x="209" y="104"/>
                    </a:lnTo>
                    <a:lnTo>
                      <a:pt x="209" y="106"/>
                    </a:lnTo>
                    <a:lnTo>
                      <a:pt x="209" y="104"/>
                    </a:lnTo>
                    <a:lnTo>
                      <a:pt x="209" y="106"/>
                    </a:lnTo>
                    <a:lnTo>
                      <a:pt x="207" y="106"/>
                    </a:lnTo>
                    <a:lnTo>
                      <a:pt x="209" y="106"/>
                    </a:lnTo>
                    <a:lnTo>
                      <a:pt x="207" y="106"/>
                    </a:lnTo>
                    <a:close/>
                    <a:moveTo>
                      <a:pt x="211" y="102"/>
                    </a:moveTo>
                    <a:lnTo>
                      <a:pt x="209" y="102"/>
                    </a:lnTo>
                    <a:lnTo>
                      <a:pt x="209" y="104"/>
                    </a:lnTo>
                    <a:lnTo>
                      <a:pt x="207" y="104"/>
                    </a:lnTo>
                    <a:lnTo>
                      <a:pt x="207" y="106"/>
                    </a:lnTo>
                    <a:lnTo>
                      <a:pt x="207" y="104"/>
                    </a:lnTo>
                    <a:lnTo>
                      <a:pt x="207" y="106"/>
                    </a:lnTo>
                    <a:lnTo>
                      <a:pt x="205" y="106"/>
                    </a:lnTo>
                    <a:lnTo>
                      <a:pt x="207" y="104"/>
                    </a:lnTo>
                    <a:lnTo>
                      <a:pt x="205" y="104"/>
                    </a:lnTo>
                    <a:lnTo>
                      <a:pt x="205" y="102"/>
                    </a:lnTo>
                    <a:lnTo>
                      <a:pt x="205" y="100"/>
                    </a:lnTo>
                    <a:lnTo>
                      <a:pt x="207" y="102"/>
                    </a:lnTo>
                    <a:lnTo>
                      <a:pt x="205" y="100"/>
                    </a:lnTo>
                    <a:lnTo>
                      <a:pt x="207" y="100"/>
                    </a:lnTo>
                    <a:lnTo>
                      <a:pt x="207" y="102"/>
                    </a:lnTo>
                    <a:lnTo>
                      <a:pt x="205" y="102"/>
                    </a:lnTo>
                    <a:lnTo>
                      <a:pt x="207" y="102"/>
                    </a:lnTo>
                    <a:lnTo>
                      <a:pt x="207" y="100"/>
                    </a:lnTo>
                    <a:lnTo>
                      <a:pt x="207" y="102"/>
                    </a:lnTo>
                    <a:lnTo>
                      <a:pt x="207" y="100"/>
                    </a:lnTo>
                    <a:lnTo>
                      <a:pt x="207" y="102"/>
                    </a:lnTo>
                    <a:lnTo>
                      <a:pt x="209" y="102"/>
                    </a:lnTo>
                    <a:lnTo>
                      <a:pt x="207" y="102"/>
                    </a:lnTo>
                    <a:lnTo>
                      <a:pt x="209" y="102"/>
                    </a:lnTo>
                    <a:lnTo>
                      <a:pt x="209" y="100"/>
                    </a:lnTo>
                    <a:lnTo>
                      <a:pt x="207" y="100"/>
                    </a:lnTo>
                    <a:lnTo>
                      <a:pt x="209" y="100"/>
                    </a:lnTo>
                    <a:lnTo>
                      <a:pt x="209" y="98"/>
                    </a:lnTo>
                    <a:lnTo>
                      <a:pt x="209" y="100"/>
                    </a:lnTo>
                    <a:lnTo>
                      <a:pt x="211" y="102"/>
                    </a:lnTo>
                    <a:lnTo>
                      <a:pt x="209" y="102"/>
                    </a:lnTo>
                    <a:lnTo>
                      <a:pt x="211" y="102"/>
                    </a:lnTo>
                    <a:close/>
                    <a:moveTo>
                      <a:pt x="213" y="100"/>
                    </a:moveTo>
                    <a:lnTo>
                      <a:pt x="211" y="100"/>
                    </a:lnTo>
                    <a:lnTo>
                      <a:pt x="211" y="102"/>
                    </a:lnTo>
                    <a:lnTo>
                      <a:pt x="211" y="100"/>
                    </a:lnTo>
                    <a:lnTo>
                      <a:pt x="209" y="98"/>
                    </a:lnTo>
                    <a:lnTo>
                      <a:pt x="211" y="98"/>
                    </a:lnTo>
                    <a:lnTo>
                      <a:pt x="213" y="100"/>
                    </a:lnTo>
                    <a:close/>
                    <a:moveTo>
                      <a:pt x="217" y="100"/>
                    </a:moveTo>
                    <a:lnTo>
                      <a:pt x="217" y="102"/>
                    </a:lnTo>
                    <a:lnTo>
                      <a:pt x="219" y="102"/>
                    </a:lnTo>
                    <a:lnTo>
                      <a:pt x="219" y="100"/>
                    </a:lnTo>
                    <a:lnTo>
                      <a:pt x="219" y="102"/>
                    </a:lnTo>
                    <a:lnTo>
                      <a:pt x="217" y="102"/>
                    </a:lnTo>
                    <a:lnTo>
                      <a:pt x="219" y="102"/>
                    </a:lnTo>
                    <a:lnTo>
                      <a:pt x="219" y="100"/>
                    </a:lnTo>
                    <a:lnTo>
                      <a:pt x="219" y="102"/>
                    </a:lnTo>
                    <a:lnTo>
                      <a:pt x="221" y="102"/>
                    </a:lnTo>
                    <a:lnTo>
                      <a:pt x="221" y="104"/>
                    </a:lnTo>
                    <a:lnTo>
                      <a:pt x="219" y="104"/>
                    </a:lnTo>
                    <a:lnTo>
                      <a:pt x="219" y="102"/>
                    </a:lnTo>
                    <a:lnTo>
                      <a:pt x="217" y="102"/>
                    </a:lnTo>
                    <a:lnTo>
                      <a:pt x="217" y="100"/>
                    </a:lnTo>
                    <a:close/>
                    <a:moveTo>
                      <a:pt x="217" y="102"/>
                    </a:moveTo>
                    <a:lnTo>
                      <a:pt x="215" y="100"/>
                    </a:lnTo>
                    <a:lnTo>
                      <a:pt x="215" y="102"/>
                    </a:lnTo>
                    <a:lnTo>
                      <a:pt x="215" y="100"/>
                    </a:lnTo>
                    <a:lnTo>
                      <a:pt x="215" y="102"/>
                    </a:lnTo>
                    <a:lnTo>
                      <a:pt x="217" y="102"/>
                    </a:lnTo>
                    <a:lnTo>
                      <a:pt x="215" y="100"/>
                    </a:lnTo>
                    <a:lnTo>
                      <a:pt x="217" y="100"/>
                    </a:lnTo>
                    <a:lnTo>
                      <a:pt x="217" y="102"/>
                    </a:lnTo>
                    <a:close/>
                    <a:moveTo>
                      <a:pt x="217" y="102"/>
                    </a:moveTo>
                    <a:lnTo>
                      <a:pt x="215" y="102"/>
                    </a:lnTo>
                    <a:lnTo>
                      <a:pt x="217" y="102"/>
                    </a:lnTo>
                    <a:close/>
                    <a:moveTo>
                      <a:pt x="223" y="104"/>
                    </a:moveTo>
                    <a:lnTo>
                      <a:pt x="223" y="102"/>
                    </a:lnTo>
                    <a:lnTo>
                      <a:pt x="223" y="104"/>
                    </a:lnTo>
                    <a:lnTo>
                      <a:pt x="221" y="104"/>
                    </a:lnTo>
                    <a:lnTo>
                      <a:pt x="221" y="102"/>
                    </a:lnTo>
                    <a:lnTo>
                      <a:pt x="221" y="104"/>
                    </a:lnTo>
                    <a:lnTo>
                      <a:pt x="221" y="102"/>
                    </a:lnTo>
                    <a:lnTo>
                      <a:pt x="219" y="102"/>
                    </a:lnTo>
                    <a:lnTo>
                      <a:pt x="221" y="102"/>
                    </a:lnTo>
                    <a:lnTo>
                      <a:pt x="219" y="102"/>
                    </a:lnTo>
                    <a:lnTo>
                      <a:pt x="221" y="102"/>
                    </a:lnTo>
                    <a:lnTo>
                      <a:pt x="223" y="102"/>
                    </a:lnTo>
                    <a:lnTo>
                      <a:pt x="224" y="104"/>
                    </a:lnTo>
                    <a:lnTo>
                      <a:pt x="226" y="102"/>
                    </a:lnTo>
                    <a:lnTo>
                      <a:pt x="226" y="104"/>
                    </a:lnTo>
                    <a:lnTo>
                      <a:pt x="226" y="106"/>
                    </a:lnTo>
                    <a:lnTo>
                      <a:pt x="224" y="106"/>
                    </a:lnTo>
                    <a:lnTo>
                      <a:pt x="223" y="106"/>
                    </a:lnTo>
                    <a:lnTo>
                      <a:pt x="223" y="104"/>
                    </a:lnTo>
                    <a:close/>
                    <a:moveTo>
                      <a:pt x="224" y="104"/>
                    </a:moveTo>
                    <a:lnTo>
                      <a:pt x="224" y="106"/>
                    </a:lnTo>
                    <a:lnTo>
                      <a:pt x="226" y="106"/>
                    </a:lnTo>
                    <a:lnTo>
                      <a:pt x="224" y="106"/>
                    </a:lnTo>
                    <a:lnTo>
                      <a:pt x="224" y="104"/>
                    </a:lnTo>
                    <a:lnTo>
                      <a:pt x="226" y="104"/>
                    </a:lnTo>
                    <a:lnTo>
                      <a:pt x="224" y="104"/>
                    </a:lnTo>
                    <a:close/>
                    <a:moveTo>
                      <a:pt x="203" y="104"/>
                    </a:moveTo>
                    <a:lnTo>
                      <a:pt x="203" y="102"/>
                    </a:lnTo>
                    <a:lnTo>
                      <a:pt x="201" y="104"/>
                    </a:lnTo>
                    <a:lnTo>
                      <a:pt x="201" y="102"/>
                    </a:lnTo>
                    <a:lnTo>
                      <a:pt x="201" y="104"/>
                    </a:lnTo>
                    <a:lnTo>
                      <a:pt x="203" y="104"/>
                    </a:lnTo>
                    <a:lnTo>
                      <a:pt x="203" y="102"/>
                    </a:lnTo>
                    <a:lnTo>
                      <a:pt x="203" y="104"/>
                    </a:lnTo>
                    <a:lnTo>
                      <a:pt x="203" y="106"/>
                    </a:lnTo>
                    <a:lnTo>
                      <a:pt x="203" y="104"/>
                    </a:lnTo>
                    <a:lnTo>
                      <a:pt x="203" y="106"/>
                    </a:lnTo>
                    <a:lnTo>
                      <a:pt x="203" y="104"/>
                    </a:lnTo>
                    <a:lnTo>
                      <a:pt x="205" y="104"/>
                    </a:lnTo>
                    <a:lnTo>
                      <a:pt x="205" y="106"/>
                    </a:lnTo>
                    <a:lnTo>
                      <a:pt x="205" y="104"/>
                    </a:lnTo>
                    <a:lnTo>
                      <a:pt x="203" y="104"/>
                    </a:lnTo>
                    <a:lnTo>
                      <a:pt x="205" y="104"/>
                    </a:lnTo>
                    <a:lnTo>
                      <a:pt x="205" y="106"/>
                    </a:lnTo>
                    <a:lnTo>
                      <a:pt x="205" y="104"/>
                    </a:lnTo>
                    <a:lnTo>
                      <a:pt x="205" y="102"/>
                    </a:lnTo>
                    <a:lnTo>
                      <a:pt x="205" y="104"/>
                    </a:lnTo>
                    <a:lnTo>
                      <a:pt x="205" y="102"/>
                    </a:lnTo>
                    <a:lnTo>
                      <a:pt x="205" y="104"/>
                    </a:lnTo>
                    <a:lnTo>
                      <a:pt x="205" y="102"/>
                    </a:lnTo>
                    <a:lnTo>
                      <a:pt x="205" y="104"/>
                    </a:lnTo>
                    <a:lnTo>
                      <a:pt x="205" y="102"/>
                    </a:lnTo>
                    <a:lnTo>
                      <a:pt x="203" y="102"/>
                    </a:lnTo>
                    <a:lnTo>
                      <a:pt x="205" y="102"/>
                    </a:lnTo>
                    <a:lnTo>
                      <a:pt x="205" y="104"/>
                    </a:lnTo>
                    <a:lnTo>
                      <a:pt x="207" y="104"/>
                    </a:lnTo>
                    <a:lnTo>
                      <a:pt x="205" y="104"/>
                    </a:lnTo>
                    <a:lnTo>
                      <a:pt x="205" y="106"/>
                    </a:lnTo>
                    <a:lnTo>
                      <a:pt x="207" y="106"/>
                    </a:lnTo>
                    <a:lnTo>
                      <a:pt x="205" y="106"/>
                    </a:lnTo>
                    <a:lnTo>
                      <a:pt x="205" y="108"/>
                    </a:lnTo>
                    <a:lnTo>
                      <a:pt x="207" y="108"/>
                    </a:lnTo>
                    <a:lnTo>
                      <a:pt x="205" y="108"/>
                    </a:lnTo>
                    <a:lnTo>
                      <a:pt x="205" y="106"/>
                    </a:lnTo>
                    <a:lnTo>
                      <a:pt x="207" y="106"/>
                    </a:lnTo>
                    <a:lnTo>
                      <a:pt x="207" y="108"/>
                    </a:lnTo>
                    <a:lnTo>
                      <a:pt x="207" y="110"/>
                    </a:lnTo>
                    <a:lnTo>
                      <a:pt x="205" y="110"/>
                    </a:lnTo>
                    <a:lnTo>
                      <a:pt x="205" y="108"/>
                    </a:lnTo>
                    <a:lnTo>
                      <a:pt x="205" y="110"/>
                    </a:lnTo>
                    <a:lnTo>
                      <a:pt x="205" y="111"/>
                    </a:lnTo>
                    <a:lnTo>
                      <a:pt x="203" y="111"/>
                    </a:lnTo>
                    <a:lnTo>
                      <a:pt x="201" y="111"/>
                    </a:lnTo>
                    <a:lnTo>
                      <a:pt x="203" y="111"/>
                    </a:lnTo>
                    <a:lnTo>
                      <a:pt x="205" y="111"/>
                    </a:lnTo>
                    <a:lnTo>
                      <a:pt x="205" y="113"/>
                    </a:lnTo>
                    <a:lnTo>
                      <a:pt x="205" y="115"/>
                    </a:lnTo>
                    <a:lnTo>
                      <a:pt x="203" y="115"/>
                    </a:lnTo>
                    <a:lnTo>
                      <a:pt x="203" y="117"/>
                    </a:lnTo>
                    <a:lnTo>
                      <a:pt x="201" y="117"/>
                    </a:lnTo>
                    <a:lnTo>
                      <a:pt x="203" y="117"/>
                    </a:lnTo>
                    <a:lnTo>
                      <a:pt x="203" y="119"/>
                    </a:lnTo>
                    <a:lnTo>
                      <a:pt x="203" y="117"/>
                    </a:lnTo>
                    <a:lnTo>
                      <a:pt x="201" y="119"/>
                    </a:lnTo>
                    <a:lnTo>
                      <a:pt x="203" y="119"/>
                    </a:lnTo>
                    <a:lnTo>
                      <a:pt x="201" y="119"/>
                    </a:lnTo>
                    <a:lnTo>
                      <a:pt x="201" y="121"/>
                    </a:lnTo>
                    <a:lnTo>
                      <a:pt x="201" y="119"/>
                    </a:lnTo>
                    <a:lnTo>
                      <a:pt x="203" y="119"/>
                    </a:lnTo>
                    <a:lnTo>
                      <a:pt x="205" y="119"/>
                    </a:lnTo>
                    <a:lnTo>
                      <a:pt x="205" y="117"/>
                    </a:lnTo>
                    <a:lnTo>
                      <a:pt x="205" y="115"/>
                    </a:lnTo>
                    <a:lnTo>
                      <a:pt x="205" y="117"/>
                    </a:lnTo>
                    <a:lnTo>
                      <a:pt x="205" y="115"/>
                    </a:lnTo>
                    <a:lnTo>
                      <a:pt x="207" y="115"/>
                    </a:lnTo>
                    <a:lnTo>
                      <a:pt x="205" y="115"/>
                    </a:lnTo>
                    <a:lnTo>
                      <a:pt x="205" y="117"/>
                    </a:lnTo>
                    <a:lnTo>
                      <a:pt x="205" y="119"/>
                    </a:lnTo>
                    <a:lnTo>
                      <a:pt x="203" y="119"/>
                    </a:lnTo>
                    <a:lnTo>
                      <a:pt x="205" y="119"/>
                    </a:lnTo>
                    <a:lnTo>
                      <a:pt x="205" y="121"/>
                    </a:lnTo>
                    <a:lnTo>
                      <a:pt x="203" y="121"/>
                    </a:lnTo>
                    <a:lnTo>
                      <a:pt x="203" y="119"/>
                    </a:lnTo>
                    <a:lnTo>
                      <a:pt x="205" y="119"/>
                    </a:lnTo>
                    <a:lnTo>
                      <a:pt x="203" y="119"/>
                    </a:lnTo>
                    <a:lnTo>
                      <a:pt x="203" y="121"/>
                    </a:lnTo>
                    <a:lnTo>
                      <a:pt x="203" y="119"/>
                    </a:lnTo>
                    <a:lnTo>
                      <a:pt x="203" y="121"/>
                    </a:lnTo>
                    <a:lnTo>
                      <a:pt x="203" y="123"/>
                    </a:lnTo>
                    <a:lnTo>
                      <a:pt x="203" y="121"/>
                    </a:lnTo>
                    <a:lnTo>
                      <a:pt x="203" y="123"/>
                    </a:lnTo>
                    <a:lnTo>
                      <a:pt x="203" y="121"/>
                    </a:lnTo>
                    <a:lnTo>
                      <a:pt x="201" y="121"/>
                    </a:lnTo>
                    <a:lnTo>
                      <a:pt x="203" y="121"/>
                    </a:lnTo>
                    <a:lnTo>
                      <a:pt x="201" y="121"/>
                    </a:lnTo>
                    <a:lnTo>
                      <a:pt x="203" y="121"/>
                    </a:lnTo>
                    <a:lnTo>
                      <a:pt x="203" y="123"/>
                    </a:lnTo>
                    <a:lnTo>
                      <a:pt x="201" y="123"/>
                    </a:lnTo>
                    <a:lnTo>
                      <a:pt x="201" y="121"/>
                    </a:lnTo>
                    <a:lnTo>
                      <a:pt x="201" y="123"/>
                    </a:lnTo>
                    <a:lnTo>
                      <a:pt x="199" y="123"/>
                    </a:lnTo>
                    <a:lnTo>
                      <a:pt x="201" y="123"/>
                    </a:lnTo>
                    <a:lnTo>
                      <a:pt x="199" y="123"/>
                    </a:lnTo>
                    <a:lnTo>
                      <a:pt x="201" y="123"/>
                    </a:lnTo>
                    <a:lnTo>
                      <a:pt x="199" y="121"/>
                    </a:lnTo>
                    <a:lnTo>
                      <a:pt x="199" y="123"/>
                    </a:lnTo>
                    <a:lnTo>
                      <a:pt x="199" y="121"/>
                    </a:lnTo>
                    <a:lnTo>
                      <a:pt x="199" y="119"/>
                    </a:lnTo>
                    <a:lnTo>
                      <a:pt x="198" y="119"/>
                    </a:lnTo>
                    <a:lnTo>
                      <a:pt x="199" y="119"/>
                    </a:lnTo>
                    <a:lnTo>
                      <a:pt x="198" y="119"/>
                    </a:lnTo>
                    <a:lnTo>
                      <a:pt x="198" y="121"/>
                    </a:lnTo>
                    <a:lnTo>
                      <a:pt x="199" y="121"/>
                    </a:lnTo>
                    <a:lnTo>
                      <a:pt x="198" y="121"/>
                    </a:lnTo>
                    <a:lnTo>
                      <a:pt x="198" y="123"/>
                    </a:lnTo>
                    <a:lnTo>
                      <a:pt x="196" y="123"/>
                    </a:lnTo>
                    <a:lnTo>
                      <a:pt x="198" y="123"/>
                    </a:lnTo>
                    <a:lnTo>
                      <a:pt x="196" y="123"/>
                    </a:lnTo>
                    <a:lnTo>
                      <a:pt x="196" y="125"/>
                    </a:lnTo>
                    <a:lnTo>
                      <a:pt x="196" y="123"/>
                    </a:lnTo>
                    <a:lnTo>
                      <a:pt x="198" y="123"/>
                    </a:lnTo>
                    <a:lnTo>
                      <a:pt x="199" y="123"/>
                    </a:lnTo>
                    <a:lnTo>
                      <a:pt x="201" y="123"/>
                    </a:lnTo>
                    <a:lnTo>
                      <a:pt x="199" y="123"/>
                    </a:lnTo>
                    <a:lnTo>
                      <a:pt x="198" y="125"/>
                    </a:lnTo>
                    <a:lnTo>
                      <a:pt x="196" y="125"/>
                    </a:lnTo>
                    <a:lnTo>
                      <a:pt x="196" y="127"/>
                    </a:lnTo>
                    <a:lnTo>
                      <a:pt x="194" y="127"/>
                    </a:lnTo>
                    <a:lnTo>
                      <a:pt x="194" y="129"/>
                    </a:lnTo>
                    <a:lnTo>
                      <a:pt x="194" y="127"/>
                    </a:lnTo>
                    <a:lnTo>
                      <a:pt x="196" y="127"/>
                    </a:lnTo>
                    <a:lnTo>
                      <a:pt x="194" y="127"/>
                    </a:lnTo>
                    <a:lnTo>
                      <a:pt x="196" y="127"/>
                    </a:lnTo>
                    <a:lnTo>
                      <a:pt x="194" y="127"/>
                    </a:lnTo>
                    <a:lnTo>
                      <a:pt x="196" y="127"/>
                    </a:lnTo>
                    <a:lnTo>
                      <a:pt x="194" y="127"/>
                    </a:lnTo>
                    <a:lnTo>
                      <a:pt x="194" y="129"/>
                    </a:lnTo>
                    <a:lnTo>
                      <a:pt x="196" y="129"/>
                    </a:lnTo>
                    <a:lnTo>
                      <a:pt x="194" y="129"/>
                    </a:lnTo>
                    <a:lnTo>
                      <a:pt x="194" y="131"/>
                    </a:lnTo>
                    <a:lnTo>
                      <a:pt x="194" y="129"/>
                    </a:lnTo>
                    <a:lnTo>
                      <a:pt x="194" y="131"/>
                    </a:lnTo>
                    <a:lnTo>
                      <a:pt x="192" y="131"/>
                    </a:lnTo>
                    <a:lnTo>
                      <a:pt x="192" y="129"/>
                    </a:lnTo>
                    <a:lnTo>
                      <a:pt x="192" y="131"/>
                    </a:lnTo>
                    <a:lnTo>
                      <a:pt x="190" y="131"/>
                    </a:lnTo>
                    <a:lnTo>
                      <a:pt x="192" y="131"/>
                    </a:lnTo>
                    <a:lnTo>
                      <a:pt x="190" y="131"/>
                    </a:lnTo>
                    <a:lnTo>
                      <a:pt x="188" y="131"/>
                    </a:lnTo>
                    <a:lnTo>
                      <a:pt x="190" y="131"/>
                    </a:lnTo>
                    <a:lnTo>
                      <a:pt x="190" y="129"/>
                    </a:lnTo>
                    <a:lnTo>
                      <a:pt x="190" y="131"/>
                    </a:lnTo>
                    <a:lnTo>
                      <a:pt x="188" y="131"/>
                    </a:lnTo>
                    <a:lnTo>
                      <a:pt x="188" y="129"/>
                    </a:lnTo>
                    <a:lnTo>
                      <a:pt x="186" y="129"/>
                    </a:lnTo>
                    <a:lnTo>
                      <a:pt x="184" y="129"/>
                    </a:lnTo>
                    <a:lnTo>
                      <a:pt x="184" y="127"/>
                    </a:lnTo>
                    <a:lnTo>
                      <a:pt x="184" y="129"/>
                    </a:lnTo>
                    <a:lnTo>
                      <a:pt x="184" y="127"/>
                    </a:lnTo>
                    <a:lnTo>
                      <a:pt x="184" y="129"/>
                    </a:lnTo>
                    <a:lnTo>
                      <a:pt x="182" y="129"/>
                    </a:lnTo>
                    <a:lnTo>
                      <a:pt x="180" y="129"/>
                    </a:lnTo>
                    <a:lnTo>
                      <a:pt x="178" y="127"/>
                    </a:lnTo>
                    <a:lnTo>
                      <a:pt x="178" y="129"/>
                    </a:lnTo>
                    <a:lnTo>
                      <a:pt x="176" y="129"/>
                    </a:lnTo>
                    <a:lnTo>
                      <a:pt x="176" y="131"/>
                    </a:lnTo>
                    <a:lnTo>
                      <a:pt x="176" y="129"/>
                    </a:lnTo>
                    <a:lnTo>
                      <a:pt x="174" y="129"/>
                    </a:lnTo>
                    <a:lnTo>
                      <a:pt x="176" y="131"/>
                    </a:lnTo>
                    <a:lnTo>
                      <a:pt x="174" y="131"/>
                    </a:lnTo>
                    <a:lnTo>
                      <a:pt x="173" y="131"/>
                    </a:lnTo>
                    <a:lnTo>
                      <a:pt x="173" y="129"/>
                    </a:lnTo>
                    <a:lnTo>
                      <a:pt x="173" y="131"/>
                    </a:lnTo>
                    <a:lnTo>
                      <a:pt x="174" y="131"/>
                    </a:lnTo>
                    <a:lnTo>
                      <a:pt x="176" y="131"/>
                    </a:lnTo>
                    <a:lnTo>
                      <a:pt x="176" y="129"/>
                    </a:lnTo>
                    <a:lnTo>
                      <a:pt x="176" y="131"/>
                    </a:lnTo>
                    <a:lnTo>
                      <a:pt x="174" y="131"/>
                    </a:lnTo>
                    <a:lnTo>
                      <a:pt x="176" y="131"/>
                    </a:lnTo>
                    <a:lnTo>
                      <a:pt x="176" y="129"/>
                    </a:lnTo>
                    <a:lnTo>
                      <a:pt x="176" y="131"/>
                    </a:lnTo>
                    <a:lnTo>
                      <a:pt x="178" y="129"/>
                    </a:lnTo>
                    <a:lnTo>
                      <a:pt x="180" y="129"/>
                    </a:lnTo>
                    <a:lnTo>
                      <a:pt x="178" y="129"/>
                    </a:lnTo>
                    <a:lnTo>
                      <a:pt x="180" y="129"/>
                    </a:lnTo>
                    <a:lnTo>
                      <a:pt x="182" y="129"/>
                    </a:lnTo>
                    <a:lnTo>
                      <a:pt x="184" y="129"/>
                    </a:lnTo>
                    <a:lnTo>
                      <a:pt x="186" y="129"/>
                    </a:lnTo>
                    <a:lnTo>
                      <a:pt x="188" y="129"/>
                    </a:lnTo>
                    <a:lnTo>
                      <a:pt x="186" y="129"/>
                    </a:lnTo>
                    <a:lnTo>
                      <a:pt x="188" y="131"/>
                    </a:lnTo>
                    <a:lnTo>
                      <a:pt x="188" y="133"/>
                    </a:lnTo>
                    <a:lnTo>
                      <a:pt x="190" y="133"/>
                    </a:lnTo>
                    <a:lnTo>
                      <a:pt x="190" y="135"/>
                    </a:lnTo>
                    <a:lnTo>
                      <a:pt x="188" y="135"/>
                    </a:lnTo>
                    <a:lnTo>
                      <a:pt x="190" y="135"/>
                    </a:lnTo>
                    <a:lnTo>
                      <a:pt x="188" y="135"/>
                    </a:lnTo>
                    <a:lnTo>
                      <a:pt x="190" y="135"/>
                    </a:lnTo>
                    <a:lnTo>
                      <a:pt x="188" y="135"/>
                    </a:lnTo>
                    <a:lnTo>
                      <a:pt x="190" y="135"/>
                    </a:lnTo>
                    <a:lnTo>
                      <a:pt x="188" y="136"/>
                    </a:lnTo>
                    <a:lnTo>
                      <a:pt x="186" y="135"/>
                    </a:lnTo>
                    <a:lnTo>
                      <a:pt x="186" y="133"/>
                    </a:lnTo>
                    <a:lnTo>
                      <a:pt x="186" y="135"/>
                    </a:lnTo>
                    <a:lnTo>
                      <a:pt x="186" y="136"/>
                    </a:lnTo>
                    <a:lnTo>
                      <a:pt x="184" y="136"/>
                    </a:lnTo>
                    <a:lnTo>
                      <a:pt x="182" y="136"/>
                    </a:lnTo>
                    <a:lnTo>
                      <a:pt x="182" y="138"/>
                    </a:lnTo>
                    <a:lnTo>
                      <a:pt x="182" y="140"/>
                    </a:lnTo>
                    <a:lnTo>
                      <a:pt x="182" y="138"/>
                    </a:lnTo>
                    <a:lnTo>
                      <a:pt x="182" y="140"/>
                    </a:lnTo>
                    <a:lnTo>
                      <a:pt x="182" y="138"/>
                    </a:lnTo>
                    <a:lnTo>
                      <a:pt x="182" y="140"/>
                    </a:lnTo>
                    <a:lnTo>
                      <a:pt x="180" y="140"/>
                    </a:lnTo>
                    <a:lnTo>
                      <a:pt x="182" y="140"/>
                    </a:lnTo>
                    <a:lnTo>
                      <a:pt x="180" y="140"/>
                    </a:lnTo>
                    <a:lnTo>
                      <a:pt x="180" y="142"/>
                    </a:lnTo>
                    <a:lnTo>
                      <a:pt x="180" y="140"/>
                    </a:lnTo>
                    <a:lnTo>
                      <a:pt x="180" y="142"/>
                    </a:lnTo>
                    <a:lnTo>
                      <a:pt x="180" y="140"/>
                    </a:lnTo>
                    <a:lnTo>
                      <a:pt x="178" y="140"/>
                    </a:lnTo>
                    <a:lnTo>
                      <a:pt x="178" y="142"/>
                    </a:lnTo>
                    <a:lnTo>
                      <a:pt x="178" y="140"/>
                    </a:lnTo>
                    <a:lnTo>
                      <a:pt x="178" y="142"/>
                    </a:lnTo>
                    <a:lnTo>
                      <a:pt x="176" y="142"/>
                    </a:lnTo>
                    <a:lnTo>
                      <a:pt x="178" y="142"/>
                    </a:lnTo>
                    <a:lnTo>
                      <a:pt x="178" y="140"/>
                    </a:lnTo>
                    <a:lnTo>
                      <a:pt x="178" y="142"/>
                    </a:lnTo>
                    <a:lnTo>
                      <a:pt x="180" y="142"/>
                    </a:lnTo>
                    <a:lnTo>
                      <a:pt x="178" y="142"/>
                    </a:lnTo>
                    <a:lnTo>
                      <a:pt x="178" y="144"/>
                    </a:lnTo>
                    <a:lnTo>
                      <a:pt x="176" y="144"/>
                    </a:lnTo>
                    <a:lnTo>
                      <a:pt x="176" y="146"/>
                    </a:lnTo>
                    <a:lnTo>
                      <a:pt x="174" y="146"/>
                    </a:lnTo>
                    <a:lnTo>
                      <a:pt x="176" y="146"/>
                    </a:lnTo>
                    <a:lnTo>
                      <a:pt x="176" y="148"/>
                    </a:lnTo>
                    <a:lnTo>
                      <a:pt x="174" y="148"/>
                    </a:lnTo>
                    <a:lnTo>
                      <a:pt x="176" y="148"/>
                    </a:lnTo>
                    <a:lnTo>
                      <a:pt x="174" y="148"/>
                    </a:lnTo>
                    <a:lnTo>
                      <a:pt x="176" y="148"/>
                    </a:lnTo>
                    <a:lnTo>
                      <a:pt x="174" y="148"/>
                    </a:lnTo>
                    <a:lnTo>
                      <a:pt x="173" y="148"/>
                    </a:lnTo>
                    <a:lnTo>
                      <a:pt x="171" y="148"/>
                    </a:lnTo>
                    <a:lnTo>
                      <a:pt x="173" y="148"/>
                    </a:lnTo>
                    <a:lnTo>
                      <a:pt x="171" y="148"/>
                    </a:lnTo>
                    <a:lnTo>
                      <a:pt x="171" y="146"/>
                    </a:lnTo>
                    <a:lnTo>
                      <a:pt x="171" y="148"/>
                    </a:lnTo>
                    <a:lnTo>
                      <a:pt x="173" y="148"/>
                    </a:lnTo>
                    <a:lnTo>
                      <a:pt x="173" y="150"/>
                    </a:lnTo>
                    <a:lnTo>
                      <a:pt x="174" y="150"/>
                    </a:lnTo>
                    <a:lnTo>
                      <a:pt x="174" y="152"/>
                    </a:lnTo>
                    <a:lnTo>
                      <a:pt x="174" y="154"/>
                    </a:lnTo>
                    <a:lnTo>
                      <a:pt x="173" y="154"/>
                    </a:lnTo>
                    <a:lnTo>
                      <a:pt x="173" y="156"/>
                    </a:lnTo>
                    <a:lnTo>
                      <a:pt x="171" y="156"/>
                    </a:lnTo>
                    <a:lnTo>
                      <a:pt x="171" y="158"/>
                    </a:lnTo>
                    <a:lnTo>
                      <a:pt x="171" y="156"/>
                    </a:lnTo>
                    <a:lnTo>
                      <a:pt x="171" y="158"/>
                    </a:lnTo>
                    <a:lnTo>
                      <a:pt x="169" y="158"/>
                    </a:lnTo>
                    <a:lnTo>
                      <a:pt x="169" y="160"/>
                    </a:lnTo>
                    <a:lnTo>
                      <a:pt x="169" y="161"/>
                    </a:lnTo>
                    <a:lnTo>
                      <a:pt x="169" y="160"/>
                    </a:lnTo>
                    <a:lnTo>
                      <a:pt x="169" y="161"/>
                    </a:lnTo>
                    <a:lnTo>
                      <a:pt x="169" y="160"/>
                    </a:lnTo>
                    <a:lnTo>
                      <a:pt x="167" y="160"/>
                    </a:lnTo>
                    <a:lnTo>
                      <a:pt x="167" y="161"/>
                    </a:lnTo>
                    <a:lnTo>
                      <a:pt x="167" y="160"/>
                    </a:lnTo>
                    <a:lnTo>
                      <a:pt x="165" y="160"/>
                    </a:lnTo>
                    <a:lnTo>
                      <a:pt x="167" y="160"/>
                    </a:lnTo>
                    <a:lnTo>
                      <a:pt x="165" y="161"/>
                    </a:lnTo>
                    <a:lnTo>
                      <a:pt x="167" y="161"/>
                    </a:lnTo>
                    <a:lnTo>
                      <a:pt x="165" y="161"/>
                    </a:lnTo>
                    <a:lnTo>
                      <a:pt x="165" y="163"/>
                    </a:lnTo>
                    <a:lnTo>
                      <a:pt x="167" y="163"/>
                    </a:lnTo>
                    <a:lnTo>
                      <a:pt x="167" y="161"/>
                    </a:lnTo>
                    <a:lnTo>
                      <a:pt x="169" y="161"/>
                    </a:lnTo>
                    <a:lnTo>
                      <a:pt x="169" y="163"/>
                    </a:lnTo>
                    <a:lnTo>
                      <a:pt x="167" y="163"/>
                    </a:lnTo>
                    <a:lnTo>
                      <a:pt x="169" y="163"/>
                    </a:lnTo>
                    <a:lnTo>
                      <a:pt x="169" y="161"/>
                    </a:lnTo>
                    <a:lnTo>
                      <a:pt x="169" y="163"/>
                    </a:lnTo>
                    <a:lnTo>
                      <a:pt x="169" y="161"/>
                    </a:lnTo>
                    <a:lnTo>
                      <a:pt x="171" y="161"/>
                    </a:lnTo>
                    <a:lnTo>
                      <a:pt x="171" y="163"/>
                    </a:lnTo>
                    <a:lnTo>
                      <a:pt x="169" y="161"/>
                    </a:lnTo>
                    <a:lnTo>
                      <a:pt x="169" y="163"/>
                    </a:lnTo>
                    <a:lnTo>
                      <a:pt x="167" y="163"/>
                    </a:lnTo>
                    <a:lnTo>
                      <a:pt x="165" y="163"/>
                    </a:lnTo>
                    <a:lnTo>
                      <a:pt x="167" y="163"/>
                    </a:lnTo>
                    <a:lnTo>
                      <a:pt x="165" y="163"/>
                    </a:lnTo>
                    <a:lnTo>
                      <a:pt x="167" y="163"/>
                    </a:lnTo>
                    <a:lnTo>
                      <a:pt x="165" y="163"/>
                    </a:lnTo>
                    <a:lnTo>
                      <a:pt x="165" y="165"/>
                    </a:lnTo>
                    <a:lnTo>
                      <a:pt x="163" y="165"/>
                    </a:lnTo>
                    <a:lnTo>
                      <a:pt x="165" y="167"/>
                    </a:lnTo>
                    <a:lnTo>
                      <a:pt x="165" y="165"/>
                    </a:lnTo>
                    <a:lnTo>
                      <a:pt x="165" y="167"/>
                    </a:lnTo>
                    <a:lnTo>
                      <a:pt x="165" y="165"/>
                    </a:lnTo>
                    <a:lnTo>
                      <a:pt x="163" y="167"/>
                    </a:lnTo>
                    <a:lnTo>
                      <a:pt x="163" y="169"/>
                    </a:lnTo>
                    <a:lnTo>
                      <a:pt x="163" y="167"/>
                    </a:lnTo>
                    <a:lnTo>
                      <a:pt x="163" y="169"/>
                    </a:lnTo>
                    <a:lnTo>
                      <a:pt x="163" y="167"/>
                    </a:lnTo>
                    <a:lnTo>
                      <a:pt x="161" y="167"/>
                    </a:lnTo>
                    <a:lnTo>
                      <a:pt x="163" y="169"/>
                    </a:lnTo>
                    <a:lnTo>
                      <a:pt x="163" y="171"/>
                    </a:lnTo>
                    <a:lnTo>
                      <a:pt x="161" y="171"/>
                    </a:lnTo>
                    <a:lnTo>
                      <a:pt x="161" y="169"/>
                    </a:lnTo>
                    <a:lnTo>
                      <a:pt x="161" y="167"/>
                    </a:lnTo>
                    <a:lnTo>
                      <a:pt x="159" y="167"/>
                    </a:lnTo>
                    <a:lnTo>
                      <a:pt x="159" y="169"/>
                    </a:lnTo>
                    <a:lnTo>
                      <a:pt x="159" y="167"/>
                    </a:lnTo>
                    <a:lnTo>
                      <a:pt x="159" y="169"/>
                    </a:lnTo>
                    <a:lnTo>
                      <a:pt x="157" y="171"/>
                    </a:lnTo>
                    <a:lnTo>
                      <a:pt x="157" y="169"/>
                    </a:lnTo>
                    <a:lnTo>
                      <a:pt x="157" y="171"/>
                    </a:lnTo>
                    <a:lnTo>
                      <a:pt x="159" y="171"/>
                    </a:lnTo>
                    <a:lnTo>
                      <a:pt x="159" y="169"/>
                    </a:lnTo>
                    <a:lnTo>
                      <a:pt x="161" y="169"/>
                    </a:lnTo>
                    <a:lnTo>
                      <a:pt x="161" y="171"/>
                    </a:lnTo>
                    <a:lnTo>
                      <a:pt x="159" y="171"/>
                    </a:lnTo>
                    <a:lnTo>
                      <a:pt x="161" y="171"/>
                    </a:lnTo>
                    <a:lnTo>
                      <a:pt x="159" y="171"/>
                    </a:lnTo>
                    <a:lnTo>
                      <a:pt x="157" y="173"/>
                    </a:lnTo>
                    <a:lnTo>
                      <a:pt x="155" y="173"/>
                    </a:lnTo>
                    <a:lnTo>
                      <a:pt x="155" y="171"/>
                    </a:lnTo>
                    <a:lnTo>
                      <a:pt x="155" y="173"/>
                    </a:lnTo>
                    <a:lnTo>
                      <a:pt x="153" y="173"/>
                    </a:lnTo>
                    <a:lnTo>
                      <a:pt x="153" y="171"/>
                    </a:lnTo>
                    <a:lnTo>
                      <a:pt x="151" y="171"/>
                    </a:lnTo>
                    <a:lnTo>
                      <a:pt x="151" y="173"/>
                    </a:lnTo>
                    <a:lnTo>
                      <a:pt x="149" y="173"/>
                    </a:lnTo>
                    <a:lnTo>
                      <a:pt x="151" y="173"/>
                    </a:lnTo>
                    <a:lnTo>
                      <a:pt x="153" y="173"/>
                    </a:lnTo>
                    <a:lnTo>
                      <a:pt x="151" y="173"/>
                    </a:lnTo>
                    <a:lnTo>
                      <a:pt x="153" y="173"/>
                    </a:lnTo>
                    <a:lnTo>
                      <a:pt x="151" y="173"/>
                    </a:lnTo>
                    <a:lnTo>
                      <a:pt x="153" y="173"/>
                    </a:lnTo>
                    <a:lnTo>
                      <a:pt x="151" y="173"/>
                    </a:lnTo>
                    <a:lnTo>
                      <a:pt x="153" y="173"/>
                    </a:lnTo>
                    <a:lnTo>
                      <a:pt x="151" y="173"/>
                    </a:lnTo>
                    <a:lnTo>
                      <a:pt x="153" y="173"/>
                    </a:lnTo>
                    <a:lnTo>
                      <a:pt x="153" y="175"/>
                    </a:lnTo>
                    <a:lnTo>
                      <a:pt x="153" y="173"/>
                    </a:lnTo>
                    <a:lnTo>
                      <a:pt x="153" y="175"/>
                    </a:lnTo>
                    <a:lnTo>
                      <a:pt x="153" y="173"/>
                    </a:lnTo>
                    <a:lnTo>
                      <a:pt x="155" y="173"/>
                    </a:lnTo>
                    <a:lnTo>
                      <a:pt x="155" y="175"/>
                    </a:lnTo>
                    <a:lnTo>
                      <a:pt x="155" y="173"/>
                    </a:lnTo>
                    <a:lnTo>
                      <a:pt x="153" y="173"/>
                    </a:lnTo>
                    <a:lnTo>
                      <a:pt x="155" y="173"/>
                    </a:lnTo>
                    <a:lnTo>
                      <a:pt x="155" y="175"/>
                    </a:lnTo>
                    <a:lnTo>
                      <a:pt x="155" y="173"/>
                    </a:lnTo>
                    <a:lnTo>
                      <a:pt x="157" y="173"/>
                    </a:lnTo>
                    <a:lnTo>
                      <a:pt x="157" y="175"/>
                    </a:lnTo>
                    <a:lnTo>
                      <a:pt x="157" y="173"/>
                    </a:lnTo>
                    <a:lnTo>
                      <a:pt x="157" y="175"/>
                    </a:lnTo>
                    <a:lnTo>
                      <a:pt x="155" y="175"/>
                    </a:lnTo>
                    <a:lnTo>
                      <a:pt x="155" y="177"/>
                    </a:lnTo>
                    <a:lnTo>
                      <a:pt x="153" y="177"/>
                    </a:lnTo>
                    <a:lnTo>
                      <a:pt x="151" y="177"/>
                    </a:lnTo>
                    <a:lnTo>
                      <a:pt x="151" y="175"/>
                    </a:lnTo>
                    <a:lnTo>
                      <a:pt x="149" y="173"/>
                    </a:lnTo>
                    <a:lnTo>
                      <a:pt x="148" y="173"/>
                    </a:lnTo>
                    <a:lnTo>
                      <a:pt x="146" y="173"/>
                    </a:lnTo>
                    <a:lnTo>
                      <a:pt x="146" y="175"/>
                    </a:lnTo>
                    <a:lnTo>
                      <a:pt x="146" y="177"/>
                    </a:lnTo>
                    <a:lnTo>
                      <a:pt x="144" y="177"/>
                    </a:lnTo>
                    <a:lnTo>
                      <a:pt x="144" y="179"/>
                    </a:lnTo>
                    <a:lnTo>
                      <a:pt x="142" y="179"/>
                    </a:lnTo>
                    <a:lnTo>
                      <a:pt x="142" y="177"/>
                    </a:lnTo>
                    <a:lnTo>
                      <a:pt x="142" y="175"/>
                    </a:lnTo>
                    <a:lnTo>
                      <a:pt x="142" y="173"/>
                    </a:lnTo>
                    <a:lnTo>
                      <a:pt x="142" y="171"/>
                    </a:lnTo>
                    <a:lnTo>
                      <a:pt x="142" y="169"/>
                    </a:lnTo>
                    <a:lnTo>
                      <a:pt x="140" y="167"/>
                    </a:lnTo>
                    <a:lnTo>
                      <a:pt x="138" y="167"/>
                    </a:lnTo>
                    <a:lnTo>
                      <a:pt x="136" y="167"/>
                    </a:lnTo>
                    <a:lnTo>
                      <a:pt x="136" y="165"/>
                    </a:lnTo>
                    <a:lnTo>
                      <a:pt x="134" y="165"/>
                    </a:lnTo>
                    <a:lnTo>
                      <a:pt x="132" y="165"/>
                    </a:lnTo>
                    <a:lnTo>
                      <a:pt x="130" y="165"/>
                    </a:lnTo>
                    <a:lnTo>
                      <a:pt x="130" y="163"/>
                    </a:lnTo>
                    <a:lnTo>
                      <a:pt x="128" y="163"/>
                    </a:lnTo>
                    <a:lnTo>
                      <a:pt x="128" y="161"/>
                    </a:lnTo>
                    <a:lnTo>
                      <a:pt x="126" y="161"/>
                    </a:lnTo>
                    <a:lnTo>
                      <a:pt x="126" y="160"/>
                    </a:lnTo>
                    <a:lnTo>
                      <a:pt x="126" y="158"/>
                    </a:lnTo>
                    <a:lnTo>
                      <a:pt x="125" y="158"/>
                    </a:lnTo>
                    <a:lnTo>
                      <a:pt x="125" y="156"/>
                    </a:lnTo>
                    <a:lnTo>
                      <a:pt x="126" y="156"/>
                    </a:lnTo>
                    <a:lnTo>
                      <a:pt x="126" y="154"/>
                    </a:lnTo>
                    <a:lnTo>
                      <a:pt x="126" y="152"/>
                    </a:lnTo>
                    <a:lnTo>
                      <a:pt x="125" y="150"/>
                    </a:lnTo>
                    <a:lnTo>
                      <a:pt x="125" y="148"/>
                    </a:lnTo>
                    <a:lnTo>
                      <a:pt x="125" y="150"/>
                    </a:lnTo>
                    <a:lnTo>
                      <a:pt x="123" y="150"/>
                    </a:lnTo>
                    <a:lnTo>
                      <a:pt x="121" y="150"/>
                    </a:lnTo>
                    <a:lnTo>
                      <a:pt x="121" y="148"/>
                    </a:lnTo>
                    <a:lnTo>
                      <a:pt x="119" y="148"/>
                    </a:lnTo>
                    <a:lnTo>
                      <a:pt x="119" y="150"/>
                    </a:lnTo>
                    <a:lnTo>
                      <a:pt x="117" y="150"/>
                    </a:lnTo>
                    <a:lnTo>
                      <a:pt x="117" y="148"/>
                    </a:lnTo>
                    <a:lnTo>
                      <a:pt x="115" y="148"/>
                    </a:lnTo>
                    <a:lnTo>
                      <a:pt x="115" y="146"/>
                    </a:lnTo>
                    <a:lnTo>
                      <a:pt x="113" y="144"/>
                    </a:lnTo>
                    <a:lnTo>
                      <a:pt x="113" y="142"/>
                    </a:lnTo>
                    <a:lnTo>
                      <a:pt x="111" y="142"/>
                    </a:lnTo>
                    <a:lnTo>
                      <a:pt x="111" y="140"/>
                    </a:lnTo>
                    <a:lnTo>
                      <a:pt x="111" y="138"/>
                    </a:lnTo>
                    <a:lnTo>
                      <a:pt x="109" y="138"/>
                    </a:lnTo>
                    <a:lnTo>
                      <a:pt x="107" y="138"/>
                    </a:lnTo>
                    <a:lnTo>
                      <a:pt x="107" y="136"/>
                    </a:lnTo>
                    <a:lnTo>
                      <a:pt x="107" y="135"/>
                    </a:lnTo>
                    <a:lnTo>
                      <a:pt x="107" y="133"/>
                    </a:lnTo>
                    <a:lnTo>
                      <a:pt x="107" y="131"/>
                    </a:lnTo>
                    <a:lnTo>
                      <a:pt x="105" y="129"/>
                    </a:lnTo>
                    <a:lnTo>
                      <a:pt x="105" y="127"/>
                    </a:lnTo>
                    <a:lnTo>
                      <a:pt x="107" y="127"/>
                    </a:lnTo>
                    <a:lnTo>
                      <a:pt x="107" y="125"/>
                    </a:lnTo>
                    <a:lnTo>
                      <a:pt x="105" y="125"/>
                    </a:lnTo>
                    <a:lnTo>
                      <a:pt x="105" y="127"/>
                    </a:lnTo>
                    <a:lnTo>
                      <a:pt x="103" y="127"/>
                    </a:lnTo>
                    <a:lnTo>
                      <a:pt x="101" y="125"/>
                    </a:lnTo>
                    <a:lnTo>
                      <a:pt x="101" y="123"/>
                    </a:lnTo>
                    <a:lnTo>
                      <a:pt x="100" y="123"/>
                    </a:lnTo>
                    <a:lnTo>
                      <a:pt x="100" y="121"/>
                    </a:lnTo>
                    <a:lnTo>
                      <a:pt x="100" y="119"/>
                    </a:lnTo>
                    <a:lnTo>
                      <a:pt x="100" y="121"/>
                    </a:lnTo>
                    <a:lnTo>
                      <a:pt x="100" y="123"/>
                    </a:lnTo>
                    <a:lnTo>
                      <a:pt x="100" y="121"/>
                    </a:lnTo>
                    <a:lnTo>
                      <a:pt x="100" y="123"/>
                    </a:lnTo>
                    <a:lnTo>
                      <a:pt x="101" y="123"/>
                    </a:lnTo>
                    <a:lnTo>
                      <a:pt x="101" y="125"/>
                    </a:lnTo>
                    <a:lnTo>
                      <a:pt x="100" y="125"/>
                    </a:lnTo>
                    <a:lnTo>
                      <a:pt x="100" y="123"/>
                    </a:lnTo>
                    <a:lnTo>
                      <a:pt x="98" y="123"/>
                    </a:lnTo>
                    <a:lnTo>
                      <a:pt x="98" y="125"/>
                    </a:lnTo>
                    <a:lnTo>
                      <a:pt x="96" y="123"/>
                    </a:lnTo>
                    <a:lnTo>
                      <a:pt x="96" y="125"/>
                    </a:lnTo>
                    <a:lnTo>
                      <a:pt x="98" y="125"/>
                    </a:lnTo>
                    <a:lnTo>
                      <a:pt x="98" y="123"/>
                    </a:lnTo>
                    <a:lnTo>
                      <a:pt x="100" y="123"/>
                    </a:lnTo>
                    <a:lnTo>
                      <a:pt x="100" y="125"/>
                    </a:lnTo>
                    <a:lnTo>
                      <a:pt x="101" y="125"/>
                    </a:lnTo>
                    <a:lnTo>
                      <a:pt x="101" y="127"/>
                    </a:lnTo>
                    <a:lnTo>
                      <a:pt x="103" y="127"/>
                    </a:lnTo>
                    <a:lnTo>
                      <a:pt x="105" y="127"/>
                    </a:lnTo>
                    <a:lnTo>
                      <a:pt x="107" y="125"/>
                    </a:lnTo>
                    <a:lnTo>
                      <a:pt x="107" y="127"/>
                    </a:lnTo>
                    <a:lnTo>
                      <a:pt x="105" y="127"/>
                    </a:lnTo>
                    <a:lnTo>
                      <a:pt x="105" y="129"/>
                    </a:lnTo>
                    <a:lnTo>
                      <a:pt x="105" y="131"/>
                    </a:lnTo>
                    <a:lnTo>
                      <a:pt x="107" y="131"/>
                    </a:lnTo>
                    <a:lnTo>
                      <a:pt x="107" y="133"/>
                    </a:lnTo>
                    <a:lnTo>
                      <a:pt x="107" y="135"/>
                    </a:lnTo>
                    <a:lnTo>
                      <a:pt x="107" y="136"/>
                    </a:lnTo>
                    <a:lnTo>
                      <a:pt x="107" y="138"/>
                    </a:lnTo>
                    <a:lnTo>
                      <a:pt x="109" y="138"/>
                    </a:lnTo>
                    <a:lnTo>
                      <a:pt x="111" y="140"/>
                    </a:lnTo>
                    <a:lnTo>
                      <a:pt x="111" y="142"/>
                    </a:lnTo>
                    <a:lnTo>
                      <a:pt x="113" y="144"/>
                    </a:lnTo>
                    <a:lnTo>
                      <a:pt x="113" y="146"/>
                    </a:lnTo>
                    <a:lnTo>
                      <a:pt x="115" y="146"/>
                    </a:lnTo>
                    <a:lnTo>
                      <a:pt x="115" y="148"/>
                    </a:lnTo>
                    <a:lnTo>
                      <a:pt x="117" y="148"/>
                    </a:lnTo>
                    <a:lnTo>
                      <a:pt x="117" y="150"/>
                    </a:lnTo>
                    <a:lnTo>
                      <a:pt x="119" y="150"/>
                    </a:lnTo>
                    <a:lnTo>
                      <a:pt x="119" y="148"/>
                    </a:lnTo>
                    <a:lnTo>
                      <a:pt x="121" y="148"/>
                    </a:lnTo>
                    <a:lnTo>
                      <a:pt x="121" y="150"/>
                    </a:lnTo>
                    <a:lnTo>
                      <a:pt x="123" y="150"/>
                    </a:lnTo>
                    <a:lnTo>
                      <a:pt x="125" y="150"/>
                    </a:lnTo>
                    <a:lnTo>
                      <a:pt x="125" y="152"/>
                    </a:lnTo>
                    <a:lnTo>
                      <a:pt x="126" y="152"/>
                    </a:lnTo>
                    <a:lnTo>
                      <a:pt x="125" y="154"/>
                    </a:lnTo>
                    <a:lnTo>
                      <a:pt x="125" y="156"/>
                    </a:lnTo>
                    <a:lnTo>
                      <a:pt x="125" y="158"/>
                    </a:lnTo>
                    <a:lnTo>
                      <a:pt x="125" y="160"/>
                    </a:lnTo>
                    <a:lnTo>
                      <a:pt x="125" y="161"/>
                    </a:lnTo>
                    <a:lnTo>
                      <a:pt x="126" y="161"/>
                    </a:lnTo>
                    <a:lnTo>
                      <a:pt x="126" y="163"/>
                    </a:lnTo>
                    <a:lnTo>
                      <a:pt x="128" y="163"/>
                    </a:lnTo>
                    <a:lnTo>
                      <a:pt x="126" y="163"/>
                    </a:lnTo>
                    <a:lnTo>
                      <a:pt x="126" y="165"/>
                    </a:lnTo>
                    <a:lnTo>
                      <a:pt x="126" y="163"/>
                    </a:lnTo>
                    <a:lnTo>
                      <a:pt x="126" y="165"/>
                    </a:lnTo>
                    <a:lnTo>
                      <a:pt x="126" y="163"/>
                    </a:lnTo>
                    <a:lnTo>
                      <a:pt x="125" y="163"/>
                    </a:lnTo>
                    <a:lnTo>
                      <a:pt x="125" y="165"/>
                    </a:lnTo>
                    <a:lnTo>
                      <a:pt x="123" y="165"/>
                    </a:lnTo>
                    <a:lnTo>
                      <a:pt x="125" y="165"/>
                    </a:lnTo>
                    <a:lnTo>
                      <a:pt x="125" y="163"/>
                    </a:lnTo>
                    <a:lnTo>
                      <a:pt x="125" y="165"/>
                    </a:lnTo>
                    <a:lnTo>
                      <a:pt x="126" y="163"/>
                    </a:lnTo>
                    <a:lnTo>
                      <a:pt x="126" y="165"/>
                    </a:lnTo>
                    <a:lnTo>
                      <a:pt x="126" y="163"/>
                    </a:lnTo>
                    <a:lnTo>
                      <a:pt x="128" y="163"/>
                    </a:lnTo>
                    <a:lnTo>
                      <a:pt x="126" y="163"/>
                    </a:lnTo>
                    <a:lnTo>
                      <a:pt x="128" y="163"/>
                    </a:lnTo>
                    <a:lnTo>
                      <a:pt x="130" y="163"/>
                    </a:lnTo>
                    <a:lnTo>
                      <a:pt x="130" y="165"/>
                    </a:lnTo>
                    <a:lnTo>
                      <a:pt x="132" y="165"/>
                    </a:lnTo>
                    <a:lnTo>
                      <a:pt x="130" y="165"/>
                    </a:lnTo>
                    <a:lnTo>
                      <a:pt x="132" y="165"/>
                    </a:lnTo>
                    <a:lnTo>
                      <a:pt x="134" y="165"/>
                    </a:lnTo>
                    <a:lnTo>
                      <a:pt x="136" y="167"/>
                    </a:lnTo>
                    <a:lnTo>
                      <a:pt x="138" y="167"/>
                    </a:lnTo>
                    <a:lnTo>
                      <a:pt x="136" y="167"/>
                    </a:lnTo>
                    <a:lnTo>
                      <a:pt x="138" y="167"/>
                    </a:lnTo>
                    <a:lnTo>
                      <a:pt x="140" y="167"/>
                    </a:lnTo>
                    <a:lnTo>
                      <a:pt x="138" y="167"/>
                    </a:lnTo>
                    <a:lnTo>
                      <a:pt x="138" y="169"/>
                    </a:lnTo>
                    <a:lnTo>
                      <a:pt x="140" y="167"/>
                    </a:lnTo>
                    <a:lnTo>
                      <a:pt x="140" y="169"/>
                    </a:lnTo>
                    <a:lnTo>
                      <a:pt x="142" y="171"/>
                    </a:lnTo>
                    <a:lnTo>
                      <a:pt x="142" y="173"/>
                    </a:lnTo>
                    <a:lnTo>
                      <a:pt x="142" y="175"/>
                    </a:lnTo>
                    <a:lnTo>
                      <a:pt x="142" y="177"/>
                    </a:lnTo>
                    <a:lnTo>
                      <a:pt x="142" y="175"/>
                    </a:lnTo>
                    <a:lnTo>
                      <a:pt x="142" y="173"/>
                    </a:lnTo>
                    <a:lnTo>
                      <a:pt x="142" y="175"/>
                    </a:lnTo>
                    <a:lnTo>
                      <a:pt x="142" y="177"/>
                    </a:lnTo>
                    <a:lnTo>
                      <a:pt x="142" y="179"/>
                    </a:lnTo>
                    <a:lnTo>
                      <a:pt x="142" y="181"/>
                    </a:lnTo>
                    <a:lnTo>
                      <a:pt x="142" y="183"/>
                    </a:lnTo>
                    <a:lnTo>
                      <a:pt x="142" y="185"/>
                    </a:lnTo>
                    <a:lnTo>
                      <a:pt x="142" y="183"/>
                    </a:lnTo>
                    <a:lnTo>
                      <a:pt x="142" y="185"/>
                    </a:lnTo>
                    <a:lnTo>
                      <a:pt x="142" y="183"/>
                    </a:lnTo>
                    <a:lnTo>
                      <a:pt x="142" y="185"/>
                    </a:lnTo>
                    <a:lnTo>
                      <a:pt x="144" y="185"/>
                    </a:lnTo>
                    <a:lnTo>
                      <a:pt x="142" y="185"/>
                    </a:lnTo>
                    <a:lnTo>
                      <a:pt x="144" y="185"/>
                    </a:lnTo>
                    <a:lnTo>
                      <a:pt x="142" y="185"/>
                    </a:lnTo>
                    <a:lnTo>
                      <a:pt x="142" y="183"/>
                    </a:lnTo>
                    <a:lnTo>
                      <a:pt x="144" y="185"/>
                    </a:lnTo>
                    <a:lnTo>
                      <a:pt x="144" y="183"/>
                    </a:lnTo>
                    <a:lnTo>
                      <a:pt x="142" y="183"/>
                    </a:lnTo>
                    <a:lnTo>
                      <a:pt x="142" y="181"/>
                    </a:lnTo>
                    <a:lnTo>
                      <a:pt x="144" y="181"/>
                    </a:lnTo>
                    <a:lnTo>
                      <a:pt x="142" y="181"/>
                    </a:lnTo>
                    <a:lnTo>
                      <a:pt x="144" y="181"/>
                    </a:lnTo>
                    <a:lnTo>
                      <a:pt x="144" y="179"/>
                    </a:lnTo>
                    <a:lnTo>
                      <a:pt x="146" y="179"/>
                    </a:lnTo>
                    <a:lnTo>
                      <a:pt x="144" y="179"/>
                    </a:lnTo>
                    <a:lnTo>
                      <a:pt x="146" y="179"/>
                    </a:lnTo>
                    <a:lnTo>
                      <a:pt x="144" y="179"/>
                    </a:lnTo>
                    <a:lnTo>
                      <a:pt x="144" y="181"/>
                    </a:lnTo>
                    <a:lnTo>
                      <a:pt x="146" y="181"/>
                    </a:lnTo>
                    <a:lnTo>
                      <a:pt x="146" y="179"/>
                    </a:lnTo>
                    <a:lnTo>
                      <a:pt x="144" y="179"/>
                    </a:lnTo>
                    <a:lnTo>
                      <a:pt x="142" y="179"/>
                    </a:lnTo>
                    <a:lnTo>
                      <a:pt x="144" y="179"/>
                    </a:lnTo>
                    <a:lnTo>
                      <a:pt x="142" y="179"/>
                    </a:lnTo>
                    <a:lnTo>
                      <a:pt x="144" y="179"/>
                    </a:lnTo>
                    <a:lnTo>
                      <a:pt x="142" y="179"/>
                    </a:lnTo>
                    <a:lnTo>
                      <a:pt x="142" y="177"/>
                    </a:lnTo>
                    <a:lnTo>
                      <a:pt x="142" y="179"/>
                    </a:lnTo>
                    <a:lnTo>
                      <a:pt x="144" y="179"/>
                    </a:lnTo>
                    <a:lnTo>
                      <a:pt x="146" y="177"/>
                    </a:lnTo>
                    <a:lnTo>
                      <a:pt x="146" y="175"/>
                    </a:lnTo>
                    <a:lnTo>
                      <a:pt x="146" y="173"/>
                    </a:lnTo>
                    <a:lnTo>
                      <a:pt x="148" y="173"/>
                    </a:lnTo>
                    <a:lnTo>
                      <a:pt x="149" y="173"/>
                    </a:lnTo>
                    <a:lnTo>
                      <a:pt x="149" y="175"/>
                    </a:lnTo>
                    <a:lnTo>
                      <a:pt x="151" y="175"/>
                    </a:lnTo>
                    <a:lnTo>
                      <a:pt x="149" y="175"/>
                    </a:lnTo>
                    <a:lnTo>
                      <a:pt x="151" y="175"/>
                    </a:lnTo>
                    <a:lnTo>
                      <a:pt x="149" y="175"/>
                    </a:lnTo>
                    <a:lnTo>
                      <a:pt x="148" y="175"/>
                    </a:lnTo>
                    <a:lnTo>
                      <a:pt x="149" y="175"/>
                    </a:lnTo>
                    <a:lnTo>
                      <a:pt x="148" y="175"/>
                    </a:lnTo>
                    <a:lnTo>
                      <a:pt x="148" y="177"/>
                    </a:lnTo>
                    <a:lnTo>
                      <a:pt x="148" y="175"/>
                    </a:lnTo>
                    <a:lnTo>
                      <a:pt x="149" y="175"/>
                    </a:lnTo>
                    <a:lnTo>
                      <a:pt x="149" y="177"/>
                    </a:lnTo>
                    <a:lnTo>
                      <a:pt x="149" y="179"/>
                    </a:lnTo>
                    <a:lnTo>
                      <a:pt x="149" y="177"/>
                    </a:lnTo>
                    <a:lnTo>
                      <a:pt x="151" y="177"/>
                    </a:lnTo>
                    <a:lnTo>
                      <a:pt x="153" y="177"/>
                    </a:lnTo>
                    <a:lnTo>
                      <a:pt x="155" y="177"/>
                    </a:lnTo>
                    <a:lnTo>
                      <a:pt x="155" y="175"/>
                    </a:lnTo>
                    <a:lnTo>
                      <a:pt x="157" y="175"/>
                    </a:lnTo>
                    <a:lnTo>
                      <a:pt x="157" y="177"/>
                    </a:lnTo>
                    <a:lnTo>
                      <a:pt x="157" y="175"/>
                    </a:lnTo>
                    <a:lnTo>
                      <a:pt x="155" y="175"/>
                    </a:lnTo>
                    <a:lnTo>
                      <a:pt x="157" y="175"/>
                    </a:lnTo>
                    <a:lnTo>
                      <a:pt x="155" y="175"/>
                    </a:lnTo>
                    <a:lnTo>
                      <a:pt x="157" y="175"/>
                    </a:lnTo>
                    <a:lnTo>
                      <a:pt x="157" y="177"/>
                    </a:lnTo>
                    <a:lnTo>
                      <a:pt x="157" y="175"/>
                    </a:lnTo>
                    <a:lnTo>
                      <a:pt x="157" y="177"/>
                    </a:lnTo>
                    <a:lnTo>
                      <a:pt x="155" y="177"/>
                    </a:lnTo>
                    <a:lnTo>
                      <a:pt x="155" y="179"/>
                    </a:lnTo>
                    <a:lnTo>
                      <a:pt x="153" y="179"/>
                    </a:lnTo>
                    <a:lnTo>
                      <a:pt x="155" y="179"/>
                    </a:lnTo>
                    <a:lnTo>
                      <a:pt x="153" y="179"/>
                    </a:lnTo>
                    <a:lnTo>
                      <a:pt x="151" y="179"/>
                    </a:lnTo>
                    <a:lnTo>
                      <a:pt x="151" y="181"/>
                    </a:lnTo>
                    <a:lnTo>
                      <a:pt x="153" y="181"/>
                    </a:lnTo>
                    <a:lnTo>
                      <a:pt x="151" y="181"/>
                    </a:lnTo>
                    <a:lnTo>
                      <a:pt x="153" y="181"/>
                    </a:lnTo>
                    <a:lnTo>
                      <a:pt x="151" y="181"/>
                    </a:lnTo>
                    <a:lnTo>
                      <a:pt x="151" y="183"/>
                    </a:lnTo>
                    <a:lnTo>
                      <a:pt x="149" y="183"/>
                    </a:lnTo>
                    <a:lnTo>
                      <a:pt x="151" y="183"/>
                    </a:lnTo>
                    <a:lnTo>
                      <a:pt x="149" y="183"/>
                    </a:lnTo>
                    <a:lnTo>
                      <a:pt x="149" y="185"/>
                    </a:lnTo>
                    <a:lnTo>
                      <a:pt x="149" y="183"/>
                    </a:lnTo>
                    <a:lnTo>
                      <a:pt x="151" y="183"/>
                    </a:lnTo>
                    <a:lnTo>
                      <a:pt x="153" y="183"/>
                    </a:lnTo>
                    <a:lnTo>
                      <a:pt x="151" y="183"/>
                    </a:lnTo>
                    <a:lnTo>
                      <a:pt x="153" y="183"/>
                    </a:lnTo>
                    <a:lnTo>
                      <a:pt x="153" y="185"/>
                    </a:lnTo>
                    <a:lnTo>
                      <a:pt x="153" y="183"/>
                    </a:lnTo>
                    <a:lnTo>
                      <a:pt x="153" y="185"/>
                    </a:lnTo>
                    <a:lnTo>
                      <a:pt x="153" y="183"/>
                    </a:lnTo>
                    <a:lnTo>
                      <a:pt x="153" y="185"/>
                    </a:lnTo>
                    <a:lnTo>
                      <a:pt x="155" y="185"/>
                    </a:lnTo>
                    <a:lnTo>
                      <a:pt x="153" y="185"/>
                    </a:lnTo>
                    <a:lnTo>
                      <a:pt x="155" y="185"/>
                    </a:lnTo>
                    <a:lnTo>
                      <a:pt x="153" y="185"/>
                    </a:lnTo>
                    <a:lnTo>
                      <a:pt x="153" y="183"/>
                    </a:lnTo>
                    <a:lnTo>
                      <a:pt x="153" y="185"/>
                    </a:lnTo>
                    <a:lnTo>
                      <a:pt x="153" y="183"/>
                    </a:lnTo>
                    <a:lnTo>
                      <a:pt x="153" y="181"/>
                    </a:lnTo>
                    <a:lnTo>
                      <a:pt x="153" y="179"/>
                    </a:lnTo>
                    <a:lnTo>
                      <a:pt x="153" y="181"/>
                    </a:lnTo>
                    <a:lnTo>
                      <a:pt x="153" y="179"/>
                    </a:lnTo>
                    <a:lnTo>
                      <a:pt x="155" y="179"/>
                    </a:lnTo>
                    <a:lnTo>
                      <a:pt x="155" y="177"/>
                    </a:lnTo>
                    <a:lnTo>
                      <a:pt x="157" y="177"/>
                    </a:lnTo>
                    <a:lnTo>
                      <a:pt x="157" y="179"/>
                    </a:lnTo>
                    <a:lnTo>
                      <a:pt x="157" y="181"/>
                    </a:lnTo>
                    <a:lnTo>
                      <a:pt x="155" y="181"/>
                    </a:lnTo>
                    <a:lnTo>
                      <a:pt x="157" y="181"/>
                    </a:lnTo>
                    <a:lnTo>
                      <a:pt x="157" y="183"/>
                    </a:lnTo>
                    <a:lnTo>
                      <a:pt x="155" y="183"/>
                    </a:lnTo>
                    <a:lnTo>
                      <a:pt x="157" y="183"/>
                    </a:lnTo>
                    <a:lnTo>
                      <a:pt x="157" y="181"/>
                    </a:lnTo>
                    <a:lnTo>
                      <a:pt x="155" y="181"/>
                    </a:lnTo>
                    <a:lnTo>
                      <a:pt x="157" y="181"/>
                    </a:lnTo>
                    <a:lnTo>
                      <a:pt x="159" y="181"/>
                    </a:lnTo>
                    <a:lnTo>
                      <a:pt x="159" y="179"/>
                    </a:lnTo>
                    <a:lnTo>
                      <a:pt x="159" y="181"/>
                    </a:lnTo>
                    <a:lnTo>
                      <a:pt x="159" y="179"/>
                    </a:lnTo>
                    <a:lnTo>
                      <a:pt x="159" y="181"/>
                    </a:lnTo>
                    <a:lnTo>
                      <a:pt x="159" y="179"/>
                    </a:lnTo>
                    <a:lnTo>
                      <a:pt x="159" y="177"/>
                    </a:lnTo>
                    <a:lnTo>
                      <a:pt x="159" y="179"/>
                    </a:lnTo>
                    <a:lnTo>
                      <a:pt x="159" y="177"/>
                    </a:lnTo>
                    <a:lnTo>
                      <a:pt x="159" y="175"/>
                    </a:lnTo>
                    <a:lnTo>
                      <a:pt x="157" y="175"/>
                    </a:lnTo>
                    <a:lnTo>
                      <a:pt x="157" y="173"/>
                    </a:lnTo>
                    <a:lnTo>
                      <a:pt x="159" y="173"/>
                    </a:lnTo>
                    <a:lnTo>
                      <a:pt x="159" y="171"/>
                    </a:lnTo>
                    <a:lnTo>
                      <a:pt x="161" y="171"/>
                    </a:lnTo>
                    <a:lnTo>
                      <a:pt x="159" y="171"/>
                    </a:lnTo>
                    <a:lnTo>
                      <a:pt x="161" y="171"/>
                    </a:lnTo>
                    <a:lnTo>
                      <a:pt x="159" y="171"/>
                    </a:lnTo>
                    <a:lnTo>
                      <a:pt x="161" y="171"/>
                    </a:lnTo>
                    <a:lnTo>
                      <a:pt x="159" y="173"/>
                    </a:lnTo>
                    <a:lnTo>
                      <a:pt x="159" y="171"/>
                    </a:lnTo>
                    <a:lnTo>
                      <a:pt x="159" y="173"/>
                    </a:lnTo>
                    <a:lnTo>
                      <a:pt x="157" y="173"/>
                    </a:lnTo>
                    <a:lnTo>
                      <a:pt x="159" y="173"/>
                    </a:lnTo>
                    <a:lnTo>
                      <a:pt x="157" y="173"/>
                    </a:lnTo>
                    <a:lnTo>
                      <a:pt x="159" y="173"/>
                    </a:lnTo>
                    <a:lnTo>
                      <a:pt x="161" y="173"/>
                    </a:lnTo>
                    <a:lnTo>
                      <a:pt x="159" y="173"/>
                    </a:lnTo>
                    <a:lnTo>
                      <a:pt x="161" y="173"/>
                    </a:lnTo>
                    <a:lnTo>
                      <a:pt x="161" y="171"/>
                    </a:lnTo>
                    <a:lnTo>
                      <a:pt x="161" y="173"/>
                    </a:lnTo>
                    <a:lnTo>
                      <a:pt x="161" y="171"/>
                    </a:lnTo>
                    <a:lnTo>
                      <a:pt x="163" y="171"/>
                    </a:lnTo>
                    <a:lnTo>
                      <a:pt x="161" y="171"/>
                    </a:lnTo>
                    <a:lnTo>
                      <a:pt x="163" y="171"/>
                    </a:lnTo>
                    <a:lnTo>
                      <a:pt x="163" y="173"/>
                    </a:lnTo>
                    <a:lnTo>
                      <a:pt x="163" y="171"/>
                    </a:lnTo>
                    <a:lnTo>
                      <a:pt x="163" y="169"/>
                    </a:lnTo>
                    <a:lnTo>
                      <a:pt x="163" y="167"/>
                    </a:lnTo>
                    <a:lnTo>
                      <a:pt x="163" y="169"/>
                    </a:lnTo>
                    <a:lnTo>
                      <a:pt x="163" y="167"/>
                    </a:lnTo>
                    <a:lnTo>
                      <a:pt x="165" y="167"/>
                    </a:lnTo>
                    <a:lnTo>
                      <a:pt x="165" y="165"/>
                    </a:lnTo>
                    <a:lnTo>
                      <a:pt x="167" y="165"/>
                    </a:lnTo>
                    <a:lnTo>
                      <a:pt x="169" y="163"/>
                    </a:lnTo>
                    <a:lnTo>
                      <a:pt x="169" y="165"/>
                    </a:lnTo>
                    <a:lnTo>
                      <a:pt x="169" y="163"/>
                    </a:lnTo>
                    <a:lnTo>
                      <a:pt x="171" y="163"/>
                    </a:lnTo>
                    <a:lnTo>
                      <a:pt x="173" y="163"/>
                    </a:lnTo>
                    <a:lnTo>
                      <a:pt x="173" y="161"/>
                    </a:lnTo>
                    <a:lnTo>
                      <a:pt x="174" y="161"/>
                    </a:lnTo>
                    <a:lnTo>
                      <a:pt x="174" y="163"/>
                    </a:lnTo>
                    <a:lnTo>
                      <a:pt x="174" y="161"/>
                    </a:lnTo>
                    <a:lnTo>
                      <a:pt x="173" y="161"/>
                    </a:lnTo>
                    <a:lnTo>
                      <a:pt x="174" y="161"/>
                    </a:lnTo>
                    <a:lnTo>
                      <a:pt x="174" y="160"/>
                    </a:lnTo>
                    <a:lnTo>
                      <a:pt x="174" y="158"/>
                    </a:lnTo>
                    <a:lnTo>
                      <a:pt x="174" y="156"/>
                    </a:lnTo>
                    <a:lnTo>
                      <a:pt x="176" y="156"/>
                    </a:lnTo>
                    <a:lnTo>
                      <a:pt x="178" y="156"/>
                    </a:lnTo>
                    <a:lnTo>
                      <a:pt x="178" y="154"/>
                    </a:lnTo>
                    <a:lnTo>
                      <a:pt x="176" y="156"/>
                    </a:lnTo>
                    <a:lnTo>
                      <a:pt x="176" y="154"/>
                    </a:lnTo>
                    <a:lnTo>
                      <a:pt x="178" y="154"/>
                    </a:lnTo>
                    <a:lnTo>
                      <a:pt x="180" y="156"/>
                    </a:lnTo>
                    <a:lnTo>
                      <a:pt x="182" y="156"/>
                    </a:lnTo>
                    <a:lnTo>
                      <a:pt x="182" y="154"/>
                    </a:lnTo>
                    <a:lnTo>
                      <a:pt x="182" y="156"/>
                    </a:lnTo>
                    <a:lnTo>
                      <a:pt x="184" y="156"/>
                    </a:lnTo>
                    <a:lnTo>
                      <a:pt x="184" y="158"/>
                    </a:lnTo>
                    <a:lnTo>
                      <a:pt x="184" y="160"/>
                    </a:lnTo>
                    <a:lnTo>
                      <a:pt x="186" y="160"/>
                    </a:lnTo>
                    <a:lnTo>
                      <a:pt x="184" y="160"/>
                    </a:lnTo>
                    <a:lnTo>
                      <a:pt x="184" y="161"/>
                    </a:lnTo>
                    <a:lnTo>
                      <a:pt x="184" y="163"/>
                    </a:lnTo>
                    <a:lnTo>
                      <a:pt x="182" y="163"/>
                    </a:lnTo>
                    <a:lnTo>
                      <a:pt x="182" y="165"/>
                    </a:lnTo>
                    <a:lnTo>
                      <a:pt x="180" y="165"/>
                    </a:lnTo>
                    <a:lnTo>
                      <a:pt x="180" y="167"/>
                    </a:lnTo>
                    <a:lnTo>
                      <a:pt x="178" y="167"/>
                    </a:lnTo>
                    <a:lnTo>
                      <a:pt x="180" y="167"/>
                    </a:lnTo>
                    <a:lnTo>
                      <a:pt x="178" y="167"/>
                    </a:lnTo>
                    <a:lnTo>
                      <a:pt x="178" y="169"/>
                    </a:lnTo>
                    <a:lnTo>
                      <a:pt x="178" y="167"/>
                    </a:lnTo>
                    <a:lnTo>
                      <a:pt x="178" y="169"/>
                    </a:lnTo>
                    <a:lnTo>
                      <a:pt x="176" y="169"/>
                    </a:lnTo>
                    <a:lnTo>
                      <a:pt x="176" y="171"/>
                    </a:lnTo>
                    <a:lnTo>
                      <a:pt x="176" y="173"/>
                    </a:lnTo>
                    <a:lnTo>
                      <a:pt x="174" y="173"/>
                    </a:lnTo>
                    <a:lnTo>
                      <a:pt x="174" y="175"/>
                    </a:lnTo>
                    <a:lnTo>
                      <a:pt x="174" y="177"/>
                    </a:lnTo>
                    <a:lnTo>
                      <a:pt x="173" y="177"/>
                    </a:lnTo>
                    <a:lnTo>
                      <a:pt x="174" y="177"/>
                    </a:lnTo>
                    <a:lnTo>
                      <a:pt x="173" y="177"/>
                    </a:lnTo>
                    <a:lnTo>
                      <a:pt x="174" y="177"/>
                    </a:lnTo>
                    <a:lnTo>
                      <a:pt x="173" y="179"/>
                    </a:lnTo>
                    <a:lnTo>
                      <a:pt x="174" y="179"/>
                    </a:lnTo>
                    <a:lnTo>
                      <a:pt x="174" y="177"/>
                    </a:lnTo>
                    <a:lnTo>
                      <a:pt x="174" y="175"/>
                    </a:lnTo>
                    <a:lnTo>
                      <a:pt x="174" y="177"/>
                    </a:lnTo>
                    <a:lnTo>
                      <a:pt x="174" y="179"/>
                    </a:lnTo>
                    <a:lnTo>
                      <a:pt x="173" y="179"/>
                    </a:lnTo>
                    <a:lnTo>
                      <a:pt x="171" y="179"/>
                    </a:lnTo>
                    <a:lnTo>
                      <a:pt x="171" y="181"/>
                    </a:lnTo>
                    <a:lnTo>
                      <a:pt x="169" y="181"/>
                    </a:lnTo>
                    <a:lnTo>
                      <a:pt x="171" y="181"/>
                    </a:lnTo>
                    <a:lnTo>
                      <a:pt x="171" y="179"/>
                    </a:lnTo>
                    <a:lnTo>
                      <a:pt x="169" y="179"/>
                    </a:lnTo>
                    <a:lnTo>
                      <a:pt x="169" y="181"/>
                    </a:lnTo>
                    <a:lnTo>
                      <a:pt x="169" y="179"/>
                    </a:lnTo>
                    <a:lnTo>
                      <a:pt x="169" y="181"/>
                    </a:lnTo>
                    <a:lnTo>
                      <a:pt x="167" y="181"/>
                    </a:lnTo>
                    <a:lnTo>
                      <a:pt x="167" y="183"/>
                    </a:lnTo>
                    <a:lnTo>
                      <a:pt x="167" y="185"/>
                    </a:lnTo>
                    <a:lnTo>
                      <a:pt x="165" y="183"/>
                    </a:lnTo>
                    <a:lnTo>
                      <a:pt x="167" y="185"/>
                    </a:lnTo>
                    <a:lnTo>
                      <a:pt x="165" y="185"/>
                    </a:lnTo>
                    <a:lnTo>
                      <a:pt x="167" y="185"/>
                    </a:lnTo>
                    <a:lnTo>
                      <a:pt x="165" y="185"/>
                    </a:lnTo>
                    <a:lnTo>
                      <a:pt x="165" y="186"/>
                    </a:lnTo>
                    <a:lnTo>
                      <a:pt x="167" y="186"/>
                    </a:lnTo>
                    <a:lnTo>
                      <a:pt x="165" y="186"/>
                    </a:lnTo>
                    <a:lnTo>
                      <a:pt x="165" y="188"/>
                    </a:lnTo>
                    <a:lnTo>
                      <a:pt x="165" y="190"/>
                    </a:lnTo>
                    <a:lnTo>
                      <a:pt x="165" y="192"/>
                    </a:lnTo>
                    <a:lnTo>
                      <a:pt x="165" y="190"/>
                    </a:lnTo>
                    <a:lnTo>
                      <a:pt x="165" y="192"/>
                    </a:lnTo>
                    <a:lnTo>
                      <a:pt x="167" y="192"/>
                    </a:lnTo>
                    <a:lnTo>
                      <a:pt x="165" y="192"/>
                    </a:lnTo>
                    <a:lnTo>
                      <a:pt x="167" y="192"/>
                    </a:lnTo>
                    <a:lnTo>
                      <a:pt x="167" y="190"/>
                    </a:lnTo>
                    <a:lnTo>
                      <a:pt x="167" y="192"/>
                    </a:lnTo>
                    <a:lnTo>
                      <a:pt x="167" y="190"/>
                    </a:lnTo>
                    <a:lnTo>
                      <a:pt x="165" y="190"/>
                    </a:lnTo>
                    <a:lnTo>
                      <a:pt x="167" y="190"/>
                    </a:lnTo>
                    <a:lnTo>
                      <a:pt x="165" y="190"/>
                    </a:lnTo>
                    <a:lnTo>
                      <a:pt x="167" y="190"/>
                    </a:lnTo>
                    <a:lnTo>
                      <a:pt x="165" y="190"/>
                    </a:lnTo>
                    <a:lnTo>
                      <a:pt x="167" y="190"/>
                    </a:lnTo>
                    <a:lnTo>
                      <a:pt x="169" y="190"/>
                    </a:lnTo>
                    <a:lnTo>
                      <a:pt x="169" y="188"/>
                    </a:lnTo>
                    <a:lnTo>
                      <a:pt x="167" y="190"/>
                    </a:lnTo>
                    <a:lnTo>
                      <a:pt x="167" y="188"/>
                    </a:lnTo>
                    <a:lnTo>
                      <a:pt x="167" y="190"/>
                    </a:lnTo>
                    <a:lnTo>
                      <a:pt x="167" y="188"/>
                    </a:lnTo>
                    <a:lnTo>
                      <a:pt x="169" y="188"/>
                    </a:lnTo>
                    <a:lnTo>
                      <a:pt x="167" y="188"/>
                    </a:lnTo>
                    <a:lnTo>
                      <a:pt x="167" y="186"/>
                    </a:lnTo>
                    <a:lnTo>
                      <a:pt x="169" y="186"/>
                    </a:lnTo>
                    <a:lnTo>
                      <a:pt x="167" y="186"/>
                    </a:lnTo>
                    <a:lnTo>
                      <a:pt x="167" y="188"/>
                    </a:lnTo>
                    <a:lnTo>
                      <a:pt x="169" y="188"/>
                    </a:lnTo>
                    <a:lnTo>
                      <a:pt x="169" y="190"/>
                    </a:lnTo>
                    <a:lnTo>
                      <a:pt x="171" y="190"/>
                    </a:lnTo>
                    <a:lnTo>
                      <a:pt x="169" y="190"/>
                    </a:lnTo>
                    <a:lnTo>
                      <a:pt x="171" y="190"/>
                    </a:lnTo>
                    <a:lnTo>
                      <a:pt x="171" y="192"/>
                    </a:lnTo>
                    <a:lnTo>
                      <a:pt x="169" y="192"/>
                    </a:lnTo>
                    <a:lnTo>
                      <a:pt x="171" y="192"/>
                    </a:lnTo>
                    <a:lnTo>
                      <a:pt x="171" y="190"/>
                    </a:lnTo>
                    <a:lnTo>
                      <a:pt x="169" y="190"/>
                    </a:lnTo>
                    <a:lnTo>
                      <a:pt x="171" y="190"/>
                    </a:lnTo>
                    <a:lnTo>
                      <a:pt x="171" y="192"/>
                    </a:lnTo>
                    <a:lnTo>
                      <a:pt x="171" y="190"/>
                    </a:lnTo>
                    <a:lnTo>
                      <a:pt x="169" y="190"/>
                    </a:lnTo>
                    <a:lnTo>
                      <a:pt x="169" y="188"/>
                    </a:lnTo>
                    <a:lnTo>
                      <a:pt x="169" y="190"/>
                    </a:lnTo>
                    <a:lnTo>
                      <a:pt x="169" y="192"/>
                    </a:lnTo>
                    <a:lnTo>
                      <a:pt x="167" y="192"/>
                    </a:lnTo>
                    <a:lnTo>
                      <a:pt x="167" y="190"/>
                    </a:lnTo>
                    <a:lnTo>
                      <a:pt x="167" y="192"/>
                    </a:lnTo>
                    <a:lnTo>
                      <a:pt x="167" y="194"/>
                    </a:lnTo>
                    <a:lnTo>
                      <a:pt x="167" y="196"/>
                    </a:lnTo>
                    <a:lnTo>
                      <a:pt x="165" y="196"/>
                    </a:lnTo>
                    <a:lnTo>
                      <a:pt x="165" y="194"/>
                    </a:lnTo>
                    <a:lnTo>
                      <a:pt x="165" y="196"/>
                    </a:lnTo>
                    <a:lnTo>
                      <a:pt x="165" y="194"/>
                    </a:lnTo>
                    <a:lnTo>
                      <a:pt x="165" y="196"/>
                    </a:lnTo>
                    <a:lnTo>
                      <a:pt x="163" y="196"/>
                    </a:lnTo>
                    <a:lnTo>
                      <a:pt x="165" y="196"/>
                    </a:lnTo>
                    <a:lnTo>
                      <a:pt x="167" y="196"/>
                    </a:lnTo>
                    <a:lnTo>
                      <a:pt x="167" y="198"/>
                    </a:lnTo>
                    <a:lnTo>
                      <a:pt x="167" y="196"/>
                    </a:lnTo>
                    <a:lnTo>
                      <a:pt x="167" y="198"/>
                    </a:lnTo>
                    <a:lnTo>
                      <a:pt x="167" y="200"/>
                    </a:lnTo>
                    <a:lnTo>
                      <a:pt x="167" y="198"/>
                    </a:lnTo>
                    <a:lnTo>
                      <a:pt x="169" y="198"/>
                    </a:lnTo>
                    <a:lnTo>
                      <a:pt x="167" y="198"/>
                    </a:lnTo>
                    <a:lnTo>
                      <a:pt x="169" y="198"/>
                    </a:lnTo>
                    <a:lnTo>
                      <a:pt x="167" y="198"/>
                    </a:lnTo>
                    <a:lnTo>
                      <a:pt x="167" y="200"/>
                    </a:lnTo>
                    <a:lnTo>
                      <a:pt x="167" y="198"/>
                    </a:lnTo>
                    <a:lnTo>
                      <a:pt x="167" y="200"/>
                    </a:lnTo>
                    <a:lnTo>
                      <a:pt x="165" y="200"/>
                    </a:lnTo>
                    <a:lnTo>
                      <a:pt x="165" y="198"/>
                    </a:lnTo>
                    <a:lnTo>
                      <a:pt x="165" y="200"/>
                    </a:lnTo>
                    <a:lnTo>
                      <a:pt x="165" y="202"/>
                    </a:lnTo>
                    <a:lnTo>
                      <a:pt x="163" y="202"/>
                    </a:lnTo>
                    <a:lnTo>
                      <a:pt x="161" y="202"/>
                    </a:lnTo>
                    <a:lnTo>
                      <a:pt x="161" y="204"/>
                    </a:lnTo>
                    <a:lnTo>
                      <a:pt x="161" y="202"/>
                    </a:lnTo>
                    <a:lnTo>
                      <a:pt x="161" y="204"/>
                    </a:lnTo>
                    <a:lnTo>
                      <a:pt x="161" y="202"/>
                    </a:lnTo>
                    <a:lnTo>
                      <a:pt x="163" y="202"/>
                    </a:lnTo>
                    <a:lnTo>
                      <a:pt x="163" y="204"/>
                    </a:lnTo>
                    <a:lnTo>
                      <a:pt x="165" y="204"/>
                    </a:lnTo>
                    <a:lnTo>
                      <a:pt x="165" y="202"/>
                    </a:lnTo>
                    <a:lnTo>
                      <a:pt x="165" y="204"/>
                    </a:lnTo>
                    <a:lnTo>
                      <a:pt x="165" y="202"/>
                    </a:lnTo>
                    <a:lnTo>
                      <a:pt x="165" y="204"/>
                    </a:lnTo>
                    <a:lnTo>
                      <a:pt x="167" y="204"/>
                    </a:lnTo>
                    <a:lnTo>
                      <a:pt x="165" y="204"/>
                    </a:lnTo>
                    <a:lnTo>
                      <a:pt x="165" y="202"/>
                    </a:lnTo>
                    <a:lnTo>
                      <a:pt x="167" y="202"/>
                    </a:lnTo>
                    <a:lnTo>
                      <a:pt x="165" y="202"/>
                    </a:lnTo>
                    <a:lnTo>
                      <a:pt x="165" y="204"/>
                    </a:lnTo>
                    <a:lnTo>
                      <a:pt x="167" y="204"/>
                    </a:lnTo>
                    <a:lnTo>
                      <a:pt x="169" y="206"/>
                    </a:lnTo>
                    <a:lnTo>
                      <a:pt x="169" y="204"/>
                    </a:lnTo>
                    <a:lnTo>
                      <a:pt x="169" y="202"/>
                    </a:lnTo>
                    <a:lnTo>
                      <a:pt x="171" y="202"/>
                    </a:lnTo>
                    <a:lnTo>
                      <a:pt x="169" y="202"/>
                    </a:lnTo>
                    <a:lnTo>
                      <a:pt x="171" y="202"/>
                    </a:lnTo>
                    <a:lnTo>
                      <a:pt x="169" y="202"/>
                    </a:lnTo>
                    <a:lnTo>
                      <a:pt x="169" y="204"/>
                    </a:lnTo>
                    <a:lnTo>
                      <a:pt x="171" y="204"/>
                    </a:lnTo>
                    <a:lnTo>
                      <a:pt x="171" y="206"/>
                    </a:lnTo>
                    <a:lnTo>
                      <a:pt x="171" y="204"/>
                    </a:lnTo>
                    <a:lnTo>
                      <a:pt x="171" y="206"/>
                    </a:lnTo>
                    <a:lnTo>
                      <a:pt x="171" y="204"/>
                    </a:lnTo>
                    <a:lnTo>
                      <a:pt x="169" y="204"/>
                    </a:lnTo>
                    <a:lnTo>
                      <a:pt x="169" y="206"/>
                    </a:lnTo>
                    <a:lnTo>
                      <a:pt x="171" y="206"/>
                    </a:lnTo>
                    <a:lnTo>
                      <a:pt x="169" y="206"/>
                    </a:lnTo>
                    <a:lnTo>
                      <a:pt x="169" y="208"/>
                    </a:lnTo>
                    <a:lnTo>
                      <a:pt x="169" y="206"/>
                    </a:lnTo>
                    <a:lnTo>
                      <a:pt x="169" y="208"/>
                    </a:lnTo>
                    <a:lnTo>
                      <a:pt x="169" y="206"/>
                    </a:lnTo>
                    <a:lnTo>
                      <a:pt x="169" y="208"/>
                    </a:lnTo>
                    <a:lnTo>
                      <a:pt x="169" y="206"/>
                    </a:lnTo>
                    <a:lnTo>
                      <a:pt x="171" y="206"/>
                    </a:lnTo>
                    <a:lnTo>
                      <a:pt x="171" y="208"/>
                    </a:lnTo>
                    <a:lnTo>
                      <a:pt x="171" y="206"/>
                    </a:lnTo>
                    <a:lnTo>
                      <a:pt x="171" y="208"/>
                    </a:lnTo>
                    <a:lnTo>
                      <a:pt x="171" y="210"/>
                    </a:lnTo>
                    <a:lnTo>
                      <a:pt x="171" y="208"/>
                    </a:lnTo>
                    <a:lnTo>
                      <a:pt x="171" y="210"/>
                    </a:lnTo>
                    <a:lnTo>
                      <a:pt x="171" y="208"/>
                    </a:lnTo>
                    <a:lnTo>
                      <a:pt x="171" y="206"/>
                    </a:lnTo>
                    <a:lnTo>
                      <a:pt x="171" y="208"/>
                    </a:lnTo>
                    <a:lnTo>
                      <a:pt x="173" y="208"/>
                    </a:lnTo>
                    <a:lnTo>
                      <a:pt x="171" y="208"/>
                    </a:lnTo>
                    <a:lnTo>
                      <a:pt x="173" y="206"/>
                    </a:lnTo>
                    <a:lnTo>
                      <a:pt x="173" y="208"/>
                    </a:lnTo>
                    <a:lnTo>
                      <a:pt x="173" y="210"/>
                    </a:lnTo>
                    <a:lnTo>
                      <a:pt x="173" y="208"/>
                    </a:lnTo>
                    <a:lnTo>
                      <a:pt x="174" y="208"/>
                    </a:lnTo>
                    <a:lnTo>
                      <a:pt x="173" y="208"/>
                    </a:lnTo>
                    <a:lnTo>
                      <a:pt x="174" y="208"/>
                    </a:lnTo>
                    <a:lnTo>
                      <a:pt x="173" y="208"/>
                    </a:lnTo>
                    <a:lnTo>
                      <a:pt x="174" y="208"/>
                    </a:lnTo>
                    <a:lnTo>
                      <a:pt x="174" y="206"/>
                    </a:lnTo>
                    <a:lnTo>
                      <a:pt x="174" y="208"/>
                    </a:lnTo>
                    <a:lnTo>
                      <a:pt x="174" y="206"/>
                    </a:lnTo>
                    <a:lnTo>
                      <a:pt x="173" y="206"/>
                    </a:lnTo>
                    <a:lnTo>
                      <a:pt x="173" y="204"/>
                    </a:lnTo>
                    <a:lnTo>
                      <a:pt x="173" y="206"/>
                    </a:lnTo>
                    <a:lnTo>
                      <a:pt x="173" y="204"/>
                    </a:lnTo>
                    <a:lnTo>
                      <a:pt x="173" y="206"/>
                    </a:lnTo>
                    <a:lnTo>
                      <a:pt x="173" y="204"/>
                    </a:lnTo>
                    <a:lnTo>
                      <a:pt x="173" y="206"/>
                    </a:lnTo>
                    <a:lnTo>
                      <a:pt x="173" y="204"/>
                    </a:lnTo>
                    <a:lnTo>
                      <a:pt x="173" y="206"/>
                    </a:lnTo>
                    <a:lnTo>
                      <a:pt x="173" y="204"/>
                    </a:lnTo>
                    <a:lnTo>
                      <a:pt x="174" y="204"/>
                    </a:lnTo>
                    <a:lnTo>
                      <a:pt x="173" y="204"/>
                    </a:lnTo>
                    <a:lnTo>
                      <a:pt x="174" y="204"/>
                    </a:lnTo>
                    <a:lnTo>
                      <a:pt x="174" y="202"/>
                    </a:lnTo>
                    <a:lnTo>
                      <a:pt x="173" y="202"/>
                    </a:lnTo>
                    <a:lnTo>
                      <a:pt x="173" y="200"/>
                    </a:lnTo>
                    <a:lnTo>
                      <a:pt x="171" y="200"/>
                    </a:lnTo>
                    <a:lnTo>
                      <a:pt x="171" y="198"/>
                    </a:lnTo>
                    <a:lnTo>
                      <a:pt x="171" y="200"/>
                    </a:lnTo>
                    <a:lnTo>
                      <a:pt x="171" y="198"/>
                    </a:lnTo>
                    <a:lnTo>
                      <a:pt x="171" y="200"/>
                    </a:lnTo>
                    <a:lnTo>
                      <a:pt x="173" y="200"/>
                    </a:lnTo>
                    <a:lnTo>
                      <a:pt x="173" y="198"/>
                    </a:lnTo>
                    <a:lnTo>
                      <a:pt x="173" y="200"/>
                    </a:lnTo>
                    <a:lnTo>
                      <a:pt x="173" y="198"/>
                    </a:lnTo>
                    <a:lnTo>
                      <a:pt x="173" y="196"/>
                    </a:lnTo>
                    <a:lnTo>
                      <a:pt x="173" y="198"/>
                    </a:lnTo>
                    <a:lnTo>
                      <a:pt x="173" y="196"/>
                    </a:lnTo>
                    <a:lnTo>
                      <a:pt x="171" y="196"/>
                    </a:lnTo>
                    <a:lnTo>
                      <a:pt x="171" y="194"/>
                    </a:lnTo>
                    <a:lnTo>
                      <a:pt x="171" y="196"/>
                    </a:lnTo>
                    <a:lnTo>
                      <a:pt x="171" y="194"/>
                    </a:lnTo>
                    <a:lnTo>
                      <a:pt x="171" y="196"/>
                    </a:lnTo>
                    <a:lnTo>
                      <a:pt x="171" y="194"/>
                    </a:lnTo>
                    <a:lnTo>
                      <a:pt x="171" y="196"/>
                    </a:lnTo>
                    <a:lnTo>
                      <a:pt x="173" y="196"/>
                    </a:lnTo>
                    <a:lnTo>
                      <a:pt x="173" y="198"/>
                    </a:lnTo>
                    <a:lnTo>
                      <a:pt x="174" y="200"/>
                    </a:lnTo>
                    <a:lnTo>
                      <a:pt x="174" y="202"/>
                    </a:lnTo>
                    <a:lnTo>
                      <a:pt x="174" y="204"/>
                    </a:lnTo>
                    <a:lnTo>
                      <a:pt x="174" y="206"/>
                    </a:lnTo>
                    <a:lnTo>
                      <a:pt x="176" y="206"/>
                    </a:lnTo>
                    <a:lnTo>
                      <a:pt x="174" y="208"/>
                    </a:lnTo>
                    <a:lnTo>
                      <a:pt x="174" y="210"/>
                    </a:lnTo>
                    <a:lnTo>
                      <a:pt x="174" y="211"/>
                    </a:lnTo>
                    <a:lnTo>
                      <a:pt x="174" y="210"/>
                    </a:lnTo>
                    <a:lnTo>
                      <a:pt x="173" y="210"/>
                    </a:lnTo>
                    <a:lnTo>
                      <a:pt x="171" y="210"/>
                    </a:lnTo>
                    <a:lnTo>
                      <a:pt x="171" y="208"/>
                    </a:lnTo>
                    <a:lnTo>
                      <a:pt x="169" y="208"/>
                    </a:lnTo>
                    <a:lnTo>
                      <a:pt x="171" y="208"/>
                    </a:lnTo>
                    <a:lnTo>
                      <a:pt x="171" y="210"/>
                    </a:lnTo>
                    <a:lnTo>
                      <a:pt x="169" y="210"/>
                    </a:lnTo>
                    <a:lnTo>
                      <a:pt x="169" y="211"/>
                    </a:lnTo>
                    <a:lnTo>
                      <a:pt x="167" y="211"/>
                    </a:lnTo>
                    <a:lnTo>
                      <a:pt x="165" y="211"/>
                    </a:lnTo>
                    <a:lnTo>
                      <a:pt x="163" y="211"/>
                    </a:lnTo>
                    <a:lnTo>
                      <a:pt x="165" y="213"/>
                    </a:lnTo>
                    <a:lnTo>
                      <a:pt x="163" y="213"/>
                    </a:lnTo>
                    <a:lnTo>
                      <a:pt x="165" y="213"/>
                    </a:lnTo>
                    <a:lnTo>
                      <a:pt x="165" y="215"/>
                    </a:lnTo>
                    <a:lnTo>
                      <a:pt x="163" y="215"/>
                    </a:lnTo>
                    <a:lnTo>
                      <a:pt x="165" y="215"/>
                    </a:lnTo>
                    <a:lnTo>
                      <a:pt x="165" y="213"/>
                    </a:lnTo>
                    <a:lnTo>
                      <a:pt x="165" y="215"/>
                    </a:lnTo>
                    <a:lnTo>
                      <a:pt x="167" y="215"/>
                    </a:lnTo>
                    <a:lnTo>
                      <a:pt x="165" y="215"/>
                    </a:lnTo>
                    <a:lnTo>
                      <a:pt x="167" y="215"/>
                    </a:lnTo>
                    <a:lnTo>
                      <a:pt x="167" y="217"/>
                    </a:lnTo>
                    <a:lnTo>
                      <a:pt x="167" y="219"/>
                    </a:lnTo>
                    <a:lnTo>
                      <a:pt x="167" y="217"/>
                    </a:lnTo>
                    <a:lnTo>
                      <a:pt x="167" y="219"/>
                    </a:lnTo>
                    <a:lnTo>
                      <a:pt x="167" y="221"/>
                    </a:lnTo>
                    <a:lnTo>
                      <a:pt x="167" y="219"/>
                    </a:lnTo>
                    <a:lnTo>
                      <a:pt x="167" y="221"/>
                    </a:lnTo>
                    <a:lnTo>
                      <a:pt x="167" y="219"/>
                    </a:lnTo>
                    <a:lnTo>
                      <a:pt x="169" y="219"/>
                    </a:lnTo>
                    <a:lnTo>
                      <a:pt x="169" y="217"/>
                    </a:lnTo>
                    <a:lnTo>
                      <a:pt x="169" y="215"/>
                    </a:lnTo>
                    <a:lnTo>
                      <a:pt x="169" y="217"/>
                    </a:lnTo>
                    <a:lnTo>
                      <a:pt x="169" y="215"/>
                    </a:lnTo>
                    <a:lnTo>
                      <a:pt x="171" y="215"/>
                    </a:lnTo>
                    <a:lnTo>
                      <a:pt x="169" y="215"/>
                    </a:lnTo>
                    <a:lnTo>
                      <a:pt x="171" y="215"/>
                    </a:lnTo>
                    <a:lnTo>
                      <a:pt x="171" y="213"/>
                    </a:lnTo>
                    <a:lnTo>
                      <a:pt x="171" y="211"/>
                    </a:lnTo>
                    <a:lnTo>
                      <a:pt x="171" y="213"/>
                    </a:lnTo>
                    <a:lnTo>
                      <a:pt x="171" y="211"/>
                    </a:lnTo>
                    <a:lnTo>
                      <a:pt x="173" y="211"/>
                    </a:lnTo>
                    <a:lnTo>
                      <a:pt x="173" y="213"/>
                    </a:lnTo>
                    <a:lnTo>
                      <a:pt x="174" y="213"/>
                    </a:lnTo>
                    <a:lnTo>
                      <a:pt x="173" y="213"/>
                    </a:lnTo>
                    <a:lnTo>
                      <a:pt x="174" y="213"/>
                    </a:lnTo>
                    <a:lnTo>
                      <a:pt x="173" y="211"/>
                    </a:lnTo>
                    <a:lnTo>
                      <a:pt x="174" y="211"/>
                    </a:lnTo>
                    <a:lnTo>
                      <a:pt x="173" y="211"/>
                    </a:lnTo>
                    <a:lnTo>
                      <a:pt x="173" y="210"/>
                    </a:lnTo>
                    <a:lnTo>
                      <a:pt x="173" y="211"/>
                    </a:lnTo>
                    <a:lnTo>
                      <a:pt x="173" y="210"/>
                    </a:lnTo>
                    <a:lnTo>
                      <a:pt x="173" y="211"/>
                    </a:lnTo>
                    <a:lnTo>
                      <a:pt x="173" y="210"/>
                    </a:lnTo>
                    <a:lnTo>
                      <a:pt x="171" y="210"/>
                    </a:lnTo>
                    <a:lnTo>
                      <a:pt x="171" y="211"/>
                    </a:lnTo>
                    <a:lnTo>
                      <a:pt x="169" y="211"/>
                    </a:lnTo>
                    <a:lnTo>
                      <a:pt x="171" y="211"/>
                    </a:lnTo>
                    <a:lnTo>
                      <a:pt x="171" y="210"/>
                    </a:lnTo>
                    <a:lnTo>
                      <a:pt x="169" y="210"/>
                    </a:lnTo>
                    <a:lnTo>
                      <a:pt x="171" y="210"/>
                    </a:lnTo>
                    <a:lnTo>
                      <a:pt x="173" y="210"/>
                    </a:lnTo>
                    <a:lnTo>
                      <a:pt x="174" y="210"/>
                    </a:lnTo>
                    <a:lnTo>
                      <a:pt x="174" y="211"/>
                    </a:lnTo>
                    <a:lnTo>
                      <a:pt x="173" y="213"/>
                    </a:lnTo>
                    <a:lnTo>
                      <a:pt x="174" y="213"/>
                    </a:lnTo>
                    <a:lnTo>
                      <a:pt x="174" y="215"/>
                    </a:lnTo>
                    <a:lnTo>
                      <a:pt x="174" y="213"/>
                    </a:lnTo>
                    <a:lnTo>
                      <a:pt x="174" y="215"/>
                    </a:lnTo>
                    <a:lnTo>
                      <a:pt x="174" y="217"/>
                    </a:lnTo>
                    <a:lnTo>
                      <a:pt x="174" y="219"/>
                    </a:lnTo>
                    <a:lnTo>
                      <a:pt x="173" y="219"/>
                    </a:lnTo>
                    <a:lnTo>
                      <a:pt x="174" y="219"/>
                    </a:lnTo>
                    <a:lnTo>
                      <a:pt x="174" y="221"/>
                    </a:lnTo>
                    <a:lnTo>
                      <a:pt x="176" y="221"/>
                    </a:lnTo>
                    <a:lnTo>
                      <a:pt x="176" y="223"/>
                    </a:lnTo>
                    <a:lnTo>
                      <a:pt x="176" y="221"/>
                    </a:lnTo>
                    <a:lnTo>
                      <a:pt x="174" y="221"/>
                    </a:lnTo>
                    <a:lnTo>
                      <a:pt x="176" y="221"/>
                    </a:lnTo>
                    <a:lnTo>
                      <a:pt x="178" y="221"/>
                    </a:lnTo>
                    <a:lnTo>
                      <a:pt x="176" y="221"/>
                    </a:lnTo>
                    <a:lnTo>
                      <a:pt x="176" y="223"/>
                    </a:lnTo>
                    <a:lnTo>
                      <a:pt x="174" y="223"/>
                    </a:lnTo>
                    <a:lnTo>
                      <a:pt x="176" y="223"/>
                    </a:lnTo>
                    <a:lnTo>
                      <a:pt x="176" y="221"/>
                    </a:lnTo>
                    <a:lnTo>
                      <a:pt x="176" y="223"/>
                    </a:lnTo>
                    <a:lnTo>
                      <a:pt x="176" y="225"/>
                    </a:lnTo>
                    <a:lnTo>
                      <a:pt x="176" y="223"/>
                    </a:lnTo>
                    <a:lnTo>
                      <a:pt x="176" y="225"/>
                    </a:lnTo>
                    <a:lnTo>
                      <a:pt x="178" y="225"/>
                    </a:lnTo>
                    <a:lnTo>
                      <a:pt x="178" y="223"/>
                    </a:lnTo>
                    <a:lnTo>
                      <a:pt x="178" y="221"/>
                    </a:lnTo>
                    <a:lnTo>
                      <a:pt x="180" y="223"/>
                    </a:lnTo>
                    <a:lnTo>
                      <a:pt x="178" y="223"/>
                    </a:lnTo>
                    <a:lnTo>
                      <a:pt x="180" y="225"/>
                    </a:lnTo>
                    <a:lnTo>
                      <a:pt x="178" y="225"/>
                    </a:lnTo>
                    <a:lnTo>
                      <a:pt x="176" y="225"/>
                    </a:lnTo>
                    <a:lnTo>
                      <a:pt x="176" y="227"/>
                    </a:lnTo>
                    <a:lnTo>
                      <a:pt x="176" y="229"/>
                    </a:lnTo>
                    <a:lnTo>
                      <a:pt x="178" y="229"/>
                    </a:lnTo>
                    <a:lnTo>
                      <a:pt x="176" y="229"/>
                    </a:lnTo>
                    <a:lnTo>
                      <a:pt x="178" y="229"/>
                    </a:lnTo>
                    <a:lnTo>
                      <a:pt x="178" y="231"/>
                    </a:lnTo>
                    <a:lnTo>
                      <a:pt x="178" y="229"/>
                    </a:lnTo>
                    <a:lnTo>
                      <a:pt x="178" y="231"/>
                    </a:lnTo>
                    <a:lnTo>
                      <a:pt x="178" y="233"/>
                    </a:lnTo>
                    <a:lnTo>
                      <a:pt x="178" y="231"/>
                    </a:lnTo>
                    <a:lnTo>
                      <a:pt x="178" y="233"/>
                    </a:lnTo>
                    <a:lnTo>
                      <a:pt x="178" y="235"/>
                    </a:lnTo>
                    <a:lnTo>
                      <a:pt x="178" y="233"/>
                    </a:lnTo>
                    <a:lnTo>
                      <a:pt x="178" y="235"/>
                    </a:lnTo>
                    <a:lnTo>
                      <a:pt x="180" y="235"/>
                    </a:lnTo>
                    <a:lnTo>
                      <a:pt x="178" y="235"/>
                    </a:lnTo>
                    <a:lnTo>
                      <a:pt x="178" y="236"/>
                    </a:lnTo>
                    <a:lnTo>
                      <a:pt x="178" y="235"/>
                    </a:lnTo>
                    <a:lnTo>
                      <a:pt x="178" y="236"/>
                    </a:lnTo>
                    <a:lnTo>
                      <a:pt x="180" y="236"/>
                    </a:lnTo>
                    <a:lnTo>
                      <a:pt x="180" y="238"/>
                    </a:lnTo>
                    <a:lnTo>
                      <a:pt x="180" y="240"/>
                    </a:lnTo>
                    <a:lnTo>
                      <a:pt x="178" y="240"/>
                    </a:lnTo>
                    <a:lnTo>
                      <a:pt x="178" y="238"/>
                    </a:lnTo>
                    <a:lnTo>
                      <a:pt x="176" y="238"/>
                    </a:lnTo>
                    <a:lnTo>
                      <a:pt x="176" y="240"/>
                    </a:lnTo>
                    <a:lnTo>
                      <a:pt x="174" y="240"/>
                    </a:lnTo>
                    <a:lnTo>
                      <a:pt x="174" y="238"/>
                    </a:lnTo>
                    <a:lnTo>
                      <a:pt x="174" y="240"/>
                    </a:lnTo>
                    <a:lnTo>
                      <a:pt x="173" y="240"/>
                    </a:lnTo>
                    <a:lnTo>
                      <a:pt x="171" y="240"/>
                    </a:lnTo>
                    <a:lnTo>
                      <a:pt x="171" y="238"/>
                    </a:lnTo>
                    <a:lnTo>
                      <a:pt x="171" y="240"/>
                    </a:lnTo>
                    <a:lnTo>
                      <a:pt x="173" y="240"/>
                    </a:lnTo>
                    <a:lnTo>
                      <a:pt x="174" y="240"/>
                    </a:lnTo>
                    <a:lnTo>
                      <a:pt x="174" y="242"/>
                    </a:lnTo>
                    <a:lnTo>
                      <a:pt x="174" y="244"/>
                    </a:lnTo>
                    <a:lnTo>
                      <a:pt x="173" y="242"/>
                    </a:lnTo>
                    <a:lnTo>
                      <a:pt x="173" y="244"/>
                    </a:lnTo>
                    <a:lnTo>
                      <a:pt x="171" y="244"/>
                    </a:lnTo>
                    <a:lnTo>
                      <a:pt x="173" y="244"/>
                    </a:lnTo>
                    <a:lnTo>
                      <a:pt x="171" y="244"/>
                    </a:lnTo>
                    <a:lnTo>
                      <a:pt x="173" y="244"/>
                    </a:lnTo>
                    <a:lnTo>
                      <a:pt x="171" y="246"/>
                    </a:lnTo>
                    <a:lnTo>
                      <a:pt x="173" y="244"/>
                    </a:lnTo>
                    <a:lnTo>
                      <a:pt x="173" y="246"/>
                    </a:lnTo>
                    <a:lnTo>
                      <a:pt x="173" y="244"/>
                    </a:lnTo>
                    <a:lnTo>
                      <a:pt x="174" y="244"/>
                    </a:lnTo>
                    <a:lnTo>
                      <a:pt x="176" y="244"/>
                    </a:lnTo>
                    <a:lnTo>
                      <a:pt x="176" y="246"/>
                    </a:lnTo>
                    <a:lnTo>
                      <a:pt x="174" y="246"/>
                    </a:lnTo>
                    <a:lnTo>
                      <a:pt x="174" y="248"/>
                    </a:lnTo>
                    <a:lnTo>
                      <a:pt x="174" y="246"/>
                    </a:lnTo>
                    <a:lnTo>
                      <a:pt x="174" y="248"/>
                    </a:lnTo>
                    <a:lnTo>
                      <a:pt x="176" y="248"/>
                    </a:lnTo>
                    <a:lnTo>
                      <a:pt x="176" y="246"/>
                    </a:lnTo>
                    <a:lnTo>
                      <a:pt x="178" y="244"/>
                    </a:lnTo>
                    <a:lnTo>
                      <a:pt x="180" y="244"/>
                    </a:lnTo>
                    <a:lnTo>
                      <a:pt x="180" y="242"/>
                    </a:lnTo>
                    <a:lnTo>
                      <a:pt x="180" y="244"/>
                    </a:lnTo>
                    <a:lnTo>
                      <a:pt x="180" y="246"/>
                    </a:lnTo>
                    <a:lnTo>
                      <a:pt x="180" y="248"/>
                    </a:lnTo>
                    <a:lnTo>
                      <a:pt x="182" y="250"/>
                    </a:lnTo>
                    <a:lnTo>
                      <a:pt x="182" y="248"/>
                    </a:lnTo>
                    <a:lnTo>
                      <a:pt x="180" y="248"/>
                    </a:lnTo>
                    <a:lnTo>
                      <a:pt x="182" y="248"/>
                    </a:lnTo>
                    <a:lnTo>
                      <a:pt x="180" y="248"/>
                    </a:lnTo>
                    <a:lnTo>
                      <a:pt x="180" y="246"/>
                    </a:lnTo>
                    <a:lnTo>
                      <a:pt x="180" y="244"/>
                    </a:lnTo>
                    <a:lnTo>
                      <a:pt x="182" y="244"/>
                    </a:lnTo>
                    <a:lnTo>
                      <a:pt x="182" y="242"/>
                    </a:lnTo>
                    <a:lnTo>
                      <a:pt x="182" y="240"/>
                    </a:lnTo>
                    <a:lnTo>
                      <a:pt x="182" y="242"/>
                    </a:lnTo>
                    <a:lnTo>
                      <a:pt x="182" y="240"/>
                    </a:lnTo>
                    <a:lnTo>
                      <a:pt x="182" y="242"/>
                    </a:lnTo>
                    <a:lnTo>
                      <a:pt x="182" y="240"/>
                    </a:lnTo>
                    <a:lnTo>
                      <a:pt x="182" y="242"/>
                    </a:lnTo>
                    <a:lnTo>
                      <a:pt x="184" y="240"/>
                    </a:lnTo>
                    <a:lnTo>
                      <a:pt x="184" y="242"/>
                    </a:lnTo>
                    <a:lnTo>
                      <a:pt x="184" y="240"/>
                    </a:lnTo>
                    <a:lnTo>
                      <a:pt x="184" y="242"/>
                    </a:lnTo>
                    <a:lnTo>
                      <a:pt x="184" y="240"/>
                    </a:lnTo>
                    <a:lnTo>
                      <a:pt x="184" y="242"/>
                    </a:lnTo>
                    <a:lnTo>
                      <a:pt x="184" y="240"/>
                    </a:lnTo>
                    <a:lnTo>
                      <a:pt x="184" y="242"/>
                    </a:lnTo>
                    <a:lnTo>
                      <a:pt x="184" y="240"/>
                    </a:lnTo>
                    <a:lnTo>
                      <a:pt x="184" y="238"/>
                    </a:lnTo>
                    <a:lnTo>
                      <a:pt x="184" y="240"/>
                    </a:lnTo>
                    <a:lnTo>
                      <a:pt x="184" y="238"/>
                    </a:lnTo>
                    <a:lnTo>
                      <a:pt x="184" y="240"/>
                    </a:lnTo>
                    <a:lnTo>
                      <a:pt x="184" y="238"/>
                    </a:lnTo>
                    <a:lnTo>
                      <a:pt x="184" y="240"/>
                    </a:lnTo>
                    <a:lnTo>
                      <a:pt x="184" y="238"/>
                    </a:lnTo>
                    <a:lnTo>
                      <a:pt x="182" y="238"/>
                    </a:lnTo>
                    <a:lnTo>
                      <a:pt x="184" y="238"/>
                    </a:lnTo>
                    <a:lnTo>
                      <a:pt x="184" y="240"/>
                    </a:lnTo>
                    <a:lnTo>
                      <a:pt x="184" y="242"/>
                    </a:lnTo>
                    <a:lnTo>
                      <a:pt x="184" y="244"/>
                    </a:lnTo>
                    <a:lnTo>
                      <a:pt x="186" y="244"/>
                    </a:lnTo>
                    <a:lnTo>
                      <a:pt x="184" y="244"/>
                    </a:lnTo>
                    <a:lnTo>
                      <a:pt x="186" y="244"/>
                    </a:lnTo>
                    <a:lnTo>
                      <a:pt x="184" y="244"/>
                    </a:lnTo>
                    <a:lnTo>
                      <a:pt x="186" y="246"/>
                    </a:lnTo>
                    <a:lnTo>
                      <a:pt x="184" y="246"/>
                    </a:lnTo>
                    <a:lnTo>
                      <a:pt x="186" y="246"/>
                    </a:lnTo>
                    <a:lnTo>
                      <a:pt x="184" y="246"/>
                    </a:lnTo>
                    <a:lnTo>
                      <a:pt x="186" y="246"/>
                    </a:lnTo>
                    <a:lnTo>
                      <a:pt x="186" y="248"/>
                    </a:lnTo>
                    <a:lnTo>
                      <a:pt x="186" y="250"/>
                    </a:lnTo>
                    <a:lnTo>
                      <a:pt x="186" y="248"/>
                    </a:lnTo>
                    <a:lnTo>
                      <a:pt x="188" y="250"/>
                    </a:lnTo>
                    <a:lnTo>
                      <a:pt x="190" y="250"/>
                    </a:lnTo>
                    <a:lnTo>
                      <a:pt x="190" y="252"/>
                    </a:lnTo>
                    <a:lnTo>
                      <a:pt x="188" y="252"/>
                    </a:lnTo>
                    <a:lnTo>
                      <a:pt x="190" y="252"/>
                    </a:lnTo>
                    <a:lnTo>
                      <a:pt x="190" y="254"/>
                    </a:lnTo>
                    <a:lnTo>
                      <a:pt x="192" y="254"/>
                    </a:lnTo>
                    <a:lnTo>
                      <a:pt x="192" y="256"/>
                    </a:lnTo>
                    <a:lnTo>
                      <a:pt x="190" y="256"/>
                    </a:lnTo>
                    <a:lnTo>
                      <a:pt x="192" y="256"/>
                    </a:lnTo>
                    <a:lnTo>
                      <a:pt x="192" y="258"/>
                    </a:lnTo>
                    <a:lnTo>
                      <a:pt x="190" y="258"/>
                    </a:lnTo>
                    <a:lnTo>
                      <a:pt x="192" y="258"/>
                    </a:lnTo>
                    <a:lnTo>
                      <a:pt x="190" y="258"/>
                    </a:lnTo>
                    <a:lnTo>
                      <a:pt x="192" y="258"/>
                    </a:lnTo>
                    <a:lnTo>
                      <a:pt x="194" y="258"/>
                    </a:lnTo>
                    <a:lnTo>
                      <a:pt x="194" y="260"/>
                    </a:lnTo>
                    <a:lnTo>
                      <a:pt x="194" y="261"/>
                    </a:lnTo>
                    <a:lnTo>
                      <a:pt x="192" y="261"/>
                    </a:lnTo>
                    <a:lnTo>
                      <a:pt x="192" y="263"/>
                    </a:lnTo>
                    <a:lnTo>
                      <a:pt x="190" y="263"/>
                    </a:lnTo>
                    <a:lnTo>
                      <a:pt x="190" y="265"/>
                    </a:lnTo>
                    <a:lnTo>
                      <a:pt x="190" y="263"/>
                    </a:lnTo>
                    <a:lnTo>
                      <a:pt x="188" y="265"/>
                    </a:lnTo>
                    <a:lnTo>
                      <a:pt x="190" y="265"/>
                    </a:lnTo>
                    <a:lnTo>
                      <a:pt x="190" y="263"/>
                    </a:lnTo>
                    <a:lnTo>
                      <a:pt x="192" y="263"/>
                    </a:lnTo>
                    <a:lnTo>
                      <a:pt x="194" y="263"/>
                    </a:lnTo>
                    <a:lnTo>
                      <a:pt x="192" y="263"/>
                    </a:lnTo>
                    <a:lnTo>
                      <a:pt x="194" y="263"/>
                    </a:lnTo>
                    <a:lnTo>
                      <a:pt x="194" y="261"/>
                    </a:lnTo>
                    <a:lnTo>
                      <a:pt x="196" y="261"/>
                    </a:lnTo>
                    <a:lnTo>
                      <a:pt x="196" y="260"/>
                    </a:lnTo>
                    <a:lnTo>
                      <a:pt x="196" y="261"/>
                    </a:lnTo>
                    <a:lnTo>
                      <a:pt x="198" y="261"/>
                    </a:lnTo>
                    <a:lnTo>
                      <a:pt x="196" y="261"/>
                    </a:lnTo>
                    <a:lnTo>
                      <a:pt x="196" y="263"/>
                    </a:lnTo>
                    <a:lnTo>
                      <a:pt x="198" y="263"/>
                    </a:lnTo>
                    <a:lnTo>
                      <a:pt x="198" y="261"/>
                    </a:lnTo>
                    <a:lnTo>
                      <a:pt x="196" y="261"/>
                    </a:lnTo>
                    <a:lnTo>
                      <a:pt x="198" y="261"/>
                    </a:lnTo>
                    <a:lnTo>
                      <a:pt x="196" y="260"/>
                    </a:lnTo>
                    <a:lnTo>
                      <a:pt x="198" y="260"/>
                    </a:lnTo>
                    <a:lnTo>
                      <a:pt x="196" y="260"/>
                    </a:lnTo>
                    <a:lnTo>
                      <a:pt x="198" y="260"/>
                    </a:lnTo>
                    <a:lnTo>
                      <a:pt x="196" y="260"/>
                    </a:lnTo>
                    <a:lnTo>
                      <a:pt x="196" y="258"/>
                    </a:lnTo>
                    <a:lnTo>
                      <a:pt x="194" y="258"/>
                    </a:lnTo>
                    <a:lnTo>
                      <a:pt x="196" y="258"/>
                    </a:lnTo>
                    <a:lnTo>
                      <a:pt x="194" y="258"/>
                    </a:lnTo>
                    <a:lnTo>
                      <a:pt x="196" y="258"/>
                    </a:lnTo>
                    <a:lnTo>
                      <a:pt x="194" y="258"/>
                    </a:lnTo>
                    <a:lnTo>
                      <a:pt x="194" y="256"/>
                    </a:lnTo>
                    <a:lnTo>
                      <a:pt x="196" y="256"/>
                    </a:lnTo>
                    <a:lnTo>
                      <a:pt x="194" y="256"/>
                    </a:lnTo>
                    <a:lnTo>
                      <a:pt x="194" y="254"/>
                    </a:lnTo>
                    <a:lnTo>
                      <a:pt x="194" y="256"/>
                    </a:lnTo>
                    <a:lnTo>
                      <a:pt x="194" y="254"/>
                    </a:lnTo>
                    <a:lnTo>
                      <a:pt x="196" y="254"/>
                    </a:lnTo>
                    <a:lnTo>
                      <a:pt x="194" y="254"/>
                    </a:lnTo>
                    <a:lnTo>
                      <a:pt x="194" y="252"/>
                    </a:lnTo>
                    <a:lnTo>
                      <a:pt x="194" y="254"/>
                    </a:lnTo>
                    <a:lnTo>
                      <a:pt x="194" y="252"/>
                    </a:lnTo>
                    <a:lnTo>
                      <a:pt x="194" y="254"/>
                    </a:lnTo>
                    <a:lnTo>
                      <a:pt x="194" y="252"/>
                    </a:lnTo>
                    <a:lnTo>
                      <a:pt x="196" y="252"/>
                    </a:lnTo>
                    <a:lnTo>
                      <a:pt x="194" y="252"/>
                    </a:lnTo>
                    <a:lnTo>
                      <a:pt x="194" y="254"/>
                    </a:lnTo>
                    <a:lnTo>
                      <a:pt x="196" y="254"/>
                    </a:lnTo>
                    <a:lnTo>
                      <a:pt x="194" y="256"/>
                    </a:lnTo>
                    <a:lnTo>
                      <a:pt x="196" y="256"/>
                    </a:lnTo>
                    <a:lnTo>
                      <a:pt x="196" y="254"/>
                    </a:lnTo>
                    <a:lnTo>
                      <a:pt x="196" y="256"/>
                    </a:lnTo>
                    <a:lnTo>
                      <a:pt x="196" y="254"/>
                    </a:lnTo>
                    <a:lnTo>
                      <a:pt x="196" y="256"/>
                    </a:lnTo>
                    <a:lnTo>
                      <a:pt x="196" y="254"/>
                    </a:lnTo>
                    <a:lnTo>
                      <a:pt x="196" y="256"/>
                    </a:lnTo>
                    <a:lnTo>
                      <a:pt x="198" y="256"/>
                    </a:lnTo>
                    <a:lnTo>
                      <a:pt x="196" y="256"/>
                    </a:lnTo>
                    <a:lnTo>
                      <a:pt x="198" y="256"/>
                    </a:lnTo>
                    <a:lnTo>
                      <a:pt x="198" y="254"/>
                    </a:lnTo>
                    <a:lnTo>
                      <a:pt x="199" y="254"/>
                    </a:lnTo>
                    <a:lnTo>
                      <a:pt x="199" y="256"/>
                    </a:lnTo>
                    <a:lnTo>
                      <a:pt x="198" y="256"/>
                    </a:lnTo>
                    <a:lnTo>
                      <a:pt x="198" y="254"/>
                    </a:lnTo>
                    <a:lnTo>
                      <a:pt x="198" y="256"/>
                    </a:lnTo>
                    <a:lnTo>
                      <a:pt x="196" y="256"/>
                    </a:lnTo>
                    <a:lnTo>
                      <a:pt x="196" y="258"/>
                    </a:lnTo>
                    <a:lnTo>
                      <a:pt x="196" y="256"/>
                    </a:lnTo>
                    <a:lnTo>
                      <a:pt x="196" y="258"/>
                    </a:lnTo>
                    <a:lnTo>
                      <a:pt x="196" y="256"/>
                    </a:lnTo>
                    <a:lnTo>
                      <a:pt x="196" y="258"/>
                    </a:lnTo>
                    <a:lnTo>
                      <a:pt x="196" y="256"/>
                    </a:lnTo>
                    <a:lnTo>
                      <a:pt x="198" y="256"/>
                    </a:lnTo>
                    <a:lnTo>
                      <a:pt x="196" y="256"/>
                    </a:lnTo>
                    <a:lnTo>
                      <a:pt x="198" y="256"/>
                    </a:lnTo>
                    <a:lnTo>
                      <a:pt x="196" y="256"/>
                    </a:lnTo>
                    <a:lnTo>
                      <a:pt x="196" y="258"/>
                    </a:lnTo>
                    <a:lnTo>
                      <a:pt x="198" y="258"/>
                    </a:lnTo>
                    <a:lnTo>
                      <a:pt x="198" y="256"/>
                    </a:lnTo>
                    <a:lnTo>
                      <a:pt x="198" y="258"/>
                    </a:lnTo>
                    <a:lnTo>
                      <a:pt x="198" y="256"/>
                    </a:lnTo>
                    <a:lnTo>
                      <a:pt x="198" y="258"/>
                    </a:lnTo>
                    <a:lnTo>
                      <a:pt x="198" y="256"/>
                    </a:lnTo>
                    <a:lnTo>
                      <a:pt x="198" y="258"/>
                    </a:lnTo>
                    <a:lnTo>
                      <a:pt x="199" y="258"/>
                    </a:lnTo>
                    <a:lnTo>
                      <a:pt x="198" y="258"/>
                    </a:lnTo>
                    <a:lnTo>
                      <a:pt x="199" y="258"/>
                    </a:lnTo>
                    <a:lnTo>
                      <a:pt x="199" y="256"/>
                    </a:lnTo>
                    <a:lnTo>
                      <a:pt x="199" y="258"/>
                    </a:lnTo>
                    <a:lnTo>
                      <a:pt x="201" y="258"/>
                    </a:lnTo>
                    <a:lnTo>
                      <a:pt x="201" y="256"/>
                    </a:lnTo>
                    <a:lnTo>
                      <a:pt x="203" y="256"/>
                    </a:lnTo>
                    <a:lnTo>
                      <a:pt x="201" y="256"/>
                    </a:lnTo>
                    <a:lnTo>
                      <a:pt x="203" y="256"/>
                    </a:lnTo>
                    <a:lnTo>
                      <a:pt x="201" y="258"/>
                    </a:lnTo>
                    <a:lnTo>
                      <a:pt x="199" y="258"/>
                    </a:lnTo>
                    <a:lnTo>
                      <a:pt x="198" y="258"/>
                    </a:lnTo>
                    <a:lnTo>
                      <a:pt x="199" y="258"/>
                    </a:lnTo>
                    <a:lnTo>
                      <a:pt x="198" y="258"/>
                    </a:lnTo>
                    <a:lnTo>
                      <a:pt x="196" y="258"/>
                    </a:lnTo>
                    <a:lnTo>
                      <a:pt x="198" y="258"/>
                    </a:lnTo>
                    <a:lnTo>
                      <a:pt x="198" y="260"/>
                    </a:lnTo>
                    <a:lnTo>
                      <a:pt x="199" y="260"/>
                    </a:lnTo>
                    <a:lnTo>
                      <a:pt x="199" y="258"/>
                    </a:lnTo>
                    <a:lnTo>
                      <a:pt x="199" y="260"/>
                    </a:lnTo>
                    <a:lnTo>
                      <a:pt x="201" y="260"/>
                    </a:lnTo>
                    <a:lnTo>
                      <a:pt x="201" y="261"/>
                    </a:lnTo>
                    <a:lnTo>
                      <a:pt x="203" y="263"/>
                    </a:lnTo>
                    <a:lnTo>
                      <a:pt x="203" y="261"/>
                    </a:lnTo>
                    <a:lnTo>
                      <a:pt x="203" y="260"/>
                    </a:lnTo>
                    <a:lnTo>
                      <a:pt x="205" y="260"/>
                    </a:lnTo>
                    <a:lnTo>
                      <a:pt x="205" y="261"/>
                    </a:lnTo>
                    <a:lnTo>
                      <a:pt x="205" y="260"/>
                    </a:lnTo>
                    <a:lnTo>
                      <a:pt x="205" y="261"/>
                    </a:lnTo>
                    <a:lnTo>
                      <a:pt x="205" y="260"/>
                    </a:lnTo>
                    <a:lnTo>
                      <a:pt x="205" y="261"/>
                    </a:lnTo>
                    <a:lnTo>
                      <a:pt x="205" y="260"/>
                    </a:lnTo>
                    <a:lnTo>
                      <a:pt x="205" y="261"/>
                    </a:lnTo>
                    <a:lnTo>
                      <a:pt x="203" y="263"/>
                    </a:lnTo>
                    <a:lnTo>
                      <a:pt x="203" y="265"/>
                    </a:lnTo>
                    <a:lnTo>
                      <a:pt x="205" y="267"/>
                    </a:lnTo>
                    <a:lnTo>
                      <a:pt x="203" y="267"/>
                    </a:lnTo>
                    <a:lnTo>
                      <a:pt x="205" y="267"/>
                    </a:lnTo>
                    <a:lnTo>
                      <a:pt x="203" y="267"/>
                    </a:lnTo>
                    <a:lnTo>
                      <a:pt x="205" y="267"/>
                    </a:lnTo>
                    <a:lnTo>
                      <a:pt x="205" y="269"/>
                    </a:lnTo>
                    <a:lnTo>
                      <a:pt x="205" y="271"/>
                    </a:lnTo>
                    <a:lnTo>
                      <a:pt x="205" y="273"/>
                    </a:lnTo>
                    <a:lnTo>
                      <a:pt x="205" y="275"/>
                    </a:lnTo>
                    <a:lnTo>
                      <a:pt x="205" y="273"/>
                    </a:lnTo>
                    <a:lnTo>
                      <a:pt x="207" y="273"/>
                    </a:lnTo>
                    <a:lnTo>
                      <a:pt x="207" y="275"/>
                    </a:lnTo>
                    <a:lnTo>
                      <a:pt x="207" y="273"/>
                    </a:lnTo>
                    <a:lnTo>
                      <a:pt x="205" y="273"/>
                    </a:lnTo>
                    <a:lnTo>
                      <a:pt x="205" y="271"/>
                    </a:lnTo>
                    <a:lnTo>
                      <a:pt x="207" y="271"/>
                    </a:lnTo>
                    <a:lnTo>
                      <a:pt x="207" y="269"/>
                    </a:lnTo>
                    <a:lnTo>
                      <a:pt x="205" y="269"/>
                    </a:lnTo>
                    <a:lnTo>
                      <a:pt x="207" y="269"/>
                    </a:lnTo>
                    <a:lnTo>
                      <a:pt x="207" y="271"/>
                    </a:lnTo>
                    <a:lnTo>
                      <a:pt x="209" y="271"/>
                    </a:lnTo>
                    <a:lnTo>
                      <a:pt x="209" y="269"/>
                    </a:lnTo>
                    <a:lnTo>
                      <a:pt x="209" y="271"/>
                    </a:lnTo>
                    <a:lnTo>
                      <a:pt x="209" y="269"/>
                    </a:lnTo>
                    <a:lnTo>
                      <a:pt x="211" y="269"/>
                    </a:lnTo>
                    <a:lnTo>
                      <a:pt x="209" y="269"/>
                    </a:lnTo>
                    <a:lnTo>
                      <a:pt x="209" y="267"/>
                    </a:lnTo>
                    <a:lnTo>
                      <a:pt x="209" y="269"/>
                    </a:lnTo>
                    <a:lnTo>
                      <a:pt x="209" y="267"/>
                    </a:lnTo>
                    <a:lnTo>
                      <a:pt x="209" y="269"/>
                    </a:lnTo>
                    <a:lnTo>
                      <a:pt x="209" y="267"/>
                    </a:lnTo>
                    <a:lnTo>
                      <a:pt x="211" y="267"/>
                    </a:lnTo>
                    <a:lnTo>
                      <a:pt x="211" y="269"/>
                    </a:lnTo>
                    <a:lnTo>
                      <a:pt x="209" y="271"/>
                    </a:lnTo>
                    <a:lnTo>
                      <a:pt x="209" y="273"/>
                    </a:lnTo>
                    <a:lnTo>
                      <a:pt x="209" y="275"/>
                    </a:lnTo>
                    <a:lnTo>
                      <a:pt x="209" y="277"/>
                    </a:lnTo>
                    <a:lnTo>
                      <a:pt x="209" y="279"/>
                    </a:lnTo>
                    <a:lnTo>
                      <a:pt x="207" y="279"/>
                    </a:lnTo>
                    <a:lnTo>
                      <a:pt x="209" y="279"/>
                    </a:lnTo>
                    <a:lnTo>
                      <a:pt x="209" y="281"/>
                    </a:lnTo>
                    <a:lnTo>
                      <a:pt x="207" y="281"/>
                    </a:lnTo>
                    <a:lnTo>
                      <a:pt x="205" y="281"/>
                    </a:lnTo>
                    <a:lnTo>
                      <a:pt x="207" y="281"/>
                    </a:lnTo>
                    <a:lnTo>
                      <a:pt x="207" y="279"/>
                    </a:lnTo>
                    <a:lnTo>
                      <a:pt x="205" y="279"/>
                    </a:lnTo>
                    <a:lnTo>
                      <a:pt x="205" y="281"/>
                    </a:lnTo>
                    <a:lnTo>
                      <a:pt x="205" y="279"/>
                    </a:lnTo>
                    <a:lnTo>
                      <a:pt x="205" y="281"/>
                    </a:lnTo>
                    <a:lnTo>
                      <a:pt x="205" y="283"/>
                    </a:lnTo>
                    <a:lnTo>
                      <a:pt x="205" y="285"/>
                    </a:lnTo>
                    <a:lnTo>
                      <a:pt x="205" y="286"/>
                    </a:lnTo>
                    <a:lnTo>
                      <a:pt x="205" y="285"/>
                    </a:lnTo>
                    <a:lnTo>
                      <a:pt x="205" y="286"/>
                    </a:lnTo>
                    <a:lnTo>
                      <a:pt x="205" y="288"/>
                    </a:lnTo>
                    <a:lnTo>
                      <a:pt x="207" y="288"/>
                    </a:lnTo>
                    <a:lnTo>
                      <a:pt x="205" y="288"/>
                    </a:lnTo>
                    <a:lnTo>
                      <a:pt x="207" y="288"/>
                    </a:lnTo>
                    <a:lnTo>
                      <a:pt x="205" y="288"/>
                    </a:lnTo>
                    <a:lnTo>
                      <a:pt x="207" y="288"/>
                    </a:lnTo>
                    <a:lnTo>
                      <a:pt x="205" y="290"/>
                    </a:lnTo>
                    <a:lnTo>
                      <a:pt x="207" y="290"/>
                    </a:lnTo>
                    <a:lnTo>
                      <a:pt x="205" y="290"/>
                    </a:lnTo>
                    <a:lnTo>
                      <a:pt x="205" y="292"/>
                    </a:lnTo>
                    <a:lnTo>
                      <a:pt x="205" y="290"/>
                    </a:lnTo>
                    <a:lnTo>
                      <a:pt x="205" y="292"/>
                    </a:lnTo>
                    <a:lnTo>
                      <a:pt x="207" y="292"/>
                    </a:lnTo>
                    <a:lnTo>
                      <a:pt x="205" y="292"/>
                    </a:lnTo>
                    <a:lnTo>
                      <a:pt x="207" y="292"/>
                    </a:lnTo>
                    <a:lnTo>
                      <a:pt x="205" y="292"/>
                    </a:lnTo>
                    <a:lnTo>
                      <a:pt x="205" y="294"/>
                    </a:lnTo>
                    <a:lnTo>
                      <a:pt x="207" y="294"/>
                    </a:lnTo>
                    <a:lnTo>
                      <a:pt x="207" y="296"/>
                    </a:lnTo>
                    <a:lnTo>
                      <a:pt x="209" y="296"/>
                    </a:lnTo>
                    <a:lnTo>
                      <a:pt x="211" y="296"/>
                    </a:lnTo>
                    <a:lnTo>
                      <a:pt x="211" y="298"/>
                    </a:lnTo>
                    <a:lnTo>
                      <a:pt x="211" y="300"/>
                    </a:lnTo>
                    <a:lnTo>
                      <a:pt x="213" y="300"/>
                    </a:lnTo>
                    <a:lnTo>
                      <a:pt x="211" y="300"/>
                    </a:lnTo>
                    <a:lnTo>
                      <a:pt x="213" y="300"/>
                    </a:lnTo>
                    <a:lnTo>
                      <a:pt x="213" y="298"/>
                    </a:lnTo>
                    <a:lnTo>
                      <a:pt x="213" y="296"/>
                    </a:lnTo>
                    <a:lnTo>
                      <a:pt x="213" y="298"/>
                    </a:lnTo>
                    <a:lnTo>
                      <a:pt x="213" y="296"/>
                    </a:lnTo>
                    <a:lnTo>
                      <a:pt x="215" y="296"/>
                    </a:lnTo>
                    <a:lnTo>
                      <a:pt x="215" y="294"/>
                    </a:lnTo>
                    <a:lnTo>
                      <a:pt x="215" y="296"/>
                    </a:lnTo>
                    <a:lnTo>
                      <a:pt x="215" y="294"/>
                    </a:lnTo>
                    <a:lnTo>
                      <a:pt x="215" y="296"/>
                    </a:lnTo>
                    <a:lnTo>
                      <a:pt x="215" y="298"/>
                    </a:lnTo>
                    <a:lnTo>
                      <a:pt x="217" y="298"/>
                    </a:lnTo>
                    <a:lnTo>
                      <a:pt x="217" y="300"/>
                    </a:lnTo>
                    <a:lnTo>
                      <a:pt x="215" y="300"/>
                    </a:lnTo>
                    <a:lnTo>
                      <a:pt x="217" y="300"/>
                    </a:lnTo>
                    <a:lnTo>
                      <a:pt x="219" y="300"/>
                    </a:lnTo>
                    <a:lnTo>
                      <a:pt x="221" y="300"/>
                    </a:lnTo>
                    <a:lnTo>
                      <a:pt x="219" y="298"/>
                    </a:lnTo>
                    <a:lnTo>
                      <a:pt x="219" y="296"/>
                    </a:lnTo>
                    <a:lnTo>
                      <a:pt x="217" y="296"/>
                    </a:lnTo>
                    <a:lnTo>
                      <a:pt x="215" y="294"/>
                    </a:lnTo>
                    <a:lnTo>
                      <a:pt x="215" y="292"/>
                    </a:lnTo>
                    <a:lnTo>
                      <a:pt x="215" y="294"/>
                    </a:lnTo>
                    <a:lnTo>
                      <a:pt x="217" y="294"/>
                    </a:lnTo>
                    <a:lnTo>
                      <a:pt x="215" y="292"/>
                    </a:lnTo>
                    <a:lnTo>
                      <a:pt x="217" y="290"/>
                    </a:lnTo>
                    <a:lnTo>
                      <a:pt x="217" y="288"/>
                    </a:lnTo>
                    <a:lnTo>
                      <a:pt x="219" y="288"/>
                    </a:lnTo>
                    <a:lnTo>
                      <a:pt x="219" y="286"/>
                    </a:lnTo>
                    <a:lnTo>
                      <a:pt x="219" y="285"/>
                    </a:lnTo>
                    <a:lnTo>
                      <a:pt x="221" y="285"/>
                    </a:lnTo>
                    <a:lnTo>
                      <a:pt x="219" y="285"/>
                    </a:lnTo>
                    <a:lnTo>
                      <a:pt x="219" y="286"/>
                    </a:lnTo>
                    <a:lnTo>
                      <a:pt x="219" y="285"/>
                    </a:lnTo>
                    <a:lnTo>
                      <a:pt x="217" y="285"/>
                    </a:lnTo>
                    <a:lnTo>
                      <a:pt x="217" y="283"/>
                    </a:lnTo>
                    <a:lnTo>
                      <a:pt x="217" y="281"/>
                    </a:lnTo>
                    <a:lnTo>
                      <a:pt x="217" y="279"/>
                    </a:lnTo>
                    <a:lnTo>
                      <a:pt x="217" y="277"/>
                    </a:lnTo>
                    <a:lnTo>
                      <a:pt x="217" y="275"/>
                    </a:lnTo>
                    <a:lnTo>
                      <a:pt x="217" y="277"/>
                    </a:lnTo>
                    <a:lnTo>
                      <a:pt x="217" y="275"/>
                    </a:lnTo>
                    <a:lnTo>
                      <a:pt x="217" y="277"/>
                    </a:lnTo>
                    <a:lnTo>
                      <a:pt x="217" y="275"/>
                    </a:lnTo>
                    <a:lnTo>
                      <a:pt x="217" y="273"/>
                    </a:lnTo>
                    <a:lnTo>
                      <a:pt x="217" y="271"/>
                    </a:lnTo>
                    <a:lnTo>
                      <a:pt x="219" y="271"/>
                    </a:lnTo>
                    <a:lnTo>
                      <a:pt x="219" y="269"/>
                    </a:lnTo>
                    <a:lnTo>
                      <a:pt x="219" y="271"/>
                    </a:lnTo>
                    <a:lnTo>
                      <a:pt x="219" y="269"/>
                    </a:lnTo>
                    <a:lnTo>
                      <a:pt x="221" y="269"/>
                    </a:lnTo>
                    <a:lnTo>
                      <a:pt x="221" y="271"/>
                    </a:lnTo>
                    <a:lnTo>
                      <a:pt x="223" y="271"/>
                    </a:lnTo>
                    <a:lnTo>
                      <a:pt x="223" y="269"/>
                    </a:lnTo>
                    <a:lnTo>
                      <a:pt x="223" y="271"/>
                    </a:lnTo>
                    <a:lnTo>
                      <a:pt x="221" y="269"/>
                    </a:lnTo>
                    <a:lnTo>
                      <a:pt x="221" y="267"/>
                    </a:lnTo>
                    <a:lnTo>
                      <a:pt x="221" y="269"/>
                    </a:lnTo>
                    <a:lnTo>
                      <a:pt x="219" y="269"/>
                    </a:lnTo>
                    <a:lnTo>
                      <a:pt x="219" y="267"/>
                    </a:lnTo>
                    <a:lnTo>
                      <a:pt x="219" y="269"/>
                    </a:lnTo>
                    <a:lnTo>
                      <a:pt x="217" y="269"/>
                    </a:lnTo>
                    <a:lnTo>
                      <a:pt x="217" y="267"/>
                    </a:lnTo>
                    <a:lnTo>
                      <a:pt x="217" y="265"/>
                    </a:lnTo>
                    <a:lnTo>
                      <a:pt x="215" y="265"/>
                    </a:lnTo>
                    <a:lnTo>
                      <a:pt x="215" y="263"/>
                    </a:lnTo>
                    <a:lnTo>
                      <a:pt x="215" y="261"/>
                    </a:lnTo>
                    <a:lnTo>
                      <a:pt x="213" y="260"/>
                    </a:lnTo>
                    <a:lnTo>
                      <a:pt x="215" y="260"/>
                    </a:lnTo>
                    <a:lnTo>
                      <a:pt x="213" y="260"/>
                    </a:lnTo>
                    <a:lnTo>
                      <a:pt x="213" y="258"/>
                    </a:lnTo>
                    <a:lnTo>
                      <a:pt x="211" y="258"/>
                    </a:lnTo>
                    <a:lnTo>
                      <a:pt x="211" y="256"/>
                    </a:lnTo>
                    <a:lnTo>
                      <a:pt x="209" y="256"/>
                    </a:lnTo>
                    <a:lnTo>
                      <a:pt x="209" y="254"/>
                    </a:lnTo>
                    <a:lnTo>
                      <a:pt x="211" y="252"/>
                    </a:lnTo>
                    <a:lnTo>
                      <a:pt x="211" y="250"/>
                    </a:lnTo>
                    <a:lnTo>
                      <a:pt x="211" y="252"/>
                    </a:lnTo>
                    <a:lnTo>
                      <a:pt x="209" y="252"/>
                    </a:lnTo>
                    <a:lnTo>
                      <a:pt x="209" y="254"/>
                    </a:lnTo>
                    <a:lnTo>
                      <a:pt x="207" y="254"/>
                    </a:lnTo>
                    <a:lnTo>
                      <a:pt x="209" y="254"/>
                    </a:lnTo>
                    <a:lnTo>
                      <a:pt x="207" y="254"/>
                    </a:lnTo>
                    <a:lnTo>
                      <a:pt x="205" y="254"/>
                    </a:lnTo>
                    <a:lnTo>
                      <a:pt x="205" y="252"/>
                    </a:lnTo>
                    <a:lnTo>
                      <a:pt x="203" y="252"/>
                    </a:lnTo>
                    <a:lnTo>
                      <a:pt x="201" y="252"/>
                    </a:lnTo>
                    <a:lnTo>
                      <a:pt x="201" y="250"/>
                    </a:lnTo>
                    <a:lnTo>
                      <a:pt x="201" y="252"/>
                    </a:lnTo>
                    <a:lnTo>
                      <a:pt x="201" y="250"/>
                    </a:lnTo>
                    <a:lnTo>
                      <a:pt x="203" y="250"/>
                    </a:lnTo>
                    <a:lnTo>
                      <a:pt x="203" y="248"/>
                    </a:lnTo>
                    <a:lnTo>
                      <a:pt x="201" y="248"/>
                    </a:lnTo>
                    <a:lnTo>
                      <a:pt x="201" y="246"/>
                    </a:lnTo>
                    <a:lnTo>
                      <a:pt x="199" y="246"/>
                    </a:lnTo>
                    <a:lnTo>
                      <a:pt x="201" y="246"/>
                    </a:lnTo>
                    <a:lnTo>
                      <a:pt x="201" y="244"/>
                    </a:lnTo>
                    <a:lnTo>
                      <a:pt x="201" y="246"/>
                    </a:lnTo>
                    <a:lnTo>
                      <a:pt x="199" y="246"/>
                    </a:lnTo>
                    <a:lnTo>
                      <a:pt x="201" y="246"/>
                    </a:lnTo>
                    <a:lnTo>
                      <a:pt x="199" y="244"/>
                    </a:lnTo>
                    <a:lnTo>
                      <a:pt x="199" y="246"/>
                    </a:lnTo>
                    <a:lnTo>
                      <a:pt x="201" y="246"/>
                    </a:lnTo>
                    <a:lnTo>
                      <a:pt x="201" y="248"/>
                    </a:lnTo>
                    <a:lnTo>
                      <a:pt x="201" y="250"/>
                    </a:lnTo>
                    <a:lnTo>
                      <a:pt x="199" y="250"/>
                    </a:lnTo>
                    <a:lnTo>
                      <a:pt x="198" y="248"/>
                    </a:lnTo>
                    <a:lnTo>
                      <a:pt x="198" y="246"/>
                    </a:lnTo>
                    <a:lnTo>
                      <a:pt x="198" y="244"/>
                    </a:lnTo>
                    <a:lnTo>
                      <a:pt x="198" y="242"/>
                    </a:lnTo>
                    <a:lnTo>
                      <a:pt x="198" y="240"/>
                    </a:lnTo>
                    <a:lnTo>
                      <a:pt x="198" y="238"/>
                    </a:lnTo>
                    <a:lnTo>
                      <a:pt x="196" y="238"/>
                    </a:lnTo>
                    <a:lnTo>
                      <a:pt x="196" y="236"/>
                    </a:lnTo>
                    <a:lnTo>
                      <a:pt x="194" y="236"/>
                    </a:lnTo>
                    <a:lnTo>
                      <a:pt x="192" y="236"/>
                    </a:lnTo>
                    <a:lnTo>
                      <a:pt x="194" y="236"/>
                    </a:lnTo>
                    <a:lnTo>
                      <a:pt x="194" y="235"/>
                    </a:lnTo>
                    <a:lnTo>
                      <a:pt x="194" y="233"/>
                    </a:lnTo>
                    <a:lnTo>
                      <a:pt x="194" y="235"/>
                    </a:lnTo>
                    <a:lnTo>
                      <a:pt x="194" y="233"/>
                    </a:lnTo>
                    <a:lnTo>
                      <a:pt x="194" y="235"/>
                    </a:lnTo>
                    <a:lnTo>
                      <a:pt x="194" y="233"/>
                    </a:lnTo>
                    <a:lnTo>
                      <a:pt x="194" y="235"/>
                    </a:lnTo>
                    <a:lnTo>
                      <a:pt x="192" y="235"/>
                    </a:lnTo>
                    <a:lnTo>
                      <a:pt x="190" y="235"/>
                    </a:lnTo>
                    <a:lnTo>
                      <a:pt x="188" y="233"/>
                    </a:lnTo>
                    <a:lnTo>
                      <a:pt x="186" y="233"/>
                    </a:lnTo>
                    <a:lnTo>
                      <a:pt x="186" y="231"/>
                    </a:lnTo>
                    <a:lnTo>
                      <a:pt x="184" y="231"/>
                    </a:lnTo>
                    <a:lnTo>
                      <a:pt x="186" y="231"/>
                    </a:lnTo>
                    <a:lnTo>
                      <a:pt x="184" y="231"/>
                    </a:lnTo>
                    <a:lnTo>
                      <a:pt x="184" y="229"/>
                    </a:lnTo>
                    <a:lnTo>
                      <a:pt x="184" y="227"/>
                    </a:lnTo>
                    <a:lnTo>
                      <a:pt x="184" y="225"/>
                    </a:lnTo>
                    <a:lnTo>
                      <a:pt x="184" y="223"/>
                    </a:lnTo>
                    <a:lnTo>
                      <a:pt x="184" y="225"/>
                    </a:lnTo>
                    <a:lnTo>
                      <a:pt x="184" y="223"/>
                    </a:lnTo>
                    <a:lnTo>
                      <a:pt x="184" y="225"/>
                    </a:lnTo>
                    <a:lnTo>
                      <a:pt x="184" y="223"/>
                    </a:lnTo>
                    <a:lnTo>
                      <a:pt x="184" y="225"/>
                    </a:lnTo>
                    <a:lnTo>
                      <a:pt x="182" y="223"/>
                    </a:lnTo>
                    <a:lnTo>
                      <a:pt x="182" y="221"/>
                    </a:lnTo>
                    <a:lnTo>
                      <a:pt x="182" y="219"/>
                    </a:lnTo>
                    <a:lnTo>
                      <a:pt x="180" y="219"/>
                    </a:lnTo>
                    <a:lnTo>
                      <a:pt x="182" y="217"/>
                    </a:lnTo>
                    <a:lnTo>
                      <a:pt x="180" y="217"/>
                    </a:lnTo>
                    <a:lnTo>
                      <a:pt x="180" y="215"/>
                    </a:lnTo>
                    <a:lnTo>
                      <a:pt x="178" y="213"/>
                    </a:lnTo>
                    <a:lnTo>
                      <a:pt x="180" y="213"/>
                    </a:lnTo>
                    <a:lnTo>
                      <a:pt x="180" y="211"/>
                    </a:lnTo>
                    <a:lnTo>
                      <a:pt x="180" y="213"/>
                    </a:lnTo>
                    <a:lnTo>
                      <a:pt x="178" y="213"/>
                    </a:lnTo>
                    <a:lnTo>
                      <a:pt x="178" y="211"/>
                    </a:lnTo>
                    <a:lnTo>
                      <a:pt x="178" y="210"/>
                    </a:lnTo>
                    <a:lnTo>
                      <a:pt x="178" y="208"/>
                    </a:lnTo>
                    <a:lnTo>
                      <a:pt x="180" y="208"/>
                    </a:lnTo>
                    <a:lnTo>
                      <a:pt x="182" y="208"/>
                    </a:lnTo>
                    <a:lnTo>
                      <a:pt x="184" y="208"/>
                    </a:lnTo>
                    <a:lnTo>
                      <a:pt x="182" y="208"/>
                    </a:lnTo>
                    <a:lnTo>
                      <a:pt x="184" y="208"/>
                    </a:lnTo>
                    <a:lnTo>
                      <a:pt x="184" y="206"/>
                    </a:lnTo>
                    <a:lnTo>
                      <a:pt x="186" y="206"/>
                    </a:lnTo>
                    <a:lnTo>
                      <a:pt x="184" y="206"/>
                    </a:lnTo>
                    <a:lnTo>
                      <a:pt x="184" y="208"/>
                    </a:lnTo>
                    <a:lnTo>
                      <a:pt x="184" y="206"/>
                    </a:lnTo>
                    <a:lnTo>
                      <a:pt x="182" y="206"/>
                    </a:lnTo>
                    <a:lnTo>
                      <a:pt x="182" y="208"/>
                    </a:lnTo>
                    <a:lnTo>
                      <a:pt x="180" y="208"/>
                    </a:lnTo>
                    <a:lnTo>
                      <a:pt x="178" y="208"/>
                    </a:lnTo>
                    <a:lnTo>
                      <a:pt x="176" y="208"/>
                    </a:lnTo>
                    <a:lnTo>
                      <a:pt x="176" y="206"/>
                    </a:lnTo>
                    <a:lnTo>
                      <a:pt x="176" y="204"/>
                    </a:lnTo>
                    <a:lnTo>
                      <a:pt x="178" y="204"/>
                    </a:lnTo>
                    <a:lnTo>
                      <a:pt x="176" y="204"/>
                    </a:lnTo>
                    <a:lnTo>
                      <a:pt x="176" y="202"/>
                    </a:lnTo>
                    <a:lnTo>
                      <a:pt x="176" y="200"/>
                    </a:lnTo>
                    <a:lnTo>
                      <a:pt x="174" y="198"/>
                    </a:lnTo>
                    <a:lnTo>
                      <a:pt x="173" y="196"/>
                    </a:lnTo>
                    <a:lnTo>
                      <a:pt x="173" y="194"/>
                    </a:lnTo>
                    <a:lnTo>
                      <a:pt x="174" y="194"/>
                    </a:lnTo>
                    <a:lnTo>
                      <a:pt x="174" y="196"/>
                    </a:lnTo>
                    <a:lnTo>
                      <a:pt x="174" y="194"/>
                    </a:lnTo>
                    <a:lnTo>
                      <a:pt x="173" y="194"/>
                    </a:lnTo>
                    <a:lnTo>
                      <a:pt x="173" y="196"/>
                    </a:lnTo>
                    <a:lnTo>
                      <a:pt x="173" y="194"/>
                    </a:lnTo>
                    <a:lnTo>
                      <a:pt x="171" y="194"/>
                    </a:lnTo>
                    <a:lnTo>
                      <a:pt x="171" y="192"/>
                    </a:lnTo>
                    <a:lnTo>
                      <a:pt x="173" y="192"/>
                    </a:lnTo>
                    <a:lnTo>
                      <a:pt x="173" y="190"/>
                    </a:lnTo>
                    <a:lnTo>
                      <a:pt x="174" y="190"/>
                    </a:lnTo>
                    <a:lnTo>
                      <a:pt x="176" y="190"/>
                    </a:lnTo>
                    <a:lnTo>
                      <a:pt x="176" y="192"/>
                    </a:lnTo>
                    <a:lnTo>
                      <a:pt x="176" y="190"/>
                    </a:lnTo>
                    <a:lnTo>
                      <a:pt x="176" y="192"/>
                    </a:lnTo>
                    <a:lnTo>
                      <a:pt x="178" y="192"/>
                    </a:lnTo>
                    <a:lnTo>
                      <a:pt x="178" y="190"/>
                    </a:lnTo>
                    <a:lnTo>
                      <a:pt x="178" y="192"/>
                    </a:lnTo>
                    <a:lnTo>
                      <a:pt x="178" y="190"/>
                    </a:lnTo>
                    <a:lnTo>
                      <a:pt x="176" y="190"/>
                    </a:lnTo>
                    <a:lnTo>
                      <a:pt x="178" y="190"/>
                    </a:lnTo>
                    <a:lnTo>
                      <a:pt x="176" y="190"/>
                    </a:lnTo>
                    <a:lnTo>
                      <a:pt x="176" y="188"/>
                    </a:lnTo>
                    <a:lnTo>
                      <a:pt x="178" y="188"/>
                    </a:lnTo>
                    <a:lnTo>
                      <a:pt x="178" y="186"/>
                    </a:lnTo>
                    <a:lnTo>
                      <a:pt x="178" y="188"/>
                    </a:lnTo>
                    <a:lnTo>
                      <a:pt x="178" y="186"/>
                    </a:lnTo>
                    <a:lnTo>
                      <a:pt x="178" y="185"/>
                    </a:lnTo>
                    <a:lnTo>
                      <a:pt x="180" y="185"/>
                    </a:lnTo>
                    <a:lnTo>
                      <a:pt x="180" y="183"/>
                    </a:lnTo>
                    <a:lnTo>
                      <a:pt x="180" y="181"/>
                    </a:lnTo>
                    <a:lnTo>
                      <a:pt x="182" y="179"/>
                    </a:lnTo>
                    <a:lnTo>
                      <a:pt x="184" y="179"/>
                    </a:lnTo>
                    <a:lnTo>
                      <a:pt x="182" y="179"/>
                    </a:lnTo>
                    <a:lnTo>
                      <a:pt x="182" y="177"/>
                    </a:lnTo>
                    <a:lnTo>
                      <a:pt x="184" y="177"/>
                    </a:lnTo>
                    <a:lnTo>
                      <a:pt x="186" y="177"/>
                    </a:lnTo>
                    <a:lnTo>
                      <a:pt x="188" y="175"/>
                    </a:lnTo>
                    <a:lnTo>
                      <a:pt x="190" y="175"/>
                    </a:lnTo>
                    <a:lnTo>
                      <a:pt x="192" y="175"/>
                    </a:lnTo>
                    <a:lnTo>
                      <a:pt x="190" y="175"/>
                    </a:lnTo>
                    <a:lnTo>
                      <a:pt x="192" y="175"/>
                    </a:lnTo>
                    <a:lnTo>
                      <a:pt x="192" y="173"/>
                    </a:lnTo>
                    <a:lnTo>
                      <a:pt x="194" y="171"/>
                    </a:lnTo>
                    <a:lnTo>
                      <a:pt x="194" y="173"/>
                    </a:lnTo>
                    <a:lnTo>
                      <a:pt x="194" y="171"/>
                    </a:lnTo>
                    <a:lnTo>
                      <a:pt x="194" y="169"/>
                    </a:lnTo>
                    <a:lnTo>
                      <a:pt x="194" y="171"/>
                    </a:lnTo>
                    <a:lnTo>
                      <a:pt x="194" y="169"/>
                    </a:lnTo>
                    <a:lnTo>
                      <a:pt x="192" y="169"/>
                    </a:lnTo>
                    <a:lnTo>
                      <a:pt x="192" y="167"/>
                    </a:lnTo>
                    <a:lnTo>
                      <a:pt x="194" y="167"/>
                    </a:lnTo>
                    <a:lnTo>
                      <a:pt x="192" y="167"/>
                    </a:lnTo>
                    <a:lnTo>
                      <a:pt x="194" y="167"/>
                    </a:lnTo>
                    <a:lnTo>
                      <a:pt x="192" y="167"/>
                    </a:lnTo>
                    <a:lnTo>
                      <a:pt x="194" y="167"/>
                    </a:lnTo>
                    <a:lnTo>
                      <a:pt x="196" y="165"/>
                    </a:lnTo>
                    <a:lnTo>
                      <a:pt x="196" y="167"/>
                    </a:lnTo>
                    <a:lnTo>
                      <a:pt x="196" y="165"/>
                    </a:lnTo>
                    <a:lnTo>
                      <a:pt x="196" y="167"/>
                    </a:lnTo>
                    <a:lnTo>
                      <a:pt x="196" y="165"/>
                    </a:lnTo>
                    <a:lnTo>
                      <a:pt x="198" y="165"/>
                    </a:lnTo>
                    <a:lnTo>
                      <a:pt x="199" y="165"/>
                    </a:lnTo>
                    <a:lnTo>
                      <a:pt x="201" y="163"/>
                    </a:lnTo>
                    <a:lnTo>
                      <a:pt x="201" y="165"/>
                    </a:lnTo>
                    <a:lnTo>
                      <a:pt x="201" y="163"/>
                    </a:lnTo>
                    <a:lnTo>
                      <a:pt x="201" y="165"/>
                    </a:lnTo>
                    <a:lnTo>
                      <a:pt x="201" y="163"/>
                    </a:lnTo>
                    <a:lnTo>
                      <a:pt x="203" y="163"/>
                    </a:lnTo>
                    <a:lnTo>
                      <a:pt x="203" y="161"/>
                    </a:lnTo>
                    <a:lnTo>
                      <a:pt x="203" y="160"/>
                    </a:lnTo>
                    <a:lnTo>
                      <a:pt x="201" y="160"/>
                    </a:lnTo>
                    <a:lnTo>
                      <a:pt x="203" y="160"/>
                    </a:lnTo>
                    <a:lnTo>
                      <a:pt x="201" y="158"/>
                    </a:lnTo>
                    <a:lnTo>
                      <a:pt x="203" y="158"/>
                    </a:lnTo>
                    <a:lnTo>
                      <a:pt x="201" y="158"/>
                    </a:lnTo>
                    <a:lnTo>
                      <a:pt x="203" y="158"/>
                    </a:lnTo>
                    <a:lnTo>
                      <a:pt x="203" y="156"/>
                    </a:lnTo>
                    <a:lnTo>
                      <a:pt x="205" y="156"/>
                    </a:lnTo>
                    <a:lnTo>
                      <a:pt x="205" y="154"/>
                    </a:lnTo>
                    <a:lnTo>
                      <a:pt x="205" y="152"/>
                    </a:lnTo>
                    <a:lnTo>
                      <a:pt x="205" y="150"/>
                    </a:lnTo>
                    <a:lnTo>
                      <a:pt x="205" y="152"/>
                    </a:lnTo>
                    <a:lnTo>
                      <a:pt x="205" y="154"/>
                    </a:lnTo>
                    <a:lnTo>
                      <a:pt x="205" y="152"/>
                    </a:lnTo>
                    <a:lnTo>
                      <a:pt x="205" y="154"/>
                    </a:lnTo>
                    <a:lnTo>
                      <a:pt x="205" y="156"/>
                    </a:lnTo>
                    <a:lnTo>
                      <a:pt x="205" y="154"/>
                    </a:lnTo>
                    <a:lnTo>
                      <a:pt x="205" y="152"/>
                    </a:lnTo>
                    <a:lnTo>
                      <a:pt x="207" y="152"/>
                    </a:lnTo>
                    <a:lnTo>
                      <a:pt x="205" y="152"/>
                    </a:lnTo>
                    <a:lnTo>
                      <a:pt x="207" y="152"/>
                    </a:lnTo>
                    <a:lnTo>
                      <a:pt x="207" y="150"/>
                    </a:lnTo>
                    <a:lnTo>
                      <a:pt x="207" y="152"/>
                    </a:lnTo>
                    <a:lnTo>
                      <a:pt x="205" y="152"/>
                    </a:lnTo>
                    <a:lnTo>
                      <a:pt x="207" y="150"/>
                    </a:lnTo>
                    <a:lnTo>
                      <a:pt x="207" y="152"/>
                    </a:lnTo>
                    <a:lnTo>
                      <a:pt x="207" y="150"/>
                    </a:lnTo>
                    <a:lnTo>
                      <a:pt x="207" y="152"/>
                    </a:lnTo>
                    <a:lnTo>
                      <a:pt x="209" y="152"/>
                    </a:lnTo>
                    <a:lnTo>
                      <a:pt x="207" y="152"/>
                    </a:lnTo>
                    <a:lnTo>
                      <a:pt x="209" y="152"/>
                    </a:lnTo>
                    <a:lnTo>
                      <a:pt x="207" y="152"/>
                    </a:lnTo>
                    <a:lnTo>
                      <a:pt x="207" y="154"/>
                    </a:lnTo>
                    <a:lnTo>
                      <a:pt x="207" y="152"/>
                    </a:lnTo>
                    <a:lnTo>
                      <a:pt x="207" y="154"/>
                    </a:lnTo>
                    <a:lnTo>
                      <a:pt x="205" y="154"/>
                    </a:lnTo>
                    <a:lnTo>
                      <a:pt x="207" y="154"/>
                    </a:lnTo>
                    <a:lnTo>
                      <a:pt x="209" y="154"/>
                    </a:lnTo>
                    <a:lnTo>
                      <a:pt x="209" y="156"/>
                    </a:lnTo>
                    <a:lnTo>
                      <a:pt x="209" y="154"/>
                    </a:lnTo>
                    <a:lnTo>
                      <a:pt x="211" y="154"/>
                    </a:lnTo>
                    <a:lnTo>
                      <a:pt x="209" y="154"/>
                    </a:lnTo>
                    <a:lnTo>
                      <a:pt x="211" y="154"/>
                    </a:lnTo>
                    <a:lnTo>
                      <a:pt x="209" y="154"/>
                    </a:lnTo>
                    <a:lnTo>
                      <a:pt x="211" y="154"/>
                    </a:lnTo>
                    <a:lnTo>
                      <a:pt x="209" y="154"/>
                    </a:lnTo>
                    <a:lnTo>
                      <a:pt x="211" y="154"/>
                    </a:lnTo>
                    <a:lnTo>
                      <a:pt x="211" y="152"/>
                    </a:lnTo>
                    <a:lnTo>
                      <a:pt x="211" y="154"/>
                    </a:lnTo>
                    <a:lnTo>
                      <a:pt x="211" y="152"/>
                    </a:lnTo>
                    <a:lnTo>
                      <a:pt x="209" y="152"/>
                    </a:lnTo>
                    <a:lnTo>
                      <a:pt x="211" y="152"/>
                    </a:lnTo>
                    <a:lnTo>
                      <a:pt x="209" y="152"/>
                    </a:lnTo>
                    <a:lnTo>
                      <a:pt x="209" y="150"/>
                    </a:lnTo>
                    <a:lnTo>
                      <a:pt x="211" y="150"/>
                    </a:lnTo>
                    <a:lnTo>
                      <a:pt x="211" y="152"/>
                    </a:lnTo>
                    <a:lnTo>
                      <a:pt x="211" y="150"/>
                    </a:lnTo>
                    <a:lnTo>
                      <a:pt x="211" y="152"/>
                    </a:lnTo>
                    <a:lnTo>
                      <a:pt x="211" y="150"/>
                    </a:lnTo>
                    <a:lnTo>
                      <a:pt x="211" y="152"/>
                    </a:lnTo>
                    <a:lnTo>
                      <a:pt x="213" y="152"/>
                    </a:lnTo>
                    <a:lnTo>
                      <a:pt x="213" y="154"/>
                    </a:lnTo>
                    <a:lnTo>
                      <a:pt x="215" y="154"/>
                    </a:lnTo>
                    <a:lnTo>
                      <a:pt x="215" y="156"/>
                    </a:lnTo>
                    <a:lnTo>
                      <a:pt x="215" y="154"/>
                    </a:lnTo>
                    <a:lnTo>
                      <a:pt x="215" y="152"/>
                    </a:lnTo>
                    <a:lnTo>
                      <a:pt x="215" y="154"/>
                    </a:lnTo>
                    <a:lnTo>
                      <a:pt x="215" y="152"/>
                    </a:lnTo>
                    <a:lnTo>
                      <a:pt x="215" y="150"/>
                    </a:lnTo>
                    <a:lnTo>
                      <a:pt x="215" y="152"/>
                    </a:lnTo>
                    <a:lnTo>
                      <a:pt x="217" y="152"/>
                    </a:lnTo>
                    <a:lnTo>
                      <a:pt x="215" y="152"/>
                    </a:lnTo>
                    <a:lnTo>
                      <a:pt x="217" y="152"/>
                    </a:lnTo>
                    <a:lnTo>
                      <a:pt x="217" y="150"/>
                    </a:lnTo>
                    <a:lnTo>
                      <a:pt x="215" y="150"/>
                    </a:lnTo>
                    <a:lnTo>
                      <a:pt x="215" y="152"/>
                    </a:lnTo>
                    <a:lnTo>
                      <a:pt x="215" y="150"/>
                    </a:lnTo>
                    <a:lnTo>
                      <a:pt x="217" y="150"/>
                    </a:lnTo>
                    <a:lnTo>
                      <a:pt x="217" y="152"/>
                    </a:lnTo>
                    <a:lnTo>
                      <a:pt x="219" y="152"/>
                    </a:lnTo>
                    <a:lnTo>
                      <a:pt x="217" y="152"/>
                    </a:lnTo>
                    <a:lnTo>
                      <a:pt x="219" y="152"/>
                    </a:lnTo>
                    <a:lnTo>
                      <a:pt x="219" y="154"/>
                    </a:lnTo>
                    <a:lnTo>
                      <a:pt x="217" y="154"/>
                    </a:lnTo>
                    <a:lnTo>
                      <a:pt x="217" y="156"/>
                    </a:lnTo>
                    <a:lnTo>
                      <a:pt x="219" y="156"/>
                    </a:lnTo>
                    <a:lnTo>
                      <a:pt x="217" y="158"/>
                    </a:lnTo>
                    <a:lnTo>
                      <a:pt x="219" y="158"/>
                    </a:lnTo>
                    <a:lnTo>
                      <a:pt x="217" y="158"/>
                    </a:lnTo>
                    <a:lnTo>
                      <a:pt x="217" y="160"/>
                    </a:lnTo>
                    <a:lnTo>
                      <a:pt x="217" y="158"/>
                    </a:lnTo>
                    <a:lnTo>
                      <a:pt x="217" y="160"/>
                    </a:lnTo>
                    <a:lnTo>
                      <a:pt x="219" y="160"/>
                    </a:lnTo>
                    <a:lnTo>
                      <a:pt x="217" y="160"/>
                    </a:lnTo>
                    <a:lnTo>
                      <a:pt x="219" y="160"/>
                    </a:lnTo>
                    <a:lnTo>
                      <a:pt x="219" y="158"/>
                    </a:lnTo>
                    <a:lnTo>
                      <a:pt x="219" y="160"/>
                    </a:lnTo>
                    <a:lnTo>
                      <a:pt x="219" y="158"/>
                    </a:lnTo>
                    <a:lnTo>
                      <a:pt x="219" y="160"/>
                    </a:lnTo>
                    <a:lnTo>
                      <a:pt x="219" y="158"/>
                    </a:lnTo>
                    <a:lnTo>
                      <a:pt x="221" y="160"/>
                    </a:lnTo>
                    <a:lnTo>
                      <a:pt x="221" y="158"/>
                    </a:lnTo>
                    <a:lnTo>
                      <a:pt x="219" y="158"/>
                    </a:lnTo>
                    <a:lnTo>
                      <a:pt x="221" y="158"/>
                    </a:lnTo>
                    <a:lnTo>
                      <a:pt x="221" y="160"/>
                    </a:lnTo>
                    <a:lnTo>
                      <a:pt x="221" y="158"/>
                    </a:lnTo>
                    <a:lnTo>
                      <a:pt x="221" y="160"/>
                    </a:lnTo>
                    <a:lnTo>
                      <a:pt x="221" y="158"/>
                    </a:lnTo>
                    <a:lnTo>
                      <a:pt x="223" y="158"/>
                    </a:lnTo>
                    <a:lnTo>
                      <a:pt x="223" y="160"/>
                    </a:lnTo>
                    <a:lnTo>
                      <a:pt x="224" y="160"/>
                    </a:lnTo>
                    <a:lnTo>
                      <a:pt x="223" y="160"/>
                    </a:lnTo>
                    <a:lnTo>
                      <a:pt x="224" y="160"/>
                    </a:lnTo>
                    <a:lnTo>
                      <a:pt x="224" y="161"/>
                    </a:lnTo>
                    <a:lnTo>
                      <a:pt x="223" y="161"/>
                    </a:lnTo>
                    <a:lnTo>
                      <a:pt x="224" y="161"/>
                    </a:lnTo>
                    <a:lnTo>
                      <a:pt x="226" y="161"/>
                    </a:lnTo>
                    <a:lnTo>
                      <a:pt x="224" y="161"/>
                    </a:lnTo>
                    <a:lnTo>
                      <a:pt x="226" y="161"/>
                    </a:lnTo>
                    <a:lnTo>
                      <a:pt x="228" y="161"/>
                    </a:lnTo>
                    <a:lnTo>
                      <a:pt x="226" y="161"/>
                    </a:lnTo>
                    <a:lnTo>
                      <a:pt x="228" y="161"/>
                    </a:lnTo>
                    <a:lnTo>
                      <a:pt x="228" y="160"/>
                    </a:lnTo>
                    <a:lnTo>
                      <a:pt x="230" y="160"/>
                    </a:lnTo>
                    <a:lnTo>
                      <a:pt x="230" y="161"/>
                    </a:lnTo>
                    <a:lnTo>
                      <a:pt x="232" y="161"/>
                    </a:lnTo>
                    <a:lnTo>
                      <a:pt x="230" y="161"/>
                    </a:lnTo>
                    <a:lnTo>
                      <a:pt x="230" y="163"/>
                    </a:lnTo>
                    <a:lnTo>
                      <a:pt x="230" y="161"/>
                    </a:lnTo>
                    <a:lnTo>
                      <a:pt x="232" y="161"/>
                    </a:lnTo>
                    <a:lnTo>
                      <a:pt x="232" y="163"/>
                    </a:lnTo>
                    <a:lnTo>
                      <a:pt x="232" y="161"/>
                    </a:lnTo>
                    <a:lnTo>
                      <a:pt x="232" y="163"/>
                    </a:lnTo>
                    <a:lnTo>
                      <a:pt x="232" y="161"/>
                    </a:lnTo>
                    <a:lnTo>
                      <a:pt x="230" y="161"/>
                    </a:lnTo>
                    <a:lnTo>
                      <a:pt x="232" y="161"/>
                    </a:lnTo>
                    <a:lnTo>
                      <a:pt x="230" y="161"/>
                    </a:lnTo>
                    <a:lnTo>
                      <a:pt x="230" y="160"/>
                    </a:lnTo>
                    <a:lnTo>
                      <a:pt x="228" y="160"/>
                    </a:lnTo>
                    <a:lnTo>
                      <a:pt x="226" y="160"/>
                    </a:lnTo>
                    <a:lnTo>
                      <a:pt x="228" y="160"/>
                    </a:lnTo>
                    <a:lnTo>
                      <a:pt x="228" y="161"/>
                    </a:lnTo>
                    <a:lnTo>
                      <a:pt x="226" y="161"/>
                    </a:lnTo>
                    <a:lnTo>
                      <a:pt x="226" y="160"/>
                    </a:lnTo>
                    <a:lnTo>
                      <a:pt x="226" y="161"/>
                    </a:lnTo>
                    <a:lnTo>
                      <a:pt x="226" y="160"/>
                    </a:lnTo>
                    <a:lnTo>
                      <a:pt x="226" y="161"/>
                    </a:lnTo>
                    <a:lnTo>
                      <a:pt x="224" y="161"/>
                    </a:lnTo>
                    <a:lnTo>
                      <a:pt x="224" y="160"/>
                    </a:lnTo>
                    <a:lnTo>
                      <a:pt x="224" y="161"/>
                    </a:lnTo>
                    <a:lnTo>
                      <a:pt x="224" y="160"/>
                    </a:lnTo>
                    <a:lnTo>
                      <a:pt x="223" y="160"/>
                    </a:lnTo>
                    <a:lnTo>
                      <a:pt x="223" y="158"/>
                    </a:lnTo>
                    <a:lnTo>
                      <a:pt x="223" y="160"/>
                    </a:lnTo>
                    <a:lnTo>
                      <a:pt x="223" y="158"/>
                    </a:lnTo>
                    <a:lnTo>
                      <a:pt x="221" y="158"/>
                    </a:lnTo>
                    <a:lnTo>
                      <a:pt x="223" y="158"/>
                    </a:lnTo>
                    <a:lnTo>
                      <a:pt x="221" y="158"/>
                    </a:lnTo>
                    <a:lnTo>
                      <a:pt x="221" y="160"/>
                    </a:lnTo>
                    <a:lnTo>
                      <a:pt x="221" y="158"/>
                    </a:lnTo>
                    <a:lnTo>
                      <a:pt x="219" y="158"/>
                    </a:lnTo>
                    <a:lnTo>
                      <a:pt x="219" y="160"/>
                    </a:lnTo>
                    <a:lnTo>
                      <a:pt x="219" y="158"/>
                    </a:lnTo>
                    <a:lnTo>
                      <a:pt x="217" y="158"/>
                    </a:lnTo>
                    <a:lnTo>
                      <a:pt x="219" y="158"/>
                    </a:lnTo>
                    <a:lnTo>
                      <a:pt x="217" y="158"/>
                    </a:lnTo>
                    <a:lnTo>
                      <a:pt x="219" y="158"/>
                    </a:lnTo>
                    <a:lnTo>
                      <a:pt x="217" y="158"/>
                    </a:lnTo>
                    <a:lnTo>
                      <a:pt x="219" y="158"/>
                    </a:lnTo>
                    <a:lnTo>
                      <a:pt x="217" y="158"/>
                    </a:lnTo>
                    <a:lnTo>
                      <a:pt x="217" y="156"/>
                    </a:lnTo>
                    <a:lnTo>
                      <a:pt x="219" y="156"/>
                    </a:lnTo>
                    <a:lnTo>
                      <a:pt x="217" y="156"/>
                    </a:lnTo>
                    <a:lnTo>
                      <a:pt x="219" y="156"/>
                    </a:lnTo>
                    <a:lnTo>
                      <a:pt x="217" y="156"/>
                    </a:lnTo>
                    <a:lnTo>
                      <a:pt x="217" y="154"/>
                    </a:lnTo>
                    <a:lnTo>
                      <a:pt x="219" y="154"/>
                    </a:lnTo>
                    <a:lnTo>
                      <a:pt x="219" y="152"/>
                    </a:lnTo>
                    <a:lnTo>
                      <a:pt x="219" y="154"/>
                    </a:lnTo>
                    <a:lnTo>
                      <a:pt x="221" y="154"/>
                    </a:lnTo>
                    <a:lnTo>
                      <a:pt x="219" y="154"/>
                    </a:lnTo>
                    <a:lnTo>
                      <a:pt x="221" y="156"/>
                    </a:lnTo>
                    <a:lnTo>
                      <a:pt x="221" y="154"/>
                    </a:lnTo>
                    <a:lnTo>
                      <a:pt x="221" y="156"/>
                    </a:lnTo>
                    <a:lnTo>
                      <a:pt x="221" y="154"/>
                    </a:lnTo>
                    <a:lnTo>
                      <a:pt x="219" y="154"/>
                    </a:lnTo>
                    <a:lnTo>
                      <a:pt x="219" y="152"/>
                    </a:lnTo>
                    <a:lnTo>
                      <a:pt x="219" y="154"/>
                    </a:lnTo>
                    <a:lnTo>
                      <a:pt x="219" y="152"/>
                    </a:lnTo>
                    <a:lnTo>
                      <a:pt x="221" y="152"/>
                    </a:lnTo>
                    <a:lnTo>
                      <a:pt x="219" y="152"/>
                    </a:lnTo>
                    <a:lnTo>
                      <a:pt x="217" y="152"/>
                    </a:lnTo>
                    <a:lnTo>
                      <a:pt x="217" y="150"/>
                    </a:lnTo>
                    <a:lnTo>
                      <a:pt x="215" y="150"/>
                    </a:lnTo>
                    <a:lnTo>
                      <a:pt x="217" y="150"/>
                    </a:lnTo>
                    <a:lnTo>
                      <a:pt x="219" y="150"/>
                    </a:lnTo>
                    <a:lnTo>
                      <a:pt x="219" y="148"/>
                    </a:lnTo>
                    <a:lnTo>
                      <a:pt x="219" y="150"/>
                    </a:lnTo>
                    <a:lnTo>
                      <a:pt x="217" y="150"/>
                    </a:lnTo>
                    <a:lnTo>
                      <a:pt x="219" y="150"/>
                    </a:lnTo>
                    <a:lnTo>
                      <a:pt x="217" y="150"/>
                    </a:lnTo>
                    <a:lnTo>
                      <a:pt x="217" y="148"/>
                    </a:lnTo>
                    <a:lnTo>
                      <a:pt x="215" y="148"/>
                    </a:lnTo>
                    <a:lnTo>
                      <a:pt x="217" y="148"/>
                    </a:lnTo>
                    <a:lnTo>
                      <a:pt x="215" y="148"/>
                    </a:lnTo>
                    <a:lnTo>
                      <a:pt x="215" y="146"/>
                    </a:lnTo>
                    <a:lnTo>
                      <a:pt x="213" y="146"/>
                    </a:lnTo>
                    <a:lnTo>
                      <a:pt x="215" y="146"/>
                    </a:lnTo>
                    <a:lnTo>
                      <a:pt x="213" y="146"/>
                    </a:lnTo>
                    <a:lnTo>
                      <a:pt x="213" y="144"/>
                    </a:lnTo>
                    <a:lnTo>
                      <a:pt x="213" y="146"/>
                    </a:lnTo>
                    <a:lnTo>
                      <a:pt x="213" y="144"/>
                    </a:lnTo>
                    <a:lnTo>
                      <a:pt x="213" y="142"/>
                    </a:lnTo>
                    <a:lnTo>
                      <a:pt x="211" y="142"/>
                    </a:lnTo>
                    <a:lnTo>
                      <a:pt x="213" y="142"/>
                    </a:lnTo>
                    <a:lnTo>
                      <a:pt x="211" y="142"/>
                    </a:lnTo>
                    <a:lnTo>
                      <a:pt x="213" y="140"/>
                    </a:lnTo>
                    <a:lnTo>
                      <a:pt x="213" y="138"/>
                    </a:lnTo>
                    <a:lnTo>
                      <a:pt x="213" y="140"/>
                    </a:lnTo>
                    <a:lnTo>
                      <a:pt x="213" y="142"/>
                    </a:lnTo>
                    <a:lnTo>
                      <a:pt x="213" y="140"/>
                    </a:lnTo>
                    <a:lnTo>
                      <a:pt x="213" y="142"/>
                    </a:lnTo>
                    <a:lnTo>
                      <a:pt x="215" y="142"/>
                    </a:lnTo>
                    <a:lnTo>
                      <a:pt x="215" y="140"/>
                    </a:lnTo>
                    <a:lnTo>
                      <a:pt x="215" y="142"/>
                    </a:lnTo>
                    <a:lnTo>
                      <a:pt x="215" y="140"/>
                    </a:lnTo>
                    <a:lnTo>
                      <a:pt x="215" y="142"/>
                    </a:lnTo>
                    <a:lnTo>
                      <a:pt x="213" y="142"/>
                    </a:lnTo>
                    <a:lnTo>
                      <a:pt x="213" y="140"/>
                    </a:lnTo>
                    <a:lnTo>
                      <a:pt x="213" y="142"/>
                    </a:lnTo>
                    <a:lnTo>
                      <a:pt x="213" y="140"/>
                    </a:lnTo>
                    <a:lnTo>
                      <a:pt x="215" y="140"/>
                    </a:lnTo>
                    <a:lnTo>
                      <a:pt x="213" y="140"/>
                    </a:lnTo>
                    <a:lnTo>
                      <a:pt x="215" y="140"/>
                    </a:lnTo>
                    <a:lnTo>
                      <a:pt x="215" y="138"/>
                    </a:lnTo>
                    <a:lnTo>
                      <a:pt x="215" y="136"/>
                    </a:lnTo>
                    <a:lnTo>
                      <a:pt x="217" y="136"/>
                    </a:lnTo>
                    <a:lnTo>
                      <a:pt x="215" y="136"/>
                    </a:lnTo>
                    <a:lnTo>
                      <a:pt x="217" y="136"/>
                    </a:lnTo>
                    <a:lnTo>
                      <a:pt x="215" y="136"/>
                    </a:lnTo>
                    <a:lnTo>
                      <a:pt x="217" y="136"/>
                    </a:lnTo>
                    <a:lnTo>
                      <a:pt x="217" y="135"/>
                    </a:lnTo>
                    <a:lnTo>
                      <a:pt x="217" y="136"/>
                    </a:lnTo>
                    <a:lnTo>
                      <a:pt x="217" y="135"/>
                    </a:lnTo>
                    <a:lnTo>
                      <a:pt x="217" y="133"/>
                    </a:lnTo>
                    <a:lnTo>
                      <a:pt x="219" y="133"/>
                    </a:lnTo>
                    <a:lnTo>
                      <a:pt x="219" y="135"/>
                    </a:lnTo>
                    <a:lnTo>
                      <a:pt x="219" y="136"/>
                    </a:lnTo>
                    <a:lnTo>
                      <a:pt x="219" y="135"/>
                    </a:lnTo>
                    <a:lnTo>
                      <a:pt x="219" y="133"/>
                    </a:lnTo>
                    <a:lnTo>
                      <a:pt x="219" y="131"/>
                    </a:lnTo>
                    <a:lnTo>
                      <a:pt x="219" y="133"/>
                    </a:lnTo>
                    <a:lnTo>
                      <a:pt x="221" y="133"/>
                    </a:lnTo>
                    <a:lnTo>
                      <a:pt x="219" y="133"/>
                    </a:lnTo>
                    <a:lnTo>
                      <a:pt x="221" y="133"/>
                    </a:lnTo>
                    <a:lnTo>
                      <a:pt x="221" y="135"/>
                    </a:lnTo>
                    <a:lnTo>
                      <a:pt x="223" y="135"/>
                    </a:lnTo>
                    <a:lnTo>
                      <a:pt x="221" y="135"/>
                    </a:lnTo>
                    <a:lnTo>
                      <a:pt x="221" y="136"/>
                    </a:lnTo>
                    <a:lnTo>
                      <a:pt x="221" y="135"/>
                    </a:lnTo>
                    <a:lnTo>
                      <a:pt x="221" y="136"/>
                    </a:lnTo>
                    <a:lnTo>
                      <a:pt x="223" y="136"/>
                    </a:lnTo>
                    <a:lnTo>
                      <a:pt x="221" y="136"/>
                    </a:lnTo>
                    <a:lnTo>
                      <a:pt x="223" y="135"/>
                    </a:lnTo>
                    <a:lnTo>
                      <a:pt x="224" y="135"/>
                    </a:lnTo>
                    <a:lnTo>
                      <a:pt x="224" y="133"/>
                    </a:lnTo>
                    <a:lnTo>
                      <a:pt x="224" y="135"/>
                    </a:lnTo>
                    <a:lnTo>
                      <a:pt x="224" y="133"/>
                    </a:lnTo>
                    <a:lnTo>
                      <a:pt x="224" y="135"/>
                    </a:lnTo>
                    <a:lnTo>
                      <a:pt x="226" y="135"/>
                    </a:lnTo>
                    <a:lnTo>
                      <a:pt x="224" y="135"/>
                    </a:lnTo>
                    <a:lnTo>
                      <a:pt x="226" y="135"/>
                    </a:lnTo>
                    <a:lnTo>
                      <a:pt x="224" y="135"/>
                    </a:lnTo>
                    <a:lnTo>
                      <a:pt x="226" y="135"/>
                    </a:lnTo>
                    <a:lnTo>
                      <a:pt x="224" y="135"/>
                    </a:lnTo>
                    <a:lnTo>
                      <a:pt x="226" y="135"/>
                    </a:lnTo>
                    <a:lnTo>
                      <a:pt x="224" y="135"/>
                    </a:lnTo>
                    <a:lnTo>
                      <a:pt x="224" y="133"/>
                    </a:lnTo>
                    <a:lnTo>
                      <a:pt x="224" y="131"/>
                    </a:lnTo>
                    <a:lnTo>
                      <a:pt x="223" y="131"/>
                    </a:lnTo>
                    <a:lnTo>
                      <a:pt x="223" y="133"/>
                    </a:lnTo>
                    <a:lnTo>
                      <a:pt x="223" y="131"/>
                    </a:lnTo>
                    <a:lnTo>
                      <a:pt x="223" y="133"/>
                    </a:lnTo>
                    <a:lnTo>
                      <a:pt x="221" y="133"/>
                    </a:lnTo>
                    <a:lnTo>
                      <a:pt x="221" y="131"/>
                    </a:lnTo>
                    <a:lnTo>
                      <a:pt x="221" y="129"/>
                    </a:lnTo>
                    <a:lnTo>
                      <a:pt x="221" y="127"/>
                    </a:lnTo>
                    <a:lnTo>
                      <a:pt x="221" y="125"/>
                    </a:lnTo>
                    <a:lnTo>
                      <a:pt x="221" y="127"/>
                    </a:lnTo>
                    <a:lnTo>
                      <a:pt x="221" y="125"/>
                    </a:lnTo>
                    <a:lnTo>
                      <a:pt x="221" y="127"/>
                    </a:lnTo>
                    <a:lnTo>
                      <a:pt x="221" y="125"/>
                    </a:lnTo>
                    <a:lnTo>
                      <a:pt x="223" y="125"/>
                    </a:lnTo>
                    <a:lnTo>
                      <a:pt x="221" y="125"/>
                    </a:lnTo>
                    <a:lnTo>
                      <a:pt x="221" y="123"/>
                    </a:lnTo>
                    <a:lnTo>
                      <a:pt x="223" y="123"/>
                    </a:lnTo>
                    <a:lnTo>
                      <a:pt x="221" y="123"/>
                    </a:lnTo>
                    <a:lnTo>
                      <a:pt x="223" y="123"/>
                    </a:lnTo>
                    <a:lnTo>
                      <a:pt x="221" y="123"/>
                    </a:lnTo>
                    <a:lnTo>
                      <a:pt x="221" y="121"/>
                    </a:lnTo>
                    <a:lnTo>
                      <a:pt x="219" y="121"/>
                    </a:lnTo>
                    <a:lnTo>
                      <a:pt x="219" y="123"/>
                    </a:lnTo>
                    <a:lnTo>
                      <a:pt x="219" y="121"/>
                    </a:lnTo>
                    <a:lnTo>
                      <a:pt x="219" y="119"/>
                    </a:lnTo>
                    <a:lnTo>
                      <a:pt x="221" y="119"/>
                    </a:lnTo>
                    <a:lnTo>
                      <a:pt x="223" y="119"/>
                    </a:lnTo>
                    <a:lnTo>
                      <a:pt x="221" y="119"/>
                    </a:lnTo>
                    <a:lnTo>
                      <a:pt x="223" y="119"/>
                    </a:lnTo>
                    <a:lnTo>
                      <a:pt x="223" y="121"/>
                    </a:lnTo>
                    <a:lnTo>
                      <a:pt x="221" y="121"/>
                    </a:lnTo>
                    <a:lnTo>
                      <a:pt x="223" y="119"/>
                    </a:lnTo>
                    <a:lnTo>
                      <a:pt x="221" y="119"/>
                    </a:lnTo>
                    <a:lnTo>
                      <a:pt x="221" y="121"/>
                    </a:lnTo>
                    <a:lnTo>
                      <a:pt x="221" y="119"/>
                    </a:lnTo>
                    <a:lnTo>
                      <a:pt x="219" y="119"/>
                    </a:lnTo>
                    <a:lnTo>
                      <a:pt x="219" y="121"/>
                    </a:lnTo>
                    <a:lnTo>
                      <a:pt x="219" y="119"/>
                    </a:lnTo>
                    <a:lnTo>
                      <a:pt x="221" y="119"/>
                    </a:lnTo>
                    <a:lnTo>
                      <a:pt x="219" y="119"/>
                    </a:lnTo>
                    <a:lnTo>
                      <a:pt x="221" y="119"/>
                    </a:lnTo>
                    <a:lnTo>
                      <a:pt x="219" y="119"/>
                    </a:lnTo>
                    <a:lnTo>
                      <a:pt x="219" y="121"/>
                    </a:lnTo>
                    <a:lnTo>
                      <a:pt x="219" y="119"/>
                    </a:lnTo>
                    <a:lnTo>
                      <a:pt x="219" y="121"/>
                    </a:lnTo>
                    <a:lnTo>
                      <a:pt x="221" y="121"/>
                    </a:lnTo>
                    <a:lnTo>
                      <a:pt x="223" y="121"/>
                    </a:lnTo>
                    <a:lnTo>
                      <a:pt x="221" y="121"/>
                    </a:lnTo>
                    <a:lnTo>
                      <a:pt x="223" y="121"/>
                    </a:lnTo>
                    <a:lnTo>
                      <a:pt x="221" y="121"/>
                    </a:lnTo>
                    <a:lnTo>
                      <a:pt x="221" y="123"/>
                    </a:lnTo>
                    <a:lnTo>
                      <a:pt x="221" y="121"/>
                    </a:lnTo>
                    <a:lnTo>
                      <a:pt x="221" y="123"/>
                    </a:lnTo>
                    <a:lnTo>
                      <a:pt x="221" y="121"/>
                    </a:lnTo>
                    <a:lnTo>
                      <a:pt x="221" y="123"/>
                    </a:lnTo>
                    <a:lnTo>
                      <a:pt x="221" y="121"/>
                    </a:lnTo>
                    <a:lnTo>
                      <a:pt x="223" y="123"/>
                    </a:lnTo>
                    <a:lnTo>
                      <a:pt x="223" y="121"/>
                    </a:lnTo>
                    <a:lnTo>
                      <a:pt x="223" y="123"/>
                    </a:lnTo>
                    <a:lnTo>
                      <a:pt x="223" y="121"/>
                    </a:lnTo>
                    <a:lnTo>
                      <a:pt x="223" y="123"/>
                    </a:lnTo>
                    <a:lnTo>
                      <a:pt x="223" y="121"/>
                    </a:lnTo>
                    <a:lnTo>
                      <a:pt x="223" y="123"/>
                    </a:lnTo>
                    <a:lnTo>
                      <a:pt x="223" y="121"/>
                    </a:lnTo>
                    <a:lnTo>
                      <a:pt x="223" y="123"/>
                    </a:lnTo>
                    <a:lnTo>
                      <a:pt x="224" y="123"/>
                    </a:lnTo>
                    <a:lnTo>
                      <a:pt x="223" y="123"/>
                    </a:lnTo>
                    <a:lnTo>
                      <a:pt x="223" y="121"/>
                    </a:lnTo>
                    <a:lnTo>
                      <a:pt x="224" y="121"/>
                    </a:lnTo>
                    <a:lnTo>
                      <a:pt x="223" y="123"/>
                    </a:lnTo>
                    <a:lnTo>
                      <a:pt x="224" y="123"/>
                    </a:lnTo>
                    <a:lnTo>
                      <a:pt x="223" y="123"/>
                    </a:lnTo>
                    <a:lnTo>
                      <a:pt x="224" y="123"/>
                    </a:lnTo>
                    <a:lnTo>
                      <a:pt x="223" y="123"/>
                    </a:lnTo>
                    <a:lnTo>
                      <a:pt x="224" y="125"/>
                    </a:lnTo>
                    <a:lnTo>
                      <a:pt x="224" y="127"/>
                    </a:lnTo>
                    <a:lnTo>
                      <a:pt x="223" y="127"/>
                    </a:lnTo>
                    <a:lnTo>
                      <a:pt x="221" y="127"/>
                    </a:lnTo>
                    <a:lnTo>
                      <a:pt x="223" y="127"/>
                    </a:lnTo>
                    <a:lnTo>
                      <a:pt x="224" y="127"/>
                    </a:lnTo>
                    <a:lnTo>
                      <a:pt x="224" y="129"/>
                    </a:lnTo>
                    <a:lnTo>
                      <a:pt x="224" y="131"/>
                    </a:lnTo>
                    <a:lnTo>
                      <a:pt x="224" y="129"/>
                    </a:lnTo>
                    <a:lnTo>
                      <a:pt x="224" y="127"/>
                    </a:lnTo>
                    <a:lnTo>
                      <a:pt x="226" y="127"/>
                    </a:lnTo>
                    <a:lnTo>
                      <a:pt x="228" y="127"/>
                    </a:lnTo>
                    <a:lnTo>
                      <a:pt x="226" y="127"/>
                    </a:lnTo>
                    <a:lnTo>
                      <a:pt x="228" y="127"/>
                    </a:lnTo>
                    <a:lnTo>
                      <a:pt x="226" y="127"/>
                    </a:lnTo>
                    <a:lnTo>
                      <a:pt x="228" y="127"/>
                    </a:lnTo>
                    <a:lnTo>
                      <a:pt x="228" y="125"/>
                    </a:lnTo>
                    <a:lnTo>
                      <a:pt x="228" y="127"/>
                    </a:lnTo>
                    <a:lnTo>
                      <a:pt x="228" y="125"/>
                    </a:lnTo>
                    <a:lnTo>
                      <a:pt x="228" y="127"/>
                    </a:lnTo>
                    <a:lnTo>
                      <a:pt x="226" y="127"/>
                    </a:lnTo>
                    <a:lnTo>
                      <a:pt x="226" y="125"/>
                    </a:lnTo>
                    <a:lnTo>
                      <a:pt x="224" y="125"/>
                    </a:lnTo>
                    <a:lnTo>
                      <a:pt x="226" y="125"/>
                    </a:lnTo>
                    <a:lnTo>
                      <a:pt x="224" y="125"/>
                    </a:lnTo>
                    <a:lnTo>
                      <a:pt x="224" y="123"/>
                    </a:lnTo>
                    <a:lnTo>
                      <a:pt x="226" y="123"/>
                    </a:lnTo>
                    <a:lnTo>
                      <a:pt x="224" y="123"/>
                    </a:lnTo>
                    <a:lnTo>
                      <a:pt x="224" y="121"/>
                    </a:lnTo>
                    <a:lnTo>
                      <a:pt x="223" y="121"/>
                    </a:lnTo>
                    <a:lnTo>
                      <a:pt x="224" y="119"/>
                    </a:lnTo>
                    <a:lnTo>
                      <a:pt x="224" y="117"/>
                    </a:lnTo>
                    <a:lnTo>
                      <a:pt x="226" y="117"/>
                    </a:lnTo>
                    <a:lnTo>
                      <a:pt x="224" y="117"/>
                    </a:lnTo>
                    <a:lnTo>
                      <a:pt x="223" y="117"/>
                    </a:lnTo>
                    <a:lnTo>
                      <a:pt x="223" y="115"/>
                    </a:lnTo>
                    <a:lnTo>
                      <a:pt x="224" y="115"/>
                    </a:lnTo>
                    <a:lnTo>
                      <a:pt x="224" y="113"/>
                    </a:lnTo>
                    <a:lnTo>
                      <a:pt x="224" y="111"/>
                    </a:lnTo>
                    <a:lnTo>
                      <a:pt x="224" y="113"/>
                    </a:lnTo>
                    <a:lnTo>
                      <a:pt x="224" y="111"/>
                    </a:lnTo>
                    <a:lnTo>
                      <a:pt x="224" y="113"/>
                    </a:lnTo>
                    <a:lnTo>
                      <a:pt x="224" y="111"/>
                    </a:lnTo>
                    <a:lnTo>
                      <a:pt x="224" y="110"/>
                    </a:lnTo>
                    <a:lnTo>
                      <a:pt x="224" y="111"/>
                    </a:lnTo>
                    <a:lnTo>
                      <a:pt x="224" y="110"/>
                    </a:lnTo>
                    <a:lnTo>
                      <a:pt x="224" y="108"/>
                    </a:lnTo>
                    <a:lnTo>
                      <a:pt x="223" y="108"/>
                    </a:lnTo>
                    <a:lnTo>
                      <a:pt x="223" y="106"/>
                    </a:lnTo>
                    <a:lnTo>
                      <a:pt x="224" y="106"/>
                    </a:lnTo>
                    <a:lnTo>
                      <a:pt x="223" y="106"/>
                    </a:lnTo>
                    <a:lnTo>
                      <a:pt x="224" y="106"/>
                    </a:lnTo>
                    <a:lnTo>
                      <a:pt x="223" y="108"/>
                    </a:lnTo>
                    <a:lnTo>
                      <a:pt x="224" y="108"/>
                    </a:lnTo>
                    <a:lnTo>
                      <a:pt x="224" y="106"/>
                    </a:lnTo>
                    <a:lnTo>
                      <a:pt x="224" y="108"/>
                    </a:lnTo>
                    <a:lnTo>
                      <a:pt x="224" y="106"/>
                    </a:lnTo>
                    <a:lnTo>
                      <a:pt x="224" y="108"/>
                    </a:lnTo>
                    <a:lnTo>
                      <a:pt x="224" y="106"/>
                    </a:lnTo>
                    <a:lnTo>
                      <a:pt x="226" y="106"/>
                    </a:lnTo>
                    <a:lnTo>
                      <a:pt x="224" y="106"/>
                    </a:lnTo>
                    <a:lnTo>
                      <a:pt x="226" y="106"/>
                    </a:lnTo>
                    <a:lnTo>
                      <a:pt x="226" y="104"/>
                    </a:lnTo>
                    <a:lnTo>
                      <a:pt x="226" y="106"/>
                    </a:lnTo>
                    <a:lnTo>
                      <a:pt x="226" y="104"/>
                    </a:lnTo>
                    <a:lnTo>
                      <a:pt x="226" y="106"/>
                    </a:lnTo>
                    <a:lnTo>
                      <a:pt x="226" y="104"/>
                    </a:lnTo>
                    <a:lnTo>
                      <a:pt x="226" y="106"/>
                    </a:lnTo>
                    <a:lnTo>
                      <a:pt x="226" y="108"/>
                    </a:lnTo>
                    <a:lnTo>
                      <a:pt x="226" y="110"/>
                    </a:lnTo>
                    <a:lnTo>
                      <a:pt x="226" y="108"/>
                    </a:lnTo>
                    <a:lnTo>
                      <a:pt x="226" y="110"/>
                    </a:lnTo>
                    <a:lnTo>
                      <a:pt x="228" y="110"/>
                    </a:lnTo>
                    <a:lnTo>
                      <a:pt x="226" y="110"/>
                    </a:lnTo>
                    <a:lnTo>
                      <a:pt x="228" y="110"/>
                    </a:lnTo>
                    <a:lnTo>
                      <a:pt x="226" y="110"/>
                    </a:lnTo>
                    <a:lnTo>
                      <a:pt x="224" y="108"/>
                    </a:lnTo>
                    <a:lnTo>
                      <a:pt x="224" y="110"/>
                    </a:lnTo>
                    <a:lnTo>
                      <a:pt x="226" y="110"/>
                    </a:lnTo>
                    <a:lnTo>
                      <a:pt x="226" y="111"/>
                    </a:lnTo>
                    <a:lnTo>
                      <a:pt x="226" y="113"/>
                    </a:lnTo>
                    <a:lnTo>
                      <a:pt x="224" y="113"/>
                    </a:lnTo>
                    <a:lnTo>
                      <a:pt x="226" y="113"/>
                    </a:lnTo>
                    <a:lnTo>
                      <a:pt x="226" y="115"/>
                    </a:lnTo>
                    <a:lnTo>
                      <a:pt x="226" y="113"/>
                    </a:lnTo>
                    <a:lnTo>
                      <a:pt x="226" y="115"/>
                    </a:lnTo>
                    <a:lnTo>
                      <a:pt x="226" y="117"/>
                    </a:lnTo>
                    <a:lnTo>
                      <a:pt x="226" y="115"/>
                    </a:lnTo>
                    <a:lnTo>
                      <a:pt x="228" y="115"/>
                    </a:lnTo>
                    <a:lnTo>
                      <a:pt x="226" y="115"/>
                    </a:lnTo>
                    <a:lnTo>
                      <a:pt x="226" y="113"/>
                    </a:lnTo>
                    <a:lnTo>
                      <a:pt x="228" y="113"/>
                    </a:lnTo>
                    <a:lnTo>
                      <a:pt x="226" y="113"/>
                    </a:lnTo>
                    <a:lnTo>
                      <a:pt x="228" y="113"/>
                    </a:lnTo>
                    <a:lnTo>
                      <a:pt x="230" y="113"/>
                    </a:lnTo>
                    <a:lnTo>
                      <a:pt x="232" y="113"/>
                    </a:lnTo>
                    <a:lnTo>
                      <a:pt x="234" y="113"/>
                    </a:lnTo>
                    <a:lnTo>
                      <a:pt x="234" y="115"/>
                    </a:lnTo>
                    <a:lnTo>
                      <a:pt x="234" y="117"/>
                    </a:lnTo>
                    <a:lnTo>
                      <a:pt x="236" y="117"/>
                    </a:lnTo>
                    <a:lnTo>
                      <a:pt x="234" y="117"/>
                    </a:lnTo>
                    <a:lnTo>
                      <a:pt x="234" y="115"/>
                    </a:lnTo>
                    <a:lnTo>
                      <a:pt x="234" y="113"/>
                    </a:lnTo>
                    <a:lnTo>
                      <a:pt x="236" y="113"/>
                    </a:lnTo>
                    <a:lnTo>
                      <a:pt x="236" y="111"/>
                    </a:lnTo>
                    <a:lnTo>
                      <a:pt x="236" y="110"/>
                    </a:lnTo>
                    <a:lnTo>
                      <a:pt x="238" y="110"/>
                    </a:lnTo>
                    <a:lnTo>
                      <a:pt x="236" y="110"/>
                    </a:lnTo>
                    <a:lnTo>
                      <a:pt x="238" y="110"/>
                    </a:lnTo>
                    <a:lnTo>
                      <a:pt x="236" y="110"/>
                    </a:lnTo>
                    <a:lnTo>
                      <a:pt x="236" y="111"/>
                    </a:lnTo>
                    <a:lnTo>
                      <a:pt x="234" y="111"/>
                    </a:lnTo>
                    <a:lnTo>
                      <a:pt x="236" y="111"/>
                    </a:lnTo>
                    <a:lnTo>
                      <a:pt x="234" y="111"/>
                    </a:lnTo>
                    <a:lnTo>
                      <a:pt x="232" y="111"/>
                    </a:lnTo>
                    <a:lnTo>
                      <a:pt x="230" y="111"/>
                    </a:lnTo>
                    <a:lnTo>
                      <a:pt x="230" y="110"/>
                    </a:lnTo>
                    <a:lnTo>
                      <a:pt x="232" y="110"/>
                    </a:lnTo>
                    <a:lnTo>
                      <a:pt x="230" y="110"/>
                    </a:lnTo>
                    <a:lnTo>
                      <a:pt x="230" y="111"/>
                    </a:lnTo>
                    <a:lnTo>
                      <a:pt x="228" y="110"/>
                    </a:lnTo>
                    <a:lnTo>
                      <a:pt x="228" y="108"/>
                    </a:lnTo>
                    <a:lnTo>
                      <a:pt x="228" y="110"/>
                    </a:lnTo>
                    <a:lnTo>
                      <a:pt x="226" y="110"/>
                    </a:lnTo>
                    <a:lnTo>
                      <a:pt x="226" y="108"/>
                    </a:lnTo>
                    <a:lnTo>
                      <a:pt x="228" y="108"/>
                    </a:lnTo>
                    <a:lnTo>
                      <a:pt x="226" y="108"/>
                    </a:lnTo>
                    <a:lnTo>
                      <a:pt x="228" y="108"/>
                    </a:lnTo>
                    <a:lnTo>
                      <a:pt x="226" y="108"/>
                    </a:lnTo>
                    <a:lnTo>
                      <a:pt x="228" y="108"/>
                    </a:lnTo>
                    <a:lnTo>
                      <a:pt x="228" y="106"/>
                    </a:lnTo>
                    <a:lnTo>
                      <a:pt x="228" y="108"/>
                    </a:lnTo>
                    <a:lnTo>
                      <a:pt x="228" y="106"/>
                    </a:lnTo>
                    <a:lnTo>
                      <a:pt x="228" y="108"/>
                    </a:lnTo>
                    <a:lnTo>
                      <a:pt x="228" y="106"/>
                    </a:lnTo>
                    <a:lnTo>
                      <a:pt x="230" y="106"/>
                    </a:lnTo>
                    <a:lnTo>
                      <a:pt x="230" y="104"/>
                    </a:lnTo>
                    <a:lnTo>
                      <a:pt x="228" y="104"/>
                    </a:lnTo>
                    <a:lnTo>
                      <a:pt x="230" y="106"/>
                    </a:lnTo>
                    <a:lnTo>
                      <a:pt x="228" y="106"/>
                    </a:lnTo>
                    <a:lnTo>
                      <a:pt x="228" y="104"/>
                    </a:lnTo>
                    <a:lnTo>
                      <a:pt x="228" y="102"/>
                    </a:lnTo>
                    <a:lnTo>
                      <a:pt x="226" y="102"/>
                    </a:lnTo>
                    <a:lnTo>
                      <a:pt x="226" y="104"/>
                    </a:lnTo>
                    <a:lnTo>
                      <a:pt x="226" y="102"/>
                    </a:lnTo>
                    <a:lnTo>
                      <a:pt x="232" y="104"/>
                    </a:lnTo>
                    <a:lnTo>
                      <a:pt x="236" y="108"/>
                    </a:lnTo>
                    <a:lnTo>
                      <a:pt x="238" y="110"/>
                    </a:lnTo>
                    <a:lnTo>
                      <a:pt x="240" y="110"/>
                    </a:lnTo>
                    <a:lnTo>
                      <a:pt x="244" y="110"/>
                    </a:lnTo>
                    <a:lnTo>
                      <a:pt x="246" y="110"/>
                    </a:lnTo>
                    <a:lnTo>
                      <a:pt x="247" y="111"/>
                    </a:lnTo>
                    <a:lnTo>
                      <a:pt x="247" y="113"/>
                    </a:lnTo>
                    <a:lnTo>
                      <a:pt x="249" y="113"/>
                    </a:lnTo>
                    <a:lnTo>
                      <a:pt x="249" y="115"/>
                    </a:lnTo>
                    <a:lnTo>
                      <a:pt x="249" y="117"/>
                    </a:lnTo>
                    <a:lnTo>
                      <a:pt x="249" y="119"/>
                    </a:lnTo>
                    <a:lnTo>
                      <a:pt x="247" y="119"/>
                    </a:lnTo>
                    <a:lnTo>
                      <a:pt x="246" y="121"/>
                    </a:lnTo>
                    <a:lnTo>
                      <a:pt x="246" y="123"/>
                    </a:lnTo>
                    <a:lnTo>
                      <a:pt x="244" y="123"/>
                    </a:lnTo>
                    <a:lnTo>
                      <a:pt x="244" y="125"/>
                    </a:lnTo>
                    <a:lnTo>
                      <a:pt x="244" y="127"/>
                    </a:lnTo>
                    <a:lnTo>
                      <a:pt x="242" y="129"/>
                    </a:lnTo>
                    <a:lnTo>
                      <a:pt x="242" y="131"/>
                    </a:lnTo>
                    <a:lnTo>
                      <a:pt x="242" y="133"/>
                    </a:lnTo>
                    <a:lnTo>
                      <a:pt x="244" y="133"/>
                    </a:lnTo>
                    <a:lnTo>
                      <a:pt x="246" y="135"/>
                    </a:lnTo>
                    <a:lnTo>
                      <a:pt x="247" y="135"/>
                    </a:lnTo>
                    <a:lnTo>
                      <a:pt x="247" y="136"/>
                    </a:lnTo>
                    <a:lnTo>
                      <a:pt x="249" y="136"/>
                    </a:lnTo>
                    <a:lnTo>
                      <a:pt x="249" y="138"/>
                    </a:lnTo>
                    <a:lnTo>
                      <a:pt x="251" y="140"/>
                    </a:lnTo>
                    <a:lnTo>
                      <a:pt x="251" y="142"/>
                    </a:lnTo>
                    <a:lnTo>
                      <a:pt x="249" y="142"/>
                    </a:lnTo>
                    <a:lnTo>
                      <a:pt x="251" y="142"/>
                    </a:lnTo>
                    <a:lnTo>
                      <a:pt x="253" y="142"/>
                    </a:lnTo>
                    <a:lnTo>
                      <a:pt x="255" y="142"/>
                    </a:lnTo>
                    <a:lnTo>
                      <a:pt x="255" y="144"/>
                    </a:lnTo>
                    <a:lnTo>
                      <a:pt x="257" y="144"/>
                    </a:lnTo>
                    <a:lnTo>
                      <a:pt x="259" y="144"/>
                    </a:lnTo>
                    <a:lnTo>
                      <a:pt x="259" y="146"/>
                    </a:lnTo>
                    <a:lnTo>
                      <a:pt x="261" y="146"/>
                    </a:lnTo>
                    <a:lnTo>
                      <a:pt x="263" y="146"/>
                    </a:lnTo>
                    <a:lnTo>
                      <a:pt x="263" y="148"/>
                    </a:lnTo>
                    <a:lnTo>
                      <a:pt x="263" y="150"/>
                    </a:lnTo>
                    <a:lnTo>
                      <a:pt x="265" y="150"/>
                    </a:lnTo>
                    <a:lnTo>
                      <a:pt x="265" y="148"/>
                    </a:lnTo>
                    <a:lnTo>
                      <a:pt x="267" y="148"/>
                    </a:lnTo>
                    <a:lnTo>
                      <a:pt x="269" y="146"/>
                    </a:lnTo>
                    <a:lnTo>
                      <a:pt x="271" y="146"/>
                    </a:lnTo>
                    <a:lnTo>
                      <a:pt x="274" y="144"/>
                    </a:lnTo>
                    <a:lnTo>
                      <a:pt x="276" y="144"/>
                    </a:lnTo>
                    <a:lnTo>
                      <a:pt x="276" y="142"/>
                    </a:lnTo>
                    <a:lnTo>
                      <a:pt x="284" y="138"/>
                    </a:lnTo>
                    <a:lnTo>
                      <a:pt x="286" y="138"/>
                    </a:lnTo>
                    <a:lnTo>
                      <a:pt x="288" y="138"/>
                    </a:lnTo>
                    <a:lnTo>
                      <a:pt x="290" y="140"/>
                    </a:lnTo>
                    <a:lnTo>
                      <a:pt x="292" y="142"/>
                    </a:lnTo>
                    <a:lnTo>
                      <a:pt x="294" y="144"/>
                    </a:lnTo>
                    <a:lnTo>
                      <a:pt x="294" y="146"/>
                    </a:lnTo>
                    <a:lnTo>
                      <a:pt x="296" y="146"/>
                    </a:lnTo>
                    <a:lnTo>
                      <a:pt x="297" y="146"/>
                    </a:lnTo>
                    <a:lnTo>
                      <a:pt x="297" y="144"/>
                    </a:lnTo>
                    <a:lnTo>
                      <a:pt x="297" y="142"/>
                    </a:lnTo>
                    <a:lnTo>
                      <a:pt x="299" y="142"/>
                    </a:lnTo>
                    <a:lnTo>
                      <a:pt x="301" y="140"/>
                    </a:lnTo>
                    <a:lnTo>
                      <a:pt x="301" y="138"/>
                    </a:lnTo>
                    <a:lnTo>
                      <a:pt x="299" y="138"/>
                    </a:lnTo>
                    <a:lnTo>
                      <a:pt x="299" y="136"/>
                    </a:lnTo>
                    <a:lnTo>
                      <a:pt x="299" y="133"/>
                    </a:lnTo>
                    <a:lnTo>
                      <a:pt x="301" y="133"/>
                    </a:lnTo>
                    <a:lnTo>
                      <a:pt x="305" y="133"/>
                    </a:lnTo>
                    <a:lnTo>
                      <a:pt x="307" y="133"/>
                    </a:lnTo>
                    <a:lnTo>
                      <a:pt x="309" y="133"/>
                    </a:lnTo>
                    <a:lnTo>
                      <a:pt x="311" y="133"/>
                    </a:lnTo>
                    <a:lnTo>
                      <a:pt x="311" y="135"/>
                    </a:lnTo>
                    <a:lnTo>
                      <a:pt x="311" y="138"/>
                    </a:lnTo>
                    <a:lnTo>
                      <a:pt x="317" y="140"/>
                    </a:lnTo>
                    <a:lnTo>
                      <a:pt x="319" y="140"/>
                    </a:lnTo>
                    <a:lnTo>
                      <a:pt x="320" y="140"/>
                    </a:lnTo>
                    <a:lnTo>
                      <a:pt x="320" y="142"/>
                    </a:lnTo>
                    <a:lnTo>
                      <a:pt x="322" y="142"/>
                    </a:lnTo>
                    <a:lnTo>
                      <a:pt x="322" y="144"/>
                    </a:lnTo>
                    <a:lnTo>
                      <a:pt x="322" y="146"/>
                    </a:lnTo>
                    <a:lnTo>
                      <a:pt x="324" y="146"/>
                    </a:lnTo>
                    <a:lnTo>
                      <a:pt x="328" y="148"/>
                    </a:lnTo>
                    <a:lnTo>
                      <a:pt x="330" y="148"/>
                    </a:lnTo>
                    <a:lnTo>
                      <a:pt x="332" y="146"/>
                    </a:lnTo>
                    <a:lnTo>
                      <a:pt x="334" y="148"/>
                    </a:lnTo>
                    <a:lnTo>
                      <a:pt x="336" y="150"/>
                    </a:lnTo>
                    <a:lnTo>
                      <a:pt x="338" y="154"/>
                    </a:lnTo>
                    <a:lnTo>
                      <a:pt x="338" y="156"/>
                    </a:lnTo>
                    <a:lnTo>
                      <a:pt x="342" y="156"/>
                    </a:lnTo>
                    <a:lnTo>
                      <a:pt x="344" y="158"/>
                    </a:lnTo>
                    <a:lnTo>
                      <a:pt x="345" y="160"/>
                    </a:lnTo>
                    <a:lnTo>
                      <a:pt x="344" y="165"/>
                    </a:lnTo>
                    <a:lnTo>
                      <a:pt x="342" y="167"/>
                    </a:lnTo>
                    <a:lnTo>
                      <a:pt x="340" y="167"/>
                    </a:lnTo>
                    <a:lnTo>
                      <a:pt x="336" y="169"/>
                    </a:lnTo>
                    <a:lnTo>
                      <a:pt x="336" y="171"/>
                    </a:lnTo>
                    <a:lnTo>
                      <a:pt x="336" y="173"/>
                    </a:lnTo>
                    <a:lnTo>
                      <a:pt x="338" y="173"/>
                    </a:lnTo>
                    <a:lnTo>
                      <a:pt x="338" y="175"/>
                    </a:lnTo>
                    <a:lnTo>
                      <a:pt x="340" y="175"/>
                    </a:lnTo>
                    <a:lnTo>
                      <a:pt x="338" y="179"/>
                    </a:lnTo>
                    <a:lnTo>
                      <a:pt x="340" y="183"/>
                    </a:lnTo>
                    <a:lnTo>
                      <a:pt x="340" y="185"/>
                    </a:lnTo>
                    <a:lnTo>
                      <a:pt x="340" y="186"/>
                    </a:lnTo>
                    <a:lnTo>
                      <a:pt x="342" y="192"/>
                    </a:lnTo>
                    <a:lnTo>
                      <a:pt x="347" y="194"/>
                    </a:lnTo>
                    <a:lnTo>
                      <a:pt x="349" y="194"/>
                    </a:lnTo>
                    <a:lnTo>
                      <a:pt x="351" y="194"/>
                    </a:lnTo>
                    <a:lnTo>
                      <a:pt x="353" y="196"/>
                    </a:lnTo>
                    <a:lnTo>
                      <a:pt x="355" y="196"/>
                    </a:lnTo>
                    <a:lnTo>
                      <a:pt x="355" y="198"/>
                    </a:lnTo>
                    <a:lnTo>
                      <a:pt x="355" y="200"/>
                    </a:lnTo>
                    <a:lnTo>
                      <a:pt x="357" y="202"/>
                    </a:lnTo>
                    <a:lnTo>
                      <a:pt x="357" y="204"/>
                    </a:lnTo>
                    <a:lnTo>
                      <a:pt x="355" y="211"/>
                    </a:lnTo>
                    <a:lnTo>
                      <a:pt x="351" y="229"/>
                    </a:lnTo>
                    <a:lnTo>
                      <a:pt x="361" y="227"/>
                    </a:lnTo>
                    <a:lnTo>
                      <a:pt x="363" y="227"/>
                    </a:lnTo>
                    <a:lnTo>
                      <a:pt x="365" y="229"/>
                    </a:lnTo>
                    <a:lnTo>
                      <a:pt x="369" y="225"/>
                    </a:lnTo>
                    <a:lnTo>
                      <a:pt x="372" y="227"/>
                    </a:lnTo>
                    <a:lnTo>
                      <a:pt x="374" y="227"/>
                    </a:lnTo>
                    <a:lnTo>
                      <a:pt x="376" y="227"/>
                    </a:lnTo>
                    <a:lnTo>
                      <a:pt x="378" y="229"/>
                    </a:lnTo>
                    <a:lnTo>
                      <a:pt x="380" y="229"/>
                    </a:lnTo>
                    <a:lnTo>
                      <a:pt x="382" y="229"/>
                    </a:lnTo>
                    <a:lnTo>
                      <a:pt x="384" y="229"/>
                    </a:lnTo>
                    <a:lnTo>
                      <a:pt x="388" y="227"/>
                    </a:lnTo>
                    <a:lnTo>
                      <a:pt x="390" y="223"/>
                    </a:lnTo>
                    <a:lnTo>
                      <a:pt x="395" y="223"/>
                    </a:lnTo>
                    <a:lnTo>
                      <a:pt x="395" y="225"/>
                    </a:lnTo>
                    <a:lnTo>
                      <a:pt x="395" y="227"/>
                    </a:lnTo>
                    <a:lnTo>
                      <a:pt x="399" y="231"/>
                    </a:lnTo>
                    <a:lnTo>
                      <a:pt x="399" y="236"/>
                    </a:lnTo>
                    <a:lnTo>
                      <a:pt x="403" y="240"/>
                    </a:lnTo>
                    <a:lnTo>
                      <a:pt x="405" y="242"/>
                    </a:lnTo>
                    <a:lnTo>
                      <a:pt x="411" y="242"/>
                    </a:lnTo>
                    <a:lnTo>
                      <a:pt x="417" y="244"/>
                    </a:lnTo>
                    <a:lnTo>
                      <a:pt x="420" y="246"/>
                    </a:lnTo>
                    <a:lnTo>
                      <a:pt x="422" y="246"/>
                    </a:lnTo>
                    <a:lnTo>
                      <a:pt x="426" y="250"/>
                    </a:lnTo>
                    <a:lnTo>
                      <a:pt x="426" y="252"/>
                    </a:lnTo>
                    <a:lnTo>
                      <a:pt x="428" y="254"/>
                    </a:lnTo>
                    <a:lnTo>
                      <a:pt x="430" y="256"/>
                    </a:lnTo>
                    <a:lnTo>
                      <a:pt x="434" y="258"/>
                    </a:lnTo>
                    <a:lnTo>
                      <a:pt x="440" y="260"/>
                    </a:lnTo>
                    <a:lnTo>
                      <a:pt x="442" y="260"/>
                    </a:lnTo>
                    <a:lnTo>
                      <a:pt x="443" y="258"/>
                    </a:lnTo>
                    <a:lnTo>
                      <a:pt x="445" y="258"/>
                    </a:lnTo>
                    <a:lnTo>
                      <a:pt x="447" y="258"/>
                    </a:lnTo>
                    <a:lnTo>
                      <a:pt x="449" y="258"/>
                    </a:lnTo>
                    <a:lnTo>
                      <a:pt x="451" y="258"/>
                    </a:lnTo>
                    <a:lnTo>
                      <a:pt x="453" y="258"/>
                    </a:lnTo>
                    <a:lnTo>
                      <a:pt x="455" y="258"/>
                    </a:lnTo>
                    <a:lnTo>
                      <a:pt x="457" y="258"/>
                    </a:lnTo>
                    <a:lnTo>
                      <a:pt x="459" y="260"/>
                    </a:lnTo>
                    <a:lnTo>
                      <a:pt x="461" y="260"/>
                    </a:lnTo>
                    <a:lnTo>
                      <a:pt x="463" y="258"/>
                    </a:lnTo>
                    <a:lnTo>
                      <a:pt x="465" y="258"/>
                    </a:lnTo>
                    <a:lnTo>
                      <a:pt x="468" y="260"/>
                    </a:lnTo>
                    <a:lnTo>
                      <a:pt x="468" y="261"/>
                    </a:lnTo>
                    <a:lnTo>
                      <a:pt x="470" y="263"/>
                    </a:lnTo>
                    <a:lnTo>
                      <a:pt x="472" y="263"/>
                    </a:lnTo>
                    <a:lnTo>
                      <a:pt x="474" y="265"/>
                    </a:lnTo>
                    <a:lnTo>
                      <a:pt x="476" y="267"/>
                    </a:lnTo>
                    <a:lnTo>
                      <a:pt x="478" y="269"/>
                    </a:lnTo>
                    <a:lnTo>
                      <a:pt x="478" y="271"/>
                    </a:lnTo>
                    <a:lnTo>
                      <a:pt x="480" y="271"/>
                    </a:lnTo>
                    <a:lnTo>
                      <a:pt x="488" y="267"/>
                    </a:lnTo>
                    <a:lnTo>
                      <a:pt x="488" y="269"/>
                    </a:lnTo>
                    <a:lnTo>
                      <a:pt x="491" y="271"/>
                    </a:lnTo>
                    <a:lnTo>
                      <a:pt x="493" y="273"/>
                    </a:lnTo>
                    <a:lnTo>
                      <a:pt x="497" y="275"/>
                    </a:lnTo>
                    <a:lnTo>
                      <a:pt x="497" y="279"/>
                    </a:lnTo>
                    <a:lnTo>
                      <a:pt x="497" y="285"/>
                    </a:lnTo>
                    <a:lnTo>
                      <a:pt x="499" y="285"/>
                    </a:lnTo>
                    <a:lnTo>
                      <a:pt x="499" y="286"/>
                    </a:lnTo>
                    <a:lnTo>
                      <a:pt x="499" y="288"/>
                    </a:lnTo>
                    <a:lnTo>
                      <a:pt x="501" y="290"/>
                    </a:lnTo>
                    <a:lnTo>
                      <a:pt x="505" y="294"/>
                    </a:lnTo>
                    <a:lnTo>
                      <a:pt x="507" y="296"/>
                    </a:lnTo>
                    <a:lnTo>
                      <a:pt x="509" y="296"/>
                    </a:lnTo>
                    <a:lnTo>
                      <a:pt x="511" y="300"/>
                    </a:lnTo>
                    <a:lnTo>
                      <a:pt x="513" y="300"/>
                    </a:lnTo>
                    <a:lnTo>
                      <a:pt x="516" y="304"/>
                    </a:lnTo>
                    <a:lnTo>
                      <a:pt x="518" y="308"/>
                    </a:lnTo>
                    <a:lnTo>
                      <a:pt x="520" y="311"/>
                    </a:lnTo>
                    <a:lnTo>
                      <a:pt x="522" y="311"/>
                    </a:lnTo>
                    <a:lnTo>
                      <a:pt x="522" y="310"/>
                    </a:lnTo>
                    <a:lnTo>
                      <a:pt x="524" y="310"/>
                    </a:lnTo>
                    <a:lnTo>
                      <a:pt x="526" y="310"/>
                    </a:lnTo>
                    <a:lnTo>
                      <a:pt x="530" y="308"/>
                    </a:lnTo>
                    <a:lnTo>
                      <a:pt x="532" y="308"/>
                    </a:lnTo>
                    <a:lnTo>
                      <a:pt x="534" y="308"/>
                    </a:lnTo>
                    <a:lnTo>
                      <a:pt x="536" y="308"/>
                    </a:lnTo>
                    <a:lnTo>
                      <a:pt x="539" y="306"/>
                    </a:lnTo>
                    <a:lnTo>
                      <a:pt x="541" y="306"/>
                    </a:lnTo>
                    <a:lnTo>
                      <a:pt x="543" y="306"/>
                    </a:lnTo>
                    <a:lnTo>
                      <a:pt x="549" y="308"/>
                    </a:lnTo>
                    <a:lnTo>
                      <a:pt x="555" y="308"/>
                    </a:lnTo>
                    <a:lnTo>
                      <a:pt x="561" y="310"/>
                    </a:lnTo>
                    <a:lnTo>
                      <a:pt x="564" y="310"/>
                    </a:lnTo>
                    <a:lnTo>
                      <a:pt x="570" y="311"/>
                    </a:lnTo>
                    <a:lnTo>
                      <a:pt x="572" y="311"/>
                    </a:lnTo>
                    <a:lnTo>
                      <a:pt x="572" y="310"/>
                    </a:lnTo>
                    <a:lnTo>
                      <a:pt x="574" y="304"/>
                    </a:lnTo>
                    <a:lnTo>
                      <a:pt x="574" y="302"/>
                    </a:lnTo>
                    <a:lnTo>
                      <a:pt x="574" y="300"/>
                    </a:lnTo>
                    <a:lnTo>
                      <a:pt x="576" y="298"/>
                    </a:lnTo>
                    <a:lnTo>
                      <a:pt x="578" y="298"/>
                    </a:lnTo>
                    <a:lnTo>
                      <a:pt x="580" y="298"/>
                    </a:lnTo>
                    <a:lnTo>
                      <a:pt x="582" y="298"/>
                    </a:lnTo>
                    <a:lnTo>
                      <a:pt x="582" y="296"/>
                    </a:lnTo>
                    <a:lnTo>
                      <a:pt x="584" y="296"/>
                    </a:lnTo>
                    <a:lnTo>
                      <a:pt x="588" y="294"/>
                    </a:lnTo>
                    <a:lnTo>
                      <a:pt x="588" y="292"/>
                    </a:lnTo>
                    <a:lnTo>
                      <a:pt x="589" y="292"/>
                    </a:lnTo>
                    <a:lnTo>
                      <a:pt x="591" y="290"/>
                    </a:lnTo>
                    <a:lnTo>
                      <a:pt x="593" y="288"/>
                    </a:lnTo>
                    <a:lnTo>
                      <a:pt x="595" y="288"/>
                    </a:lnTo>
                    <a:lnTo>
                      <a:pt x="597" y="286"/>
                    </a:lnTo>
                    <a:lnTo>
                      <a:pt x="597" y="285"/>
                    </a:lnTo>
                    <a:lnTo>
                      <a:pt x="597" y="283"/>
                    </a:lnTo>
                    <a:lnTo>
                      <a:pt x="601" y="281"/>
                    </a:lnTo>
                    <a:lnTo>
                      <a:pt x="607" y="281"/>
                    </a:lnTo>
                    <a:lnTo>
                      <a:pt x="611" y="281"/>
                    </a:lnTo>
                    <a:lnTo>
                      <a:pt x="609" y="286"/>
                    </a:lnTo>
                    <a:lnTo>
                      <a:pt x="611" y="290"/>
                    </a:lnTo>
                    <a:lnTo>
                      <a:pt x="611" y="292"/>
                    </a:lnTo>
                    <a:lnTo>
                      <a:pt x="613" y="294"/>
                    </a:lnTo>
                    <a:lnTo>
                      <a:pt x="613" y="296"/>
                    </a:lnTo>
                    <a:lnTo>
                      <a:pt x="614" y="296"/>
                    </a:lnTo>
                    <a:lnTo>
                      <a:pt x="614" y="298"/>
                    </a:lnTo>
                    <a:lnTo>
                      <a:pt x="614" y="300"/>
                    </a:lnTo>
                    <a:lnTo>
                      <a:pt x="614" y="302"/>
                    </a:lnTo>
                    <a:lnTo>
                      <a:pt x="616" y="304"/>
                    </a:lnTo>
                    <a:lnTo>
                      <a:pt x="618" y="304"/>
                    </a:lnTo>
                    <a:lnTo>
                      <a:pt x="620" y="306"/>
                    </a:lnTo>
                    <a:lnTo>
                      <a:pt x="622" y="308"/>
                    </a:lnTo>
                    <a:lnTo>
                      <a:pt x="622" y="310"/>
                    </a:lnTo>
                    <a:lnTo>
                      <a:pt x="624" y="311"/>
                    </a:lnTo>
                    <a:lnTo>
                      <a:pt x="628" y="313"/>
                    </a:lnTo>
                    <a:lnTo>
                      <a:pt x="630" y="313"/>
                    </a:lnTo>
                    <a:lnTo>
                      <a:pt x="632" y="310"/>
                    </a:lnTo>
                    <a:lnTo>
                      <a:pt x="636" y="310"/>
                    </a:lnTo>
                    <a:lnTo>
                      <a:pt x="637" y="308"/>
                    </a:lnTo>
                    <a:lnTo>
                      <a:pt x="641" y="310"/>
                    </a:lnTo>
                    <a:lnTo>
                      <a:pt x="645" y="311"/>
                    </a:lnTo>
                    <a:lnTo>
                      <a:pt x="647" y="311"/>
                    </a:lnTo>
                    <a:lnTo>
                      <a:pt x="649" y="311"/>
                    </a:lnTo>
                    <a:lnTo>
                      <a:pt x="655" y="313"/>
                    </a:lnTo>
                    <a:lnTo>
                      <a:pt x="653" y="319"/>
                    </a:lnTo>
                    <a:lnTo>
                      <a:pt x="661" y="323"/>
                    </a:lnTo>
                    <a:lnTo>
                      <a:pt x="661" y="325"/>
                    </a:lnTo>
                    <a:lnTo>
                      <a:pt x="661" y="327"/>
                    </a:lnTo>
                    <a:lnTo>
                      <a:pt x="661" y="329"/>
                    </a:lnTo>
                    <a:lnTo>
                      <a:pt x="666" y="334"/>
                    </a:lnTo>
                    <a:lnTo>
                      <a:pt x="668" y="334"/>
                    </a:lnTo>
                    <a:lnTo>
                      <a:pt x="674" y="331"/>
                    </a:lnTo>
                    <a:lnTo>
                      <a:pt x="676" y="333"/>
                    </a:lnTo>
                    <a:lnTo>
                      <a:pt x="678" y="333"/>
                    </a:lnTo>
                    <a:lnTo>
                      <a:pt x="682" y="329"/>
                    </a:lnTo>
                    <a:lnTo>
                      <a:pt x="686" y="333"/>
                    </a:lnTo>
                    <a:lnTo>
                      <a:pt x="686" y="334"/>
                    </a:lnTo>
                    <a:lnTo>
                      <a:pt x="687" y="336"/>
                    </a:lnTo>
                    <a:lnTo>
                      <a:pt x="687" y="338"/>
                    </a:lnTo>
                    <a:lnTo>
                      <a:pt x="687" y="340"/>
                    </a:lnTo>
                    <a:lnTo>
                      <a:pt x="689" y="342"/>
                    </a:lnTo>
                    <a:lnTo>
                      <a:pt x="693" y="342"/>
                    </a:lnTo>
                    <a:lnTo>
                      <a:pt x="695" y="344"/>
                    </a:lnTo>
                    <a:lnTo>
                      <a:pt x="695" y="346"/>
                    </a:lnTo>
                    <a:lnTo>
                      <a:pt x="695" y="348"/>
                    </a:lnTo>
                    <a:lnTo>
                      <a:pt x="695" y="350"/>
                    </a:lnTo>
                    <a:lnTo>
                      <a:pt x="697" y="352"/>
                    </a:lnTo>
                    <a:lnTo>
                      <a:pt x="697" y="354"/>
                    </a:lnTo>
                    <a:lnTo>
                      <a:pt x="697" y="356"/>
                    </a:lnTo>
                    <a:lnTo>
                      <a:pt x="699" y="359"/>
                    </a:lnTo>
                    <a:lnTo>
                      <a:pt x="699" y="361"/>
                    </a:lnTo>
                    <a:lnTo>
                      <a:pt x="699" y="365"/>
                    </a:lnTo>
                    <a:lnTo>
                      <a:pt x="699" y="367"/>
                    </a:lnTo>
                    <a:lnTo>
                      <a:pt x="699" y="369"/>
                    </a:lnTo>
                    <a:lnTo>
                      <a:pt x="697" y="371"/>
                    </a:lnTo>
                    <a:lnTo>
                      <a:pt x="699" y="373"/>
                    </a:lnTo>
                    <a:lnTo>
                      <a:pt x="699" y="375"/>
                    </a:lnTo>
                    <a:lnTo>
                      <a:pt x="701" y="377"/>
                    </a:lnTo>
                    <a:lnTo>
                      <a:pt x="701" y="379"/>
                    </a:lnTo>
                    <a:lnTo>
                      <a:pt x="701" y="381"/>
                    </a:lnTo>
                    <a:lnTo>
                      <a:pt x="703" y="383"/>
                    </a:lnTo>
                    <a:lnTo>
                      <a:pt x="705" y="383"/>
                    </a:lnTo>
                    <a:lnTo>
                      <a:pt x="707" y="383"/>
                    </a:lnTo>
                    <a:lnTo>
                      <a:pt x="709" y="383"/>
                    </a:lnTo>
                    <a:lnTo>
                      <a:pt x="710" y="383"/>
                    </a:lnTo>
                    <a:lnTo>
                      <a:pt x="712" y="384"/>
                    </a:lnTo>
                    <a:lnTo>
                      <a:pt x="714" y="386"/>
                    </a:lnTo>
                    <a:lnTo>
                      <a:pt x="714" y="388"/>
                    </a:lnTo>
                    <a:lnTo>
                      <a:pt x="716" y="390"/>
                    </a:lnTo>
                    <a:lnTo>
                      <a:pt x="718" y="390"/>
                    </a:lnTo>
                    <a:lnTo>
                      <a:pt x="720" y="390"/>
                    </a:lnTo>
                    <a:lnTo>
                      <a:pt x="722" y="390"/>
                    </a:lnTo>
                    <a:lnTo>
                      <a:pt x="724" y="394"/>
                    </a:lnTo>
                    <a:lnTo>
                      <a:pt x="726" y="396"/>
                    </a:lnTo>
                    <a:lnTo>
                      <a:pt x="730" y="398"/>
                    </a:lnTo>
                    <a:lnTo>
                      <a:pt x="732" y="398"/>
                    </a:lnTo>
                    <a:lnTo>
                      <a:pt x="734" y="398"/>
                    </a:lnTo>
                    <a:lnTo>
                      <a:pt x="737" y="402"/>
                    </a:lnTo>
                    <a:lnTo>
                      <a:pt x="737" y="406"/>
                    </a:lnTo>
                    <a:lnTo>
                      <a:pt x="735" y="408"/>
                    </a:lnTo>
                    <a:lnTo>
                      <a:pt x="734" y="408"/>
                    </a:lnTo>
                    <a:lnTo>
                      <a:pt x="732" y="408"/>
                    </a:lnTo>
                    <a:lnTo>
                      <a:pt x="730" y="408"/>
                    </a:lnTo>
                    <a:lnTo>
                      <a:pt x="728" y="409"/>
                    </a:lnTo>
                    <a:lnTo>
                      <a:pt x="726" y="411"/>
                    </a:lnTo>
                    <a:lnTo>
                      <a:pt x="726" y="413"/>
                    </a:lnTo>
                    <a:lnTo>
                      <a:pt x="728" y="413"/>
                    </a:lnTo>
                    <a:lnTo>
                      <a:pt x="728" y="417"/>
                    </a:lnTo>
                    <a:lnTo>
                      <a:pt x="695" y="433"/>
                    </a:lnTo>
                    <a:lnTo>
                      <a:pt x="693" y="434"/>
                    </a:lnTo>
                    <a:lnTo>
                      <a:pt x="691" y="436"/>
                    </a:lnTo>
                    <a:lnTo>
                      <a:pt x="687" y="438"/>
                    </a:lnTo>
                    <a:lnTo>
                      <a:pt x="684" y="442"/>
                    </a:lnTo>
                    <a:lnTo>
                      <a:pt x="682" y="442"/>
                    </a:lnTo>
                    <a:lnTo>
                      <a:pt x="680" y="442"/>
                    </a:lnTo>
                    <a:lnTo>
                      <a:pt x="676" y="442"/>
                    </a:lnTo>
                    <a:lnTo>
                      <a:pt x="674" y="440"/>
                    </a:lnTo>
                    <a:lnTo>
                      <a:pt x="672" y="438"/>
                    </a:lnTo>
                    <a:lnTo>
                      <a:pt x="668" y="436"/>
                    </a:lnTo>
                    <a:lnTo>
                      <a:pt x="662" y="427"/>
                    </a:lnTo>
                    <a:lnTo>
                      <a:pt x="657" y="427"/>
                    </a:lnTo>
                    <a:lnTo>
                      <a:pt x="653" y="427"/>
                    </a:lnTo>
                    <a:lnTo>
                      <a:pt x="651" y="429"/>
                    </a:lnTo>
                    <a:lnTo>
                      <a:pt x="639" y="436"/>
                    </a:lnTo>
                    <a:lnTo>
                      <a:pt x="636" y="438"/>
                    </a:lnTo>
                    <a:lnTo>
                      <a:pt x="632" y="440"/>
                    </a:lnTo>
                    <a:lnTo>
                      <a:pt x="626" y="444"/>
                    </a:lnTo>
                    <a:lnTo>
                      <a:pt x="626" y="446"/>
                    </a:lnTo>
                    <a:lnTo>
                      <a:pt x="626" y="448"/>
                    </a:lnTo>
                    <a:lnTo>
                      <a:pt x="626" y="452"/>
                    </a:lnTo>
                    <a:lnTo>
                      <a:pt x="622" y="454"/>
                    </a:lnTo>
                    <a:lnTo>
                      <a:pt x="618" y="456"/>
                    </a:lnTo>
                    <a:lnTo>
                      <a:pt x="616" y="454"/>
                    </a:lnTo>
                    <a:lnTo>
                      <a:pt x="613" y="450"/>
                    </a:lnTo>
                    <a:lnTo>
                      <a:pt x="611" y="448"/>
                    </a:lnTo>
                    <a:lnTo>
                      <a:pt x="603" y="446"/>
                    </a:lnTo>
                    <a:lnTo>
                      <a:pt x="599" y="448"/>
                    </a:lnTo>
                    <a:lnTo>
                      <a:pt x="589" y="444"/>
                    </a:lnTo>
                    <a:lnTo>
                      <a:pt x="589" y="442"/>
                    </a:lnTo>
                    <a:lnTo>
                      <a:pt x="588" y="442"/>
                    </a:lnTo>
                    <a:lnTo>
                      <a:pt x="588" y="440"/>
                    </a:lnTo>
                    <a:lnTo>
                      <a:pt x="588" y="438"/>
                    </a:lnTo>
                    <a:lnTo>
                      <a:pt x="588" y="436"/>
                    </a:lnTo>
                    <a:lnTo>
                      <a:pt x="578" y="431"/>
                    </a:lnTo>
                    <a:lnTo>
                      <a:pt x="576" y="434"/>
                    </a:lnTo>
                    <a:lnTo>
                      <a:pt x="570" y="434"/>
                    </a:lnTo>
                    <a:lnTo>
                      <a:pt x="564" y="436"/>
                    </a:lnTo>
                    <a:lnTo>
                      <a:pt x="563" y="438"/>
                    </a:lnTo>
                    <a:lnTo>
                      <a:pt x="557" y="436"/>
                    </a:lnTo>
                    <a:lnTo>
                      <a:pt x="555" y="436"/>
                    </a:lnTo>
                    <a:lnTo>
                      <a:pt x="553" y="436"/>
                    </a:lnTo>
                    <a:lnTo>
                      <a:pt x="547" y="434"/>
                    </a:lnTo>
                    <a:lnTo>
                      <a:pt x="545" y="434"/>
                    </a:lnTo>
                    <a:lnTo>
                      <a:pt x="543" y="434"/>
                    </a:lnTo>
                    <a:lnTo>
                      <a:pt x="543" y="436"/>
                    </a:lnTo>
                    <a:lnTo>
                      <a:pt x="543" y="434"/>
                    </a:lnTo>
                    <a:lnTo>
                      <a:pt x="541" y="434"/>
                    </a:lnTo>
                    <a:lnTo>
                      <a:pt x="541" y="436"/>
                    </a:lnTo>
                    <a:lnTo>
                      <a:pt x="539" y="436"/>
                    </a:lnTo>
                    <a:lnTo>
                      <a:pt x="538" y="436"/>
                    </a:lnTo>
                    <a:lnTo>
                      <a:pt x="538" y="434"/>
                    </a:lnTo>
                    <a:lnTo>
                      <a:pt x="538" y="433"/>
                    </a:lnTo>
                    <a:lnTo>
                      <a:pt x="536" y="433"/>
                    </a:lnTo>
                    <a:lnTo>
                      <a:pt x="536" y="431"/>
                    </a:lnTo>
                    <a:lnTo>
                      <a:pt x="538" y="431"/>
                    </a:lnTo>
                    <a:lnTo>
                      <a:pt x="538" y="429"/>
                    </a:lnTo>
                    <a:lnTo>
                      <a:pt x="536" y="429"/>
                    </a:lnTo>
                    <a:lnTo>
                      <a:pt x="538" y="429"/>
                    </a:lnTo>
                    <a:lnTo>
                      <a:pt x="538" y="427"/>
                    </a:lnTo>
                    <a:lnTo>
                      <a:pt x="536" y="427"/>
                    </a:lnTo>
                    <a:lnTo>
                      <a:pt x="538" y="427"/>
                    </a:lnTo>
                    <a:lnTo>
                      <a:pt x="538" y="425"/>
                    </a:lnTo>
                    <a:lnTo>
                      <a:pt x="536" y="425"/>
                    </a:lnTo>
                    <a:lnTo>
                      <a:pt x="536" y="423"/>
                    </a:lnTo>
                    <a:lnTo>
                      <a:pt x="534" y="423"/>
                    </a:lnTo>
                    <a:lnTo>
                      <a:pt x="536" y="423"/>
                    </a:lnTo>
                    <a:lnTo>
                      <a:pt x="534" y="423"/>
                    </a:lnTo>
                    <a:lnTo>
                      <a:pt x="536" y="423"/>
                    </a:lnTo>
                    <a:lnTo>
                      <a:pt x="534" y="423"/>
                    </a:lnTo>
                    <a:lnTo>
                      <a:pt x="534" y="425"/>
                    </a:lnTo>
                    <a:lnTo>
                      <a:pt x="534" y="423"/>
                    </a:lnTo>
                    <a:lnTo>
                      <a:pt x="532" y="423"/>
                    </a:lnTo>
                    <a:lnTo>
                      <a:pt x="532" y="425"/>
                    </a:lnTo>
                    <a:lnTo>
                      <a:pt x="532" y="423"/>
                    </a:lnTo>
                    <a:lnTo>
                      <a:pt x="532" y="425"/>
                    </a:lnTo>
                    <a:lnTo>
                      <a:pt x="530" y="425"/>
                    </a:lnTo>
                    <a:lnTo>
                      <a:pt x="530" y="423"/>
                    </a:lnTo>
                    <a:lnTo>
                      <a:pt x="528" y="423"/>
                    </a:lnTo>
                    <a:lnTo>
                      <a:pt x="530" y="423"/>
                    </a:lnTo>
                    <a:lnTo>
                      <a:pt x="528" y="423"/>
                    </a:lnTo>
                    <a:lnTo>
                      <a:pt x="528" y="425"/>
                    </a:lnTo>
                    <a:lnTo>
                      <a:pt x="526" y="425"/>
                    </a:lnTo>
                    <a:lnTo>
                      <a:pt x="526" y="423"/>
                    </a:lnTo>
                    <a:lnTo>
                      <a:pt x="526" y="425"/>
                    </a:lnTo>
                    <a:lnTo>
                      <a:pt x="524" y="425"/>
                    </a:lnTo>
                    <a:lnTo>
                      <a:pt x="524" y="427"/>
                    </a:lnTo>
                    <a:lnTo>
                      <a:pt x="524" y="425"/>
                    </a:lnTo>
                    <a:lnTo>
                      <a:pt x="522" y="425"/>
                    </a:lnTo>
                    <a:lnTo>
                      <a:pt x="522" y="427"/>
                    </a:lnTo>
                    <a:lnTo>
                      <a:pt x="522" y="425"/>
                    </a:lnTo>
                    <a:lnTo>
                      <a:pt x="522" y="427"/>
                    </a:lnTo>
                    <a:lnTo>
                      <a:pt x="522" y="425"/>
                    </a:lnTo>
                    <a:lnTo>
                      <a:pt x="520" y="423"/>
                    </a:lnTo>
                    <a:lnTo>
                      <a:pt x="520" y="421"/>
                    </a:lnTo>
                    <a:lnTo>
                      <a:pt x="518" y="421"/>
                    </a:lnTo>
                    <a:lnTo>
                      <a:pt x="516" y="423"/>
                    </a:lnTo>
                    <a:lnTo>
                      <a:pt x="513" y="423"/>
                    </a:lnTo>
                    <a:lnTo>
                      <a:pt x="509" y="421"/>
                    </a:lnTo>
                    <a:lnTo>
                      <a:pt x="507" y="421"/>
                    </a:lnTo>
                    <a:lnTo>
                      <a:pt x="505" y="419"/>
                    </a:lnTo>
                    <a:lnTo>
                      <a:pt x="503" y="419"/>
                    </a:lnTo>
                    <a:lnTo>
                      <a:pt x="499" y="421"/>
                    </a:lnTo>
                    <a:lnTo>
                      <a:pt x="499" y="423"/>
                    </a:lnTo>
                    <a:lnTo>
                      <a:pt x="497" y="423"/>
                    </a:lnTo>
                    <a:lnTo>
                      <a:pt x="497" y="421"/>
                    </a:lnTo>
                    <a:lnTo>
                      <a:pt x="495" y="421"/>
                    </a:lnTo>
                    <a:lnTo>
                      <a:pt x="493" y="419"/>
                    </a:lnTo>
                    <a:lnTo>
                      <a:pt x="491" y="417"/>
                    </a:lnTo>
                    <a:lnTo>
                      <a:pt x="490" y="415"/>
                    </a:lnTo>
                    <a:lnTo>
                      <a:pt x="486" y="415"/>
                    </a:lnTo>
                    <a:lnTo>
                      <a:pt x="484" y="415"/>
                    </a:lnTo>
                    <a:lnTo>
                      <a:pt x="482" y="415"/>
                    </a:lnTo>
                    <a:lnTo>
                      <a:pt x="480" y="413"/>
                    </a:lnTo>
                    <a:lnTo>
                      <a:pt x="478" y="413"/>
                    </a:lnTo>
                    <a:lnTo>
                      <a:pt x="476" y="411"/>
                    </a:lnTo>
                    <a:lnTo>
                      <a:pt x="474" y="411"/>
                    </a:lnTo>
                    <a:lnTo>
                      <a:pt x="472" y="411"/>
                    </a:lnTo>
                    <a:lnTo>
                      <a:pt x="474" y="411"/>
                    </a:lnTo>
                    <a:lnTo>
                      <a:pt x="474" y="413"/>
                    </a:lnTo>
                    <a:lnTo>
                      <a:pt x="472" y="413"/>
                    </a:lnTo>
                    <a:lnTo>
                      <a:pt x="474" y="413"/>
                    </a:lnTo>
                    <a:lnTo>
                      <a:pt x="472" y="415"/>
                    </a:lnTo>
                    <a:lnTo>
                      <a:pt x="472" y="417"/>
                    </a:lnTo>
                    <a:lnTo>
                      <a:pt x="472" y="419"/>
                    </a:lnTo>
                    <a:lnTo>
                      <a:pt x="472" y="421"/>
                    </a:lnTo>
                    <a:lnTo>
                      <a:pt x="470" y="421"/>
                    </a:lnTo>
                    <a:lnTo>
                      <a:pt x="468" y="423"/>
                    </a:lnTo>
                    <a:lnTo>
                      <a:pt x="468" y="425"/>
                    </a:lnTo>
                    <a:lnTo>
                      <a:pt x="466" y="425"/>
                    </a:lnTo>
                    <a:lnTo>
                      <a:pt x="468" y="425"/>
                    </a:lnTo>
                    <a:lnTo>
                      <a:pt x="468" y="427"/>
                    </a:lnTo>
                    <a:lnTo>
                      <a:pt x="468" y="425"/>
                    </a:lnTo>
                    <a:lnTo>
                      <a:pt x="468" y="427"/>
                    </a:lnTo>
                    <a:lnTo>
                      <a:pt x="470" y="427"/>
                    </a:lnTo>
                    <a:lnTo>
                      <a:pt x="470" y="425"/>
                    </a:lnTo>
                    <a:lnTo>
                      <a:pt x="470" y="427"/>
                    </a:lnTo>
                    <a:lnTo>
                      <a:pt x="470" y="429"/>
                    </a:lnTo>
                    <a:lnTo>
                      <a:pt x="470" y="427"/>
                    </a:lnTo>
                    <a:lnTo>
                      <a:pt x="468" y="429"/>
                    </a:lnTo>
                    <a:lnTo>
                      <a:pt x="470" y="429"/>
                    </a:lnTo>
                    <a:lnTo>
                      <a:pt x="468" y="429"/>
                    </a:lnTo>
                    <a:lnTo>
                      <a:pt x="470" y="429"/>
                    </a:lnTo>
                    <a:lnTo>
                      <a:pt x="468" y="429"/>
                    </a:lnTo>
                    <a:lnTo>
                      <a:pt x="470" y="429"/>
                    </a:lnTo>
                    <a:lnTo>
                      <a:pt x="468" y="429"/>
                    </a:lnTo>
                    <a:lnTo>
                      <a:pt x="470" y="429"/>
                    </a:lnTo>
                    <a:lnTo>
                      <a:pt x="470" y="431"/>
                    </a:lnTo>
                    <a:lnTo>
                      <a:pt x="468" y="431"/>
                    </a:lnTo>
                    <a:lnTo>
                      <a:pt x="470" y="431"/>
                    </a:lnTo>
                    <a:lnTo>
                      <a:pt x="470" y="433"/>
                    </a:lnTo>
                    <a:lnTo>
                      <a:pt x="468" y="431"/>
                    </a:lnTo>
                    <a:lnTo>
                      <a:pt x="468" y="433"/>
                    </a:lnTo>
                    <a:lnTo>
                      <a:pt x="466" y="433"/>
                    </a:lnTo>
                    <a:lnTo>
                      <a:pt x="465" y="433"/>
                    </a:lnTo>
                    <a:lnTo>
                      <a:pt x="465" y="434"/>
                    </a:lnTo>
                    <a:lnTo>
                      <a:pt x="463" y="434"/>
                    </a:lnTo>
                    <a:lnTo>
                      <a:pt x="461" y="434"/>
                    </a:lnTo>
                    <a:lnTo>
                      <a:pt x="461" y="436"/>
                    </a:lnTo>
                    <a:lnTo>
                      <a:pt x="461" y="438"/>
                    </a:lnTo>
                    <a:lnTo>
                      <a:pt x="459" y="438"/>
                    </a:lnTo>
                    <a:lnTo>
                      <a:pt x="459" y="440"/>
                    </a:lnTo>
                    <a:lnTo>
                      <a:pt x="459" y="442"/>
                    </a:lnTo>
                    <a:lnTo>
                      <a:pt x="459" y="444"/>
                    </a:lnTo>
                    <a:lnTo>
                      <a:pt x="459" y="446"/>
                    </a:lnTo>
                    <a:lnTo>
                      <a:pt x="461" y="446"/>
                    </a:lnTo>
                    <a:lnTo>
                      <a:pt x="461" y="448"/>
                    </a:lnTo>
                    <a:lnTo>
                      <a:pt x="459" y="448"/>
                    </a:lnTo>
                    <a:lnTo>
                      <a:pt x="461" y="448"/>
                    </a:lnTo>
                    <a:lnTo>
                      <a:pt x="459" y="450"/>
                    </a:lnTo>
                    <a:lnTo>
                      <a:pt x="459" y="452"/>
                    </a:lnTo>
                    <a:lnTo>
                      <a:pt x="459" y="454"/>
                    </a:lnTo>
                    <a:lnTo>
                      <a:pt x="457" y="454"/>
                    </a:lnTo>
                    <a:lnTo>
                      <a:pt x="457" y="456"/>
                    </a:lnTo>
                    <a:lnTo>
                      <a:pt x="455" y="456"/>
                    </a:lnTo>
                    <a:lnTo>
                      <a:pt x="455" y="458"/>
                    </a:lnTo>
                    <a:lnTo>
                      <a:pt x="453" y="458"/>
                    </a:lnTo>
                    <a:lnTo>
                      <a:pt x="453" y="459"/>
                    </a:lnTo>
                    <a:lnTo>
                      <a:pt x="455" y="459"/>
                    </a:lnTo>
                    <a:lnTo>
                      <a:pt x="455" y="461"/>
                    </a:lnTo>
                    <a:lnTo>
                      <a:pt x="453" y="463"/>
                    </a:lnTo>
                    <a:lnTo>
                      <a:pt x="453" y="465"/>
                    </a:lnTo>
                    <a:lnTo>
                      <a:pt x="451" y="473"/>
                    </a:lnTo>
                    <a:lnTo>
                      <a:pt x="449" y="483"/>
                    </a:lnTo>
                    <a:lnTo>
                      <a:pt x="447" y="484"/>
                    </a:lnTo>
                    <a:lnTo>
                      <a:pt x="445" y="488"/>
                    </a:lnTo>
                    <a:lnTo>
                      <a:pt x="445" y="490"/>
                    </a:lnTo>
                    <a:lnTo>
                      <a:pt x="445" y="492"/>
                    </a:lnTo>
                    <a:lnTo>
                      <a:pt x="442" y="492"/>
                    </a:lnTo>
                    <a:lnTo>
                      <a:pt x="440" y="492"/>
                    </a:lnTo>
                    <a:lnTo>
                      <a:pt x="438" y="492"/>
                    </a:lnTo>
                    <a:lnTo>
                      <a:pt x="434" y="492"/>
                    </a:lnTo>
                    <a:lnTo>
                      <a:pt x="430" y="492"/>
                    </a:lnTo>
                    <a:lnTo>
                      <a:pt x="428" y="496"/>
                    </a:lnTo>
                    <a:lnTo>
                      <a:pt x="424" y="498"/>
                    </a:lnTo>
                    <a:lnTo>
                      <a:pt x="422" y="500"/>
                    </a:lnTo>
                    <a:lnTo>
                      <a:pt x="420" y="500"/>
                    </a:lnTo>
                    <a:lnTo>
                      <a:pt x="418" y="504"/>
                    </a:lnTo>
                    <a:lnTo>
                      <a:pt x="417" y="508"/>
                    </a:lnTo>
                    <a:lnTo>
                      <a:pt x="415" y="508"/>
                    </a:lnTo>
                    <a:lnTo>
                      <a:pt x="413" y="509"/>
                    </a:lnTo>
                    <a:lnTo>
                      <a:pt x="411" y="509"/>
                    </a:lnTo>
                    <a:lnTo>
                      <a:pt x="411" y="513"/>
                    </a:lnTo>
                    <a:lnTo>
                      <a:pt x="411" y="519"/>
                    </a:lnTo>
                    <a:lnTo>
                      <a:pt x="411" y="523"/>
                    </a:lnTo>
                    <a:lnTo>
                      <a:pt x="409" y="525"/>
                    </a:lnTo>
                    <a:lnTo>
                      <a:pt x="409" y="527"/>
                    </a:lnTo>
                    <a:lnTo>
                      <a:pt x="405" y="531"/>
                    </a:lnTo>
                    <a:lnTo>
                      <a:pt x="399" y="534"/>
                    </a:lnTo>
                    <a:lnTo>
                      <a:pt x="397" y="536"/>
                    </a:lnTo>
                    <a:lnTo>
                      <a:pt x="390" y="542"/>
                    </a:lnTo>
                    <a:lnTo>
                      <a:pt x="388" y="542"/>
                    </a:lnTo>
                    <a:lnTo>
                      <a:pt x="384" y="540"/>
                    </a:lnTo>
                    <a:lnTo>
                      <a:pt x="382" y="540"/>
                    </a:lnTo>
                    <a:lnTo>
                      <a:pt x="378" y="536"/>
                    </a:lnTo>
                    <a:lnTo>
                      <a:pt x="372" y="534"/>
                    </a:lnTo>
                    <a:lnTo>
                      <a:pt x="370" y="534"/>
                    </a:lnTo>
                    <a:lnTo>
                      <a:pt x="365" y="533"/>
                    </a:lnTo>
                    <a:lnTo>
                      <a:pt x="359" y="533"/>
                    </a:lnTo>
                    <a:lnTo>
                      <a:pt x="357" y="531"/>
                    </a:lnTo>
                    <a:lnTo>
                      <a:pt x="355" y="527"/>
                    </a:lnTo>
                    <a:lnTo>
                      <a:pt x="351" y="525"/>
                    </a:lnTo>
                    <a:lnTo>
                      <a:pt x="351" y="523"/>
                    </a:lnTo>
                    <a:lnTo>
                      <a:pt x="347" y="521"/>
                    </a:lnTo>
                    <a:lnTo>
                      <a:pt x="344" y="521"/>
                    </a:lnTo>
                    <a:lnTo>
                      <a:pt x="342" y="523"/>
                    </a:lnTo>
                    <a:lnTo>
                      <a:pt x="330" y="517"/>
                    </a:lnTo>
                    <a:lnTo>
                      <a:pt x="326" y="515"/>
                    </a:lnTo>
                    <a:lnTo>
                      <a:pt x="326" y="513"/>
                    </a:lnTo>
                    <a:lnTo>
                      <a:pt x="330" y="511"/>
                    </a:lnTo>
                    <a:lnTo>
                      <a:pt x="328" y="506"/>
                    </a:lnTo>
                    <a:lnTo>
                      <a:pt x="328" y="504"/>
                    </a:lnTo>
                    <a:lnTo>
                      <a:pt x="330" y="498"/>
                    </a:lnTo>
                    <a:lnTo>
                      <a:pt x="326" y="496"/>
                    </a:lnTo>
                    <a:lnTo>
                      <a:pt x="324" y="496"/>
                    </a:lnTo>
                    <a:lnTo>
                      <a:pt x="322" y="496"/>
                    </a:lnTo>
                    <a:lnTo>
                      <a:pt x="317" y="494"/>
                    </a:lnTo>
                    <a:lnTo>
                      <a:pt x="317" y="492"/>
                    </a:lnTo>
                    <a:lnTo>
                      <a:pt x="315" y="490"/>
                    </a:lnTo>
                    <a:lnTo>
                      <a:pt x="315" y="488"/>
                    </a:lnTo>
                    <a:lnTo>
                      <a:pt x="315" y="486"/>
                    </a:lnTo>
                    <a:lnTo>
                      <a:pt x="317" y="484"/>
                    </a:lnTo>
                    <a:lnTo>
                      <a:pt x="315" y="483"/>
                    </a:lnTo>
                    <a:lnTo>
                      <a:pt x="315" y="479"/>
                    </a:lnTo>
                    <a:lnTo>
                      <a:pt x="313" y="477"/>
                    </a:lnTo>
                    <a:lnTo>
                      <a:pt x="311" y="473"/>
                    </a:lnTo>
                    <a:lnTo>
                      <a:pt x="311" y="469"/>
                    </a:lnTo>
                    <a:lnTo>
                      <a:pt x="309" y="465"/>
                    </a:lnTo>
                    <a:lnTo>
                      <a:pt x="307" y="463"/>
                    </a:lnTo>
                    <a:lnTo>
                      <a:pt x="305" y="463"/>
                    </a:lnTo>
                    <a:lnTo>
                      <a:pt x="303" y="463"/>
                    </a:lnTo>
                    <a:lnTo>
                      <a:pt x="303" y="461"/>
                    </a:lnTo>
                    <a:lnTo>
                      <a:pt x="303" y="459"/>
                    </a:lnTo>
                    <a:lnTo>
                      <a:pt x="303" y="458"/>
                    </a:lnTo>
                    <a:lnTo>
                      <a:pt x="301" y="456"/>
                    </a:lnTo>
                    <a:lnTo>
                      <a:pt x="296" y="454"/>
                    </a:lnTo>
                    <a:lnTo>
                      <a:pt x="296" y="450"/>
                    </a:lnTo>
                    <a:lnTo>
                      <a:pt x="294" y="446"/>
                    </a:lnTo>
                    <a:lnTo>
                      <a:pt x="292" y="446"/>
                    </a:lnTo>
                    <a:lnTo>
                      <a:pt x="290" y="444"/>
                    </a:lnTo>
                    <a:lnTo>
                      <a:pt x="288" y="434"/>
                    </a:lnTo>
                    <a:lnTo>
                      <a:pt x="284" y="438"/>
                    </a:lnTo>
                    <a:lnTo>
                      <a:pt x="282" y="440"/>
                    </a:lnTo>
                    <a:lnTo>
                      <a:pt x="276" y="434"/>
                    </a:lnTo>
                    <a:lnTo>
                      <a:pt x="274" y="433"/>
                    </a:lnTo>
                    <a:lnTo>
                      <a:pt x="271" y="434"/>
                    </a:lnTo>
                    <a:lnTo>
                      <a:pt x="267" y="434"/>
                    </a:lnTo>
                    <a:lnTo>
                      <a:pt x="265" y="434"/>
                    </a:lnTo>
                    <a:lnTo>
                      <a:pt x="265" y="433"/>
                    </a:lnTo>
                    <a:lnTo>
                      <a:pt x="263" y="433"/>
                    </a:lnTo>
                    <a:lnTo>
                      <a:pt x="263" y="431"/>
                    </a:lnTo>
                    <a:lnTo>
                      <a:pt x="263" y="429"/>
                    </a:lnTo>
                    <a:lnTo>
                      <a:pt x="261" y="427"/>
                    </a:lnTo>
                    <a:lnTo>
                      <a:pt x="259" y="425"/>
                    </a:lnTo>
                    <a:lnTo>
                      <a:pt x="257" y="425"/>
                    </a:lnTo>
                    <a:lnTo>
                      <a:pt x="255" y="425"/>
                    </a:lnTo>
                    <a:lnTo>
                      <a:pt x="253" y="425"/>
                    </a:lnTo>
                    <a:lnTo>
                      <a:pt x="251" y="425"/>
                    </a:lnTo>
                    <a:lnTo>
                      <a:pt x="249" y="425"/>
                    </a:lnTo>
                    <a:lnTo>
                      <a:pt x="247" y="425"/>
                    </a:lnTo>
                    <a:lnTo>
                      <a:pt x="244" y="423"/>
                    </a:lnTo>
                    <a:lnTo>
                      <a:pt x="244" y="421"/>
                    </a:lnTo>
                    <a:lnTo>
                      <a:pt x="244" y="419"/>
                    </a:lnTo>
                    <a:lnTo>
                      <a:pt x="242" y="419"/>
                    </a:lnTo>
                    <a:lnTo>
                      <a:pt x="240" y="417"/>
                    </a:lnTo>
                    <a:lnTo>
                      <a:pt x="238" y="417"/>
                    </a:lnTo>
                    <a:lnTo>
                      <a:pt x="234" y="415"/>
                    </a:lnTo>
                    <a:lnTo>
                      <a:pt x="230" y="417"/>
                    </a:lnTo>
                    <a:lnTo>
                      <a:pt x="228" y="417"/>
                    </a:lnTo>
                    <a:lnTo>
                      <a:pt x="226" y="419"/>
                    </a:lnTo>
                    <a:lnTo>
                      <a:pt x="228" y="421"/>
                    </a:lnTo>
                    <a:lnTo>
                      <a:pt x="230" y="425"/>
                    </a:lnTo>
                    <a:lnTo>
                      <a:pt x="232" y="427"/>
                    </a:lnTo>
                    <a:lnTo>
                      <a:pt x="232" y="429"/>
                    </a:lnTo>
                    <a:lnTo>
                      <a:pt x="230" y="431"/>
                    </a:lnTo>
                    <a:lnTo>
                      <a:pt x="223" y="433"/>
                    </a:lnTo>
                    <a:lnTo>
                      <a:pt x="211" y="438"/>
                    </a:lnTo>
                    <a:lnTo>
                      <a:pt x="207" y="436"/>
                    </a:lnTo>
                    <a:lnTo>
                      <a:pt x="205" y="438"/>
                    </a:lnTo>
                    <a:lnTo>
                      <a:pt x="203" y="444"/>
                    </a:lnTo>
                    <a:lnTo>
                      <a:pt x="201" y="446"/>
                    </a:lnTo>
                    <a:lnTo>
                      <a:pt x="198" y="450"/>
                    </a:lnTo>
                    <a:lnTo>
                      <a:pt x="196" y="454"/>
                    </a:lnTo>
                    <a:lnTo>
                      <a:pt x="186" y="456"/>
                    </a:lnTo>
                    <a:lnTo>
                      <a:pt x="182" y="456"/>
                    </a:lnTo>
                    <a:lnTo>
                      <a:pt x="178" y="454"/>
                    </a:lnTo>
                    <a:lnTo>
                      <a:pt x="174" y="454"/>
                    </a:lnTo>
                    <a:lnTo>
                      <a:pt x="173" y="456"/>
                    </a:lnTo>
                    <a:lnTo>
                      <a:pt x="169" y="459"/>
                    </a:lnTo>
                    <a:lnTo>
                      <a:pt x="159" y="461"/>
                    </a:lnTo>
                    <a:lnTo>
                      <a:pt x="153" y="463"/>
                    </a:lnTo>
                    <a:lnTo>
                      <a:pt x="149" y="465"/>
                    </a:lnTo>
                    <a:lnTo>
                      <a:pt x="148" y="461"/>
                    </a:lnTo>
                    <a:lnTo>
                      <a:pt x="146" y="463"/>
                    </a:lnTo>
                    <a:lnTo>
                      <a:pt x="142" y="463"/>
                    </a:lnTo>
                    <a:lnTo>
                      <a:pt x="140" y="473"/>
                    </a:lnTo>
                    <a:lnTo>
                      <a:pt x="138" y="481"/>
                    </a:lnTo>
                    <a:lnTo>
                      <a:pt x="128" y="481"/>
                    </a:lnTo>
                    <a:lnTo>
                      <a:pt x="123" y="483"/>
                    </a:lnTo>
                    <a:lnTo>
                      <a:pt x="123" y="481"/>
                    </a:lnTo>
                    <a:lnTo>
                      <a:pt x="119" y="479"/>
                    </a:lnTo>
                    <a:lnTo>
                      <a:pt x="117" y="479"/>
                    </a:lnTo>
                    <a:lnTo>
                      <a:pt x="115" y="479"/>
                    </a:lnTo>
                    <a:lnTo>
                      <a:pt x="111" y="477"/>
                    </a:lnTo>
                    <a:lnTo>
                      <a:pt x="103" y="471"/>
                    </a:lnTo>
                    <a:lnTo>
                      <a:pt x="103" y="465"/>
                    </a:lnTo>
                    <a:lnTo>
                      <a:pt x="100" y="454"/>
                    </a:lnTo>
                    <a:lnTo>
                      <a:pt x="100" y="450"/>
                    </a:lnTo>
                    <a:lnTo>
                      <a:pt x="101" y="442"/>
                    </a:lnTo>
                    <a:lnTo>
                      <a:pt x="101" y="434"/>
                    </a:lnTo>
                    <a:lnTo>
                      <a:pt x="101" y="431"/>
                    </a:lnTo>
                    <a:lnTo>
                      <a:pt x="100" y="431"/>
                    </a:lnTo>
                    <a:lnTo>
                      <a:pt x="98" y="431"/>
                    </a:lnTo>
                    <a:lnTo>
                      <a:pt x="98" y="429"/>
                    </a:lnTo>
                    <a:lnTo>
                      <a:pt x="100" y="423"/>
                    </a:lnTo>
                    <a:lnTo>
                      <a:pt x="90" y="417"/>
                    </a:lnTo>
                    <a:lnTo>
                      <a:pt x="84" y="413"/>
                    </a:lnTo>
                    <a:lnTo>
                      <a:pt x="69" y="409"/>
                    </a:lnTo>
                    <a:lnTo>
                      <a:pt x="67" y="402"/>
                    </a:lnTo>
                    <a:lnTo>
                      <a:pt x="69" y="398"/>
                    </a:lnTo>
                    <a:lnTo>
                      <a:pt x="73" y="383"/>
                    </a:lnTo>
                    <a:lnTo>
                      <a:pt x="73" y="377"/>
                    </a:lnTo>
                    <a:lnTo>
                      <a:pt x="73" y="369"/>
                    </a:lnTo>
                    <a:lnTo>
                      <a:pt x="73" y="363"/>
                    </a:lnTo>
                    <a:lnTo>
                      <a:pt x="73" y="361"/>
                    </a:lnTo>
                    <a:lnTo>
                      <a:pt x="73" y="359"/>
                    </a:lnTo>
                    <a:lnTo>
                      <a:pt x="75" y="359"/>
                    </a:lnTo>
                    <a:lnTo>
                      <a:pt x="75" y="358"/>
                    </a:lnTo>
                    <a:lnTo>
                      <a:pt x="73" y="358"/>
                    </a:lnTo>
                    <a:lnTo>
                      <a:pt x="75" y="358"/>
                    </a:lnTo>
                    <a:lnTo>
                      <a:pt x="73" y="358"/>
                    </a:lnTo>
                    <a:lnTo>
                      <a:pt x="71" y="358"/>
                    </a:lnTo>
                    <a:lnTo>
                      <a:pt x="71" y="356"/>
                    </a:lnTo>
                    <a:lnTo>
                      <a:pt x="69" y="354"/>
                    </a:lnTo>
                    <a:lnTo>
                      <a:pt x="65" y="348"/>
                    </a:lnTo>
                    <a:lnTo>
                      <a:pt x="67" y="344"/>
                    </a:lnTo>
                    <a:lnTo>
                      <a:pt x="65" y="333"/>
                    </a:lnTo>
                    <a:lnTo>
                      <a:pt x="65" y="327"/>
                    </a:lnTo>
                    <a:lnTo>
                      <a:pt x="63" y="319"/>
                    </a:lnTo>
                    <a:lnTo>
                      <a:pt x="65" y="306"/>
                    </a:lnTo>
                    <a:lnTo>
                      <a:pt x="67" y="302"/>
                    </a:lnTo>
                    <a:lnTo>
                      <a:pt x="71" y="296"/>
                    </a:lnTo>
                    <a:lnTo>
                      <a:pt x="71" y="288"/>
                    </a:lnTo>
                    <a:lnTo>
                      <a:pt x="69" y="281"/>
                    </a:lnTo>
                    <a:lnTo>
                      <a:pt x="67" y="277"/>
                    </a:lnTo>
                    <a:lnTo>
                      <a:pt x="65" y="275"/>
                    </a:lnTo>
                    <a:lnTo>
                      <a:pt x="53" y="261"/>
                    </a:lnTo>
                    <a:lnTo>
                      <a:pt x="53" y="260"/>
                    </a:lnTo>
                    <a:lnTo>
                      <a:pt x="52" y="256"/>
                    </a:lnTo>
                    <a:lnTo>
                      <a:pt x="46" y="248"/>
                    </a:lnTo>
                    <a:lnTo>
                      <a:pt x="40" y="240"/>
                    </a:lnTo>
                    <a:lnTo>
                      <a:pt x="38" y="236"/>
                    </a:lnTo>
                    <a:lnTo>
                      <a:pt x="34" y="235"/>
                    </a:lnTo>
                    <a:lnTo>
                      <a:pt x="30" y="233"/>
                    </a:lnTo>
                    <a:lnTo>
                      <a:pt x="25" y="229"/>
                    </a:lnTo>
                    <a:lnTo>
                      <a:pt x="23" y="229"/>
                    </a:lnTo>
                    <a:lnTo>
                      <a:pt x="21" y="227"/>
                    </a:lnTo>
                    <a:lnTo>
                      <a:pt x="17" y="227"/>
                    </a:lnTo>
                    <a:lnTo>
                      <a:pt x="15" y="225"/>
                    </a:lnTo>
                    <a:lnTo>
                      <a:pt x="11" y="225"/>
                    </a:lnTo>
                    <a:lnTo>
                      <a:pt x="9" y="225"/>
                    </a:lnTo>
                    <a:lnTo>
                      <a:pt x="7" y="223"/>
                    </a:lnTo>
                    <a:lnTo>
                      <a:pt x="7" y="221"/>
                    </a:lnTo>
                    <a:lnTo>
                      <a:pt x="9" y="219"/>
                    </a:lnTo>
                    <a:lnTo>
                      <a:pt x="9" y="217"/>
                    </a:lnTo>
                    <a:lnTo>
                      <a:pt x="9" y="215"/>
                    </a:lnTo>
                    <a:lnTo>
                      <a:pt x="11" y="215"/>
                    </a:lnTo>
                    <a:lnTo>
                      <a:pt x="11" y="213"/>
                    </a:lnTo>
                    <a:lnTo>
                      <a:pt x="11" y="211"/>
                    </a:lnTo>
                    <a:lnTo>
                      <a:pt x="9" y="211"/>
                    </a:lnTo>
                    <a:lnTo>
                      <a:pt x="9" y="210"/>
                    </a:lnTo>
                    <a:lnTo>
                      <a:pt x="7" y="208"/>
                    </a:lnTo>
                    <a:lnTo>
                      <a:pt x="5" y="208"/>
                    </a:lnTo>
                    <a:lnTo>
                      <a:pt x="3" y="208"/>
                    </a:lnTo>
                    <a:lnTo>
                      <a:pt x="3" y="206"/>
                    </a:lnTo>
                    <a:lnTo>
                      <a:pt x="2" y="206"/>
                    </a:lnTo>
                    <a:lnTo>
                      <a:pt x="0" y="204"/>
                    </a:lnTo>
                    <a:lnTo>
                      <a:pt x="2" y="202"/>
                    </a:lnTo>
                    <a:lnTo>
                      <a:pt x="0" y="200"/>
                    </a:lnTo>
                    <a:lnTo>
                      <a:pt x="2" y="196"/>
                    </a:lnTo>
                    <a:lnTo>
                      <a:pt x="2" y="192"/>
                    </a:lnTo>
                    <a:lnTo>
                      <a:pt x="3" y="190"/>
                    </a:lnTo>
                    <a:lnTo>
                      <a:pt x="5" y="188"/>
                    </a:lnTo>
                    <a:lnTo>
                      <a:pt x="7" y="185"/>
                    </a:lnTo>
                    <a:lnTo>
                      <a:pt x="9" y="181"/>
                    </a:lnTo>
                    <a:lnTo>
                      <a:pt x="11" y="181"/>
                    </a:lnTo>
                    <a:lnTo>
                      <a:pt x="13" y="179"/>
                    </a:lnTo>
                    <a:lnTo>
                      <a:pt x="15" y="175"/>
                    </a:lnTo>
                    <a:lnTo>
                      <a:pt x="15" y="173"/>
                    </a:lnTo>
                    <a:lnTo>
                      <a:pt x="17" y="171"/>
                    </a:lnTo>
                    <a:lnTo>
                      <a:pt x="17" y="169"/>
                    </a:lnTo>
                    <a:lnTo>
                      <a:pt x="15" y="167"/>
                    </a:lnTo>
                    <a:lnTo>
                      <a:pt x="13" y="165"/>
                    </a:lnTo>
                    <a:lnTo>
                      <a:pt x="13" y="161"/>
                    </a:lnTo>
                    <a:lnTo>
                      <a:pt x="15" y="158"/>
                    </a:lnTo>
                    <a:lnTo>
                      <a:pt x="15" y="156"/>
                    </a:lnTo>
                    <a:lnTo>
                      <a:pt x="17" y="154"/>
                    </a:lnTo>
                    <a:lnTo>
                      <a:pt x="17" y="152"/>
                    </a:lnTo>
                    <a:lnTo>
                      <a:pt x="21" y="148"/>
                    </a:lnTo>
                    <a:lnTo>
                      <a:pt x="21" y="144"/>
                    </a:lnTo>
                    <a:lnTo>
                      <a:pt x="21" y="142"/>
                    </a:lnTo>
                    <a:lnTo>
                      <a:pt x="19" y="140"/>
                    </a:lnTo>
                    <a:lnTo>
                      <a:pt x="19" y="138"/>
                    </a:lnTo>
                    <a:lnTo>
                      <a:pt x="17" y="138"/>
                    </a:lnTo>
                    <a:lnTo>
                      <a:pt x="17" y="136"/>
                    </a:lnTo>
                    <a:lnTo>
                      <a:pt x="17" y="135"/>
                    </a:lnTo>
                    <a:lnTo>
                      <a:pt x="19" y="133"/>
                    </a:lnTo>
                    <a:lnTo>
                      <a:pt x="21" y="133"/>
                    </a:lnTo>
                    <a:lnTo>
                      <a:pt x="23" y="131"/>
                    </a:lnTo>
                    <a:lnTo>
                      <a:pt x="23" y="127"/>
                    </a:lnTo>
                    <a:lnTo>
                      <a:pt x="25" y="125"/>
                    </a:lnTo>
                    <a:lnTo>
                      <a:pt x="27" y="123"/>
                    </a:lnTo>
                    <a:lnTo>
                      <a:pt x="27" y="121"/>
                    </a:lnTo>
                    <a:lnTo>
                      <a:pt x="27" y="119"/>
                    </a:lnTo>
                    <a:lnTo>
                      <a:pt x="27" y="117"/>
                    </a:lnTo>
                    <a:lnTo>
                      <a:pt x="28" y="117"/>
                    </a:lnTo>
                    <a:lnTo>
                      <a:pt x="28" y="115"/>
                    </a:lnTo>
                    <a:lnTo>
                      <a:pt x="32" y="111"/>
                    </a:lnTo>
                    <a:lnTo>
                      <a:pt x="36" y="106"/>
                    </a:lnTo>
                    <a:lnTo>
                      <a:pt x="40" y="100"/>
                    </a:lnTo>
                    <a:lnTo>
                      <a:pt x="40" y="98"/>
                    </a:lnTo>
                    <a:lnTo>
                      <a:pt x="42" y="96"/>
                    </a:lnTo>
                    <a:lnTo>
                      <a:pt x="42" y="94"/>
                    </a:lnTo>
                    <a:lnTo>
                      <a:pt x="44" y="92"/>
                    </a:lnTo>
                    <a:lnTo>
                      <a:pt x="46" y="90"/>
                    </a:lnTo>
                    <a:lnTo>
                      <a:pt x="46" y="88"/>
                    </a:lnTo>
                    <a:lnTo>
                      <a:pt x="46" y="86"/>
                    </a:lnTo>
                    <a:lnTo>
                      <a:pt x="48" y="86"/>
                    </a:lnTo>
                    <a:lnTo>
                      <a:pt x="50" y="85"/>
                    </a:lnTo>
                    <a:lnTo>
                      <a:pt x="53" y="85"/>
                    </a:lnTo>
                    <a:lnTo>
                      <a:pt x="53" y="83"/>
                    </a:lnTo>
                    <a:lnTo>
                      <a:pt x="57" y="79"/>
                    </a:lnTo>
                    <a:lnTo>
                      <a:pt x="57" y="77"/>
                    </a:lnTo>
                    <a:lnTo>
                      <a:pt x="59" y="75"/>
                    </a:lnTo>
                    <a:lnTo>
                      <a:pt x="57" y="73"/>
                    </a:lnTo>
                    <a:lnTo>
                      <a:pt x="55" y="71"/>
                    </a:lnTo>
                    <a:lnTo>
                      <a:pt x="55" y="69"/>
                    </a:lnTo>
                    <a:lnTo>
                      <a:pt x="55" y="67"/>
                    </a:lnTo>
                    <a:lnTo>
                      <a:pt x="55" y="65"/>
                    </a:lnTo>
                    <a:lnTo>
                      <a:pt x="55" y="63"/>
                    </a:lnTo>
                    <a:lnTo>
                      <a:pt x="59" y="60"/>
                    </a:lnTo>
                    <a:lnTo>
                      <a:pt x="59" y="58"/>
                    </a:lnTo>
                    <a:lnTo>
                      <a:pt x="59" y="54"/>
                    </a:lnTo>
                    <a:lnTo>
                      <a:pt x="59" y="52"/>
                    </a:lnTo>
                    <a:lnTo>
                      <a:pt x="57" y="52"/>
                    </a:lnTo>
                    <a:lnTo>
                      <a:pt x="57" y="50"/>
                    </a:lnTo>
                    <a:lnTo>
                      <a:pt x="59" y="48"/>
                    </a:lnTo>
                    <a:lnTo>
                      <a:pt x="61" y="48"/>
                    </a:lnTo>
                    <a:lnTo>
                      <a:pt x="63" y="46"/>
                    </a:lnTo>
                    <a:lnTo>
                      <a:pt x="63" y="44"/>
                    </a:lnTo>
                    <a:lnTo>
                      <a:pt x="65" y="44"/>
                    </a:lnTo>
                    <a:lnTo>
                      <a:pt x="67" y="44"/>
                    </a:lnTo>
                    <a:lnTo>
                      <a:pt x="69" y="42"/>
                    </a:lnTo>
                    <a:lnTo>
                      <a:pt x="69" y="40"/>
                    </a:lnTo>
                    <a:lnTo>
                      <a:pt x="67" y="38"/>
                    </a:lnTo>
                    <a:lnTo>
                      <a:pt x="67" y="37"/>
                    </a:lnTo>
                    <a:lnTo>
                      <a:pt x="69" y="35"/>
                    </a:lnTo>
                    <a:lnTo>
                      <a:pt x="69" y="33"/>
                    </a:lnTo>
                    <a:lnTo>
                      <a:pt x="71" y="33"/>
                    </a:lnTo>
                    <a:lnTo>
                      <a:pt x="73" y="31"/>
                    </a:lnTo>
                    <a:lnTo>
                      <a:pt x="75" y="31"/>
                    </a:lnTo>
                    <a:lnTo>
                      <a:pt x="76" y="31"/>
                    </a:lnTo>
                    <a:lnTo>
                      <a:pt x="78" y="29"/>
                    </a:lnTo>
                    <a:lnTo>
                      <a:pt x="80" y="27"/>
                    </a:lnTo>
                    <a:lnTo>
                      <a:pt x="82" y="27"/>
                    </a:lnTo>
                    <a:lnTo>
                      <a:pt x="82" y="25"/>
                    </a:lnTo>
                    <a:lnTo>
                      <a:pt x="84" y="25"/>
                    </a:lnTo>
                    <a:lnTo>
                      <a:pt x="86" y="23"/>
                    </a:lnTo>
                    <a:lnTo>
                      <a:pt x="88" y="23"/>
                    </a:lnTo>
                    <a:lnTo>
                      <a:pt x="90" y="23"/>
                    </a:lnTo>
                    <a:lnTo>
                      <a:pt x="94" y="25"/>
                    </a:lnTo>
                    <a:lnTo>
                      <a:pt x="94" y="27"/>
                    </a:lnTo>
                    <a:lnTo>
                      <a:pt x="92" y="29"/>
                    </a:lnTo>
                    <a:lnTo>
                      <a:pt x="96" y="33"/>
                    </a:lnTo>
                    <a:lnTo>
                      <a:pt x="94" y="35"/>
                    </a:lnTo>
                    <a:lnTo>
                      <a:pt x="96" y="37"/>
                    </a:lnTo>
                    <a:lnTo>
                      <a:pt x="98" y="37"/>
                    </a:lnTo>
                    <a:lnTo>
                      <a:pt x="100" y="37"/>
                    </a:lnTo>
                    <a:lnTo>
                      <a:pt x="100" y="35"/>
                    </a:lnTo>
                    <a:lnTo>
                      <a:pt x="100" y="33"/>
                    </a:lnTo>
                    <a:lnTo>
                      <a:pt x="101" y="33"/>
                    </a:lnTo>
                    <a:lnTo>
                      <a:pt x="103" y="31"/>
                    </a:lnTo>
                    <a:lnTo>
                      <a:pt x="105" y="31"/>
                    </a:lnTo>
                    <a:lnTo>
                      <a:pt x="105" y="33"/>
                    </a:lnTo>
                    <a:lnTo>
                      <a:pt x="107" y="33"/>
                    </a:lnTo>
                    <a:lnTo>
                      <a:pt x="109" y="31"/>
                    </a:lnTo>
                    <a:lnTo>
                      <a:pt x="111" y="29"/>
                    </a:lnTo>
                    <a:lnTo>
                      <a:pt x="113" y="25"/>
                    </a:lnTo>
                    <a:lnTo>
                      <a:pt x="115" y="25"/>
                    </a:lnTo>
                    <a:lnTo>
                      <a:pt x="117" y="27"/>
                    </a:lnTo>
                    <a:lnTo>
                      <a:pt x="119" y="27"/>
                    </a:lnTo>
                    <a:lnTo>
                      <a:pt x="119" y="25"/>
                    </a:lnTo>
                    <a:lnTo>
                      <a:pt x="119" y="23"/>
                    </a:lnTo>
                    <a:lnTo>
                      <a:pt x="121" y="21"/>
                    </a:lnTo>
                    <a:lnTo>
                      <a:pt x="121" y="19"/>
                    </a:lnTo>
                    <a:lnTo>
                      <a:pt x="123" y="17"/>
                    </a:lnTo>
                    <a:lnTo>
                      <a:pt x="125" y="17"/>
                    </a:lnTo>
                    <a:lnTo>
                      <a:pt x="125" y="15"/>
                    </a:lnTo>
                    <a:lnTo>
                      <a:pt x="126" y="13"/>
                    </a:lnTo>
                    <a:lnTo>
                      <a:pt x="128" y="13"/>
                    </a:lnTo>
                    <a:lnTo>
                      <a:pt x="128" y="12"/>
                    </a:lnTo>
                    <a:lnTo>
                      <a:pt x="130" y="12"/>
                    </a:lnTo>
                    <a:lnTo>
                      <a:pt x="132" y="8"/>
                    </a:lnTo>
                    <a:lnTo>
                      <a:pt x="134" y="6"/>
                    </a:lnTo>
                    <a:lnTo>
                      <a:pt x="136" y="6"/>
                    </a:lnTo>
                    <a:lnTo>
                      <a:pt x="138" y="6"/>
                    </a:lnTo>
                    <a:lnTo>
                      <a:pt x="138" y="4"/>
                    </a:lnTo>
                    <a:lnTo>
                      <a:pt x="140" y="4"/>
                    </a:lnTo>
                    <a:lnTo>
                      <a:pt x="142" y="2"/>
                    </a:lnTo>
                    <a:lnTo>
                      <a:pt x="144" y="0"/>
                    </a:lnTo>
                    <a:lnTo>
                      <a:pt x="146" y="2"/>
                    </a:lnTo>
                    <a:lnTo>
                      <a:pt x="146" y="0"/>
                    </a:lnTo>
                    <a:lnTo>
                      <a:pt x="148" y="0"/>
                    </a:lnTo>
                    <a:lnTo>
                      <a:pt x="148" y="2"/>
                    </a:lnTo>
                    <a:lnTo>
                      <a:pt x="149" y="2"/>
                    </a:lnTo>
                    <a:lnTo>
                      <a:pt x="149" y="4"/>
                    </a:lnTo>
                    <a:lnTo>
                      <a:pt x="149" y="6"/>
                    </a:lnTo>
                    <a:lnTo>
                      <a:pt x="151" y="8"/>
                    </a:lnTo>
                    <a:lnTo>
                      <a:pt x="151" y="10"/>
                    </a:lnTo>
                    <a:lnTo>
                      <a:pt x="153" y="12"/>
                    </a:lnTo>
                    <a:lnTo>
                      <a:pt x="151" y="12"/>
                    </a:lnTo>
                    <a:lnTo>
                      <a:pt x="151" y="13"/>
                    </a:lnTo>
                    <a:lnTo>
                      <a:pt x="151" y="15"/>
                    </a:lnTo>
                    <a:lnTo>
                      <a:pt x="153" y="17"/>
                    </a:lnTo>
                    <a:lnTo>
                      <a:pt x="151" y="19"/>
                    </a:lnTo>
                    <a:lnTo>
                      <a:pt x="151" y="21"/>
                    </a:lnTo>
                    <a:lnTo>
                      <a:pt x="151" y="25"/>
                    </a:lnTo>
                    <a:lnTo>
                      <a:pt x="151" y="27"/>
                    </a:lnTo>
                    <a:lnTo>
                      <a:pt x="153" y="29"/>
                    </a:lnTo>
                    <a:lnTo>
                      <a:pt x="155" y="29"/>
                    </a:lnTo>
                    <a:lnTo>
                      <a:pt x="157" y="31"/>
                    </a:lnTo>
                    <a:lnTo>
                      <a:pt x="159" y="33"/>
                    </a:lnTo>
                    <a:lnTo>
                      <a:pt x="161" y="33"/>
                    </a:lnTo>
                    <a:lnTo>
                      <a:pt x="159" y="37"/>
                    </a:lnTo>
                    <a:lnTo>
                      <a:pt x="157" y="38"/>
                    </a:lnTo>
                    <a:lnTo>
                      <a:pt x="157" y="40"/>
                    </a:lnTo>
                    <a:lnTo>
                      <a:pt x="153" y="48"/>
                    </a:lnTo>
                    <a:lnTo>
                      <a:pt x="151" y="52"/>
                    </a:lnTo>
                    <a:lnTo>
                      <a:pt x="149" y="54"/>
                    </a:lnTo>
                    <a:lnTo>
                      <a:pt x="148" y="56"/>
                    </a:lnTo>
                    <a:lnTo>
                      <a:pt x="148" y="58"/>
                    </a:lnTo>
                    <a:lnTo>
                      <a:pt x="149" y="60"/>
                    </a:lnTo>
                    <a:lnTo>
                      <a:pt x="149" y="62"/>
                    </a:lnTo>
                    <a:lnTo>
                      <a:pt x="149" y="63"/>
                    </a:lnTo>
                    <a:lnTo>
                      <a:pt x="148" y="63"/>
                    </a:lnTo>
                    <a:lnTo>
                      <a:pt x="148" y="65"/>
                    </a:lnTo>
                    <a:lnTo>
                      <a:pt x="146" y="67"/>
                    </a:lnTo>
                    <a:lnTo>
                      <a:pt x="144" y="69"/>
                    </a:lnTo>
                    <a:lnTo>
                      <a:pt x="142" y="69"/>
                    </a:lnTo>
                    <a:lnTo>
                      <a:pt x="140" y="69"/>
                    </a:lnTo>
                    <a:lnTo>
                      <a:pt x="140" y="71"/>
                    </a:lnTo>
                    <a:lnTo>
                      <a:pt x="138" y="73"/>
                    </a:lnTo>
                    <a:lnTo>
                      <a:pt x="138" y="75"/>
                    </a:lnTo>
                    <a:lnTo>
                      <a:pt x="138" y="77"/>
                    </a:lnTo>
                    <a:lnTo>
                      <a:pt x="140" y="79"/>
                    </a:lnTo>
                    <a:lnTo>
                      <a:pt x="140" y="81"/>
                    </a:lnTo>
                    <a:lnTo>
                      <a:pt x="144" y="81"/>
                    </a:lnTo>
                    <a:lnTo>
                      <a:pt x="146" y="83"/>
                    </a:lnTo>
                    <a:lnTo>
                      <a:pt x="148" y="83"/>
                    </a:lnTo>
                    <a:lnTo>
                      <a:pt x="149" y="81"/>
                    </a:lnTo>
                    <a:lnTo>
                      <a:pt x="153" y="83"/>
                    </a:lnTo>
                    <a:lnTo>
                      <a:pt x="155" y="85"/>
                    </a:lnTo>
                    <a:lnTo>
                      <a:pt x="155" y="86"/>
                    </a:lnTo>
                    <a:lnTo>
                      <a:pt x="157" y="86"/>
                    </a:lnTo>
                    <a:lnTo>
                      <a:pt x="157" y="88"/>
                    </a:lnTo>
                    <a:lnTo>
                      <a:pt x="159" y="88"/>
                    </a:lnTo>
                    <a:lnTo>
                      <a:pt x="157" y="94"/>
                    </a:lnTo>
                    <a:lnTo>
                      <a:pt x="155" y="96"/>
                    </a:lnTo>
                    <a:lnTo>
                      <a:pt x="155" y="98"/>
                    </a:lnTo>
                    <a:lnTo>
                      <a:pt x="159" y="100"/>
                    </a:lnTo>
                    <a:lnTo>
                      <a:pt x="159" y="102"/>
                    </a:lnTo>
                    <a:lnTo>
                      <a:pt x="165" y="102"/>
                    </a:lnTo>
                    <a:lnTo>
                      <a:pt x="167" y="104"/>
                    </a:lnTo>
                    <a:lnTo>
                      <a:pt x="169" y="100"/>
                    </a:lnTo>
                    <a:lnTo>
                      <a:pt x="173" y="100"/>
                    </a:lnTo>
                    <a:lnTo>
                      <a:pt x="180" y="102"/>
                    </a:lnTo>
                    <a:lnTo>
                      <a:pt x="184" y="102"/>
                    </a:lnTo>
                    <a:lnTo>
                      <a:pt x="188" y="100"/>
                    </a:lnTo>
                    <a:lnTo>
                      <a:pt x="190" y="100"/>
                    </a:lnTo>
                    <a:lnTo>
                      <a:pt x="198" y="100"/>
                    </a:lnTo>
                    <a:lnTo>
                      <a:pt x="201" y="102"/>
                    </a:lnTo>
                    <a:lnTo>
                      <a:pt x="203" y="102"/>
                    </a:lnTo>
                    <a:lnTo>
                      <a:pt x="203" y="104"/>
                    </a:lnTo>
                    <a:lnTo>
                      <a:pt x="203" y="102"/>
                    </a:lnTo>
                    <a:lnTo>
                      <a:pt x="203" y="104"/>
                    </a:lnTo>
                    <a:lnTo>
                      <a:pt x="205" y="104"/>
                    </a:lnTo>
                    <a:lnTo>
                      <a:pt x="203" y="104"/>
                    </a:lnTo>
                    <a:close/>
                    <a:moveTo>
                      <a:pt x="173" y="131"/>
                    </a:moveTo>
                    <a:lnTo>
                      <a:pt x="173" y="129"/>
                    </a:lnTo>
                    <a:lnTo>
                      <a:pt x="173" y="131"/>
                    </a:lnTo>
                    <a:close/>
                    <a:moveTo>
                      <a:pt x="171" y="131"/>
                    </a:moveTo>
                    <a:lnTo>
                      <a:pt x="171" y="129"/>
                    </a:lnTo>
                    <a:lnTo>
                      <a:pt x="173" y="129"/>
                    </a:lnTo>
                    <a:lnTo>
                      <a:pt x="171" y="129"/>
                    </a:lnTo>
                    <a:lnTo>
                      <a:pt x="171" y="131"/>
                    </a:lnTo>
                    <a:lnTo>
                      <a:pt x="171" y="129"/>
                    </a:lnTo>
                    <a:lnTo>
                      <a:pt x="171" y="131"/>
                    </a:lnTo>
                    <a:lnTo>
                      <a:pt x="173" y="131"/>
                    </a:lnTo>
                    <a:lnTo>
                      <a:pt x="171" y="131"/>
                    </a:lnTo>
                    <a:close/>
                    <a:moveTo>
                      <a:pt x="171" y="131"/>
                    </a:moveTo>
                    <a:lnTo>
                      <a:pt x="171" y="129"/>
                    </a:lnTo>
                    <a:lnTo>
                      <a:pt x="171" y="131"/>
                    </a:lnTo>
                    <a:close/>
                    <a:moveTo>
                      <a:pt x="123" y="163"/>
                    </a:moveTo>
                    <a:lnTo>
                      <a:pt x="125" y="163"/>
                    </a:lnTo>
                    <a:lnTo>
                      <a:pt x="123" y="163"/>
                    </a:lnTo>
                    <a:lnTo>
                      <a:pt x="125" y="163"/>
                    </a:lnTo>
                    <a:lnTo>
                      <a:pt x="123" y="163"/>
                    </a:lnTo>
                    <a:close/>
                    <a:moveTo>
                      <a:pt x="213" y="300"/>
                    </a:moveTo>
                    <a:lnTo>
                      <a:pt x="215" y="300"/>
                    </a:lnTo>
                    <a:lnTo>
                      <a:pt x="213" y="300"/>
                    </a:lnTo>
                    <a:close/>
                    <a:moveTo>
                      <a:pt x="217" y="292"/>
                    </a:moveTo>
                    <a:lnTo>
                      <a:pt x="217" y="290"/>
                    </a:lnTo>
                    <a:lnTo>
                      <a:pt x="217" y="292"/>
                    </a:lnTo>
                    <a:close/>
                    <a:moveTo>
                      <a:pt x="178" y="190"/>
                    </a:moveTo>
                    <a:lnTo>
                      <a:pt x="180" y="190"/>
                    </a:lnTo>
                    <a:lnTo>
                      <a:pt x="178" y="190"/>
                    </a:lnTo>
                    <a:close/>
                    <a:moveTo>
                      <a:pt x="203" y="160"/>
                    </a:moveTo>
                    <a:lnTo>
                      <a:pt x="203" y="158"/>
                    </a:lnTo>
                    <a:lnTo>
                      <a:pt x="203" y="160"/>
                    </a:lnTo>
                    <a:close/>
                    <a:moveTo>
                      <a:pt x="205" y="158"/>
                    </a:moveTo>
                    <a:lnTo>
                      <a:pt x="205" y="156"/>
                    </a:lnTo>
                    <a:lnTo>
                      <a:pt x="205" y="158"/>
                    </a:lnTo>
                    <a:lnTo>
                      <a:pt x="205" y="156"/>
                    </a:lnTo>
                    <a:lnTo>
                      <a:pt x="205" y="158"/>
                    </a:lnTo>
                    <a:close/>
                    <a:moveTo>
                      <a:pt x="234" y="161"/>
                    </a:moveTo>
                    <a:lnTo>
                      <a:pt x="234" y="160"/>
                    </a:lnTo>
                    <a:lnTo>
                      <a:pt x="234" y="161"/>
                    </a:lnTo>
                    <a:lnTo>
                      <a:pt x="234" y="160"/>
                    </a:lnTo>
                    <a:lnTo>
                      <a:pt x="236" y="160"/>
                    </a:lnTo>
                    <a:lnTo>
                      <a:pt x="236" y="161"/>
                    </a:lnTo>
                    <a:lnTo>
                      <a:pt x="238" y="161"/>
                    </a:lnTo>
                    <a:lnTo>
                      <a:pt x="240" y="161"/>
                    </a:lnTo>
                    <a:lnTo>
                      <a:pt x="242" y="161"/>
                    </a:lnTo>
                    <a:lnTo>
                      <a:pt x="240" y="161"/>
                    </a:lnTo>
                    <a:lnTo>
                      <a:pt x="242" y="161"/>
                    </a:lnTo>
                    <a:lnTo>
                      <a:pt x="242" y="160"/>
                    </a:lnTo>
                    <a:lnTo>
                      <a:pt x="244" y="160"/>
                    </a:lnTo>
                    <a:lnTo>
                      <a:pt x="242" y="160"/>
                    </a:lnTo>
                    <a:lnTo>
                      <a:pt x="244" y="160"/>
                    </a:lnTo>
                    <a:lnTo>
                      <a:pt x="246" y="160"/>
                    </a:lnTo>
                    <a:lnTo>
                      <a:pt x="247" y="160"/>
                    </a:lnTo>
                    <a:lnTo>
                      <a:pt x="247" y="158"/>
                    </a:lnTo>
                    <a:lnTo>
                      <a:pt x="249" y="158"/>
                    </a:lnTo>
                    <a:lnTo>
                      <a:pt x="249" y="160"/>
                    </a:lnTo>
                    <a:lnTo>
                      <a:pt x="249" y="158"/>
                    </a:lnTo>
                    <a:lnTo>
                      <a:pt x="249" y="160"/>
                    </a:lnTo>
                    <a:lnTo>
                      <a:pt x="251" y="160"/>
                    </a:lnTo>
                    <a:lnTo>
                      <a:pt x="253" y="160"/>
                    </a:lnTo>
                    <a:lnTo>
                      <a:pt x="255" y="160"/>
                    </a:lnTo>
                    <a:lnTo>
                      <a:pt x="255" y="161"/>
                    </a:lnTo>
                    <a:lnTo>
                      <a:pt x="255" y="160"/>
                    </a:lnTo>
                    <a:lnTo>
                      <a:pt x="255" y="161"/>
                    </a:lnTo>
                    <a:lnTo>
                      <a:pt x="257" y="160"/>
                    </a:lnTo>
                    <a:lnTo>
                      <a:pt x="259" y="160"/>
                    </a:lnTo>
                    <a:lnTo>
                      <a:pt x="259" y="161"/>
                    </a:lnTo>
                    <a:lnTo>
                      <a:pt x="261" y="161"/>
                    </a:lnTo>
                    <a:lnTo>
                      <a:pt x="261" y="160"/>
                    </a:lnTo>
                    <a:lnTo>
                      <a:pt x="261" y="161"/>
                    </a:lnTo>
                    <a:lnTo>
                      <a:pt x="263" y="161"/>
                    </a:lnTo>
                    <a:lnTo>
                      <a:pt x="261" y="161"/>
                    </a:lnTo>
                    <a:lnTo>
                      <a:pt x="261" y="160"/>
                    </a:lnTo>
                    <a:lnTo>
                      <a:pt x="261" y="161"/>
                    </a:lnTo>
                    <a:lnTo>
                      <a:pt x="259" y="161"/>
                    </a:lnTo>
                    <a:lnTo>
                      <a:pt x="259" y="160"/>
                    </a:lnTo>
                    <a:lnTo>
                      <a:pt x="257" y="160"/>
                    </a:lnTo>
                    <a:lnTo>
                      <a:pt x="255" y="160"/>
                    </a:lnTo>
                    <a:lnTo>
                      <a:pt x="253" y="160"/>
                    </a:lnTo>
                    <a:lnTo>
                      <a:pt x="251" y="160"/>
                    </a:lnTo>
                    <a:lnTo>
                      <a:pt x="249" y="160"/>
                    </a:lnTo>
                    <a:lnTo>
                      <a:pt x="249" y="158"/>
                    </a:lnTo>
                    <a:lnTo>
                      <a:pt x="249" y="160"/>
                    </a:lnTo>
                    <a:lnTo>
                      <a:pt x="249" y="158"/>
                    </a:lnTo>
                    <a:lnTo>
                      <a:pt x="247" y="158"/>
                    </a:lnTo>
                    <a:lnTo>
                      <a:pt x="247" y="160"/>
                    </a:lnTo>
                    <a:lnTo>
                      <a:pt x="246" y="160"/>
                    </a:lnTo>
                    <a:lnTo>
                      <a:pt x="246" y="158"/>
                    </a:lnTo>
                    <a:lnTo>
                      <a:pt x="246" y="160"/>
                    </a:lnTo>
                    <a:lnTo>
                      <a:pt x="244" y="160"/>
                    </a:lnTo>
                    <a:lnTo>
                      <a:pt x="242" y="160"/>
                    </a:lnTo>
                    <a:lnTo>
                      <a:pt x="244" y="160"/>
                    </a:lnTo>
                    <a:lnTo>
                      <a:pt x="242" y="160"/>
                    </a:lnTo>
                    <a:lnTo>
                      <a:pt x="242" y="161"/>
                    </a:lnTo>
                    <a:lnTo>
                      <a:pt x="240" y="161"/>
                    </a:lnTo>
                    <a:lnTo>
                      <a:pt x="242" y="161"/>
                    </a:lnTo>
                    <a:lnTo>
                      <a:pt x="240" y="161"/>
                    </a:lnTo>
                    <a:lnTo>
                      <a:pt x="238" y="161"/>
                    </a:lnTo>
                    <a:lnTo>
                      <a:pt x="236" y="161"/>
                    </a:lnTo>
                    <a:lnTo>
                      <a:pt x="236" y="160"/>
                    </a:lnTo>
                    <a:lnTo>
                      <a:pt x="234" y="160"/>
                    </a:lnTo>
                    <a:lnTo>
                      <a:pt x="232" y="160"/>
                    </a:lnTo>
                    <a:lnTo>
                      <a:pt x="234" y="158"/>
                    </a:lnTo>
                    <a:lnTo>
                      <a:pt x="232" y="158"/>
                    </a:lnTo>
                    <a:lnTo>
                      <a:pt x="234" y="158"/>
                    </a:lnTo>
                    <a:lnTo>
                      <a:pt x="232" y="160"/>
                    </a:lnTo>
                    <a:lnTo>
                      <a:pt x="234" y="160"/>
                    </a:lnTo>
                    <a:lnTo>
                      <a:pt x="234" y="161"/>
                    </a:lnTo>
                    <a:lnTo>
                      <a:pt x="232" y="161"/>
                    </a:lnTo>
                    <a:lnTo>
                      <a:pt x="234" y="161"/>
                    </a:lnTo>
                    <a:close/>
                    <a:moveTo>
                      <a:pt x="221" y="156"/>
                    </a:moveTo>
                    <a:lnTo>
                      <a:pt x="223" y="156"/>
                    </a:lnTo>
                    <a:lnTo>
                      <a:pt x="221" y="156"/>
                    </a:lnTo>
                    <a:lnTo>
                      <a:pt x="221" y="154"/>
                    </a:lnTo>
                    <a:lnTo>
                      <a:pt x="221" y="156"/>
                    </a:lnTo>
                    <a:lnTo>
                      <a:pt x="221" y="154"/>
                    </a:lnTo>
                    <a:lnTo>
                      <a:pt x="221" y="156"/>
                    </a:lnTo>
                    <a:lnTo>
                      <a:pt x="223" y="156"/>
                    </a:lnTo>
                    <a:lnTo>
                      <a:pt x="221" y="156"/>
                    </a:lnTo>
                    <a:lnTo>
                      <a:pt x="221" y="158"/>
                    </a:lnTo>
                    <a:lnTo>
                      <a:pt x="221" y="156"/>
                    </a:lnTo>
                    <a:close/>
                    <a:moveTo>
                      <a:pt x="223" y="125"/>
                    </a:moveTo>
                    <a:lnTo>
                      <a:pt x="224" y="125"/>
                    </a:lnTo>
                    <a:lnTo>
                      <a:pt x="223" y="125"/>
                    </a:lnTo>
                    <a:close/>
                    <a:moveTo>
                      <a:pt x="219" y="152"/>
                    </a:moveTo>
                    <a:lnTo>
                      <a:pt x="217" y="152"/>
                    </a:lnTo>
                    <a:lnTo>
                      <a:pt x="219" y="152"/>
                    </a:lnTo>
                    <a:close/>
                    <a:moveTo>
                      <a:pt x="169" y="208"/>
                    </a:moveTo>
                    <a:lnTo>
                      <a:pt x="171" y="208"/>
                    </a:lnTo>
                    <a:lnTo>
                      <a:pt x="169" y="208"/>
                    </a:lnTo>
                    <a:close/>
                    <a:moveTo>
                      <a:pt x="169" y="204"/>
                    </a:moveTo>
                    <a:lnTo>
                      <a:pt x="171" y="204"/>
                    </a:lnTo>
                    <a:lnTo>
                      <a:pt x="169" y="204"/>
                    </a:lnTo>
                    <a:close/>
                    <a:moveTo>
                      <a:pt x="144" y="185"/>
                    </a:moveTo>
                    <a:lnTo>
                      <a:pt x="142" y="185"/>
                    </a:lnTo>
                    <a:lnTo>
                      <a:pt x="144" y="185"/>
                    </a:lnTo>
                    <a:close/>
                    <a:moveTo>
                      <a:pt x="159" y="183"/>
                    </a:moveTo>
                    <a:lnTo>
                      <a:pt x="159" y="181"/>
                    </a:lnTo>
                    <a:lnTo>
                      <a:pt x="159" y="183"/>
                    </a:lnTo>
                    <a:close/>
                    <a:moveTo>
                      <a:pt x="146" y="181"/>
                    </a:moveTo>
                    <a:lnTo>
                      <a:pt x="146" y="179"/>
                    </a:lnTo>
                    <a:lnTo>
                      <a:pt x="146" y="181"/>
                    </a:lnTo>
                    <a:lnTo>
                      <a:pt x="146" y="179"/>
                    </a:lnTo>
                    <a:lnTo>
                      <a:pt x="146" y="181"/>
                    </a:lnTo>
                    <a:close/>
                    <a:moveTo>
                      <a:pt x="201" y="119"/>
                    </a:moveTo>
                    <a:lnTo>
                      <a:pt x="201" y="121"/>
                    </a:lnTo>
                    <a:lnTo>
                      <a:pt x="201" y="119"/>
                    </a:lnTo>
                    <a:lnTo>
                      <a:pt x="201" y="121"/>
                    </a:lnTo>
                    <a:lnTo>
                      <a:pt x="201" y="119"/>
                    </a:lnTo>
                    <a:close/>
                    <a:moveTo>
                      <a:pt x="171" y="185"/>
                    </a:moveTo>
                    <a:lnTo>
                      <a:pt x="173" y="183"/>
                    </a:lnTo>
                    <a:lnTo>
                      <a:pt x="171" y="185"/>
                    </a:lnTo>
                    <a:close/>
                    <a:moveTo>
                      <a:pt x="173" y="183"/>
                    </a:moveTo>
                    <a:lnTo>
                      <a:pt x="173" y="185"/>
                    </a:lnTo>
                    <a:lnTo>
                      <a:pt x="173" y="183"/>
                    </a:lnTo>
                    <a:close/>
                    <a:moveTo>
                      <a:pt x="173" y="183"/>
                    </a:moveTo>
                    <a:lnTo>
                      <a:pt x="171" y="183"/>
                    </a:lnTo>
                    <a:lnTo>
                      <a:pt x="173" y="183"/>
                    </a:lnTo>
                    <a:close/>
                    <a:moveTo>
                      <a:pt x="173" y="183"/>
                    </a:moveTo>
                    <a:lnTo>
                      <a:pt x="173" y="185"/>
                    </a:lnTo>
                    <a:lnTo>
                      <a:pt x="173" y="183"/>
                    </a:lnTo>
                    <a:close/>
                    <a:moveTo>
                      <a:pt x="173" y="183"/>
                    </a:moveTo>
                    <a:lnTo>
                      <a:pt x="173" y="185"/>
                    </a:lnTo>
                    <a:lnTo>
                      <a:pt x="173" y="183"/>
                    </a:lnTo>
                    <a:close/>
                    <a:moveTo>
                      <a:pt x="173" y="183"/>
                    </a:moveTo>
                    <a:lnTo>
                      <a:pt x="174" y="183"/>
                    </a:lnTo>
                    <a:lnTo>
                      <a:pt x="173" y="183"/>
                    </a:lnTo>
                    <a:lnTo>
                      <a:pt x="174" y="183"/>
                    </a:lnTo>
                    <a:lnTo>
                      <a:pt x="173" y="183"/>
                    </a:lnTo>
                    <a:close/>
                    <a:moveTo>
                      <a:pt x="174" y="181"/>
                    </a:moveTo>
                    <a:lnTo>
                      <a:pt x="176" y="181"/>
                    </a:lnTo>
                    <a:lnTo>
                      <a:pt x="176" y="179"/>
                    </a:lnTo>
                    <a:lnTo>
                      <a:pt x="176" y="181"/>
                    </a:lnTo>
                    <a:lnTo>
                      <a:pt x="174" y="181"/>
                    </a:lnTo>
                    <a:close/>
                    <a:moveTo>
                      <a:pt x="188" y="169"/>
                    </a:moveTo>
                    <a:lnTo>
                      <a:pt x="186" y="169"/>
                    </a:lnTo>
                    <a:lnTo>
                      <a:pt x="188" y="169"/>
                    </a:lnTo>
                    <a:close/>
                    <a:moveTo>
                      <a:pt x="249" y="158"/>
                    </a:moveTo>
                    <a:lnTo>
                      <a:pt x="247" y="158"/>
                    </a:lnTo>
                    <a:lnTo>
                      <a:pt x="249" y="158"/>
                    </a:lnTo>
                    <a:close/>
                    <a:moveTo>
                      <a:pt x="209" y="138"/>
                    </a:moveTo>
                    <a:lnTo>
                      <a:pt x="209" y="136"/>
                    </a:lnTo>
                    <a:lnTo>
                      <a:pt x="209" y="138"/>
                    </a:lnTo>
                    <a:close/>
                    <a:moveTo>
                      <a:pt x="203" y="131"/>
                    </a:moveTo>
                    <a:lnTo>
                      <a:pt x="203" y="133"/>
                    </a:lnTo>
                    <a:lnTo>
                      <a:pt x="203" y="131"/>
                    </a:lnTo>
                    <a:lnTo>
                      <a:pt x="203" y="133"/>
                    </a:lnTo>
                    <a:lnTo>
                      <a:pt x="203" y="131"/>
                    </a:lnTo>
                    <a:close/>
                    <a:moveTo>
                      <a:pt x="209" y="127"/>
                    </a:moveTo>
                    <a:lnTo>
                      <a:pt x="211" y="127"/>
                    </a:lnTo>
                    <a:lnTo>
                      <a:pt x="209" y="127"/>
                    </a:lnTo>
                    <a:close/>
                    <a:moveTo>
                      <a:pt x="223" y="123"/>
                    </a:moveTo>
                    <a:lnTo>
                      <a:pt x="221" y="123"/>
                    </a:lnTo>
                    <a:lnTo>
                      <a:pt x="223" y="123"/>
                    </a:lnTo>
                    <a:close/>
                    <a:moveTo>
                      <a:pt x="226" y="110"/>
                    </a:moveTo>
                    <a:lnTo>
                      <a:pt x="228" y="110"/>
                    </a:lnTo>
                    <a:lnTo>
                      <a:pt x="226" y="110"/>
                    </a:lnTo>
                    <a:lnTo>
                      <a:pt x="228" y="110"/>
                    </a:lnTo>
                    <a:lnTo>
                      <a:pt x="226" y="11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Freeform 43">
                <a:extLst>
                  <a:ext uri="{FF2B5EF4-FFF2-40B4-BE49-F238E27FC236}">
                    <a16:creationId xmlns="" xmlns:a16="http://schemas.microsoft.com/office/drawing/2014/main" id="{7403BBAA-7436-4A12-A09D-541EF0B1DD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25825" y="3219451"/>
                <a:ext cx="195263" cy="317500"/>
              </a:xfrm>
              <a:custGeom>
                <a:avLst/>
                <a:gdLst>
                  <a:gd name="T0" fmla="*/ 113 w 123"/>
                  <a:gd name="T1" fmla="*/ 196 h 200"/>
                  <a:gd name="T2" fmla="*/ 113 w 123"/>
                  <a:gd name="T3" fmla="*/ 194 h 200"/>
                  <a:gd name="T4" fmla="*/ 115 w 123"/>
                  <a:gd name="T5" fmla="*/ 188 h 200"/>
                  <a:gd name="T6" fmla="*/ 107 w 123"/>
                  <a:gd name="T7" fmla="*/ 188 h 200"/>
                  <a:gd name="T8" fmla="*/ 113 w 123"/>
                  <a:gd name="T9" fmla="*/ 186 h 200"/>
                  <a:gd name="T10" fmla="*/ 111 w 123"/>
                  <a:gd name="T11" fmla="*/ 185 h 200"/>
                  <a:gd name="T12" fmla="*/ 113 w 123"/>
                  <a:gd name="T13" fmla="*/ 177 h 200"/>
                  <a:gd name="T14" fmla="*/ 111 w 123"/>
                  <a:gd name="T15" fmla="*/ 169 h 200"/>
                  <a:gd name="T16" fmla="*/ 109 w 123"/>
                  <a:gd name="T17" fmla="*/ 167 h 200"/>
                  <a:gd name="T18" fmla="*/ 115 w 123"/>
                  <a:gd name="T19" fmla="*/ 165 h 200"/>
                  <a:gd name="T20" fmla="*/ 111 w 123"/>
                  <a:gd name="T21" fmla="*/ 163 h 200"/>
                  <a:gd name="T22" fmla="*/ 107 w 123"/>
                  <a:gd name="T23" fmla="*/ 154 h 200"/>
                  <a:gd name="T24" fmla="*/ 90 w 123"/>
                  <a:gd name="T25" fmla="*/ 146 h 200"/>
                  <a:gd name="T26" fmla="*/ 82 w 123"/>
                  <a:gd name="T27" fmla="*/ 131 h 200"/>
                  <a:gd name="T28" fmla="*/ 74 w 123"/>
                  <a:gd name="T29" fmla="*/ 119 h 200"/>
                  <a:gd name="T30" fmla="*/ 76 w 123"/>
                  <a:gd name="T31" fmla="*/ 108 h 200"/>
                  <a:gd name="T32" fmla="*/ 69 w 123"/>
                  <a:gd name="T33" fmla="*/ 94 h 200"/>
                  <a:gd name="T34" fmla="*/ 71 w 123"/>
                  <a:gd name="T35" fmla="*/ 94 h 200"/>
                  <a:gd name="T36" fmla="*/ 69 w 123"/>
                  <a:gd name="T37" fmla="*/ 86 h 200"/>
                  <a:gd name="T38" fmla="*/ 69 w 123"/>
                  <a:gd name="T39" fmla="*/ 86 h 200"/>
                  <a:gd name="T40" fmla="*/ 69 w 123"/>
                  <a:gd name="T41" fmla="*/ 83 h 200"/>
                  <a:gd name="T42" fmla="*/ 69 w 123"/>
                  <a:gd name="T43" fmla="*/ 83 h 200"/>
                  <a:gd name="T44" fmla="*/ 30 w 123"/>
                  <a:gd name="T45" fmla="*/ 65 h 200"/>
                  <a:gd name="T46" fmla="*/ 76 w 123"/>
                  <a:gd name="T47" fmla="*/ 77 h 200"/>
                  <a:gd name="T48" fmla="*/ 74 w 123"/>
                  <a:gd name="T49" fmla="*/ 75 h 200"/>
                  <a:gd name="T50" fmla="*/ 26 w 123"/>
                  <a:gd name="T51" fmla="*/ 54 h 200"/>
                  <a:gd name="T52" fmla="*/ 86 w 123"/>
                  <a:gd name="T53" fmla="*/ 71 h 200"/>
                  <a:gd name="T54" fmla="*/ 69 w 123"/>
                  <a:gd name="T55" fmla="*/ 61 h 200"/>
                  <a:gd name="T56" fmla="*/ 71 w 123"/>
                  <a:gd name="T57" fmla="*/ 61 h 200"/>
                  <a:gd name="T58" fmla="*/ 88 w 123"/>
                  <a:gd name="T59" fmla="*/ 65 h 200"/>
                  <a:gd name="T60" fmla="*/ 88 w 123"/>
                  <a:gd name="T61" fmla="*/ 60 h 200"/>
                  <a:gd name="T62" fmla="*/ 98 w 123"/>
                  <a:gd name="T63" fmla="*/ 63 h 200"/>
                  <a:gd name="T64" fmla="*/ 99 w 123"/>
                  <a:gd name="T65" fmla="*/ 60 h 200"/>
                  <a:gd name="T66" fmla="*/ 101 w 123"/>
                  <a:gd name="T67" fmla="*/ 58 h 200"/>
                  <a:gd name="T68" fmla="*/ 96 w 123"/>
                  <a:gd name="T69" fmla="*/ 54 h 200"/>
                  <a:gd name="T70" fmla="*/ 92 w 123"/>
                  <a:gd name="T71" fmla="*/ 54 h 200"/>
                  <a:gd name="T72" fmla="*/ 94 w 123"/>
                  <a:gd name="T73" fmla="*/ 54 h 200"/>
                  <a:gd name="T74" fmla="*/ 94 w 123"/>
                  <a:gd name="T75" fmla="*/ 50 h 200"/>
                  <a:gd name="T76" fmla="*/ 101 w 123"/>
                  <a:gd name="T77" fmla="*/ 52 h 200"/>
                  <a:gd name="T78" fmla="*/ 78 w 123"/>
                  <a:gd name="T79" fmla="*/ 44 h 200"/>
                  <a:gd name="T80" fmla="*/ 98 w 123"/>
                  <a:gd name="T81" fmla="*/ 48 h 200"/>
                  <a:gd name="T82" fmla="*/ 103 w 123"/>
                  <a:gd name="T83" fmla="*/ 50 h 200"/>
                  <a:gd name="T84" fmla="*/ 82 w 123"/>
                  <a:gd name="T85" fmla="*/ 42 h 200"/>
                  <a:gd name="T86" fmla="*/ 115 w 123"/>
                  <a:gd name="T87" fmla="*/ 52 h 200"/>
                  <a:gd name="T88" fmla="*/ 88 w 123"/>
                  <a:gd name="T89" fmla="*/ 40 h 200"/>
                  <a:gd name="T90" fmla="*/ 111 w 123"/>
                  <a:gd name="T91" fmla="*/ 44 h 200"/>
                  <a:gd name="T92" fmla="*/ 88 w 123"/>
                  <a:gd name="T93" fmla="*/ 38 h 200"/>
                  <a:gd name="T94" fmla="*/ 111 w 123"/>
                  <a:gd name="T95" fmla="*/ 42 h 200"/>
                  <a:gd name="T96" fmla="*/ 92 w 123"/>
                  <a:gd name="T97" fmla="*/ 35 h 200"/>
                  <a:gd name="T98" fmla="*/ 113 w 123"/>
                  <a:gd name="T99" fmla="*/ 38 h 200"/>
                  <a:gd name="T100" fmla="*/ 96 w 123"/>
                  <a:gd name="T101" fmla="*/ 29 h 200"/>
                  <a:gd name="T102" fmla="*/ 103 w 123"/>
                  <a:gd name="T103" fmla="*/ 27 h 200"/>
                  <a:gd name="T104" fmla="*/ 105 w 123"/>
                  <a:gd name="T105" fmla="*/ 27 h 200"/>
                  <a:gd name="T106" fmla="*/ 101 w 123"/>
                  <a:gd name="T107" fmla="*/ 23 h 200"/>
                  <a:gd name="T108" fmla="*/ 105 w 123"/>
                  <a:gd name="T109" fmla="*/ 23 h 200"/>
                  <a:gd name="T110" fmla="*/ 117 w 123"/>
                  <a:gd name="T111" fmla="*/ 23 h 200"/>
                  <a:gd name="T112" fmla="*/ 117 w 123"/>
                  <a:gd name="T113" fmla="*/ 19 h 200"/>
                  <a:gd name="T114" fmla="*/ 121 w 123"/>
                  <a:gd name="T115" fmla="*/ 13 h 200"/>
                  <a:gd name="T116" fmla="*/ 113 w 123"/>
                  <a:gd name="T117" fmla="*/ 4 h 200"/>
                  <a:gd name="T118" fmla="*/ 117 w 123"/>
                  <a:gd name="T119" fmla="*/ 2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3" h="200">
                    <a:moveTo>
                      <a:pt x="111" y="198"/>
                    </a:moveTo>
                    <a:lnTo>
                      <a:pt x="111" y="200"/>
                    </a:lnTo>
                    <a:lnTo>
                      <a:pt x="111" y="198"/>
                    </a:lnTo>
                    <a:close/>
                    <a:moveTo>
                      <a:pt x="119" y="198"/>
                    </a:moveTo>
                    <a:lnTo>
                      <a:pt x="119" y="200"/>
                    </a:lnTo>
                    <a:lnTo>
                      <a:pt x="117" y="200"/>
                    </a:lnTo>
                    <a:lnTo>
                      <a:pt x="117" y="198"/>
                    </a:lnTo>
                    <a:lnTo>
                      <a:pt x="119" y="198"/>
                    </a:lnTo>
                    <a:close/>
                    <a:moveTo>
                      <a:pt x="117" y="196"/>
                    </a:moveTo>
                    <a:lnTo>
                      <a:pt x="119" y="198"/>
                    </a:lnTo>
                    <a:lnTo>
                      <a:pt x="117" y="198"/>
                    </a:lnTo>
                    <a:lnTo>
                      <a:pt x="117" y="196"/>
                    </a:lnTo>
                    <a:close/>
                    <a:moveTo>
                      <a:pt x="113" y="196"/>
                    </a:moveTo>
                    <a:lnTo>
                      <a:pt x="113" y="194"/>
                    </a:lnTo>
                    <a:lnTo>
                      <a:pt x="113" y="196"/>
                    </a:lnTo>
                    <a:lnTo>
                      <a:pt x="113" y="194"/>
                    </a:lnTo>
                    <a:lnTo>
                      <a:pt x="113" y="196"/>
                    </a:lnTo>
                    <a:close/>
                    <a:moveTo>
                      <a:pt x="107" y="192"/>
                    </a:moveTo>
                    <a:lnTo>
                      <a:pt x="107" y="194"/>
                    </a:lnTo>
                    <a:lnTo>
                      <a:pt x="107" y="192"/>
                    </a:lnTo>
                    <a:lnTo>
                      <a:pt x="105" y="194"/>
                    </a:lnTo>
                    <a:lnTo>
                      <a:pt x="105" y="192"/>
                    </a:lnTo>
                    <a:lnTo>
                      <a:pt x="105" y="194"/>
                    </a:lnTo>
                    <a:lnTo>
                      <a:pt x="105" y="192"/>
                    </a:lnTo>
                    <a:lnTo>
                      <a:pt x="107" y="192"/>
                    </a:lnTo>
                    <a:close/>
                    <a:moveTo>
                      <a:pt x="109" y="194"/>
                    </a:moveTo>
                    <a:lnTo>
                      <a:pt x="111" y="194"/>
                    </a:lnTo>
                    <a:lnTo>
                      <a:pt x="109" y="194"/>
                    </a:lnTo>
                    <a:close/>
                    <a:moveTo>
                      <a:pt x="111" y="194"/>
                    </a:moveTo>
                    <a:lnTo>
                      <a:pt x="113" y="194"/>
                    </a:lnTo>
                    <a:lnTo>
                      <a:pt x="111" y="194"/>
                    </a:lnTo>
                    <a:close/>
                    <a:moveTo>
                      <a:pt x="105" y="190"/>
                    </a:moveTo>
                    <a:lnTo>
                      <a:pt x="107" y="190"/>
                    </a:lnTo>
                    <a:lnTo>
                      <a:pt x="105" y="190"/>
                    </a:lnTo>
                    <a:lnTo>
                      <a:pt x="107" y="188"/>
                    </a:lnTo>
                    <a:lnTo>
                      <a:pt x="107" y="190"/>
                    </a:lnTo>
                    <a:lnTo>
                      <a:pt x="105" y="190"/>
                    </a:lnTo>
                    <a:close/>
                    <a:moveTo>
                      <a:pt x="109" y="190"/>
                    </a:moveTo>
                    <a:lnTo>
                      <a:pt x="109" y="188"/>
                    </a:lnTo>
                    <a:lnTo>
                      <a:pt x="109" y="190"/>
                    </a:lnTo>
                    <a:close/>
                    <a:moveTo>
                      <a:pt x="115" y="192"/>
                    </a:moveTo>
                    <a:lnTo>
                      <a:pt x="115" y="190"/>
                    </a:lnTo>
                    <a:lnTo>
                      <a:pt x="117" y="190"/>
                    </a:lnTo>
                    <a:lnTo>
                      <a:pt x="115" y="192"/>
                    </a:lnTo>
                    <a:close/>
                    <a:moveTo>
                      <a:pt x="115" y="188"/>
                    </a:moveTo>
                    <a:lnTo>
                      <a:pt x="115" y="190"/>
                    </a:lnTo>
                    <a:lnTo>
                      <a:pt x="115" y="188"/>
                    </a:lnTo>
                    <a:close/>
                    <a:moveTo>
                      <a:pt x="107" y="188"/>
                    </a:moveTo>
                    <a:lnTo>
                      <a:pt x="107" y="186"/>
                    </a:lnTo>
                    <a:lnTo>
                      <a:pt x="107" y="188"/>
                    </a:lnTo>
                    <a:lnTo>
                      <a:pt x="107" y="186"/>
                    </a:lnTo>
                    <a:lnTo>
                      <a:pt x="107" y="188"/>
                    </a:lnTo>
                    <a:lnTo>
                      <a:pt x="109" y="186"/>
                    </a:lnTo>
                    <a:lnTo>
                      <a:pt x="107" y="188"/>
                    </a:lnTo>
                    <a:close/>
                    <a:moveTo>
                      <a:pt x="107" y="188"/>
                    </a:moveTo>
                    <a:lnTo>
                      <a:pt x="109" y="186"/>
                    </a:lnTo>
                    <a:lnTo>
                      <a:pt x="109" y="188"/>
                    </a:lnTo>
                    <a:lnTo>
                      <a:pt x="109" y="186"/>
                    </a:lnTo>
                    <a:lnTo>
                      <a:pt x="109" y="188"/>
                    </a:lnTo>
                    <a:lnTo>
                      <a:pt x="107" y="188"/>
                    </a:lnTo>
                    <a:close/>
                    <a:moveTo>
                      <a:pt x="107" y="186"/>
                    </a:moveTo>
                    <a:lnTo>
                      <a:pt x="105" y="186"/>
                    </a:lnTo>
                    <a:lnTo>
                      <a:pt x="107" y="185"/>
                    </a:lnTo>
                    <a:lnTo>
                      <a:pt x="105" y="186"/>
                    </a:lnTo>
                    <a:lnTo>
                      <a:pt x="107" y="186"/>
                    </a:lnTo>
                    <a:close/>
                    <a:moveTo>
                      <a:pt x="115" y="188"/>
                    </a:moveTo>
                    <a:lnTo>
                      <a:pt x="117" y="188"/>
                    </a:lnTo>
                    <a:lnTo>
                      <a:pt x="115" y="188"/>
                    </a:lnTo>
                    <a:lnTo>
                      <a:pt x="117" y="188"/>
                    </a:lnTo>
                    <a:lnTo>
                      <a:pt x="117" y="190"/>
                    </a:lnTo>
                    <a:lnTo>
                      <a:pt x="115" y="190"/>
                    </a:lnTo>
                    <a:lnTo>
                      <a:pt x="117" y="190"/>
                    </a:lnTo>
                    <a:lnTo>
                      <a:pt x="117" y="188"/>
                    </a:lnTo>
                    <a:lnTo>
                      <a:pt x="115" y="188"/>
                    </a:lnTo>
                    <a:close/>
                    <a:moveTo>
                      <a:pt x="113" y="186"/>
                    </a:moveTo>
                    <a:lnTo>
                      <a:pt x="111" y="186"/>
                    </a:lnTo>
                    <a:lnTo>
                      <a:pt x="111" y="185"/>
                    </a:lnTo>
                    <a:lnTo>
                      <a:pt x="111" y="186"/>
                    </a:lnTo>
                    <a:lnTo>
                      <a:pt x="113" y="186"/>
                    </a:lnTo>
                    <a:close/>
                    <a:moveTo>
                      <a:pt x="117" y="188"/>
                    </a:moveTo>
                    <a:lnTo>
                      <a:pt x="117" y="186"/>
                    </a:lnTo>
                    <a:lnTo>
                      <a:pt x="117" y="188"/>
                    </a:lnTo>
                    <a:close/>
                    <a:moveTo>
                      <a:pt x="111" y="185"/>
                    </a:moveTo>
                    <a:lnTo>
                      <a:pt x="111" y="186"/>
                    </a:lnTo>
                    <a:lnTo>
                      <a:pt x="111" y="185"/>
                    </a:lnTo>
                    <a:close/>
                    <a:moveTo>
                      <a:pt x="111" y="185"/>
                    </a:moveTo>
                    <a:lnTo>
                      <a:pt x="111" y="183"/>
                    </a:lnTo>
                    <a:lnTo>
                      <a:pt x="111" y="185"/>
                    </a:lnTo>
                    <a:close/>
                    <a:moveTo>
                      <a:pt x="111" y="183"/>
                    </a:moveTo>
                    <a:lnTo>
                      <a:pt x="111" y="185"/>
                    </a:lnTo>
                    <a:lnTo>
                      <a:pt x="111" y="183"/>
                    </a:lnTo>
                    <a:lnTo>
                      <a:pt x="111" y="185"/>
                    </a:lnTo>
                    <a:lnTo>
                      <a:pt x="111" y="183"/>
                    </a:lnTo>
                    <a:close/>
                    <a:moveTo>
                      <a:pt x="117" y="186"/>
                    </a:moveTo>
                    <a:lnTo>
                      <a:pt x="117" y="185"/>
                    </a:lnTo>
                    <a:lnTo>
                      <a:pt x="117" y="186"/>
                    </a:lnTo>
                    <a:close/>
                    <a:moveTo>
                      <a:pt x="113" y="181"/>
                    </a:moveTo>
                    <a:lnTo>
                      <a:pt x="115" y="181"/>
                    </a:lnTo>
                    <a:lnTo>
                      <a:pt x="113" y="181"/>
                    </a:lnTo>
                    <a:lnTo>
                      <a:pt x="113" y="179"/>
                    </a:lnTo>
                    <a:lnTo>
                      <a:pt x="113" y="181"/>
                    </a:lnTo>
                    <a:close/>
                    <a:moveTo>
                      <a:pt x="113" y="175"/>
                    </a:moveTo>
                    <a:lnTo>
                      <a:pt x="113" y="177"/>
                    </a:lnTo>
                    <a:lnTo>
                      <a:pt x="113" y="175"/>
                    </a:lnTo>
                    <a:lnTo>
                      <a:pt x="113" y="177"/>
                    </a:lnTo>
                    <a:lnTo>
                      <a:pt x="113" y="175"/>
                    </a:lnTo>
                    <a:close/>
                    <a:moveTo>
                      <a:pt x="115" y="175"/>
                    </a:moveTo>
                    <a:lnTo>
                      <a:pt x="115" y="173"/>
                    </a:lnTo>
                    <a:lnTo>
                      <a:pt x="115" y="175"/>
                    </a:lnTo>
                    <a:close/>
                    <a:moveTo>
                      <a:pt x="115" y="171"/>
                    </a:moveTo>
                    <a:lnTo>
                      <a:pt x="115" y="173"/>
                    </a:lnTo>
                    <a:lnTo>
                      <a:pt x="115" y="171"/>
                    </a:lnTo>
                    <a:lnTo>
                      <a:pt x="115" y="173"/>
                    </a:lnTo>
                    <a:lnTo>
                      <a:pt x="115" y="171"/>
                    </a:lnTo>
                    <a:close/>
                    <a:moveTo>
                      <a:pt x="111" y="169"/>
                    </a:moveTo>
                    <a:lnTo>
                      <a:pt x="111" y="171"/>
                    </a:lnTo>
                    <a:lnTo>
                      <a:pt x="109" y="171"/>
                    </a:lnTo>
                    <a:lnTo>
                      <a:pt x="111" y="169"/>
                    </a:lnTo>
                    <a:lnTo>
                      <a:pt x="111" y="171"/>
                    </a:lnTo>
                    <a:lnTo>
                      <a:pt x="111" y="169"/>
                    </a:lnTo>
                    <a:close/>
                    <a:moveTo>
                      <a:pt x="107" y="169"/>
                    </a:moveTo>
                    <a:lnTo>
                      <a:pt x="105" y="169"/>
                    </a:lnTo>
                    <a:lnTo>
                      <a:pt x="107" y="167"/>
                    </a:lnTo>
                    <a:lnTo>
                      <a:pt x="107" y="169"/>
                    </a:lnTo>
                    <a:close/>
                    <a:moveTo>
                      <a:pt x="115" y="171"/>
                    </a:moveTo>
                    <a:lnTo>
                      <a:pt x="117" y="171"/>
                    </a:lnTo>
                    <a:lnTo>
                      <a:pt x="115" y="171"/>
                    </a:lnTo>
                    <a:lnTo>
                      <a:pt x="115" y="173"/>
                    </a:lnTo>
                    <a:lnTo>
                      <a:pt x="115" y="171"/>
                    </a:lnTo>
                    <a:lnTo>
                      <a:pt x="115" y="169"/>
                    </a:lnTo>
                    <a:lnTo>
                      <a:pt x="115" y="171"/>
                    </a:lnTo>
                    <a:close/>
                    <a:moveTo>
                      <a:pt x="111" y="167"/>
                    </a:moveTo>
                    <a:lnTo>
                      <a:pt x="109" y="167"/>
                    </a:lnTo>
                    <a:lnTo>
                      <a:pt x="111" y="167"/>
                    </a:lnTo>
                    <a:lnTo>
                      <a:pt x="109" y="167"/>
                    </a:lnTo>
                    <a:lnTo>
                      <a:pt x="111" y="167"/>
                    </a:lnTo>
                    <a:close/>
                    <a:moveTo>
                      <a:pt x="113" y="167"/>
                    </a:moveTo>
                    <a:lnTo>
                      <a:pt x="113" y="169"/>
                    </a:lnTo>
                    <a:lnTo>
                      <a:pt x="115" y="169"/>
                    </a:lnTo>
                    <a:lnTo>
                      <a:pt x="113" y="169"/>
                    </a:lnTo>
                    <a:lnTo>
                      <a:pt x="113" y="167"/>
                    </a:lnTo>
                    <a:close/>
                    <a:moveTo>
                      <a:pt x="107" y="165"/>
                    </a:moveTo>
                    <a:lnTo>
                      <a:pt x="105" y="165"/>
                    </a:lnTo>
                    <a:lnTo>
                      <a:pt x="107" y="165"/>
                    </a:lnTo>
                    <a:close/>
                    <a:moveTo>
                      <a:pt x="115" y="167"/>
                    </a:moveTo>
                    <a:lnTo>
                      <a:pt x="113" y="167"/>
                    </a:lnTo>
                    <a:lnTo>
                      <a:pt x="115" y="167"/>
                    </a:lnTo>
                    <a:close/>
                    <a:moveTo>
                      <a:pt x="115" y="165"/>
                    </a:moveTo>
                    <a:lnTo>
                      <a:pt x="113" y="167"/>
                    </a:lnTo>
                    <a:lnTo>
                      <a:pt x="115" y="165"/>
                    </a:lnTo>
                    <a:lnTo>
                      <a:pt x="113" y="167"/>
                    </a:lnTo>
                    <a:lnTo>
                      <a:pt x="115" y="165"/>
                    </a:lnTo>
                    <a:close/>
                    <a:moveTo>
                      <a:pt x="111" y="163"/>
                    </a:moveTo>
                    <a:lnTo>
                      <a:pt x="111" y="165"/>
                    </a:lnTo>
                    <a:lnTo>
                      <a:pt x="111" y="163"/>
                    </a:lnTo>
                    <a:close/>
                    <a:moveTo>
                      <a:pt x="94" y="158"/>
                    </a:moveTo>
                    <a:lnTo>
                      <a:pt x="92" y="158"/>
                    </a:lnTo>
                    <a:lnTo>
                      <a:pt x="94" y="158"/>
                    </a:lnTo>
                    <a:close/>
                    <a:moveTo>
                      <a:pt x="113" y="163"/>
                    </a:moveTo>
                    <a:lnTo>
                      <a:pt x="111" y="163"/>
                    </a:lnTo>
                    <a:lnTo>
                      <a:pt x="113" y="163"/>
                    </a:lnTo>
                    <a:close/>
                    <a:moveTo>
                      <a:pt x="111" y="161"/>
                    </a:moveTo>
                    <a:lnTo>
                      <a:pt x="111" y="163"/>
                    </a:lnTo>
                    <a:lnTo>
                      <a:pt x="111" y="161"/>
                    </a:lnTo>
                    <a:lnTo>
                      <a:pt x="111" y="163"/>
                    </a:lnTo>
                    <a:lnTo>
                      <a:pt x="111" y="161"/>
                    </a:lnTo>
                    <a:close/>
                    <a:moveTo>
                      <a:pt x="99" y="158"/>
                    </a:moveTo>
                    <a:lnTo>
                      <a:pt x="101" y="158"/>
                    </a:lnTo>
                    <a:lnTo>
                      <a:pt x="99" y="158"/>
                    </a:lnTo>
                    <a:lnTo>
                      <a:pt x="101" y="158"/>
                    </a:lnTo>
                    <a:lnTo>
                      <a:pt x="99" y="158"/>
                    </a:lnTo>
                    <a:close/>
                    <a:moveTo>
                      <a:pt x="109" y="160"/>
                    </a:moveTo>
                    <a:lnTo>
                      <a:pt x="109" y="161"/>
                    </a:lnTo>
                    <a:lnTo>
                      <a:pt x="109" y="160"/>
                    </a:lnTo>
                    <a:close/>
                    <a:moveTo>
                      <a:pt x="109" y="160"/>
                    </a:moveTo>
                    <a:lnTo>
                      <a:pt x="111" y="160"/>
                    </a:lnTo>
                    <a:lnTo>
                      <a:pt x="109" y="160"/>
                    </a:lnTo>
                    <a:close/>
                    <a:moveTo>
                      <a:pt x="107" y="154"/>
                    </a:moveTo>
                    <a:lnTo>
                      <a:pt x="107" y="156"/>
                    </a:lnTo>
                    <a:lnTo>
                      <a:pt x="107" y="154"/>
                    </a:lnTo>
                    <a:close/>
                    <a:moveTo>
                      <a:pt x="103" y="154"/>
                    </a:moveTo>
                    <a:lnTo>
                      <a:pt x="103" y="152"/>
                    </a:lnTo>
                    <a:lnTo>
                      <a:pt x="103" y="154"/>
                    </a:lnTo>
                    <a:close/>
                    <a:moveTo>
                      <a:pt x="99" y="150"/>
                    </a:moveTo>
                    <a:lnTo>
                      <a:pt x="99" y="152"/>
                    </a:lnTo>
                    <a:lnTo>
                      <a:pt x="99" y="150"/>
                    </a:lnTo>
                    <a:close/>
                    <a:moveTo>
                      <a:pt x="96" y="150"/>
                    </a:moveTo>
                    <a:lnTo>
                      <a:pt x="96" y="148"/>
                    </a:lnTo>
                    <a:lnTo>
                      <a:pt x="96" y="150"/>
                    </a:lnTo>
                    <a:close/>
                    <a:moveTo>
                      <a:pt x="92" y="146"/>
                    </a:moveTo>
                    <a:lnTo>
                      <a:pt x="92" y="148"/>
                    </a:lnTo>
                    <a:lnTo>
                      <a:pt x="92" y="146"/>
                    </a:lnTo>
                    <a:close/>
                    <a:moveTo>
                      <a:pt x="88" y="144"/>
                    </a:moveTo>
                    <a:lnTo>
                      <a:pt x="90" y="144"/>
                    </a:lnTo>
                    <a:lnTo>
                      <a:pt x="90" y="146"/>
                    </a:lnTo>
                    <a:lnTo>
                      <a:pt x="90" y="144"/>
                    </a:lnTo>
                    <a:lnTo>
                      <a:pt x="88" y="146"/>
                    </a:lnTo>
                    <a:lnTo>
                      <a:pt x="88" y="144"/>
                    </a:lnTo>
                    <a:close/>
                    <a:moveTo>
                      <a:pt x="88" y="142"/>
                    </a:moveTo>
                    <a:lnTo>
                      <a:pt x="90" y="144"/>
                    </a:lnTo>
                    <a:lnTo>
                      <a:pt x="88" y="144"/>
                    </a:lnTo>
                    <a:lnTo>
                      <a:pt x="88" y="142"/>
                    </a:lnTo>
                    <a:close/>
                    <a:moveTo>
                      <a:pt x="80" y="138"/>
                    </a:moveTo>
                    <a:lnTo>
                      <a:pt x="82" y="138"/>
                    </a:lnTo>
                    <a:lnTo>
                      <a:pt x="80" y="138"/>
                    </a:lnTo>
                    <a:lnTo>
                      <a:pt x="82" y="138"/>
                    </a:lnTo>
                    <a:lnTo>
                      <a:pt x="80" y="138"/>
                    </a:lnTo>
                    <a:close/>
                    <a:moveTo>
                      <a:pt x="82" y="131"/>
                    </a:moveTo>
                    <a:lnTo>
                      <a:pt x="82" y="133"/>
                    </a:lnTo>
                    <a:lnTo>
                      <a:pt x="82" y="131"/>
                    </a:lnTo>
                    <a:close/>
                    <a:moveTo>
                      <a:pt x="80" y="131"/>
                    </a:moveTo>
                    <a:lnTo>
                      <a:pt x="80" y="133"/>
                    </a:lnTo>
                    <a:lnTo>
                      <a:pt x="80" y="131"/>
                    </a:lnTo>
                    <a:close/>
                    <a:moveTo>
                      <a:pt x="82" y="131"/>
                    </a:moveTo>
                    <a:lnTo>
                      <a:pt x="80" y="131"/>
                    </a:lnTo>
                    <a:lnTo>
                      <a:pt x="82" y="131"/>
                    </a:lnTo>
                    <a:close/>
                    <a:moveTo>
                      <a:pt x="84" y="131"/>
                    </a:moveTo>
                    <a:lnTo>
                      <a:pt x="84" y="129"/>
                    </a:lnTo>
                    <a:lnTo>
                      <a:pt x="84" y="131"/>
                    </a:lnTo>
                    <a:close/>
                    <a:moveTo>
                      <a:pt x="80" y="123"/>
                    </a:moveTo>
                    <a:lnTo>
                      <a:pt x="80" y="121"/>
                    </a:lnTo>
                    <a:lnTo>
                      <a:pt x="80" y="123"/>
                    </a:lnTo>
                    <a:close/>
                    <a:moveTo>
                      <a:pt x="74" y="119"/>
                    </a:moveTo>
                    <a:lnTo>
                      <a:pt x="76" y="119"/>
                    </a:lnTo>
                    <a:lnTo>
                      <a:pt x="74" y="119"/>
                    </a:lnTo>
                    <a:lnTo>
                      <a:pt x="74" y="117"/>
                    </a:lnTo>
                    <a:lnTo>
                      <a:pt x="74" y="119"/>
                    </a:lnTo>
                    <a:lnTo>
                      <a:pt x="76" y="117"/>
                    </a:lnTo>
                    <a:lnTo>
                      <a:pt x="74" y="119"/>
                    </a:lnTo>
                    <a:close/>
                    <a:moveTo>
                      <a:pt x="76" y="108"/>
                    </a:moveTo>
                    <a:lnTo>
                      <a:pt x="76" y="110"/>
                    </a:lnTo>
                    <a:lnTo>
                      <a:pt x="76" y="108"/>
                    </a:lnTo>
                    <a:lnTo>
                      <a:pt x="78" y="110"/>
                    </a:lnTo>
                    <a:lnTo>
                      <a:pt x="76" y="110"/>
                    </a:lnTo>
                    <a:lnTo>
                      <a:pt x="76" y="108"/>
                    </a:lnTo>
                    <a:close/>
                    <a:moveTo>
                      <a:pt x="76" y="108"/>
                    </a:moveTo>
                    <a:lnTo>
                      <a:pt x="76" y="110"/>
                    </a:lnTo>
                    <a:lnTo>
                      <a:pt x="76" y="108"/>
                    </a:lnTo>
                    <a:lnTo>
                      <a:pt x="74" y="108"/>
                    </a:lnTo>
                    <a:lnTo>
                      <a:pt x="76" y="108"/>
                    </a:lnTo>
                    <a:lnTo>
                      <a:pt x="76" y="106"/>
                    </a:lnTo>
                    <a:lnTo>
                      <a:pt x="76" y="108"/>
                    </a:lnTo>
                    <a:close/>
                    <a:moveTo>
                      <a:pt x="76" y="108"/>
                    </a:moveTo>
                    <a:lnTo>
                      <a:pt x="76" y="106"/>
                    </a:lnTo>
                    <a:lnTo>
                      <a:pt x="76" y="108"/>
                    </a:lnTo>
                    <a:close/>
                    <a:moveTo>
                      <a:pt x="73" y="98"/>
                    </a:moveTo>
                    <a:lnTo>
                      <a:pt x="74" y="98"/>
                    </a:lnTo>
                    <a:lnTo>
                      <a:pt x="73" y="98"/>
                    </a:lnTo>
                    <a:lnTo>
                      <a:pt x="74" y="98"/>
                    </a:lnTo>
                    <a:lnTo>
                      <a:pt x="74" y="100"/>
                    </a:lnTo>
                    <a:lnTo>
                      <a:pt x="74" y="98"/>
                    </a:lnTo>
                    <a:lnTo>
                      <a:pt x="73" y="98"/>
                    </a:lnTo>
                    <a:close/>
                    <a:moveTo>
                      <a:pt x="69" y="94"/>
                    </a:moveTo>
                    <a:lnTo>
                      <a:pt x="69" y="96"/>
                    </a:lnTo>
                    <a:lnTo>
                      <a:pt x="69" y="94"/>
                    </a:lnTo>
                    <a:lnTo>
                      <a:pt x="67" y="94"/>
                    </a:lnTo>
                    <a:lnTo>
                      <a:pt x="69" y="94"/>
                    </a:lnTo>
                    <a:close/>
                    <a:moveTo>
                      <a:pt x="67" y="92"/>
                    </a:moveTo>
                    <a:lnTo>
                      <a:pt x="69" y="92"/>
                    </a:lnTo>
                    <a:lnTo>
                      <a:pt x="69" y="94"/>
                    </a:lnTo>
                    <a:lnTo>
                      <a:pt x="69" y="92"/>
                    </a:lnTo>
                    <a:lnTo>
                      <a:pt x="67" y="92"/>
                    </a:lnTo>
                    <a:close/>
                    <a:moveTo>
                      <a:pt x="71" y="92"/>
                    </a:moveTo>
                    <a:lnTo>
                      <a:pt x="71" y="94"/>
                    </a:lnTo>
                    <a:lnTo>
                      <a:pt x="71" y="92"/>
                    </a:lnTo>
                    <a:lnTo>
                      <a:pt x="71" y="94"/>
                    </a:lnTo>
                    <a:lnTo>
                      <a:pt x="71" y="96"/>
                    </a:lnTo>
                    <a:lnTo>
                      <a:pt x="71" y="94"/>
                    </a:lnTo>
                    <a:lnTo>
                      <a:pt x="71" y="96"/>
                    </a:lnTo>
                    <a:lnTo>
                      <a:pt x="71" y="94"/>
                    </a:lnTo>
                    <a:lnTo>
                      <a:pt x="71" y="92"/>
                    </a:lnTo>
                    <a:close/>
                    <a:moveTo>
                      <a:pt x="71" y="92"/>
                    </a:moveTo>
                    <a:lnTo>
                      <a:pt x="71" y="94"/>
                    </a:lnTo>
                    <a:lnTo>
                      <a:pt x="71" y="92"/>
                    </a:lnTo>
                    <a:close/>
                    <a:moveTo>
                      <a:pt x="69" y="90"/>
                    </a:moveTo>
                    <a:lnTo>
                      <a:pt x="69" y="92"/>
                    </a:lnTo>
                    <a:lnTo>
                      <a:pt x="69" y="90"/>
                    </a:lnTo>
                    <a:lnTo>
                      <a:pt x="69" y="92"/>
                    </a:lnTo>
                    <a:lnTo>
                      <a:pt x="69" y="90"/>
                    </a:lnTo>
                    <a:lnTo>
                      <a:pt x="69" y="92"/>
                    </a:lnTo>
                    <a:lnTo>
                      <a:pt x="69" y="90"/>
                    </a:lnTo>
                    <a:close/>
                    <a:moveTo>
                      <a:pt x="42" y="77"/>
                    </a:moveTo>
                    <a:lnTo>
                      <a:pt x="42" y="79"/>
                    </a:lnTo>
                    <a:lnTo>
                      <a:pt x="42" y="77"/>
                    </a:lnTo>
                    <a:close/>
                    <a:moveTo>
                      <a:pt x="69" y="86"/>
                    </a:moveTo>
                    <a:lnTo>
                      <a:pt x="71" y="86"/>
                    </a:lnTo>
                    <a:lnTo>
                      <a:pt x="69" y="86"/>
                    </a:lnTo>
                    <a:lnTo>
                      <a:pt x="69" y="88"/>
                    </a:lnTo>
                    <a:lnTo>
                      <a:pt x="71" y="88"/>
                    </a:lnTo>
                    <a:lnTo>
                      <a:pt x="69" y="86"/>
                    </a:lnTo>
                    <a:lnTo>
                      <a:pt x="71" y="86"/>
                    </a:lnTo>
                    <a:lnTo>
                      <a:pt x="71" y="88"/>
                    </a:lnTo>
                    <a:lnTo>
                      <a:pt x="71" y="86"/>
                    </a:lnTo>
                    <a:lnTo>
                      <a:pt x="71" y="88"/>
                    </a:lnTo>
                    <a:lnTo>
                      <a:pt x="69" y="88"/>
                    </a:lnTo>
                    <a:lnTo>
                      <a:pt x="69" y="86"/>
                    </a:lnTo>
                    <a:lnTo>
                      <a:pt x="69" y="85"/>
                    </a:lnTo>
                    <a:lnTo>
                      <a:pt x="69" y="86"/>
                    </a:lnTo>
                    <a:close/>
                    <a:moveTo>
                      <a:pt x="69" y="85"/>
                    </a:moveTo>
                    <a:lnTo>
                      <a:pt x="69" y="86"/>
                    </a:lnTo>
                    <a:lnTo>
                      <a:pt x="69" y="85"/>
                    </a:lnTo>
                    <a:lnTo>
                      <a:pt x="69" y="86"/>
                    </a:lnTo>
                    <a:lnTo>
                      <a:pt x="69" y="85"/>
                    </a:lnTo>
                    <a:close/>
                    <a:moveTo>
                      <a:pt x="71" y="85"/>
                    </a:moveTo>
                    <a:lnTo>
                      <a:pt x="69" y="85"/>
                    </a:lnTo>
                    <a:lnTo>
                      <a:pt x="71" y="85"/>
                    </a:lnTo>
                    <a:lnTo>
                      <a:pt x="71" y="83"/>
                    </a:lnTo>
                    <a:lnTo>
                      <a:pt x="71" y="85"/>
                    </a:lnTo>
                    <a:close/>
                    <a:moveTo>
                      <a:pt x="57" y="81"/>
                    </a:moveTo>
                    <a:lnTo>
                      <a:pt x="57" y="79"/>
                    </a:lnTo>
                    <a:lnTo>
                      <a:pt x="57" y="81"/>
                    </a:lnTo>
                    <a:close/>
                    <a:moveTo>
                      <a:pt x="46" y="75"/>
                    </a:moveTo>
                    <a:lnTo>
                      <a:pt x="46" y="77"/>
                    </a:lnTo>
                    <a:lnTo>
                      <a:pt x="46" y="75"/>
                    </a:lnTo>
                    <a:close/>
                    <a:moveTo>
                      <a:pt x="69" y="83"/>
                    </a:moveTo>
                    <a:lnTo>
                      <a:pt x="71" y="83"/>
                    </a:lnTo>
                    <a:lnTo>
                      <a:pt x="69" y="83"/>
                    </a:lnTo>
                    <a:lnTo>
                      <a:pt x="71" y="83"/>
                    </a:lnTo>
                    <a:lnTo>
                      <a:pt x="71" y="81"/>
                    </a:lnTo>
                    <a:lnTo>
                      <a:pt x="71" y="83"/>
                    </a:lnTo>
                    <a:lnTo>
                      <a:pt x="69" y="83"/>
                    </a:lnTo>
                    <a:close/>
                    <a:moveTo>
                      <a:pt x="78" y="85"/>
                    </a:moveTo>
                    <a:lnTo>
                      <a:pt x="78" y="86"/>
                    </a:lnTo>
                    <a:lnTo>
                      <a:pt x="78" y="85"/>
                    </a:lnTo>
                    <a:close/>
                    <a:moveTo>
                      <a:pt x="69" y="81"/>
                    </a:moveTo>
                    <a:lnTo>
                      <a:pt x="69" y="83"/>
                    </a:lnTo>
                    <a:lnTo>
                      <a:pt x="69" y="85"/>
                    </a:lnTo>
                    <a:lnTo>
                      <a:pt x="69" y="83"/>
                    </a:lnTo>
                    <a:lnTo>
                      <a:pt x="69" y="85"/>
                    </a:lnTo>
                    <a:lnTo>
                      <a:pt x="69" y="83"/>
                    </a:lnTo>
                    <a:lnTo>
                      <a:pt x="69" y="81"/>
                    </a:lnTo>
                    <a:close/>
                    <a:moveTo>
                      <a:pt x="42" y="71"/>
                    </a:moveTo>
                    <a:lnTo>
                      <a:pt x="42" y="73"/>
                    </a:lnTo>
                    <a:lnTo>
                      <a:pt x="42" y="71"/>
                    </a:lnTo>
                    <a:lnTo>
                      <a:pt x="42" y="73"/>
                    </a:lnTo>
                    <a:lnTo>
                      <a:pt x="42" y="71"/>
                    </a:lnTo>
                    <a:close/>
                    <a:moveTo>
                      <a:pt x="42" y="71"/>
                    </a:moveTo>
                    <a:lnTo>
                      <a:pt x="42" y="69"/>
                    </a:lnTo>
                    <a:lnTo>
                      <a:pt x="40" y="69"/>
                    </a:lnTo>
                    <a:lnTo>
                      <a:pt x="42" y="69"/>
                    </a:lnTo>
                    <a:lnTo>
                      <a:pt x="42" y="71"/>
                    </a:lnTo>
                    <a:close/>
                    <a:moveTo>
                      <a:pt x="32" y="65"/>
                    </a:moveTo>
                    <a:lnTo>
                      <a:pt x="30" y="65"/>
                    </a:lnTo>
                    <a:lnTo>
                      <a:pt x="30" y="63"/>
                    </a:lnTo>
                    <a:lnTo>
                      <a:pt x="30" y="65"/>
                    </a:lnTo>
                    <a:lnTo>
                      <a:pt x="32" y="65"/>
                    </a:lnTo>
                    <a:close/>
                    <a:moveTo>
                      <a:pt x="36" y="67"/>
                    </a:moveTo>
                    <a:lnTo>
                      <a:pt x="36" y="65"/>
                    </a:lnTo>
                    <a:lnTo>
                      <a:pt x="34" y="65"/>
                    </a:lnTo>
                    <a:lnTo>
                      <a:pt x="36" y="65"/>
                    </a:lnTo>
                    <a:lnTo>
                      <a:pt x="36" y="67"/>
                    </a:lnTo>
                    <a:close/>
                    <a:moveTo>
                      <a:pt x="57" y="73"/>
                    </a:moveTo>
                    <a:lnTo>
                      <a:pt x="59" y="71"/>
                    </a:lnTo>
                    <a:lnTo>
                      <a:pt x="59" y="73"/>
                    </a:lnTo>
                    <a:lnTo>
                      <a:pt x="57" y="73"/>
                    </a:lnTo>
                    <a:close/>
                    <a:moveTo>
                      <a:pt x="26" y="61"/>
                    </a:moveTo>
                    <a:lnTo>
                      <a:pt x="25" y="61"/>
                    </a:lnTo>
                    <a:lnTo>
                      <a:pt x="25" y="60"/>
                    </a:lnTo>
                    <a:lnTo>
                      <a:pt x="26" y="61"/>
                    </a:lnTo>
                    <a:close/>
                    <a:moveTo>
                      <a:pt x="76" y="77"/>
                    </a:moveTo>
                    <a:lnTo>
                      <a:pt x="74" y="77"/>
                    </a:lnTo>
                    <a:lnTo>
                      <a:pt x="74" y="79"/>
                    </a:lnTo>
                    <a:lnTo>
                      <a:pt x="74" y="77"/>
                    </a:lnTo>
                    <a:lnTo>
                      <a:pt x="76" y="77"/>
                    </a:lnTo>
                    <a:lnTo>
                      <a:pt x="76" y="75"/>
                    </a:lnTo>
                    <a:lnTo>
                      <a:pt x="76" y="77"/>
                    </a:lnTo>
                    <a:close/>
                    <a:moveTo>
                      <a:pt x="82" y="77"/>
                    </a:moveTo>
                    <a:lnTo>
                      <a:pt x="82" y="79"/>
                    </a:lnTo>
                    <a:lnTo>
                      <a:pt x="80" y="79"/>
                    </a:lnTo>
                    <a:lnTo>
                      <a:pt x="80" y="77"/>
                    </a:lnTo>
                    <a:lnTo>
                      <a:pt x="82" y="77"/>
                    </a:lnTo>
                    <a:lnTo>
                      <a:pt x="84" y="77"/>
                    </a:lnTo>
                    <a:lnTo>
                      <a:pt x="82" y="77"/>
                    </a:lnTo>
                    <a:close/>
                    <a:moveTo>
                      <a:pt x="76" y="73"/>
                    </a:moveTo>
                    <a:lnTo>
                      <a:pt x="74" y="75"/>
                    </a:lnTo>
                    <a:lnTo>
                      <a:pt x="76" y="73"/>
                    </a:lnTo>
                    <a:close/>
                    <a:moveTo>
                      <a:pt x="76" y="75"/>
                    </a:moveTo>
                    <a:lnTo>
                      <a:pt x="76" y="77"/>
                    </a:lnTo>
                    <a:lnTo>
                      <a:pt x="74" y="77"/>
                    </a:lnTo>
                    <a:lnTo>
                      <a:pt x="74" y="75"/>
                    </a:lnTo>
                    <a:lnTo>
                      <a:pt x="76" y="75"/>
                    </a:lnTo>
                    <a:lnTo>
                      <a:pt x="76" y="73"/>
                    </a:lnTo>
                    <a:lnTo>
                      <a:pt x="76" y="75"/>
                    </a:lnTo>
                    <a:close/>
                    <a:moveTo>
                      <a:pt x="76" y="73"/>
                    </a:moveTo>
                    <a:lnTo>
                      <a:pt x="76" y="75"/>
                    </a:lnTo>
                    <a:lnTo>
                      <a:pt x="76" y="73"/>
                    </a:lnTo>
                    <a:close/>
                    <a:moveTo>
                      <a:pt x="88" y="75"/>
                    </a:moveTo>
                    <a:lnTo>
                      <a:pt x="86" y="75"/>
                    </a:lnTo>
                    <a:lnTo>
                      <a:pt x="88" y="75"/>
                    </a:lnTo>
                    <a:close/>
                    <a:moveTo>
                      <a:pt x="26" y="54"/>
                    </a:moveTo>
                    <a:lnTo>
                      <a:pt x="26" y="56"/>
                    </a:lnTo>
                    <a:lnTo>
                      <a:pt x="26" y="54"/>
                    </a:lnTo>
                    <a:close/>
                    <a:moveTo>
                      <a:pt x="92" y="73"/>
                    </a:moveTo>
                    <a:lnTo>
                      <a:pt x="90" y="73"/>
                    </a:lnTo>
                    <a:lnTo>
                      <a:pt x="92" y="73"/>
                    </a:lnTo>
                    <a:close/>
                    <a:moveTo>
                      <a:pt x="67" y="63"/>
                    </a:moveTo>
                    <a:lnTo>
                      <a:pt x="67" y="65"/>
                    </a:lnTo>
                    <a:lnTo>
                      <a:pt x="67" y="63"/>
                    </a:lnTo>
                    <a:lnTo>
                      <a:pt x="67" y="65"/>
                    </a:lnTo>
                    <a:lnTo>
                      <a:pt x="65" y="65"/>
                    </a:lnTo>
                    <a:lnTo>
                      <a:pt x="67" y="65"/>
                    </a:lnTo>
                    <a:lnTo>
                      <a:pt x="67" y="63"/>
                    </a:lnTo>
                    <a:close/>
                    <a:moveTo>
                      <a:pt x="86" y="71"/>
                    </a:moveTo>
                    <a:lnTo>
                      <a:pt x="88" y="71"/>
                    </a:lnTo>
                    <a:lnTo>
                      <a:pt x="86" y="71"/>
                    </a:lnTo>
                    <a:close/>
                    <a:moveTo>
                      <a:pt x="84" y="69"/>
                    </a:moveTo>
                    <a:lnTo>
                      <a:pt x="86" y="69"/>
                    </a:lnTo>
                    <a:lnTo>
                      <a:pt x="84" y="69"/>
                    </a:lnTo>
                    <a:lnTo>
                      <a:pt x="86" y="69"/>
                    </a:lnTo>
                    <a:lnTo>
                      <a:pt x="84" y="69"/>
                    </a:lnTo>
                    <a:close/>
                    <a:moveTo>
                      <a:pt x="84" y="67"/>
                    </a:moveTo>
                    <a:lnTo>
                      <a:pt x="84" y="69"/>
                    </a:lnTo>
                    <a:lnTo>
                      <a:pt x="84" y="67"/>
                    </a:lnTo>
                    <a:lnTo>
                      <a:pt x="84" y="69"/>
                    </a:lnTo>
                    <a:lnTo>
                      <a:pt x="84" y="67"/>
                    </a:lnTo>
                    <a:close/>
                    <a:moveTo>
                      <a:pt x="90" y="69"/>
                    </a:moveTo>
                    <a:lnTo>
                      <a:pt x="88" y="69"/>
                    </a:lnTo>
                    <a:lnTo>
                      <a:pt x="90" y="69"/>
                    </a:lnTo>
                    <a:close/>
                    <a:moveTo>
                      <a:pt x="71" y="61"/>
                    </a:moveTo>
                    <a:lnTo>
                      <a:pt x="69" y="61"/>
                    </a:lnTo>
                    <a:lnTo>
                      <a:pt x="71" y="61"/>
                    </a:lnTo>
                    <a:close/>
                    <a:moveTo>
                      <a:pt x="73" y="60"/>
                    </a:moveTo>
                    <a:lnTo>
                      <a:pt x="73" y="61"/>
                    </a:lnTo>
                    <a:lnTo>
                      <a:pt x="71" y="61"/>
                    </a:lnTo>
                    <a:lnTo>
                      <a:pt x="71" y="63"/>
                    </a:lnTo>
                    <a:lnTo>
                      <a:pt x="71" y="61"/>
                    </a:lnTo>
                    <a:lnTo>
                      <a:pt x="71" y="63"/>
                    </a:lnTo>
                    <a:lnTo>
                      <a:pt x="71" y="61"/>
                    </a:lnTo>
                    <a:lnTo>
                      <a:pt x="73" y="61"/>
                    </a:lnTo>
                    <a:lnTo>
                      <a:pt x="71" y="63"/>
                    </a:lnTo>
                    <a:lnTo>
                      <a:pt x="71" y="61"/>
                    </a:lnTo>
                    <a:lnTo>
                      <a:pt x="71" y="63"/>
                    </a:lnTo>
                    <a:lnTo>
                      <a:pt x="71" y="61"/>
                    </a:lnTo>
                    <a:lnTo>
                      <a:pt x="71" y="63"/>
                    </a:lnTo>
                    <a:lnTo>
                      <a:pt x="71" y="61"/>
                    </a:lnTo>
                    <a:lnTo>
                      <a:pt x="73" y="61"/>
                    </a:lnTo>
                    <a:lnTo>
                      <a:pt x="73" y="60"/>
                    </a:lnTo>
                    <a:close/>
                    <a:moveTo>
                      <a:pt x="73" y="60"/>
                    </a:moveTo>
                    <a:lnTo>
                      <a:pt x="73" y="61"/>
                    </a:lnTo>
                    <a:lnTo>
                      <a:pt x="73" y="60"/>
                    </a:lnTo>
                    <a:lnTo>
                      <a:pt x="73" y="61"/>
                    </a:lnTo>
                    <a:lnTo>
                      <a:pt x="73" y="60"/>
                    </a:lnTo>
                    <a:lnTo>
                      <a:pt x="73" y="61"/>
                    </a:lnTo>
                    <a:lnTo>
                      <a:pt x="73" y="60"/>
                    </a:lnTo>
                    <a:close/>
                    <a:moveTo>
                      <a:pt x="74" y="60"/>
                    </a:moveTo>
                    <a:lnTo>
                      <a:pt x="74" y="61"/>
                    </a:lnTo>
                    <a:lnTo>
                      <a:pt x="73" y="61"/>
                    </a:lnTo>
                    <a:lnTo>
                      <a:pt x="74" y="60"/>
                    </a:lnTo>
                    <a:close/>
                    <a:moveTo>
                      <a:pt x="88" y="63"/>
                    </a:moveTo>
                    <a:lnTo>
                      <a:pt x="88" y="65"/>
                    </a:lnTo>
                    <a:lnTo>
                      <a:pt x="90" y="65"/>
                    </a:lnTo>
                    <a:lnTo>
                      <a:pt x="88" y="65"/>
                    </a:lnTo>
                    <a:lnTo>
                      <a:pt x="88" y="63"/>
                    </a:lnTo>
                    <a:close/>
                    <a:moveTo>
                      <a:pt x="92" y="65"/>
                    </a:moveTo>
                    <a:lnTo>
                      <a:pt x="94" y="65"/>
                    </a:lnTo>
                    <a:lnTo>
                      <a:pt x="92" y="65"/>
                    </a:lnTo>
                    <a:lnTo>
                      <a:pt x="94" y="65"/>
                    </a:lnTo>
                    <a:lnTo>
                      <a:pt x="94" y="67"/>
                    </a:lnTo>
                    <a:lnTo>
                      <a:pt x="92" y="67"/>
                    </a:lnTo>
                    <a:lnTo>
                      <a:pt x="92" y="65"/>
                    </a:lnTo>
                    <a:close/>
                    <a:moveTo>
                      <a:pt x="86" y="63"/>
                    </a:moveTo>
                    <a:lnTo>
                      <a:pt x="86" y="61"/>
                    </a:lnTo>
                    <a:lnTo>
                      <a:pt x="86" y="63"/>
                    </a:lnTo>
                    <a:close/>
                    <a:moveTo>
                      <a:pt x="88" y="61"/>
                    </a:moveTo>
                    <a:lnTo>
                      <a:pt x="88" y="60"/>
                    </a:lnTo>
                    <a:lnTo>
                      <a:pt x="88" y="61"/>
                    </a:lnTo>
                    <a:close/>
                    <a:moveTo>
                      <a:pt x="99" y="63"/>
                    </a:moveTo>
                    <a:lnTo>
                      <a:pt x="99" y="65"/>
                    </a:lnTo>
                    <a:lnTo>
                      <a:pt x="99" y="63"/>
                    </a:lnTo>
                    <a:lnTo>
                      <a:pt x="99" y="65"/>
                    </a:lnTo>
                    <a:lnTo>
                      <a:pt x="98" y="65"/>
                    </a:lnTo>
                    <a:lnTo>
                      <a:pt x="99" y="65"/>
                    </a:lnTo>
                    <a:lnTo>
                      <a:pt x="98" y="65"/>
                    </a:lnTo>
                    <a:lnTo>
                      <a:pt x="99" y="65"/>
                    </a:lnTo>
                    <a:lnTo>
                      <a:pt x="101" y="63"/>
                    </a:lnTo>
                    <a:lnTo>
                      <a:pt x="99" y="65"/>
                    </a:lnTo>
                    <a:lnTo>
                      <a:pt x="98" y="65"/>
                    </a:lnTo>
                    <a:lnTo>
                      <a:pt x="98" y="63"/>
                    </a:lnTo>
                    <a:lnTo>
                      <a:pt x="99" y="63"/>
                    </a:lnTo>
                    <a:lnTo>
                      <a:pt x="98" y="63"/>
                    </a:lnTo>
                    <a:lnTo>
                      <a:pt x="99" y="63"/>
                    </a:lnTo>
                    <a:close/>
                    <a:moveTo>
                      <a:pt x="76" y="56"/>
                    </a:moveTo>
                    <a:lnTo>
                      <a:pt x="74" y="56"/>
                    </a:lnTo>
                    <a:lnTo>
                      <a:pt x="76" y="56"/>
                    </a:lnTo>
                    <a:lnTo>
                      <a:pt x="74" y="56"/>
                    </a:lnTo>
                    <a:lnTo>
                      <a:pt x="76" y="56"/>
                    </a:lnTo>
                    <a:close/>
                    <a:moveTo>
                      <a:pt x="84" y="56"/>
                    </a:moveTo>
                    <a:lnTo>
                      <a:pt x="84" y="58"/>
                    </a:lnTo>
                    <a:lnTo>
                      <a:pt x="84" y="56"/>
                    </a:lnTo>
                    <a:close/>
                    <a:moveTo>
                      <a:pt x="5" y="31"/>
                    </a:moveTo>
                    <a:lnTo>
                      <a:pt x="5" y="29"/>
                    </a:lnTo>
                    <a:lnTo>
                      <a:pt x="5" y="31"/>
                    </a:lnTo>
                    <a:close/>
                    <a:moveTo>
                      <a:pt x="99" y="60"/>
                    </a:moveTo>
                    <a:lnTo>
                      <a:pt x="98" y="60"/>
                    </a:lnTo>
                    <a:lnTo>
                      <a:pt x="99" y="60"/>
                    </a:lnTo>
                    <a:lnTo>
                      <a:pt x="99" y="58"/>
                    </a:lnTo>
                    <a:lnTo>
                      <a:pt x="99" y="60"/>
                    </a:lnTo>
                    <a:close/>
                    <a:moveTo>
                      <a:pt x="96" y="58"/>
                    </a:moveTo>
                    <a:lnTo>
                      <a:pt x="94" y="58"/>
                    </a:lnTo>
                    <a:lnTo>
                      <a:pt x="96" y="58"/>
                    </a:lnTo>
                    <a:lnTo>
                      <a:pt x="94" y="58"/>
                    </a:lnTo>
                    <a:lnTo>
                      <a:pt x="96" y="58"/>
                    </a:lnTo>
                    <a:close/>
                    <a:moveTo>
                      <a:pt x="94" y="56"/>
                    </a:moveTo>
                    <a:lnTo>
                      <a:pt x="94" y="58"/>
                    </a:lnTo>
                    <a:lnTo>
                      <a:pt x="94" y="56"/>
                    </a:lnTo>
                    <a:close/>
                    <a:moveTo>
                      <a:pt x="94" y="56"/>
                    </a:moveTo>
                    <a:lnTo>
                      <a:pt x="92" y="56"/>
                    </a:lnTo>
                    <a:lnTo>
                      <a:pt x="94" y="56"/>
                    </a:lnTo>
                    <a:close/>
                    <a:moveTo>
                      <a:pt x="103" y="58"/>
                    </a:moveTo>
                    <a:lnTo>
                      <a:pt x="101" y="58"/>
                    </a:lnTo>
                    <a:lnTo>
                      <a:pt x="103" y="58"/>
                    </a:lnTo>
                    <a:close/>
                    <a:moveTo>
                      <a:pt x="92" y="56"/>
                    </a:moveTo>
                    <a:lnTo>
                      <a:pt x="94" y="56"/>
                    </a:lnTo>
                    <a:lnTo>
                      <a:pt x="92" y="56"/>
                    </a:lnTo>
                    <a:lnTo>
                      <a:pt x="94" y="56"/>
                    </a:lnTo>
                    <a:lnTo>
                      <a:pt x="94" y="54"/>
                    </a:lnTo>
                    <a:lnTo>
                      <a:pt x="94" y="56"/>
                    </a:lnTo>
                    <a:lnTo>
                      <a:pt x="92" y="56"/>
                    </a:lnTo>
                    <a:close/>
                    <a:moveTo>
                      <a:pt x="98" y="56"/>
                    </a:moveTo>
                    <a:lnTo>
                      <a:pt x="98" y="54"/>
                    </a:lnTo>
                    <a:lnTo>
                      <a:pt x="98" y="56"/>
                    </a:lnTo>
                    <a:close/>
                    <a:moveTo>
                      <a:pt x="101" y="56"/>
                    </a:moveTo>
                    <a:lnTo>
                      <a:pt x="99" y="56"/>
                    </a:lnTo>
                    <a:lnTo>
                      <a:pt x="101" y="56"/>
                    </a:lnTo>
                    <a:close/>
                    <a:moveTo>
                      <a:pt x="96" y="54"/>
                    </a:moveTo>
                    <a:lnTo>
                      <a:pt x="94" y="54"/>
                    </a:lnTo>
                    <a:lnTo>
                      <a:pt x="96" y="54"/>
                    </a:lnTo>
                    <a:close/>
                    <a:moveTo>
                      <a:pt x="0" y="21"/>
                    </a:moveTo>
                    <a:lnTo>
                      <a:pt x="0" y="23"/>
                    </a:lnTo>
                    <a:lnTo>
                      <a:pt x="0" y="21"/>
                    </a:lnTo>
                    <a:close/>
                    <a:moveTo>
                      <a:pt x="92" y="56"/>
                    </a:moveTo>
                    <a:lnTo>
                      <a:pt x="90" y="58"/>
                    </a:lnTo>
                    <a:lnTo>
                      <a:pt x="90" y="56"/>
                    </a:lnTo>
                    <a:lnTo>
                      <a:pt x="92" y="56"/>
                    </a:lnTo>
                    <a:lnTo>
                      <a:pt x="92" y="54"/>
                    </a:lnTo>
                    <a:lnTo>
                      <a:pt x="92" y="52"/>
                    </a:lnTo>
                    <a:lnTo>
                      <a:pt x="94" y="54"/>
                    </a:lnTo>
                    <a:lnTo>
                      <a:pt x="92" y="54"/>
                    </a:lnTo>
                    <a:lnTo>
                      <a:pt x="94" y="54"/>
                    </a:lnTo>
                    <a:lnTo>
                      <a:pt x="92" y="54"/>
                    </a:lnTo>
                    <a:lnTo>
                      <a:pt x="92" y="56"/>
                    </a:lnTo>
                    <a:close/>
                    <a:moveTo>
                      <a:pt x="101" y="54"/>
                    </a:moveTo>
                    <a:lnTo>
                      <a:pt x="101" y="56"/>
                    </a:lnTo>
                    <a:lnTo>
                      <a:pt x="101" y="54"/>
                    </a:lnTo>
                    <a:close/>
                    <a:moveTo>
                      <a:pt x="78" y="48"/>
                    </a:moveTo>
                    <a:lnTo>
                      <a:pt x="78" y="50"/>
                    </a:lnTo>
                    <a:lnTo>
                      <a:pt x="78" y="48"/>
                    </a:lnTo>
                    <a:close/>
                    <a:moveTo>
                      <a:pt x="98" y="54"/>
                    </a:moveTo>
                    <a:lnTo>
                      <a:pt x="99" y="54"/>
                    </a:lnTo>
                    <a:lnTo>
                      <a:pt x="98" y="54"/>
                    </a:lnTo>
                    <a:close/>
                    <a:moveTo>
                      <a:pt x="96" y="54"/>
                    </a:moveTo>
                    <a:lnTo>
                      <a:pt x="94" y="54"/>
                    </a:lnTo>
                    <a:lnTo>
                      <a:pt x="96" y="52"/>
                    </a:lnTo>
                    <a:lnTo>
                      <a:pt x="96" y="54"/>
                    </a:lnTo>
                    <a:lnTo>
                      <a:pt x="94" y="54"/>
                    </a:lnTo>
                    <a:lnTo>
                      <a:pt x="96" y="54"/>
                    </a:lnTo>
                    <a:close/>
                    <a:moveTo>
                      <a:pt x="78" y="48"/>
                    </a:moveTo>
                    <a:lnTo>
                      <a:pt x="78" y="46"/>
                    </a:lnTo>
                    <a:lnTo>
                      <a:pt x="78" y="48"/>
                    </a:lnTo>
                    <a:lnTo>
                      <a:pt x="78" y="46"/>
                    </a:lnTo>
                    <a:lnTo>
                      <a:pt x="78" y="48"/>
                    </a:lnTo>
                    <a:close/>
                    <a:moveTo>
                      <a:pt x="105" y="54"/>
                    </a:moveTo>
                    <a:lnTo>
                      <a:pt x="105" y="56"/>
                    </a:lnTo>
                    <a:lnTo>
                      <a:pt x="103" y="56"/>
                    </a:lnTo>
                    <a:lnTo>
                      <a:pt x="105" y="54"/>
                    </a:lnTo>
                    <a:close/>
                    <a:moveTo>
                      <a:pt x="98" y="52"/>
                    </a:moveTo>
                    <a:lnTo>
                      <a:pt x="98" y="54"/>
                    </a:lnTo>
                    <a:lnTo>
                      <a:pt x="98" y="52"/>
                    </a:lnTo>
                    <a:close/>
                    <a:moveTo>
                      <a:pt x="94" y="52"/>
                    </a:moveTo>
                    <a:lnTo>
                      <a:pt x="94" y="50"/>
                    </a:lnTo>
                    <a:lnTo>
                      <a:pt x="94" y="52"/>
                    </a:lnTo>
                    <a:close/>
                    <a:moveTo>
                      <a:pt x="99" y="52"/>
                    </a:moveTo>
                    <a:lnTo>
                      <a:pt x="99" y="54"/>
                    </a:lnTo>
                    <a:lnTo>
                      <a:pt x="99" y="52"/>
                    </a:lnTo>
                    <a:close/>
                    <a:moveTo>
                      <a:pt x="82" y="46"/>
                    </a:moveTo>
                    <a:lnTo>
                      <a:pt x="82" y="48"/>
                    </a:lnTo>
                    <a:lnTo>
                      <a:pt x="82" y="46"/>
                    </a:lnTo>
                    <a:lnTo>
                      <a:pt x="82" y="48"/>
                    </a:lnTo>
                    <a:lnTo>
                      <a:pt x="82" y="46"/>
                    </a:lnTo>
                    <a:close/>
                    <a:moveTo>
                      <a:pt x="99" y="52"/>
                    </a:moveTo>
                    <a:lnTo>
                      <a:pt x="98" y="52"/>
                    </a:lnTo>
                    <a:lnTo>
                      <a:pt x="99" y="52"/>
                    </a:lnTo>
                    <a:close/>
                    <a:moveTo>
                      <a:pt x="101" y="52"/>
                    </a:moveTo>
                    <a:lnTo>
                      <a:pt x="101" y="54"/>
                    </a:lnTo>
                    <a:lnTo>
                      <a:pt x="101" y="52"/>
                    </a:lnTo>
                    <a:close/>
                    <a:moveTo>
                      <a:pt x="80" y="44"/>
                    </a:moveTo>
                    <a:lnTo>
                      <a:pt x="80" y="46"/>
                    </a:lnTo>
                    <a:lnTo>
                      <a:pt x="80" y="44"/>
                    </a:lnTo>
                    <a:lnTo>
                      <a:pt x="80" y="46"/>
                    </a:lnTo>
                    <a:lnTo>
                      <a:pt x="78" y="46"/>
                    </a:lnTo>
                    <a:lnTo>
                      <a:pt x="80" y="46"/>
                    </a:lnTo>
                    <a:lnTo>
                      <a:pt x="80" y="44"/>
                    </a:lnTo>
                    <a:close/>
                    <a:moveTo>
                      <a:pt x="98" y="50"/>
                    </a:moveTo>
                    <a:lnTo>
                      <a:pt x="99" y="50"/>
                    </a:lnTo>
                    <a:lnTo>
                      <a:pt x="99" y="52"/>
                    </a:lnTo>
                    <a:lnTo>
                      <a:pt x="98" y="50"/>
                    </a:lnTo>
                    <a:lnTo>
                      <a:pt x="98" y="52"/>
                    </a:lnTo>
                    <a:lnTo>
                      <a:pt x="98" y="50"/>
                    </a:lnTo>
                    <a:close/>
                    <a:moveTo>
                      <a:pt x="78" y="46"/>
                    </a:moveTo>
                    <a:lnTo>
                      <a:pt x="78" y="44"/>
                    </a:lnTo>
                    <a:lnTo>
                      <a:pt x="78" y="46"/>
                    </a:lnTo>
                    <a:close/>
                    <a:moveTo>
                      <a:pt x="78" y="44"/>
                    </a:moveTo>
                    <a:lnTo>
                      <a:pt x="80" y="44"/>
                    </a:lnTo>
                    <a:lnTo>
                      <a:pt x="78" y="44"/>
                    </a:lnTo>
                    <a:close/>
                    <a:moveTo>
                      <a:pt x="96" y="48"/>
                    </a:moveTo>
                    <a:lnTo>
                      <a:pt x="96" y="50"/>
                    </a:lnTo>
                    <a:lnTo>
                      <a:pt x="96" y="48"/>
                    </a:lnTo>
                    <a:lnTo>
                      <a:pt x="94" y="48"/>
                    </a:lnTo>
                    <a:lnTo>
                      <a:pt x="96" y="48"/>
                    </a:lnTo>
                    <a:lnTo>
                      <a:pt x="94" y="48"/>
                    </a:lnTo>
                    <a:lnTo>
                      <a:pt x="96" y="48"/>
                    </a:lnTo>
                    <a:lnTo>
                      <a:pt x="94" y="48"/>
                    </a:lnTo>
                    <a:lnTo>
                      <a:pt x="96" y="48"/>
                    </a:lnTo>
                    <a:close/>
                    <a:moveTo>
                      <a:pt x="98" y="50"/>
                    </a:moveTo>
                    <a:lnTo>
                      <a:pt x="98" y="48"/>
                    </a:lnTo>
                    <a:lnTo>
                      <a:pt x="99" y="48"/>
                    </a:lnTo>
                    <a:lnTo>
                      <a:pt x="98" y="50"/>
                    </a:lnTo>
                    <a:close/>
                    <a:moveTo>
                      <a:pt x="103" y="50"/>
                    </a:moveTo>
                    <a:lnTo>
                      <a:pt x="101" y="50"/>
                    </a:lnTo>
                    <a:lnTo>
                      <a:pt x="103" y="50"/>
                    </a:lnTo>
                    <a:close/>
                    <a:moveTo>
                      <a:pt x="82" y="42"/>
                    </a:moveTo>
                    <a:lnTo>
                      <a:pt x="80" y="42"/>
                    </a:lnTo>
                    <a:lnTo>
                      <a:pt x="82" y="42"/>
                    </a:lnTo>
                    <a:lnTo>
                      <a:pt x="80" y="42"/>
                    </a:lnTo>
                    <a:lnTo>
                      <a:pt x="82" y="42"/>
                    </a:lnTo>
                    <a:close/>
                    <a:moveTo>
                      <a:pt x="103" y="50"/>
                    </a:moveTo>
                    <a:lnTo>
                      <a:pt x="105" y="50"/>
                    </a:lnTo>
                    <a:lnTo>
                      <a:pt x="105" y="52"/>
                    </a:lnTo>
                    <a:lnTo>
                      <a:pt x="103" y="52"/>
                    </a:lnTo>
                    <a:lnTo>
                      <a:pt x="103" y="50"/>
                    </a:lnTo>
                    <a:lnTo>
                      <a:pt x="105" y="50"/>
                    </a:lnTo>
                    <a:lnTo>
                      <a:pt x="103" y="50"/>
                    </a:lnTo>
                    <a:close/>
                    <a:moveTo>
                      <a:pt x="96" y="46"/>
                    </a:moveTo>
                    <a:lnTo>
                      <a:pt x="94" y="46"/>
                    </a:lnTo>
                    <a:lnTo>
                      <a:pt x="96" y="46"/>
                    </a:lnTo>
                    <a:close/>
                    <a:moveTo>
                      <a:pt x="101" y="48"/>
                    </a:moveTo>
                    <a:lnTo>
                      <a:pt x="99" y="48"/>
                    </a:lnTo>
                    <a:lnTo>
                      <a:pt x="101" y="48"/>
                    </a:lnTo>
                    <a:lnTo>
                      <a:pt x="99" y="48"/>
                    </a:lnTo>
                    <a:lnTo>
                      <a:pt x="101" y="48"/>
                    </a:lnTo>
                    <a:close/>
                    <a:moveTo>
                      <a:pt x="82" y="42"/>
                    </a:moveTo>
                    <a:lnTo>
                      <a:pt x="82" y="40"/>
                    </a:lnTo>
                    <a:lnTo>
                      <a:pt x="82" y="42"/>
                    </a:lnTo>
                    <a:lnTo>
                      <a:pt x="80" y="42"/>
                    </a:lnTo>
                    <a:lnTo>
                      <a:pt x="82" y="42"/>
                    </a:lnTo>
                    <a:lnTo>
                      <a:pt x="82" y="40"/>
                    </a:lnTo>
                    <a:lnTo>
                      <a:pt x="82" y="42"/>
                    </a:lnTo>
                    <a:close/>
                    <a:moveTo>
                      <a:pt x="109" y="50"/>
                    </a:moveTo>
                    <a:lnTo>
                      <a:pt x="107" y="50"/>
                    </a:lnTo>
                    <a:lnTo>
                      <a:pt x="105" y="50"/>
                    </a:lnTo>
                    <a:lnTo>
                      <a:pt x="107" y="50"/>
                    </a:lnTo>
                    <a:lnTo>
                      <a:pt x="109" y="50"/>
                    </a:lnTo>
                    <a:lnTo>
                      <a:pt x="107" y="50"/>
                    </a:lnTo>
                    <a:lnTo>
                      <a:pt x="109" y="50"/>
                    </a:lnTo>
                    <a:close/>
                    <a:moveTo>
                      <a:pt x="115" y="52"/>
                    </a:moveTo>
                    <a:lnTo>
                      <a:pt x="113" y="52"/>
                    </a:lnTo>
                    <a:lnTo>
                      <a:pt x="113" y="50"/>
                    </a:lnTo>
                    <a:lnTo>
                      <a:pt x="113" y="52"/>
                    </a:lnTo>
                    <a:lnTo>
                      <a:pt x="115" y="50"/>
                    </a:lnTo>
                    <a:lnTo>
                      <a:pt x="115" y="52"/>
                    </a:lnTo>
                    <a:close/>
                    <a:moveTo>
                      <a:pt x="113" y="50"/>
                    </a:moveTo>
                    <a:lnTo>
                      <a:pt x="113" y="52"/>
                    </a:lnTo>
                    <a:lnTo>
                      <a:pt x="113" y="50"/>
                    </a:lnTo>
                    <a:close/>
                    <a:moveTo>
                      <a:pt x="82" y="40"/>
                    </a:moveTo>
                    <a:lnTo>
                      <a:pt x="82" y="38"/>
                    </a:lnTo>
                    <a:lnTo>
                      <a:pt x="82" y="40"/>
                    </a:lnTo>
                    <a:lnTo>
                      <a:pt x="84" y="38"/>
                    </a:lnTo>
                    <a:lnTo>
                      <a:pt x="82" y="40"/>
                    </a:lnTo>
                    <a:close/>
                    <a:moveTo>
                      <a:pt x="86" y="40"/>
                    </a:moveTo>
                    <a:lnTo>
                      <a:pt x="88" y="40"/>
                    </a:lnTo>
                    <a:lnTo>
                      <a:pt x="86" y="40"/>
                    </a:lnTo>
                    <a:lnTo>
                      <a:pt x="88" y="40"/>
                    </a:lnTo>
                    <a:lnTo>
                      <a:pt x="88" y="42"/>
                    </a:lnTo>
                    <a:lnTo>
                      <a:pt x="86" y="40"/>
                    </a:lnTo>
                    <a:lnTo>
                      <a:pt x="88" y="40"/>
                    </a:lnTo>
                    <a:lnTo>
                      <a:pt x="86" y="40"/>
                    </a:lnTo>
                    <a:close/>
                    <a:moveTo>
                      <a:pt x="115" y="46"/>
                    </a:moveTo>
                    <a:lnTo>
                      <a:pt x="115" y="48"/>
                    </a:lnTo>
                    <a:lnTo>
                      <a:pt x="113" y="46"/>
                    </a:lnTo>
                    <a:lnTo>
                      <a:pt x="115" y="46"/>
                    </a:lnTo>
                    <a:close/>
                    <a:moveTo>
                      <a:pt x="115" y="48"/>
                    </a:moveTo>
                    <a:lnTo>
                      <a:pt x="115" y="46"/>
                    </a:lnTo>
                    <a:lnTo>
                      <a:pt x="115" y="48"/>
                    </a:lnTo>
                    <a:close/>
                    <a:moveTo>
                      <a:pt x="109" y="46"/>
                    </a:moveTo>
                    <a:lnTo>
                      <a:pt x="109" y="44"/>
                    </a:lnTo>
                    <a:lnTo>
                      <a:pt x="109" y="46"/>
                    </a:lnTo>
                    <a:close/>
                    <a:moveTo>
                      <a:pt x="96" y="40"/>
                    </a:moveTo>
                    <a:lnTo>
                      <a:pt x="96" y="42"/>
                    </a:lnTo>
                    <a:lnTo>
                      <a:pt x="96" y="40"/>
                    </a:lnTo>
                    <a:close/>
                    <a:moveTo>
                      <a:pt x="111" y="44"/>
                    </a:moveTo>
                    <a:lnTo>
                      <a:pt x="111" y="46"/>
                    </a:lnTo>
                    <a:lnTo>
                      <a:pt x="109" y="46"/>
                    </a:lnTo>
                    <a:lnTo>
                      <a:pt x="109" y="44"/>
                    </a:lnTo>
                    <a:lnTo>
                      <a:pt x="109" y="46"/>
                    </a:lnTo>
                    <a:lnTo>
                      <a:pt x="109" y="44"/>
                    </a:lnTo>
                    <a:lnTo>
                      <a:pt x="111" y="44"/>
                    </a:lnTo>
                    <a:close/>
                    <a:moveTo>
                      <a:pt x="88" y="38"/>
                    </a:moveTo>
                    <a:lnTo>
                      <a:pt x="86" y="38"/>
                    </a:lnTo>
                    <a:lnTo>
                      <a:pt x="84" y="38"/>
                    </a:lnTo>
                    <a:lnTo>
                      <a:pt x="86" y="38"/>
                    </a:lnTo>
                    <a:lnTo>
                      <a:pt x="86" y="36"/>
                    </a:lnTo>
                    <a:lnTo>
                      <a:pt x="86" y="38"/>
                    </a:lnTo>
                    <a:lnTo>
                      <a:pt x="88" y="38"/>
                    </a:lnTo>
                    <a:lnTo>
                      <a:pt x="88" y="36"/>
                    </a:lnTo>
                    <a:lnTo>
                      <a:pt x="88" y="38"/>
                    </a:lnTo>
                    <a:close/>
                    <a:moveTo>
                      <a:pt x="111" y="44"/>
                    </a:moveTo>
                    <a:lnTo>
                      <a:pt x="113" y="44"/>
                    </a:lnTo>
                    <a:lnTo>
                      <a:pt x="111" y="44"/>
                    </a:lnTo>
                    <a:close/>
                    <a:moveTo>
                      <a:pt x="101" y="40"/>
                    </a:moveTo>
                    <a:lnTo>
                      <a:pt x="101" y="42"/>
                    </a:lnTo>
                    <a:lnTo>
                      <a:pt x="101" y="40"/>
                    </a:lnTo>
                    <a:close/>
                    <a:moveTo>
                      <a:pt x="111" y="42"/>
                    </a:moveTo>
                    <a:lnTo>
                      <a:pt x="111" y="44"/>
                    </a:lnTo>
                    <a:lnTo>
                      <a:pt x="111" y="42"/>
                    </a:lnTo>
                    <a:lnTo>
                      <a:pt x="111" y="44"/>
                    </a:lnTo>
                    <a:lnTo>
                      <a:pt x="111" y="42"/>
                    </a:lnTo>
                    <a:lnTo>
                      <a:pt x="111" y="44"/>
                    </a:lnTo>
                    <a:lnTo>
                      <a:pt x="111" y="42"/>
                    </a:lnTo>
                    <a:lnTo>
                      <a:pt x="111" y="44"/>
                    </a:lnTo>
                    <a:lnTo>
                      <a:pt x="111" y="42"/>
                    </a:lnTo>
                    <a:lnTo>
                      <a:pt x="111" y="44"/>
                    </a:lnTo>
                    <a:lnTo>
                      <a:pt x="111" y="42"/>
                    </a:lnTo>
                    <a:close/>
                    <a:moveTo>
                      <a:pt x="103" y="40"/>
                    </a:moveTo>
                    <a:lnTo>
                      <a:pt x="101" y="40"/>
                    </a:lnTo>
                    <a:lnTo>
                      <a:pt x="103" y="40"/>
                    </a:lnTo>
                    <a:close/>
                    <a:moveTo>
                      <a:pt x="109" y="42"/>
                    </a:moveTo>
                    <a:lnTo>
                      <a:pt x="109" y="40"/>
                    </a:lnTo>
                    <a:lnTo>
                      <a:pt x="109" y="42"/>
                    </a:lnTo>
                    <a:close/>
                    <a:moveTo>
                      <a:pt x="92" y="35"/>
                    </a:moveTo>
                    <a:lnTo>
                      <a:pt x="92" y="36"/>
                    </a:lnTo>
                    <a:lnTo>
                      <a:pt x="92" y="35"/>
                    </a:lnTo>
                    <a:close/>
                    <a:moveTo>
                      <a:pt x="92" y="33"/>
                    </a:moveTo>
                    <a:lnTo>
                      <a:pt x="92" y="35"/>
                    </a:lnTo>
                    <a:lnTo>
                      <a:pt x="92" y="33"/>
                    </a:lnTo>
                    <a:lnTo>
                      <a:pt x="92" y="35"/>
                    </a:lnTo>
                    <a:lnTo>
                      <a:pt x="90" y="35"/>
                    </a:lnTo>
                    <a:lnTo>
                      <a:pt x="90" y="33"/>
                    </a:lnTo>
                    <a:lnTo>
                      <a:pt x="92" y="33"/>
                    </a:lnTo>
                    <a:close/>
                    <a:moveTo>
                      <a:pt x="115" y="40"/>
                    </a:moveTo>
                    <a:lnTo>
                      <a:pt x="113" y="40"/>
                    </a:lnTo>
                    <a:lnTo>
                      <a:pt x="115" y="40"/>
                    </a:lnTo>
                    <a:lnTo>
                      <a:pt x="113" y="40"/>
                    </a:lnTo>
                    <a:lnTo>
                      <a:pt x="115" y="40"/>
                    </a:lnTo>
                    <a:close/>
                    <a:moveTo>
                      <a:pt x="94" y="33"/>
                    </a:moveTo>
                    <a:lnTo>
                      <a:pt x="94" y="35"/>
                    </a:lnTo>
                    <a:lnTo>
                      <a:pt x="94" y="33"/>
                    </a:lnTo>
                    <a:close/>
                    <a:moveTo>
                      <a:pt x="90" y="33"/>
                    </a:moveTo>
                    <a:lnTo>
                      <a:pt x="88" y="33"/>
                    </a:lnTo>
                    <a:lnTo>
                      <a:pt x="90" y="33"/>
                    </a:lnTo>
                    <a:close/>
                    <a:moveTo>
                      <a:pt x="113" y="38"/>
                    </a:moveTo>
                    <a:lnTo>
                      <a:pt x="113" y="40"/>
                    </a:lnTo>
                    <a:lnTo>
                      <a:pt x="113" y="38"/>
                    </a:lnTo>
                    <a:lnTo>
                      <a:pt x="113" y="40"/>
                    </a:lnTo>
                    <a:lnTo>
                      <a:pt x="113" y="38"/>
                    </a:lnTo>
                    <a:close/>
                    <a:moveTo>
                      <a:pt x="105" y="35"/>
                    </a:moveTo>
                    <a:lnTo>
                      <a:pt x="105" y="36"/>
                    </a:lnTo>
                    <a:lnTo>
                      <a:pt x="105" y="35"/>
                    </a:lnTo>
                    <a:close/>
                    <a:moveTo>
                      <a:pt x="96" y="29"/>
                    </a:moveTo>
                    <a:lnTo>
                      <a:pt x="94" y="29"/>
                    </a:lnTo>
                    <a:lnTo>
                      <a:pt x="96" y="29"/>
                    </a:lnTo>
                    <a:close/>
                    <a:moveTo>
                      <a:pt x="96" y="29"/>
                    </a:moveTo>
                    <a:lnTo>
                      <a:pt x="98" y="29"/>
                    </a:lnTo>
                    <a:lnTo>
                      <a:pt x="96" y="29"/>
                    </a:lnTo>
                    <a:lnTo>
                      <a:pt x="98" y="29"/>
                    </a:lnTo>
                    <a:lnTo>
                      <a:pt x="96" y="29"/>
                    </a:lnTo>
                    <a:close/>
                    <a:moveTo>
                      <a:pt x="117" y="33"/>
                    </a:moveTo>
                    <a:lnTo>
                      <a:pt x="117" y="35"/>
                    </a:lnTo>
                    <a:lnTo>
                      <a:pt x="117" y="33"/>
                    </a:lnTo>
                    <a:lnTo>
                      <a:pt x="117" y="35"/>
                    </a:lnTo>
                    <a:lnTo>
                      <a:pt x="117" y="33"/>
                    </a:lnTo>
                    <a:lnTo>
                      <a:pt x="117" y="35"/>
                    </a:lnTo>
                    <a:lnTo>
                      <a:pt x="115" y="35"/>
                    </a:lnTo>
                    <a:lnTo>
                      <a:pt x="115" y="33"/>
                    </a:lnTo>
                    <a:lnTo>
                      <a:pt x="117" y="33"/>
                    </a:lnTo>
                    <a:close/>
                    <a:moveTo>
                      <a:pt x="101" y="27"/>
                    </a:moveTo>
                    <a:lnTo>
                      <a:pt x="101" y="29"/>
                    </a:lnTo>
                    <a:lnTo>
                      <a:pt x="101" y="27"/>
                    </a:lnTo>
                    <a:lnTo>
                      <a:pt x="101" y="29"/>
                    </a:lnTo>
                    <a:lnTo>
                      <a:pt x="101" y="27"/>
                    </a:lnTo>
                    <a:close/>
                    <a:moveTo>
                      <a:pt x="103" y="27"/>
                    </a:moveTo>
                    <a:lnTo>
                      <a:pt x="101" y="27"/>
                    </a:lnTo>
                    <a:lnTo>
                      <a:pt x="103" y="27"/>
                    </a:lnTo>
                    <a:close/>
                    <a:moveTo>
                      <a:pt x="121" y="31"/>
                    </a:moveTo>
                    <a:lnTo>
                      <a:pt x="119" y="31"/>
                    </a:lnTo>
                    <a:lnTo>
                      <a:pt x="117" y="31"/>
                    </a:lnTo>
                    <a:lnTo>
                      <a:pt x="119" y="31"/>
                    </a:lnTo>
                    <a:lnTo>
                      <a:pt x="121" y="31"/>
                    </a:lnTo>
                    <a:close/>
                    <a:moveTo>
                      <a:pt x="105" y="27"/>
                    </a:moveTo>
                    <a:lnTo>
                      <a:pt x="107" y="27"/>
                    </a:lnTo>
                    <a:lnTo>
                      <a:pt x="105" y="27"/>
                    </a:lnTo>
                    <a:lnTo>
                      <a:pt x="107" y="27"/>
                    </a:lnTo>
                    <a:lnTo>
                      <a:pt x="107" y="29"/>
                    </a:lnTo>
                    <a:lnTo>
                      <a:pt x="105" y="27"/>
                    </a:lnTo>
                    <a:lnTo>
                      <a:pt x="107" y="25"/>
                    </a:lnTo>
                    <a:lnTo>
                      <a:pt x="105" y="27"/>
                    </a:lnTo>
                    <a:lnTo>
                      <a:pt x="107" y="27"/>
                    </a:lnTo>
                    <a:lnTo>
                      <a:pt x="105" y="27"/>
                    </a:lnTo>
                    <a:close/>
                    <a:moveTo>
                      <a:pt x="101" y="23"/>
                    </a:moveTo>
                    <a:lnTo>
                      <a:pt x="99" y="23"/>
                    </a:lnTo>
                    <a:lnTo>
                      <a:pt x="101" y="23"/>
                    </a:lnTo>
                    <a:close/>
                    <a:moveTo>
                      <a:pt x="113" y="27"/>
                    </a:moveTo>
                    <a:lnTo>
                      <a:pt x="111" y="27"/>
                    </a:lnTo>
                    <a:lnTo>
                      <a:pt x="113" y="27"/>
                    </a:lnTo>
                    <a:close/>
                    <a:moveTo>
                      <a:pt x="103" y="23"/>
                    </a:moveTo>
                    <a:lnTo>
                      <a:pt x="101" y="23"/>
                    </a:lnTo>
                    <a:lnTo>
                      <a:pt x="103" y="23"/>
                    </a:lnTo>
                    <a:close/>
                    <a:moveTo>
                      <a:pt x="103" y="23"/>
                    </a:moveTo>
                    <a:lnTo>
                      <a:pt x="101" y="23"/>
                    </a:lnTo>
                    <a:lnTo>
                      <a:pt x="103" y="23"/>
                    </a:lnTo>
                    <a:lnTo>
                      <a:pt x="101" y="23"/>
                    </a:lnTo>
                    <a:lnTo>
                      <a:pt x="103" y="23"/>
                    </a:lnTo>
                    <a:close/>
                    <a:moveTo>
                      <a:pt x="105" y="23"/>
                    </a:moveTo>
                    <a:lnTo>
                      <a:pt x="103" y="23"/>
                    </a:lnTo>
                    <a:lnTo>
                      <a:pt x="105" y="21"/>
                    </a:lnTo>
                    <a:lnTo>
                      <a:pt x="105" y="23"/>
                    </a:lnTo>
                    <a:close/>
                    <a:moveTo>
                      <a:pt x="107" y="23"/>
                    </a:moveTo>
                    <a:lnTo>
                      <a:pt x="107" y="25"/>
                    </a:lnTo>
                    <a:lnTo>
                      <a:pt x="105" y="25"/>
                    </a:lnTo>
                    <a:lnTo>
                      <a:pt x="105" y="23"/>
                    </a:lnTo>
                    <a:lnTo>
                      <a:pt x="105" y="25"/>
                    </a:lnTo>
                    <a:lnTo>
                      <a:pt x="105" y="23"/>
                    </a:lnTo>
                    <a:lnTo>
                      <a:pt x="107" y="23"/>
                    </a:lnTo>
                    <a:lnTo>
                      <a:pt x="105" y="23"/>
                    </a:lnTo>
                    <a:lnTo>
                      <a:pt x="107" y="23"/>
                    </a:lnTo>
                    <a:lnTo>
                      <a:pt x="105" y="23"/>
                    </a:lnTo>
                    <a:lnTo>
                      <a:pt x="107" y="23"/>
                    </a:lnTo>
                    <a:close/>
                    <a:moveTo>
                      <a:pt x="105" y="21"/>
                    </a:moveTo>
                    <a:lnTo>
                      <a:pt x="105" y="23"/>
                    </a:lnTo>
                    <a:lnTo>
                      <a:pt x="103" y="23"/>
                    </a:lnTo>
                    <a:lnTo>
                      <a:pt x="105" y="23"/>
                    </a:lnTo>
                    <a:lnTo>
                      <a:pt x="105" y="25"/>
                    </a:lnTo>
                    <a:lnTo>
                      <a:pt x="103" y="25"/>
                    </a:lnTo>
                    <a:lnTo>
                      <a:pt x="103" y="23"/>
                    </a:lnTo>
                    <a:lnTo>
                      <a:pt x="105" y="23"/>
                    </a:lnTo>
                    <a:lnTo>
                      <a:pt x="105" y="21"/>
                    </a:lnTo>
                    <a:close/>
                    <a:moveTo>
                      <a:pt x="117" y="23"/>
                    </a:moveTo>
                    <a:lnTo>
                      <a:pt x="115" y="25"/>
                    </a:lnTo>
                    <a:lnTo>
                      <a:pt x="117" y="23"/>
                    </a:lnTo>
                    <a:lnTo>
                      <a:pt x="115" y="23"/>
                    </a:lnTo>
                    <a:lnTo>
                      <a:pt x="117" y="23"/>
                    </a:lnTo>
                    <a:close/>
                    <a:moveTo>
                      <a:pt x="117" y="23"/>
                    </a:moveTo>
                    <a:lnTo>
                      <a:pt x="117" y="25"/>
                    </a:lnTo>
                    <a:lnTo>
                      <a:pt x="117" y="23"/>
                    </a:lnTo>
                    <a:lnTo>
                      <a:pt x="115" y="25"/>
                    </a:lnTo>
                    <a:lnTo>
                      <a:pt x="117" y="23"/>
                    </a:lnTo>
                    <a:close/>
                    <a:moveTo>
                      <a:pt x="107" y="17"/>
                    </a:moveTo>
                    <a:lnTo>
                      <a:pt x="107" y="19"/>
                    </a:lnTo>
                    <a:lnTo>
                      <a:pt x="107" y="17"/>
                    </a:lnTo>
                    <a:close/>
                    <a:moveTo>
                      <a:pt x="107" y="19"/>
                    </a:moveTo>
                    <a:lnTo>
                      <a:pt x="107" y="17"/>
                    </a:lnTo>
                    <a:lnTo>
                      <a:pt x="107" y="19"/>
                    </a:lnTo>
                    <a:close/>
                    <a:moveTo>
                      <a:pt x="117" y="19"/>
                    </a:moveTo>
                    <a:lnTo>
                      <a:pt x="117" y="21"/>
                    </a:lnTo>
                    <a:lnTo>
                      <a:pt x="117" y="19"/>
                    </a:lnTo>
                    <a:close/>
                    <a:moveTo>
                      <a:pt x="117" y="19"/>
                    </a:moveTo>
                    <a:lnTo>
                      <a:pt x="117" y="21"/>
                    </a:lnTo>
                    <a:lnTo>
                      <a:pt x="117" y="19"/>
                    </a:lnTo>
                    <a:close/>
                    <a:moveTo>
                      <a:pt x="113" y="15"/>
                    </a:moveTo>
                    <a:lnTo>
                      <a:pt x="111" y="15"/>
                    </a:lnTo>
                    <a:lnTo>
                      <a:pt x="113" y="15"/>
                    </a:lnTo>
                    <a:close/>
                    <a:moveTo>
                      <a:pt x="123" y="17"/>
                    </a:moveTo>
                    <a:lnTo>
                      <a:pt x="121" y="15"/>
                    </a:lnTo>
                    <a:lnTo>
                      <a:pt x="123" y="17"/>
                    </a:lnTo>
                    <a:lnTo>
                      <a:pt x="123" y="15"/>
                    </a:lnTo>
                    <a:lnTo>
                      <a:pt x="123" y="17"/>
                    </a:lnTo>
                    <a:lnTo>
                      <a:pt x="123" y="15"/>
                    </a:lnTo>
                    <a:lnTo>
                      <a:pt x="123" y="17"/>
                    </a:lnTo>
                    <a:close/>
                    <a:moveTo>
                      <a:pt x="123" y="15"/>
                    </a:moveTo>
                    <a:lnTo>
                      <a:pt x="121" y="15"/>
                    </a:lnTo>
                    <a:lnTo>
                      <a:pt x="121" y="13"/>
                    </a:lnTo>
                    <a:lnTo>
                      <a:pt x="123" y="15"/>
                    </a:lnTo>
                    <a:close/>
                    <a:moveTo>
                      <a:pt x="113" y="10"/>
                    </a:moveTo>
                    <a:lnTo>
                      <a:pt x="111" y="10"/>
                    </a:lnTo>
                    <a:lnTo>
                      <a:pt x="113" y="10"/>
                    </a:lnTo>
                    <a:close/>
                    <a:moveTo>
                      <a:pt x="117" y="4"/>
                    </a:moveTo>
                    <a:lnTo>
                      <a:pt x="117" y="6"/>
                    </a:lnTo>
                    <a:lnTo>
                      <a:pt x="117" y="4"/>
                    </a:lnTo>
                    <a:close/>
                    <a:moveTo>
                      <a:pt x="123" y="6"/>
                    </a:moveTo>
                    <a:lnTo>
                      <a:pt x="121" y="6"/>
                    </a:lnTo>
                    <a:lnTo>
                      <a:pt x="123" y="6"/>
                    </a:lnTo>
                    <a:close/>
                    <a:moveTo>
                      <a:pt x="119" y="4"/>
                    </a:moveTo>
                    <a:lnTo>
                      <a:pt x="117" y="4"/>
                    </a:lnTo>
                    <a:lnTo>
                      <a:pt x="119" y="4"/>
                    </a:lnTo>
                    <a:close/>
                    <a:moveTo>
                      <a:pt x="111" y="2"/>
                    </a:moveTo>
                    <a:lnTo>
                      <a:pt x="113" y="4"/>
                    </a:lnTo>
                    <a:lnTo>
                      <a:pt x="111" y="2"/>
                    </a:lnTo>
                    <a:close/>
                    <a:moveTo>
                      <a:pt x="109" y="0"/>
                    </a:moveTo>
                    <a:lnTo>
                      <a:pt x="111" y="0"/>
                    </a:lnTo>
                    <a:lnTo>
                      <a:pt x="111" y="2"/>
                    </a:lnTo>
                    <a:lnTo>
                      <a:pt x="109" y="0"/>
                    </a:lnTo>
                    <a:close/>
                    <a:moveTo>
                      <a:pt x="117" y="2"/>
                    </a:moveTo>
                    <a:lnTo>
                      <a:pt x="119" y="4"/>
                    </a:lnTo>
                    <a:lnTo>
                      <a:pt x="117" y="2"/>
                    </a:lnTo>
                    <a:close/>
                    <a:moveTo>
                      <a:pt x="117" y="2"/>
                    </a:moveTo>
                    <a:lnTo>
                      <a:pt x="119" y="2"/>
                    </a:lnTo>
                    <a:lnTo>
                      <a:pt x="119" y="4"/>
                    </a:lnTo>
                    <a:lnTo>
                      <a:pt x="119" y="2"/>
                    </a:lnTo>
                    <a:lnTo>
                      <a:pt x="117" y="2"/>
                    </a:lnTo>
                    <a:lnTo>
                      <a:pt x="119" y="2"/>
                    </a:lnTo>
                    <a:lnTo>
                      <a:pt x="117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Freeform 44">
                <a:extLst>
                  <a:ext uri="{FF2B5EF4-FFF2-40B4-BE49-F238E27FC236}">
                    <a16:creationId xmlns="" xmlns:a16="http://schemas.microsoft.com/office/drawing/2014/main" id="{7A38F036-3C23-41BC-8AB9-0446877435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36938" y="3219451"/>
                <a:ext cx="201613" cy="314325"/>
              </a:xfrm>
              <a:custGeom>
                <a:avLst/>
                <a:gdLst>
                  <a:gd name="T0" fmla="*/ 106 w 127"/>
                  <a:gd name="T1" fmla="*/ 194 h 198"/>
                  <a:gd name="T2" fmla="*/ 106 w 127"/>
                  <a:gd name="T3" fmla="*/ 192 h 198"/>
                  <a:gd name="T4" fmla="*/ 106 w 127"/>
                  <a:gd name="T5" fmla="*/ 190 h 198"/>
                  <a:gd name="T6" fmla="*/ 102 w 127"/>
                  <a:gd name="T7" fmla="*/ 185 h 198"/>
                  <a:gd name="T8" fmla="*/ 100 w 127"/>
                  <a:gd name="T9" fmla="*/ 183 h 198"/>
                  <a:gd name="T10" fmla="*/ 110 w 127"/>
                  <a:gd name="T11" fmla="*/ 181 h 198"/>
                  <a:gd name="T12" fmla="*/ 104 w 127"/>
                  <a:gd name="T13" fmla="*/ 177 h 198"/>
                  <a:gd name="T14" fmla="*/ 108 w 127"/>
                  <a:gd name="T15" fmla="*/ 171 h 198"/>
                  <a:gd name="T16" fmla="*/ 108 w 127"/>
                  <a:gd name="T17" fmla="*/ 171 h 198"/>
                  <a:gd name="T18" fmla="*/ 102 w 127"/>
                  <a:gd name="T19" fmla="*/ 167 h 198"/>
                  <a:gd name="T20" fmla="*/ 104 w 127"/>
                  <a:gd name="T21" fmla="*/ 163 h 198"/>
                  <a:gd name="T22" fmla="*/ 98 w 127"/>
                  <a:gd name="T23" fmla="*/ 160 h 198"/>
                  <a:gd name="T24" fmla="*/ 92 w 127"/>
                  <a:gd name="T25" fmla="*/ 156 h 198"/>
                  <a:gd name="T26" fmla="*/ 83 w 127"/>
                  <a:gd name="T27" fmla="*/ 150 h 198"/>
                  <a:gd name="T28" fmla="*/ 91 w 127"/>
                  <a:gd name="T29" fmla="*/ 152 h 198"/>
                  <a:gd name="T30" fmla="*/ 79 w 127"/>
                  <a:gd name="T31" fmla="*/ 144 h 198"/>
                  <a:gd name="T32" fmla="*/ 77 w 127"/>
                  <a:gd name="T33" fmla="*/ 140 h 198"/>
                  <a:gd name="T34" fmla="*/ 75 w 127"/>
                  <a:gd name="T35" fmla="*/ 135 h 198"/>
                  <a:gd name="T36" fmla="*/ 71 w 127"/>
                  <a:gd name="T37" fmla="*/ 127 h 198"/>
                  <a:gd name="T38" fmla="*/ 73 w 127"/>
                  <a:gd name="T39" fmla="*/ 123 h 198"/>
                  <a:gd name="T40" fmla="*/ 69 w 127"/>
                  <a:gd name="T41" fmla="*/ 117 h 198"/>
                  <a:gd name="T42" fmla="*/ 67 w 127"/>
                  <a:gd name="T43" fmla="*/ 111 h 198"/>
                  <a:gd name="T44" fmla="*/ 67 w 127"/>
                  <a:gd name="T45" fmla="*/ 108 h 198"/>
                  <a:gd name="T46" fmla="*/ 62 w 127"/>
                  <a:gd name="T47" fmla="*/ 100 h 198"/>
                  <a:gd name="T48" fmla="*/ 58 w 127"/>
                  <a:gd name="T49" fmla="*/ 92 h 198"/>
                  <a:gd name="T50" fmla="*/ 58 w 127"/>
                  <a:gd name="T51" fmla="*/ 88 h 198"/>
                  <a:gd name="T52" fmla="*/ 62 w 127"/>
                  <a:gd name="T53" fmla="*/ 85 h 198"/>
                  <a:gd name="T54" fmla="*/ 50 w 127"/>
                  <a:gd name="T55" fmla="*/ 75 h 198"/>
                  <a:gd name="T56" fmla="*/ 54 w 127"/>
                  <a:gd name="T57" fmla="*/ 71 h 198"/>
                  <a:gd name="T58" fmla="*/ 77 w 127"/>
                  <a:gd name="T59" fmla="*/ 73 h 198"/>
                  <a:gd name="T60" fmla="*/ 64 w 127"/>
                  <a:gd name="T61" fmla="*/ 63 h 198"/>
                  <a:gd name="T62" fmla="*/ 62 w 127"/>
                  <a:gd name="T63" fmla="*/ 61 h 198"/>
                  <a:gd name="T64" fmla="*/ 77 w 127"/>
                  <a:gd name="T65" fmla="*/ 63 h 198"/>
                  <a:gd name="T66" fmla="*/ 94 w 127"/>
                  <a:gd name="T67" fmla="*/ 61 h 198"/>
                  <a:gd name="T68" fmla="*/ 87 w 127"/>
                  <a:gd name="T69" fmla="*/ 58 h 198"/>
                  <a:gd name="T70" fmla="*/ 94 w 127"/>
                  <a:gd name="T71" fmla="*/ 60 h 198"/>
                  <a:gd name="T72" fmla="*/ 71 w 127"/>
                  <a:gd name="T73" fmla="*/ 50 h 198"/>
                  <a:gd name="T74" fmla="*/ 89 w 127"/>
                  <a:gd name="T75" fmla="*/ 54 h 198"/>
                  <a:gd name="T76" fmla="*/ 69 w 127"/>
                  <a:gd name="T77" fmla="*/ 44 h 198"/>
                  <a:gd name="T78" fmla="*/ 87 w 127"/>
                  <a:gd name="T79" fmla="*/ 48 h 198"/>
                  <a:gd name="T80" fmla="*/ 94 w 127"/>
                  <a:gd name="T81" fmla="*/ 52 h 198"/>
                  <a:gd name="T82" fmla="*/ 102 w 127"/>
                  <a:gd name="T83" fmla="*/ 52 h 198"/>
                  <a:gd name="T84" fmla="*/ 89 w 127"/>
                  <a:gd name="T85" fmla="*/ 46 h 198"/>
                  <a:gd name="T86" fmla="*/ 94 w 127"/>
                  <a:gd name="T87" fmla="*/ 48 h 198"/>
                  <a:gd name="T88" fmla="*/ 106 w 127"/>
                  <a:gd name="T89" fmla="*/ 50 h 198"/>
                  <a:gd name="T90" fmla="*/ 77 w 127"/>
                  <a:gd name="T91" fmla="*/ 38 h 198"/>
                  <a:gd name="T92" fmla="*/ 98 w 127"/>
                  <a:gd name="T93" fmla="*/ 44 h 198"/>
                  <a:gd name="T94" fmla="*/ 94 w 127"/>
                  <a:gd name="T95" fmla="*/ 42 h 198"/>
                  <a:gd name="T96" fmla="*/ 83 w 127"/>
                  <a:gd name="T97" fmla="*/ 36 h 198"/>
                  <a:gd name="T98" fmla="*/ 92 w 127"/>
                  <a:gd name="T99" fmla="*/ 35 h 198"/>
                  <a:gd name="T100" fmla="*/ 85 w 127"/>
                  <a:gd name="T101" fmla="*/ 31 h 198"/>
                  <a:gd name="T102" fmla="*/ 91 w 127"/>
                  <a:gd name="T103" fmla="*/ 31 h 198"/>
                  <a:gd name="T104" fmla="*/ 108 w 127"/>
                  <a:gd name="T105" fmla="*/ 36 h 198"/>
                  <a:gd name="T106" fmla="*/ 104 w 127"/>
                  <a:gd name="T107" fmla="*/ 33 h 198"/>
                  <a:gd name="T108" fmla="*/ 108 w 127"/>
                  <a:gd name="T109" fmla="*/ 29 h 198"/>
                  <a:gd name="T110" fmla="*/ 108 w 127"/>
                  <a:gd name="T111" fmla="*/ 29 h 198"/>
                  <a:gd name="T112" fmla="*/ 110 w 127"/>
                  <a:gd name="T113" fmla="*/ 25 h 198"/>
                  <a:gd name="T114" fmla="*/ 98 w 127"/>
                  <a:gd name="T115" fmla="*/ 17 h 198"/>
                  <a:gd name="T116" fmla="*/ 98 w 127"/>
                  <a:gd name="T117" fmla="*/ 15 h 198"/>
                  <a:gd name="T118" fmla="*/ 114 w 127"/>
                  <a:gd name="T119" fmla="*/ 15 h 198"/>
                  <a:gd name="T120" fmla="*/ 110 w 127"/>
                  <a:gd name="T121" fmla="*/ 8 h 198"/>
                  <a:gd name="T122" fmla="*/ 114 w 127"/>
                  <a:gd name="T123" fmla="*/ 6 h 198"/>
                  <a:gd name="T124" fmla="*/ 110 w 127"/>
                  <a:gd name="T125" fmla="*/ 4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7" h="198">
                    <a:moveTo>
                      <a:pt x="104" y="198"/>
                    </a:moveTo>
                    <a:lnTo>
                      <a:pt x="104" y="196"/>
                    </a:lnTo>
                    <a:lnTo>
                      <a:pt x="104" y="198"/>
                    </a:lnTo>
                    <a:close/>
                    <a:moveTo>
                      <a:pt x="102" y="196"/>
                    </a:moveTo>
                    <a:lnTo>
                      <a:pt x="104" y="196"/>
                    </a:lnTo>
                    <a:lnTo>
                      <a:pt x="102" y="196"/>
                    </a:lnTo>
                    <a:close/>
                    <a:moveTo>
                      <a:pt x="104" y="194"/>
                    </a:moveTo>
                    <a:lnTo>
                      <a:pt x="104" y="196"/>
                    </a:lnTo>
                    <a:lnTo>
                      <a:pt x="102" y="194"/>
                    </a:lnTo>
                    <a:lnTo>
                      <a:pt x="104" y="194"/>
                    </a:lnTo>
                    <a:close/>
                    <a:moveTo>
                      <a:pt x="104" y="194"/>
                    </a:moveTo>
                    <a:lnTo>
                      <a:pt x="102" y="194"/>
                    </a:lnTo>
                    <a:lnTo>
                      <a:pt x="104" y="194"/>
                    </a:lnTo>
                    <a:close/>
                    <a:moveTo>
                      <a:pt x="106" y="196"/>
                    </a:moveTo>
                    <a:lnTo>
                      <a:pt x="104" y="196"/>
                    </a:lnTo>
                    <a:lnTo>
                      <a:pt x="104" y="194"/>
                    </a:lnTo>
                    <a:lnTo>
                      <a:pt x="106" y="196"/>
                    </a:lnTo>
                    <a:close/>
                    <a:moveTo>
                      <a:pt x="104" y="194"/>
                    </a:moveTo>
                    <a:lnTo>
                      <a:pt x="104" y="196"/>
                    </a:lnTo>
                    <a:lnTo>
                      <a:pt x="104" y="194"/>
                    </a:lnTo>
                    <a:close/>
                    <a:moveTo>
                      <a:pt x="108" y="196"/>
                    </a:moveTo>
                    <a:lnTo>
                      <a:pt x="106" y="196"/>
                    </a:lnTo>
                    <a:lnTo>
                      <a:pt x="108" y="196"/>
                    </a:lnTo>
                    <a:close/>
                    <a:moveTo>
                      <a:pt x="100" y="194"/>
                    </a:moveTo>
                    <a:lnTo>
                      <a:pt x="98" y="194"/>
                    </a:lnTo>
                    <a:lnTo>
                      <a:pt x="100" y="194"/>
                    </a:lnTo>
                    <a:close/>
                    <a:moveTo>
                      <a:pt x="106" y="196"/>
                    </a:moveTo>
                    <a:lnTo>
                      <a:pt x="106" y="194"/>
                    </a:lnTo>
                    <a:lnTo>
                      <a:pt x="106" y="196"/>
                    </a:lnTo>
                    <a:close/>
                    <a:moveTo>
                      <a:pt x="102" y="192"/>
                    </a:moveTo>
                    <a:lnTo>
                      <a:pt x="102" y="194"/>
                    </a:lnTo>
                    <a:lnTo>
                      <a:pt x="102" y="192"/>
                    </a:lnTo>
                    <a:close/>
                    <a:moveTo>
                      <a:pt x="108" y="194"/>
                    </a:moveTo>
                    <a:lnTo>
                      <a:pt x="106" y="194"/>
                    </a:lnTo>
                    <a:lnTo>
                      <a:pt x="108" y="196"/>
                    </a:lnTo>
                    <a:lnTo>
                      <a:pt x="106" y="194"/>
                    </a:lnTo>
                    <a:lnTo>
                      <a:pt x="108" y="194"/>
                    </a:lnTo>
                    <a:close/>
                    <a:moveTo>
                      <a:pt x="104" y="194"/>
                    </a:moveTo>
                    <a:lnTo>
                      <a:pt x="106" y="194"/>
                    </a:lnTo>
                    <a:lnTo>
                      <a:pt x="104" y="194"/>
                    </a:lnTo>
                    <a:close/>
                    <a:moveTo>
                      <a:pt x="106" y="194"/>
                    </a:moveTo>
                    <a:lnTo>
                      <a:pt x="108" y="194"/>
                    </a:lnTo>
                    <a:lnTo>
                      <a:pt x="106" y="194"/>
                    </a:lnTo>
                    <a:close/>
                    <a:moveTo>
                      <a:pt x="102" y="194"/>
                    </a:moveTo>
                    <a:lnTo>
                      <a:pt x="102" y="192"/>
                    </a:lnTo>
                    <a:lnTo>
                      <a:pt x="102" y="194"/>
                    </a:lnTo>
                    <a:close/>
                    <a:moveTo>
                      <a:pt x="104" y="194"/>
                    </a:moveTo>
                    <a:lnTo>
                      <a:pt x="104" y="192"/>
                    </a:lnTo>
                    <a:lnTo>
                      <a:pt x="104" y="194"/>
                    </a:lnTo>
                    <a:close/>
                    <a:moveTo>
                      <a:pt x="98" y="192"/>
                    </a:moveTo>
                    <a:lnTo>
                      <a:pt x="98" y="190"/>
                    </a:lnTo>
                    <a:lnTo>
                      <a:pt x="98" y="192"/>
                    </a:lnTo>
                    <a:close/>
                    <a:moveTo>
                      <a:pt x="106" y="194"/>
                    </a:moveTo>
                    <a:lnTo>
                      <a:pt x="106" y="192"/>
                    </a:lnTo>
                    <a:lnTo>
                      <a:pt x="106" y="194"/>
                    </a:lnTo>
                    <a:close/>
                    <a:moveTo>
                      <a:pt x="106" y="194"/>
                    </a:moveTo>
                    <a:lnTo>
                      <a:pt x="106" y="192"/>
                    </a:lnTo>
                    <a:lnTo>
                      <a:pt x="106" y="194"/>
                    </a:lnTo>
                    <a:close/>
                    <a:moveTo>
                      <a:pt x="108" y="192"/>
                    </a:moveTo>
                    <a:lnTo>
                      <a:pt x="106" y="194"/>
                    </a:lnTo>
                    <a:lnTo>
                      <a:pt x="106" y="192"/>
                    </a:lnTo>
                    <a:lnTo>
                      <a:pt x="108" y="192"/>
                    </a:lnTo>
                    <a:close/>
                    <a:moveTo>
                      <a:pt x="108" y="192"/>
                    </a:moveTo>
                    <a:lnTo>
                      <a:pt x="106" y="192"/>
                    </a:lnTo>
                    <a:lnTo>
                      <a:pt x="108" y="192"/>
                    </a:lnTo>
                    <a:close/>
                    <a:moveTo>
                      <a:pt x="100" y="190"/>
                    </a:moveTo>
                    <a:lnTo>
                      <a:pt x="98" y="190"/>
                    </a:lnTo>
                    <a:lnTo>
                      <a:pt x="100" y="190"/>
                    </a:lnTo>
                    <a:close/>
                    <a:moveTo>
                      <a:pt x="108" y="192"/>
                    </a:moveTo>
                    <a:lnTo>
                      <a:pt x="106" y="192"/>
                    </a:lnTo>
                    <a:lnTo>
                      <a:pt x="108" y="192"/>
                    </a:lnTo>
                    <a:close/>
                    <a:moveTo>
                      <a:pt x="100" y="190"/>
                    </a:moveTo>
                    <a:lnTo>
                      <a:pt x="98" y="190"/>
                    </a:lnTo>
                    <a:lnTo>
                      <a:pt x="100" y="190"/>
                    </a:lnTo>
                    <a:close/>
                    <a:moveTo>
                      <a:pt x="108" y="192"/>
                    </a:moveTo>
                    <a:lnTo>
                      <a:pt x="106" y="192"/>
                    </a:lnTo>
                    <a:lnTo>
                      <a:pt x="108" y="192"/>
                    </a:lnTo>
                    <a:close/>
                    <a:moveTo>
                      <a:pt x="106" y="192"/>
                    </a:moveTo>
                    <a:lnTo>
                      <a:pt x="108" y="192"/>
                    </a:lnTo>
                    <a:lnTo>
                      <a:pt x="106" y="192"/>
                    </a:lnTo>
                    <a:close/>
                    <a:moveTo>
                      <a:pt x="108" y="192"/>
                    </a:moveTo>
                    <a:lnTo>
                      <a:pt x="106" y="192"/>
                    </a:lnTo>
                    <a:lnTo>
                      <a:pt x="108" y="192"/>
                    </a:lnTo>
                    <a:close/>
                    <a:moveTo>
                      <a:pt x="104" y="190"/>
                    </a:moveTo>
                    <a:lnTo>
                      <a:pt x="104" y="192"/>
                    </a:lnTo>
                    <a:lnTo>
                      <a:pt x="104" y="190"/>
                    </a:lnTo>
                    <a:close/>
                    <a:moveTo>
                      <a:pt x="106" y="190"/>
                    </a:moveTo>
                    <a:lnTo>
                      <a:pt x="106" y="192"/>
                    </a:lnTo>
                    <a:lnTo>
                      <a:pt x="106" y="190"/>
                    </a:lnTo>
                    <a:close/>
                    <a:moveTo>
                      <a:pt x="106" y="192"/>
                    </a:moveTo>
                    <a:lnTo>
                      <a:pt x="106" y="190"/>
                    </a:lnTo>
                    <a:lnTo>
                      <a:pt x="106" y="192"/>
                    </a:lnTo>
                    <a:close/>
                    <a:moveTo>
                      <a:pt x="102" y="190"/>
                    </a:moveTo>
                    <a:lnTo>
                      <a:pt x="100" y="190"/>
                    </a:lnTo>
                    <a:lnTo>
                      <a:pt x="102" y="190"/>
                    </a:lnTo>
                    <a:close/>
                    <a:moveTo>
                      <a:pt x="106" y="192"/>
                    </a:moveTo>
                    <a:lnTo>
                      <a:pt x="106" y="190"/>
                    </a:lnTo>
                    <a:lnTo>
                      <a:pt x="106" y="192"/>
                    </a:lnTo>
                    <a:close/>
                    <a:moveTo>
                      <a:pt x="106" y="190"/>
                    </a:moveTo>
                    <a:lnTo>
                      <a:pt x="106" y="192"/>
                    </a:lnTo>
                    <a:lnTo>
                      <a:pt x="106" y="190"/>
                    </a:lnTo>
                    <a:close/>
                    <a:moveTo>
                      <a:pt x="100" y="190"/>
                    </a:moveTo>
                    <a:lnTo>
                      <a:pt x="100" y="188"/>
                    </a:lnTo>
                    <a:lnTo>
                      <a:pt x="100" y="190"/>
                    </a:lnTo>
                    <a:close/>
                    <a:moveTo>
                      <a:pt x="100" y="188"/>
                    </a:moveTo>
                    <a:lnTo>
                      <a:pt x="100" y="190"/>
                    </a:lnTo>
                    <a:lnTo>
                      <a:pt x="100" y="188"/>
                    </a:lnTo>
                    <a:close/>
                    <a:moveTo>
                      <a:pt x="104" y="190"/>
                    </a:moveTo>
                    <a:lnTo>
                      <a:pt x="102" y="190"/>
                    </a:lnTo>
                    <a:lnTo>
                      <a:pt x="104" y="190"/>
                    </a:lnTo>
                    <a:close/>
                    <a:moveTo>
                      <a:pt x="100" y="190"/>
                    </a:moveTo>
                    <a:lnTo>
                      <a:pt x="100" y="188"/>
                    </a:lnTo>
                    <a:lnTo>
                      <a:pt x="100" y="190"/>
                    </a:lnTo>
                    <a:close/>
                    <a:moveTo>
                      <a:pt x="102" y="190"/>
                    </a:moveTo>
                    <a:lnTo>
                      <a:pt x="102" y="188"/>
                    </a:lnTo>
                    <a:lnTo>
                      <a:pt x="102" y="190"/>
                    </a:lnTo>
                    <a:close/>
                    <a:moveTo>
                      <a:pt x="104" y="190"/>
                    </a:moveTo>
                    <a:lnTo>
                      <a:pt x="102" y="190"/>
                    </a:lnTo>
                    <a:lnTo>
                      <a:pt x="104" y="190"/>
                    </a:lnTo>
                    <a:close/>
                    <a:moveTo>
                      <a:pt x="102" y="190"/>
                    </a:moveTo>
                    <a:lnTo>
                      <a:pt x="102" y="188"/>
                    </a:lnTo>
                    <a:lnTo>
                      <a:pt x="102" y="190"/>
                    </a:lnTo>
                    <a:close/>
                    <a:moveTo>
                      <a:pt x="106" y="190"/>
                    </a:moveTo>
                    <a:lnTo>
                      <a:pt x="108" y="190"/>
                    </a:lnTo>
                    <a:lnTo>
                      <a:pt x="106" y="190"/>
                    </a:lnTo>
                    <a:close/>
                    <a:moveTo>
                      <a:pt x="108" y="190"/>
                    </a:moveTo>
                    <a:lnTo>
                      <a:pt x="106" y="190"/>
                    </a:lnTo>
                    <a:lnTo>
                      <a:pt x="108" y="190"/>
                    </a:lnTo>
                    <a:close/>
                    <a:moveTo>
                      <a:pt x="100" y="186"/>
                    </a:moveTo>
                    <a:lnTo>
                      <a:pt x="100" y="188"/>
                    </a:lnTo>
                    <a:lnTo>
                      <a:pt x="100" y="186"/>
                    </a:lnTo>
                    <a:close/>
                    <a:moveTo>
                      <a:pt x="100" y="186"/>
                    </a:moveTo>
                    <a:lnTo>
                      <a:pt x="100" y="188"/>
                    </a:lnTo>
                    <a:lnTo>
                      <a:pt x="100" y="186"/>
                    </a:lnTo>
                    <a:close/>
                    <a:moveTo>
                      <a:pt x="100" y="188"/>
                    </a:moveTo>
                    <a:lnTo>
                      <a:pt x="100" y="186"/>
                    </a:lnTo>
                    <a:lnTo>
                      <a:pt x="100" y="188"/>
                    </a:lnTo>
                    <a:close/>
                    <a:moveTo>
                      <a:pt x="110" y="188"/>
                    </a:moveTo>
                    <a:lnTo>
                      <a:pt x="108" y="188"/>
                    </a:lnTo>
                    <a:lnTo>
                      <a:pt x="110" y="188"/>
                    </a:lnTo>
                    <a:close/>
                    <a:moveTo>
                      <a:pt x="104" y="188"/>
                    </a:moveTo>
                    <a:lnTo>
                      <a:pt x="104" y="186"/>
                    </a:lnTo>
                    <a:lnTo>
                      <a:pt x="104" y="188"/>
                    </a:lnTo>
                    <a:close/>
                    <a:moveTo>
                      <a:pt x="102" y="186"/>
                    </a:moveTo>
                    <a:lnTo>
                      <a:pt x="100" y="186"/>
                    </a:lnTo>
                    <a:lnTo>
                      <a:pt x="102" y="186"/>
                    </a:lnTo>
                    <a:close/>
                    <a:moveTo>
                      <a:pt x="102" y="186"/>
                    </a:moveTo>
                    <a:lnTo>
                      <a:pt x="104" y="186"/>
                    </a:lnTo>
                    <a:lnTo>
                      <a:pt x="102" y="186"/>
                    </a:lnTo>
                    <a:lnTo>
                      <a:pt x="104" y="186"/>
                    </a:lnTo>
                    <a:lnTo>
                      <a:pt x="102" y="186"/>
                    </a:lnTo>
                    <a:close/>
                    <a:moveTo>
                      <a:pt x="104" y="186"/>
                    </a:moveTo>
                    <a:lnTo>
                      <a:pt x="102" y="186"/>
                    </a:lnTo>
                    <a:lnTo>
                      <a:pt x="104" y="186"/>
                    </a:lnTo>
                    <a:close/>
                    <a:moveTo>
                      <a:pt x="100" y="185"/>
                    </a:moveTo>
                    <a:lnTo>
                      <a:pt x="98" y="185"/>
                    </a:lnTo>
                    <a:lnTo>
                      <a:pt x="100" y="185"/>
                    </a:lnTo>
                    <a:close/>
                    <a:moveTo>
                      <a:pt x="108" y="186"/>
                    </a:moveTo>
                    <a:lnTo>
                      <a:pt x="106" y="186"/>
                    </a:lnTo>
                    <a:lnTo>
                      <a:pt x="108" y="186"/>
                    </a:lnTo>
                    <a:close/>
                    <a:moveTo>
                      <a:pt x="106" y="186"/>
                    </a:moveTo>
                    <a:lnTo>
                      <a:pt x="104" y="186"/>
                    </a:lnTo>
                    <a:lnTo>
                      <a:pt x="106" y="186"/>
                    </a:lnTo>
                    <a:close/>
                    <a:moveTo>
                      <a:pt x="102" y="185"/>
                    </a:moveTo>
                    <a:lnTo>
                      <a:pt x="100" y="185"/>
                    </a:lnTo>
                    <a:lnTo>
                      <a:pt x="102" y="185"/>
                    </a:lnTo>
                    <a:close/>
                    <a:moveTo>
                      <a:pt x="100" y="185"/>
                    </a:moveTo>
                    <a:lnTo>
                      <a:pt x="98" y="185"/>
                    </a:lnTo>
                    <a:lnTo>
                      <a:pt x="100" y="185"/>
                    </a:lnTo>
                    <a:close/>
                    <a:moveTo>
                      <a:pt x="98" y="185"/>
                    </a:moveTo>
                    <a:lnTo>
                      <a:pt x="98" y="183"/>
                    </a:lnTo>
                    <a:lnTo>
                      <a:pt x="98" y="185"/>
                    </a:lnTo>
                    <a:close/>
                    <a:moveTo>
                      <a:pt x="100" y="185"/>
                    </a:moveTo>
                    <a:lnTo>
                      <a:pt x="100" y="183"/>
                    </a:lnTo>
                    <a:lnTo>
                      <a:pt x="100" y="185"/>
                    </a:lnTo>
                    <a:close/>
                    <a:moveTo>
                      <a:pt x="100" y="183"/>
                    </a:moveTo>
                    <a:lnTo>
                      <a:pt x="100" y="185"/>
                    </a:lnTo>
                    <a:lnTo>
                      <a:pt x="100" y="183"/>
                    </a:lnTo>
                    <a:close/>
                    <a:moveTo>
                      <a:pt x="100" y="185"/>
                    </a:moveTo>
                    <a:lnTo>
                      <a:pt x="100" y="183"/>
                    </a:lnTo>
                    <a:lnTo>
                      <a:pt x="100" y="185"/>
                    </a:lnTo>
                    <a:close/>
                    <a:moveTo>
                      <a:pt x="102" y="185"/>
                    </a:moveTo>
                    <a:lnTo>
                      <a:pt x="102" y="183"/>
                    </a:lnTo>
                    <a:lnTo>
                      <a:pt x="102" y="185"/>
                    </a:lnTo>
                    <a:close/>
                    <a:moveTo>
                      <a:pt x="102" y="185"/>
                    </a:moveTo>
                    <a:lnTo>
                      <a:pt x="102" y="183"/>
                    </a:lnTo>
                    <a:lnTo>
                      <a:pt x="102" y="185"/>
                    </a:lnTo>
                    <a:close/>
                    <a:moveTo>
                      <a:pt x="102" y="183"/>
                    </a:moveTo>
                    <a:lnTo>
                      <a:pt x="100" y="183"/>
                    </a:lnTo>
                    <a:lnTo>
                      <a:pt x="102" y="183"/>
                    </a:lnTo>
                    <a:close/>
                    <a:moveTo>
                      <a:pt x="102" y="183"/>
                    </a:moveTo>
                    <a:lnTo>
                      <a:pt x="100" y="183"/>
                    </a:lnTo>
                    <a:lnTo>
                      <a:pt x="102" y="183"/>
                    </a:lnTo>
                    <a:close/>
                    <a:moveTo>
                      <a:pt x="102" y="183"/>
                    </a:moveTo>
                    <a:lnTo>
                      <a:pt x="100" y="183"/>
                    </a:lnTo>
                    <a:lnTo>
                      <a:pt x="102" y="183"/>
                    </a:lnTo>
                    <a:close/>
                    <a:moveTo>
                      <a:pt x="102" y="183"/>
                    </a:moveTo>
                    <a:lnTo>
                      <a:pt x="100" y="183"/>
                    </a:lnTo>
                    <a:lnTo>
                      <a:pt x="102" y="183"/>
                    </a:lnTo>
                    <a:close/>
                    <a:moveTo>
                      <a:pt x="100" y="183"/>
                    </a:moveTo>
                    <a:lnTo>
                      <a:pt x="100" y="181"/>
                    </a:lnTo>
                    <a:lnTo>
                      <a:pt x="100" y="183"/>
                    </a:lnTo>
                    <a:close/>
                    <a:moveTo>
                      <a:pt x="100" y="183"/>
                    </a:moveTo>
                    <a:lnTo>
                      <a:pt x="100" y="181"/>
                    </a:lnTo>
                    <a:lnTo>
                      <a:pt x="100" y="183"/>
                    </a:lnTo>
                    <a:close/>
                    <a:moveTo>
                      <a:pt x="102" y="183"/>
                    </a:moveTo>
                    <a:lnTo>
                      <a:pt x="102" y="181"/>
                    </a:lnTo>
                    <a:lnTo>
                      <a:pt x="102" y="183"/>
                    </a:lnTo>
                    <a:close/>
                    <a:moveTo>
                      <a:pt x="102" y="181"/>
                    </a:moveTo>
                    <a:lnTo>
                      <a:pt x="100" y="181"/>
                    </a:lnTo>
                    <a:lnTo>
                      <a:pt x="102" y="181"/>
                    </a:lnTo>
                    <a:close/>
                    <a:moveTo>
                      <a:pt x="102" y="181"/>
                    </a:moveTo>
                    <a:lnTo>
                      <a:pt x="102" y="183"/>
                    </a:lnTo>
                    <a:lnTo>
                      <a:pt x="102" y="181"/>
                    </a:lnTo>
                    <a:close/>
                    <a:moveTo>
                      <a:pt x="106" y="183"/>
                    </a:moveTo>
                    <a:lnTo>
                      <a:pt x="106" y="181"/>
                    </a:lnTo>
                    <a:lnTo>
                      <a:pt x="106" y="183"/>
                    </a:lnTo>
                    <a:close/>
                    <a:moveTo>
                      <a:pt x="104" y="181"/>
                    </a:moveTo>
                    <a:lnTo>
                      <a:pt x="102" y="181"/>
                    </a:lnTo>
                    <a:lnTo>
                      <a:pt x="104" y="181"/>
                    </a:lnTo>
                    <a:close/>
                    <a:moveTo>
                      <a:pt x="102" y="179"/>
                    </a:moveTo>
                    <a:lnTo>
                      <a:pt x="102" y="181"/>
                    </a:lnTo>
                    <a:lnTo>
                      <a:pt x="102" y="179"/>
                    </a:lnTo>
                    <a:close/>
                    <a:moveTo>
                      <a:pt x="102" y="179"/>
                    </a:moveTo>
                    <a:lnTo>
                      <a:pt x="102" y="181"/>
                    </a:lnTo>
                    <a:lnTo>
                      <a:pt x="102" y="179"/>
                    </a:lnTo>
                    <a:close/>
                    <a:moveTo>
                      <a:pt x="104" y="181"/>
                    </a:moveTo>
                    <a:lnTo>
                      <a:pt x="104" y="179"/>
                    </a:lnTo>
                    <a:lnTo>
                      <a:pt x="104" y="181"/>
                    </a:lnTo>
                    <a:close/>
                    <a:moveTo>
                      <a:pt x="104" y="181"/>
                    </a:moveTo>
                    <a:lnTo>
                      <a:pt x="104" y="179"/>
                    </a:lnTo>
                    <a:lnTo>
                      <a:pt x="104" y="181"/>
                    </a:lnTo>
                    <a:close/>
                    <a:moveTo>
                      <a:pt x="106" y="179"/>
                    </a:moveTo>
                    <a:lnTo>
                      <a:pt x="106" y="181"/>
                    </a:lnTo>
                    <a:lnTo>
                      <a:pt x="106" y="179"/>
                    </a:lnTo>
                    <a:close/>
                    <a:moveTo>
                      <a:pt x="104" y="179"/>
                    </a:moveTo>
                    <a:lnTo>
                      <a:pt x="104" y="181"/>
                    </a:lnTo>
                    <a:lnTo>
                      <a:pt x="104" y="179"/>
                    </a:lnTo>
                    <a:close/>
                    <a:moveTo>
                      <a:pt x="106" y="179"/>
                    </a:moveTo>
                    <a:lnTo>
                      <a:pt x="106" y="181"/>
                    </a:lnTo>
                    <a:lnTo>
                      <a:pt x="106" y="179"/>
                    </a:lnTo>
                    <a:close/>
                    <a:moveTo>
                      <a:pt x="102" y="177"/>
                    </a:moveTo>
                    <a:lnTo>
                      <a:pt x="102" y="179"/>
                    </a:lnTo>
                    <a:lnTo>
                      <a:pt x="102" y="177"/>
                    </a:lnTo>
                    <a:close/>
                    <a:moveTo>
                      <a:pt x="110" y="179"/>
                    </a:moveTo>
                    <a:lnTo>
                      <a:pt x="110" y="181"/>
                    </a:lnTo>
                    <a:lnTo>
                      <a:pt x="110" y="179"/>
                    </a:lnTo>
                    <a:close/>
                    <a:moveTo>
                      <a:pt x="104" y="179"/>
                    </a:moveTo>
                    <a:lnTo>
                      <a:pt x="104" y="177"/>
                    </a:lnTo>
                    <a:lnTo>
                      <a:pt x="104" y="179"/>
                    </a:lnTo>
                    <a:close/>
                    <a:moveTo>
                      <a:pt x="104" y="177"/>
                    </a:moveTo>
                    <a:lnTo>
                      <a:pt x="104" y="179"/>
                    </a:lnTo>
                    <a:lnTo>
                      <a:pt x="104" y="177"/>
                    </a:lnTo>
                    <a:close/>
                    <a:moveTo>
                      <a:pt x="104" y="177"/>
                    </a:moveTo>
                    <a:lnTo>
                      <a:pt x="102" y="177"/>
                    </a:lnTo>
                    <a:lnTo>
                      <a:pt x="104" y="177"/>
                    </a:lnTo>
                    <a:lnTo>
                      <a:pt x="102" y="177"/>
                    </a:lnTo>
                    <a:lnTo>
                      <a:pt x="104" y="177"/>
                    </a:lnTo>
                    <a:close/>
                    <a:moveTo>
                      <a:pt x="104" y="177"/>
                    </a:moveTo>
                    <a:lnTo>
                      <a:pt x="104" y="179"/>
                    </a:lnTo>
                    <a:lnTo>
                      <a:pt x="104" y="177"/>
                    </a:lnTo>
                    <a:close/>
                    <a:moveTo>
                      <a:pt x="106" y="179"/>
                    </a:moveTo>
                    <a:lnTo>
                      <a:pt x="104" y="179"/>
                    </a:lnTo>
                    <a:lnTo>
                      <a:pt x="106" y="177"/>
                    </a:lnTo>
                    <a:lnTo>
                      <a:pt x="106" y="179"/>
                    </a:lnTo>
                    <a:close/>
                    <a:moveTo>
                      <a:pt x="104" y="177"/>
                    </a:moveTo>
                    <a:lnTo>
                      <a:pt x="106" y="177"/>
                    </a:lnTo>
                    <a:lnTo>
                      <a:pt x="104" y="177"/>
                    </a:lnTo>
                    <a:close/>
                    <a:moveTo>
                      <a:pt x="106" y="179"/>
                    </a:moveTo>
                    <a:lnTo>
                      <a:pt x="106" y="177"/>
                    </a:lnTo>
                    <a:lnTo>
                      <a:pt x="106" y="179"/>
                    </a:lnTo>
                    <a:close/>
                    <a:moveTo>
                      <a:pt x="108" y="179"/>
                    </a:moveTo>
                    <a:lnTo>
                      <a:pt x="108" y="177"/>
                    </a:lnTo>
                    <a:lnTo>
                      <a:pt x="108" y="179"/>
                    </a:lnTo>
                    <a:close/>
                    <a:moveTo>
                      <a:pt x="108" y="177"/>
                    </a:moveTo>
                    <a:lnTo>
                      <a:pt x="108" y="179"/>
                    </a:lnTo>
                    <a:lnTo>
                      <a:pt x="108" y="177"/>
                    </a:lnTo>
                    <a:lnTo>
                      <a:pt x="108" y="179"/>
                    </a:lnTo>
                    <a:lnTo>
                      <a:pt x="108" y="177"/>
                    </a:lnTo>
                    <a:close/>
                    <a:moveTo>
                      <a:pt x="108" y="177"/>
                    </a:moveTo>
                    <a:lnTo>
                      <a:pt x="106" y="177"/>
                    </a:lnTo>
                    <a:lnTo>
                      <a:pt x="108" y="177"/>
                    </a:lnTo>
                    <a:close/>
                    <a:moveTo>
                      <a:pt x="104" y="177"/>
                    </a:moveTo>
                    <a:lnTo>
                      <a:pt x="104" y="175"/>
                    </a:lnTo>
                    <a:lnTo>
                      <a:pt x="104" y="177"/>
                    </a:lnTo>
                    <a:close/>
                    <a:moveTo>
                      <a:pt x="104" y="175"/>
                    </a:moveTo>
                    <a:lnTo>
                      <a:pt x="104" y="177"/>
                    </a:lnTo>
                    <a:lnTo>
                      <a:pt x="104" y="175"/>
                    </a:lnTo>
                    <a:close/>
                    <a:moveTo>
                      <a:pt x="104" y="175"/>
                    </a:moveTo>
                    <a:lnTo>
                      <a:pt x="102" y="175"/>
                    </a:lnTo>
                    <a:lnTo>
                      <a:pt x="102" y="173"/>
                    </a:lnTo>
                    <a:lnTo>
                      <a:pt x="104" y="173"/>
                    </a:lnTo>
                    <a:lnTo>
                      <a:pt x="104" y="175"/>
                    </a:lnTo>
                    <a:close/>
                    <a:moveTo>
                      <a:pt x="106" y="173"/>
                    </a:moveTo>
                    <a:lnTo>
                      <a:pt x="106" y="175"/>
                    </a:lnTo>
                    <a:lnTo>
                      <a:pt x="106" y="173"/>
                    </a:lnTo>
                    <a:close/>
                    <a:moveTo>
                      <a:pt x="108" y="173"/>
                    </a:moveTo>
                    <a:lnTo>
                      <a:pt x="108" y="175"/>
                    </a:lnTo>
                    <a:lnTo>
                      <a:pt x="108" y="173"/>
                    </a:lnTo>
                    <a:close/>
                    <a:moveTo>
                      <a:pt x="106" y="173"/>
                    </a:moveTo>
                    <a:lnTo>
                      <a:pt x="104" y="173"/>
                    </a:lnTo>
                    <a:lnTo>
                      <a:pt x="106" y="173"/>
                    </a:lnTo>
                    <a:close/>
                    <a:moveTo>
                      <a:pt x="106" y="173"/>
                    </a:moveTo>
                    <a:lnTo>
                      <a:pt x="104" y="173"/>
                    </a:lnTo>
                    <a:lnTo>
                      <a:pt x="106" y="173"/>
                    </a:lnTo>
                    <a:close/>
                    <a:moveTo>
                      <a:pt x="106" y="171"/>
                    </a:moveTo>
                    <a:lnTo>
                      <a:pt x="106" y="173"/>
                    </a:lnTo>
                    <a:lnTo>
                      <a:pt x="106" y="171"/>
                    </a:lnTo>
                    <a:close/>
                    <a:moveTo>
                      <a:pt x="106" y="171"/>
                    </a:moveTo>
                    <a:lnTo>
                      <a:pt x="106" y="173"/>
                    </a:lnTo>
                    <a:lnTo>
                      <a:pt x="106" y="171"/>
                    </a:lnTo>
                    <a:close/>
                    <a:moveTo>
                      <a:pt x="104" y="171"/>
                    </a:moveTo>
                    <a:lnTo>
                      <a:pt x="106" y="171"/>
                    </a:lnTo>
                    <a:lnTo>
                      <a:pt x="104" y="171"/>
                    </a:lnTo>
                    <a:close/>
                    <a:moveTo>
                      <a:pt x="106" y="173"/>
                    </a:moveTo>
                    <a:lnTo>
                      <a:pt x="106" y="171"/>
                    </a:lnTo>
                    <a:lnTo>
                      <a:pt x="106" y="173"/>
                    </a:lnTo>
                    <a:close/>
                    <a:moveTo>
                      <a:pt x="108" y="173"/>
                    </a:moveTo>
                    <a:lnTo>
                      <a:pt x="106" y="173"/>
                    </a:lnTo>
                    <a:lnTo>
                      <a:pt x="108" y="173"/>
                    </a:lnTo>
                    <a:close/>
                    <a:moveTo>
                      <a:pt x="100" y="171"/>
                    </a:moveTo>
                    <a:lnTo>
                      <a:pt x="102" y="171"/>
                    </a:lnTo>
                    <a:lnTo>
                      <a:pt x="100" y="171"/>
                    </a:lnTo>
                    <a:close/>
                    <a:moveTo>
                      <a:pt x="108" y="173"/>
                    </a:moveTo>
                    <a:lnTo>
                      <a:pt x="108" y="171"/>
                    </a:lnTo>
                    <a:lnTo>
                      <a:pt x="108" y="173"/>
                    </a:lnTo>
                    <a:close/>
                    <a:moveTo>
                      <a:pt x="108" y="173"/>
                    </a:moveTo>
                    <a:lnTo>
                      <a:pt x="108" y="171"/>
                    </a:lnTo>
                    <a:lnTo>
                      <a:pt x="108" y="173"/>
                    </a:lnTo>
                    <a:close/>
                    <a:moveTo>
                      <a:pt x="83" y="163"/>
                    </a:moveTo>
                    <a:lnTo>
                      <a:pt x="83" y="165"/>
                    </a:lnTo>
                    <a:lnTo>
                      <a:pt x="83" y="163"/>
                    </a:lnTo>
                    <a:close/>
                    <a:moveTo>
                      <a:pt x="83" y="165"/>
                    </a:moveTo>
                    <a:lnTo>
                      <a:pt x="83" y="163"/>
                    </a:lnTo>
                    <a:lnTo>
                      <a:pt x="83" y="165"/>
                    </a:lnTo>
                    <a:close/>
                    <a:moveTo>
                      <a:pt x="108" y="171"/>
                    </a:moveTo>
                    <a:lnTo>
                      <a:pt x="106" y="171"/>
                    </a:lnTo>
                    <a:lnTo>
                      <a:pt x="108" y="171"/>
                    </a:lnTo>
                    <a:close/>
                    <a:moveTo>
                      <a:pt x="102" y="169"/>
                    </a:moveTo>
                    <a:lnTo>
                      <a:pt x="100" y="169"/>
                    </a:lnTo>
                    <a:lnTo>
                      <a:pt x="102" y="169"/>
                    </a:lnTo>
                    <a:close/>
                    <a:moveTo>
                      <a:pt x="104" y="171"/>
                    </a:moveTo>
                    <a:lnTo>
                      <a:pt x="104" y="169"/>
                    </a:lnTo>
                    <a:lnTo>
                      <a:pt x="104" y="171"/>
                    </a:lnTo>
                    <a:close/>
                    <a:moveTo>
                      <a:pt x="108" y="171"/>
                    </a:moveTo>
                    <a:lnTo>
                      <a:pt x="106" y="171"/>
                    </a:lnTo>
                    <a:lnTo>
                      <a:pt x="108" y="171"/>
                    </a:lnTo>
                    <a:close/>
                    <a:moveTo>
                      <a:pt x="104" y="171"/>
                    </a:moveTo>
                    <a:lnTo>
                      <a:pt x="104" y="169"/>
                    </a:lnTo>
                    <a:lnTo>
                      <a:pt x="104" y="171"/>
                    </a:lnTo>
                    <a:close/>
                    <a:moveTo>
                      <a:pt x="104" y="171"/>
                    </a:moveTo>
                    <a:lnTo>
                      <a:pt x="104" y="169"/>
                    </a:lnTo>
                    <a:lnTo>
                      <a:pt x="104" y="171"/>
                    </a:lnTo>
                    <a:close/>
                    <a:moveTo>
                      <a:pt x="110" y="171"/>
                    </a:moveTo>
                    <a:lnTo>
                      <a:pt x="108" y="171"/>
                    </a:lnTo>
                    <a:lnTo>
                      <a:pt x="110" y="171"/>
                    </a:lnTo>
                    <a:close/>
                    <a:moveTo>
                      <a:pt x="106" y="171"/>
                    </a:moveTo>
                    <a:lnTo>
                      <a:pt x="106" y="169"/>
                    </a:lnTo>
                    <a:lnTo>
                      <a:pt x="106" y="171"/>
                    </a:lnTo>
                    <a:close/>
                    <a:moveTo>
                      <a:pt x="100" y="167"/>
                    </a:moveTo>
                    <a:lnTo>
                      <a:pt x="98" y="167"/>
                    </a:lnTo>
                    <a:lnTo>
                      <a:pt x="100" y="167"/>
                    </a:lnTo>
                    <a:close/>
                    <a:moveTo>
                      <a:pt x="102" y="169"/>
                    </a:moveTo>
                    <a:lnTo>
                      <a:pt x="104" y="169"/>
                    </a:lnTo>
                    <a:lnTo>
                      <a:pt x="102" y="169"/>
                    </a:lnTo>
                    <a:close/>
                    <a:moveTo>
                      <a:pt x="106" y="169"/>
                    </a:moveTo>
                    <a:lnTo>
                      <a:pt x="104" y="169"/>
                    </a:lnTo>
                    <a:lnTo>
                      <a:pt x="106" y="169"/>
                    </a:lnTo>
                    <a:close/>
                    <a:moveTo>
                      <a:pt x="108" y="171"/>
                    </a:moveTo>
                    <a:lnTo>
                      <a:pt x="108" y="169"/>
                    </a:lnTo>
                    <a:lnTo>
                      <a:pt x="108" y="171"/>
                    </a:lnTo>
                    <a:close/>
                    <a:moveTo>
                      <a:pt x="104" y="169"/>
                    </a:moveTo>
                    <a:lnTo>
                      <a:pt x="102" y="169"/>
                    </a:lnTo>
                    <a:lnTo>
                      <a:pt x="104" y="169"/>
                    </a:lnTo>
                    <a:close/>
                    <a:moveTo>
                      <a:pt x="102" y="169"/>
                    </a:moveTo>
                    <a:lnTo>
                      <a:pt x="102" y="167"/>
                    </a:lnTo>
                    <a:lnTo>
                      <a:pt x="102" y="169"/>
                    </a:lnTo>
                    <a:close/>
                    <a:moveTo>
                      <a:pt x="110" y="169"/>
                    </a:moveTo>
                    <a:lnTo>
                      <a:pt x="110" y="171"/>
                    </a:lnTo>
                    <a:lnTo>
                      <a:pt x="110" y="169"/>
                    </a:lnTo>
                    <a:close/>
                    <a:moveTo>
                      <a:pt x="102" y="167"/>
                    </a:moveTo>
                    <a:lnTo>
                      <a:pt x="102" y="169"/>
                    </a:lnTo>
                    <a:lnTo>
                      <a:pt x="102" y="167"/>
                    </a:lnTo>
                    <a:close/>
                    <a:moveTo>
                      <a:pt x="110" y="169"/>
                    </a:moveTo>
                    <a:lnTo>
                      <a:pt x="110" y="171"/>
                    </a:lnTo>
                    <a:lnTo>
                      <a:pt x="110" y="169"/>
                    </a:lnTo>
                    <a:close/>
                    <a:moveTo>
                      <a:pt x="104" y="167"/>
                    </a:moveTo>
                    <a:lnTo>
                      <a:pt x="104" y="169"/>
                    </a:lnTo>
                    <a:lnTo>
                      <a:pt x="104" y="167"/>
                    </a:lnTo>
                    <a:close/>
                    <a:moveTo>
                      <a:pt x="98" y="165"/>
                    </a:moveTo>
                    <a:lnTo>
                      <a:pt x="98" y="167"/>
                    </a:lnTo>
                    <a:lnTo>
                      <a:pt x="98" y="165"/>
                    </a:lnTo>
                    <a:close/>
                    <a:moveTo>
                      <a:pt x="98" y="165"/>
                    </a:moveTo>
                    <a:lnTo>
                      <a:pt x="98" y="167"/>
                    </a:lnTo>
                    <a:lnTo>
                      <a:pt x="98" y="165"/>
                    </a:lnTo>
                    <a:close/>
                    <a:moveTo>
                      <a:pt x="104" y="167"/>
                    </a:moveTo>
                    <a:lnTo>
                      <a:pt x="104" y="169"/>
                    </a:lnTo>
                    <a:lnTo>
                      <a:pt x="104" y="167"/>
                    </a:lnTo>
                    <a:close/>
                    <a:moveTo>
                      <a:pt x="106" y="169"/>
                    </a:moveTo>
                    <a:lnTo>
                      <a:pt x="106" y="167"/>
                    </a:lnTo>
                    <a:lnTo>
                      <a:pt x="106" y="169"/>
                    </a:lnTo>
                    <a:close/>
                    <a:moveTo>
                      <a:pt x="98" y="165"/>
                    </a:moveTo>
                    <a:lnTo>
                      <a:pt x="96" y="165"/>
                    </a:lnTo>
                    <a:lnTo>
                      <a:pt x="98" y="165"/>
                    </a:lnTo>
                    <a:close/>
                    <a:moveTo>
                      <a:pt x="102" y="167"/>
                    </a:moveTo>
                    <a:lnTo>
                      <a:pt x="102" y="165"/>
                    </a:lnTo>
                    <a:lnTo>
                      <a:pt x="102" y="167"/>
                    </a:lnTo>
                    <a:close/>
                    <a:moveTo>
                      <a:pt x="102" y="167"/>
                    </a:moveTo>
                    <a:lnTo>
                      <a:pt x="102" y="165"/>
                    </a:lnTo>
                    <a:lnTo>
                      <a:pt x="102" y="167"/>
                    </a:lnTo>
                    <a:close/>
                    <a:moveTo>
                      <a:pt x="102" y="165"/>
                    </a:moveTo>
                    <a:lnTo>
                      <a:pt x="102" y="167"/>
                    </a:lnTo>
                    <a:lnTo>
                      <a:pt x="102" y="165"/>
                    </a:lnTo>
                    <a:close/>
                    <a:moveTo>
                      <a:pt x="102" y="167"/>
                    </a:moveTo>
                    <a:lnTo>
                      <a:pt x="102" y="165"/>
                    </a:lnTo>
                    <a:lnTo>
                      <a:pt x="102" y="167"/>
                    </a:lnTo>
                    <a:close/>
                    <a:moveTo>
                      <a:pt x="102" y="165"/>
                    </a:moveTo>
                    <a:lnTo>
                      <a:pt x="102" y="167"/>
                    </a:lnTo>
                    <a:lnTo>
                      <a:pt x="102" y="165"/>
                    </a:lnTo>
                    <a:close/>
                    <a:moveTo>
                      <a:pt x="102" y="167"/>
                    </a:moveTo>
                    <a:lnTo>
                      <a:pt x="102" y="165"/>
                    </a:lnTo>
                    <a:lnTo>
                      <a:pt x="102" y="167"/>
                    </a:lnTo>
                    <a:close/>
                    <a:moveTo>
                      <a:pt x="102" y="165"/>
                    </a:moveTo>
                    <a:lnTo>
                      <a:pt x="100" y="165"/>
                    </a:lnTo>
                    <a:lnTo>
                      <a:pt x="102" y="165"/>
                    </a:lnTo>
                    <a:close/>
                    <a:moveTo>
                      <a:pt x="106" y="165"/>
                    </a:moveTo>
                    <a:lnTo>
                      <a:pt x="106" y="167"/>
                    </a:lnTo>
                    <a:lnTo>
                      <a:pt x="106" y="165"/>
                    </a:lnTo>
                    <a:close/>
                    <a:moveTo>
                      <a:pt x="106" y="165"/>
                    </a:moveTo>
                    <a:lnTo>
                      <a:pt x="106" y="167"/>
                    </a:lnTo>
                    <a:lnTo>
                      <a:pt x="106" y="165"/>
                    </a:lnTo>
                    <a:close/>
                    <a:moveTo>
                      <a:pt x="91" y="161"/>
                    </a:moveTo>
                    <a:lnTo>
                      <a:pt x="89" y="161"/>
                    </a:lnTo>
                    <a:lnTo>
                      <a:pt x="91" y="161"/>
                    </a:lnTo>
                    <a:close/>
                    <a:moveTo>
                      <a:pt x="98" y="163"/>
                    </a:moveTo>
                    <a:lnTo>
                      <a:pt x="100" y="163"/>
                    </a:lnTo>
                    <a:lnTo>
                      <a:pt x="98" y="163"/>
                    </a:lnTo>
                    <a:close/>
                    <a:moveTo>
                      <a:pt x="100" y="163"/>
                    </a:moveTo>
                    <a:lnTo>
                      <a:pt x="100" y="161"/>
                    </a:lnTo>
                    <a:lnTo>
                      <a:pt x="100" y="163"/>
                    </a:lnTo>
                    <a:close/>
                    <a:moveTo>
                      <a:pt x="92" y="160"/>
                    </a:moveTo>
                    <a:lnTo>
                      <a:pt x="94" y="160"/>
                    </a:lnTo>
                    <a:lnTo>
                      <a:pt x="92" y="160"/>
                    </a:lnTo>
                    <a:close/>
                    <a:moveTo>
                      <a:pt x="94" y="160"/>
                    </a:moveTo>
                    <a:lnTo>
                      <a:pt x="92" y="160"/>
                    </a:lnTo>
                    <a:lnTo>
                      <a:pt x="94" y="160"/>
                    </a:lnTo>
                    <a:close/>
                    <a:moveTo>
                      <a:pt x="98" y="161"/>
                    </a:moveTo>
                    <a:lnTo>
                      <a:pt x="98" y="160"/>
                    </a:lnTo>
                    <a:lnTo>
                      <a:pt x="98" y="161"/>
                    </a:lnTo>
                    <a:close/>
                    <a:moveTo>
                      <a:pt x="104" y="161"/>
                    </a:moveTo>
                    <a:lnTo>
                      <a:pt x="104" y="163"/>
                    </a:lnTo>
                    <a:lnTo>
                      <a:pt x="104" y="161"/>
                    </a:lnTo>
                    <a:close/>
                    <a:moveTo>
                      <a:pt x="98" y="160"/>
                    </a:moveTo>
                    <a:lnTo>
                      <a:pt x="98" y="161"/>
                    </a:lnTo>
                    <a:lnTo>
                      <a:pt x="98" y="160"/>
                    </a:lnTo>
                    <a:close/>
                    <a:moveTo>
                      <a:pt x="106" y="163"/>
                    </a:moveTo>
                    <a:lnTo>
                      <a:pt x="106" y="161"/>
                    </a:lnTo>
                    <a:lnTo>
                      <a:pt x="106" y="163"/>
                    </a:lnTo>
                    <a:close/>
                    <a:moveTo>
                      <a:pt x="89" y="158"/>
                    </a:moveTo>
                    <a:lnTo>
                      <a:pt x="87" y="158"/>
                    </a:lnTo>
                    <a:lnTo>
                      <a:pt x="89" y="158"/>
                    </a:lnTo>
                    <a:close/>
                    <a:moveTo>
                      <a:pt x="106" y="161"/>
                    </a:moveTo>
                    <a:lnTo>
                      <a:pt x="104" y="161"/>
                    </a:lnTo>
                    <a:lnTo>
                      <a:pt x="106" y="161"/>
                    </a:lnTo>
                    <a:close/>
                    <a:moveTo>
                      <a:pt x="92" y="158"/>
                    </a:moveTo>
                    <a:lnTo>
                      <a:pt x="91" y="158"/>
                    </a:lnTo>
                    <a:lnTo>
                      <a:pt x="92" y="158"/>
                    </a:lnTo>
                    <a:close/>
                    <a:moveTo>
                      <a:pt x="94" y="160"/>
                    </a:moveTo>
                    <a:lnTo>
                      <a:pt x="96" y="160"/>
                    </a:lnTo>
                    <a:lnTo>
                      <a:pt x="94" y="160"/>
                    </a:lnTo>
                    <a:close/>
                    <a:moveTo>
                      <a:pt x="96" y="158"/>
                    </a:moveTo>
                    <a:lnTo>
                      <a:pt x="96" y="160"/>
                    </a:lnTo>
                    <a:lnTo>
                      <a:pt x="96" y="158"/>
                    </a:lnTo>
                    <a:close/>
                    <a:moveTo>
                      <a:pt x="104" y="161"/>
                    </a:moveTo>
                    <a:lnTo>
                      <a:pt x="102" y="161"/>
                    </a:lnTo>
                    <a:lnTo>
                      <a:pt x="104" y="161"/>
                    </a:lnTo>
                    <a:close/>
                    <a:moveTo>
                      <a:pt x="85" y="156"/>
                    </a:moveTo>
                    <a:lnTo>
                      <a:pt x="87" y="156"/>
                    </a:lnTo>
                    <a:lnTo>
                      <a:pt x="85" y="156"/>
                    </a:lnTo>
                    <a:close/>
                    <a:moveTo>
                      <a:pt x="94" y="160"/>
                    </a:moveTo>
                    <a:lnTo>
                      <a:pt x="94" y="158"/>
                    </a:lnTo>
                    <a:lnTo>
                      <a:pt x="94" y="160"/>
                    </a:lnTo>
                    <a:close/>
                    <a:moveTo>
                      <a:pt x="96" y="158"/>
                    </a:moveTo>
                    <a:lnTo>
                      <a:pt x="94" y="158"/>
                    </a:lnTo>
                    <a:lnTo>
                      <a:pt x="96" y="158"/>
                    </a:lnTo>
                    <a:close/>
                    <a:moveTo>
                      <a:pt x="102" y="160"/>
                    </a:moveTo>
                    <a:lnTo>
                      <a:pt x="102" y="161"/>
                    </a:lnTo>
                    <a:lnTo>
                      <a:pt x="102" y="160"/>
                    </a:lnTo>
                    <a:close/>
                    <a:moveTo>
                      <a:pt x="106" y="161"/>
                    </a:moveTo>
                    <a:lnTo>
                      <a:pt x="104" y="161"/>
                    </a:lnTo>
                    <a:lnTo>
                      <a:pt x="106" y="161"/>
                    </a:lnTo>
                    <a:close/>
                    <a:moveTo>
                      <a:pt x="98" y="160"/>
                    </a:moveTo>
                    <a:lnTo>
                      <a:pt x="96" y="160"/>
                    </a:lnTo>
                    <a:lnTo>
                      <a:pt x="98" y="160"/>
                    </a:lnTo>
                    <a:close/>
                    <a:moveTo>
                      <a:pt x="98" y="160"/>
                    </a:moveTo>
                    <a:lnTo>
                      <a:pt x="98" y="158"/>
                    </a:lnTo>
                    <a:lnTo>
                      <a:pt x="98" y="160"/>
                    </a:lnTo>
                    <a:close/>
                    <a:moveTo>
                      <a:pt x="106" y="160"/>
                    </a:moveTo>
                    <a:lnTo>
                      <a:pt x="104" y="160"/>
                    </a:lnTo>
                    <a:lnTo>
                      <a:pt x="106" y="160"/>
                    </a:lnTo>
                    <a:close/>
                    <a:moveTo>
                      <a:pt x="100" y="160"/>
                    </a:moveTo>
                    <a:lnTo>
                      <a:pt x="98" y="160"/>
                    </a:lnTo>
                    <a:lnTo>
                      <a:pt x="98" y="158"/>
                    </a:lnTo>
                    <a:lnTo>
                      <a:pt x="100" y="160"/>
                    </a:lnTo>
                    <a:close/>
                    <a:moveTo>
                      <a:pt x="91" y="156"/>
                    </a:moveTo>
                    <a:lnTo>
                      <a:pt x="92" y="156"/>
                    </a:lnTo>
                    <a:lnTo>
                      <a:pt x="91" y="156"/>
                    </a:lnTo>
                    <a:close/>
                    <a:moveTo>
                      <a:pt x="96" y="158"/>
                    </a:moveTo>
                    <a:lnTo>
                      <a:pt x="94" y="158"/>
                    </a:lnTo>
                    <a:lnTo>
                      <a:pt x="96" y="158"/>
                    </a:lnTo>
                    <a:close/>
                    <a:moveTo>
                      <a:pt x="94" y="158"/>
                    </a:moveTo>
                    <a:lnTo>
                      <a:pt x="94" y="156"/>
                    </a:lnTo>
                    <a:lnTo>
                      <a:pt x="94" y="158"/>
                    </a:lnTo>
                    <a:close/>
                    <a:moveTo>
                      <a:pt x="102" y="160"/>
                    </a:moveTo>
                    <a:lnTo>
                      <a:pt x="102" y="158"/>
                    </a:lnTo>
                    <a:lnTo>
                      <a:pt x="102" y="160"/>
                    </a:lnTo>
                    <a:close/>
                    <a:moveTo>
                      <a:pt x="102" y="158"/>
                    </a:moveTo>
                    <a:lnTo>
                      <a:pt x="102" y="160"/>
                    </a:lnTo>
                    <a:lnTo>
                      <a:pt x="102" y="158"/>
                    </a:lnTo>
                    <a:lnTo>
                      <a:pt x="102" y="160"/>
                    </a:lnTo>
                    <a:lnTo>
                      <a:pt x="100" y="158"/>
                    </a:lnTo>
                    <a:lnTo>
                      <a:pt x="102" y="158"/>
                    </a:lnTo>
                    <a:close/>
                    <a:moveTo>
                      <a:pt x="94" y="158"/>
                    </a:moveTo>
                    <a:lnTo>
                      <a:pt x="94" y="156"/>
                    </a:lnTo>
                    <a:lnTo>
                      <a:pt x="96" y="156"/>
                    </a:lnTo>
                    <a:lnTo>
                      <a:pt x="94" y="156"/>
                    </a:lnTo>
                    <a:lnTo>
                      <a:pt x="94" y="158"/>
                    </a:lnTo>
                    <a:close/>
                    <a:moveTo>
                      <a:pt x="96" y="156"/>
                    </a:moveTo>
                    <a:lnTo>
                      <a:pt x="96" y="158"/>
                    </a:lnTo>
                    <a:lnTo>
                      <a:pt x="96" y="156"/>
                    </a:lnTo>
                    <a:close/>
                    <a:moveTo>
                      <a:pt x="92" y="156"/>
                    </a:moveTo>
                    <a:lnTo>
                      <a:pt x="94" y="156"/>
                    </a:lnTo>
                    <a:lnTo>
                      <a:pt x="92" y="156"/>
                    </a:lnTo>
                    <a:close/>
                    <a:moveTo>
                      <a:pt x="104" y="158"/>
                    </a:moveTo>
                    <a:lnTo>
                      <a:pt x="104" y="160"/>
                    </a:lnTo>
                    <a:lnTo>
                      <a:pt x="104" y="158"/>
                    </a:lnTo>
                    <a:close/>
                    <a:moveTo>
                      <a:pt x="104" y="158"/>
                    </a:moveTo>
                    <a:lnTo>
                      <a:pt x="104" y="160"/>
                    </a:lnTo>
                    <a:lnTo>
                      <a:pt x="104" y="158"/>
                    </a:lnTo>
                    <a:close/>
                    <a:moveTo>
                      <a:pt x="98" y="158"/>
                    </a:moveTo>
                    <a:lnTo>
                      <a:pt x="98" y="156"/>
                    </a:lnTo>
                    <a:lnTo>
                      <a:pt x="98" y="158"/>
                    </a:lnTo>
                    <a:close/>
                    <a:moveTo>
                      <a:pt x="94" y="156"/>
                    </a:moveTo>
                    <a:lnTo>
                      <a:pt x="92" y="156"/>
                    </a:lnTo>
                    <a:lnTo>
                      <a:pt x="94" y="156"/>
                    </a:lnTo>
                    <a:close/>
                    <a:moveTo>
                      <a:pt x="92" y="156"/>
                    </a:moveTo>
                    <a:lnTo>
                      <a:pt x="92" y="154"/>
                    </a:lnTo>
                    <a:lnTo>
                      <a:pt x="92" y="156"/>
                    </a:lnTo>
                    <a:close/>
                    <a:moveTo>
                      <a:pt x="104" y="158"/>
                    </a:moveTo>
                    <a:lnTo>
                      <a:pt x="102" y="158"/>
                    </a:lnTo>
                    <a:lnTo>
                      <a:pt x="104" y="158"/>
                    </a:lnTo>
                    <a:close/>
                    <a:moveTo>
                      <a:pt x="102" y="158"/>
                    </a:moveTo>
                    <a:lnTo>
                      <a:pt x="100" y="158"/>
                    </a:lnTo>
                    <a:lnTo>
                      <a:pt x="102" y="158"/>
                    </a:lnTo>
                    <a:close/>
                    <a:moveTo>
                      <a:pt x="92" y="154"/>
                    </a:moveTo>
                    <a:lnTo>
                      <a:pt x="91" y="154"/>
                    </a:lnTo>
                    <a:lnTo>
                      <a:pt x="92" y="154"/>
                    </a:lnTo>
                    <a:close/>
                    <a:moveTo>
                      <a:pt x="83" y="152"/>
                    </a:moveTo>
                    <a:lnTo>
                      <a:pt x="83" y="150"/>
                    </a:lnTo>
                    <a:lnTo>
                      <a:pt x="83" y="152"/>
                    </a:lnTo>
                    <a:close/>
                    <a:moveTo>
                      <a:pt x="100" y="156"/>
                    </a:moveTo>
                    <a:lnTo>
                      <a:pt x="98" y="156"/>
                    </a:lnTo>
                    <a:lnTo>
                      <a:pt x="100" y="156"/>
                    </a:lnTo>
                    <a:close/>
                    <a:moveTo>
                      <a:pt x="91" y="154"/>
                    </a:moveTo>
                    <a:lnTo>
                      <a:pt x="91" y="152"/>
                    </a:lnTo>
                    <a:lnTo>
                      <a:pt x="91" y="154"/>
                    </a:lnTo>
                    <a:close/>
                    <a:moveTo>
                      <a:pt x="94" y="154"/>
                    </a:moveTo>
                    <a:lnTo>
                      <a:pt x="92" y="154"/>
                    </a:lnTo>
                    <a:lnTo>
                      <a:pt x="94" y="154"/>
                    </a:lnTo>
                    <a:close/>
                    <a:moveTo>
                      <a:pt x="100" y="156"/>
                    </a:moveTo>
                    <a:lnTo>
                      <a:pt x="98" y="156"/>
                    </a:lnTo>
                    <a:lnTo>
                      <a:pt x="100" y="156"/>
                    </a:lnTo>
                    <a:close/>
                    <a:moveTo>
                      <a:pt x="81" y="150"/>
                    </a:moveTo>
                    <a:lnTo>
                      <a:pt x="83" y="150"/>
                    </a:lnTo>
                    <a:lnTo>
                      <a:pt x="81" y="150"/>
                    </a:lnTo>
                    <a:close/>
                    <a:moveTo>
                      <a:pt x="66" y="144"/>
                    </a:moveTo>
                    <a:lnTo>
                      <a:pt x="64" y="144"/>
                    </a:lnTo>
                    <a:lnTo>
                      <a:pt x="66" y="144"/>
                    </a:lnTo>
                    <a:close/>
                    <a:moveTo>
                      <a:pt x="96" y="154"/>
                    </a:moveTo>
                    <a:lnTo>
                      <a:pt x="98" y="154"/>
                    </a:lnTo>
                    <a:lnTo>
                      <a:pt x="96" y="154"/>
                    </a:lnTo>
                    <a:close/>
                    <a:moveTo>
                      <a:pt x="92" y="152"/>
                    </a:moveTo>
                    <a:lnTo>
                      <a:pt x="91" y="152"/>
                    </a:lnTo>
                    <a:lnTo>
                      <a:pt x="92" y="152"/>
                    </a:lnTo>
                    <a:close/>
                    <a:moveTo>
                      <a:pt x="89" y="152"/>
                    </a:moveTo>
                    <a:lnTo>
                      <a:pt x="87" y="152"/>
                    </a:lnTo>
                    <a:lnTo>
                      <a:pt x="89" y="152"/>
                    </a:lnTo>
                    <a:close/>
                    <a:moveTo>
                      <a:pt x="87" y="152"/>
                    </a:moveTo>
                    <a:lnTo>
                      <a:pt x="87" y="150"/>
                    </a:lnTo>
                    <a:lnTo>
                      <a:pt x="87" y="152"/>
                    </a:lnTo>
                    <a:close/>
                    <a:moveTo>
                      <a:pt x="89" y="150"/>
                    </a:moveTo>
                    <a:lnTo>
                      <a:pt x="87" y="150"/>
                    </a:lnTo>
                    <a:lnTo>
                      <a:pt x="89" y="150"/>
                    </a:lnTo>
                    <a:close/>
                    <a:moveTo>
                      <a:pt x="81" y="150"/>
                    </a:moveTo>
                    <a:lnTo>
                      <a:pt x="81" y="148"/>
                    </a:lnTo>
                    <a:lnTo>
                      <a:pt x="81" y="150"/>
                    </a:lnTo>
                    <a:close/>
                    <a:moveTo>
                      <a:pt x="83" y="150"/>
                    </a:moveTo>
                    <a:lnTo>
                      <a:pt x="83" y="148"/>
                    </a:lnTo>
                    <a:lnTo>
                      <a:pt x="83" y="150"/>
                    </a:lnTo>
                    <a:close/>
                    <a:moveTo>
                      <a:pt x="83" y="150"/>
                    </a:moveTo>
                    <a:lnTo>
                      <a:pt x="83" y="148"/>
                    </a:lnTo>
                    <a:lnTo>
                      <a:pt x="83" y="150"/>
                    </a:lnTo>
                    <a:close/>
                    <a:moveTo>
                      <a:pt x="81" y="148"/>
                    </a:moveTo>
                    <a:lnTo>
                      <a:pt x="81" y="150"/>
                    </a:lnTo>
                    <a:lnTo>
                      <a:pt x="81" y="148"/>
                    </a:lnTo>
                    <a:close/>
                    <a:moveTo>
                      <a:pt x="83" y="148"/>
                    </a:moveTo>
                    <a:lnTo>
                      <a:pt x="83" y="150"/>
                    </a:lnTo>
                    <a:lnTo>
                      <a:pt x="83" y="148"/>
                    </a:lnTo>
                    <a:close/>
                    <a:moveTo>
                      <a:pt x="83" y="148"/>
                    </a:moveTo>
                    <a:lnTo>
                      <a:pt x="81" y="148"/>
                    </a:lnTo>
                    <a:lnTo>
                      <a:pt x="83" y="148"/>
                    </a:lnTo>
                    <a:close/>
                    <a:moveTo>
                      <a:pt x="89" y="150"/>
                    </a:moveTo>
                    <a:lnTo>
                      <a:pt x="91" y="150"/>
                    </a:lnTo>
                    <a:lnTo>
                      <a:pt x="89" y="150"/>
                    </a:lnTo>
                    <a:close/>
                    <a:moveTo>
                      <a:pt x="91" y="152"/>
                    </a:moveTo>
                    <a:lnTo>
                      <a:pt x="91" y="150"/>
                    </a:lnTo>
                    <a:lnTo>
                      <a:pt x="91" y="152"/>
                    </a:lnTo>
                    <a:close/>
                    <a:moveTo>
                      <a:pt x="85" y="150"/>
                    </a:moveTo>
                    <a:lnTo>
                      <a:pt x="87" y="150"/>
                    </a:lnTo>
                    <a:lnTo>
                      <a:pt x="85" y="150"/>
                    </a:lnTo>
                    <a:close/>
                    <a:moveTo>
                      <a:pt x="91" y="150"/>
                    </a:moveTo>
                    <a:lnTo>
                      <a:pt x="89" y="150"/>
                    </a:lnTo>
                    <a:lnTo>
                      <a:pt x="91" y="150"/>
                    </a:lnTo>
                    <a:close/>
                    <a:moveTo>
                      <a:pt x="81" y="148"/>
                    </a:moveTo>
                    <a:lnTo>
                      <a:pt x="83" y="148"/>
                    </a:lnTo>
                    <a:lnTo>
                      <a:pt x="81" y="148"/>
                    </a:lnTo>
                    <a:close/>
                    <a:moveTo>
                      <a:pt x="91" y="150"/>
                    </a:moveTo>
                    <a:lnTo>
                      <a:pt x="89" y="150"/>
                    </a:lnTo>
                    <a:lnTo>
                      <a:pt x="91" y="150"/>
                    </a:lnTo>
                    <a:close/>
                    <a:moveTo>
                      <a:pt x="94" y="152"/>
                    </a:moveTo>
                    <a:lnTo>
                      <a:pt x="92" y="152"/>
                    </a:lnTo>
                    <a:lnTo>
                      <a:pt x="94" y="152"/>
                    </a:lnTo>
                    <a:close/>
                    <a:moveTo>
                      <a:pt x="91" y="150"/>
                    </a:moveTo>
                    <a:lnTo>
                      <a:pt x="89" y="150"/>
                    </a:lnTo>
                    <a:lnTo>
                      <a:pt x="91" y="150"/>
                    </a:lnTo>
                    <a:close/>
                    <a:moveTo>
                      <a:pt x="92" y="150"/>
                    </a:moveTo>
                    <a:lnTo>
                      <a:pt x="94" y="150"/>
                    </a:lnTo>
                    <a:lnTo>
                      <a:pt x="92" y="150"/>
                    </a:lnTo>
                    <a:close/>
                    <a:moveTo>
                      <a:pt x="102" y="154"/>
                    </a:moveTo>
                    <a:lnTo>
                      <a:pt x="102" y="152"/>
                    </a:lnTo>
                    <a:lnTo>
                      <a:pt x="102" y="154"/>
                    </a:lnTo>
                    <a:close/>
                    <a:moveTo>
                      <a:pt x="81" y="146"/>
                    </a:moveTo>
                    <a:lnTo>
                      <a:pt x="81" y="148"/>
                    </a:lnTo>
                    <a:lnTo>
                      <a:pt x="81" y="146"/>
                    </a:lnTo>
                    <a:close/>
                    <a:moveTo>
                      <a:pt x="85" y="146"/>
                    </a:moveTo>
                    <a:lnTo>
                      <a:pt x="85" y="148"/>
                    </a:lnTo>
                    <a:lnTo>
                      <a:pt x="83" y="146"/>
                    </a:lnTo>
                    <a:lnTo>
                      <a:pt x="85" y="146"/>
                    </a:lnTo>
                    <a:close/>
                    <a:moveTo>
                      <a:pt x="94" y="150"/>
                    </a:moveTo>
                    <a:lnTo>
                      <a:pt x="92" y="150"/>
                    </a:lnTo>
                    <a:lnTo>
                      <a:pt x="94" y="150"/>
                    </a:lnTo>
                    <a:close/>
                    <a:moveTo>
                      <a:pt x="94" y="150"/>
                    </a:moveTo>
                    <a:lnTo>
                      <a:pt x="92" y="150"/>
                    </a:lnTo>
                    <a:lnTo>
                      <a:pt x="94" y="150"/>
                    </a:lnTo>
                    <a:close/>
                    <a:moveTo>
                      <a:pt x="79" y="146"/>
                    </a:moveTo>
                    <a:lnTo>
                      <a:pt x="79" y="144"/>
                    </a:lnTo>
                    <a:lnTo>
                      <a:pt x="79" y="146"/>
                    </a:lnTo>
                    <a:close/>
                    <a:moveTo>
                      <a:pt x="67" y="142"/>
                    </a:moveTo>
                    <a:lnTo>
                      <a:pt x="67" y="140"/>
                    </a:lnTo>
                    <a:lnTo>
                      <a:pt x="67" y="142"/>
                    </a:lnTo>
                    <a:close/>
                    <a:moveTo>
                      <a:pt x="81" y="146"/>
                    </a:moveTo>
                    <a:lnTo>
                      <a:pt x="81" y="144"/>
                    </a:lnTo>
                    <a:lnTo>
                      <a:pt x="81" y="146"/>
                    </a:lnTo>
                    <a:close/>
                    <a:moveTo>
                      <a:pt x="79" y="144"/>
                    </a:moveTo>
                    <a:lnTo>
                      <a:pt x="79" y="142"/>
                    </a:lnTo>
                    <a:lnTo>
                      <a:pt x="79" y="144"/>
                    </a:lnTo>
                    <a:close/>
                    <a:moveTo>
                      <a:pt x="91" y="148"/>
                    </a:moveTo>
                    <a:lnTo>
                      <a:pt x="91" y="146"/>
                    </a:lnTo>
                    <a:lnTo>
                      <a:pt x="91" y="148"/>
                    </a:lnTo>
                    <a:close/>
                    <a:moveTo>
                      <a:pt x="75" y="140"/>
                    </a:moveTo>
                    <a:lnTo>
                      <a:pt x="75" y="142"/>
                    </a:lnTo>
                    <a:lnTo>
                      <a:pt x="75" y="140"/>
                    </a:lnTo>
                    <a:close/>
                    <a:moveTo>
                      <a:pt x="77" y="140"/>
                    </a:moveTo>
                    <a:lnTo>
                      <a:pt x="77" y="142"/>
                    </a:lnTo>
                    <a:lnTo>
                      <a:pt x="77" y="140"/>
                    </a:lnTo>
                    <a:close/>
                    <a:moveTo>
                      <a:pt x="79" y="142"/>
                    </a:moveTo>
                    <a:lnTo>
                      <a:pt x="81" y="142"/>
                    </a:lnTo>
                    <a:lnTo>
                      <a:pt x="79" y="142"/>
                    </a:lnTo>
                    <a:close/>
                    <a:moveTo>
                      <a:pt x="79" y="140"/>
                    </a:moveTo>
                    <a:lnTo>
                      <a:pt x="79" y="142"/>
                    </a:lnTo>
                    <a:lnTo>
                      <a:pt x="79" y="140"/>
                    </a:lnTo>
                    <a:close/>
                    <a:moveTo>
                      <a:pt x="79" y="142"/>
                    </a:moveTo>
                    <a:lnTo>
                      <a:pt x="79" y="140"/>
                    </a:lnTo>
                    <a:lnTo>
                      <a:pt x="79" y="142"/>
                    </a:lnTo>
                    <a:close/>
                    <a:moveTo>
                      <a:pt x="87" y="144"/>
                    </a:moveTo>
                    <a:lnTo>
                      <a:pt x="85" y="144"/>
                    </a:lnTo>
                    <a:lnTo>
                      <a:pt x="87" y="144"/>
                    </a:lnTo>
                    <a:close/>
                    <a:moveTo>
                      <a:pt x="79" y="142"/>
                    </a:moveTo>
                    <a:lnTo>
                      <a:pt x="79" y="140"/>
                    </a:lnTo>
                    <a:lnTo>
                      <a:pt x="79" y="142"/>
                    </a:lnTo>
                    <a:close/>
                    <a:moveTo>
                      <a:pt x="85" y="142"/>
                    </a:moveTo>
                    <a:lnTo>
                      <a:pt x="85" y="144"/>
                    </a:lnTo>
                    <a:lnTo>
                      <a:pt x="85" y="142"/>
                    </a:lnTo>
                    <a:close/>
                    <a:moveTo>
                      <a:pt x="83" y="142"/>
                    </a:moveTo>
                    <a:lnTo>
                      <a:pt x="81" y="142"/>
                    </a:lnTo>
                    <a:lnTo>
                      <a:pt x="83" y="142"/>
                    </a:lnTo>
                    <a:close/>
                    <a:moveTo>
                      <a:pt x="77" y="140"/>
                    </a:moveTo>
                    <a:lnTo>
                      <a:pt x="77" y="138"/>
                    </a:lnTo>
                    <a:lnTo>
                      <a:pt x="77" y="140"/>
                    </a:lnTo>
                    <a:close/>
                    <a:moveTo>
                      <a:pt x="73" y="138"/>
                    </a:moveTo>
                    <a:lnTo>
                      <a:pt x="73" y="136"/>
                    </a:lnTo>
                    <a:lnTo>
                      <a:pt x="73" y="138"/>
                    </a:lnTo>
                    <a:close/>
                    <a:moveTo>
                      <a:pt x="77" y="138"/>
                    </a:moveTo>
                    <a:lnTo>
                      <a:pt x="77" y="136"/>
                    </a:lnTo>
                    <a:lnTo>
                      <a:pt x="77" y="138"/>
                    </a:lnTo>
                    <a:close/>
                    <a:moveTo>
                      <a:pt x="79" y="136"/>
                    </a:moveTo>
                    <a:lnTo>
                      <a:pt x="79" y="138"/>
                    </a:lnTo>
                    <a:lnTo>
                      <a:pt x="79" y="136"/>
                    </a:lnTo>
                    <a:close/>
                    <a:moveTo>
                      <a:pt x="83" y="138"/>
                    </a:moveTo>
                    <a:lnTo>
                      <a:pt x="81" y="138"/>
                    </a:lnTo>
                    <a:lnTo>
                      <a:pt x="83" y="138"/>
                    </a:lnTo>
                    <a:close/>
                    <a:moveTo>
                      <a:pt x="79" y="138"/>
                    </a:moveTo>
                    <a:lnTo>
                      <a:pt x="79" y="136"/>
                    </a:lnTo>
                    <a:lnTo>
                      <a:pt x="79" y="138"/>
                    </a:lnTo>
                    <a:close/>
                    <a:moveTo>
                      <a:pt x="73" y="136"/>
                    </a:moveTo>
                    <a:lnTo>
                      <a:pt x="73" y="135"/>
                    </a:lnTo>
                    <a:lnTo>
                      <a:pt x="73" y="136"/>
                    </a:lnTo>
                    <a:close/>
                    <a:moveTo>
                      <a:pt x="79" y="136"/>
                    </a:moveTo>
                    <a:lnTo>
                      <a:pt x="79" y="138"/>
                    </a:lnTo>
                    <a:lnTo>
                      <a:pt x="79" y="136"/>
                    </a:lnTo>
                    <a:close/>
                    <a:moveTo>
                      <a:pt x="79" y="136"/>
                    </a:moveTo>
                    <a:lnTo>
                      <a:pt x="79" y="138"/>
                    </a:lnTo>
                    <a:lnTo>
                      <a:pt x="79" y="136"/>
                    </a:lnTo>
                    <a:close/>
                    <a:moveTo>
                      <a:pt x="79" y="136"/>
                    </a:moveTo>
                    <a:lnTo>
                      <a:pt x="77" y="136"/>
                    </a:lnTo>
                    <a:lnTo>
                      <a:pt x="79" y="136"/>
                    </a:lnTo>
                    <a:close/>
                    <a:moveTo>
                      <a:pt x="73" y="135"/>
                    </a:moveTo>
                    <a:lnTo>
                      <a:pt x="71" y="135"/>
                    </a:lnTo>
                    <a:lnTo>
                      <a:pt x="73" y="135"/>
                    </a:lnTo>
                    <a:close/>
                    <a:moveTo>
                      <a:pt x="77" y="135"/>
                    </a:moveTo>
                    <a:lnTo>
                      <a:pt x="75" y="135"/>
                    </a:lnTo>
                    <a:lnTo>
                      <a:pt x="77" y="135"/>
                    </a:lnTo>
                    <a:lnTo>
                      <a:pt x="75" y="135"/>
                    </a:lnTo>
                    <a:lnTo>
                      <a:pt x="77" y="135"/>
                    </a:lnTo>
                    <a:close/>
                    <a:moveTo>
                      <a:pt x="71" y="133"/>
                    </a:moveTo>
                    <a:lnTo>
                      <a:pt x="71" y="135"/>
                    </a:lnTo>
                    <a:lnTo>
                      <a:pt x="71" y="133"/>
                    </a:lnTo>
                    <a:close/>
                    <a:moveTo>
                      <a:pt x="75" y="135"/>
                    </a:moveTo>
                    <a:lnTo>
                      <a:pt x="77" y="135"/>
                    </a:lnTo>
                    <a:lnTo>
                      <a:pt x="75" y="135"/>
                    </a:lnTo>
                    <a:close/>
                    <a:moveTo>
                      <a:pt x="77" y="135"/>
                    </a:moveTo>
                    <a:lnTo>
                      <a:pt x="75" y="135"/>
                    </a:lnTo>
                    <a:lnTo>
                      <a:pt x="77" y="135"/>
                    </a:lnTo>
                    <a:close/>
                    <a:moveTo>
                      <a:pt x="73" y="135"/>
                    </a:moveTo>
                    <a:lnTo>
                      <a:pt x="75" y="135"/>
                    </a:lnTo>
                    <a:lnTo>
                      <a:pt x="73" y="135"/>
                    </a:lnTo>
                    <a:close/>
                    <a:moveTo>
                      <a:pt x="71" y="133"/>
                    </a:moveTo>
                    <a:lnTo>
                      <a:pt x="71" y="131"/>
                    </a:lnTo>
                    <a:lnTo>
                      <a:pt x="71" y="133"/>
                    </a:lnTo>
                    <a:close/>
                    <a:moveTo>
                      <a:pt x="75" y="131"/>
                    </a:moveTo>
                    <a:lnTo>
                      <a:pt x="75" y="133"/>
                    </a:lnTo>
                    <a:lnTo>
                      <a:pt x="75" y="131"/>
                    </a:lnTo>
                    <a:close/>
                    <a:moveTo>
                      <a:pt x="73" y="131"/>
                    </a:moveTo>
                    <a:lnTo>
                      <a:pt x="75" y="131"/>
                    </a:lnTo>
                    <a:lnTo>
                      <a:pt x="73" y="131"/>
                    </a:lnTo>
                    <a:close/>
                    <a:moveTo>
                      <a:pt x="71" y="131"/>
                    </a:moveTo>
                    <a:lnTo>
                      <a:pt x="71" y="129"/>
                    </a:lnTo>
                    <a:lnTo>
                      <a:pt x="71" y="131"/>
                    </a:lnTo>
                    <a:close/>
                    <a:moveTo>
                      <a:pt x="71" y="129"/>
                    </a:moveTo>
                    <a:lnTo>
                      <a:pt x="71" y="131"/>
                    </a:lnTo>
                    <a:lnTo>
                      <a:pt x="71" y="129"/>
                    </a:lnTo>
                    <a:close/>
                    <a:moveTo>
                      <a:pt x="71" y="129"/>
                    </a:moveTo>
                    <a:lnTo>
                      <a:pt x="69" y="129"/>
                    </a:lnTo>
                    <a:lnTo>
                      <a:pt x="71" y="129"/>
                    </a:lnTo>
                    <a:close/>
                    <a:moveTo>
                      <a:pt x="73" y="129"/>
                    </a:moveTo>
                    <a:lnTo>
                      <a:pt x="71" y="129"/>
                    </a:lnTo>
                    <a:lnTo>
                      <a:pt x="73" y="129"/>
                    </a:lnTo>
                    <a:close/>
                    <a:moveTo>
                      <a:pt x="77" y="131"/>
                    </a:moveTo>
                    <a:lnTo>
                      <a:pt x="75" y="131"/>
                    </a:lnTo>
                    <a:lnTo>
                      <a:pt x="77" y="131"/>
                    </a:lnTo>
                    <a:close/>
                    <a:moveTo>
                      <a:pt x="75" y="131"/>
                    </a:moveTo>
                    <a:lnTo>
                      <a:pt x="75" y="129"/>
                    </a:lnTo>
                    <a:lnTo>
                      <a:pt x="75" y="131"/>
                    </a:lnTo>
                    <a:close/>
                    <a:moveTo>
                      <a:pt x="75" y="131"/>
                    </a:moveTo>
                    <a:lnTo>
                      <a:pt x="75" y="129"/>
                    </a:lnTo>
                    <a:lnTo>
                      <a:pt x="75" y="131"/>
                    </a:lnTo>
                    <a:close/>
                    <a:moveTo>
                      <a:pt x="71" y="127"/>
                    </a:moveTo>
                    <a:lnTo>
                      <a:pt x="71" y="129"/>
                    </a:lnTo>
                    <a:lnTo>
                      <a:pt x="71" y="127"/>
                    </a:lnTo>
                    <a:close/>
                    <a:moveTo>
                      <a:pt x="71" y="127"/>
                    </a:moveTo>
                    <a:lnTo>
                      <a:pt x="69" y="127"/>
                    </a:lnTo>
                    <a:lnTo>
                      <a:pt x="71" y="127"/>
                    </a:lnTo>
                    <a:close/>
                    <a:moveTo>
                      <a:pt x="77" y="131"/>
                    </a:moveTo>
                    <a:lnTo>
                      <a:pt x="77" y="129"/>
                    </a:lnTo>
                    <a:lnTo>
                      <a:pt x="77" y="131"/>
                    </a:lnTo>
                    <a:close/>
                    <a:moveTo>
                      <a:pt x="71" y="127"/>
                    </a:moveTo>
                    <a:lnTo>
                      <a:pt x="69" y="127"/>
                    </a:lnTo>
                    <a:lnTo>
                      <a:pt x="71" y="127"/>
                    </a:lnTo>
                    <a:close/>
                    <a:moveTo>
                      <a:pt x="73" y="127"/>
                    </a:moveTo>
                    <a:lnTo>
                      <a:pt x="73" y="129"/>
                    </a:lnTo>
                    <a:lnTo>
                      <a:pt x="73" y="127"/>
                    </a:lnTo>
                    <a:close/>
                    <a:moveTo>
                      <a:pt x="73" y="127"/>
                    </a:moveTo>
                    <a:lnTo>
                      <a:pt x="73" y="129"/>
                    </a:lnTo>
                    <a:lnTo>
                      <a:pt x="73" y="127"/>
                    </a:lnTo>
                    <a:close/>
                    <a:moveTo>
                      <a:pt x="75" y="127"/>
                    </a:moveTo>
                    <a:lnTo>
                      <a:pt x="75" y="129"/>
                    </a:lnTo>
                    <a:lnTo>
                      <a:pt x="75" y="127"/>
                    </a:lnTo>
                    <a:close/>
                    <a:moveTo>
                      <a:pt x="71" y="127"/>
                    </a:moveTo>
                    <a:lnTo>
                      <a:pt x="73" y="127"/>
                    </a:lnTo>
                    <a:lnTo>
                      <a:pt x="71" y="127"/>
                    </a:lnTo>
                    <a:close/>
                    <a:moveTo>
                      <a:pt x="75" y="125"/>
                    </a:moveTo>
                    <a:lnTo>
                      <a:pt x="75" y="127"/>
                    </a:lnTo>
                    <a:lnTo>
                      <a:pt x="75" y="125"/>
                    </a:lnTo>
                    <a:close/>
                    <a:moveTo>
                      <a:pt x="73" y="125"/>
                    </a:moveTo>
                    <a:lnTo>
                      <a:pt x="73" y="123"/>
                    </a:lnTo>
                    <a:lnTo>
                      <a:pt x="73" y="125"/>
                    </a:lnTo>
                    <a:close/>
                    <a:moveTo>
                      <a:pt x="73" y="123"/>
                    </a:moveTo>
                    <a:lnTo>
                      <a:pt x="73" y="125"/>
                    </a:lnTo>
                    <a:lnTo>
                      <a:pt x="73" y="123"/>
                    </a:lnTo>
                    <a:close/>
                    <a:moveTo>
                      <a:pt x="71" y="121"/>
                    </a:moveTo>
                    <a:lnTo>
                      <a:pt x="71" y="123"/>
                    </a:lnTo>
                    <a:lnTo>
                      <a:pt x="71" y="121"/>
                    </a:lnTo>
                    <a:close/>
                    <a:moveTo>
                      <a:pt x="62" y="119"/>
                    </a:moveTo>
                    <a:lnTo>
                      <a:pt x="60" y="119"/>
                    </a:lnTo>
                    <a:lnTo>
                      <a:pt x="62" y="119"/>
                    </a:lnTo>
                    <a:close/>
                    <a:moveTo>
                      <a:pt x="69" y="121"/>
                    </a:moveTo>
                    <a:lnTo>
                      <a:pt x="67" y="121"/>
                    </a:lnTo>
                    <a:lnTo>
                      <a:pt x="69" y="121"/>
                    </a:lnTo>
                    <a:close/>
                    <a:moveTo>
                      <a:pt x="73" y="121"/>
                    </a:moveTo>
                    <a:lnTo>
                      <a:pt x="73" y="123"/>
                    </a:lnTo>
                    <a:lnTo>
                      <a:pt x="73" y="121"/>
                    </a:lnTo>
                    <a:lnTo>
                      <a:pt x="71" y="121"/>
                    </a:lnTo>
                    <a:lnTo>
                      <a:pt x="73" y="121"/>
                    </a:lnTo>
                    <a:close/>
                    <a:moveTo>
                      <a:pt x="69" y="119"/>
                    </a:moveTo>
                    <a:lnTo>
                      <a:pt x="69" y="121"/>
                    </a:lnTo>
                    <a:lnTo>
                      <a:pt x="69" y="119"/>
                    </a:lnTo>
                    <a:close/>
                    <a:moveTo>
                      <a:pt x="69" y="121"/>
                    </a:moveTo>
                    <a:lnTo>
                      <a:pt x="69" y="119"/>
                    </a:lnTo>
                    <a:lnTo>
                      <a:pt x="69" y="121"/>
                    </a:lnTo>
                    <a:close/>
                    <a:moveTo>
                      <a:pt x="69" y="119"/>
                    </a:moveTo>
                    <a:lnTo>
                      <a:pt x="67" y="119"/>
                    </a:lnTo>
                    <a:lnTo>
                      <a:pt x="69" y="119"/>
                    </a:lnTo>
                    <a:close/>
                    <a:moveTo>
                      <a:pt x="71" y="121"/>
                    </a:moveTo>
                    <a:lnTo>
                      <a:pt x="71" y="119"/>
                    </a:lnTo>
                    <a:lnTo>
                      <a:pt x="71" y="121"/>
                    </a:lnTo>
                    <a:close/>
                    <a:moveTo>
                      <a:pt x="73" y="121"/>
                    </a:moveTo>
                    <a:lnTo>
                      <a:pt x="73" y="119"/>
                    </a:lnTo>
                    <a:lnTo>
                      <a:pt x="73" y="121"/>
                    </a:lnTo>
                    <a:close/>
                    <a:moveTo>
                      <a:pt x="71" y="119"/>
                    </a:moveTo>
                    <a:lnTo>
                      <a:pt x="73" y="119"/>
                    </a:lnTo>
                    <a:lnTo>
                      <a:pt x="71" y="119"/>
                    </a:lnTo>
                    <a:close/>
                    <a:moveTo>
                      <a:pt x="67" y="119"/>
                    </a:moveTo>
                    <a:lnTo>
                      <a:pt x="67" y="117"/>
                    </a:lnTo>
                    <a:lnTo>
                      <a:pt x="67" y="119"/>
                    </a:lnTo>
                    <a:close/>
                    <a:moveTo>
                      <a:pt x="67" y="117"/>
                    </a:moveTo>
                    <a:lnTo>
                      <a:pt x="67" y="119"/>
                    </a:lnTo>
                    <a:lnTo>
                      <a:pt x="67" y="117"/>
                    </a:lnTo>
                    <a:close/>
                    <a:moveTo>
                      <a:pt x="69" y="119"/>
                    </a:moveTo>
                    <a:lnTo>
                      <a:pt x="69" y="117"/>
                    </a:lnTo>
                    <a:lnTo>
                      <a:pt x="69" y="119"/>
                    </a:lnTo>
                    <a:close/>
                    <a:moveTo>
                      <a:pt x="69" y="117"/>
                    </a:moveTo>
                    <a:lnTo>
                      <a:pt x="69" y="119"/>
                    </a:lnTo>
                    <a:lnTo>
                      <a:pt x="69" y="117"/>
                    </a:lnTo>
                    <a:close/>
                    <a:moveTo>
                      <a:pt x="73" y="119"/>
                    </a:moveTo>
                    <a:lnTo>
                      <a:pt x="71" y="119"/>
                    </a:lnTo>
                    <a:lnTo>
                      <a:pt x="73" y="119"/>
                    </a:lnTo>
                    <a:close/>
                    <a:moveTo>
                      <a:pt x="69" y="117"/>
                    </a:moveTo>
                    <a:lnTo>
                      <a:pt x="67" y="117"/>
                    </a:lnTo>
                    <a:lnTo>
                      <a:pt x="69" y="117"/>
                    </a:lnTo>
                    <a:close/>
                    <a:moveTo>
                      <a:pt x="69" y="119"/>
                    </a:moveTo>
                    <a:lnTo>
                      <a:pt x="69" y="117"/>
                    </a:lnTo>
                    <a:lnTo>
                      <a:pt x="69" y="119"/>
                    </a:lnTo>
                    <a:close/>
                    <a:moveTo>
                      <a:pt x="60" y="115"/>
                    </a:moveTo>
                    <a:lnTo>
                      <a:pt x="58" y="115"/>
                    </a:lnTo>
                    <a:lnTo>
                      <a:pt x="60" y="115"/>
                    </a:lnTo>
                    <a:close/>
                    <a:moveTo>
                      <a:pt x="60" y="113"/>
                    </a:moveTo>
                    <a:lnTo>
                      <a:pt x="58" y="115"/>
                    </a:lnTo>
                    <a:lnTo>
                      <a:pt x="58" y="113"/>
                    </a:lnTo>
                    <a:lnTo>
                      <a:pt x="60" y="113"/>
                    </a:lnTo>
                    <a:close/>
                    <a:moveTo>
                      <a:pt x="67" y="117"/>
                    </a:moveTo>
                    <a:lnTo>
                      <a:pt x="67" y="115"/>
                    </a:lnTo>
                    <a:lnTo>
                      <a:pt x="67" y="117"/>
                    </a:lnTo>
                    <a:close/>
                    <a:moveTo>
                      <a:pt x="64" y="115"/>
                    </a:moveTo>
                    <a:lnTo>
                      <a:pt x="62" y="115"/>
                    </a:lnTo>
                    <a:lnTo>
                      <a:pt x="64" y="115"/>
                    </a:lnTo>
                    <a:close/>
                    <a:moveTo>
                      <a:pt x="73" y="117"/>
                    </a:moveTo>
                    <a:lnTo>
                      <a:pt x="71" y="117"/>
                    </a:lnTo>
                    <a:lnTo>
                      <a:pt x="73" y="117"/>
                    </a:lnTo>
                    <a:close/>
                    <a:moveTo>
                      <a:pt x="73" y="117"/>
                    </a:moveTo>
                    <a:lnTo>
                      <a:pt x="71" y="117"/>
                    </a:lnTo>
                    <a:lnTo>
                      <a:pt x="73" y="117"/>
                    </a:lnTo>
                    <a:close/>
                    <a:moveTo>
                      <a:pt x="64" y="113"/>
                    </a:moveTo>
                    <a:lnTo>
                      <a:pt x="62" y="113"/>
                    </a:lnTo>
                    <a:lnTo>
                      <a:pt x="64" y="113"/>
                    </a:lnTo>
                    <a:close/>
                    <a:moveTo>
                      <a:pt x="60" y="111"/>
                    </a:moveTo>
                    <a:lnTo>
                      <a:pt x="62" y="111"/>
                    </a:lnTo>
                    <a:lnTo>
                      <a:pt x="60" y="111"/>
                    </a:lnTo>
                    <a:close/>
                    <a:moveTo>
                      <a:pt x="62" y="111"/>
                    </a:moveTo>
                    <a:lnTo>
                      <a:pt x="60" y="111"/>
                    </a:lnTo>
                    <a:lnTo>
                      <a:pt x="62" y="111"/>
                    </a:lnTo>
                    <a:close/>
                    <a:moveTo>
                      <a:pt x="62" y="111"/>
                    </a:moveTo>
                    <a:lnTo>
                      <a:pt x="60" y="111"/>
                    </a:lnTo>
                    <a:lnTo>
                      <a:pt x="62" y="111"/>
                    </a:lnTo>
                    <a:close/>
                    <a:moveTo>
                      <a:pt x="62" y="111"/>
                    </a:moveTo>
                    <a:lnTo>
                      <a:pt x="60" y="111"/>
                    </a:lnTo>
                    <a:lnTo>
                      <a:pt x="62" y="111"/>
                    </a:lnTo>
                    <a:close/>
                    <a:moveTo>
                      <a:pt x="62" y="111"/>
                    </a:moveTo>
                    <a:lnTo>
                      <a:pt x="64" y="111"/>
                    </a:lnTo>
                    <a:lnTo>
                      <a:pt x="62" y="111"/>
                    </a:lnTo>
                    <a:close/>
                    <a:moveTo>
                      <a:pt x="67" y="111"/>
                    </a:moveTo>
                    <a:lnTo>
                      <a:pt x="67" y="113"/>
                    </a:lnTo>
                    <a:lnTo>
                      <a:pt x="67" y="111"/>
                    </a:lnTo>
                    <a:close/>
                    <a:moveTo>
                      <a:pt x="66" y="111"/>
                    </a:moveTo>
                    <a:lnTo>
                      <a:pt x="64" y="111"/>
                    </a:lnTo>
                    <a:lnTo>
                      <a:pt x="66" y="111"/>
                    </a:lnTo>
                    <a:close/>
                    <a:moveTo>
                      <a:pt x="69" y="111"/>
                    </a:moveTo>
                    <a:lnTo>
                      <a:pt x="69" y="113"/>
                    </a:lnTo>
                    <a:lnTo>
                      <a:pt x="69" y="111"/>
                    </a:lnTo>
                    <a:close/>
                    <a:moveTo>
                      <a:pt x="64" y="110"/>
                    </a:moveTo>
                    <a:lnTo>
                      <a:pt x="64" y="111"/>
                    </a:lnTo>
                    <a:lnTo>
                      <a:pt x="64" y="110"/>
                    </a:lnTo>
                    <a:close/>
                    <a:moveTo>
                      <a:pt x="64" y="111"/>
                    </a:moveTo>
                    <a:lnTo>
                      <a:pt x="66" y="111"/>
                    </a:lnTo>
                    <a:lnTo>
                      <a:pt x="64" y="111"/>
                    </a:lnTo>
                    <a:close/>
                    <a:moveTo>
                      <a:pt x="64" y="110"/>
                    </a:moveTo>
                    <a:lnTo>
                      <a:pt x="64" y="111"/>
                    </a:lnTo>
                    <a:lnTo>
                      <a:pt x="64" y="110"/>
                    </a:lnTo>
                    <a:close/>
                    <a:moveTo>
                      <a:pt x="66" y="110"/>
                    </a:moveTo>
                    <a:lnTo>
                      <a:pt x="64" y="111"/>
                    </a:lnTo>
                    <a:lnTo>
                      <a:pt x="64" y="110"/>
                    </a:lnTo>
                    <a:lnTo>
                      <a:pt x="66" y="110"/>
                    </a:lnTo>
                    <a:close/>
                    <a:moveTo>
                      <a:pt x="67" y="111"/>
                    </a:moveTo>
                    <a:lnTo>
                      <a:pt x="69" y="111"/>
                    </a:lnTo>
                    <a:lnTo>
                      <a:pt x="67" y="111"/>
                    </a:lnTo>
                    <a:close/>
                    <a:moveTo>
                      <a:pt x="66" y="110"/>
                    </a:moveTo>
                    <a:lnTo>
                      <a:pt x="66" y="111"/>
                    </a:lnTo>
                    <a:lnTo>
                      <a:pt x="66" y="110"/>
                    </a:lnTo>
                    <a:close/>
                    <a:moveTo>
                      <a:pt x="67" y="111"/>
                    </a:moveTo>
                    <a:lnTo>
                      <a:pt x="66" y="111"/>
                    </a:lnTo>
                    <a:lnTo>
                      <a:pt x="67" y="111"/>
                    </a:lnTo>
                    <a:close/>
                    <a:moveTo>
                      <a:pt x="66" y="111"/>
                    </a:moveTo>
                    <a:lnTo>
                      <a:pt x="66" y="110"/>
                    </a:lnTo>
                    <a:lnTo>
                      <a:pt x="66" y="111"/>
                    </a:lnTo>
                    <a:close/>
                    <a:moveTo>
                      <a:pt x="66" y="108"/>
                    </a:moveTo>
                    <a:lnTo>
                      <a:pt x="66" y="110"/>
                    </a:lnTo>
                    <a:lnTo>
                      <a:pt x="66" y="108"/>
                    </a:lnTo>
                    <a:close/>
                    <a:moveTo>
                      <a:pt x="66" y="108"/>
                    </a:moveTo>
                    <a:lnTo>
                      <a:pt x="66" y="110"/>
                    </a:lnTo>
                    <a:lnTo>
                      <a:pt x="66" y="108"/>
                    </a:lnTo>
                    <a:close/>
                    <a:moveTo>
                      <a:pt x="67" y="110"/>
                    </a:moveTo>
                    <a:lnTo>
                      <a:pt x="67" y="108"/>
                    </a:lnTo>
                    <a:lnTo>
                      <a:pt x="67" y="110"/>
                    </a:lnTo>
                    <a:close/>
                    <a:moveTo>
                      <a:pt x="67" y="108"/>
                    </a:moveTo>
                    <a:lnTo>
                      <a:pt x="67" y="110"/>
                    </a:lnTo>
                    <a:lnTo>
                      <a:pt x="67" y="108"/>
                    </a:lnTo>
                    <a:lnTo>
                      <a:pt x="67" y="110"/>
                    </a:lnTo>
                    <a:lnTo>
                      <a:pt x="67" y="108"/>
                    </a:lnTo>
                    <a:close/>
                    <a:moveTo>
                      <a:pt x="67" y="108"/>
                    </a:moveTo>
                    <a:lnTo>
                      <a:pt x="66" y="108"/>
                    </a:lnTo>
                    <a:lnTo>
                      <a:pt x="67" y="108"/>
                    </a:lnTo>
                    <a:close/>
                    <a:moveTo>
                      <a:pt x="56" y="102"/>
                    </a:moveTo>
                    <a:lnTo>
                      <a:pt x="56" y="104"/>
                    </a:lnTo>
                    <a:lnTo>
                      <a:pt x="56" y="102"/>
                    </a:lnTo>
                    <a:close/>
                    <a:moveTo>
                      <a:pt x="60" y="104"/>
                    </a:moveTo>
                    <a:lnTo>
                      <a:pt x="60" y="102"/>
                    </a:lnTo>
                    <a:lnTo>
                      <a:pt x="60" y="104"/>
                    </a:lnTo>
                    <a:close/>
                    <a:moveTo>
                      <a:pt x="58" y="102"/>
                    </a:moveTo>
                    <a:lnTo>
                      <a:pt x="60" y="102"/>
                    </a:lnTo>
                    <a:lnTo>
                      <a:pt x="58" y="102"/>
                    </a:lnTo>
                    <a:close/>
                    <a:moveTo>
                      <a:pt x="77" y="108"/>
                    </a:moveTo>
                    <a:lnTo>
                      <a:pt x="77" y="106"/>
                    </a:lnTo>
                    <a:lnTo>
                      <a:pt x="77" y="108"/>
                    </a:lnTo>
                    <a:close/>
                    <a:moveTo>
                      <a:pt x="60" y="102"/>
                    </a:moveTo>
                    <a:lnTo>
                      <a:pt x="58" y="100"/>
                    </a:lnTo>
                    <a:lnTo>
                      <a:pt x="60" y="100"/>
                    </a:lnTo>
                    <a:lnTo>
                      <a:pt x="60" y="102"/>
                    </a:lnTo>
                    <a:close/>
                    <a:moveTo>
                      <a:pt x="60" y="102"/>
                    </a:moveTo>
                    <a:lnTo>
                      <a:pt x="60" y="100"/>
                    </a:lnTo>
                    <a:lnTo>
                      <a:pt x="60" y="102"/>
                    </a:lnTo>
                    <a:close/>
                    <a:moveTo>
                      <a:pt x="66" y="102"/>
                    </a:moveTo>
                    <a:lnTo>
                      <a:pt x="66" y="104"/>
                    </a:lnTo>
                    <a:lnTo>
                      <a:pt x="66" y="102"/>
                    </a:lnTo>
                    <a:close/>
                    <a:moveTo>
                      <a:pt x="67" y="104"/>
                    </a:moveTo>
                    <a:lnTo>
                      <a:pt x="67" y="102"/>
                    </a:lnTo>
                    <a:lnTo>
                      <a:pt x="67" y="104"/>
                    </a:lnTo>
                    <a:close/>
                    <a:moveTo>
                      <a:pt x="62" y="100"/>
                    </a:moveTo>
                    <a:lnTo>
                      <a:pt x="60" y="100"/>
                    </a:lnTo>
                    <a:lnTo>
                      <a:pt x="62" y="100"/>
                    </a:lnTo>
                    <a:close/>
                    <a:moveTo>
                      <a:pt x="64" y="100"/>
                    </a:moveTo>
                    <a:lnTo>
                      <a:pt x="64" y="102"/>
                    </a:lnTo>
                    <a:lnTo>
                      <a:pt x="64" y="100"/>
                    </a:lnTo>
                    <a:close/>
                    <a:moveTo>
                      <a:pt x="62" y="100"/>
                    </a:moveTo>
                    <a:lnTo>
                      <a:pt x="60" y="100"/>
                    </a:lnTo>
                    <a:lnTo>
                      <a:pt x="62" y="100"/>
                    </a:lnTo>
                    <a:close/>
                    <a:moveTo>
                      <a:pt x="60" y="98"/>
                    </a:moveTo>
                    <a:lnTo>
                      <a:pt x="62" y="98"/>
                    </a:lnTo>
                    <a:lnTo>
                      <a:pt x="60" y="98"/>
                    </a:lnTo>
                    <a:close/>
                    <a:moveTo>
                      <a:pt x="67" y="102"/>
                    </a:moveTo>
                    <a:lnTo>
                      <a:pt x="67" y="100"/>
                    </a:lnTo>
                    <a:lnTo>
                      <a:pt x="67" y="102"/>
                    </a:lnTo>
                    <a:close/>
                    <a:moveTo>
                      <a:pt x="62" y="100"/>
                    </a:moveTo>
                    <a:lnTo>
                      <a:pt x="62" y="98"/>
                    </a:lnTo>
                    <a:lnTo>
                      <a:pt x="62" y="100"/>
                    </a:lnTo>
                    <a:close/>
                    <a:moveTo>
                      <a:pt x="60" y="98"/>
                    </a:moveTo>
                    <a:lnTo>
                      <a:pt x="60" y="96"/>
                    </a:lnTo>
                    <a:lnTo>
                      <a:pt x="60" y="98"/>
                    </a:lnTo>
                    <a:close/>
                    <a:moveTo>
                      <a:pt x="62" y="98"/>
                    </a:moveTo>
                    <a:lnTo>
                      <a:pt x="60" y="98"/>
                    </a:lnTo>
                    <a:lnTo>
                      <a:pt x="60" y="96"/>
                    </a:lnTo>
                    <a:lnTo>
                      <a:pt x="62" y="96"/>
                    </a:lnTo>
                    <a:lnTo>
                      <a:pt x="62" y="98"/>
                    </a:lnTo>
                    <a:close/>
                    <a:moveTo>
                      <a:pt x="62" y="98"/>
                    </a:moveTo>
                    <a:lnTo>
                      <a:pt x="62" y="96"/>
                    </a:lnTo>
                    <a:lnTo>
                      <a:pt x="62" y="98"/>
                    </a:lnTo>
                    <a:close/>
                    <a:moveTo>
                      <a:pt x="62" y="98"/>
                    </a:moveTo>
                    <a:lnTo>
                      <a:pt x="62" y="96"/>
                    </a:lnTo>
                    <a:lnTo>
                      <a:pt x="62" y="98"/>
                    </a:lnTo>
                    <a:close/>
                    <a:moveTo>
                      <a:pt x="66" y="96"/>
                    </a:moveTo>
                    <a:lnTo>
                      <a:pt x="64" y="96"/>
                    </a:lnTo>
                    <a:lnTo>
                      <a:pt x="66" y="96"/>
                    </a:lnTo>
                    <a:close/>
                    <a:moveTo>
                      <a:pt x="64" y="94"/>
                    </a:moveTo>
                    <a:lnTo>
                      <a:pt x="64" y="96"/>
                    </a:lnTo>
                    <a:lnTo>
                      <a:pt x="64" y="94"/>
                    </a:lnTo>
                    <a:close/>
                    <a:moveTo>
                      <a:pt x="64" y="96"/>
                    </a:moveTo>
                    <a:lnTo>
                      <a:pt x="66" y="96"/>
                    </a:lnTo>
                    <a:lnTo>
                      <a:pt x="64" y="96"/>
                    </a:lnTo>
                    <a:close/>
                    <a:moveTo>
                      <a:pt x="64" y="96"/>
                    </a:moveTo>
                    <a:lnTo>
                      <a:pt x="64" y="94"/>
                    </a:lnTo>
                    <a:lnTo>
                      <a:pt x="64" y="96"/>
                    </a:lnTo>
                    <a:close/>
                    <a:moveTo>
                      <a:pt x="62" y="94"/>
                    </a:moveTo>
                    <a:lnTo>
                      <a:pt x="62" y="92"/>
                    </a:lnTo>
                    <a:lnTo>
                      <a:pt x="62" y="94"/>
                    </a:lnTo>
                    <a:lnTo>
                      <a:pt x="62" y="92"/>
                    </a:lnTo>
                    <a:lnTo>
                      <a:pt x="62" y="94"/>
                    </a:lnTo>
                    <a:close/>
                    <a:moveTo>
                      <a:pt x="58" y="92"/>
                    </a:moveTo>
                    <a:lnTo>
                      <a:pt x="58" y="90"/>
                    </a:lnTo>
                    <a:lnTo>
                      <a:pt x="58" y="92"/>
                    </a:lnTo>
                    <a:close/>
                    <a:moveTo>
                      <a:pt x="58" y="90"/>
                    </a:moveTo>
                    <a:lnTo>
                      <a:pt x="58" y="92"/>
                    </a:lnTo>
                    <a:lnTo>
                      <a:pt x="58" y="90"/>
                    </a:lnTo>
                    <a:close/>
                    <a:moveTo>
                      <a:pt x="60" y="92"/>
                    </a:moveTo>
                    <a:lnTo>
                      <a:pt x="62" y="92"/>
                    </a:lnTo>
                    <a:lnTo>
                      <a:pt x="60" y="92"/>
                    </a:lnTo>
                    <a:close/>
                    <a:moveTo>
                      <a:pt x="60" y="90"/>
                    </a:moveTo>
                    <a:lnTo>
                      <a:pt x="60" y="92"/>
                    </a:lnTo>
                    <a:lnTo>
                      <a:pt x="60" y="90"/>
                    </a:lnTo>
                    <a:lnTo>
                      <a:pt x="58" y="90"/>
                    </a:lnTo>
                    <a:lnTo>
                      <a:pt x="60" y="90"/>
                    </a:lnTo>
                    <a:close/>
                    <a:moveTo>
                      <a:pt x="60" y="90"/>
                    </a:moveTo>
                    <a:lnTo>
                      <a:pt x="60" y="92"/>
                    </a:lnTo>
                    <a:lnTo>
                      <a:pt x="60" y="90"/>
                    </a:lnTo>
                    <a:close/>
                    <a:moveTo>
                      <a:pt x="58" y="88"/>
                    </a:moveTo>
                    <a:lnTo>
                      <a:pt x="58" y="90"/>
                    </a:lnTo>
                    <a:lnTo>
                      <a:pt x="58" y="88"/>
                    </a:lnTo>
                    <a:close/>
                    <a:moveTo>
                      <a:pt x="60" y="90"/>
                    </a:moveTo>
                    <a:lnTo>
                      <a:pt x="58" y="90"/>
                    </a:lnTo>
                    <a:lnTo>
                      <a:pt x="60" y="88"/>
                    </a:lnTo>
                    <a:lnTo>
                      <a:pt x="60" y="90"/>
                    </a:lnTo>
                    <a:close/>
                    <a:moveTo>
                      <a:pt x="60" y="90"/>
                    </a:moveTo>
                    <a:lnTo>
                      <a:pt x="60" y="88"/>
                    </a:lnTo>
                    <a:lnTo>
                      <a:pt x="60" y="90"/>
                    </a:lnTo>
                    <a:close/>
                    <a:moveTo>
                      <a:pt x="60" y="90"/>
                    </a:moveTo>
                    <a:lnTo>
                      <a:pt x="60" y="88"/>
                    </a:lnTo>
                    <a:lnTo>
                      <a:pt x="60" y="90"/>
                    </a:lnTo>
                    <a:close/>
                    <a:moveTo>
                      <a:pt x="60" y="88"/>
                    </a:moveTo>
                    <a:lnTo>
                      <a:pt x="60" y="90"/>
                    </a:lnTo>
                    <a:lnTo>
                      <a:pt x="60" y="88"/>
                    </a:lnTo>
                    <a:lnTo>
                      <a:pt x="60" y="90"/>
                    </a:lnTo>
                    <a:lnTo>
                      <a:pt x="60" y="88"/>
                    </a:lnTo>
                    <a:close/>
                    <a:moveTo>
                      <a:pt x="60" y="88"/>
                    </a:moveTo>
                    <a:lnTo>
                      <a:pt x="58" y="88"/>
                    </a:lnTo>
                    <a:lnTo>
                      <a:pt x="60" y="88"/>
                    </a:lnTo>
                    <a:close/>
                    <a:moveTo>
                      <a:pt x="60" y="88"/>
                    </a:moveTo>
                    <a:lnTo>
                      <a:pt x="58" y="88"/>
                    </a:lnTo>
                    <a:lnTo>
                      <a:pt x="60" y="88"/>
                    </a:lnTo>
                    <a:close/>
                    <a:moveTo>
                      <a:pt x="58" y="88"/>
                    </a:moveTo>
                    <a:lnTo>
                      <a:pt x="60" y="88"/>
                    </a:lnTo>
                    <a:lnTo>
                      <a:pt x="58" y="88"/>
                    </a:lnTo>
                    <a:close/>
                    <a:moveTo>
                      <a:pt x="64" y="88"/>
                    </a:moveTo>
                    <a:lnTo>
                      <a:pt x="64" y="90"/>
                    </a:lnTo>
                    <a:lnTo>
                      <a:pt x="64" y="88"/>
                    </a:lnTo>
                    <a:close/>
                    <a:moveTo>
                      <a:pt x="64" y="88"/>
                    </a:moveTo>
                    <a:lnTo>
                      <a:pt x="64" y="90"/>
                    </a:lnTo>
                    <a:lnTo>
                      <a:pt x="64" y="88"/>
                    </a:lnTo>
                    <a:close/>
                    <a:moveTo>
                      <a:pt x="58" y="86"/>
                    </a:moveTo>
                    <a:lnTo>
                      <a:pt x="58" y="88"/>
                    </a:lnTo>
                    <a:lnTo>
                      <a:pt x="58" y="86"/>
                    </a:lnTo>
                    <a:close/>
                    <a:moveTo>
                      <a:pt x="60" y="88"/>
                    </a:moveTo>
                    <a:lnTo>
                      <a:pt x="60" y="86"/>
                    </a:lnTo>
                    <a:lnTo>
                      <a:pt x="60" y="88"/>
                    </a:lnTo>
                    <a:close/>
                    <a:moveTo>
                      <a:pt x="58" y="86"/>
                    </a:moveTo>
                    <a:lnTo>
                      <a:pt x="60" y="86"/>
                    </a:lnTo>
                    <a:lnTo>
                      <a:pt x="58" y="86"/>
                    </a:lnTo>
                    <a:close/>
                    <a:moveTo>
                      <a:pt x="62" y="86"/>
                    </a:moveTo>
                    <a:lnTo>
                      <a:pt x="62" y="88"/>
                    </a:lnTo>
                    <a:lnTo>
                      <a:pt x="62" y="86"/>
                    </a:lnTo>
                    <a:close/>
                    <a:moveTo>
                      <a:pt x="62" y="88"/>
                    </a:moveTo>
                    <a:lnTo>
                      <a:pt x="62" y="86"/>
                    </a:lnTo>
                    <a:lnTo>
                      <a:pt x="62" y="88"/>
                    </a:lnTo>
                    <a:close/>
                    <a:moveTo>
                      <a:pt x="62" y="86"/>
                    </a:moveTo>
                    <a:lnTo>
                      <a:pt x="60" y="86"/>
                    </a:lnTo>
                    <a:lnTo>
                      <a:pt x="62" y="86"/>
                    </a:lnTo>
                    <a:close/>
                    <a:moveTo>
                      <a:pt x="37" y="79"/>
                    </a:moveTo>
                    <a:lnTo>
                      <a:pt x="35" y="79"/>
                    </a:lnTo>
                    <a:lnTo>
                      <a:pt x="37" y="79"/>
                    </a:lnTo>
                    <a:close/>
                    <a:moveTo>
                      <a:pt x="69" y="88"/>
                    </a:moveTo>
                    <a:lnTo>
                      <a:pt x="67" y="88"/>
                    </a:lnTo>
                    <a:lnTo>
                      <a:pt x="69" y="88"/>
                    </a:lnTo>
                    <a:close/>
                    <a:moveTo>
                      <a:pt x="62" y="86"/>
                    </a:moveTo>
                    <a:lnTo>
                      <a:pt x="64" y="86"/>
                    </a:lnTo>
                    <a:lnTo>
                      <a:pt x="62" y="86"/>
                    </a:lnTo>
                    <a:close/>
                    <a:moveTo>
                      <a:pt x="60" y="86"/>
                    </a:moveTo>
                    <a:lnTo>
                      <a:pt x="60" y="85"/>
                    </a:lnTo>
                    <a:lnTo>
                      <a:pt x="60" y="86"/>
                    </a:lnTo>
                    <a:close/>
                    <a:moveTo>
                      <a:pt x="62" y="85"/>
                    </a:moveTo>
                    <a:lnTo>
                      <a:pt x="62" y="86"/>
                    </a:lnTo>
                    <a:lnTo>
                      <a:pt x="62" y="85"/>
                    </a:lnTo>
                    <a:close/>
                    <a:moveTo>
                      <a:pt x="60" y="85"/>
                    </a:moveTo>
                    <a:lnTo>
                      <a:pt x="62" y="85"/>
                    </a:lnTo>
                    <a:lnTo>
                      <a:pt x="60" y="85"/>
                    </a:lnTo>
                    <a:close/>
                    <a:moveTo>
                      <a:pt x="60" y="85"/>
                    </a:moveTo>
                    <a:lnTo>
                      <a:pt x="60" y="83"/>
                    </a:lnTo>
                    <a:lnTo>
                      <a:pt x="60" y="85"/>
                    </a:lnTo>
                    <a:close/>
                    <a:moveTo>
                      <a:pt x="62" y="83"/>
                    </a:moveTo>
                    <a:lnTo>
                      <a:pt x="60" y="83"/>
                    </a:lnTo>
                    <a:lnTo>
                      <a:pt x="62" y="83"/>
                    </a:lnTo>
                    <a:close/>
                    <a:moveTo>
                      <a:pt x="50" y="79"/>
                    </a:moveTo>
                    <a:lnTo>
                      <a:pt x="50" y="81"/>
                    </a:lnTo>
                    <a:lnTo>
                      <a:pt x="50" y="79"/>
                    </a:lnTo>
                    <a:close/>
                    <a:moveTo>
                      <a:pt x="69" y="86"/>
                    </a:moveTo>
                    <a:lnTo>
                      <a:pt x="69" y="85"/>
                    </a:lnTo>
                    <a:lnTo>
                      <a:pt x="69" y="86"/>
                    </a:lnTo>
                    <a:close/>
                    <a:moveTo>
                      <a:pt x="52" y="79"/>
                    </a:moveTo>
                    <a:lnTo>
                      <a:pt x="50" y="79"/>
                    </a:lnTo>
                    <a:lnTo>
                      <a:pt x="52" y="79"/>
                    </a:lnTo>
                    <a:close/>
                    <a:moveTo>
                      <a:pt x="66" y="85"/>
                    </a:moveTo>
                    <a:lnTo>
                      <a:pt x="66" y="83"/>
                    </a:lnTo>
                    <a:lnTo>
                      <a:pt x="66" y="85"/>
                    </a:lnTo>
                    <a:close/>
                    <a:moveTo>
                      <a:pt x="60" y="83"/>
                    </a:moveTo>
                    <a:lnTo>
                      <a:pt x="60" y="81"/>
                    </a:lnTo>
                    <a:lnTo>
                      <a:pt x="60" y="83"/>
                    </a:lnTo>
                    <a:close/>
                    <a:moveTo>
                      <a:pt x="71" y="85"/>
                    </a:moveTo>
                    <a:lnTo>
                      <a:pt x="71" y="86"/>
                    </a:lnTo>
                    <a:lnTo>
                      <a:pt x="71" y="85"/>
                    </a:lnTo>
                    <a:close/>
                    <a:moveTo>
                      <a:pt x="44" y="75"/>
                    </a:moveTo>
                    <a:lnTo>
                      <a:pt x="42" y="75"/>
                    </a:lnTo>
                    <a:lnTo>
                      <a:pt x="44" y="75"/>
                    </a:lnTo>
                    <a:close/>
                    <a:moveTo>
                      <a:pt x="44" y="75"/>
                    </a:moveTo>
                    <a:lnTo>
                      <a:pt x="42" y="75"/>
                    </a:lnTo>
                    <a:lnTo>
                      <a:pt x="44" y="75"/>
                    </a:lnTo>
                    <a:close/>
                    <a:moveTo>
                      <a:pt x="52" y="77"/>
                    </a:moveTo>
                    <a:lnTo>
                      <a:pt x="50" y="77"/>
                    </a:lnTo>
                    <a:lnTo>
                      <a:pt x="52" y="77"/>
                    </a:lnTo>
                    <a:close/>
                    <a:moveTo>
                      <a:pt x="50" y="77"/>
                    </a:moveTo>
                    <a:lnTo>
                      <a:pt x="50" y="75"/>
                    </a:lnTo>
                    <a:lnTo>
                      <a:pt x="50" y="77"/>
                    </a:lnTo>
                    <a:close/>
                    <a:moveTo>
                      <a:pt x="50" y="77"/>
                    </a:moveTo>
                    <a:lnTo>
                      <a:pt x="50" y="75"/>
                    </a:lnTo>
                    <a:lnTo>
                      <a:pt x="50" y="77"/>
                    </a:lnTo>
                    <a:close/>
                    <a:moveTo>
                      <a:pt x="64" y="81"/>
                    </a:moveTo>
                    <a:lnTo>
                      <a:pt x="64" y="79"/>
                    </a:lnTo>
                    <a:lnTo>
                      <a:pt x="64" y="81"/>
                    </a:lnTo>
                    <a:close/>
                    <a:moveTo>
                      <a:pt x="52" y="77"/>
                    </a:moveTo>
                    <a:lnTo>
                      <a:pt x="52" y="75"/>
                    </a:lnTo>
                    <a:lnTo>
                      <a:pt x="52" y="77"/>
                    </a:lnTo>
                    <a:close/>
                    <a:moveTo>
                      <a:pt x="66" y="81"/>
                    </a:moveTo>
                    <a:lnTo>
                      <a:pt x="66" y="79"/>
                    </a:lnTo>
                    <a:lnTo>
                      <a:pt x="66" y="81"/>
                    </a:lnTo>
                    <a:close/>
                    <a:moveTo>
                      <a:pt x="73" y="81"/>
                    </a:moveTo>
                    <a:lnTo>
                      <a:pt x="71" y="81"/>
                    </a:lnTo>
                    <a:lnTo>
                      <a:pt x="73" y="81"/>
                    </a:lnTo>
                    <a:close/>
                    <a:moveTo>
                      <a:pt x="66" y="79"/>
                    </a:moveTo>
                    <a:lnTo>
                      <a:pt x="64" y="79"/>
                    </a:lnTo>
                    <a:lnTo>
                      <a:pt x="66" y="79"/>
                    </a:lnTo>
                    <a:close/>
                    <a:moveTo>
                      <a:pt x="69" y="81"/>
                    </a:moveTo>
                    <a:lnTo>
                      <a:pt x="67" y="81"/>
                    </a:lnTo>
                    <a:lnTo>
                      <a:pt x="69" y="81"/>
                    </a:lnTo>
                    <a:close/>
                    <a:moveTo>
                      <a:pt x="66" y="81"/>
                    </a:moveTo>
                    <a:lnTo>
                      <a:pt x="66" y="79"/>
                    </a:lnTo>
                    <a:lnTo>
                      <a:pt x="66" y="81"/>
                    </a:lnTo>
                    <a:close/>
                    <a:moveTo>
                      <a:pt x="73" y="81"/>
                    </a:moveTo>
                    <a:lnTo>
                      <a:pt x="71" y="81"/>
                    </a:lnTo>
                    <a:lnTo>
                      <a:pt x="73" y="81"/>
                    </a:lnTo>
                    <a:close/>
                    <a:moveTo>
                      <a:pt x="71" y="81"/>
                    </a:moveTo>
                    <a:lnTo>
                      <a:pt x="73" y="81"/>
                    </a:lnTo>
                    <a:lnTo>
                      <a:pt x="71" y="81"/>
                    </a:lnTo>
                    <a:close/>
                    <a:moveTo>
                      <a:pt x="71" y="81"/>
                    </a:moveTo>
                    <a:lnTo>
                      <a:pt x="73" y="81"/>
                    </a:lnTo>
                    <a:lnTo>
                      <a:pt x="71" y="81"/>
                    </a:lnTo>
                    <a:close/>
                    <a:moveTo>
                      <a:pt x="69" y="79"/>
                    </a:moveTo>
                    <a:lnTo>
                      <a:pt x="71" y="79"/>
                    </a:lnTo>
                    <a:lnTo>
                      <a:pt x="69" y="79"/>
                    </a:lnTo>
                    <a:close/>
                    <a:moveTo>
                      <a:pt x="73" y="79"/>
                    </a:moveTo>
                    <a:lnTo>
                      <a:pt x="73" y="81"/>
                    </a:lnTo>
                    <a:lnTo>
                      <a:pt x="73" y="79"/>
                    </a:lnTo>
                    <a:close/>
                    <a:moveTo>
                      <a:pt x="71" y="79"/>
                    </a:moveTo>
                    <a:lnTo>
                      <a:pt x="69" y="79"/>
                    </a:lnTo>
                    <a:lnTo>
                      <a:pt x="71" y="79"/>
                    </a:lnTo>
                    <a:close/>
                    <a:moveTo>
                      <a:pt x="54" y="71"/>
                    </a:moveTo>
                    <a:lnTo>
                      <a:pt x="52" y="71"/>
                    </a:lnTo>
                    <a:lnTo>
                      <a:pt x="54" y="71"/>
                    </a:lnTo>
                    <a:close/>
                    <a:moveTo>
                      <a:pt x="71" y="75"/>
                    </a:moveTo>
                    <a:lnTo>
                      <a:pt x="71" y="77"/>
                    </a:lnTo>
                    <a:lnTo>
                      <a:pt x="71" y="75"/>
                    </a:lnTo>
                    <a:close/>
                    <a:moveTo>
                      <a:pt x="52" y="69"/>
                    </a:moveTo>
                    <a:lnTo>
                      <a:pt x="52" y="67"/>
                    </a:lnTo>
                    <a:lnTo>
                      <a:pt x="52" y="69"/>
                    </a:lnTo>
                    <a:close/>
                    <a:moveTo>
                      <a:pt x="71" y="75"/>
                    </a:moveTo>
                    <a:lnTo>
                      <a:pt x="71" y="73"/>
                    </a:lnTo>
                    <a:lnTo>
                      <a:pt x="71" y="75"/>
                    </a:lnTo>
                    <a:close/>
                    <a:moveTo>
                      <a:pt x="71" y="75"/>
                    </a:moveTo>
                    <a:lnTo>
                      <a:pt x="71" y="73"/>
                    </a:lnTo>
                    <a:lnTo>
                      <a:pt x="71" y="75"/>
                    </a:lnTo>
                    <a:close/>
                    <a:moveTo>
                      <a:pt x="73" y="75"/>
                    </a:moveTo>
                    <a:lnTo>
                      <a:pt x="73" y="73"/>
                    </a:lnTo>
                    <a:lnTo>
                      <a:pt x="73" y="75"/>
                    </a:lnTo>
                    <a:close/>
                    <a:moveTo>
                      <a:pt x="73" y="75"/>
                    </a:moveTo>
                    <a:lnTo>
                      <a:pt x="73" y="73"/>
                    </a:lnTo>
                    <a:lnTo>
                      <a:pt x="73" y="75"/>
                    </a:lnTo>
                    <a:close/>
                    <a:moveTo>
                      <a:pt x="75" y="75"/>
                    </a:moveTo>
                    <a:lnTo>
                      <a:pt x="75" y="73"/>
                    </a:lnTo>
                    <a:lnTo>
                      <a:pt x="75" y="75"/>
                    </a:lnTo>
                    <a:close/>
                    <a:moveTo>
                      <a:pt x="71" y="73"/>
                    </a:moveTo>
                    <a:lnTo>
                      <a:pt x="71" y="71"/>
                    </a:lnTo>
                    <a:lnTo>
                      <a:pt x="71" y="73"/>
                    </a:lnTo>
                    <a:close/>
                    <a:moveTo>
                      <a:pt x="81" y="75"/>
                    </a:moveTo>
                    <a:lnTo>
                      <a:pt x="79" y="75"/>
                    </a:lnTo>
                    <a:lnTo>
                      <a:pt x="81" y="75"/>
                    </a:lnTo>
                    <a:close/>
                    <a:moveTo>
                      <a:pt x="79" y="73"/>
                    </a:moveTo>
                    <a:lnTo>
                      <a:pt x="79" y="75"/>
                    </a:lnTo>
                    <a:lnTo>
                      <a:pt x="79" y="73"/>
                    </a:lnTo>
                    <a:close/>
                    <a:moveTo>
                      <a:pt x="58" y="67"/>
                    </a:moveTo>
                    <a:lnTo>
                      <a:pt x="56" y="67"/>
                    </a:lnTo>
                    <a:lnTo>
                      <a:pt x="58" y="67"/>
                    </a:lnTo>
                    <a:close/>
                    <a:moveTo>
                      <a:pt x="75" y="71"/>
                    </a:moveTo>
                    <a:lnTo>
                      <a:pt x="75" y="73"/>
                    </a:lnTo>
                    <a:lnTo>
                      <a:pt x="75" y="71"/>
                    </a:lnTo>
                    <a:close/>
                    <a:moveTo>
                      <a:pt x="77" y="73"/>
                    </a:moveTo>
                    <a:lnTo>
                      <a:pt x="77" y="71"/>
                    </a:lnTo>
                    <a:lnTo>
                      <a:pt x="77" y="73"/>
                    </a:lnTo>
                    <a:close/>
                    <a:moveTo>
                      <a:pt x="71" y="69"/>
                    </a:moveTo>
                    <a:lnTo>
                      <a:pt x="69" y="69"/>
                    </a:lnTo>
                    <a:lnTo>
                      <a:pt x="71" y="69"/>
                    </a:lnTo>
                    <a:close/>
                    <a:moveTo>
                      <a:pt x="77" y="73"/>
                    </a:moveTo>
                    <a:lnTo>
                      <a:pt x="77" y="71"/>
                    </a:lnTo>
                    <a:lnTo>
                      <a:pt x="77" y="73"/>
                    </a:lnTo>
                    <a:close/>
                    <a:moveTo>
                      <a:pt x="19" y="54"/>
                    </a:moveTo>
                    <a:lnTo>
                      <a:pt x="19" y="52"/>
                    </a:lnTo>
                    <a:lnTo>
                      <a:pt x="19" y="54"/>
                    </a:lnTo>
                    <a:close/>
                    <a:moveTo>
                      <a:pt x="73" y="71"/>
                    </a:moveTo>
                    <a:lnTo>
                      <a:pt x="75" y="71"/>
                    </a:lnTo>
                    <a:lnTo>
                      <a:pt x="73" y="71"/>
                    </a:lnTo>
                    <a:close/>
                    <a:moveTo>
                      <a:pt x="81" y="71"/>
                    </a:moveTo>
                    <a:lnTo>
                      <a:pt x="81" y="73"/>
                    </a:lnTo>
                    <a:lnTo>
                      <a:pt x="81" y="71"/>
                    </a:lnTo>
                    <a:close/>
                    <a:moveTo>
                      <a:pt x="19" y="52"/>
                    </a:moveTo>
                    <a:lnTo>
                      <a:pt x="18" y="52"/>
                    </a:lnTo>
                    <a:lnTo>
                      <a:pt x="19" y="52"/>
                    </a:lnTo>
                    <a:close/>
                    <a:moveTo>
                      <a:pt x="60" y="65"/>
                    </a:moveTo>
                    <a:lnTo>
                      <a:pt x="60" y="63"/>
                    </a:lnTo>
                    <a:lnTo>
                      <a:pt x="60" y="65"/>
                    </a:lnTo>
                    <a:close/>
                    <a:moveTo>
                      <a:pt x="81" y="71"/>
                    </a:moveTo>
                    <a:lnTo>
                      <a:pt x="83" y="71"/>
                    </a:lnTo>
                    <a:lnTo>
                      <a:pt x="81" y="71"/>
                    </a:lnTo>
                    <a:close/>
                    <a:moveTo>
                      <a:pt x="81" y="71"/>
                    </a:moveTo>
                    <a:lnTo>
                      <a:pt x="81" y="69"/>
                    </a:lnTo>
                    <a:lnTo>
                      <a:pt x="81" y="71"/>
                    </a:lnTo>
                    <a:close/>
                    <a:moveTo>
                      <a:pt x="79" y="69"/>
                    </a:moveTo>
                    <a:lnTo>
                      <a:pt x="77" y="69"/>
                    </a:lnTo>
                    <a:lnTo>
                      <a:pt x="79" y="69"/>
                    </a:lnTo>
                    <a:close/>
                    <a:moveTo>
                      <a:pt x="83" y="71"/>
                    </a:moveTo>
                    <a:lnTo>
                      <a:pt x="81" y="71"/>
                    </a:lnTo>
                    <a:lnTo>
                      <a:pt x="83" y="69"/>
                    </a:lnTo>
                    <a:lnTo>
                      <a:pt x="83" y="71"/>
                    </a:lnTo>
                    <a:close/>
                    <a:moveTo>
                      <a:pt x="79" y="69"/>
                    </a:moveTo>
                    <a:lnTo>
                      <a:pt x="77" y="69"/>
                    </a:lnTo>
                    <a:lnTo>
                      <a:pt x="79" y="69"/>
                    </a:lnTo>
                    <a:close/>
                    <a:moveTo>
                      <a:pt x="83" y="71"/>
                    </a:moveTo>
                    <a:lnTo>
                      <a:pt x="83" y="69"/>
                    </a:lnTo>
                    <a:lnTo>
                      <a:pt x="83" y="71"/>
                    </a:lnTo>
                    <a:close/>
                    <a:moveTo>
                      <a:pt x="64" y="63"/>
                    </a:moveTo>
                    <a:lnTo>
                      <a:pt x="62" y="63"/>
                    </a:lnTo>
                    <a:lnTo>
                      <a:pt x="64" y="63"/>
                    </a:lnTo>
                    <a:close/>
                    <a:moveTo>
                      <a:pt x="83" y="69"/>
                    </a:moveTo>
                    <a:lnTo>
                      <a:pt x="83" y="71"/>
                    </a:lnTo>
                    <a:lnTo>
                      <a:pt x="83" y="69"/>
                    </a:lnTo>
                    <a:close/>
                    <a:moveTo>
                      <a:pt x="64" y="63"/>
                    </a:moveTo>
                    <a:lnTo>
                      <a:pt x="62" y="63"/>
                    </a:lnTo>
                    <a:lnTo>
                      <a:pt x="64" y="63"/>
                    </a:lnTo>
                    <a:close/>
                    <a:moveTo>
                      <a:pt x="79" y="69"/>
                    </a:moveTo>
                    <a:lnTo>
                      <a:pt x="79" y="67"/>
                    </a:lnTo>
                    <a:lnTo>
                      <a:pt x="79" y="69"/>
                    </a:lnTo>
                    <a:close/>
                    <a:moveTo>
                      <a:pt x="79" y="69"/>
                    </a:moveTo>
                    <a:lnTo>
                      <a:pt x="79" y="67"/>
                    </a:lnTo>
                    <a:lnTo>
                      <a:pt x="79" y="69"/>
                    </a:lnTo>
                    <a:close/>
                    <a:moveTo>
                      <a:pt x="62" y="61"/>
                    </a:moveTo>
                    <a:lnTo>
                      <a:pt x="62" y="63"/>
                    </a:lnTo>
                    <a:lnTo>
                      <a:pt x="62" y="61"/>
                    </a:lnTo>
                    <a:close/>
                    <a:moveTo>
                      <a:pt x="62" y="61"/>
                    </a:moveTo>
                    <a:lnTo>
                      <a:pt x="60" y="61"/>
                    </a:lnTo>
                    <a:lnTo>
                      <a:pt x="62" y="61"/>
                    </a:lnTo>
                    <a:close/>
                    <a:moveTo>
                      <a:pt x="83" y="69"/>
                    </a:moveTo>
                    <a:lnTo>
                      <a:pt x="83" y="67"/>
                    </a:lnTo>
                    <a:lnTo>
                      <a:pt x="83" y="69"/>
                    </a:lnTo>
                    <a:close/>
                    <a:moveTo>
                      <a:pt x="85" y="69"/>
                    </a:moveTo>
                    <a:lnTo>
                      <a:pt x="83" y="69"/>
                    </a:lnTo>
                    <a:lnTo>
                      <a:pt x="85" y="69"/>
                    </a:lnTo>
                    <a:close/>
                    <a:moveTo>
                      <a:pt x="85" y="67"/>
                    </a:moveTo>
                    <a:lnTo>
                      <a:pt x="85" y="69"/>
                    </a:lnTo>
                    <a:lnTo>
                      <a:pt x="85" y="67"/>
                    </a:lnTo>
                    <a:close/>
                    <a:moveTo>
                      <a:pt x="62" y="60"/>
                    </a:moveTo>
                    <a:lnTo>
                      <a:pt x="62" y="61"/>
                    </a:lnTo>
                    <a:lnTo>
                      <a:pt x="62" y="60"/>
                    </a:lnTo>
                    <a:close/>
                    <a:moveTo>
                      <a:pt x="85" y="67"/>
                    </a:moveTo>
                    <a:lnTo>
                      <a:pt x="83" y="67"/>
                    </a:lnTo>
                    <a:lnTo>
                      <a:pt x="85" y="67"/>
                    </a:lnTo>
                    <a:close/>
                    <a:moveTo>
                      <a:pt x="83" y="65"/>
                    </a:moveTo>
                    <a:lnTo>
                      <a:pt x="83" y="67"/>
                    </a:lnTo>
                    <a:lnTo>
                      <a:pt x="83" y="65"/>
                    </a:lnTo>
                    <a:close/>
                    <a:moveTo>
                      <a:pt x="62" y="61"/>
                    </a:moveTo>
                    <a:lnTo>
                      <a:pt x="62" y="60"/>
                    </a:lnTo>
                    <a:lnTo>
                      <a:pt x="62" y="61"/>
                    </a:lnTo>
                    <a:close/>
                    <a:moveTo>
                      <a:pt x="77" y="63"/>
                    </a:moveTo>
                    <a:lnTo>
                      <a:pt x="77" y="65"/>
                    </a:lnTo>
                    <a:lnTo>
                      <a:pt x="77" y="63"/>
                    </a:lnTo>
                    <a:close/>
                    <a:moveTo>
                      <a:pt x="77" y="63"/>
                    </a:moveTo>
                    <a:lnTo>
                      <a:pt x="77" y="65"/>
                    </a:lnTo>
                    <a:lnTo>
                      <a:pt x="77" y="63"/>
                    </a:lnTo>
                    <a:close/>
                    <a:moveTo>
                      <a:pt x="64" y="60"/>
                    </a:moveTo>
                    <a:lnTo>
                      <a:pt x="62" y="60"/>
                    </a:lnTo>
                    <a:lnTo>
                      <a:pt x="64" y="60"/>
                    </a:lnTo>
                    <a:close/>
                    <a:moveTo>
                      <a:pt x="77" y="65"/>
                    </a:moveTo>
                    <a:lnTo>
                      <a:pt x="77" y="63"/>
                    </a:lnTo>
                    <a:lnTo>
                      <a:pt x="77" y="65"/>
                    </a:lnTo>
                    <a:close/>
                    <a:moveTo>
                      <a:pt x="77" y="65"/>
                    </a:moveTo>
                    <a:lnTo>
                      <a:pt x="77" y="63"/>
                    </a:lnTo>
                    <a:lnTo>
                      <a:pt x="77" y="65"/>
                    </a:lnTo>
                    <a:close/>
                    <a:moveTo>
                      <a:pt x="66" y="61"/>
                    </a:moveTo>
                    <a:lnTo>
                      <a:pt x="66" y="60"/>
                    </a:lnTo>
                    <a:lnTo>
                      <a:pt x="66" y="61"/>
                    </a:lnTo>
                    <a:close/>
                    <a:moveTo>
                      <a:pt x="62" y="60"/>
                    </a:moveTo>
                    <a:lnTo>
                      <a:pt x="64" y="60"/>
                    </a:lnTo>
                    <a:lnTo>
                      <a:pt x="62" y="60"/>
                    </a:lnTo>
                    <a:close/>
                    <a:moveTo>
                      <a:pt x="77" y="65"/>
                    </a:moveTo>
                    <a:lnTo>
                      <a:pt x="77" y="63"/>
                    </a:lnTo>
                    <a:lnTo>
                      <a:pt x="77" y="65"/>
                    </a:lnTo>
                    <a:close/>
                    <a:moveTo>
                      <a:pt x="66" y="61"/>
                    </a:moveTo>
                    <a:lnTo>
                      <a:pt x="66" y="60"/>
                    </a:lnTo>
                    <a:lnTo>
                      <a:pt x="66" y="61"/>
                    </a:lnTo>
                    <a:close/>
                    <a:moveTo>
                      <a:pt x="79" y="65"/>
                    </a:moveTo>
                    <a:lnTo>
                      <a:pt x="79" y="63"/>
                    </a:lnTo>
                    <a:lnTo>
                      <a:pt x="79" y="65"/>
                    </a:lnTo>
                    <a:close/>
                    <a:moveTo>
                      <a:pt x="83" y="65"/>
                    </a:moveTo>
                    <a:lnTo>
                      <a:pt x="83" y="63"/>
                    </a:lnTo>
                    <a:lnTo>
                      <a:pt x="83" y="65"/>
                    </a:lnTo>
                    <a:close/>
                    <a:moveTo>
                      <a:pt x="83" y="65"/>
                    </a:moveTo>
                    <a:lnTo>
                      <a:pt x="81" y="65"/>
                    </a:lnTo>
                    <a:lnTo>
                      <a:pt x="81" y="63"/>
                    </a:lnTo>
                    <a:lnTo>
                      <a:pt x="83" y="63"/>
                    </a:lnTo>
                    <a:lnTo>
                      <a:pt x="83" y="65"/>
                    </a:lnTo>
                    <a:close/>
                    <a:moveTo>
                      <a:pt x="77" y="63"/>
                    </a:moveTo>
                    <a:lnTo>
                      <a:pt x="77" y="61"/>
                    </a:lnTo>
                    <a:lnTo>
                      <a:pt x="77" y="63"/>
                    </a:lnTo>
                    <a:close/>
                    <a:moveTo>
                      <a:pt x="67" y="58"/>
                    </a:moveTo>
                    <a:lnTo>
                      <a:pt x="67" y="60"/>
                    </a:lnTo>
                    <a:lnTo>
                      <a:pt x="67" y="58"/>
                    </a:lnTo>
                    <a:close/>
                    <a:moveTo>
                      <a:pt x="81" y="61"/>
                    </a:moveTo>
                    <a:lnTo>
                      <a:pt x="81" y="63"/>
                    </a:lnTo>
                    <a:lnTo>
                      <a:pt x="81" y="61"/>
                    </a:lnTo>
                    <a:close/>
                    <a:moveTo>
                      <a:pt x="81" y="63"/>
                    </a:moveTo>
                    <a:lnTo>
                      <a:pt x="81" y="61"/>
                    </a:lnTo>
                    <a:lnTo>
                      <a:pt x="81" y="63"/>
                    </a:lnTo>
                    <a:close/>
                    <a:moveTo>
                      <a:pt x="0" y="36"/>
                    </a:moveTo>
                    <a:lnTo>
                      <a:pt x="0" y="35"/>
                    </a:lnTo>
                    <a:lnTo>
                      <a:pt x="0" y="36"/>
                    </a:lnTo>
                    <a:close/>
                    <a:moveTo>
                      <a:pt x="83" y="63"/>
                    </a:moveTo>
                    <a:lnTo>
                      <a:pt x="83" y="61"/>
                    </a:lnTo>
                    <a:lnTo>
                      <a:pt x="83" y="63"/>
                    </a:lnTo>
                    <a:close/>
                    <a:moveTo>
                      <a:pt x="0" y="35"/>
                    </a:moveTo>
                    <a:lnTo>
                      <a:pt x="0" y="33"/>
                    </a:lnTo>
                    <a:lnTo>
                      <a:pt x="0" y="35"/>
                    </a:lnTo>
                    <a:close/>
                    <a:moveTo>
                      <a:pt x="94" y="63"/>
                    </a:moveTo>
                    <a:lnTo>
                      <a:pt x="92" y="63"/>
                    </a:lnTo>
                    <a:lnTo>
                      <a:pt x="94" y="63"/>
                    </a:lnTo>
                    <a:close/>
                    <a:moveTo>
                      <a:pt x="69" y="56"/>
                    </a:moveTo>
                    <a:lnTo>
                      <a:pt x="67" y="56"/>
                    </a:lnTo>
                    <a:lnTo>
                      <a:pt x="69" y="56"/>
                    </a:lnTo>
                    <a:close/>
                    <a:moveTo>
                      <a:pt x="81" y="60"/>
                    </a:moveTo>
                    <a:lnTo>
                      <a:pt x="79" y="60"/>
                    </a:lnTo>
                    <a:lnTo>
                      <a:pt x="81" y="60"/>
                    </a:lnTo>
                    <a:close/>
                    <a:moveTo>
                      <a:pt x="77" y="58"/>
                    </a:moveTo>
                    <a:lnTo>
                      <a:pt x="77" y="60"/>
                    </a:lnTo>
                    <a:lnTo>
                      <a:pt x="77" y="58"/>
                    </a:lnTo>
                    <a:close/>
                    <a:moveTo>
                      <a:pt x="91" y="61"/>
                    </a:moveTo>
                    <a:lnTo>
                      <a:pt x="89" y="61"/>
                    </a:lnTo>
                    <a:lnTo>
                      <a:pt x="91" y="61"/>
                    </a:lnTo>
                    <a:close/>
                    <a:moveTo>
                      <a:pt x="69" y="54"/>
                    </a:moveTo>
                    <a:lnTo>
                      <a:pt x="69" y="56"/>
                    </a:lnTo>
                    <a:lnTo>
                      <a:pt x="69" y="54"/>
                    </a:lnTo>
                    <a:close/>
                    <a:moveTo>
                      <a:pt x="92" y="61"/>
                    </a:moveTo>
                    <a:lnTo>
                      <a:pt x="91" y="61"/>
                    </a:lnTo>
                    <a:lnTo>
                      <a:pt x="92" y="61"/>
                    </a:lnTo>
                    <a:close/>
                    <a:moveTo>
                      <a:pt x="94" y="63"/>
                    </a:moveTo>
                    <a:lnTo>
                      <a:pt x="94" y="61"/>
                    </a:lnTo>
                    <a:lnTo>
                      <a:pt x="94" y="63"/>
                    </a:lnTo>
                    <a:close/>
                    <a:moveTo>
                      <a:pt x="83" y="60"/>
                    </a:moveTo>
                    <a:lnTo>
                      <a:pt x="83" y="58"/>
                    </a:lnTo>
                    <a:lnTo>
                      <a:pt x="83" y="60"/>
                    </a:lnTo>
                    <a:close/>
                    <a:moveTo>
                      <a:pt x="94" y="61"/>
                    </a:moveTo>
                    <a:lnTo>
                      <a:pt x="94" y="63"/>
                    </a:lnTo>
                    <a:lnTo>
                      <a:pt x="94" y="61"/>
                    </a:lnTo>
                    <a:close/>
                    <a:moveTo>
                      <a:pt x="79" y="58"/>
                    </a:moveTo>
                    <a:lnTo>
                      <a:pt x="77" y="58"/>
                    </a:lnTo>
                    <a:lnTo>
                      <a:pt x="79" y="58"/>
                    </a:lnTo>
                    <a:close/>
                    <a:moveTo>
                      <a:pt x="94" y="61"/>
                    </a:moveTo>
                    <a:lnTo>
                      <a:pt x="92" y="61"/>
                    </a:lnTo>
                    <a:lnTo>
                      <a:pt x="94" y="61"/>
                    </a:lnTo>
                    <a:close/>
                    <a:moveTo>
                      <a:pt x="91" y="60"/>
                    </a:moveTo>
                    <a:lnTo>
                      <a:pt x="91" y="61"/>
                    </a:lnTo>
                    <a:lnTo>
                      <a:pt x="91" y="60"/>
                    </a:lnTo>
                    <a:close/>
                    <a:moveTo>
                      <a:pt x="85" y="58"/>
                    </a:moveTo>
                    <a:lnTo>
                      <a:pt x="85" y="60"/>
                    </a:lnTo>
                    <a:lnTo>
                      <a:pt x="85" y="58"/>
                    </a:lnTo>
                    <a:close/>
                    <a:moveTo>
                      <a:pt x="69" y="54"/>
                    </a:moveTo>
                    <a:lnTo>
                      <a:pt x="69" y="52"/>
                    </a:lnTo>
                    <a:lnTo>
                      <a:pt x="69" y="54"/>
                    </a:lnTo>
                    <a:close/>
                    <a:moveTo>
                      <a:pt x="91" y="60"/>
                    </a:moveTo>
                    <a:lnTo>
                      <a:pt x="92" y="60"/>
                    </a:lnTo>
                    <a:lnTo>
                      <a:pt x="91" y="60"/>
                    </a:lnTo>
                    <a:close/>
                    <a:moveTo>
                      <a:pt x="96" y="61"/>
                    </a:moveTo>
                    <a:lnTo>
                      <a:pt x="94" y="61"/>
                    </a:lnTo>
                    <a:lnTo>
                      <a:pt x="96" y="61"/>
                    </a:lnTo>
                    <a:close/>
                    <a:moveTo>
                      <a:pt x="69" y="52"/>
                    </a:moveTo>
                    <a:lnTo>
                      <a:pt x="67" y="52"/>
                    </a:lnTo>
                    <a:lnTo>
                      <a:pt x="69" y="52"/>
                    </a:lnTo>
                    <a:close/>
                    <a:moveTo>
                      <a:pt x="85" y="58"/>
                    </a:moveTo>
                    <a:lnTo>
                      <a:pt x="87" y="58"/>
                    </a:lnTo>
                    <a:lnTo>
                      <a:pt x="85" y="58"/>
                    </a:lnTo>
                    <a:close/>
                    <a:moveTo>
                      <a:pt x="69" y="52"/>
                    </a:moveTo>
                    <a:lnTo>
                      <a:pt x="67" y="52"/>
                    </a:lnTo>
                    <a:lnTo>
                      <a:pt x="69" y="52"/>
                    </a:lnTo>
                    <a:close/>
                    <a:moveTo>
                      <a:pt x="85" y="58"/>
                    </a:moveTo>
                    <a:lnTo>
                      <a:pt x="87" y="58"/>
                    </a:lnTo>
                    <a:lnTo>
                      <a:pt x="85" y="58"/>
                    </a:lnTo>
                    <a:close/>
                    <a:moveTo>
                      <a:pt x="87" y="58"/>
                    </a:moveTo>
                    <a:lnTo>
                      <a:pt x="85" y="58"/>
                    </a:lnTo>
                    <a:lnTo>
                      <a:pt x="87" y="58"/>
                    </a:lnTo>
                    <a:close/>
                    <a:moveTo>
                      <a:pt x="91" y="58"/>
                    </a:moveTo>
                    <a:lnTo>
                      <a:pt x="89" y="58"/>
                    </a:lnTo>
                    <a:lnTo>
                      <a:pt x="91" y="58"/>
                    </a:lnTo>
                    <a:close/>
                    <a:moveTo>
                      <a:pt x="67" y="50"/>
                    </a:moveTo>
                    <a:lnTo>
                      <a:pt x="67" y="52"/>
                    </a:lnTo>
                    <a:lnTo>
                      <a:pt x="67" y="50"/>
                    </a:lnTo>
                    <a:close/>
                    <a:moveTo>
                      <a:pt x="67" y="52"/>
                    </a:moveTo>
                    <a:lnTo>
                      <a:pt x="67" y="50"/>
                    </a:lnTo>
                    <a:lnTo>
                      <a:pt x="67" y="52"/>
                    </a:lnTo>
                    <a:close/>
                    <a:moveTo>
                      <a:pt x="67" y="52"/>
                    </a:moveTo>
                    <a:lnTo>
                      <a:pt x="69" y="52"/>
                    </a:lnTo>
                    <a:lnTo>
                      <a:pt x="67" y="52"/>
                    </a:lnTo>
                    <a:close/>
                    <a:moveTo>
                      <a:pt x="67" y="50"/>
                    </a:moveTo>
                    <a:lnTo>
                      <a:pt x="67" y="52"/>
                    </a:lnTo>
                    <a:lnTo>
                      <a:pt x="67" y="50"/>
                    </a:lnTo>
                    <a:close/>
                    <a:moveTo>
                      <a:pt x="69" y="50"/>
                    </a:moveTo>
                    <a:lnTo>
                      <a:pt x="69" y="52"/>
                    </a:lnTo>
                    <a:lnTo>
                      <a:pt x="69" y="50"/>
                    </a:lnTo>
                    <a:close/>
                    <a:moveTo>
                      <a:pt x="69" y="50"/>
                    </a:moveTo>
                    <a:lnTo>
                      <a:pt x="67" y="50"/>
                    </a:lnTo>
                    <a:lnTo>
                      <a:pt x="69" y="50"/>
                    </a:lnTo>
                    <a:close/>
                    <a:moveTo>
                      <a:pt x="69" y="50"/>
                    </a:moveTo>
                    <a:lnTo>
                      <a:pt x="69" y="52"/>
                    </a:lnTo>
                    <a:lnTo>
                      <a:pt x="69" y="50"/>
                    </a:lnTo>
                    <a:close/>
                    <a:moveTo>
                      <a:pt x="69" y="50"/>
                    </a:moveTo>
                    <a:lnTo>
                      <a:pt x="69" y="52"/>
                    </a:lnTo>
                    <a:lnTo>
                      <a:pt x="69" y="50"/>
                    </a:lnTo>
                    <a:close/>
                    <a:moveTo>
                      <a:pt x="94" y="60"/>
                    </a:moveTo>
                    <a:lnTo>
                      <a:pt x="94" y="58"/>
                    </a:lnTo>
                    <a:lnTo>
                      <a:pt x="94" y="60"/>
                    </a:lnTo>
                    <a:close/>
                    <a:moveTo>
                      <a:pt x="94" y="58"/>
                    </a:moveTo>
                    <a:lnTo>
                      <a:pt x="94" y="60"/>
                    </a:lnTo>
                    <a:lnTo>
                      <a:pt x="94" y="58"/>
                    </a:lnTo>
                    <a:close/>
                    <a:moveTo>
                      <a:pt x="89" y="56"/>
                    </a:moveTo>
                    <a:lnTo>
                      <a:pt x="89" y="58"/>
                    </a:lnTo>
                    <a:lnTo>
                      <a:pt x="89" y="56"/>
                    </a:lnTo>
                    <a:close/>
                    <a:moveTo>
                      <a:pt x="94" y="60"/>
                    </a:moveTo>
                    <a:lnTo>
                      <a:pt x="94" y="58"/>
                    </a:lnTo>
                    <a:lnTo>
                      <a:pt x="94" y="60"/>
                    </a:lnTo>
                    <a:close/>
                    <a:moveTo>
                      <a:pt x="91" y="56"/>
                    </a:moveTo>
                    <a:lnTo>
                      <a:pt x="91" y="58"/>
                    </a:lnTo>
                    <a:lnTo>
                      <a:pt x="91" y="56"/>
                    </a:lnTo>
                    <a:close/>
                    <a:moveTo>
                      <a:pt x="91" y="56"/>
                    </a:moveTo>
                    <a:lnTo>
                      <a:pt x="89" y="56"/>
                    </a:lnTo>
                    <a:lnTo>
                      <a:pt x="91" y="56"/>
                    </a:lnTo>
                    <a:close/>
                    <a:moveTo>
                      <a:pt x="79" y="54"/>
                    </a:moveTo>
                    <a:lnTo>
                      <a:pt x="79" y="52"/>
                    </a:lnTo>
                    <a:lnTo>
                      <a:pt x="79" y="54"/>
                    </a:lnTo>
                    <a:close/>
                    <a:moveTo>
                      <a:pt x="89" y="56"/>
                    </a:moveTo>
                    <a:lnTo>
                      <a:pt x="87" y="56"/>
                    </a:lnTo>
                    <a:lnTo>
                      <a:pt x="89" y="56"/>
                    </a:lnTo>
                    <a:close/>
                    <a:moveTo>
                      <a:pt x="67" y="50"/>
                    </a:moveTo>
                    <a:lnTo>
                      <a:pt x="69" y="50"/>
                    </a:lnTo>
                    <a:lnTo>
                      <a:pt x="67" y="50"/>
                    </a:lnTo>
                    <a:close/>
                    <a:moveTo>
                      <a:pt x="91" y="56"/>
                    </a:moveTo>
                    <a:lnTo>
                      <a:pt x="89" y="56"/>
                    </a:lnTo>
                    <a:lnTo>
                      <a:pt x="91" y="56"/>
                    </a:lnTo>
                    <a:close/>
                    <a:moveTo>
                      <a:pt x="75" y="52"/>
                    </a:moveTo>
                    <a:lnTo>
                      <a:pt x="75" y="50"/>
                    </a:lnTo>
                    <a:lnTo>
                      <a:pt x="75" y="52"/>
                    </a:lnTo>
                    <a:close/>
                    <a:moveTo>
                      <a:pt x="87" y="56"/>
                    </a:moveTo>
                    <a:lnTo>
                      <a:pt x="87" y="54"/>
                    </a:lnTo>
                    <a:lnTo>
                      <a:pt x="87" y="56"/>
                    </a:lnTo>
                    <a:close/>
                    <a:moveTo>
                      <a:pt x="92" y="56"/>
                    </a:moveTo>
                    <a:lnTo>
                      <a:pt x="92" y="58"/>
                    </a:lnTo>
                    <a:lnTo>
                      <a:pt x="92" y="56"/>
                    </a:lnTo>
                    <a:close/>
                    <a:moveTo>
                      <a:pt x="87" y="54"/>
                    </a:moveTo>
                    <a:lnTo>
                      <a:pt x="85" y="54"/>
                    </a:lnTo>
                    <a:lnTo>
                      <a:pt x="87" y="54"/>
                    </a:lnTo>
                    <a:close/>
                    <a:moveTo>
                      <a:pt x="89" y="54"/>
                    </a:moveTo>
                    <a:lnTo>
                      <a:pt x="87" y="56"/>
                    </a:lnTo>
                    <a:lnTo>
                      <a:pt x="87" y="54"/>
                    </a:lnTo>
                    <a:lnTo>
                      <a:pt x="87" y="56"/>
                    </a:lnTo>
                    <a:lnTo>
                      <a:pt x="87" y="54"/>
                    </a:lnTo>
                    <a:lnTo>
                      <a:pt x="89" y="54"/>
                    </a:lnTo>
                    <a:close/>
                    <a:moveTo>
                      <a:pt x="94" y="56"/>
                    </a:moveTo>
                    <a:lnTo>
                      <a:pt x="94" y="58"/>
                    </a:lnTo>
                    <a:lnTo>
                      <a:pt x="94" y="56"/>
                    </a:lnTo>
                    <a:close/>
                    <a:moveTo>
                      <a:pt x="71" y="48"/>
                    </a:moveTo>
                    <a:lnTo>
                      <a:pt x="71" y="50"/>
                    </a:lnTo>
                    <a:lnTo>
                      <a:pt x="71" y="48"/>
                    </a:lnTo>
                    <a:close/>
                    <a:moveTo>
                      <a:pt x="71" y="50"/>
                    </a:moveTo>
                    <a:lnTo>
                      <a:pt x="71" y="48"/>
                    </a:lnTo>
                    <a:lnTo>
                      <a:pt x="71" y="50"/>
                    </a:lnTo>
                    <a:close/>
                    <a:moveTo>
                      <a:pt x="73" y="50"/>
                    </a:moveTo>
                    <a:lnTo>
                      <a:pt x="71" y="50"/>
                    </a:lnTo>
                    <a:lnTo>
                      <a:pt x="73" y="50"/>
                    </a:lnTo>
                    <a:close/>
                    <a:moveTo>
                      <a:pt x="69" y="48"/>
                    </a:moveTo>
                    <a:lnTo>
                      <a:pt x="71" y="48"/>
                    </a:lnTo>
                    <a:lnTo>
                      <a:pt x="69" y="48"/>
                    </a:lnTo>
                    <a:close/>
                    <a:moveTo>
                      <a:pt x="87" y="54"/>
                    </a:moveTo>
                    <a:lnTo>
                      <a:pt x="85" y="54"/>
                    </a:lnTo>
                    <a:lnTo>
                      <a:pt x="87" y="54"/>
                    </a:lnTo>
                    <a:close/>
                    <a:moveTo>
                      <a:pt x="94" y="56"/>
                    </a:moveTo>
                    <a:lnTo>
                      <a:pt x="96" y="56"/>
                    </a:lnTo>
                    <a:lnTo>
                      <a:pt x="94" y="56"/>
                    </a:lnTo>
                    <a:close/>
                    <a:moveTo>
                      <a:pt x="91" y="54"/>
                    </a:moveTo>
                    <a:lnTo>
                      <a:pt x="91" y="56"/>
                    </a:lnTo>
                    <a:lnTo>
                      <a:pt x="91" y="54"/>
                    </a:lnTo>
                    <a:close/>
                    <a:moveTo>
                      <a:pt x="91" y="54"/>
                    </a:moveTo>
                    <a:lnTo>
                      <a:pt x="91" y="56"/>
                    </a:lnTo>
                    <a:lnTo>
                      <a:pt x="91" y="54"/>
                    </a:lnTo>
                    <a:close/>
                    <a:moveTo>
                      <a:pt x="92" y="56"/>
                    </a:moveTo>
                    <a:lnTo>
                      <a:pt x="92" y="54"/>
                    </a:lnTo>
                    <a:lnTo>
                      <a:pt x="92" y="56"/>
                    </a:lnTo>
                    <a:close/>
                    <a:moveTo>
                      <a:pt x="92" y="56"/>
                    </a:moveTo>
                    <a:lnTo>
                      <a:pt x="92" y="54"/>
                    </a:lnTo>
                    <a:lnTo>
                      <a:pt x="92" y="56"/>
                    </a:lnTo>
                    <a:close/>
                    <a:moveTo>
                      <a:pt x="77" y="50"/>
                    </a:moveTo>
                    <a:lnTo>
                      <a:pt x="75" y="50"/>
                    </a:lnTo>
                    <a:lnTo>
                      <a:pt x="77" y="50"/>
                    </a:lnTo>
                    <a:close/>
                    <a:moveTo>
                      <a:pt x="69" y="48"/>
                    </a:moveTo>
                    <a:lnTo>
                      <a:pt x="69" y="46"/>
                    </a:lnTo>
                    <a:lnTo>
                      <a:pt x="69" y="48"/>
                    </a:lnTo>
                    <a:close/>
                    <a:moveTo>
                      <a:pt x="94" y="56"/>
                    </a:moveTo>
                    <a:lnTo>
                      <a:pt x="94" y="54"/>
                    </a:lnTo>
                    <a:lnTo>
                      <a:pt x="94" y="56"/>
                    </a:lnTo>
                    <a:close/>
                    <a:moveTo>
                      <a:pt x="69" y="46"/>
                    </a:moveTo>
                    <a:lnTo>
                      <a:pt x="69" y="48"/>
                    </a:lnTo>
                    <a:lnTo>
                      <a:pt x="69" y="46"/>
                    </a:lnTo>
                    <a:close/>
                    <a:moveTo>
                      <a:pt x="89" y="54"/>
                    </a:moveTo>
                    <a:lnTo>
                      <a:pt x="91" y="54"/>
                    </a:lnTo>
                    <a:lnTo>
                      <a:pt x="89" y="54"/>
                    </a:lnTo>
                    <a:close/>
                    <a:moveTo>
                      <a:pt x="69" y="46"/>
                    </a:moveTo>
                    <a:lnTo>
                      <a:pt x="69" y="48"/>
                    </a:lnTo>
                    <a:lnTo>
                      <a:pt x="69" y="46"/>
                    </a:lnTo>
                    <a:close/>
                    <a:moveTo>
                      <a:pt x="71" y="48"/>
                    </a:moveTo>
                    <a:lnTo>
                      <a:pt x="71" y="46"/>
                    </a:lnTo>
                    <a:lnTo>
                      <a:pt x="71" y="48"/>
                    </a:lnTo>
                    <a:close/>
                    <a:moveTo>
                      <a:pt x="94" y="54"/>
                    </a:moveTo>
                    <a:lnTo>
                      <a:pt x="94" y="56"/>
                    </a:lnTo>
                    <a:lnTo>
                      <a:pt x="94" y="54"/>
                    </a:lnTo>
                    <a:lnTo>
                      <a:pt x="94" y="56"/>
                    </a:lnTo>
                    <a:lnTo>
                      <a:pt x="94" y="54"/>
                    </a:lnTo>
                    <a:close/>
                    <a:moveTo>
                      <a:pt x="91" y="52"/>
                    </a:moveTo>
                    <a:lnTo>
                      <a:pt x="89" y="52"/>
                    </a:lnTo>
                    <a:lnTo>
                      <a:pt x="91" y="52"/>
                    </a:lnTo>
                    <a:close/>
                    <a:moveTo>
                      <a:pt x="73" y="46"/>
                    </a:moveTo>
                    <a:lnTo>
                      <a:pt x="73" y="48"/>
                    </a:lnTo>
                    <a:lnTo>
                      <a:pt x="73" y="46"/>
                    </a:lnTo>
                    <a:close/>
                    <a:moveTo>
                      <a:pt x="87" y="52"/>
                    </a:moveTo>
                    <a:lnTo>
                      <a:pt x="87" y="50"/>
                    </a:lnTo>
                    <a:lnTo>
                      <a:pt x="87" y="52"/>
                    </a:lnTo>
                    <a:close/>
                    <a:moveTo>
                      <a:pt x="87" y="50"/>
                    </a:moveTo>
                    <a:lnTo>
                      <a:pt x="87" y="52"/>
                    </a:lnTo>
                    <a:lnTo>
                      <a:pt x="87" y="50"/>
                    </a:lnTo>
                    <a:close/>
                    <a:moveTo>
                      <a:pt x="92" y="52"/>
                    </a:moveTo>
                    <a:lnTo>
                      <a:pt x="92" y="54"/>
                    </a:lnTo>
                    <a:lnTo>
                      <a:pt x="92" y="52"/>
                    </a:lnTo>
                    <a:close/>
                    <a:moveTo>
                      <a:pt x="91" y="52"/>
                    </a:moveTo>
                    <a:lnTo>
                      <a:pt x="89" y="52"/>
                    </a:lnTo>
                    <a:lnTo>
                      <a:pt x="91" y="52"/>
                    </a:lnTo>
                    <a:close/>
                    <a:moveTo>
                      <a:pt x="73" y="46"/>
                    </a:moveTo>
                    <a:lnTo>
                      <a:pt x="71" y="46"/>
                    </a:lnTo>
                    <a:lnTo>
                      <a:pt x="73" y="46"/>
                    </a:lnTo>
                    <a:close/>
                    <a:moveTo>
                      <a:pt x="87" y="50"/>
                    </a:moveTo>
                    <a:lnTo>
                      <a:pt x="87" y="52"/>
                    </a:lnTo>
                    <a:lnTo>
                      <a:pt x="87" y="50"/>
                    </a:lnTo>
                    <a:close/>
                    <a:moveTo>
                      <a:pt x="94" y="54"/>
                    </a:moveTo>
                    <a:lnTo>
                      <a:pt x="94" y="52"/>
                    </a:lnTo>
                    <a:lnTo>
                      <a:pt x="94" y="54"/>
                    </a:lnTo>
                    <a:close/>
                    <a:moveTo>
                      <a:pt x="69" y="44"/>
                    </a:moveTo>
                    <a:lnTo>
                      <a:pt x="69" y="46"/>
                    </a:lnTo>
                    <a:lnTo>
                      <a:pt x="69" y="44"/>
                    </a:lnTo>
                    <a:close/>
                    <a:moveTo>
                      <a:pt x="89" y="50"/>
                    </a:moveTo>
                    <a:lnTo>
                      <a:pt x="87" y="50"/>
                    </a:lnTo>
                    <a:lnTo>
                      <a:pt x="89" y="50"/>
                    </a:lnTo>
                    <a:close/>
                    <a:moveTo>
                      <a:pt x="92" y="52"/>
                    </a:moveTo>
                    <a:lnTo>
                      <a:pt x="91" y="52"/>
                    </a:lnTo>
                    <a:lnTo>
                      <a:pt x="92" y="52"/>
                    </a:lnTo>
                    <a:lnTo>
                      <a:pt x="91" y="52"/>
                    </a:lnTo>
                    <a:lnTo>
                      <a:pt x="92" y="52"/>
                    </a:lnTo>
                    <a:lnTo>
                      <a:pt x="91" y="52"/>
                    </a:lnTo>
                    <a:lnTo>
                      <a:pt x="92" y="52"/>
                    </a:lnTo>
                    <a:close/>
                    <a:moveTo>
                      <a:pt x="89" y="50"/>
                    </a:moveTo>
                    <a:lnTo>
                      <a:pt x="87" y="50"/>
                    </a:lnTo>
                    <a:lnTo>
                      <a:pt x="89" y="50"/>
                    </a:lnTo>
                    <a:close/>
                    <a:moveTo>
                      <a:pt x="71" y="44"/>
                    </a:moveTo>
                    <a:lnTo>
                      <a:pt x="71" y="46"/>
                    </a:lnTo>
                    <a:lnTo>
                      <a:pt x="71" y="44"/>
                    </a:lnTo>
                    <a:close/>
                    <a:moveTo>
                      <a:pt x="69" y="44"/>
                    </a:moveTo>
                    <a:lnTo>
                      <a:pt x="71" y="44"/>
                    </a:lnTo>
                    <a:lnTo>
                      <a:pt x="69" y="44"/>
                    </a:lnTo>
                    <a:close/>
                    <a:moveTo>
                      <a:pt x="96" y="54"/>
                    </a:moveTo>
                    <a:lnTo>
                      <a:pt x="96" y="52"/>
                    </a:lnTo>
                    <a:lnTo>
                      <a:pt x="96" y="54"/>
                    </a:lnTo>
                    <a:close/>
                    <a:moveTo>
                      <a:pt x="71" y="46"/>
                    </a:moveTo>
                    <a:lnTo>
                      <a:pt x="71" y="44"/>
                    </a:lnTo>
                    <a:lnTo>
                      <a:pt x="71" y="46"/>
                    </a:lnTo>
                    <a:close/>
                    <a:moveTo>
                      <a:pt x="94" y="52"/>
                    </a:moveTo>
                    <a:lnTo>
                      <a:pt x="92" y="52"/>
                    </a:lnTo>
                    <a:lnTo>
                      <a:pt x="94" y="52"/>
                    </a:lnTo>
                    <a:close/>
                    <a:moveTo>
                      <a:pt x="91" y="50"/>
                    </a:moveTo>
                    <a:lnTo>
                      <a:pt x="89" y="50"/>
                    </a:lnTo>
                    <a:lnTo>
                      <a:pt x="91" y="50"/>
                    </a:lnTo>
                    <a:close/>
                    <a:moveTo>
                      <a:pt x="94" y="52"/>
                    </a:moveTo>
                    <a:lnTo>
                      <a:pt x="96" y="52"/>
                    </a:lnTo>
                    <a:lnTo>
                      <a:pt x="94" y="52"/>
                    </a:lnTo>
                    <a:close/>
                    <a:moveTo>
                      <a:pt x="73" y="46"/>
                    </a:moveTo>
                    <a:lnTo>
                      <a:pt x="73" y="44"/>
                    </a:lnTo>
                    <a:lnTo>
                      <a:pt x="73" y="46"/>
                    </a:lnTo>
                    <a:close/>
                    <a:moveTo>
                      <a:pt x="87" y="50"/>
                    </a:moveTo>
                    <a:lnTo>
                      <a:pt x="87" y="48"/>
                    </a:lnTo>
                    <a:lnTo>
                      <a:pt x="87" y="50"/>
                    </a:lnTo>
                    <a:close/>
                    <a:moveTo>
                      <a:pt x="98" y="54"/>
                    </a:moveTo>
                    <a:lnTo>
                      <a:pt x="98" y="52"/>
                    </a:lnTo>
                    <a:lnTo>
                      <a:pt x="98" y="54"/>
                    </a:lnTo>
                    <a:close/>
                    <a:moveTo>
                      <a:pt x="73" y="44"/>
                    </a:moveTo>
                    <a:lnTo>
                      <a:pt x="73" y="46"/>
                    </a:lnTo>
                    <a:lnTo>
                      <a:pt x="73" y="44"/>
                    </a:lnTo>
                    <a:close/>
                    <a:moveTo>
                      <a:pt x="87" y="48"/>
                    </a:moveTo>
                    <a:lnTo>
                      <a:pt x="87" y="50"/>
                    </a:lnTo>
                    <a:lnTo>
                      <a:pt x="87" y="48"/>
                    </a:lnTo>
                    <a:lnTo>
                      <a:pt x="87" y="50"/>
                    </a:lnTo>
                    <a:lnTo>
                      <a:pt x="87" y="48"/>
                    </a:lnTo>
                    <a:close/>
                    <a:moveTo>
                      <a:pt x="75" y="46"/>
                    </a:moveTo>
                    <a:lnTo>
                      <a:pt x="75" y="44"/>
                    </a:lnTo>
                    <a:lnTo>
                      <a:pt x="75" y="46"/>
                    </a:lnTo>
                    <a:close/>
                    <a:moveTo>
                      <a:pt x="92" y="50"/>
                    </a:moveTo>
                    <a:lnTo>
                      <a:pt x="91" y="50"/>
                    </a:lnTo>
                    <a:lnTo>
                      <a:pt x="92" y="50"/>
                    </a:lnTo>
                    <a:close/>
                    <a:moveTo>
                      <a:pt x="75" y="44"/>
                    </a:moveTo>
                    <a:lnTo>
                      <a:pt x="75" y="46"/>
                    </a:lnTo>
                    <a:lnTo>
                      <a:pt x="75" y="44"/>
                    </a:lnTo>
                    <a:close/>
                    <a:moveTo>
                      <a:pt x="75" y="44"/>
                    </a:moveTo>
                    <a:lnTo>
                      <a:pt x="75" y="46"/>
                    </a:lnTo>
                    <a:lnTo>
                      <a:pt x="75" y="44"/>
                    </a:lnTo>
                    <a:close/>
                    <a:moveTo>
                      <a:pt x="85" y="48"/>
                    </a:moveTo>
                    <a:lnTo>
                      <a:pt x="87" y="48"/>
                    </a:lnTo>
                    <a:lnTo>
                      <a:pt x="85" y="48"/>
                    </a:lnTo>
                    <a:close/>
                    <a:moveTo>
                      <a:pt x="104" y="54"/>
                    </a:moveTo>
                    <a:lnTo>
                      <a:pt x="102" y="54"/>
                    </a:lnTo>
                    <a:lnTo>
                      <a:pt x="104" y="54"/>
                    </a:lnTo>
                    <a:close/>
                    <a:moveTo>
                      <a:pt x="94" y="50"/>
                    </a:moveTo>
                    <a:lnTo>
                      <a:pt x="94" y="52"/>
                    </a:lnTo>
                    <a:lnTo>
                      <a:pt x="94" y="50"/>
                    </a:lnTo>
                    <a:close/>
                    <a:moveTo>
                      <a:pt x="89" y="48"/>
                    </a:moveTo>
                    <a:lnTo>
                      <a:pt x="89" y="50"/>
                    </a:lnTo>
                    <a:lnTo>
                      <a:pt x="89" y="48"/>
                    </a:lnTo>
                    <a:close/>
                    <a:moveTo>
                      <a:pt x="102" y="52"/>
                    </a:moveTo>
                    <a:lnTo>
                      <a:pt x="100" y="52"/>
                    </a:lnTo>
                    <a:lnTo>
                      <a:pt x="102" y="52"/>
                    </a:lnTo>
                    <a:close/>
                    <a:moveTo>
                      <a:pt x="96" y="52"/>
                    </a:moveTo>
                    <a:lnTo>
                      <a:pt x="94" y="52"/>
                    </a:lnTo>
                    <a:lnTo>
                      <a:pt x="94" y="50"/>
                    </a:lnTo>
                    <a:lnTo>
                      <a:pt x="96" y="52"/>
                    </a:lnTo>
                    <a:close/>
                    <a:moveTo>
                      <a:pt x="104" y="54"/>
                    </a:moveTo>
                    <a:lnTo>
                      <a:pt x="102" y="54"/>
                    </a:lnTo>
                    <a:lnTo>
                      <a:pt x="104" y="54"/>
                    </a:lnTo>
                    <a:close/>
                    <a:moveTo>
                      <a:pt x="79" y="44"/>
                    </a:moveTo>
                    <a:lnTo>
                      <a:pt x="79" y="46"/>
                    </a:lnTo>
                    <a:lnTo>
                      <a:pt x="77" y="46"/>
                    </a:lnTo>
                    <a:lnTo>
                      <a:pt x="79" y="46"/>
                    </a:lnTo>
                    <a:lnTo>
                      <a:pt x="79" y="44"/>
                    </a:lnTo>
                    <a:close/>
                    <a:moveTo>
                      <a:pt x="91" y="48"/>
                    </a:moveTo>
                    <a:lnTo>
                      <a:pt x="91" y="50"/>
                    </a:lnTo>
                    <a:lnTo>
                      <a:pt x="91" y="48"/>
                    </a:lnTo>
                    <a:close/>
                    <a:moveTo>
                      <a:pt x="89" y="48"/>
                    </a:moveTo>
                    <a:lnTo>
                      <a:pt x="89" y="50"/>
                    </a:lnTo>
                    <a:lnTo>
                      <a:pt x="89" y="48"/>
                    </a:lnTo>
                    <a:close/>
                    <a:moveTo>
                      <a:pt x="73" y="42"/>
                    </a:moveTo>
                    <a:lnTo>
                      <a:pt x="73" y="44"/>
                    </a:lnTo>
                    <a:lnTo>
                      <a:pt x="73" y="42"/>
                    </a:lnTo>
                    <a:close/>
                    <a:moveTo>
                      <a:pt x="91" y="48"/>
                    </a:moveTo>
                    <a:lnTo>
                      <a:pt x="89" y="48"/>
                    </a:lnTo>
                    <a:lnTo>
                      <a:pt x="91" y="48"/>
                    </a:lnTo>
                    <a:close/>
                    <a:moveTo>
                      <a:pt x="87" y="46"/>
                    </a:moveTo>
                    <a:lnTo>
                      <a:pt x="87" y="48"/>
                    </a:lnTo>
                    <a:lnTo>
                      <a:pt x="87" y="46"/>
                    </a:lnTo>
                    <a:close/>
                    <a:moveTo>
                      <a:pt x="87" y="48"/>
                    </a:moveTo>
                    <a:lnTo>
                      <a:pt x="87" y="46"/>
                    </a:lnTo>
                    <a:lnTo>
                      <a:pt x="87" y="48"/>
                    </a:lnTo>
                    <a:close/>
                    <a:moveTo>
                      <a:pt x="92" y="48"/>
                    </a:moveTo>
                    <a:lnTo>
                      <a:pt x="92" y="50"/>
                    </a:lnTo>
                    <a:lnTo>
                      <a:pt x="92" y="48"/>
                    </a:lnTo>
                    <a:close/>
                    <a:moveTo>
                      <a:pt x="91" y="48"/>
                    </a:moveTo>
                    <a:lnTo>
                      <a:pt x="89" y="48"/>
                    </a:lnTo>
                    <a:lnTo>
                      <a:pt x="91" y="48"/>
                    </a:lnTo>
                    <a:close/>
                    <a:moveTo>
                      <a:pt x="102" y="52"/>
                    </a:moveTo>
                    <a:lnTo>
                      <a:pt x="100" y="52"/>
                    </a:lnTo>
                    <a:lnTo>
                      <a:pt x="102" y="52"/>
                    </a:lnTo>
                    <a:close/>
                    <a:moveTo>
                      <a:pt x="91" y="48"/>
                    </a:moveTo>
                    <a:lnTo>
                      <a:pt x="92" y="48"/>
                    </a:lnTo>
                    <a:lnTo>
                      <a:pt x="91" y="48"/>
                    </a:lnTo>
                    <a:close/>
                    <a:moveTo>
                      <a:pt x="102" y="52"/>
                    </a:moveTo>
                    <a:lnTo>
                      <a:pt x="100" y="52"/>
                    </a:lnTo>
                    <a:lnTo>
                      <a:pt x="102" y="52"/>
                    </a:lnTo>
                    <a:close/>
                    <a:moveTo>
                      <a:pt x="75" y="42"/>
                    </a:moveTo>
                    <a:lnTo>
                      <a:pt x="75" y="44"/>
                    </a:lnTo>
                    <a:lnTo>
                      <a:pt x="75" y="42"/>
                    </a:lnTo>
                    <a:close/>
                    <a:moveTo>
                      <a:pt x="92" y="48"/>
                    </a:moveTo>
                    <a:lnTo>
                      <a:pt x="91" y="48"/>
                    </a:lnTo>
                    <a:lnTo>
                      <a:pt x="92" y="48"/>
                    </a:lnTo>
                    <a:close/>
                    <a:moveTo>
                      <a:pt x="106" y="54"/>
                    </a:moveTo>
                    <a:lnTo>
                      <a:pt x="106" y="52"/>
                    </a:lnTo>
                    <a:lnTo>
                      <a:pt x="106" y="54"/>
                    </a:lnTo>
                    <a:close/>
                    <a:moveTo>
                      <a:pt x="94" y="50"/>
                    </a:moveTo>
                    <a:lnTo>
                      <a:pt x="94" y="48"/>
                    </a:lnTo>
                    <a:lnTo>
                      <a:pt x="94" y="50"/>
                    </a:lnTo>
                    <a:close/>
                    <a:moveTo>
                      <a:pt x="94" y="50"/>
                    </a:moveTo>
                    <a:lnTo>
                      <a:pt x="94" y="48"/>
                    </a:lnTo>
                    <a:lnTo>
                      <a:pt x="94" y="50"/>
                    </a:lnTo>
                    <a:close/>
                    <a:moveTo>
                      <a:pt x="92" y="48"/>
                    </a:moveTo>
                    <a:lnTo>
                      <a:pt x="94" y="48"/>
                    </a:lnTo>
                    <a:lnTo>
                      <a:pt x="92" y="48"/>
                    </a:lnTo>
                    <a:close/>
                    <a:moveTo>
                      <a:pt x="92" y="48"/>
                    </a:moveTo>
                    <a:lnTo>
                      <a:pt x="91" y="48"/>
                    </a:lnTo>
                    <a:lnTo>
                      <a:pt x="92" y="48"/>
                    </a:lnTo>
                    <a:close/>
                    <a:moveTo>
                      <a:pt x="94" y="48"/>
                    </a:moveTo>
                    <a:lnTo>
                      <a:pt x="92" y="48"/>
                    </a:lnTo>
                    <a:lnTo>
                      <a:pt x="94" y="48"/>
                    </a:lnTo>
                    <a:close/>
                    <a:moveTo>
                      <a:pt x="102" y="50"/>
                    </a:moveTo>
                    <a:lnTo>
                      <a:pt x="102" y="52"/>
                    </a:lnTo>
                    <a:lnTo>
                      <a:pt x="102" y="50"/>
                    </a:lnTo>
                    <a:close/>
                    <a:moveTo>
                      <a:pt x="102" y="50"/>
                    </a:moveTo>
                    <a:lnTo>
                      <a:pt x="102" y="52"/>
                    </a:lnTo>
                    <a:lnTo>
                      <a:pt x="102" y="50"/>
                    </a:lnTo>
                    <a:close/>
                    <a:moveTo>
                      <a:pt x="96" y="48"/>
                    </a:moveTo>
                    <a:lnTo>
                      <a:pt x="96" y="50"/>
                    </a:lnTo>
                    <a:lnTo>
                      <a:pt x="94" y="50"/>
                    </a:lnTo>
                    <a:lnTo>
                      <a:pt x="96" y="48"/>
                    </a:lnTo>
                    <a:lnTo>
                      <a:pt x="94" y="48"/>
                    </a:lnTo>
                    <a:lnTo>
                      <a:pt x="96" y="48"/>
                    </a:lnTo>
                    <a:close/>
                    <a:moveTo>
                      <a:pt x="89" y="46"/>
                    </a:moveTo>
                    <a:lnTo>
                      <a:pt x="89" y="48"/>
                    </a:lnTo>
                    <a:lnTo>
                      <a:pt x="89" y="46"/>
                    </a:lnTo>
                    <a:lnTo>
                      <a:pt x="91" y="46"/>
                    </a:lnTo>
                    <a:lnTo>
                      <a:pt x="89" y="46"/>
                    </a:lnTo>
                    <a:close/>
                    <a:moveTo>
                      <a:pt x="89" y="46"/>
                    </a:moveTo>
                    <a:lnTo>
                      <a:pt x="91" y="46"/>
                    </a:lnTo>
                    <a:lnTo>
                      <a:pt x="89" y="46"/>
                    </a:lnTo>
                    <a:close/>
                    <a:moveTo>
                      <a:pt x="89" y="46"/>
                    </a:moveTo>
                    <a:lnTo>
                      <a:pt x="87" y="46"/>
                    </a:lnTo>
                    <a:lnTo>
                      <a:pt x="89" y="46"/>
                    </a:lnTo>
                    <a:close/>
                    <a:moveTo>
                      <a:pt x="92" y="48"/>
                    </a:moveTo>
                    <a:lnTo>
                      <a:pt x="92" y="46"/>
                    </a:lnTo>
                    <a:lnTo>
                      <a:pt x="92" y="48"/>
                    </a:lnTo>
                    <a:close/>
                    <a:moveTo>
                      <a:pt x="104" y="52"/>
                    </a:moveTo>
                    <a:lnTo>
                      <a:pt x="104" y="50"/>
                    </a:lnTo>
                    <a:lnTo>
                      <a:pt x="104" y="52"/>
                    </a:lnTo>
                    <a:close/>
                    <a:moveTo>
                      <a:pt x="79" y="42"/>
                    </a:moveTo>
                    <a:lnTo>
                      <a:pt x="77" y="42"/>
                    </a:lnTo>
                    <a:lnTo>
                      <a:pt x="79" y="42"/>
                    </a:lnTo>
                    <a:close/>
                    <a:moveTo>
                      <a:pt x="104" y="52"/>
                    </a:moveTo>
                    <a:lnTo>
                      <a:pt x="104" y="50"/>
                    </a:lnTo>
                    <a:lnTo>
                      <a:pt x="104" y="52"/>
                    </a:lnTo>
                    <a:close/>
                    <a:moveTo>
                      <a:pt x="104" y="52"/>
                    </a:moveTo>
                    <a:lnTo>
                      <a:pt x="104" y="50"/>
                    </a:lnTo>
                    <a:lnTo>
                      <a:pt x="104" y="52"/>
                    </a:lnTo>
                    <a:close/>
                    <a:moveTo>
                      <a:pt x="106" y="52"/>
                    </a:moveTo>
                    <a:lnTo>
                      <a:pt x="106" y="50"/>
                    </a:lnTo>
                    <a:lnTo>
                      <a:pt x="106" y="52"/>
                    </a:lnTo>
                    <a:close/>
                    <a:moveTo>
                      <a:pt x="98" y="50"/>
                    </a:moveTo>
                    <a:lnTo>
                      <a:pt x="98" y="48"/>
                    </a:lnTo>
                    <a:lnTo>
                      <a:pt x="98" y="50"/>
                    </a:lnTo>
                    <a:close/>
                    <a:moveTo>
                      <a:pt x="108" y="52"/>
                    </a:moveTo>
                    <a:lnTo>
                      <a:pt x="106" y="52"/>
                    </a:lnTo>
                    <a:lnTo>
                      <a:pt x="108" y="52"/>
                    </a:lnTo>
                    <a:close/>
                    <a:moveTo>
                      <a:pt x="108" y="52"/>
                    </a:moveTo>
                    <a:lnTo>
                      <a:pt x="106" y="52"/>
                    </a:lnTo>
                    <a:lnTo>
                      <a:pt x="108" y="52"/>
                    </a:lnTo>
                    <a:close/>
                    <a:moveTo>
                      <a:pt x="100" y="50"/>
                    </a:moveTo>
                    <a:lnTo>
                      <a:pt x="102" y="50"/>
                    </a:lnTo>
                    <a:lnTo>
                      <a:pt x="100" y="50"/>
                    </a:lnTo>
                    <a:close/>
                    <a:moveTo>
                      <a:pt x="94" y="48"/>
                    </a:moveTo>
                    <a:lnTo>
                      <a:pt x="94" y="46"/>
                    </a:lnTo>
                    <a:lnTo>
                      <a:pt x="94" y="48"/>
                    </a:lnTo>
                    <a:close/>
                    <a:moveTo>
                      <a:pt x="94" y="46"/>
                    </a:moveTo>
                    <a:lnTo>
                      <a:pt x="94" y="48"/>
                    </a:lnTo>
                    <a:lnTo>
                      <a:pt x="94" y="46"/>
                    </a:lnTo>
                    <a:close/>
                    <a:moveTo>
                      <a:pt x="94" y="46"/>
                    </a:moveTo>
                    <a:lnTo>
                      <a:pt x="94" y="48"/>
                    </a:lnTo>
                    <a:lnTo>
                      <a:pt x="94" y="46"/>
                    </a:lnTo>
                    <a:close/>
                    <a:moveTo>
                      <a:pt x="102" y="50"/>
                    </a:moveTo>
                    <a:lnTo>
                      <a:pt x="102" y="48"/>
                    </a:lnTo>
                    <a:lnTo>
                      <a:pt x="102" y="50"/>
                    </a:lnTo>
                    <a:close/>
                    <a:moveTo>
                      <a:pt x="108" y="50"/>
                    </a:moveTo>
                    <a:lnTo>
                      <a:pt x="108" y="52"/>
                    </a:lnTo>
                    <a:lnTo>
                      <a:pt x="108" y="50"/>
                    </a:lnTo>
                    <a:close/>
                    <a:moveTo>
                      <a:pt x="91" y="46"/>
                    </a:moveTo>
                    <a:lnTo>
                      <a:pt x="91" y="44"/>
                    </a:lnTo>
                    <a:lnTo>
                      <a:pt x="91" y="46"/>
                    </a:lnTo>
                    <a:close/>
                    <a:moveTo>
                      <a:pt x="110" y="50"/>
                    </a:moveTo>
                    <a:lnTo>
                      <a:pt x="108" y="52"/>
                    </a:lnTo>
                    <a:lnTo>
                      <a:pt x="110" y="50"/>
                    </a:lnTo>
                    <a:close/>
                    <a:moveTo>
                      <a:pt x="77" y="40"/>
                    </a:moveTo>
                    <a:lnTo>
                      <a:pt x="75" y="40"/>
                    </a:lnTo>
                    <a:lnTo>
                      <a:pt x="77" y="40"/>
                    </a:lnTo>
                    <a:close/>
                    <a:moveTo>
                      <a:pt x="96" y="46"/>
                    </a:moveTo>
                    <a:lnTo>
                      <a:pt x="96" y="48"/>
                    </a:lnTo>
                    <a:lnTo>
                      <a:pt x="96" y="46"/>
                    </a:lnTo>
                    <a:close/>
                    <a:moveTo>
                      <a:pt x="91" y="46"/>
                    </a:moveTo>
                    <a:lnTo>
                      <a:pt x="91" y="44"/>
                    </a:lnTo>
                    <a:lnTo>
                      <a:pt x="91" y="46"/>
                    </a:lnTo>
                    <a:close/>
                    <a:moveTo>
                      <a:pt x="92" y="46"/>
                    </a:moveTo>
                    <a:lnTo>
                      <a:pt x="91" y="46"/>
                    </a:lnTo>
                    <a:lnTo>
                      <a:pt x="92" y="46"/>
                    </a:lnTo>
                    <a:close/>
                    <a:moveTo>
                      <a:pt x="104" y="48"/>
                    </a:moveTo>
                    <a:lnTo>
                      <a:pt x="104" y="50"/>
                    </a:lnTo>
                    <a:lnTo>
                      <a:pt x="104" y="48"/>
                    </a:lnTo>
                    <a:close/>
                    <a:moveTo>
                      <a:pt x="91" y="44"/>
                    </a:moveTo>
                    <a:lnTo>
                      <a:pt x="89" y="44"/>
                    </a:lnTo>
                    <a:lnTo>
                      <a:pt x="91" y="44"/>
                    </a:lnTo>
                    <a:close/>
                    <a:moveTo>
                      <a:pt x="91" y="44"/>
                    </a:moveTo>
                    <a:lnTo>
                      <a:pt x="89" y="44"/>
                    </a:lnTo>
                    <a:lnTo>
                      <a:pt x="91" y="44"/>
                    </a:lnTo>
                    <a:close/>
                    <a:moveTo>
                      <a:pt x="108" y="50"/>
                    </a:moveTo>
                    <a:lnTo>
                      <a:pt x="106" y="50"/>
                    </a:lnTo>
                    <a:lnTo>
                      <a:pt x="108" y="50"/>
                    </a:lnTo>
                    <a:close/>
                    <a:moveTo>
                      <a:pt x="98" y="48"/>
                    </a:moveTo>
                    <a:lnTo>
                      <a:pt x="98" y="46"/>
                    </a:lnTo>
                    <a:lnTo>
                      <a:pt x="98" y="48"/>
                    </a:lnTo>
                    <a:close/>
                    <a:moveTo>
                      <a:pt x="81" y="42"/>
                    </a:moveTo>
                    <a:lnTo>
                      <a:pt x="81" y="40"/>
                    </a:lnTo>
                    <a:lnTo>
                      <a:pt x="81" y="42"/>
                    </a:lnTo>
                    <a:close/>
                    <a:moveTo>
                      <a:pt x="94" y="46"/>
                    </a:moveTo>
                    <a:lnTo>
                      <a:pt x="94" y="44"/>
                    </a:lnTo>
                    <a:lnTo>
                      <a:pt x="94" y="46"/>
                    </a:lnTo>
                    <a:close/>
                    <a:moveTo>
                      <a:pt x="98" y="46"/>
                    </a:moveTo>
                    <a:lnTo>
                      <a:pt x="96" y="46"/>
                    </a:lnTo>
                    <a:lnTo>
                      <a:pt x="98" y="46"/>
                    </a:lnTo>
                    <a:close/>
                    <a:moveTo>
                      <a:pt x="96" y="46"/>
                    </a:moveTo>
                    <a:lnTo>
                      <a:pt x="94" y="46"/>
                    </a:lnTo>
                    <a:lnTo>
                      <a:pt x="96" y="46"/>
                    </a:lnTo>
                    <a:close/>
                    <a:moveTo>
                      <a:pt x="77" y="38"/>
                    </a:moveTo>
                    <a:lnTo>
                      <a:pt x="77" y="40"/>
                    </a:lnTo>
                    <a:lnTo>
                      <a:pt x="77" y="38"/>
                    </a:lnTo>
                    <a:close/>
                    <a:moveTo>
                      <a:pt x="92" y="44"/>
                    </a:moveTo>
                    <a:lnTo>
                      <a:pt x="91" y="44"/>
                    </a:lnTo>
                    <a:lnTo>
                      <a:pt x="92" y="44"/>
                    </a:lnTo>
                    <a:close/>
                    <a:moveTo>
                      <a:pt x="104" y="48"/>
                    </a:moveTo>
                    <a:lnTo>
                      <a:pt x="102" y="48"/>
                    </a:lnTo>
                    <a:lnTo>
                      <a:pt x="104" y="48"/>
                    </a:lnTo>
                    <a:close/>
                    <a:moveTo>
                      <a:pt x="98" y="46"/>
                    </a:moveTo>
                    <a:lnTo>
                      <a:pt x="100" y="46"/>
                    </a:lnTo>
                    <a:lnTo>
                      <a:pt x="98" y="46"/>
                    </a:lnTo>
                    <a:close/>
                    <a:moveTo>
                      <a:pt x="94" y="44"/>
                    </a:moveTo>
                    <a:lnTo>
                      <a:pt x="94" y="46"/>
                    </a:lnTo>
                    <a:lnTo>
                      <a:pt x="94" y="44"/>
                    </a:lnTo>
                    <a:close/>
                    <a:moveTo>
                      <a:pt x="110" y="50"/>
                    </a:moveTo>
                    <a:lnTo>
                      <a:pt x="110" y="48"/>
                    </a:lnTo>
                    <a:lnTo>
                      <a:pt x="110" y="50"/>
                    </a:lnTo>
                    <a:close/>
                    <a:moveTo>
                      <a:pt x="110" y="48"/>
                    </a:moveTo>
                    <a:lnTo>
                      <a:pt x="110" y="50"/>
                    </a:lnTo>
                    <a:lnTo>
                      <a:pt x="110" y="48"/>
                    </a:lnTo>
                    <a:close/>
                    <a:moveTo>
                      <a:pt x="91" y="44"/>
                    </a:moveTo>
                    <a:lnTo>
                      <a:pt x="91" y="42"/>
                    </a:lnTo>
                    <a:lnTo>
                      <a:pt x="91" y="44"/>
                    </a:lnTo>
                    <a:close/>
                    <a:moveTo>
                      <a:pt x="77" y="38"/>
                    </a:moveTo>
                    <a:lnTo>
                      <a:pt x="79" y="38"/>
                    </a:lnTo>
                    <a:lnTo>
                      <a:pt x="77" y="38"/>
                    </a:lnTo>
                    <a:close/>
                    <a:moveTo>
                      <a:pt x="91" y="42"/>
                    </a:moveTo>
                    <a:lnTo>
                      <a:pt x="91" y="44"/>
                    </a:lnTo>
                    <a:lnTo>
                      <a:pt x="91" y="42"/>
                    </a:lnTo>
                    <a:close/>
                    <a:moveTo>
                      <a:pt x="79" y="38"/>
                    </a:moveTo>
                    <a:lnTo>
                      <a:pt x="79" y="40"/>
                    </a:lnTo>
                    <a:lnTo>
                      <a:pt x="79" y="38"/>
                    </a:lnTo>
                    <a:close/>
                    <a:moveTo>
                      <a:pt x="77" y="38"/>
                    </a:moveTo>
                    <a:lnTo>
                      <a:pt x="79" y="38"/>
                    </a:lnTo>
                    <a:lnTo>
                      <a:pt x="77" y="38"/>
                    </a:lnTo>
                    <a:close/>
                    <a:moveTo>
                      <a:pt x="94" y="44"/>
                    </a:moveTo>
                    <a:lnTo>
                      <a:pt x="92" y="44"/>
                    </a:lnTo>
                    <a:lnTo>
                      <a:pt x="94" y="44"/>
                    </a:lnTo>
                    <a:close/>
                    <a:moveTo>
                      <a:pt x="91" y="42"/>
                    </a:moveTo>
                    <a:lnTo>
                      <a:pt x="89" y="42"/>
                    </a:lnTo>
                    <a:lnTo>
                      <a:pt x="91" y="42"/>
                    </a:lnTo>
                    <a:close/>
                    <a:moveTo>
                      <a:pt x="100" y="46"/>
                    </a:moveTo>
                    <a:lnTo>
                      <a:pt x="100" y="44"/>
                    </a:lnTo>
                    <a:lnTo>
                      <a:pt x="100" y="46"/>
                    </a:lnTo>
                    <a:close/>
                    <a:moveTo>
                      <a:pt x="91" y="42"/>
                    </a:moveTo>
                    <a:lnTo>
                      <a:pt x="92" y="42"/>
                    </a:lnTo>
                    <a:lnTo>
                      <a:pt x="91" y="42"/>
                    </a:lnTo>
                    <a:close/>
                    <a:moveTo>
                      <a:pt x="100" y="44"/>
                    </a:moveTo>
                    <a:lnTo>
                      <a:pt x="100" y="46"/>
                    </a:lnTo>
                    <a:lnTo>
                      <a:pt x="100" y="44"/>
                    </a:lnTo>
                    <a:close/>
                    <a:moveTo>
                      <a:pt x="89" y="42"/>
                    </a:moveTo>
                    <a:lnTo>
                      <a:pt x="89" y="40"/>
                    </a:lnTo>
                    <a:lnTo>
                      <a:pt x="89" y="42"/>
                    </a:lnTo>
                    <a:close/>
                    <a:moveTo>
                      <a:pt x="104" y="46"/>
                    </a:moveTo>
                    <a:lnTo>
                      <a:pt x="102" y="46"/>
                    </a:lnTo>
                    <a:lnTo>
                      <a:pt x="104" y="46"/>
                    </a:lnTo>
                    <a:close/>
                    <a:moveTo>
                      <a:pt x="79" y="38"/>
                    </a:moveTo>
                    <a:lnTo>
                      <a:pt x="81" y="38"/>
                    </a:lnTo>
                    <a:lnTo>
                      <a:pt x="79" y="38"/>
                    </a:lnTo>
                    <a:close/>
                    <a:moveTo>
                      <a:pt x="94" y="44"/>
                    </a:moveTo>
                    <a:lnTo>
                      <a:pt x="94" y="42"/>
                    </a:lnTo>
                    <a:lnTo>
                      <a:pt x="94" y="44"/>
                    </a:lnTo>
                    <a:close/>
                    <a:moveTo>
                      <a:pt x="98" y="44"/>
                    </a:moveTo>
                    <a:lnTo>
                      <a:pt x="100" y="44"/>
                    </a:lnTo>
                    <a:lnTo>
                      <a:pt x="98" y="44"/>
                    </a:lnTo>
                    <a:close/>
                    <a:moveTo>
                      <a:pt x="108" y="46"/>
                    </a:moveTo>
                    <a:lnTo>
                      <a:pt x="106" y="46"/>
                    </a:lnTo>
                    <a:lnTo>
                      <a:pt x="108" y="46"/>
                    </a:lnTo>
                    <a:close/>
                    <a:moveTo>
                      <a:pt x="108" y="46"/>
                    </a:moveTo>
                    <a:lnTo>
                      <a:pt x="106" y="46"/>
                    </a:lnTo>
                    <a:lnTo>
                      <a:pt x="108" y="46"/>
                    </a:lnTo>
                    <a:close/>
                    <a:moveTo>
                      <a:pt x="83" y="38"/>
                    </a:moveTo>
                    <a:lnTo>
                      <a:pt x="81" y="38"/>
                    </a:lnTo>
                    <a:lnTo>
                      <a:pt x="83" y="38"/>
                    </a:lnTo>
                    <a:close/>
                    <a:moveTo>
                      <a:pt x="96" y="42"/>
                    </a:moveTo>
                    <a:lnTo>
                      <a:pt x="94" y="42"/>
                    </a:lnTo>
                    <a:lnTo>
                      <a:pt x="96" y="42"/>
                    </a:lnTo>
                    <a:close/>
                    <a:moveTo>
                      <a:pt x="108" y="46"/>
                    </a:moveTo>
                    <a:lnTo>
                      <a:pt x="106" y="46"/>
                    </a:lnTo>
                    <a:lnTo>
                      <a:pt x="108" y="46"/>
                    </a:lnTo>
                    <a:close/>
                    <a:moveTo>
                      <a:pt x="100" y="44"/>
                    </a:moveTo>
                    <a:lnTo>
                      <a:pt x="98" y="44"/>
                    </a:lnTo>
                    <a:lnTo>
                      <a:pt x="100" y="44"/>
                    </a:lnTo>
                    <a:close/>
                    <a:moveTo>
                      <a:pt x="92" y="40"/>
                    </a:moveTo>
                    <a:lnTo>
                      <a:pt x="92" y="42"/>
                    </a:lnTo>
                    <a:lnTo>
                      <a:pt x="92" y="40"/>
                    </a:lnTo>
                    <a:close/>
                    <a:moveTo>
                      <a:pt x="104" y="46"/>
                    </a:moveTo>
                    <a:lnTo>
                      <a:pt x="104" y="44"/>
                    </a:lnTo>
                    <a:lnTo>
                      <a:pt x="104" y="46"/>
                    </a:lnTo>
                    <a:close/>
                    <a:moveTo>
                      <a:pt x="87" y="40"/>
                    </a:moveTo>
                    <a:lnTo>
                      <a:pt x="87" y="38"/>
                    </a:lnTo>
                    <a:lnTo>
                      <a:pt x="87" y="40"/>
                    </a:lnTo>
                    <a:close/>
                    <a:moveTo>
                      <a:pt x="104" y="44"/>
                    </a:moveTo>
                    <a:lnTo>
                      <a:pt x="106" y="46"/>
                    </a:lnTo>
                    <a:lnTo>
                      <a:pt x="104" y="46"/>
                    </a:lnTo>
                    <a:lnTo>
                      <a:pt x="104" y="44"/>
                    </a:lnTo>
                    <a:close/>
                    <a:moveTo>
                      <a:pt x="79" y="36"/>
                    </a:moveTo>
                    <a:lnTo>
                      <a:pt x="81" y="36"/>
                    </a:lnTo>
                    <a:lnTo>
                      <a:pt x="79" y="36"/>
                    </a:lnTo>
                    <a:close/>
                    <a:moveTo>
                      <a:pt x="92" y="40"/>
                    </a:moveTo>
                    <a:lnTo>
                      <a:pt x="92" y="42"/>
                    </a:lnTo>
                    <a:lnTo>
                      <a:pt x="92" y="40"/>
                    </a:lnTo>
                    <a:close/>
                    <a:moveTo>
                      <a:pt x="100" y="44"/>
                    </a:moveTo>
                    <a:lnTo>
                      <a:pt x="100" y="42"/>
                    </a:lnTo>
                    <a:lnTo>
                      <a:pt x="100" y="44"/>
                    </a:lnTo>
                    <a:close/>
                    <a:moveTo>
                      <a:pt x="94" y="42"/>
                    </a:moveTo>
                    <a:lnTo>
                      <a:pt x="94" y="40"/>
                    </a:lnTo>
                    <a:lnTo>
                      <a:pt x="94" y="42"/>
                    </a:lnTo>
                    <a:close/>
                    <a:moveTo>
                      <a:pt x="94" y="40"/>
                    </a:moveTo>
                    <a:lnTo>
                      <a:pt x="94" y="42"/>
                    </a:lnTo>
                    <a:lnTo>
                      <a:pt x="94" y="40"/>
                    </a:lnTo>
                    <a:close/>
                    <a:moveTo>
                      <a:pt x="94" y="40"/>
                    </a:moveTo>
                    <a:lnTo>
                      <a:pt x="94" y="42"/>
                    </a:lnTo>
                    <a:lnTo>
                      <a:pt x="94" y="40"/>
                    </a:lnTo>
                    <a:close/>
                    <a:moveTo>
                      <a:pt x="83" y="38"/>
                    </a:moveTo>
                    <a:lnTo>
                      <a:pt x="83" y="36"/>
                    </a:lnTo>
                    <a:lnTo>
                      <a:pt x="83" y="38"/>
                    </a:lnTo>
                    <a:close/>
                    <a:moveTo>
                      <a:pt x="83" y="36"/>
                    </a:moveTo>
                    <a:lnTo>
                      <a:pt x="83" y="38"/>
                    </a:lnTo>
                    <a:lnTo>
                      <a:pt x="83" y="36"/>
                    </a:lnTo>
                    <a:close/>
                    <a:moveTo>
                      <a:pt x="83" y="38"/>
                    </a:moveTo>
                    <a:lnTo>
                      <a:pt x="85" y="38"/>
                    </a:lnTo>
                    <a:lnTo>
                      <a:pt x="83" y="38"/>
                    </a:lnTo>
                    <a:close/>
                    <a:moveTo>
                      <a:pt x="96" y="42"/>
                    </a:moveTo>
                    <a:lnTo>
                      <a:pt x="96" y="40"/>
                    </a:lnTo>
                    <a:lnTo>
                      <a:pt x="96" y="42"/>
                    </a:lnTo>
                    <a:close/>
                    <a:moveTo>
                      <a:pt x="102" y="42"/>
                    </a:moveTo>
                    <a:lnTo>
                      <a:pt x="102" y="44"/>
                    </a:lnTo>
                    <a:lnTo>
                      <a:pt x="102" y="42"/>
                    </a:lnTo>
                    <a:close/>
                    <a:moveTo>
                      <a:pt x="85" y="38"/>
                    </a:moveTo>
                    <a:lnTo>
                      <a:pt x="85" y="36"/>
                    </a:lnTo>
                    <a:lnTo>
                      <a:pt x="85" y="38"/>
                    </a:lnTo>
                    <a:close/>
                    <a:moveTo>
                      <a:pt x="85" y="36"/>
                    </a:moveTo>
                    <a:lnTo>
                      <a:pt x="83" y="36"/>
                    </a:lnTo>
                    <a:lnTo>
                      <a:pt x="85" y="36"/>
                    </a:lnTo>
                    <a:close/>
                    <a:moveTo>
                      <a:pt x="94" y="40"/>
                    </a:moveTo>
                    <a:lnTo>
                      <a:pt x="92" y="40"/>
                    </a:lnTo>
                    <a:lnTo>
                      <a:pt x="94" y="40"/>
                    </a:lnTo>
                    <a:close/>
                    <a:moveTo>
                      <a:pt x="98" y="42"/>
                    </a:moveTo>
                    <a:lnTo>
                      <a:pt x="98" y="40"/>
                    </a:lnTo>
                    <a:lnTo>
                      <a:pt x="98" y="42"/>
                    </a:lnTo>
                    <a:close/>
                    <a:moveTo>
                      <a:pt x="87" y="36"/>
                    </a:moveTo>
                    <a:lnTo>
                      <a:pt x="85" y="38"/>
                    </a:lnTo>
                    <a:lnTo>
                      <a:pt x="85" y="36"/>
                    </a:lnTo>
                    <a:lnTo>
                      <a:pt x="87" y="36"/>
                    </a:lnTo>
                    <a:close/>
                    <a:moveTo>
                      <a:pt x="85" y="36"/>
                    </a:moveTo>
                    <a:lnTo>
                      <a:pt x="83" y="36"/>
                    </a:lnTo>
                    <a:lnTo>
                      <a:pt x="85" y="36"/>
                    </a:lnTo>
                    <a:close/>
                    <a:moveTo>
                      <a:pt x="83" y="36"/>
                    </a:moveTo>
                    <a:lnTo>
                      <a:pt x="83" y="35"/>
                    </a:lnTo>
                    <a:lnTo>
                      <a:pt x="83" y="36"/>
                    </a:lnTo>
                    <a:close/>
                    <a:moveTo>
                      <a:pt x="104" y="42"/>
                    </a:moveTo>
                    <a:lnTo>
                      <a:pt x="102" y="42"/>
                    </a:lnTo>
                    <a:lnTo>
                      <a:pt x="104" y="42"/>
                    </a:lnTo>
                    <a:close/>
                    <a:moveTo>
                      <a:pt x="98" y="40"/>
                    </a:moveTo>
                    <a:lnTo>
                      <a:pt x="96" y="40"/>
                    </a:lnTo>
                    <a:lnTo>
                      <a:pt x="98" y="40"/>
                    </a:lnTo>
                    <a:close/>
                    <a:moveTo>
                      <a:pt x="96" y="38"/>
                    </a:moveTo>
                    <a:lnTo>
                      <a:pt x="96" y="40"/>
                    </a:lnTo>
                    <a:lnTo>
                      <a:pt x="96" y="38"/>
                    </a:lnTo>
                    <a:close/>
                    <a:moveTo>
                      <a:pt x="83" y="36"/>
                    </a:moveTo>
                    <a:lnTo>
                      <a:pt x="83" y="35"/>
                    </a:lnTo>
                    <a:lnTo>
                      <a:pt x="83" y="36"/>
                    </a:lnTo>
                    <a:close/>
                    <a:moveTo>
                      <a:pt x="106" y="42"/>
                    </a:moveTo>
                    <a:lnTo>
                      <a:pt x="108" y="42"/>
                    </a:lnTo>
                    <a:lnTo>
                      <a:pt x="106" y="42"/>
                    </a:lnTo>
                    <a:close/>
                    <a:moveTo>
                      <a:pt x="106" y="42"/>
                    </a:moveTo>
                    <a:lnTo>
                      <a:pt x="108" y="42"/>
                    </a:lnTo>
                    <a:lnTo>
                      <a:pt x="106" y="42"/>
                    </a:lnTo>
                    <a:close/>
                    <a:moveTo>
                      <a:pt x="106" y="40"/>
                    </a:moveTo>
                    <a:lnTo>
                      <a:pt x="106" y="42"/>
                    </a:lnTo>
                    <a:lnTo>
                      <a:pt x="106" y="40"/>
                    </a:lnTo>
                    <a:close/>
                    <a:moveTo>
                      <a:pt x="108" y="42"/>
                    </a:moveTo>
                    <a:lnTo>
                      <a:pt x="106" y="42"/>
                    </a:lnTo>
                    <a:lnTo>
                      <a:pt x="108" y="42"/>
                    </a:lnTo>
                    <a:close/>
                    <a:moveTo>
                      <a:pt x="85" y="35"/>
                    </a:moveTo>
                    <a:lnTo>
                      <a:pt x="83" y="35"/>
                    </a:lnTo>
                    <a:lnTo>
                      <a:pt x="85" y="35"/>
                    </a:lnTo>
                    <a:close/>
                    <a:moveTo>
                      <a:pt x="85" y="35"/>
                    </a:moveTo>
                    <a:lnTo>
                      <a:pt x="87" y="35"/>
                    </a:lnTo>
                    <a:lnTo>
                      <a:pt x="85" y="35"/>
                    </a:lnTo>
                    <a:close/>
                    <a:moveTo>
                      <a:pt x="106" y="40"/>
                    </a:moveTo>
                    <a:lnTo>
                      <a:pt x="104" y="40"/>
                    </a:lnTo>
                    <a:lnTo>
                      <a:pt x="106" y="40"/>
                    </a:lnTo>
                    <a:close/>
                    <a:moveTo>
                      <a:pt x="87" y="35"/>
                    </a:moveTo>
                    <a:lnTo>
                      <a:pt x="87" y="33"/>
                    </a:lnTo>
                    <a:lnTo>
                      <a:pt x="87" y="35"/>
                    </a:lnTo>
                    <a:close/>
                    <a:moveTo>
                      <a:pt x="92" y="35"/>
                    </a:moveTo>
                    <a:lnTo>
                      <a:pt x="91" y="35"/>
                    </a:lnTo>
                    <a:lnTo>
                      <a:pt x="92" y="35"/>
                    </a:lnTo>
                    <a:close/>
                    <a:moveTo>
                      <a:pt x="81" y="31"/>
                    </a:moveTo>
                    <a:lnTo>
                      <a:pt x="81" y="33"/>
                    </a:lnTo>
                    <a:lnTo>
                      <a:pt x="81" y="31"/>
                    </a:lnTo>
                    <a:close/>
                    <a:moveTo>
                      <a:pt x="89" y="33"/>
                    </a:moveTo>
                    <a:lnTo>
                      <a:pt x="87" y="33"/>
                    </a:lnTo>
                    <a:lnTo>
                      <a:pt x="89" y="33"/>
                    </a:lnTo>
                    <a:close/>
                    <a:moveTo>
                      <a:pt x="94" y="35"/>
                    </a:moveTo>
                    <a:lnTo>
                      <a:pt x="92" y="35"/>
                    </a:lnTo>
                    <a:lnTo>
                      <a:pt x="94" y="35"/>
                    </a:lnTo>
                    <a:close/>
                    <a:moveTo>
                      <a:pt x="100" y="36"/>
                    </a:moveTo>
                    <a:lnTo>
                      <a:pt x="100" y="38"/>
                    </a:lnTo>
                    <a:lnTo>
                      <a:pt x="100" y="36"/>
                    </a:lnTo>
                    <a:close/>
                    <a:moveTo>
                      <a:pt x="81" y="31"/>
                    </a:moveTo>
                    <a:lnTo>
                      <a:pt x="83" y="31"/>
                    </a:lnTo>
                    <a:lnTo>
                      <a:pt x="81" y="31"/>
                    </a:lnTo>
                    <a:close/>
                    <a:moveTo>
                      <a:pt x="102" y="38"/>
                    </a:moveTo>
                    <a:lnTo>
                      <a:pt x="102" y="36"/>
                    </a:lnTo>
                    <a:lnTo>
                      <a:pt x="102" y="38"/>
                    </a:lnTo>
                    <a:close/>
                    <a:moveTo>
                      <a:pt x="98" y="36"/>
                    </a:moveTo>
                    <a:lnTo>
                      <a:pt x="100" y="36"/>
                    </a:lnTo>
                    <a:lnTo>
                      <a:pt x="98" y="36"/>
                    </a:lnTo>
                    <a:close/>
                    <a:moveTo>
                      <a:pt x="91" y="35"/>
                    </a:moveTo>
                    <a:lnTo>
                      <a:pt x="91" y="33"/>
                    </a:lnTo>
                    <a:lnTo>
                      <a:pt x="91" y="35"/>
                    </a:lnTo>
                    <a:close/>
                    <a:moveTo>
                      <a:pt x="83" y="33"/>
                    </a:moveTo>
                    <a:lnTo>
                      <a:pt x="83" y="31"/>
                    </a:lnTo>
                    <a:lnTo>
                      <a:pt x="83" y="33"/>
                    </a:lnTo>
                    <a:close/>
                    <a:moveTo>
                      <a:pt x="94" y="35"/>
                    </a:moveTo>
                    <a:lnTo>
                      <a:pt x="94" y="36"/>
                    </a:lnTo>
                    <a:lnTo>
                      <a:pt x="94" y="35"/>
                    </a:lnTo>
                    <a:lnTo>
                      <a:pt x="94" y="36"/>
                    </a:lnTo>
                    <a:lnTo>
                      <a:pt x="94" y="35"/>
                    </a:lnTo>
                    <a:close/>
                    <a:moveTo>
                      <a:pt x="85" y="31"/>
                    </a:moveTo>
                    <a:lnTo>
                      <a:pt x="85" y="33"/>
                    </a:lnTo>
                    <a:lnTo>
                      <a:pt x="85" y="31"/>
                    </a:lnTo>
                    <a:close/>
                    <a:moveTo>
                      <a:pt x="108" y="38"/>
                    </a:moveTo>
                    <a:lnTo>
                      <a:pt x="106" y="38"/>
                    </a:lnTo>
                    <a:lnTo>
                      <a:pt x="108" y="38"/>
                    </a:lnTo>
                    <a:close/>
                    <a:moveTo>
                      <a:pt x="85" y="31"/>
                    </a:moveTo>
                    <a:lnTo>
                      <a:pt x="83" y="31"/>
                    </a:lnTo>
                    <a:lnTo>
                      <a:pt x="85" y="31"/>
                    </a:lnTo>
                    <a:close/>
                    <a:moveTo>
                      <a:pt x="92" y="33"/>
                    </a:moveTo>
                    <a:lnTo>
                      <a:pt x="91" y="33"/>
                    </a:lnTo>
                    <a:lnTo>
                      <a:pt x="92" y="33"/>
                    </a:lnTo>
                    <a:close/>
                    <a:moveTo>
                      <a:pt x="92" y="35"/>
                    </a:moveTo>
                    <a:lnTo>
                      <a:pt x="92" y="33"/>
                    </a:lnTo>
                    <a:lnTo>
                      <a:pt x="92" y="35"/>
                    </a:lnTo>
                    <a:close/>
                    <a:moveTo>
                      <a:pt x="100" y="36"/>
                    </a:moveTo>
                    <a:lnTo>
                      <a:pt x="102" y="36"/>
                    </a:lnTo>
                    <a:lnTo>
                      <a:pt x="100" y="36"/>
                    </a:lnTo>
                    <a:close/>
                    <a:moveTo>
                      <a:pt x="92" y="33"/>
                    </a:moveTo>
                    <a:lnTo>
                      <a:pt x="92" y="35"/>
                    </a:lnTo>
                    <a:lnTo>
                      <a:pt x="92" y="33"/>
                    </a:lnTo>
                    <a:close/>
                    <a:moveTo>
                      <a:pt x="108" y="38"/>
                    </a:moveTo>
                    <a:lnTo>
                      <a:pt x="108" y="36"/>
                    </a:lnTo>
                    <a:lnTo>
                      <a:pt x="108" y="38"/>
                    </a:lnTo>
                    <a:close/>
                    <a:moveTo>
                      <a:pt x="108" y="38"/>
                    </a:moveTo>
                    <a:lnTo>
                      <a:pt x="108" y="36"/>
                    </a:lnTo>
                    <a:lnTo>
                      <a:pt x="108" y="38"/>
                    </a:lnTo>
                    <a:close/>
                    <a:moveTo>
                      <a:pt x="79" y="29"/>
                    </a:moveTo>
                    <a:lnTo>
                      <a:pt x="77" y="29"/>
                    </a:lnTo>
                    <a:lnTo>
                      <a:pt x="79" y="29"/>
                    </a:lnTo>
                    <a:close/>
                    <a:moveTo>
                      <a:pt x="85" y="31"/>
                    </a:moveTo>
                    <a:lnTo>
                      <a:pt x="87" y="31"/>
                    </a:lnTo>
                    <a:lnTo>
                      <a:pt x="85" y="31"/>
                    </a:lnTo>
                    <a:close/>
                    <a:moveTo>
                      <a:pt x="102" y="36"/>
                    </a:moveTo>
                    <a:lnTo>
                      <a:pt x="102" y="35"/>
                    </a:lnTo>
                    <a:lnTo>
                      <a:pt x="102" y="36"/>
                    </a:lnTo>
                    <a:close/>
                    <a:moveTo>
                      <a:pt x="104" y="35"/>
                    </a:moveTo>
                    <a:lnTo>
                      <a:pt x="104" y="36"/>
                    </a:lnTo>
                    <a:lnTo>
                      <a:pt x="104" y="35"/>
                    </a:lnTo>
                    <a:close/>
                    <a:moveTo>
                      <a:pt x="102" y="35"/>
                    </a:moveTo>
                    <a:lnTo>
                      <a:pt x="100" y="35"/>
                    </a:lnTo>
                    <a:lnTo>
                      <a:pt x="102" y="35"/>
                    </a:lnTo>
                    <a:close/>
                    <a:moveTo>
                      <a:pt x="98" y="35"/>
                    </a:moveTo>
                    <a:lnTo>
                      <a:pt x="100" y="35"/>
                    </a:lnTo>
                    <a:lnTo>
                      <a:pt x="98" y="35"/>
                    </a:lnTo>
                    <a:close/>
                    <a:moveTo>
                      <a:pt x="91" y="31"/>
                    </a:moveTo>
                    <a:lnTo>
                      <a:pt x="89" y="31"/>
                    </a:lnTo>
                    <a:lnTo>
                      <a:pt x="91" y="31"/>
                    </a:lnTo>
                    <a:close/>
                    <a:moveTo>
                      <a:pt x="102" y="35"/>
                    </a:moveTo>
                    <a:lnTo>
                      <a:pt x="102" y="36"/>
                    </a:lnTo>
                    <a:lnTo>
                      <a:pt x="102" y="35"/>
                    </a:lnTo>
                    <a:lnTo>
                      <a:pt x="102" y="36"/>
                    </a:lnTo>
                    <a:lnTo>
                      <a:pt x="102" y="35"/>
                    </a:lnTo>
                    <a:close/>
                    <a:moveTo>
                      <a:pt x="104" y="35"/>
                    </a:moveTo>
                    <a:lnTo>
                      <a:pt x="104" y="36"/>
                    </a:lnTo>
                    <a:lnTo>
                      <a:pt x="104" y="35"/>
                    </a:lnTo>
                    <a:close/>
                    <a:moveTo>
                      <a:pt x="92" y="31"/>
                    </a:moveTo>
                    <a:lnTo>
                      <a:pt x="91" y="31"/>
                    </a:lnTo>
                    <a:lnTo>
                      <a:pt x="92" y="31"/>
                    </a:lnTo>
                    <a:close/>
                    <a:moveTo>
                      <a:pt x="87" y="31"/>
                    </a:moveTo>
                    <a:lnTo>
                      <a:pt x="87" y="29"/>
                    </a:lnTo>
                    <a:lnTo>
                      <a:pt x="87" y="31"/>
                    </a:lnTo>
                    <a:close/>
                    <a:moveTo>
                      <a:pt x="94" y="31"/>
                    </a:moveTo>
                    <a:lnTo>
                      <a:pt x="92" y="31"/>
                    </a:lnTo>
                    <a:lnTo>
                      <a:pt x="94" y="31"/>
                    </a:lnTo>
                    <a:close/>
                    <a:moveTo>
                      <a:pt x="98" y="33"/>
                    </a:moveTo>
                    <a:lnTo>
                      <a:pt x="100" y="33"/>
                    </a:lnTo>
                    <a:lnTo>
                      <a:pt x="98" y="33"/>
                    </a:lnTo>
                    <a:close/>
                    <a:moveTo>
                      <a:pt x="104" y="35"/>
                    </a:moveTo>
                    <a:lnTo>
                      <a:pt x="102" y="35"/>
                    </a:lnTo>
                    <a:lnTo>
                      <a:pt x="104" y="35"/>
                    </a:lnTo>
                    <a:close/>
                    <a:moveTo>
                      <a:pt x="89" y="29"/>
                    </a:moveTo>
                    <a:lnTo>
                      <a:pt x="89" y="31"/>
                    </a:lnTo>
                    <a:lnTo>
                      <a:pt x="89" y="29"/>
                    </a:lnTo>
                    <a:close/>
                    <a:moveTo>
                      <a:pt x="108" y="36"/>
                    </a:moveTo>
                    <a:lnTo>
                      <a:pt x="108" y="35"/>
                    </a:lnTo>
                    <a:lnTo>
                      <a:pt x="108" y="36"/>
                    </a:lnTo>
                    <a:lnTo>
                      <a:pt x="108" y="35"/>
                    </a:lnTo>
                    <a:lnTo>
                      <a:pt x="108" y="36"/>
                    </a:lnTo>
                    <a:close/>
                    <a:moveTo>
                      <a:pt x="110" y="36"/>
                    </a:moveTo>
                    <a:lnTo>
                      <a:pt x="108" y="36"/>
                    </a:lnTo>
                    <a:lnTo>
                      <a:pt x="108" y="35"/>
                    </a:lnTo>
                    <a:lnTo>
                      <a:pt x="110" y="35"/>
                    </a:lnTo>
                    <a:lnTo>
                      <a:pt x="110" y="36"/>
                    </a:lnTo>
                    <a:close/>
                    <a:moveTo>
                      <a:pt x="110" y="35"/>
                    </a:moveTo>
                    <a:lnTo>
                      <a:pt x="108" y="35"/>
                    </a:lnTo>
                    <a:lnTo>
                      <a:pt x="110" y="35"/>
                    </a:lnTo>
                    <a:close/>
                    <a:moveTo>
                      <a:pt x="108" y="35"/>
                    </a:moveTo>
                    <a:lnTo>
                      <a:pt x="108" y="36"/>
                    </a:lnTo>
                    <a:lnTo>
                      <a:pt x="108" y="35"/>
                    </a:lnTo>
                    <a:close/>
                    <a:moveTo>
                      <a:pt x="110" y="36"/>
                    </a:moveTo>
                    <a:lnTo>
                      <a:pt x="110" y="35"/>
                    </a:lnTo>
                    <a:lnTo>
                      <a:pt x="110" y="36"/>
                    </a:lnTo>
                    <a:close/>
                    <a:moveTo>
                      <a:pt x="110" y="35"/>
                    </a:moveTo>
                    <a:lnTo>
                      <a:pt x="108" y="35"/>
                    </a:lnTo>
                    <a:lnTo>
                      <a:pt x="110" y="35"/>
                    </a:lnTo>
                    <a:close/>
                    <a:moveTo>
                      <a:pt x="94" y="31"/>
                    </a:moveTo>
                    <a:lnTo>
                      <a:pt x="92" y="31"/>
                    </a:lnTo>
                    <a:lnTo>
                      <a:pt x="94" y="31"/>
                    </a:lnTo>
                    <a:close/>
                    <a:moveTo>
                      <a:pt x="110" y="35"/>
                    </a:moveTo>
                    <a:lnTo>
                      <a:pt x="108" y="35"/>
                    </a:lnTo>
                    <a:lnTo>
                      <a:pt x="110" y="35"/>
                    </a:lnTo>
                    <a:close/>
                    <a:moveTo>
                      <a:pt x="104" y="35"/>
                    </a:moveTo>
                    <a:lnTo>
                      <a:pt x="104" y="33"/>
                    </a:lnTo>
                    <a:lnTo>
                      <a:pt x="104" y="35"/>
                    </a:lnTo>
                    <a:close/>
                    <a:moveTo>
                      <a:pt x="108" y="35"/>
                    </a:moveTo>
                    <a:lnTo>
                      <a:pt x="110" y="35"/>
                    </a:lnTo>
                    <a:lnTo>
                      <a:pt x="108" y="35"/>
                    </a:lnTo>
                    <a:close/>
                    <a:moveTo>
                      <a:pt x="108" y="35"/>
                    </a:moveTo>
                    <a:lnTo>
                      <a:pt x="110" y="35"/>
                    </a:lnTo>
                    <a:lnTo>
                      <a:pt x="108" y="35"/>
                    </a:lnTo>
                    <a:close/>
                    <a:moveTo>
                      <a:pt x="102" y="33"/>
                    </a:moveTo>
                    <a:lnTo>
                      <a:pt x="104" y="33"/>
                    </a:lnTo>
                    <a:lnTo>
                      <a:pt x="102" y="33"/>
                    </a:lnTo>
                    <a:close/>
                    <a:moveTo>
                      <a:pt x="94" y="29"/>
                    </a:moveTo>
                    <a:lnTo>
                      <a:pt x="94" y="31"/>
                    </a:lnTo>
                    <a:lnTo>
                      <a:pt x="94" y="29"/>
                    </a:lnTo>
                    <a:close/>
                    <a:moveTo>
                      <a:pt x="92" y="29"/>
                    </a:moveTo>
                    <a:lnTo>
                      <a:pt x="92" y="31"/>
                    </a:lnTo>
                    <a:lnTo>
                      <a:pt x="92" y="29"/>
                    </a:lnTo>
                    <a:close/>
                    <a:moveTo>
                      <a:pt x="94" y="29"/>
                    </a:moveTo>
                    <a:lnTo>
                      <a:pt x="92" y="29"/>
                    </a:lnTo>
                    <a:lnTo>
                      <a:pt x="94" y="29"/>
                    </a:lnTo>
                    <a:close/>
                    <a:moveTo>
                      <a:pt x="106" y="35"/>
                    </a:moveTo>
                    <a:lnTo>
                      <a:pt x="106" y="33"/>
                    </a:lnTo>
                    <a:lnTo>
                      <a:pt x="106" y="35"/>
                    </a:lnTo>
                    <a:close/>
                    <a:moveTo>
                      <a:pt x="94" y="31"/>
                    </a:moveTo>
                    <a:lnTo>
                      <a:pt x="96" y="31"/>
                    </a:lnTo>
                    <a:lnTo>
                      <a:pt x="94" y="31"/>
                    </a:lnTo>
                    <a:close/>
                    <a:moveTo>
                      <a:pt x="104" y="33"/>
                    </a:moveTo>
                    <a:lnTo>
                      <a:pt x="104" y="31"/>
                    </a:lnTo>
                    <a:lnTo>
                      <a:pt x="104" y="33"/>
                    </a:lnTo>
                    <a:close/>
                    <a:moveTo>
                      <a:pt x="106" y="33"/>
                    </a:moveTo>
                    <a:lnTo>
                      <a:pt x="104" y="33"/>
                    </a:lnTo>
                    <a:lnTo>
                      <a:pt x="106" y="33"/>
                    </a:lnTo>
                    <a:close/>
                    <a:moveTo>
                      <a:pt x="104" y="33"/>
                    </a:moveTo>
                    <a:lnTo>
                      <a:pt x="104" y="31"/>
                    </a:lnTo>
                    <a:lnTo>
                      <a:pt x="104" y="33"/>
                    </a:lnTo>
                    <a:close/>
                    <a:moveTo>
                      <a:pt x="104" y="33"/>
                    </a:moveTo>
                    <a:lnTo>
                      <a:pt x="104" y="31"/>
                    </a:lnTo>
                    <a:lnTo>
                      <a:pt x="104" y="33"/>
                    </a:lnTo>
                    <a:close/>
                    <a:moveTo>
                      <a:pt x="104" y="31"/>
                    </a:moveTo>
                    <a:lnTo>
                      <a:pt x="102" y="31"/>
                    </a:lnTo>
                    <a:lnTo>
                      <a:pt x="104" y="31"/>
                    </a:lnTo>
                    <a:close/>
                    <a:moveTo>
                      <a:pt x="96" y="29"/>
                    </a:moveTo>
                    <a:lnTo>
                      <a:pt x="94" y="29"/>
                    </a:lnTo>
                    <a:lnTo>
                      <a:pt x="96" y="29"/>
                    </a:lnTo>
                    <a:lnTo>
                      <a:pt x="94" y="29"/>
                    </a:lnTo>
                    <a:lnTo>
                      <a:pt x="96" y="29"/>
                    </a:lnTo>
                    <a:close/>
                    <a:moveTo>
                      <a:pt x="92" y="27"/>
                    </a:moveTo>
                    <a:lnTo>
                      <a:pt x="92" y="29"/>
                    </a:lnTo>
                    <a:lnTo>
                      <a:pt x="92" y="27"/>
                    </a:lnTo>
                    <a:close/>
                    <a:moveTo>
                      <a:pt x="108" y="31"/>
                    </a:moveTo>
                    <a:lnTo>
                      <a:pt x="108" y="33"/>
                    </a:lnTo>
                    <a:lnTo>
                      <a:pt x="108" y="31"/>
                    </a:lnTo>
                    <a:close/>
                    <a:moveTo>
                      <a:pt x="106" y="31"/>
                    </a:moveTo>
                    <a:lnTo>
                      <a:pt x="106" y="29"/>
                    </a:lnTo>
                    <a:lnTo>
                      <a:pt x="106" y="31"/>
                    </a:lnTo>
                    <a:close/>
                    <a:moveTo>
                      <a:pt x="112" y="31"/>
                    </a:moveTo>
                    <a:lnTo>
                      <a:pt x="112" y="33"/>
                    </a:lnTo>
                    <a:lnTo>
                      <a:pt x="112" y="31"/>
                    </a:lnTo>
                    <a:close/>
                    <a:moveTo>
                      <a:pt x="94" y="27"/>
                    </a:moveTo>
                    <a:lnTo>
                      <a:pt x="96" y="27"/>
                    </a:lnTo>
                    <a:lnTo>
                      <a:pt x="94" y="27"/>
                    </a:lnTo>
                    <a:close/>
                    <a:moveTo>
                      <a:pt x="114" y="31"/>
                    </a:moveTo>
                    <a:lnTo>
                      <a:pt x="114" y="33"/>
                    </a:lnTo>
                    <a:lnTo>
                      <a:pt x="114" y="31"/>
                    </a:lnTo>
                    <a:close/>
                    <a:moveTo>
                      <a:pt x="92" y="25"/>
                    </a:moveTo>
                    <a:lnTo>
                      <a:pt x="94" y="25"/>
                    </a:lnTo>
                    <a:lnTo>
                      <a:pt x="92" y="25"/>
                    </a:lnTo>
                    <a:close/>
                    <a:moveTo>
                      <a:pt x="108" y="29"/>
                    </a:moveTo>
                    <a:lnTo>
                      <a:pt x="106" y="29"/>
                    </a:lnTo>
                    <a:lnTo>
                      <a:pt x="108" y="29"/>
                    </a:lnTo>
                    <a:close/>
                    <a:moveTo>
                      <a:pt x="96" y="27"/>
                    </a:moveTo>
                    <a:lnTo>
                      <a:pt x="96" y="25"/>
                    </a:lnTo>
                    <a:lnTo>
                      <a:pt x="96" y="27"/>
                    </a:lnTo>
                    <a:close/>
                    <a:moveTo>
                      <a:pt x="106" y="29"/>
                    </a:moveTo>
                    <a:lnTo>
                      <a:pt x="104" y="29"/>
                    </a:lnTo>
                    <a:lnTo>
                      <a:pt x="106" y="29"/>
                    </a:lnTo>
                    <a:close/>
                    <a:moveTo>
                      <a:pt x="98" y="27"/>
                    </a:moveTo>
                    <a:lnTo>
                      <a:pt x="96" y="27"/>
                    </a:lnTo>
                    <a:lnTo>
                      <a:pt x="98" y="27"/>
                    </a:lnTo>
                    <a:close/>
                    <a:moveTo>
                      <a:pt x="96" y="25"/>
                    </a:moveTo>
                    <a:lnTo>
                      <a:pt x="96" y="27"/>
                    </a:lnTo>
                    <a:lnTo>
                      <a:pt x="96" y="25"/>
                    </a:lnTo>
                    <a:close/>
                    <a:moveTo>
                      <a:pt x="108" y="29"/>
                    </a:moveTo>
                    <a:lnTo>
                      <a:pt x="106" y="29"/>
                    </a:lnTo>
                    <a:lnTo>
                      <a:pt x="108" y="29"/>
                    </a:lnTo>
                    <a:close/>
                    <a:moveTo>
                      <a:pt x="117" y="33"/>
                    </a:moveTo>
                    <a:lnTo>
                      <a:pt x="116" y="31"/>
                    </a:lnTo>
                    <a:lnTo>
                      <a:pt x="117" y="33"/>
                    </a:lnTo>
                    <a:close/>
                    <a:moveTo>
                      <a:pt x="94" y="25"/>
                    </a:moveTo>
                    <a:lnTo>
                      <a:pt x="92" y="25"/>
                    </a:lnTo>
                    <a:lnTo>
                      <a:pt x="94" y="25"/>
                    </a:lnTo>
                    <a:close/>
                    <a:moveTo>
                      <a:pt x="106" y="29"/>
                    </a:moveTo>
                    <a:lnTo>
                      <a:pt x="106" y="27"/>
                    </a:lnTo>
                    <a:lnTo>
                      <a:pt x="106" y="29"/>
                    </a:lnTo>
                    <a:close/>
                    <a:moveTo>
                      <a:pt x="106" y="27"/>
                    </a:moveTo>
                    <a:lnTo>
                      <a:pt x="104" y="27"/>
                    </a:lnTo>
                    <a:lnTo>
                      <a:pt x="104" y="29"/>
                    </a:lnTo>
                    <a:lnTo>
                      <a:pt x="104" y="27"/>
                    </a:lnTo>
                    <a:lnTo>
                      <a:pt x="106" y="27"/>
                    </a:lnTo>
                    <a:close/>
                    <a:moveTo>
                      <a:pt x="106" y="29"/>
                    </a:moveTo>
                    <a:lnTo>
                      <a:pt x="106" y="27"/>
                    </a:lnTo>
                    <a:lnTo>
                      <a:pt x="106" y="29"/>
                    </a:lnTo>
                    <a:close/>
                    <a:moveTo>
                      <a:pt x="92" y="23"/>
                    </a:moveTo>
                    <a:lnTo>
                      <a:pt x="94" y="23"/>
                    </a:lnTo>
                    <a:lnTo>
                      <a:pt x="92" y="23"/>
                    </a:lnTo>
                    <a:close/>
                    <a:moveTo>
                      <a:pt x="108" y="29"/>
                    </a:moveTo>
                    <a:lnTo>
                      <a:pt x="106" y="29"/>
                    </a:lnTo>
                    <a:lnTo>
                      <a:pt x="108" y="29"/>
                    </a:lnTo>
                    <a:close/>
                    <a:moveTo>
                      <a:pt x="108" y="29"/>
                    </a:moveTo>
                    <a:lnTo>
                      <a:pt x="108" y="27"/>
                    </a:lnTo>
                    <a:lnTo>
                      <a:pt x="108" y="29"/>
                    </a:lnTo>
                    <a:close/>
                    <a:moveTo>
                      <a:pt x="94" y="23"/>
                    </a:moveTo>
                    <a:lnTo>
                      <a:pt x="94" y="25"/>
                    </a:lnTo>
                    <a:lnTo>
                      <a:pt x="94" y="23"/>
                    </a:lnTo>
                    <a:close/>
                    <a:moveTo>
                      <a:pt x="96" y="23"/>
                    </a:moveTo>
                    <a:lnTo>
                      <a:pt x="94" y="23"/>
                    </a:lnTo>
                    <a:lnTo>
                      <a:pt x="96" y="23"/>
                    </a:lnTo>
                    <a:close/>
                    <a:moveTo>
                      <a:pt x="110" y="29"/>
                    </a:moveTo>
                    <a:lnTo>
                      <a:pt x="110" y="27"/>
                    </a:lnTo>
                    <a:lnTo>
                      <a:pt x="110" y="29"/>
                    </a:lnTo>
                    <a:close/>
                    <a:moveTo>
                      <a:pt x="94" y="23"/>
                    </a:moveTo>
                    <a:lnTo>
                      <a:pt x="92" y="23"/>
                    </a:lnTo>
                    <a:lnTo>
                      <a:pt x="94" y="23"/>
                    </a:lnTo>
                    <a:close/>
                    <a:moveTo>
                      <a:pt x="112" y="29"/>
                    </a:moveTo>
                    <a:lnTo>
                      <a:pt x="112" y="27"/>
                    </a:lnTo>
                    <a:lnTo>
                      <a:pt x="112" y="29"/>
                    </a:lnTo>
                    <a:close/>
                    <a:moveTo>
                      <a:pt x="106" y="27"/>
                    </a:moveTo>
                    <a:lnTo>
                      <a:pt x="106" y="25"/>
                    </a:lnTo>
                    <a:lnTo>
                      <a:pt x="106" y="27"/>
                    </a:lnTo>
                    <a:lnTo>
                      <a:pt x="106" y="25"/>
                    </a:lnTo>
                    <a:lnTo>
                      <a:pt x="106" y="27"/>
                    </a:lnTo>
                    <a:close/>
                    <a:moveTo>
                      <a:pt x="108" y="27"/>
                    </a:moveTo>
                    <a:lnTo>
                      <a:pt x="108" y="25"/>
                    </a:lnTo>
                    <a:lnTo>
                      <a:pt x="108" y="27"/>
                    </a:lnTo>
                    <a:close/>
                    <a:moveTo>
                      <a:pt x="96" y="21"/>
                    </a:moveTo>
                    <a:lnTo>
                      <a:pt x="96" y="23"/>
                    </a:lnTo>
                    <a:lnTo>
                      <a:pt x="96" y="21"/>
                    </a:lnTo>
                    <a:close/>
                    <a:moveTo>
                      <a:pt x="110" y="27"/>
                    </a:moveTo>
                    <a:lnTo>
                      <a:pt x="110" y="25"/>
                    </a:lnTo>
                    <a:lnTo>
                      <a:pt x="110" y="27"/>
                    </a:lnTo>
                    <a:close/>
                    <a:moveTo>
                      <a:pt x="112" y="25"/>
                    </a:moveTo>
                    <a:lnTo>
                      <a:pt x="112" y="27"/>
                    </a:lnTo>
                    <a:lnTo>
                      <a:pt x="112" y="25"/>
                    </a:lnTo>
                    <a:close/>
                    <a:moveTo>
                      <a:pt x="108" y="23"/>
                    </a:moveTo>
                    <a:lnTo>
                      <a:pt x="108" y="25"/>
                    </a:lnTo>
                    <a:lnTo>
                      <a:pt x="108" y="23"/>
                    </a:lnTo>
                    <a:close/>
                    <a:moveTo>
                      <a:pt x="108" y="23"/>
                    </a:moveTo>
                    <a:lnTo>
                      <a:pt x="108" y="25"/>
                    </a:lnTo>
                    <a:lnTo>
                      <a:pt x="108" y="23"/>
                    </a:lnTo>
                    <a:close/>
                    <a:moveTo>
                      <a:pt x="110" y="25"/>
                    </a:moveTo>
                    <a:lnTo>
                      <a:pt x="112" y="25"/>
                    </a:lnTo>
                    <a:lnTo>
                      <a:pt x="110" y="25"/>
                    </a:lnTo>
                    <a:close/>
                    <a:moveTo>
                      <a:pt x="108" y="23"/>
                    </a:moveTo>
                    <a:lnTo>
                      <a:pt x="108" y="25"/>
                    </a:lnTo>
                    <a:lnTo>
                      <a:pt x="108" y="23"/>
                    </a:lnTo>
                    <a:close/>
                    <a:moveTo>
                      <a:pt x="112" y="25"/>
                    </a:moveTo>
                    <a:lnTo>
                      <a:pt x="110" y="25"/>
                    </a:lnTo>
                    <a:lnTo>
                      <a:pt x="112" y="25"/>
                    </a:lnTo>
                    <a:close/>
                    <a:moveTo>
                      <a:pt x="110" y="23"/>
                    </a:moveTo>
                    <a:lnTo>
                      <a:pt x="108" y="23"/>
                    </a:lnTo>
                    <a:lnTo>
                      <a:pt x="110" y="23"/>
                    </a:lnTo>
                    <a:close/>
                    <a:moveTo>
                      <a:pt x="110" y="23"/>
                    </a:moveTo>
                    <a:lnTo>
                      <a:pt x="108" y="23"/>
                    </a:lnTo>
                    <a:lnTo>
                      <a:pt x="110" y="23"/>
                    </a:lnTo>
                    <a:close/>
                    <a:moveTo>
                      <a:pt x="112" y="23"/>
                    </a:moveTo>
                    <a:lnTo>
                      <a:pt x="112" y="25"/>
                    </a:lnTo>
                    <a:lnTo>
                      <a:pt x="112" y="23"/>
                    </a:lnTo>
                    <a:close/>
                    <a:moveTo>
                      <a:pt x="114" y="25"/>
                    </a:moveTo>
                    <a:lnTo>
                      <a:pt x="112" y="25"/>
                    </a:lnTo>
                    <a:lnTo>
                      <a:pt x="114" y="25"/>
                    </a:lnTo>
                    <a:close/>
                    <a:moveTo>
                      <a:pt x="104" y="21"/>
                    </a:moveTo>
                    <a:lnTo>
                      <a:pt x="102" y="21"/>
                    </a:lnTo>
                    <a:lnTo>
                      <a:pt x="104" y="21"/>
                    </a:lnTo>
                    <a:close/>
                    <a:moveTo>
                      <a:pt x="112" y="23"/>
                    </a:moveTo>
                    <a:lnTo>
                      <a:pt x="114" y="23"/>
                    </a:lnTo>
                    <a:lnTo>
                      <a:pt x="112" y="23"/>
                    </a:lnTo>
                    <a:close/>
                    <a:moveTo>
                      <a:pt x="104" y="21"/>
                    </a:moveTo>
                    <a:lnTo>
                      <a:pt x="104" y="19"/>
                    </a:lnTo>
                    <a:lnTo>
                      <a:pt x="104" y="21"/>
                    </a:lnTo>
                    <a:close/>
                    <a:moveTo>
                      <a:pt x="104" y="19"/>
                    </a:moveTo>
                    <a:lnTo>
                      <a:pt x="102" y="19"/>
                    </a:lnTo>
                    <a:lnTo>
                      <a:pt x="104" y="19"/>
                    </a:lnTo>
                    <a:close/>
                    <a:moveTo>
                      <a:pt x="110" y="21"/>
                    </a:moveTo>
                    <a:lnTo>
                      <a:pt x="110" y="23"/>
                    </a:lnTo>
                    <a:lnTo>
                      <a:pt x="110" y="21"/>
                    </a:lnTo>
                    <a:close/>
                    <a:moveTo>
                      <a:pt x="110" y="21"/>
                    </a:moveTo>
                    <a:lnTo>
                      <a:pt x="108" y="21"/>
                    </a:lnTo>
                    <a:lnTo>
                      <a:pt x="110" y="21"/>
                    </a:lnTo>
                    <a:close/>
                    <a:moveTo>
                      <a:pt x="98" y="17"/>
                    </a:moveTo>
                    <a:lnTo>
                      <a:pt x="96" y="17"/>
                    </a:lnTo>
                    <a:lnTo>
                      <a:pt x="98" y="17"/>
                    </a:lnTo>
                    <a:close/>
                    <a:moveTo>
                      <a:pt x="104" y="19"/>
                    </a:moveTo>
                    <a:lnTo>
                      <a:pt x="106" y="19"/>
                    </a:lnTo>
                    <a:lnTo>
                      <a:pt x="104" y="19"/>
                    </a:lnTo>
                    <a:close/>
                    <a:moveTo>
                      <a:pt x="104" y="19"/>
                    </a:moveTo>
                    <a:lnTo>
                      <a:pt x="102" y="19"/>
                    </a:lnTo>
                    <a:lnTo>
                      <a:pt x="104" y="19"/>
                    </a:lnTo>
                    <a:close/>
                    <a:moveTo>
                      <a:pt x="104" y="19"/>
                    </a:moveTo>
                    <a:lnTo>
                      <a:pt x="106" y="19"/>
                    </a:lnTo>
                    <a:lnTo>
                      <a:pt x="104" y="19"/>
                    </a:lnTo>
                    <a:close/>
                    <a:moveTo>
                      <a:pt x="110" y="21"/>
                    </a:moveTo>
                    <a:lnTo>
                      <a:pt x="108" y="21"/>
                    </a:lnTo>
                    <a:lnTo>
                      <a:pt x="110" y="21"/>
                    </a:lnTo>
                    <a:close/>
                    <a:moveTo>
                      <a:pt x="106" y="19"/>
                    </a:moveTo>
                    <a:lnTo>
                      <a:pt x="104" y="19"/>
                    </a:lnTo>
                    <a:lnTo>
                      <a:pt x="106" y="19"/>
                    </a:lnTo>
                    <a:close/>
                    <a:moveTo>
                      <a:pt x="112" y="21"/>
                    </a:moveTo>
                    <a:lnTo>
                      <a:pt x="114" y="21"/>
                    </a:lnTo>
                    <a:lnTo>
                      <a:pt x="112" y="21"/>
                    </a:lnTo>
                    <a:close/>
                    <a:moveTo>
                      <a:pt x="96" y="17"/>
                    </a:moveTo>
                    <a:lnTo>
                      <a:pt x="96" y="15"/>
                    </a:lnTo>
                    <a:lnTo>
                      <a:pt x="96" y="17"/>
                    </a:lnTo>
                    <a:close/>
                    <a:moveTo>
                      <a:pt x="112" y="21"/>
                    </a:moveTo>
                    <a:lnTo>
                      <a:pt x="110" y="21"/>
                    </a:lnTo>
                    <a:lnTo>
                      <a:pt x="112" y="21"/>
                    </a:lnTo>
                    <a:close/>
                    <a:moveTo>
                      <a:pt x="110" y="19"/>
                    </a:moveTo>
                    <a:lnTo>
                      <a:pt x="108" y="19"/>
                    </a:lnTo>
                    <a:lnTo>
                      <a:pt x="110" y="19"/>
                    </a:lnTo>
                    <a:close/>
                    <a:moveTo>
                      <a:pt x="98" y="17"/>
                    </a:moveTo>
                    <a:lnTo>
                      <a:pt x="98" y="15"/>
                    </a:lnTo>
                    <a:lnTo>
                      <a:pt x="98" y="17"/>
                    </a:lnTo>
                    <a:close/>
                    <a:moveTo>
                      <a:pt x="104" y="17"/>
                    </a:moveTo>
                    <a:lnTo>
                      <a:pt x="104" y="19"/>
                    </a:lnTo>
                    <a:lnTo>
                      <a:pt x="104" y="17"/>
                    </a:lnTo>
                    <a:close/>
                    <a:moveTo>
                      <a:pt x="106" y="19"/>
                    </a:moveTo>
                    <a:lnTo>
                      <a:pt x="104" y="19"/>
                    </a:lnTo>
                    <a:lnTo>
                      <a:pt x="106" y="17"/>
                    </a:lnTo>
                    <a:lnTo>
                      <a:pt x="106" y="19"/>
                    </a:lnTo>
                    <a:close/>
                    <a:moveTo>
                      <a:pt x="104" y="19"/>
                    </a:moveTo>
                    <a:lnTo>
                      <a:pt x="104" y="17"/>
                    </a:lnTo>
                    <a:lnTo>
                      <a:pt x="104" y="19"/>
                    </a:lnTo>
                    <a:close/>
                    <a:moveTo>
                      <a:pt x="98" y="15"/>
                    </a:moveTo>
                    <a:lnTo>
                      <a:pt x="98" y="17"/>
                    </a:lnTo>
                    <a:lnTo>
                      <a:pt x="98" y="15"/>
                    </a:lnTo>
                    <a:close/>
                    <a:moveTo>
                      <a:pt x="106" y="19"/>
                    </a:moveTo>
                    <a:lnTo>
                      <a:pt x="106" y="17"/>
                    </a:lnTo>
                    <a:lnTo>
                      <a:pt x="106" y="19"/>
                    </a:lnTo>
                    <a:close/>
                    <a:moveTo>
                      <a:pt x="98" y="15"/>
                    </a:moveTo>
                    <a:lnTo>
                      <a:pt x="98" y="17"/>
                    </a:lnTo>
                    <a:lnTo>
                      <a:pt x="98" y="15"/>
                    </a:lnTo>
                    <a:close/>
                    <a:moveTo>
                      <a:pt x="114" y="21"/>
                    </a:moveTo>
                    <a:lnTo>
                      <a:pt x="112" y="21"/>
                    </a:lnTo>
                    <a:lnTo>
                      <a:pt x="114" y="21"/>
                    </a:lnTo>
                    <a:close/>
                    <a:moveTo>
                      <a:pt x="108" y="19"/>
                    </a:moveTo>
                    <a:lnTo>
                      <a:pt x="106" y="19"/>
                    </a:lnTo>
                    <a:lnTo>
                      <a:pt x="108" y="19"/>
                    </a:lnTo>
                    <a:close/>
                    <a:moveTo>
                      <a:pt x="110" y="19"/>
                    </a:moveTo>
                    <a:lnTo>
                      <a:pt x="108" y="19"/>
                    </a:lnTo>
                    <a:lnTo>
                      <a:pt x="110" y="19"/>
                    </a:lnTo>
                    <a:close/>
                    <a:moveTo>
                      <a:pt x="100" y="15"/>
                    </a:moveTo>
                    <a:lnTo>
                      <a:pt x="98" y="15"/>
                    </a:lnTo>
                    <a:lnTo>
                      <a:pt x="100" y="15"/>
                    </a:lnTo>
                    <a:close/>
                    <a:moveTo>
                      <a:pt x="100" y="15"/>
                    </a:moveTo>
                    <a:lnTo>
                      <a:pt x="98" y="15"/>
                    </a:lnTo>
                    <a:lnTo>
                      <a:pt x="100" y="15"/>
                    </a:lnTo>
                    <a:close/>
                    <a:moveTo>
                      <a:pt x="106" y="15"/>
                    </a:moveTo>
                    <a:lnTo>
                      <a:pt x="104" y="15"/>
                    </a:lnTo>
                    <a:lnTo>
                      <a:pt x="106" y="15"/>
                    </a:lnTo>
                    <a:close/>
                    <a:moveTo>
                      <a:pt x="106" y="17"/>
                    </a:moveTo>
                    <a:lnTo>
                      <a:pt x="106" y="15"/>
                    </a:lnTo>
                    <a:lnTo>
                      <a:pt x="106" y="17"/>
                    </a:lnTo>
                    <a:close/>
                    <a:moveTo>
                      <a:pt x="108" y="15"/>
                    </a:moveTo>
                    <a:lnTo>
                      <a:pt x="106" y="15"/>
                    </a:lnTo>
                    <a:lnTo>
                      <a:pt x="108" y="15"/>
                    </a:lnTo>
                    <a:close/>
                    <a:moveTo>
                      <a:pt x="110" y="15"/>
                    </a:moveTo>
                    <a:lnTo>
                      <a:pt x="108" y="15"/>
                    </a:lnTo>
                    <a:lnTo>
                      <a:pt x="110" y="15"/>
                    </a:lnTo>
                    <a:close/>
                    <a:moveTo>
                      <a:pt x="116" y="17"/>
                    </a:moveTo>
                    <a:lnTo>
                      <a:pt x="116" y="19"/>
                    </a:lnTo>
                    <a:lnTo>
                      <a:pt x="116" y="17"/>
                    </a:lnTo>
                    <a:close/>
                    <a:moveTo>
                      <a:pt x="114" y="15"/>
                    </a:moveTo>
                    <a:lnTo>
                      <a:pt x="112" y="15"/>
                    </a:lnTo>
                    <a:lnTo>
                      <a:pt x="114" y="15"/>
                    </a:lnTo>
                    <a:close/>
                    <a:moveTo>
                      <a:pt x="117" y="17"/>
                    </a:moveTo>
                    <a:lnTo>
                      <a:pt x="116" y="17"/>
                    </a:lnTo>
                    <a:lnTo>
                      <a:pt x="117" y="17"/>
                    </a:lnTo>
                    <a:close/>
                    <a:moveTo>
                      <a:pt x="116" y="17"/>
                    </a:moveTo>
                    <a:lnTo>
                      <a:pt x="116" y="15"/>
                    </a:lnTo>
                    <a:lnTo>
                      <a:pt x="116" y="17"/>
                    </a:lnTo>
                    <a:close/>
                    <a:moveTo>
                      <a:pt x="114" y="15"/>
                    </a:moveTo>
                    <a:lnTo>
                      <a:pt x="112" y="15"/>
                    </a:lnTo>
                    <a:lnTo>
                      <a:pt x="114" y="15"/>
                    </a:lnTo>
                    <a:close/>
                    <a:moveTo>
                      <a:pt x="114" y="15"/>
                    </a:moveTo>
                    <a:lnTo>
                      <a:pt x="112" y="15"/>
                    </a:lnTo>
                    <a:lnTo>
                      <a:pt x="114" y="15"/>
                    </a:lnTo>
                    <a:close/>
                    <a:moveTo>
                      <a:pt x="110" y="13"/>
                    </a:moveTo>
                    <a:lnTo>
                      <a:pt x="108" y="13"/>
                    </a:lnTo>
                    <a:lnTo>
                      <a:pt x="110" y="13"/>
                    </a:lnTo>
                    <a:close/>
                    <a:moveTo>
                      <a:pt x="112" y="15"/>
                    </a:moveTo>
                    <a:lnTo>
                      <a:pt x="114" y="15"/>
                    </a:lnTo>
                    <a:lnTo>
                      <a:pt x="112" y="15"/>
                    </a:lnTo>
                    <a:close/>
                    <a:moveTo>
                      <a:pt x="110" y="13"/>
                    </a:moveTo>
                    <a:lnTo>
                      <a:pt x="110" y="11"/>
                    </a:lnTo>
                    <a:lnTo>
                      <a:pt x="110" y="13"/>
                    </a:lnTo>
                    <a:close/>
                    <a:moveTo>
                      <a:pt x="110" y="11"/>
                    </a:moveTo>
                    <a:lnTo>
                      <a:pt x="110" y="13"/>
                    </a:lnTo>
                    <a:lnTo>
                      <a:pt x="110" y="11"/>
                    </a:lnTo>
                    <a:close/>
                    <a:moveTo>
                      <a:pt x="106" y="10"/>
                    </a:moveTo>
                    <a:lnTo>
                      <a:pt x="106" y="11"/>
                    </a:lnTo>
                    <a:lnTo>
                      <a:pt x="106" y="10"/>
                    </a:lnTo>
                    <a:close/>
                    <a:moveTo>
                      <a:pt x="110" y="11"/>
                    </a:moveTo>
                    <a:lnTo>
                      <a:pt x="112" y="11"/>
                    </a:lnTo>
                    <a:lnTo>
                      <a:pt x="110" y="11"/>
                    </a:lnTo>
                    <a:close/>
                    <a:moveTo>
                      <a:pt x="110" y="11"/>
                    </a:moveTo>
                    <a:lnTo>
                      <a:pt x="110" y="10"/>
                    </a:lnTo>
                    <a:lnTo>
                      <a:pt x="110" y="11"/>
                    </a:lnTo>
                    <a:close/>
                    <a:moveTo>
                      <a:pt x="116" y="11"/>
                    </a:moveTo>
                    <a:lnTo>
                      <a:pt x="116" y="13"/>
                    </a:lnTo>
                    <a:lnTo>
                      <a:pt x="116" y="11"/>
                    </a:lnTo>
                    <a:close/>
                    <a:moveTo>
                      <a:pt x="108" y="8"/>
                    </a:moveTo>
                    <a:lnTo>
                      <a:pt x="106" y="8"/>
                    </a:lnTo>
                    <a:lnTo>
                      <a:pt x="108" y="8"/>
                    </a:lnTo>
                    <a:close/>
                    <a:moveTo>
                      <a:pt x="110" y="10"/>
                    </a:moveTo>
                    <a:lnTo>
                      <a:pt x="110" y="8"/>
                    </a:lnTo>
                    <a:lnTo>
                      <a:pt x="110" y="10"/>
                    </a:lnTo>
                    <a:close/>
                    <a:moveTo>
                      <a:pt x="112" y="8"/>
                    </a:moveTo>
                    <a:lnTo>
                      <a:pt x="112" y="10"/>
                    </a:lnTo>
                    <a:lnTo>
                      <a:pt x="112" y="8"/>
                    </a:lnTo>
                    <a:close/>
                    <a:moveTo>
                      <a:pt x="112" y="8"/>
                    </a:moveTo>
                    <a:lnTo>
                      <a:pt x="110" y="8"/>
                    </a:lnTo>
                    <a:lnTo>
                      <a:pt x="112" y="8"/>
                    </a:lnTo>
                    <a:close/>
                    <a:moveTo>
                      <a:pt x="112" y="8"/>
                    </a:moveTo>
                    <a:lnTo>
                      <a:pt x="110" y="8"/>
                    </a:lnTo>
                    <a:lnTo>
                      <a:pt x="112" y="8"/>
                    </a:lnTo>
                    <a:close/>
                    <a:moveTo>
                      <a:pt x="98" y="4"/>
                    </a:moveTo>
                    <a:lnTo>
                      <a:pt x="96" y="4"/>
                    </a:lnTo>
                    <a:lnTo>
                      <a:pt x="98" y="4"/>
                    </a:lnTo>
                    <a:close/>
                    <a:moveTo>
                      <a:pt x="127" y="11"/>
                    </a:moveTo>
                    <a:lnTo>
                      <a:pt x="127" y="13"/>
                    </a:lnTo>
                    <a:lnTo>
                      <a:pt x="127" y="11"/>
                    </a:lnTo>
                    <a:close/>
                    <a:moveTo>
                      <a:pt x="98" y="4"/>
                    </a:moveTo>
                    <a:lnTo>
                      <a:pt x="96" y="4"/>
                    </a:lnTo>
                    <a:lnTo>
                      <a:pt x="98" y="4"/>
                    </a:lnTo>
                    <a:close/>
                    <a:moveTo>
                      <a:pt x="114" y="10"/>
                    </a:moveTo>
                    <a:lnTo>
                      <a:pt x="114" y="8"/>
                    </a:lnTo>
                    <a:lnTo>
                      <a:pt x="114" y="10"/>
                    </a:lnTo>
                    <a:close/>
                    <a:moveTo>
                      <a:pt x="96" y="2"/>
                    </a:moveTo>
                    <a:lnTo>
                      <a:pt x="96" y="4"/>
                    </a:lnTo>
                    <a:lnTo>
                      <a:pt x="96" y="2"/>
                    </a:lnTo>
                    <a:close/>
                    <a:moveTo>
                      <a:pt x="116" y="10"/>
                    </a:moveTo>
                    <a:lnTo>
                      <a:pt x="116" y="8"/>
                    </a:lnTo>
                    <a:lnTo>
                      <a:pt x="116" y="10"/>
                    </a:lnTo>
                    <a:close/>
                    <a:moveTo>
                      <a:pt x="117" y="10"/>
                    </a:moveTo>
                    <a:lnTo>
                      <a:pt x="116" y="8"/>
                    </a:lnTo>
                    <a:lnTo>
                      <a:pt x="117" y="8"/>
                    </a:lnTo>
                    <a:lnTo>
                      <a:pt x="117" y="10"/>
                    </a:lnTo>
                    <a:close/>
                    <a:moveTo>
                      <a:pt x="117" y="8"/>
                    </a:moveTo>
                    <a:lnTo>
                      <a:pt x="117" y="10"/>
                    </a:lnTo>
                    <a:lnTo>
                      <a:pt x="117" y="8"/>
                    </a:lnTo>
                    <a:close/>
                    <a:moveTo>
                      <a:pt x="112" y="6"/>
                    </a:moveTo>
                    <a:lnTo>
                      <a:pt x="112" y="8"/>
                    </a:lnTo>
                    <a:lnTo>
                      <a:pt x="112" y="6"/>
                    </a:lnTo>
                    <a:close/>
                    <a:moveTo>
                      <a:pt x="114" y="6"/>
                    </a:moveTo>
                    <a:lnTo>
                      <a:pt x="112" y="6"/>
                    </a:lnTo>
                    <a:lnTo>
                      <a:pt x="114" y="6"/>
                    </a:lnTo>
                    <a:close/>
                    <a:moveTo>
                      <a:pt x="112" y="8"/>
                    </a:moveTo>
                    <a:lnTo>
                      <a:pt x="112" y="6"/>
                    </a:lnTo>
                    <a:lnTo>
                      <a:pt x="112" y="8"/>
                    </a:lnTo>
                    <a:close/>
                    <a:moveTo>
                      <a:pt x="112" y="6"/>
                    </a:moveTo>
                    <a:lnTo>
                      <a:pt x="112" y="8"/>
                    </a:lnTo>
                    <a:lnTo>
                      <a:pt x="112" y="6"/>
                    </a:lnTo>
                    <a:lnTo>
                      <a:pt x="112" y="8"/>
                    </a:lnTo>
                    <a:lnTo>
                      <a:pt x="112" y="6"/>
                    </a:lnTo>
                    <a:close/>
                    <a:moveTo>
                      <a:pt x="112" y="6"/>
                    </a:moveTo>
                    <a:lnTo>
                      <a:pt x="110" y="6"/>
                    </a:lnTo>
                    <a:lnTo>
                      <a:pt x="112" y="6"/>
                    </a:lnTo>
                    <a:close/>
                    <a:moveTo>
                      <a:pt x="108" y="6"/>
                    </a:moveTo>
                    <a:lnTo>
                      <a:pt x="108" y="4"/>
                    </a:lnTo>
                    <a:lnTo>
                      <a:pt x="108" y="6"/>
                    </a:lnTo>
                    <a:close/>
                    <a:moveTo>
                      <a:pt x="104" y="4"/>
                    </a:moveTo>
                    <a:lnTo>
                      <a:pt x="102" y="4"/>
                    </a:lnTo>
                    <a:lnTo>
                      <a:pt x="104" y="4"/>
                    </a:lnTo>
                    <a:close/>
                    <a:moveTo>
                      <a:pt x="110" y="6"/>
                    </a:moveTo>
                    <a:lnTo>
                      <a:pt x="110" y="4"/>
                    </a:lnTo>
                    <a:lnTo>
                      <a:pt x="110" y="6"/>
                    </a:lnTo>
                    <a:close/>
                    <a:moveTo>
                      <a:pt x="112" y="4"/>
                    </a:moveTo>
                    <a:lnTo>
                      <a:pt x="112" y="6"/>
                    </a:lnTo>
                    <a:lnTo>
                      <a:pt x="112" y="4"/>
                    </a:lnTo>
                    <a:close/>
                    <a:moveTo>
                      <a:pt x="112" y="4"/>
                    </a:moveTo>
                    <a:lnTo>
                      <a:pt x="112" y="6"/>
                    </a:lnTo>
                    <a:lnTo>
                      <a:pt x="112" y="4"/>
                    </a:lnTo>
                    <a:lnTo>
                      <a:pt x="112" y="6"/>
                    </a:lnTo>
                    <a:lnTo>
                      <a:pt x="112" y="4"/>
                    </a:lnTo>
                    <a:close/>
                    <a:moveTo>
                      <a:pt x="112" y="4"/>
                    </a:moveTo>
                    <a:lnTo>
                      <a:pt x="110" y="4"/>
                    </a:lnTo>
                    <a:lnTo>
                      <a:pt x="112" y="4"/>
                    </a:lnTo>
                    <a:close/>
                    <a:moveTo>
                      <a:pt x="98" y="0"/>
                    </a:moveTo>
                    <a:lnTo>
                      <a:pt x="98" y="2"/>
                    </a:lnTo>
                    <a:lnTo>
                      <a:pt x="98" y="0"/>
                    </a:lnTo>
                    <a:close/>
                    <a:moveTo>
                      <a:pt x="112" y="6"/>
                    </a:moveTo>
                    <a:lnTo>
                      <a:pt x="112" y="4"/>
                    </a:lnTo>
                    <a:lnTo>
                      <a:pt x="112" y="6"/>
                    </a:lnTo>
                    <a:close/>
                    <a:moveTo>
                      <a:pt x="116" y="6"/>
                    </a:moveTo>
                    <a:lnTo>
                      <a:pt x="116" y="4"/>
                    </a:lnTo>
                    <a:lnTo>
                      <a:pt x="116" y="6"/>
                    </a:lnTo>
                    <a:close/>
                    <a:moveTo>
                      <a:pt x="110" y="4"/>
                    </a:moveTo>
                    <a:lnTo>
                      <a:pt x="110" y="2"/>
                    </a:lnTo>
                    <a:lnTo>
                      <a:pt x="110" y="4"/>
                    </a:lnTo>
                    <a:close/>
                    <a:moveTo>
                      <a:pt x="106" y="2"/>
                    </a:moveTo>
                    <a:lnTo>
                      <a:pt x="106" y="0"/>
                    </a:lnTo>
                    <a:lnTo>
                      <a:pt x="106" y="2"/>
                    </a:lnTo>
                    <a:close/>
                    <a:moveTo>
                      <a:pt x="119" y="6"/>
                    </a:moveTo>
                    <a:lnTo>
                      <a:pt x="119" y="4"/>
                    </a:lnTo>
                    <a:lnTo>
                      <a:pt x="119" y="6"/>
                    </a:lnTo>
                    <a:close/>
                    <a:moveTo>
                      <a:pt x="108" y="0"/>
                    </a:moveTo>
                    <a:lnTo>
                      <a:pt x="108" y="2"/>
                    </a:lnTo>
                    <a:lnTo>
                      <a:pt x="108" y="0"/>
                    </a:lnTo>
                    <a:close/>
                    <a:moveTo>
                      <a:pt x="110" y="0"/>
                    </a:moveTo>
                    <a:lnTo>
                      <a:pt x="108" y="0"/>
                    </a:lnTo>
                    <a:lnTo>
                      <a:pt x="11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Freeform 45">
                <a:extLst>
                  <a:ext uri="{FF2B5EF4-FFF2-40B4-BE49-F238E27FC236}">
                    <a16:creationId xmlns="" xmlns:a16="http://schemas.microsoft.com/office/drawing/2014/main" id="{78D0E9D1-41FC-4D25-B1A1-8772305F63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86025" y="3235326"/>
                <a:ext cx="454025" cy="566738"/>
              </a:xfrm>
              <a:custGeom>
                <a:avLst/>
                <a:gdLst>
                  <a:gd name="T0" fmla="*/ 161 w 286"/>
                  <a:gd name="T1" fmla="*/ 57 h 357"/>
                  <a:gd name="T2" fmla="*/ 146 w 286"/>
                  <a:gd name="T3" fmla="*/ 75 h 357"/>
                  <a:gd name="T4" fmla="*/ 150 w 286"/>
                  <a:gd name="T5" fmla="*/ 107 h 357"/>
                  <a:gd name="T6" fmla="*/ 150 w 286"/>
                  <a:gd name="T7" fmla="*/ 138 h 357"/>
                  <a:gd name="T8" fmla="*/ 173 w 286"/>
                  <a:gd name="T9" fmla="*/ 121 h 357"/>
                  <a:gd name="T10" fmla="*/ 203 w 286"/>
                  <a:gd name="T11" fmla="*/ 121 h 357"/>
                  <a:gd name="T12" fmla="*/ 221 w 286"/>
                  <a:gd name="T13" fmla="*/ 125 h 357"/>
                  <a:gd name="T14" fmla="*/ 246 w 286"/>
                  <a:gd name="T15" fmla="*/ 109 h 357"/>
                  <a:gd name="T16" fmla="*/ 286 w 286"/>
                  <a:gd name="T17" fmla="*/ 136 h 357"/>
                  <a:gd name="T18" fmla="*/ 253 w 286"/>
                  <a:gd name="T19" fmla="*/ 194 h 357"/>
                  <a:gd name="T20" fmla="*/ 265 w 286"/>
                  <a:gd name="T21" fmla="*/ 207 h 357"/>
                  <a:gd name="T22" fmla="*/ 250 w 286"/>
                  <a:gd name="T23" fmla="*/ 232 h 357"/>
                  <a:gd name="T24" fmla="*/ 234 w 286"/>
                  <a:gd name="T25" fmla="*/ 242 h 357"/>
                  <a:gd name="T26" fmla="*/ 223 w 286"/>
                  <a:gd name="T27" fmla="*/ 230 h 357"/>
                  <a:gd name="T28" fmla="*/ 194 w 286"/>
                  <a:gd name="T29" fmla="*/ 221 h 357"/>
                  <a:gd name="T30" fmla="*/ 182 w 286"/>
                  <a:gd name="T31" fmla="*/ 230 h 357"/>
                  <a:gd name="T32" fmla="*/ 178 w 286"/>
                  <a:gd name="T33" fmla="*/ 246 h 357"/>
                  <a:gd name="T34" fmla="*/ 175 w 286"/>
                  <a:gd name="T35" fmla="*/ 261 h 357"/>
                  <a:gd name="T36" fmla="*/ 159 w 286"/>
                  <a:gd name="T37" fmla="*/ 273 h 357"/>
                  <a:gd name="T38" fmla="*/ 136 w 286"/>
                  <a:gd name="T39" fmla="*/ 286 h 357"/>
                  <a:gd name="T40" fmla="*/ 132 w 286"/>
                  <a:gd name="T41" fmla="*/ 303 h 357"/>
                  <a:gd name="T42" fmla="*/ 130 w 286"/>
                  <a:gd name="T43" fmla="*/ 315 h 357"/>
                  <a:gd name="T44" fmla="*/ 113 w 286"/>
                  <a:gd name="T45" fmla="*/ 334 h 357"/>
                  <a:gd name="T46" fmla="*/ 113 w 286"/>
                  <a:gd name="T47" fmla="*/ 349 h 357"/>
                  <a:gd name="T48" fmla="*/ 105 w 286"/>
                  <a:gd name="T49" fmla="*/ 355 h 357"/>
                  <a:gd name="T50" fmla="*/ 100 w 286"/>
                  <a:gd name="T51" fmla="*/ 344 h 357"/>
                  <a:gd name="T52" fmla="*/ 96 w 286"/>
                  <a:gd name="T53" fmla="*/ 332 h 357"/>
                  <a:gd name="T54" fmla="*/ 96 w 286"/>
                  <a:gd name="T55" fmla="*/ 319 h 357"/>
                  <a:gd name="T56" fmla="*/ 96 w 286"/>
                  <a:gd name="T57" fmla="*/ 305 h 357"/>
                  <a:gd name="T58" fmla="*/ 92 w 286"/>
                  <a:gd name="T59" fmla="*/ 296 h 357"/>
                  <a:gd name="T60" fmla="*/ 86 w 286"/>
                  <a:gd name="T61" fmla="*/ 284 h 357"/>
                  <a:gd name="T62" fmla="*/ 88 w 286"/>
                  <a:gd name="T63" fmla="*/ 273 h 357"/>
                  <a:gd name="T64" fmla="*/ 77 w 286"/>
                  <a:gd name="T65" fmla="*/ 271 h 357"/>
                  <a:gd name="T66" fmla="*/ 77 w 286"/>
                  <a:gd name="T67" fmla="*/ 261 h 357"/>
                  <a:gd name="T68" fmla="*/ 75 w 286"/>
                  <a:gd name="T69" fmla="*/ 251 h 357"/>
                  <a:gd name="T70" fmla="*/ 67 w 286"/>
                  <a:gd name="T71" fmla="*/ 259 h 357"/>
                  <a:gd name="T72" fmla="*/ 54 w 286"/>
                  <a:gd name="T73" fmla="*/ 253 h 357"/>
                  <a:gd name="T74" fmla="*/ 42 w 286"/>
                  <a:gd name="T75" fmla="*/ 255 h 357"/>
                  <a:gd name="T76" fmla="*/ 34 w 286"/>
                  <a:gd name="T77" fmla="*/ 249 h 357"/>
                  <a:gd name="T78" fmla="*/ 15 w 286"/>
                  <a:gd name="T79" fmla="*/ 253 h 357"/>
                  <a:gd name="T80" fmla="*/ 9 w 286"/>
                  <a:gd name="T81" fmla="*/ 244 h 357"/>
                  <a:gd name="T82" fmla="*/ 4 w 286"/>
                  <a:gd name="T83" fmla="*/ 236 h 357"/>
                  <a:gd name="T84" fmla="*/ 13 w 286"/>
                  <a:gd name="T85" fmla="*/ 223 h 357"/>
                  <a:gd name="T86" fmla="*/ 15 w 286"/>
                  <a:gd name="T87" fmla="*/ 211 h 357"/>
                  <a:gd name="T88" fmla="*/ 25 w 286"/>
                  <a:gd name="T89" fmla="*/ 207 h 357"/>
                  <a:gd name="T90" fmla="*/ 42 w 286"/>
                  <a:gd name="T91" fmla="*/ 211 h 357"/>
                  <a:gd name="T92" fmla="*/ 54 w 286"/>
                  <a:gd name="T93" fmla="*/ 196 h 357"/>
                  <a:gd name="T94" fmla="*/ 54 w 286"/>
                  <a:gd name="T95" fmla="*/ 184 h 357"/>
                  <a:gd name="T96" fmla="*/ 25 w 286"/>
                  <a:gd name="T97" fmla="*/ 163 h 357"/>
                  <a:gd name="T98" fmla="*/ 36 w 286"/>
                  <a:gd name="T99" fmla="*/ 150 h 357"/>
                  <a:gd name="T100" fmla="*/ 44 w 286"/>
                  <a:gd name="T101" fmla="*/ 146 h 357"/>
                  <a:gd name="T102" fmla="*/ 67 w 286"/>
                  <a:gd name="T103" fmla="*/ 136 h 357"/>
                  <a:gd name="T104" fmla="*/ 77 w 286"/>
                  <a:gd name="T105" fmla="*/ 130 h 357"/>
                  <a:gd name="T106" fmla="*/ 88 w 286"/>
                  <a:gd name="T107" fmla="*/ 125 h 357"/>
                  <a:gd name="T108" fmla="*/ 86 w 286"/>
                  <a:gd name="T109" fmla="*/ 113 h 357"/>
                  <a:gd name="T110" fmla="*/ 96 w 286"/>
                  <a:gd name="T111" fmla="*/ 75 h 357"/>
                  <a:gd name="T112" fmla="*/ 96 w 286"/>
                  <a:gd name="T113" fmla="*/ 51 h 357"/>
                  <a:gd name="T114" fmla="*/ 96 w 286"/>
                  <a:gd name="T115" fmla="*/ 36 h 357"/>
                  <a:gd name="T116" fmla="*/ 113 w 286"/>
                  <a:gd name="T117" fmla="*/ 32 h 357"/>
                  <a:gd name="T118" fmla="*/ 123 w 286"/>
                  <a:gd name="T119" fmla="*/ 25 h 357"/>
                  <a:gd name="T120" fmla="*/ 136 w 286"/>
                  <a:gd name="T121" fmla="*/ 5 h 357"/>
                  <a:gd name="T122" fmla="*/ 157 w 286"/>
                  <a:gd name="T123" fmla="*/ 13 h 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86" h="357">
                    <a:moveTo>
                      <a:pt x="167" y="30"/>
                    </a:moveTo>
                    <a:lnTo>
                      <a:pt x="167" y="32"/>
                    </a:lnTo>
                    <a:lnTo>
                      <a:pt x="167" y="34"/>
                    </a:lnTo>
                    <a:lnTo>
                      <a:pt x="165" y="38"/>
                    </a:lnTo>
                    <a:lnTo>
                      <a:pt x="163" y="44"/>
                    </a:lnTo>
                    <a:lnTo>
                      <a:pt x="163" y="46"/>
                    </a:lnTo>
                    <a:lnTo>
                      <a:pt x="163" y="50"/>
                    </a:lnTo>
                    <a:lnTo>
                      <a:pt x="159" y="50"/>
                    </a:lnTo>
                    <a:lnTo>
                      <a:pt x="161" y="51"/>
                    </a:lnTo>
                    <a:lnTo>
                      <a:pt x="159" y="53"/>
                    </a:lnTo>
                    <a:lnTo>
                      <a:pt x="159" y="51"/>
                    </a:lnTo>
                    <a:lnTo>
                      <a:pt x="159" y="53"/>
                    </a:lnTo>
                    <a:lnTo>
                      <a:pt x="159" y="55"/>
                    </a:lnTo>
                    <a:lnTo>
                      <a:pt x="159" y="57"/>
                    </a:lnTo>
                    <a:lnTo>
                      <a:pt x="161" y="57"/>
                    </a:lnTo>
                    <a:lnTo>
                      <a:pt x="159" y="57"/>
                    </a:lnTo>
                    <a:lnTo>
                      <a:pt x="157" y="57"/>
                    </a:lnTo>
                    <a:lnTo>
                      <a:pt x="161" y="59"/>
                    </a:lnTo>
                    <a:lnTo>
                      <a:pt x="161" y="61"/>
                    </a:lnTo>
                    <a:lnTo>
                      <a:pt x="161" y="63"/>
                    </a:lnTo>
                    <a:lnTo>
                      <a:pt x="163" y="63"/>
                    </a:lnTo>
                    <a:lnTo>
                      <a:pt x="161" y="65"/>
                    </a:lnTo>
                    <a:lnTo>
                      <a:pt x="159" y="67"/>
                    </a:lnTo>
                    <a:lnTo>
                      <a:pt x="157" y="67"/>
                    </a:lnTo>
                    <a:lnTo>
                      <a:pt x="155" y="67"/>
                    </a:lnTo>
                    <a:lnTo>
                      <a:pt x="152" y="69"/>
                    </a:lnTo>
                    <a:lnTo>
                      <a:pt x="150" y="69"/>
                    </a:lnTo>
                    <a:lnTo>
                      <a:pt x="148" y="73"/>
                    </a:lnTo>
                    <a:lnTo>
                      <a:pt x="148" y="75"/>
                    </a:lnTo>
                    <a:lnTo>
                      <a:pt x="146" y="75"/>
                    </a:lnTo>
                    <a:lnTo>
                      <a:pt x="146" y="76"/>
                    </a:lnTo>
                    <a:lnTo>
                      <a:pt x="144" y="78"/>
                    </a:lnTo>
                    <a:lnTo>
                      <a:pt x="146" y="80"/>
                    </a:lnTo>
                    <a:lnTo>
                      <a:pt x="144" y="80"/>
                    </a:lnTo>
                    <a:lnTo>
                      <a:pt x="144" y="82"/>
                    </a:lnTo>
                    <a:lnTo>
                      <a:pt x="142" y="84"/>
                    </a:lnTo>
                    <a:lnTo>
                      <a:pt x="142" y="88"/>
                    </a:lnTo>
                    <a:lnTo>
                      <a:pt x="140" y="90"/>
                    </a:lnTo>
                    <a:lnTo>
                      <a:pt x="140" y="92"/>
                    </a:lnTo>
                    <a:lnTo>
                      <a:pt x="138" y="92"/>
                    </a:lnTo>
                    <a:lnTo>
                      <a:pt x="136" y="96"/>
                    </a:lnTo>
                    <a:lnTo>
                      <a:pt x="136" y="98"/>
                    </a:lnTo>
                    <a:lnTo>
                      <a:pt x="140" y="101"/>
                    </a:lnTo>
                    <a:lnTo>
                      <a:pt x="146" y="105"/>
                    </a:lnTo>
                    <a:lnTo>
                      <a:pt x="150" y="107"/>
                    </a:lnTo>
                    <a:lnTo>
                      <a:pt x="150" y="109"/>
                    </a:lnTo>
                    <a:lnTo>
                      <a:pt x="148" y="113"/>
                    </a:lnTo>
                    <a:lnTo>
                      <a:pt x="144" y="119"/>
                    </a:lnTo>
                    <a:lnTo>
                      <a:pt x="144" y="121"/>
                    </a:lnTo>
                    <a:lnTo>
                      <a:pt x="146" y="119"/>
                    </a:lnTo>
                    <a:lnTo>
                      <a:pt x="148" y="119"/>
                    </a:lnTo>
                    <a:lnTo>
                      <a:pt x="148" y="121"/>
                    </a:lnTo>
                    <a:lnTo>
                      <a:pt x="148" y="123"/>
                    </a:lnTo>
                    <a:lnTo>
                      <a:pt x="150" y="123"/>
                    </a:lnTo>
                    <a:lnTo>
                      <a:pt x="152" y="125"/>
                    </a:lnTo>
                    <a:lnTo>
                      <a:pt x="150" y="126"/>
                    </a:lnTo>
                    <a:lnTo>
                      <a:pt x="154" y="130"/>
                    </a:lnTo>
                    <a:lnTo>
                      <a:pt x="155" y="132"/>
                    </a:lnTo>
                    <a:lnTo>
                      <a:pt x="154" y="134"/>
                    </a:lnTo>
                    <a:lnTo>
                      <a:pt x="150" y="138"/>
                    </a:lnTo>
                    <a:lnTo>
                      <a:pt x="150" y="140"/>
                    </a:lnTo>
                    <a:lnTo>
                      <a:pt x="148" y="142"/>
                    </a:lnTo>
                    <a:lnTo>
                      <a:pt x="150" y="142"/>
                    </a:lnTo>
                    <a:lnTo>
                      <a:pt x="154" y="146"/>
                    </a:lnTo>
                    <a:lnTo>
                      <a:pt x="155" y="144"/>
                    </a:lnTo>
                    <a:lnTo>
                      <a:pt x="155" y="146"/>
                    </a:lnTo>
                    <a:lnTo>
                      <a:pt x="159" y="142"/>
                    </a:lnTo>
                    <a:lnTo>
                      <a:pt x="163" y="138"/>
                    </a:lnTo>
                    <a:lnTo>
                      <a:pt x="161" y="136"/>
                    </a:lnTo>
                    <a:lnTo>
                      <a:pt x="163" y="134"/>
                    </a:lnTo>
                    <a:lnTo>
                      <a:pt x="165" y="130"/>
                    </a:lnTo>
                    <a:lnTo>
                      <a:pt x="163" y="128"/>
                    </a:lnTo>
                    <a:lnTo>
                      <a:pt x="169" y="121"/>
                    </a:lnTo>
                    <a:lnTo>
                      <a:pt x="171" y="119"/>
                    </a:lnTo>
                    <a:lnTo>
                      <a:pt x="173" y="121"/>
                    </a:lnTo>
                    <a:lnTo>
                      <a:pt x="175" y="121"/>
                    </a:lnTo>
                    <a:lnTo>
                      <a:pt x="177" y="121"/>
                    </a:lnTo>
                    <a:lnTo>
                      <a:pt x="177" y="119"/>
                    </a:lnTo>
                    <a:lnTo>
                      <a:pt x="177" y="117"/>
                    </a:lnTo>
                    <a:lnTo>
                      <a:pt x="177" y="115"/>
                    </a:lnTo>
                    <a:lnTo>
                      <a:pt x="178" y="115"/>
                    </a:lnTo>
                    <a:lnTo>
                      <a:pt x="180" y="115"/>
                    </a:lnTo>
                    <a:lnTo>
                      <a:pt x="180" y="117"/>
                    </a:lnTo>
                    <a:lnTo>
                      <a:pt x="182" y="117"/>
                    </a:lnTo>
                    <a:lnTo>
                      <a:pt x="184" y="119"/>
                    </a:lnTo>
                    <a:lnTo>
                      <a:pt x="188" y="117"/>
                    </a:lnTo>
                    <a:lnTo>
                      <a:pt x="190" y="115"/>
                    </a:lnTo>
                    <a:lnTo>
                      <a:pt x="192" y="117"/>
                    </a:lnTo>
                    <a:lnTo>
                      <a:pt x="202" y="119"/>
                    </a:lnTo>
                    <a:lnTo>
                      <a:pt x="203" y="121"/>
                    </a:lnTo>
                    <a:lnTo>
                      <a:pt x="205" y="119"/>
                    </a:lnTo>
                    <a:lnTo>
                      <a:pt x="205" y="117"/>
                    </a:lnTo>
                    <a:lnTo>
                      <a:pt x="207" y="117"/>
                    </a:lnTo>
                    <a:lnTo>
                      <a:pt x="209" y="117"/>
                    </a:lnTo>
                    <a:lnTo>
                      <a:pt x="211" y="115"/>
                    </a:lnTo>
                    <a:lnTo>
                      <a:pt x="213" y="115"/>
                    </a:lnTo>
                    <a:lnTo>
                      <a:pt x="213" y="113"/>
                    </a:lnTo>
                    <a:lnTo>
                      <a:pt x="217" y="113"/>
                    </a:lnTo>
                    <a:lnTo>
                      <a:pt x="219" y="113"/>
                    </a:lnTo>
                    <a:lnTo>
                      <a:pt x="219" y="115"/>
                    </a:lnTo>
                    <a:lnTo>
                      <a:pt x="221" y="117"/>
                    </a:lnTo>
                    <a:lnTo>
                      <a:pt x="221" y="119"/>
                    </a:lnTo>
                    <a:lnTo>
                      <a:pt x="223" y="119"/>
                    </a:lnTo>
                    <a:lnTo>
                      <a:pt x="221" y="123"/>
                    </a:lnTo>
                    <a:lnTo>
                      <a:pt x="221" y="125"/>
                    </a:lnTo>
                    <a:lnTo>
                      <a:pt x="223" y="125"/>
                    </a:lnTo>
                    <a:lnTo>
                      <a:pt x="225" y="125"/>
                    </a:lnTo>
                    <a:lnTo>
                      <a:pt x="227" y="125"/>
                    </a:lnTo>
                    <a:lnTo>
                      <a:pt x="227" y="123"/>
                    </a:lnTo>
                    <a:lnTo>
                      <a:pt x="228" y="123"/>
                    </a:lnTo>
                    <a:lnTo>
                      <a:pt x="230" y="121"/>
                    </a:lnTo>
                    <a:lnTo>
                      <a:pt x="232" y="121"/>
                    </a:lnTo>
                    <a:lnTo>
                      <a:pt x="234" y="119"/>
                    </a:lnTo>
                    <a:lnTo>
                      <a:pt x="236" y="119"/>
                    </a:lnTo>
                    <a:lnTo>
                      <a:pt x="236" y="117"/>
                    </a:lnTo>
                    <a:lnTo>
                      <a:pt x="238" y="117"/>
                    </a:lnTo>
                    <a:lnTo>
                      <a:pt x="240" y="115"/>
                    </a:lnTo>
                    <a:lnTo>
                      <a:pt x="242" y="113"/>
                    </a:lnTo>
                    <a:lnTo>
                      <a:pt x="244" y="111"/>
                    </a:lnTo>
                    <a:lnTo>
                      <a:pt x="246" y="109"/>
                    </a:lnTo>
                    <a:lnTo>
                      <a:pt x="248" y="109"/>
                    </a:lnTo>
                    <a:lnTo>
                      <a:pt x="250" y="109"/>
                    </a:lnTo>
                    <a:lnTo>
                      <a:pt x="253" y="115"/>
                    </a:lnTo>
                    <a:lnTo>
                      <a:pt x="253" y="117"/>
                    </a:lnTo>
                    <a:lnTo>
                      <a:pt x="255" y="121"/>
                    </a:lnTo>
                    <a:lnTo>
                      <a:pt x="257" y="121"/>
                    </a:lnTo>
                    <a:lnTo>
                      <a:pt x="263" y="126"/>
                    </a:lnTo>
                    <a:lnTo>
                      <a:pt x="267" y="128"/>
                    </a:lnTo>
                    <a:lnTo>
                      <a:pt x="269" y="130"/>
                    </a:lnTo>
                    <a:lnTo>
                      <a:pt x="280" y="136"/>
                    </a:lnTo>
                    <a:lnTo>
                      <a:pt x="284" y="130"/>
                    </a:lnTo>
                    <a:lnTo>
                      <a:pt x="284" y="132"/>
                    </a:lnTo>
                    <a:lnTo>
                      <a:pt x="284" y="134"/>
                    </a:lnTo>
                    <a:lnTo>
                      <a:pt x="284" y="136"/>
                    </a:lnTo>
                    <a:lnTo>
                      <a:pt x="286" y="136"/>
                    </a:lnTo>
                    <a:lnTo>
                      <a:pt x="286" y="138"/>
                    </a:lnTo>
                    <a:lnTo>
                      <a:pt x="286" y="140"/>
                    </a:lnTo>
                    <a:lnTo>
                      <a:pt x="286" y="142"/>
                    </a:lnTo>
                    <a:lnTo>
                      <a:pt x="286" y="148"/>
                    </a:lnTo>
                    <a:lnTo>
                      <a:pt x="284" y="150"/>
                    </a:lnTo>
                    <a:lnTo>
                      <a:pt x="280" y="155"/>
                    </a:lnTo>
                    <a:lnTo>
                      <a:pt x="275" y="167"/>
                    </a:lnTo>
                    <a:lnTo>
                      <a:pt x="271" y="163"/>
                    </a:lnTo>
                    <a:lnTo>
                      <a:pt x="259" y="178"/>
                    </a:lnTo>
                    <a:lnTo>
                      <a:pt x="257" y="180"/>
                    </a:lnTo>
                    <a:lnTo>
                      <a:pt x="255" y="182"/>
                    </a:lnTo>
                    <a:lnTo>
                      <a:pt x="253" y="182"/>
                    </a:lnTo>
                    <a:lnTo>
                      <a:pt x="253" y="184"/>
                    </a:lnTo>
                    <a:lnTo>
                      <a:pt x="253" y="190"/>
                    </a:lnTo>
                    <a:lnTo>
                      <a:pt x="253" y="194"/>
                    </a:lnTo>
                    <a:lnTo>
                      <a:pt x="253" y="196"/>
                    </a:lnTo>
                    <a:lnTo>
                      <a:pt x="253" y="198"/>
                    </a:lnTo>
                    <a:lnTo>
                      <a:pt x="255" y="198"/>
                    </a:lnTo>
                    <a:lnTo>
                      <a:pt x="257" y="198"/>
                    </a:lnTo>
                    <a:lnTo>
                      <a:pt x="259" y="201"/>
                    </a:lnTo>
                    <a:lnTo>
                      <a:pt x="261" y="203"/>
                    </a:lnTo>
                    <a:lnTo>
                      <a:pt x="261" y="201"/>
                    </a:lnTo>
                    <a:lnTo>
                      <a:pt x="261" y="200"/>
                    </a:lnTo>
                    <a:lnTo>
                      <a:pt x="263" y="200"/>
                    </a:lnTo>
                    <a:lnTo>
                      <a:pt x="265" y="203"/>
                    </a:lnTo>
                    <a:lnTo>
                      <a:pt x="267" y="203"/>
                    </a:lnTo>
                    <a:lnTo>
                      <a:pt x="267" y="205"/>
                    </a:lnTo>
                    <a:lnTo>
                      <a:pt x="265" y="205"/>
                    </a:lnTo>
                    <a:lnTo>
                      <a:pt x="267" y="207"/>
                    </a:lnTo>
                    <a:lnTo>
                      <a:pt x="265" y="207"/>
                    </a:lnTo>
                    <a:lnTo>
                      <a:pt x="263" y="209"/>
                    </a:lnTo>
                    <a:lnTo>
                      <a:pt x="261" y="209"/>
                    </a:lnTo>
                    <a:lnTo>
                      <a:pt x="257" y="211"/>
                    </a:lnTo>
                    <a:lnTo>
                      <a:pt x="257" y="213"/>
                    </a:lnTo>
                    <a:lnTo>
                      <a:pt x="255" y="217"/>
                    </a:lnTo>
                    <a:lnTo>
                      <a:pt x="255" y="219"/>
                    </a:lnTo>
                    <a:lnTo>
                      <a:pt x="257" y="221"/>
                    </a:lnTo>
                    <a:lnTo>
                      <a:pt x="259" y="224"/>
                    </a:lnTo>
                    <a:lnTo>
                      <a:pt x="257" y="226"/>
                    </a:lnTo>
                    <a:lnTo>
                      <a:pt x="255" y="226"/>
                    </a:lnTo>
                    <a:lnTo>
                      <a:pt x="253" y="226"/>
                    </a:lnTo>
                    <a:lnTo>
                      <a:pt x="253" y="228"/>
                    </a:lnTo>
                    <a:lnTo>
                      <a:pt x="251" y="228"/>
                    </a:lnTo>
                    <a:lnTo>
                      <a:pt x="251" y="230"/>
                    </a:lnTo>
                    <a:lnTo>
                      <a:pt x="250" y="232"/>
                    </a:lnTo>
                    <a:lnTo>
                      <a:pt x="248" y="234"/>
                    </a:lnTo>
                    <a:lnTo>
                      <a:pt x="246" y="238"/>
                    </a:lnTo>
                    <a:lnTo>
                      <a:pt x="246" y="240"/>
                    </a:lnTo>
                    <a:lnTo>
                      <a:pt x="246" y="244"/>
                    </a:lnTo>
                    <a:lnTo>
                      <a:pt x="244" y="244"/>
                    </a:lnTo>
                    <a:lnTo>
                      <a:pt x="242" y="242"/>
                    </a:lnTo>
                    <a:lnTo>
                      <a:pt x="242" y="240"/>
                    </a:lnTo>
                    <a:lnTo>
                      <a:pt x="242" y="242"/>
                    </a:lnTo>
                    <a:lnTo>
                      <a:pt x="242" y="240"/>
                    </a:lnTo>
                    <a:lnTo>
                      <a:pt x="240" y="242"/>
                    </a:lnTo>
                    <a:lnTo>
                      <a:pt x="238" y="242"/>
                    </a:lnTo>
                    <a:lnTo>
                      <a:pt x="238" y="240"/>
                    </a:lnTo>
                    <a:lnTo>
                      <a:pt x="236" y="240"/>
                    </a:lnTo>
                    <a:lnTo>
                      <a:pt x="236" y="242"/>
                    </a:lnTo>
                    <a:lnTo>
                      <a:pt x="234" y="242"/>
                    </a:lnTo>
                    <a:lnTo>
                      <a:pt x="232" y="242"/>
                    </a:lnTo>
                    <a:lnTo>
                      <a:pt x="232" y="244"/>
                    </a:lnTo>
                    <a:lnTo>
                      <a:pt x="230" y="242"/>
                    </a:lnTo>
                    <a:lnTo>
                      <a:pt x="228" y="240"/>
                    </a:lnTo>
                    <a:lnTo>
                      <a:pt x="230" y="238"/>
                    </a:lnTo>
                    <a:lnTo>
                      <a:pt x="228" y="236"/>
                    </a:lnTo>
                    <a:lnTo>
                      <a:pt x="228" y="234"/>
                    </a:lnTo>
                    <a:lnTo>
                      <a:pt x="228" y="232"/>
                    </a:lnTo>
                    <a:lnTo>
                      <a:pt x="230" y="230"/>
                    </a:lnTo>
                    <a:lnTo>
                      <a:pt x="227" y="228"/>
                    </a:lnTo>
                    <a:lnTo>
                      <a:pt x="227" y="230"/>
                    </a:lnTo>
                    <a:lnTo>
                      <a:pt x="227" y="228"/>
                    </a:lnTo>
                    <a:lnTo>
                      <a:pt x="225" y="228"/>
                    </a:lnTo>
                    <a:lnTo>
                      <a:pt x="223" y="228"/>
                    </a:lnTo>
                    <a:lnTo>
                      <a:pt x="223" y="230"/>
                    </a:lnTo>
                    <a:lnTo>
                      <a:pt x="221" y="232"/>
                    </a:lnTo>
                    <a:lnTo>
                      <a:pt x="219" y="234"/>
                    </a:lnTo>
                    <a:lnTo>
                      <a:pt x="219" y="236"/>
                    </a:lnTo>
                    <a:lnTo>
                      <a:pt x="217" y="236"/>
                    </a:lnTo>
                    <a:lnTo>
                      <a:pt x="215" y="234"/>
                    </a:lnTo>
                    <a:lnTo>
                      <a:pt x="211" y="232"/>
                    </a:lnTo>
                    <a:lnTo>
                      <a:pt x="209" y="230"/>
                    </a:lnTo>
                    <a:lnTo>
                      <a:pt x="205" y="226"/>
                    </a:lnTo>
                    <a:lnTo>
                      <a:pt x="203" y="226"/>
                    </a:lnTo>
                    <a:lnTo>
                      <a:pt x="203" y="224"/>
                    </a:lnTo>
                    <a:lnTo>
                      <a:pt x="203" y="223"/>
                    </a:lnTo>
                    <a:lnTo>
                      <a:pt x="202" y="223"/>
                    </a:lnTo>
                    <a:lnTo>
                      <a:pt x="202" y="221"/>
                    </a:lnTo>
                    <a:lnTo>
                      <a:pt x="198" y="221"/>
                    </a:lnTo>
                    <a:lnTo>
                      <a:pt x="194" y="221"/>
                    </a:lnTo>
                    <a:lnTo>
                      <a:pt x="192" y="221"/>
                    </a:lnTo>
                    <a:lnTo>
                      <a:pt x="190" y="223"/>
                    </a:lnTo>
                    <a:lnTo>
                      <a:pt x="188" y="224"/>
                    </a:lnTo>
                    <a:lnTo>
                      <a:pt x="188" y="223"/>
                    </a:lnTo>
                    <a:lnTo>
                      <a:pt x="186" y="223"/>
                    </a:lnTo>
                    <a:lnTo>
                      <a:pt x="186" y="224"/>
                    </a:lnTo>
                    <a:lnTo>
                      <a:pt x="186" y="226"/>
                    </a:lnTo>
                    <a:lnTo>
                      <a:pt x="186" y="228"/>
                    </a:lnTo>
                    <a:lnTo>
                      <a:pt x="184" y="228"/>
                    </a:lnTo>
                    <a:lnTo>
                      <a:pt x="186" y="228"/>
                    </a:lnTo>
                    <a:lnTo>
                      <a:pt x="184" y="228"/>
                    </a:lnTo>
                    <a:lnTo>
                      <a:pt x="182" y="228"/>
                    </a:lnTo>
                    <a:lnTo>
                      <a:pt x="182" y="230"/>
                    </a:lnTo>
                    <a:lnTo>
                      <a:pt x="182" y="228"/>
                    </a:lnTo>
                    <a:lnTo>
                      <a:pt x="182" y="230"/>
                    </a:lnTo>
                    <a:lnTo>
                      <a:pt x="180" y="230"/>
                    </a:lnTo>
                    <a:lnTo>
                      <a:pt x="180" y="232"/>
                    </a:lnTo>
                    <a:lnTo>
                      <a:pt x="178" y="232"/>
                    </a:lnTo>
                    <a:lnTo>
                      <a:pt x="178" y="234"/>
                    </a:lnTo>
                    <a:lnTo>
                      <a:pt x="177" y="234"/>
                    </a:lnTo>
                    <a:lnTo>
                      <a:pt x="178" y="236"/>
                    </a:lnTo>
                    <a:lnTo>
                      <a:pt x="180" y="236"/>
                    </a:lnTo>
                    <a:lnTo>
                      <a:pt x="180" y="238"/>
                    </a:lnTo>
                    <a:lnTo>
                      <a:pt x="180" y="240"/>
                    </a:lnTo>
                    <a:lnTo>
                      <a:pt x="180" y="242"/>
                    </a:lnTo>
                    <a:lnTo>
                      <a:pt x="178" y="242"/>
                    </a:lnTo>
                    <a:lnTo>
                      <a:pt x="178" y="244"/>
                    </a:lnTo>
                    <a:lnTo>
                      <a:pt x="178" y="246"/>
                    </a:lnTo>
                    <a:lnTo>
                      <a:pt x="178" y="244"/>
                    </a:lnTo>
                    <a:lnTo>
                      <a:pt x="178" y="246"/>
                    </a:lnTo>
                    <a:lnTo>
                      <a:pt x="180" y="248"/>
                    </a:lnTo>
                    <a:lnTo>
                      <a:pt x="178" y="248"/>
                    </a:lnTo>
                    <a:lnTo>
                      <a:pt x="178" y="249"/>
                    </a:lnTo>
                    <a:lnTo>
                      <a:pt x="177" y="249"/>
                    </a:lnTo>
                    <a:lnTo>
                      <a:pt x="177" y="251"/>
                    </a:lnTo>
                    <a:lnTo>
                      <a:pt x="175" y="251"/>
                    </a:lnTo>
                    <a:lnTo>
                      <a:pt x="175" y="253"/>
                    </a:lnTo>
                    <a:lnTo>
                      <a:pt x="175" y="255"/>
                    </a:lnTo>
                    <a:lnTo>
                      <a:pt x="173" y="255"/>
                    </a:lnTo>
                    <a:lnTo>
                      <a:pt x="173" y="257"/>
                    </a:lnTo>
                    <a:lnTo>
                      <a:pt x="173" y="255"/>
                    </a:lnTo>
                    <a:lnTo>
                      <a:pt x="173" y="257"/>
                    </a:lnTo>
                    <a:lnTo>
                      <a:pt x="175" y="257"/>
                    </a:lnTo>
                    <a:lnTo>
                      <a:pt x="175" y="259"/>
                    </a:lnTo>
                    <a:lnTo>
                      <a:pt x="175" y="261"/>
                    </a:lnTo>
                    <a:lnTo>
                      <a:pt x="175" y="263"/>
                    </a:lnTo>
                    <a:lnTo>
                      <a:pt x="173" y="263"/>
                    </a:lnTo>
                    <a:lnTo>
                      <a:pt x="171" y="263"/>
                    </a:lnTo>
                    <a:lnTo>
                      <a:pt x="171" y="265"/>
                    </a:lnTo>
                    <a:lnTo>
                      <a:pt x="169" y="265"/>
                    </a:lnTo>
                    <a:lnTo>
                      <a:pt x="169" y="267"/>
                    </a:lnTo>
                    <a:lnTo>
                      <a:pt x="167" y="269"/>
                    </a:lnTo>
                    <a:lnTo>
                      <a:pt x="165" y="271"/>
                    </a:lnTo>
                    <a:lnTo>
                      <a:pt x="163" y="273"/>
                    </a:lnTo>
                    <a:lnTo>
                      <a:pt x="163" y="271"/>
                    </a:lnTo>
                    <a:lnTo>
                      <a:pt x="163" y="273"/>
                    </a:lnTo>
                    <a:lnTo>
                      <a:pt x="161" y="273"/>
                    </a:lnTo>
                    <a:lnTo>
                      <a:pt x="161" y="274"/>
                    </a:lnTo>
                    <a:lnTo>
                      <a:pt x="159" y="274"/>
                    </a:lnTo>
                    <a:lnTo>
                      <a:pt x="159" y="273"/>
                    </a:lnTo>
                    <a:lnTo>
                      <a:pt x="157" y="273"/>
                    </a:lnTo>
                    <a:lnTo>
                      <a:pt x="155" y="274"/>
                    </a:lnTo>
                    <a:lnTo>
                      <a:pt x="155" y="276"/>
                    </a:lnTo>
                    <a:lnTo>
                      <a:pt x="154" y="274"/>
                    </a:lnTo>
                    <a:lnTo>
                      <a:pt x="150" y="273"/>
                    </a:lnTo>
                    <a:lnTo>
                      <a:pt x="142" y="271"/>
                    </a:lnTo>
                    <a:lnTo>
                      <a:pt x="142" y="273"/>
                    </a:lnTo>
                    <a:lnTo>
                      <a:pt x="138" y="276"/>
                    </a:lnTo>
                    <a:lnTo>
                      <a:pt x="136" y="280"/>
                    </a:lnTo>
                    <a:lnTo>
                      <a:pt x="136" y="282"/>
                    </a:lnTo>
                    <a:lnTo>
                      <a:pt x="134" y="282"/>
                    </a:lnTo>
                    <a:lnTo>
                      <a:pt x="136" y="282"/>
                    </a:lnTo>
                    <a:lnTo>
                      <a:pt x="136" y="284"/>
                    </a:lnTo>
                    <a:lnTo>
                      <a:pt x="134" y="286"/>
                    </a:lnTo>
                    <a:lnTo>
                      <a:pt x="136" y="286"/>
                    </a:lnTo>
                    <a:lnTo>
                      <a:pt x="134" y="290"/>
                    </a:lnTo>
                    <a:lnTo>
                      <a:pt x="136" y="292"/>
                    </a:lnTo>
                    <a:lnTo>
                      <a:pt x="134" y="292"/>
                    </a:lnTo>
                    <a:lnTo>
                      <a:pt x="132" y="294"/>
                    </a:lnTo>
                    <a:lnTo>
                      <a:pt x="134" y="296"/>
                    </a:lnTo>
                    <a:lnTo>
                      <a:pt x="132" y="296"/>
                    </a:lnTo>
                    <a:lnTo>
                      <a:pt x="134" y="298"/>
                    </a:lnTo>
                    <a:lnTo>
                      <a:pt x="132" y="298"/>
                    </a:lnTo>
                    <a:lnTo>
                      <a:pt x="134" y="299"/>
                    </a:lnTo>
                    <a:lnTo>
                      <a:pt x="132" y="299"/>
                    </a:lnTo>
                    <a:lnTo>
                      <a:pt x="134" y="301"/>
                    </a:lnTo>
                    <a:lnTo>
                      <a:pt x="132" y="301"/>
                    </a:lnTo>
                    <a:lnTo>
                      <a:pt x="132" y="303"/>
                    </a:lnTo>
                    <a:lnTo>
                      <a:pt x="134" y="303"/>
                    </a:lnTo>
                    <a:lnTo>
                      <a:pt x="132" y="303"/>
                    </a:lnTo>
                    <a:lnTo>
                      <a:pt x="134" y="303"/>
                    </a:lnTo>
                    <a:lnTo>
                      <a:pt x="132" y="303"/>
                    </a:lnTo>
                    <a:lnTo>
                      <a:pt x="132" y="305"/>
                    </a:lnTo>
                    <a:lnTo>
                      <a:pt x="134" y="305"/>
                    </a:lnTo>
                    <a:lnTo>
                      <a:pt x="134" y="307"/>
                    </a:lnTo>
                    <a:lnTo>
                      <a:pt x="134" y="309"/>
                    </a:lnTo>
                    <a:lnTo>
                      <a:pt x="136" y="311"/>
                    </a:lnTo>
                    <a:lnTo>
                      <a:pt x="136" y="309"/>
                    </a:lnTo>
                    <a:lnTo>
                      <a:pt x="136" y="311"/>
                    </a:lnTo>
                    <a:lnTo>
                      <a:pt x="136" y="313"/>
                    </a:lnTo>
                    <a:lnTo>
                      <a:pt x="134" y="313"/>
                    </a:lnTo>
                    <a:lnTo>
                      <a:pt x="132" y="315"/>
                    </a:lnTo>
                    <a:lnTo>
                      <a:pt x="130" y="315"/>
                    </a:lnTo>
                    <a:lnTo>
                      <a:pt x="130" y="317"/>
                    </a:lnTo>
                    <a:lnTo>
                      <a:pt x="130" y="315"/>
                    </a:lnTo>
                    <a:lnTo>
                      <a:pt x="129" y="315"/>
                    </a:lnTo>
                    <a:lnTo>
                      <a:pt x="129" y="317"/>
                    </a:lnTo>
                    <a:lnTo>
                      <a:pt x="129" y="319"/>
                    </a:lnTo>
                    <a:lnTo>
                      <a:pt x="127" y="323"/>
                    </a:lnTo>
                    <a:lnTo>
                      <a:pt x="123" y="321"/>
                    </a:lnTo>
                    <a:lnTo>
                      <a:pt x="121" y="317"/>
                    </a:lnTo>
                    <a:lnTo>
                      <a:pt x="119" y="321"/>
                    </a:lnTo>
                    <a:lnTo>
                      <a:pt x="117" y="323"/>
                    </a:lnTo>
                    <a:lnTo>
                      <a:pt x="115" y="324"/>
                    </a:lnTo>
                    <a:lnTo>
                      <a:pt x="115" y="326"/>
                    </a:lnTo>
                    <a:lnTo>
                      <a:pt x="113" y="328"/>
                    </a:lnTo>
                    <a:lnTo>
                      <a:pt x="115" y="328"/>
                    </a:lnTo>
                    <a:lnTo>
                      <a:pt x="113" y="330"/>
                    </a:lnTo>
                    <a:lnTo>
                      <a:pt x="113" y="332"/>
                    </a:lnTo>
                    <a:lnTo>
                      <a:pt x="113" y="334"/>
                    </a:lnTo>
                    <a:lnTo>
                      <a:pt x="117" y="336"/>
                    </a:lnTo>
                    <a:lnTo>
                      <a:pt x="115" y="336"/>
                    </a:lnTo>
                    <a:lnTo>
                      <a:pt x="115" y="338"/>
                    </a:lnTo>
                    <a:lnTo>
                      <a:pt x="115" y="340"/>
                    </a:lnTo>
                    <a:lnTo>
                      <a:pt x="113" y="340"/>
                    </a:lnTo>
                    <a:lnTo>
                      <a:pt x="115" y="340"/>
                    </a:lnTo>
                    <a:lnTo>
                      <a:pt x="113" y="340"/>
                    </a:lnTo>
                    <a:lnTo>
                      <a:pt x="113" y="342"/>
                    </a:lnTo>
                    <a:lnTo>
                      <a:pt x="115" y="342"/>
                    </a:lnTo>
                    <a:lnTo>
                      <a:pt x="115" y="344"/>
                    </a:lnTo>
                    <a:lnTo>
                      <a:pt x="115" y="346"/>
                    </a:lnTo>
                    <a:lnTo>
                      <a:pt x="117" y="346"/>
                    </a:lnTo>
                    <a:lnTo>
                      <a:pt x="115" y="348"/>
                    </a:lnTo>
                    <a:lnTo>
                      <a:pt x="117" y="348"/>
                    </a:lnTo>
                    <a:lnTo>
                      <a:pt x="113" y="349"/>
                    </a:lnTo>
                    <a:lnTo>
                      <a:pt x="111" y="349"/>
                    </a:lnTo>
                    <a:lnTo>
                      <a:pt x="111" y="351"/>
                    </a:lnTo>
                    <a:lnTo>
                      <a:pt x="113" y="349"/>
                    </a:lnTo>
                    <a:lnTo>
                      <a:pt x="115" y="349"/>
                    </a:lnTo>
                    <a:lnTo>
                      <a:pt x="115" y="351"/>
                    </a:lnTo>
                    <a:lnTo>
                      <a:pt x="113" y="351"/>
                    </a:lnTo>
                    <a:lnTo>
                      <a:pt x="113" y="353"/>
                    </a:lnTo>
                    <a:lnTo>
                      <a:pt x="113" y="355"/>
                    </a:lnTo>
                    <a:lnTo>
                      <a:pt x="111" y="355"/>
                    </a:lnTo>
                    <a:lnTo>
                      <a:pt x="109" y="355"/>
                    </a:lnTo>
                    <a:lnTo>
                      <a:pt x="109" y="357"/>
                    </a:lnTo>
                    <a:lnTo>
                      <a:pt x="107" y="357"/>
                    </a:lnTo>
                    <a:lnTo>
                      <a:pt x="105" y="357"/>
                    </a:lnTo>
                    <a:lnTo>
                      <a:pt x="107" y="357"/>
                    </a:lnTo>
                    <a:lnTo>
                      <a:pt x="105" y="355"/>
                    </a:lnTo>
                    <a:lnTo>
                      <a:pt x="104" y="355"/>
                    </a:lnTo>
                    <a:lnTo>
                      <a:pt x="104" y="353"/>
                    </a:lnTo>
                    <a:lnTo>
                      <a:pt x="105" y="353"/>
                    </a:lnTo>
                    <a:lnTo>
                      <a:pt x="104" y="351"/>
                    </a:lnTo>
                    <a:lnTo>
                      <a:pt x="102" y="351"/>
                    </a:lnTo>
                    <a:lnTo>
                      <a:pt x="102" y="349"/>
                    </a:lnTo>
                    <a:lnTo>
                      <a:pt x="102" y="351"/>
                    </a:lnTo>
                    <a:lnTo>
                      <a:pt x="100" y="351"/>
                    </a:lnTo>
                    <a:lnTo>
                      <a:pt x="102" y="349"/>
                    </a:lnTo>
                    <a:lnTo>
                      <a:pt x="100" y="349"/>
                    </a:lnTo>
                    <a:lnTo>
                      <a:pt x="100" y="348"/>
                    </a:lnTo>
                    <a:lnTo>
                      <a:pt x="100" y="346"/>
                    </a:lnTo>
                    <a:lnTo>
                      <a:pt x="102" y="346"/>
                    </a:lnTo>
                    <a:lnTo>
                      <a:pt x="100" y="346"/>
                    </a:lnTo>
                    <a:lnTo>
                      <a:pt x="100" y="344"/>
                    </a:lnTo>
                    <a:lnTo>
                      <a:pt x="98" y="344"/>
                    </a:lnTo>
                    <a:lnTo>
                      <a:pt x="98" y="342"/>
                    </a:lnTo>
                    <a:lnTo>
                      <a:pt x="98" y="340"/>
                    </a:lnTo>
                    <a:lnTo>
                      <a:pt x="100" y="340"/>
                    </a:lnTo>
                    <a:lnTo>
                      <a:pt x="102" y="338"/>
                    </a:lnTo>
                    <a:lnTo>
                      <a:pt x="102" y="336"/>
                    </a:lnTo>
                    <a:lnTo>
                      <a:pt x="102" y="334"/>
                    </a:lnTo>
                    <a:lnTo>
                      <a:pt x="102" y="332"/>
                    </a:lnTo>
                    <a:lnTo>
                      <a:pt x="102" y="330"/>
                    </a:lnTo>
                    <a:lnTo>
                      <a:pt x="100" y="330"/>
                    </a:lnTo>
                    <a:lnTo>
                      <a:pt x="100" y="328"/>
                    </a:lnTo>
                    <a:lnTo>
                      <a:pt x="100" y="332"/>
                    </a:lnTo>
                    <a:lnTo>
                      <a:pt x="100" y="334"/>
                    </a:lnTo>
                    <a:lnTo>
                      <a:pt x="98" y="334"/>
                    </a:lnTo>
                    <a:lnTo>
                      <a:pt x="96" y="332"/>
                    </a:lnTo>
                    <a:lnTo>
                      <a:pt x="94" y="332"/>
                    </a:lnTo>
                    <a:lnTo>
                      <a:pt x="94" y="330"/>
                    </a:lnTo>
                    <a:lnTo>
                      <a:pt x="92" y="330"/>
                    </a:lnTo>
                    <a:lnTo>
                      <a:pt x="94" y="328"/>
                    </a:lnTo>
                    <a:lnTo>
                      <a:pt x="96" y="328"/>
                    </a:lnTo>
                    <a:lnTo>
                      <a:pt x="96" y="326"/>
                    </a:lnTo>
                    <a:lnTo>
                      <a:pt x="94" y="328"/>
                    </a:lnTo>
                    <a:lnTo>
                      <a:pt x="94" y="326"/>
                    </a:lnTo>
                    <a:lnTo>
                      <a:pt x="94" y="324"/>
                    </a:lnTo>
                    <a:lnTo>
                      <a:pt x="94" y="323"/>
                    </a:lnTo>
                    <a:lnTo>
                      <a:pt x="94" y="321"/>
                    </a:lnTo>
                    <a:lnTo>
                      <a:pt x="96" y="321"/>
                    </a:lnTo>
                    <a:lnTo>
                      <a:pt x="96" y="319"/>
                    </a:lnTo>
                    <a:lnTo>
                      <a:pt x="96" y="321"/>
                    </a:lnTo>
                    <a:lnTo>
                      <a:pt x="96" y="319"/>
                    </a:lnTo>
                    <a:lnTo>
                      <a:pt x="96" y="317"/>
                    </a:lnTo>
                    <a:lnTo>
                      <a:pt x="94" y="317"/>
                    </a:lnTo>
                    <a:lnTo>
                      <a:pt x="96" y="317"/>
                    </a:lnTo>
                    <a:lnTo>
                      <a:pt x="94" y="317"/>
                    </a:lnTo>
                    <a:lnTo>
                      <a:pt x="94" y="315"/>
                    </a:lnTo>
                    <a:lnTo>
                      <a:pt x="96" y="315"/>
                    </a:lnTo>
                    <a:lnTo>
                      <a:pt x="98" y="313"/>
                    </a:lnTo>
                    <a:lnTo>
                      <a:pt x="98" y="311"/>
                    </a:lnTo>
                    <a:lnTo>
                      <a:pt x="96" y="313"/>
                    </a:lnTo>
                    <a:lnTo>
                      <a:pt x="94" y="313"/>
                    </a:lnTo>
                    <a:lnTo>
                      <a:pt x="96" y="313"/>
                    </a:lnTo>
                    <a:lnTo>
                      <a:pt x="96" y="311"/>
                    </a:lnTo>
                    <a:lnTo>
                      <a:pt x="96" y="309"/>
                    </a:lnTo>
                    <a:lnTo>
                      <a:pt x="96" y="307"/>
                    </a:lnTo>
                    <a:lnTo>
                      <a:pt x="96" y="305"/>
                    </a:lnTo>
                    <a:lnTo>
                      <a:pt x="94" y="305"/>
                    </a:lnTo>
                    <a:lnTo>
                      <a:pt x="94" y="307"/>
                    </a:lnTo>
                    <a:lnTo>
                      <a:pt x="94" y="309"/>
                    </a:lnTo>
                    <a:lnTo>
                      <a:pt x="92" y="309"/>
                    </a:lnTo>
                    <a:lnTo>
                      <a:pt x="92" y="307"/>
                    </a:lnTo>
                    <a:lnTo>
                      <a:pt x="90" y="305"/>
                    </a:lnTo>
                    <a:lnTo>
                      <a:pt x="90" y="307"/>
                    </a:lnTo>
                    <a:lnTo>
                      <a:pt x="88" y="307"/>
                    </a:lnTo>
                    <a:lnTo>
                      <a:pt x="86" y="307"/>
                    </a:lnTo>
                    <a:lnTo>
                      <a:pt x="86" y="305"/>
                    </a:lnTo>
                    <a:lnTo>
                      <a:pt x="86" y="303"/>
                    </a:lnTo>
                    <a:lnTo>
                      <a:pt x="88" y="301"/>
                    </a:lnTo>
                    <a:lnTo>
                      <a:pt x="90" y="299"/>
                    </a:lnTo>
                    <a:lnTo>
                      <a:pt x="92" y="298"/>
                    </a:lnTo>
                    <a:lnTo>
                      <a:pt x="92" y="296"/>
                    </a:lnTo>
                    <a:lnTo>
                      <a:pt x="90" y="296"/>
                    </a:lnTo>
                    <a:lnTo>
                      <a:pt x="90" y="294"/>
                    </a:lnTo>
                    <a:lnTo>
                      <a:pt x="92" y="294"/>
                    </a:lnTo>
                    <a:lnTo>
                      <a:pt x="92" y="292"/>
                    </a:lnTo>
                    <a:lnTo>
                      <a:pt x="92" y="290"/>
                    </a:lnTo>
                    <a:lnTo>
                      <a:pt x="90" y="290"/>
                    </a:lnTo>
                    <a:lnTo>
                      <a:pt x="90" y="288"/>
                    </a:lnTo>
                    <a:lnTo>
                      <a:pt x="88" y="288"/>
                    </a:lnTo>
                    <a:lnTo>
                      <a:pt x="88" y="286"/>
                    </a:lnTo>
                    <a:lnTo>
                      <a:pt x="86" y="286"/>
                    </a:lnTo>
                    <a:lnTo>
                      <a:pt x="84" y="286"/>
                    </a:lnTo>
                    <a:lnTo>
                      <a:pt x="84" y="284"/>
                    </a:lnTo>
                    <a:lnTo>
                      <a:pt x="86" y="284"/>
                    </a:lnTo>
                    <a:lnTo>
                      <a:pt x="84" y="284"/>
                    </a:lnTo>
                    <a:lnTo>
                      <a:pt x="86" y="284"/>
                    </a:lnTo>
                    <a:lnTo>
                      <a:pt x="86" y="282"/>
                    </a:lnTo>
                    <a:lnTo>
                      <a:pt x="84" y="282"/>
                    </a:lnTo>
                    <a:lnTo>
                      <a:pt x="86" y="282"/>
                    </a:lnTo>
                    <a:lnTo>
                      <a:pt x="88" y="282"/>
                    </a:lnTo>
                    <a:lnTo>
                      <a:pt x="86" y="280"/>
                    </a:lnTo>
                    <a:lnTo>
                      <a:pt x="88" y="280"/>
                    </a:lnTo>
                    <a:lnTo>
                      <a:pt x="88" y="278"/>
                    </a:lnTo>
                    <a:lnTo>
                      <a:pt x="86" y="278"/>
                    </a:lnTo>
                    <a:lnTo>
                      <a:pt x="88" y="278"/>
                    </a:lnTo>
                    <a:lnTo>
                      <a:pt x="88" y="276"/>
                    </a:lnTo>
                    <a:lnTo>
                      <a:pt x="86" y="276"/>
                    </a:lnTo>
                    <a:lnTo>
                      <a:pt x="88" y="276"/>
                    </a:lnTo>
                    <a:lnTo>
                      <a:pt x="88" y="274"/>
                    </a:lnTo>
                    <a:lnTo>
                      <a:pt x="86" y="274"/>
                    </a:lnTo>
                    <a:lnTo>
                      <a:pt x="88" y="273"/>
                    </a:lnTo>
                    <a:lnTo>
                      <a:pt x="86" y="273"/>
                    </a:lnTo>
                    <a:lnTo>
                      <a:pt x="86" y="271"/>
                    </a:lnTo>
                    <a:lnTo>
                      <a:pt x="86" y="273"/>
                    </a:lnTo>
                    <a:lnTo>
                      <a:pt x="84" y="273"/>
                    </a:lnTo>
                    <a:lnTo>
                      <a:pt x="82" y="273"/>
                    </a:lnTo>
                    <a:lnTo>
                      <a:pt x="82" y="271"/>
                    </a:lnTo>
                    <a:lnTo>
                      <a:pt x="82" y="273"/>
                    </a:lnTo>
                    <a:lnTo>
                      <a:pt x="82" y="271"/>
                    </a:lnTo>
                    <a:lnTo>
                      <a:pt x="81" y="271"/>
                    </a:lnTo>
                    <a:lnTo>
                      <a:pt x="79" y="271"/>
                    </a:lnTo>
                    <a:lnTo>
                      <a:pt x="81" y="271"/>
                    </a:lnTo>
                    <a:lnTo>
                      <a:pt x="81" y="273"/>
                    </a:lnTo>
                    <a:lnTo>
                      <a:pt x="79" y="273"/>
                    </a:lnTo>
                    <a:lnTo>
                      <a:pt x="79" y="271"/>
                    </a:lnTo>
                    <a:lnTo>
                      <a:pt x="77" y="271"/>
                    </a:lnTo>
                    <a:lnTo>
                      <a:pt x="77" y="269"/>
                    </a:lnTo>
                    <a:lnTo>
                      <a:pt x="75" y="269"/>
                    </a:lnTo>
                    <a:lnTo>
                      <a:pt x="75" y="267"/>
                    </a:lnTo>
                    <a:lnTo>
                      <a:pt x="77" y="267"/>
                    </a:lnTo>
                    <a:lnTo>
                      <a:pt x="77" y="265"/>
                    </a:lnTo>
                    <a:lnTo>
                      <a:pt x="77" y="263"/>
                    </a:lnTo>
                    <a:lnTo>
                      <a:pt x="77" y="265"/>
                    </a:lnTo>
                    <a:lnTo>
                      <a:pt x="77" y="263"/>
                    </a:lnTo>
                    <a:lnTo>
                      <a:pt x="77" y="265"/>
                    </a:lnTo>
                    <a:lnTo>
                      <a:pt x="77" y="263"/>
                    </a:lnTo>
                    <a:lnTo>
                      <a:pt x="77" y="261"/>
                    </a:lnTo>
                    <a:lnTo>
                      <a:pt x="79" y="261"/>
                    </a:lnTo>
                    <a:lnTo>
                      <a:pt x="77" y="261"/>
                    </a:lnTo>
                    <a:lnTo>
                      <a:pt x="75" y="261"/>
                    </a:lnTo>
                    <a:lnTo>
                      <a:pt x="77" y="261"/>
                    </a:lnTo>
                    <a:lnTo>
                      <a:pt x="77" y="259"/>
                    </a:lnTo>
                    <a:lnTo>
                      <a:pt x="79" y="259"/>
                    </a:lnTo>
                    <a:lnTo>
                      <a:pt x="79" y="257"/>
                    </a:lnTo>
                    <a:lnTo>
                      <a:pt x="79" y="255"/>
                    </a:lnTo>
                    <a:lnTo>
                      <a:pt x="81" y="255"/>
                    </a:lnTo>
                    <a:lnTo>
                      <a:pt x="81" y="253"/>
                    </a:lnTo>
                    <a:lnTo>
                      <a:pt x="82" y="253"/>
                    </a:lnTo>
                    <a:lnTo>
                      <a:pt x="82" y="251"/>
                    </a:lnTo>
                    <a:lnTo>
                      <a:pt x="82" y="249"/>
                    </a:lnTo>
                    <a:lnTo>
                      <a:pt x="81" y="249"/>
                    </a:lnTo>
                    <a:lnTo>
                      <a:pt x="79" y="249"/>
                    </a:lnTo>
                    <a:lnTo>
                      <a:pt x="79" y="251"/>
                    </a:lnTo>
                    <a:lnTo>
                      <a:pt x="77" y="249"/>
                    </a:lnTo>
                    <a:lnTo>
                      <a:pt x="77" y="251"/>
                    </a:lnTo>
                    <a:lnTo>
                      <a:pt x="75" y="251"/>
                    </a:lnTo>
                    <a:lnTo>
                      <a:pt x="75" y="253"/>
                    </a:lnTo>
                    <a:lnTo>
                      <a:pt x="73" y="253"/>
                    </a:lnTo>
                    <a:lnTo>
                      <a:pt x="75" y="255"/>
                    </a:lnTo>
                    <a:lnTo>
                      <a:pt x="75" y="257"/>
                    </a:lnTo>
                    <a:lnTo>
                      <a:pt x="73" y="257"/>
                    </a:lnTo>
                    <a:lnTo>
                      <a:pt x="73" y="255"/>
                    </a:lnTo>
                    <a:lnTo>
                      <a:pt x="71" y="255"/>
                    </a:lnTo>
                    <a:lnTo>
                      <a:pt x="71" y="257"/>
                    </a:lnTo>
                    <a:lnTo>
                      <a:pt x="71" y="259"/>
                    </a:lnTo>
                    <a:lnTo>
                      <a:pt x="71" y="261"/>
                    </a:lnTo>
                    <a:lnTo>
                      <a:pt x="69" y="261"/>
                    </a:lnTo>
                    <a:lnTo>
                      <a:pt x="67" y="261"/>
                    </a:lnTo>
                    <a:lnTo>
                      <a:pt x="65" y="261"/>
                    </a:lnTo>
                    <a:lnTo>
                      <a:pt x="65" y="259"/>
                    </a:lnTo>
                    <a:lnTo>
                      <a:pt x="67" y="259"/>
                    </a:lnTo>
                    <a:lnTo>
                      <a:pt x="67" y="257"/>
                    </a:lnTo>
                    <a:lnTo>
                      <a:pt x="65" y="257"/>
                    </a:lnTo>
                    <a:lnTo>
                      <a:pt x="67" y="257"/>
                    </a:lnTo>
                    <a:lnTo>
                      <a:pt x="65" y="257"/>
                    </a:lnTo>
                    <a:lnTo>
                      <a:pt x="67" y="255"/>
                    </a:lnTo>
                    <a:lnTo>
                      <a:pt x="65" y="253"/>
                    </a:lnTo>
                    <a:lnTo>
                      <a:pt x="63" y="253"/>
                    </a:lnTo>
                    <a:lnTo>
                      <a:pt x="61" y="253"/>
                    </a:lnTo>
                    <a:lnTo>
                      <a:pt x="61" y="251"/>
                    </a:lnTo>
                    <a:lnTo>
                      <a:pt x="59" y="251"/>
                    </a:lnTo>
                    <a:lnTo>
                      <a:pt x="56" y="251"/>
                    </a:lnTo>
                    <a:lnTo>
                      <a:pt x="56" y="253"/>
                    </a:lnTo>
                    <a:lnTo>
                      <a:pt x="54" y="253"/>
                    </a:lnTo>
                    <a:lnTo>
                      <a:pt x="56" y="251"/>
                    </a:lnTo>
                    <a:lnTo>
                      <a:pt x="54" y="253"/>
                    </a:lnTo>
                    <a:lnTo>
                      <a:pt x="54" y="251"/>
                    </a:lnTo>
                    <a:lnTo>
                      <a:pt x="52" y="249"/>
                    </a:lnTo>
                    <a:lnTo>
                      <a:pt x="54" y="249"/>
                    </a:lnTo>
                    <a:lnTo>
                      <a:pt x="54" y="248"/>
                    </a:lnTo>
                    <a:lnTo>
                      <a:pt x="52" y="248"/>
                    </a:lnTo>
                    <a:lnTo>
                      <a:pt x="50" y="249"/>
                    </a:lnTo>
                    <a:lnTo>
                      <a:pt x="48" y="249"/>
                    </a:lnTo>
                    <a:lnTo>
                      <a:pt x="48" y="251"/>
                    </a:lnTo>
                    <a:lnTo>
                      <a:pt x="46" y="251"/>
                    </a:lnTo>
                    <a:lnTo>
                      <a:pt x="44" y="251"/>
                    </a:lnTo>
                    <a:lnTo>
                      <a:pt x="46" y="253"/>
                    </a:lnTo>
                    <a:lnTo>
                      <a:pt x="44" y="255"/>
                    </a:lnTo>
                    <a:lnTo>
                      <a:pt x="44" y="253"/>
                    </a:lnTo>
                    <a:lnTo>
                      <a:pt x="44" y="255"/>
                    </a:lnTo>
                    <a:lnTo>
                      <a:pt x="42" y="255"/>
                    </a:lnTo>
                    <a:lnTo>
                      <a:pt x="40" y="255"/>
                    </a:lnTo>
                    <a:lnTo>
                      <a:pt x="40" y="253"/>
                    </a:lnTo>
                    <a:lnTo>
                      <a:pt x="38" y="253"/>
                    </a:lnTo>
                    <a:lnTo>
                      <a:pt x="36" y="255"/>
                    </a:lnTo>
                    <a:lnTo>
                      <a:pt x="34" y="255"/>
                    </a:lnTo>
                    <a:lnTo>
                      <a:pt x="36" y="253"/>
                    </a:lnTo>
                    <a:lnTo>
                      <a:pt x="36" y="251"/>
                    </a:lnTo>
                    <a:lnTo>
                      <a:pt x="34" y="253"/>
                    </a:lnTo>
                    <a:lnTo>
                      <a:pt x="34" y="251"/>
                    </a:lnTo>
                    <a:lnTo>
                      <a:pt x="32" y="251"/>
                    </a:lnTo>
                    <a:lnTo>
                      <a:pt x="34" y="251"/>
                    </a:lnTo>
                    <a:lnTo>
                      <a:pt x="32" y="251"/>
                    </a:lnTo>
                    <a:lnTo>
                      <a:pt x="34" y="249"/>
                    </a:lnTo>
                    <a:lnTo>
                      <a:pt x="32" y="249"/>
                    </a:lnTo>
                    <a:lnTo>
                      <a:pt x="34" y="249"/>
                    </a:lnTo>
                    <a:lnTo>
                      <a:pt x="32" y="248"/>
                    </a:lnTo>
                    <a:lnTo>
                      <a:pt x="32" y="249"/>
                    </a:lnTo>
                    <a:lnTo>
                      <a:pt x="31" y="249"/>
                    </a:lnTo>
                    <a:lnTo>
                      <a:pt x="29" y="248"/>
                    </a:lnTo>
                    <a:lnTo>
                      <a:pt x="29" y="249"/>
                    </a:lnTo>
                    <a:lnTo>
                      <a:pt x="27" y="249"/>
                    </a:lnTo>
                    <a:lnTo>
                      <a:pt x="25" y="251"/>
                    </a:lnTo>
                    <a:lnTo>
                      <a:pt x="23" y="249"/>
                    </a:lnTo>
                    <a:lnTo>
                      <a:pt x="23" y="251"/>
                    </a:lnTo>
                    <a:lnTo>
                      <a:pt x="21" y="251"/>
                    </a:lnTo>
                    <a:lnTo>
                      <a:pt x="21" y="253"/>
                    </a:lnTo>
                    <a:lnTo>
                      <a:pt x="19" y="253"/>
                    </a:lnTo>
                    <a:lnTo>
                      <a:pt x="19" y="251"/>
                    </a:lnTo>
                    <a:lnTo>
                      <a:pt x="17" y="251"/>
                    </a:lnTo>
                    <a:lnTo>
                      <a:pt x="15" y="253"/>
                    </a:lnTo>
                    <a:lnTo>
                      <a:pt x="15" y="251"/>
                    </a:lnTo>
                    <a:lnTo>
                      <a:pt x="13" y="251"/>
                    </a:lnTo>
                    <a:lnTo>
                      <a:pt x="13" y="253"/>
                    </a:lnTo>
                    <a:lnTo>
                      <a:pt x="11" y="253"/>
                    </a:lnTo>
                    <a:lnTo>
                      <a:pt x="9" y="251"/>
                    </a:lnTo>
                    <a:lnTo>
                      <a:pt x="8" y="253"/>
                    </a:lnTo>
                    <a:lnTo>
                      <a:pt x="8" y="251"/>
                    </a:lnTo>
                    <a:lnTo>
                      <a:pt x="8" y="249"/>
                    </a:lnTo>
                    <a:lnTo>
                      <a:pt x="9" y="248"/>
                    </a:lnTo>
                    <a:lnTo>
                      <a:pt x="11" y="248"/>
                    </a:lnTo>
                    <a:lnTo>
                      <a:pt x="11" y="246"/>
                    </a:lnTo>
                    <a:lnTo>
                      <a:pt x="11" y="244"/>
                    </a:lnTo>
                    <a:lnTo>
                      <a:pt x="9" y="244"/>
                    </a:lnTo>
                    <a:lnTo>
                      <a:pt x="9" y="242"/>
                    </a:lnTo>
                    <a:lnTo>
                      <a:pt x="9" y="244"/>
                    </a:lnTo>
                    <a:lnTo>
                      <a:pt x="8" y="244"/>
                    </a:lnTo>
                    <a:lnTo>
                      <a:pt x="8" y="242"/>
                    </a:lnTo>
                    <a:lnTo>
                      <a:pt x="8" y="240"/>
                    </a:lnTo>
                    <a:lnTo>
                      <a:pt x="8" y="242"/>
                    </a:lnTo>
                    <a:lnTo>
                      <a:pt x="6" y="240"/>
                    </a:lnTo>
                    <a:lnTo>
                      <a:pt x="4" y="242"/>
                    </a:lnTo>
                    <a:lnTo>
                      <a:pt x="4" y="240"/>
                    </a:lnTo>
                    <a:lnTo>
                      <a:pt x="6" y="240"/>
                    </a:lnTo>
                    <a:lnTo>
                      <a:pt x="4" y="240"/>
                    </a:lnTo>
                    <a:lnTo>
                      <a:pt x="2" y="240"/>
                    </a:lnTo>
                    <a:lnTo>
                      <a:pt x="2" y="238"/>
                    </a:lnTo>
                    <a:lnTo>
                      <a:pt x="0" y="238"/>
                    </a:lnTo>
                    <a:lnTo>
                      <a:pt x="0" y="236"/>
                    </a:lnTo>
                    <a:lnTo>
                      <a:pt x="2" y="236"/>
                    </a:lnTo>
                    <a:lnTo>
                      <a:pt x="4" y="236"/>
                    </a:lnTo>
                    <a:lnTo>
                      <a:pt x="4" y="234"/>
                    </a:lnTo>
                    <a:lnTo>
                      <a:pt x="2" y="234"/>
                    </a:lnTo>
                    <a:lnTo>
                      <a:pt x="4" y="232"/>
                    </a:lnTo>
                    <a:lnTo>
                      <a:pt x="6" y="232"/>
                    </a:lnTo>
                    <a:lnTo>
                      <a:pt x="6" y="230"/>
                    </a:lnTo>
                    <a:lnTo>
                      <a:pt x="8" y="230"/>
                    </a:lnTo>
                    <a:lnTo>
                      <a:pt x="6" y="230"/>
                    </a:lnTo>
                    <a:lnTo>
                      <a:pt x="6" y="228"/>
                    </a:lnTo>
                    <a:lnTo>
                      <a:pt x="8" y="228"/>
                    </a:lnTo>
                    <a:lnTo>
                      <a:pt x="8" y="226"/>
                    </a:lnTo>
                    <a:lnTo>
                      <a:pt x="8" y="224"/>
                    </a:lnTo>
                    <a:lnTo>
                      <a:pt x="9" y="224"/>
                    </a:lnTo>
                    <a:lnTo>
                      <a:pt x="11" y="224"/>
                    </a:lnTo>
                    <a:lnTo>
                      <a:pt x="11" y="223"/>
                    </a:lnTo>
                    <a:lnTo>
                      <a:pt x="13" y="223"/>
                    </a:lnTo>
                    <a:lnTo>
                      <a:pt x="11" y="223"/>
                    </a:lnTo>
                    <a:lnTo>
                      <a:pt x="11" y="221"/>
                    </a:lnTo>
                    <a:lnTo>
                      <a:pt x="11" y="223"/>
                    </a:lnTo>
                    <a:lnTo>
                      <a:pt x="11" y="221"/>
                    </a:lnTo>
                    <a:lnTo>
                      <a:pt x="13" y="221"/>
                    </a:lnTo>
                    <a:lnTo>
                      <a:pt x="13" y="219"/>
                    </a:lnTo>
                    <a:lnTo>
                      <a:pt x="13" y="217"/>
                    </a:lnTo>
                    <a:lnTo>
                      <a:pt x="11" y="217"/>
                    </a:lnTo>
                    <a:lnTo>
                      <a:pt x="11" y="215"/>
                    </a:lnTo>
                    <a:lnTo>
                      <a:pt x="11" y="213"/>
                    </a:lnTo>
                    <a:lnTo>
                      <a:pt x="13" y="213"/>
                    </a:lnTo>
                    <a:lnTo>
                      <a:pt x="15" y="213"/>
                    </a:lnTo>
                    <a:lnTo>
                      <a:pt x="15" y="211"/>
                    </a:lnTo>
                    <a:lnTo>
                      <a:pt x="17" y="211"/>
                    </a:lnTo>
                    <a:lnTo>
                      <a:pt x="15" y="211"/>
                    </a:lnTo>
                    <a:lnTo>
                      <a:pt x="17" y="211"/>
                    </a:lnTo>
                    <a:lnTo>
                      <a:pt x="17" y="209"/>
                    </a:lnTo>
                    <a:lnTo>
                      <a:pt x="15" y="209"/>
                    </a:lnTo>
                    <a:lnTo>
                      <a:pt x="13" y="211"/>
                    </a:lnTo>
                    <a:lnTo>
                      <a:pt x="13" y="209"/>
                    </a:lnTo>
                    <a:lnTo>
                      <a:pt x="15" y="209"/>
                    </a:lnTo>
                    <a:lnTo>
                      <a:pt x="17" y="209"/>
                    </a:lnTo>
                    <a:lnTo>
                      <a:pt x="19" y="209"/>
                    </a:lnTo>
                    <a:lnTo>
                      <a:pt x="19" y="207"/>
                    </a:lnTo>
                    <a:lnTo>
                      <a:pt x="19" y="205"/>
                    </a:lnTo>
                    <a:lnTo>
                      <a:pt x="19" y="203"/>
                    </a:lnTo>
                    <a:lnTo>
                      <a:pt x="21" y="203"/>
                    </a:lnTo>
                    <a:lnTo>
                      <a:pt x="21" y="205"/>
                    </a:lnTo>
                    <a:lnTo>
                      <a:pt x="23" y="205"/>
                    </a:lnTo>
                    <a:lnTo>
                      <a:pt x="25" y="207"/>
                    </a:lnTo>
                    <a:lnTo>
                      <a:pt x="25" y="209"/>
                    </a:lnTo>
                    <a:lnTo>
                      <a:pt x="27" y="209"/>
                    </a:lnTo>
                    <a:lnTo>
                      <a:pt x="29" y="209"/>
                    </a:lnTo>
                    <a:lnTo>
                      <a:pt x="31" y="209"/>
                    </a:lnTo>
                    <a:lnTo>
                      <a:pt x="32" y="209"/>
                    </a:lnTo>
                    <a:lnTo>
                      <a:pt x="34" y="209"/>
                    </a:lnTo>
                    <a:lnTo>
                      <a:pt x="36" y="209"/>
                    </a:lnTo>
                    <a:lnTo>
                      <a:pt x="38" y="209"/>
                    </a:lnTo>
                    <a:lnTo>
                      <a:pt x="38" y="211"/>
                    </a:lnTo>
                    <a:lnTo>
                      <a:pt x="36" y="211"/>
                    </a:lnTo>
                    <a:lnTo>
                      <a:pt x="38" y="211"/>
                    </a:lnTo>
                    <a:lnTo>
                      <a:pt x="36" y="211"/>
                    </a:lnTo>
                    <a:lnTo>
                      <a:pt x="38" y="213"/>
                    </a:lnTo>
                    <a:lnTo>
                      <a:pt x="40" y="215"/>
                    </a:lnTo>
                    <a:lnTo>
                      <a:pt x="42" y="211"/>
                    </a:lnTo>
                    <a:lnTo>
                      <a:pt x="44" y="211"/>
                    </a:lnTo>
                    <a:lnTo>
                      <a:pt x="44" y="209"/>
                    </a:lnTo>
                    <a:lnTo>
                      <a:pt x="44" y="207"/>
                    </a:lnTo>
                    <a:lnTo>
                      <a:pt x="46" y="207"/>
                    </a:lnTo>
                    <a:lnTo>
                      <a:pt x="46" y="205"/>
                    </a:lnTo>
                    <a:lnTo>
                      <a:pt x="48" y="203"/>
                    </a:lnTo>
                    <a:lnTo>
                      <a:pt x="50" y="203"/>
                    </a:lnTo>
                    <a:lnTo>
                      <a:pt x="50" y="201"/>
                    </a:lnTo>
                    <a:lnTo>
                      <a:pt x="52" y="201"/>
                    </a:lnTo>
                    <a:lnTo>
                      <a:pt x="52" y="200"/>
                    </a:lnTo>
                    <a:lnTo>
                      <a:pt x="50" y="200"/>
                    </a:lnTo>
                    <a:lnTo>
                      <a:pt x="52" y="200"/>
                    </a:lnTo>
                    <a:lnTo>
                      <a:pt x="52" y="198"/>
                    </a:lnTo>
                    <a:lnTo>
                      <a:pt x="54" y="198"/>
                    </a:lnTo>
                    <a:lnTo>
                      <a:pt x="54" y="196"/>
                    </a:lnTo>
                    <a:lnTo>
                      <a:pt x="56" y="196"/>
                    </a:lnTo>
                    <a:lnTo>
                      <a:pt x="57" y="196"/>
                    </a:lnTo>
                    <a:lnTo>
                      <a:pt x="59" y="196"/>
                    </a:lnTo>
                    <a:lnTo>
                      <a:pt x="59" y="198"/>
                    </a:lnTo>
                    <a:lnTo>
                      <a:pt x="59" y="196"/>
                    </a:lnTo>
                    <a:lnTo>
                      <a:pt x="59" y="194"/>
                    </a:lnTo>
                    <a:lnTo>
                      <a:pt x="59" y="192"/>
                    </a:lnTo>
                    <a:lnTo>
                      <a:pt x="57" y="190"/>
                    </a:lnTo>
                    <a:lnTo>
                      <a:pt x="57" y="188"/>
                    </a:lnTo>
                    <a:lnTo>
                      <a:pt x="56" y="188"/>
                    </a:lnTo>
                    <a:lnTo>
                      <a:pt x="54" y="188"/>
                    </a:lnTo>
                    <a:lnTo>
                      <a:pt x="54" y="186"/>
                    </a:lnTo>
                    <a:lnTo>
                      <a:pt x="52" y="186"/>
                    </a:lnTo>
                    <a:lnTo>
                      <a:pt x="52" y="184"/>
                    </a:lnTo>
                    <a:lnTo>
                      <a:pt x="54" y="184"/>
                    </a:lnTo>
                    <a:lnTo>
                      <a:pt x="50" y="182"/>
                    </a:lnTo>
                    <a:lnTo>
                      <a:pt x="46" y="178"/>
                    </a:lnTo>
                    <a:lnTo>
                      <a:pt x="42" y="176"/>
                    </a:lnTo>
                    <a:lnTo>
                      <a:pt x="38" y="175"/>
                    </a:lnTo>
                    <a:lnTo>
                      <a:pt x="31" y="171"/>
                    </a:lnTo>
                    <a:lnTo>
                      <a:pt x="31" y="169"/>
                    </a:lnTo>
                    <a:lnTo>
                      <a:pt x="29" y="169"/>
                    </a:lnTo>
                    <a:lnTo>
                      <a:pt x="27" y="169"/>
                    </a:lnTo>
                    <a:lnTo>
                      <a:pt x="27" y="171"/>
                    </a:lnTo>
                    <a:lnTo>
                      <a:pt x="27" y="169"/>
                    </a:lnTo>
                    <a:lnTo>
                      <a:pt x="27" y="167"/>
                    </a:lnTo>
                    <a:lnTo>
                      <a:pt x="25" y="167"/>
                    </a:lnTo>
                    <a:lnTo>
                      <a:pt x="25" y="165"/>
                    </a:lnTo>
                    <a:lnTo>
                      <a:pt x="27" y="165"/>
                    </a:lnTo>
                    <a:lnTo>
                      <a:pt x="25" y="163"/>
                    </a:lnTo>
                    <a:lnTo>
                      <a:pt x="27" y="163"/>
                    </a:lnTo>
                    <a:lnTo>
                      <a:pt x="25" y="163"/>
                    </a:lnTo>
                    <a:lnTo>
                      <a:pt x="27" y="163"/>
                    </a:lnTo>
                    <a:lnTo>
                      <a:pt x="27" y="161"/>
                    </a:lnTo>
                    <a:lnTo>
                      <a:pt x="29" y="159"/>
                    </a:lnTo>
                    <a:lnTo>
                      <a:pt x="29" y="157"/>
                    </a:lnTo>
                    <a:lnTo>
                      <a:pt x="31" y="157"/>
                    </a:lnTo>
                    <a:lnTo>
                      <a:pt x="32" y="157"/>
                    </a:lnTo>
                    <a:lnTo>
                      <a:pt x="32" y="155"/>
                    </a:lnTo>
                    <a:lnTo>
                      <a:pt x="34" y="153"/>
                    </a:lnTo>
                    <a:lnTo>
                      <a:pt x="34" y="151"/>
                    </a:lnTo>
                    <a:lnTo>
                      <a:pt x="34" y="150"/>
                    </a:lnTo>
                    <a:lnTo>
                      <a:pt x="36" y="150"/>
                    </a:lnTo>
                    <a:lnTo>
                      <a:pt x="36" y="151"/>
                    </a:lnTo>
                    <a:lnTo>
                      <a:pt x="36" y="150"/>
                    </a:lnTo>
                    <a:lnTo>
                      <a:pt x="38" y="150"/>
                    </a:lnTo>
                    <a:lnTo>
                      <a:pt x="36" y="148"/>
                    </a:lnTo>
                    <a:lnTo>
                      <a:pt x="36" y="150"/>
                    </a:lnTo>
                    <a:lnTo>
                      <a:pt x="36" y="148"/>
                    </a:lnTo>
                    <a:lnTo>
                      <a:pt x="36" y="150"/>
                    </a:lnTo>
                    <a:lnTo>
                      <a:pt x="34" y="150"/>
                    </a:lnTo>
                    <a:lnTo>
                      <a:pt x="36" y="148"/>
                    </a:lnTo>
                    <a:lnTo>
                      <a:pt x="36" y="146"/>
                    </a:lnTo>
                    <a:lnTo>
                      <a:pt x="38" y="146"/>
                    </a:lnTo>
                    <a:lnTo>
                      <a:pt x="38" y="148"/>
                    </a:lnTo>
                    <a:lnTo>
                      <a:pt x="38" y="146"/>
                    </a:lnTo>
                    <a:lnTo>
                      <a:pt x="40" y="148"/>
                    </a:lnTo>
                    <a:lnTo>
                      <a:pt x="42" y="148"/>
                    </a:lnTo>
                    <a:lnTo>
                      <a:pt x="44" y="148"/>
                    </a:lnTo>
                    <a:lnTo>
                      <a:pt x="44" y="146"/>
                    </a:lnTo>
                    <a:lnTo>
                      <a:pt x="44" y="144"/>
                    </a:lnTo>
                    <a:lnTo>
                      <a:pt x="44" y="142"/>
                    </a:lnTo>
                    <a:lnTo>
                      <a:pt x="46" y="142"/>
                    </a:lnTo>
                    <a:lnTo>
                      <a:pt x="48" y="140"/>
                    </a:lnTo>
                    <a:lnTo>
                      <a:pt x="50" y="138"/>
                    </a:lnTo>
                    <a:lnTo>
                      <a:pt x="52" y="138"/>
                    </a:lnTo>
                    <a:lnTo>
                      <a:pt x="50" y="140"/>
                    </a:lnTo>
                    <a:lnTo>
                      <a:pt x="54" y="140"/>
                    </a:lnTo>
                    <a:lnTo>
                      <a:pt x="56" y="140"/>
                    </a:lnTo>
                    <a:lnTo>
                      <a:pt x="57" y="140"/>
                    </a:lnTo>
                    <a:lnTo>
                      <a:pt x="59" y="142"/>
                    </a:lnTo>
                    <a:lnTo>
                      <a:pt x="61" y="142"/>
                    </a:lnTo>
                    <a:lnTo>
                      <a:pt x="63" y="138"/>
                    </a:lnTo>
                    <a:lnTo>
                      <a:pt x="65" y="136"/>
                    </a:lnTo>
                    <a:lnTo>
                      <a:pt x="67" y="136"/>
                    </a:lnTo>
                    <a:lnTo>
                      <a:pt x="67" y="134"/>
                    </a:lnTo>
                    <a:lnTo>
                      <a:pt x="69" y="134"/>
                    </a:lnTo>
                    <a:lnTo>
                      <a:pt x="69" y="132"/>
                    </a:lnTo>
                    <a:lnTo>
                      <a:pt x="71" y="134"/>
                    </a:lnTo>
                    <a:lnTo>
                      <a:pt x="71" y="136"/>
                    </a:lnTo>
                    <a:lnTo>
                      <a:pt x="73" y="136"/>
                    </a:lnTo>
                    <a:lnTo>
                      <a:pt x="75" y="136"/>
                    </a:lnTo>
                    <a:lnTo>
                      <a:pt x="75" y="134"/>
                    </a:lnTo>
                    <a:lnTo>
                      <a:pt x="77" y="134"/>
                    </a:lnTo>
                    <a:lnTo>
                      <a:pt x="75" y="134"/>
                    </a:lnTo>
                    <a:lnTo>
                      <a:pt x="75" y="132"/>
                    </a:lnTo>
                    <a:lnTo>
                      <a:pt x="77" y="132"/>
                    </a:lnTo>
                    <a:lnTo>
                      <a:pt x="77" y="130"/>
                    </a:lnTo>
                    <a:lnTo>
                      <a:pt x="75" y="130"/>
                    </a:lnTo>
                    <a:lnTo>
                      <a:pt x="77" y="130"/>
                    </a:lnTo>
                    <a:lnTo>
                      <a:pt x="77" y="128"/>
                    </a:lnTo>
                    <a:lnTo>
                      <a:pt x="79" y="128"/>
                    </a:lnTo>
                    <a:lnTo>
                      <a:pt x="77" y="128"/>
                    </a:lnTo>
                    <a:lnTo>
                      <a:pt x="79" y="128"/>
                    </a:lnTo>
                    <a:lnTo>
                      <a:pt x="81" y="128"/>
                    </a:lnTo>
                    <a:lnTo>
                      <a:pt x="81" y="130"/>
                    </a:lnTo>
                    <a:lnTo>
                      <a:pt x="82" y="130"/>
                    </a:lnTo>
                    <a:lnTo>
                      <a:pt x="82" y="132"/>
                    </a:lnTo>
                    <a:lnTo>
                      <a:pt x="84" y="132"/>
                    </a:lnTo>
                    <a:lnTo>
                      <a:pt x="86" y="132"/>
                    </a:lnTo>
                    <a:lnTo>
                      <a:pt x="88" y="132"/>
                    </a:lnTo>
                    <a:lnTo>
                      <a:pt x="88" y="130"/>
                    </a:lnTo>
                    <a:lnTo>
                      <a:pt x="88" y="128"/>
                    </a:lnTo>
                    <a:lnTo>
                      <a:pt x="88" y="126"/>
                    </a:lnTo>
                    <a:lnTo>
                      <a:pt x="88" y="125"/>
                    </a:lnTo>
                    <a:lnTo>
                      <a:pt x="90" y="125"/>
                    </a:lnTo>
                    <a:lnTo>
                      <a:pt x="90" y="123"/>
                    </a:lnTo>
                    <a:lnTo>
                      <a:pt x="88" y="123"/>
                    </a:lnTo>
                    <a:lnTo>
                      <a:pt x="90" y="123"/>
                    </a:lnTo>
                    <a:lnTo>
                      <a:pt x="88" y="123"/>
                    </a:lnTo>
                    <a:lnTo>
                      <a:pt x="90" y="121"/>
                    </a:lnTo>
                    <a:lnTo>
                      <a:pt x="88" y="121"/>
                    </a:lnTo>
                    <a:lnTo>
                      <a:pt x="88" y="119"/>
                    </a:lnTo>
                    <a:lnTo>
                      <a:pt x="90" y="119"/>
                    </a:lnTo>
                    <a:lnTo>
                      <a:pt x="90" y="117"/>
                    </a:lnTo>
                    <a:lnTo>
                      <a:pt x="92" y="117"/>
                    </a:lnTo>
                    <a:lnTo>
                      <a:pt x="90" y="117"/>
                    </a:lnTo>
                    <a:lnTo>
                      <a:pt x="88" y="117"/>
                    </a:lnTo>
                    <a:lnTo>
                      <a:pt x="86" y="115"/>
                    </a:lnTo>
                    <a:lnTo>
                      <a:pt x="86" y="113"/>
                    </a:lnTo>
                    <a:lnTo>
                      <a:pt x="86" y="115"/>
                    </a:lnTo>
                    <a:lnTo>
                      <a:pt x="86" y="113"/>
                    </a:lnTo>
                    <a:lnTo>
                      <a:pt x="86" y="111"/>
                    </a:lnTo>
                    <a:lnTo>
                      <a:pt x="84" y="109"/>
                    </a:lnTo>
                    <a:lnTo>
                      <a:pt x="86" y="109"/>
                    </a:lnTo>
                    <a:lnTo>
                      <a:pt x="86" y="107"/>
                    </a:lnTo>
                    <a:lnTo>
                      <a:pt x="88" y="107"/>
                    </a:lnTo>
                    <a:lnTo>
                      <a:pt x="90" y="101"/>
                    </a:lnTo>
                    <a:lnTo>
                      <a:pt x="86" y="98"/>
                    </a:lnTo>
                    <a:lnTo>
                      <a:pt x="86" y="96"/>
                    </a:lnTo>
                    <a:lnTo>
                      <a:pt x="88" y="96"/>
                    </a:lnTo>
                    <a:lnTo>
                      <a:pt x="96" y="84"/>
                    </a:lnTo>
                    <a:lnTo>
                      <a:pt x="100" y="80"/>
                    </a:lnTo>
                    <a:lnTo>
                      <a:pt x="102" y="76"/>
                    </a:lnTo>
                    <a:lnTo>
                      <a:pt x="96" y="75"/>
                    </a:lnTo>
                    <a:lnTo>
                      <a:pt x="96" y="73"/>
                    </a:lnTo>
                    <a:lnTo>
                      <a:pt x="100" y="65"/>
                    </a:lnTo>
                    <a:lnTo>
                      <a:pt x="102" y="63"/>
                    </a:lnTo>
                    <a:lnTo>
                      <a:pt x="104" y="61"/>
                    </a:lnTo>
                    <a:lnTo>
                      <a:pt x="107" y="55"/>
                    </a:lnTo>
                    <a:lnTo>
                      <a:pt x="109" y="53"/>
                    </a:lnTo>
                    <a:lnTo>
                      <a:pt x="105" y="51"/>
                    </a:lnTo>
                    <a:lnTo>
                      <a:pt x="104" y="53"/>
                    </a:lnTo>
                    <a:lnTo>
                      <a:pt x="102" y="53"/>
                    </a:lnTo>
                    <a:lnTo>
                      <a:pt x="100" y="53"/>
                    </a:lnTo>
                    <a:lnTo>
                      <a:pt x="100" y="51"/>
                    </a:lnTo>
                    <a:lnTo>
                      <a:pt x="98" y="51"/>
                    </a:lnTo>
                    <a:lnTo>
                      <a:pt x="98" y="50"/>
                    </a:lnTo>
                    <a:lnTo>
                      <a:pt x="96" y="50"/>
                    </a:lnTo>
                    <a:lnTo>
                      <a:pt x="96" y="51"/>
                    </a:lnTo>
                    <a:lnTo>
                      <a:pt x="96" y="50"/>
                    </a:lnTo>
                    <a:lnTo>
                      <a:pt x="96" y="48"/>
                    </a:lnTo>
                    <a:lnTo>
                      <a:pt x="94" y="48"/>
                    </a:lnTo>
                    <a:lnTo>
                      <a:pt x="94" y="46"/>
                    </a:lnTo>
                    <a:lnTo>
                      <a:pt x="92" y="46"/>
                    </a:lnTo>
                    <a:lnTo>
                      <a:pt x="92" y="44"/>
                    </a:lnTo>
                    <a:lnTo>
                      <a:pt x="90" y="44"/>
                    </a:lnTo>
                    <a:lnTo>
                      <a:pt x="92" y="44"/>
                    </a:lnTo>
                    <a:lnTo>
                      <a:pt x="92" y="42"/>
                    </a:lnTo>
                    <a:lnTo>
                      <a:pt x="92" y="40"/>
                    </a:lnTo>
                    <a:lnTo>
                      <a:pt x="94" y="38"/>
                    </a:lnTo>
                    <a:lnTo>
                      <a:pt x="92" y="36"/>
                    </a:lnTo>
                    <a:lnTo>
                      <a:pt x="94" y="34"/>
                    </a:lnTo>
                    <a:lnTo>
                      <a:pt x="94" y="36"/>
                    </a:lnTo>
                    <a:lnTo>
                      <a:pt x="96" y="36"/>
                    </a:lnTo>
                    <a:lnTo>
                      <a:pt x="98" y="36"/>
                    </a:lnTo>
                    <a:lnTo>
                      <a:pt x="98" y="38"/>
                    </a:lnTo>
                    <a:lnTo>
                      <a:pt x="100" y="38"/>
                    </a:lnTo>
                    <a:lnTo>
                      <a:pt x="102" y="38"/>
                    </a:lnTo>
                    <a:lnTo>
                      <a:pt x="104" y="40"/>
                    </a:lnTo>
                    <a:lnTo>
                      <a:pt x="105" y="42"/>
                    </a:lnTo>
                    <a:lnTo>
                      <a:pt x="109" y="40"/>
                    </a:lnTo>
                    <a:lnTo>
                      <a:pt x="109" y="38"/>
                    </a:lnTo>
                    <a:lnTo>
                      <a:pt x="111" y="36"/>
                    </a:lnTo>
                    <a:lnTo>
                      <a:pt x="109" y="36"/>
                    </a:lnTo>
                    <a:lnTo>
                      <a:pt x="109" y="34"/>
                    </a:lnTo>
                    <a:lnTo>
                      <a:pt x="111" y="34"/>
                    </a:lnTo>
                    <a:lnTo>
                      <a:pt x="113" y="34"/>
                    </a:lnTo>
                    <a:lnTo>
                      <a:pt x="115" y="34"/>
                    </a:lnTo>
                    <a:lnTo>
                      <a:pt x="113" y="32"/>
                    </a:lnTo>
                    <a:lnTo>
                      <a:pt x="115" y="30"/>
                    </a:lnTo>
                    <a:lnTo>
                      <a:pt x="115" y="32"/>
                    </a:lnTo>
                    <a:lnTo>
                      <a:pt x="117" y="32"/>
                    </a:lnTo>
                    <a:lnTo>
                      <a:pt x="117" y="30"/>
                    </a:lnTo>
                    <a:lnTo>
                      <a:pt x="117" y="28"/>
                    </a:lnTo>
                    <a:lnTo>
                      <a:pt x="119" y="28"/>
                    </a:lnTo>
                    <a:lnTo>
                      <a:pt x="121" y="28"/>
                    </a:lnTo>
                    <a:lnTo>
                      <a:pt x="121" y="26"/>
                    </a:lnTo>
                    <a:lnTo>
                      <a:pt x="121" y="28"/>
                    </a:lnTo>
                    <a:lnTo>
                      <a:pt x="123" y="28"/>
                    </a:lnTo>
                    <a:lnTo>
                      <a:pt x="121" y="26"/>
                    </a:lnTo>
                    <a:lnTo>
                      <a:pt x="123" y="26"/>
                    </a:lnTo>
                    <a:lnTo>
                      <a:pt x="123" y="25"/>
                    </a:lnTo>
                    <a:lnTo>
                      <a:pt x="125" y="25"/>
                    </a:lnTo>
                    <a:lnTo>
                      <a:pt x="123" y="25"/>
                    </a:lnTo>
                    <a:lnTo>
                      <a:pt x="125" y="25"/>
                    </a:lnTo>
                    <a:lnTo>
                      <a:pt x="123" y="23"/>
                    </a:lnTo>
                    <a:lnTo>
                      <a:pt x="125" y="23"/>
                    </a:lnTo>
                    <a:lnTo>
                      <a:pt x="123" y="21"/>
                    </a:lnTo>
                    <a:lnTo>
                      <a:pt x="123" y="23"/>
                    </a:lnTo>
                    <a:lnTo>
                      <a:pt x="123" y="21"/>
                    </a:lnTo>
                    <a:lnTo>
                      <a:pt x="125" y="21"/>
                    </a:lnTo>
                    <a:lnTo>
                      <a:pt x="125" y="19"/>
                    </a:lnTo>
                    <a:lnTo>
                      <a:pt x="127" y="19"/>
                    </a:lnTo>
                    <a:lnTo>
                      <a:pt x="127" y="17"/>
                    </a:lnTo>
                    <a:lnTo>
                      <a:pt x="129" y="17"/>
                    </a:lnTo>
                    <a:lnTo>
                      <a:pt x="130" y="13"/>
                    </a:lnTo>
                    <a:lnTo>
                      <a:pt x="132" y="13"/>
                    </a:lnTo>
                    <a:lnTo>
                      <a:pt x="132" y="11"/>
                    </a:lnTo>
                    <a:lnTo>
                      <a:pt x="136" y="5"/>
                    </a:lnTo>
                    <a:lnTo>
                      <a:pt x="138" y="5"/>
                    </a:lnTo>
                    <a:lnTo>
                      <a:pt x="138" y="3"/>
                    </a:lnTo>
                    <a:lnTo>
                      <a:pt x="140" y="3"/>
                    </a:lnTo>
                    <a:lnTo>
                      <a:pt x="142" y="3"/>
                    </a:lnTo>
                    <a:lnTo>
                      <a:pt x="142" y="1"/>
                    </a:lnTo>
                    <a:lnTo>
                      <a:pt x="142" y="0"/>
                    </a:lnTo>
                    <a:lnTo>
                      <a:pt x="148" y="3"/>
                    </a:lnTo>
                    <a:lnTo>
                      <a:pt x="148" y="5"/>
                    </a:lnTo>
                    <a:lnTo>
                      <a:pt x="150" y="5"/>
                    </a:lnTo>
                    <a:lnTo>
                      <a:pt x="154" y="5"/>
                    </a:lnTo>
                    <a:lnTo>
                      <a:pt x="154" y="7"/>
                    </a:lnTo>
                    <a:lnTo>
                      <a:pt x="154" y="9"/>
                    </a:lnTo>
                    <a:lnTo>
                      <a:pt x="155" y="9"/>
                    </a:lnTo>
                    <a:lnTo>
                      <a:pt x="157" y="11"/>
                    </a:lnTo>
                    <a:lnTo>
                      <a:pt x="157" y="13"/>
                    </a:lnTo>
                    <a:lnTo>
                      <a:pt x="159" y="13"/>
                    </a:lnTo>
                    <a:lnTo>
                      <a:pt x="161" y="15"/>
                    </a:lnTo>
                    <a:lnTo>
                      <a:pt x="159" y="19"/>
                    </a:lnTo>
                    <a:lnTo>
                      <a:pt x="157" y="19"/>
                    </a:lnTo>
                    <a:lnTo>
                      <a:pt x="157" y="21"/>
                    </a:lnTo>
                    <a:lnTo>
                      <a:pt x="163" y="26"/>
                    </a:lnTo>
                    <a:lnTo>
                      <a:pt x="167" y="3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" name="Freeform 46">
                <a:extLst>
                  <a:ext uri="{FF2B5EF4-FFF2-40B4-BE49-F238E27FC236}">
                    <a16:creationId xmlns="" xmlns:a16="http://schemas.microsoft.com/office/drawing/2014/main" id="{6FB353D2-1FA8-4545-BEAB-884EAB3E1D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27263" y="3265488"/>
                <a:ext cx="411163" cy="234950"/>
              </a:xfrm>
              <a:custGeom>
                <a:avLst/>
                <a:gdLst>
                  <a:gd name="T0" fmla="*/ 249 w 259"/>
                  <a:gd name="T1" fmla="*/ 92 h 148"/>
                  <a:gd name="T2" fmla="*/ 251 w 259"/>
                  <a:gd name="T3" fmla="*/ 100 h 148"/>
                  <a:gd name="T4" fmla="*/ 251 w 259"/>
                  <a:gd name="T5" fmla="*/ 109 h 148"/>
                  <a:gd name="T6" fmla="*/ 240 w 259"/>
                  <a:gd name="T7" fmla="*/ 109 h 148"/>
                  <a:gd name="T8" fmla="*/ 238 w 259"/>
                  <a:gd name="T9" fmla="*/ 115 h 148"/>
                  <a:gd name="T10" fmla="*/ 226 w 259"/>
                  <a:gd name="T11" fmla="*/ 119 h 148"/>
                  <a:gd name="T12" fmla="*/ 209 w 259"/>
                  <a:gd name="T13" fmla="*/ 123 h 148"/>
                  <a:gd name="T14" fmla="*/ 199 w 259"/>
                  <a:gd name="T15" fmla="*/ 127 h 148"/>
                  <a:gd name="T16" fmla="*/ 199 w 259"/>
                  <a:gd name="T17" fmla="*/ 131 h 148"/>
                  <a:gd name="T18" fmla="*/ 190 w 259"/>
                  <a:gd name="T19" fmla="*/ 144 h 148"/>
                  <a:gd name="T20" fmla="*/ 176 w 259"/>
                  <a:gd name="T21" fmla="*/ 140 h 148"/>
                  <a:gd name="T22" fmla="*/ 167 w 259"/>
                  <a:gd name="T23" fmla="*/ 144 h 148"/>
                  <a:gd name="T24" fmla="*/ 157 w 259"/>
                  <a:gd name="T25" fmla="*/ 131 h 148"/>
                  <a:gd name="T26" fmla="*/ 146 w 259"/>
                  <a:gd name="T27" fmla="*/ 125 h 148"/>
                  <a:gd name="T28" fmla="*/ 134 w 259"/>
                  <a:gd name="T29" fmla="*/ 140 h 148"/>
                  <a:gd name="T30" fmla="*/ 121 w 259"/>
                  <a:gd name="T31" fmla="*/ 144 h 148"/>
                  <a:gd name="T32" fmla="*/ 107 w 259"/>
                  <a:gd name="T33" fmla="*/ 148 h 148"/>
                  <a:gd name="T34" fmla="*/ 96 w 259"/>
                  <a:gd name="T35" fmla="*/ 140 h 148"/>
                  <a:gd name="T36" fmla="*/ 94 w 259"/>
                  <a:gd name="T37" fmla="*/ 131 h 148"/>
                  <a:gd name="T38" fmla="*/ 86 w 259"/>
                  <a:gd name="T39" fmla="*/ 134 h 148"/>
                  <a:gd name="T40" fmla="*/ 84 w 259"/>
                  <a:gd name="T41" fmla="*/ 129 h 148"/>
                  <a:gd name="T42" fmla="*/ 71 w 259"/>
                  <a:gd name="T43" fmla="*/ 132 h 148"/>
                  <a:gd name="T44" fmla="*/ 74 w 259"/>
                  <a:gd name="T45" fmla="*/ 123 h 148"/>
                  <a:gd name="T46" fmla="*/ 80 w 259"/>
                  <a:gd name="T47" fmla="*/ 117 h 148"/>
                  <a:gd name="T48" fmla="*/ 74 w 259"/>
                  <a:gd name="T49" fmla="*/ 115 h 148"/>
                  <a:gd name="T50" fmla="*/ 63 w 259"/>
                  <a:gd name="T51" fmla="*/ 113 h 148"/>
                  <a:gd name="T52" fmla="*/ 57 w 259"/>
                  <a:gd name="T53" fmla="*/ 109 h 148"/>
                  <a:gd name="T54" fmla="*/ 53 w 259"/>
                  <a:gd name="T55" fmla="*/ 102 h 148"/>
                  <a:gd name="T56" fmla="*/ 46 w 259"/>
                  <a:gd name="T57" fmla="*/ 92 h 148"/>
                  <a:gd name="T58" fmla="*/ 42 w 259"/>
                  <a:gd name="T59" fmla="*/ 104 h 148"/>
                  <a:gd name="T60" fmla="*/ 30 w 259"/>
                  <a:gd name="T61" fmla="*/ 104 h 148"/>
                  <a:gd name="T62" fmla="*/ 17 w 259"/>
                  <a:gd name="T63" fmla="*/ 106 h 148"/>
                  <a:gd name="T64" fmla="*/ 7 w 259"/>
                  <a:gd name="T65" fmla="*/ 100 h 148"/>
                  <a:gd name="T66" fmla="*/ 1 w 259"/>
                  <a:gd name="T67" fmla="*/ 98 h 148"/>
                  <a:gd name="T68" fmla="*/ 5 w 259"/>
                  <a:gd name="T69" fmla="*/ 86 h 148"/>
                  <a:gd name="T70" fmla="*/ 11 w 259"/>
                  <a:gd name="T71" fmla="*/ 82 h 148"/>
                  <a:gd name="T72" fmla="*/ 21 w 259"/>
                  <a:gd name="T73" fmla="*/ 82 h 148"/>
                  <a:gd name="T74" fmla="*/ 26 w 259"/>
                  <a:gd name="T75" fmla="*/ 65 h 148"/>
                  <a:gd name="T76" fmla="*/ 40 w 259"/>
                  <a:gd name="T77" fmla="*/ 59 h 148"/>
                  <a:gd name="T78" fmla="*/ 48 w 259"/>
                  <a:gd name="T79" fmla="*/ 54 h 148"/>
                  <a:gd name="T80" fmla="*/ 57 w 259"/>
                  <a:gd name="T81" fmla="*/ 46 h 148"/>
                  <a:gd name="T82" fmla="*/ 59 w 259"/>
                  <a:gd name="T83" fmla="*/ 38 h 148"/>
                  <a:gd name="T84" fmla="*/ 63 w 259"/>
                  <a:gd name="T85" fmla="*/ 31 h 148"/>
                  <a:gd name="T86" fmla="*/ 73 w 259"/>
                  <a:gd name="T87" fmla="*/ 27 h 148"/>
                  <a:gd name="T88" fmla="*/ 76 w 259"/>
                  <a:gd name="T89" fmla="*/ 17 h 148"/>
                  <a:gd name="T90" fmla="*/ 92 w 259"/>
                  <a:gd name="T91" fmla="*/ 13 h 148"/>
                  <a:gd name="T92" fmla="*/ 101 w 259"/>
                  <a:gd name="T93" fmla="*/ 17 h 148"/>
                  <a:gd name="T94" fmla="*/ 111 w 259"/>
                  <a:gd name="T95" fmla="*/ 11 h 148"/>
                  <a:gd name="T96" fmla="*/ 119 w 259"/>
                  <a:gd name="T97" fmla="*/ 2 h 148"/>
                  <a:gd name="T98" fmla="*/ 124 w 259"/>
                  <a:gd name="T99" fmla="*/ 13 h 148"/>
                  <a:gd name="T100" fmla="*/ 130 w 259"/>
                  <a:gd name="T101" fmla="*/ 23 h 148"/>
                  <a:gd name="T102" fmla="*/ 134 w 259"/>
                  <a:gd name="T103" fmla="*/ 27 h 148"/>
                  <a:gd name="T104" fmla="*/ 142 w 259"/>
                  <a:gd name="T105" fmla="*/ 27 h 148"/>
                  <a:gd name="T106" fmla="*/ 149 w 259"/>
                  <a:gd name="T107" fmla="*/ 31 h 148"/>
                  <a:gd name="T108" fmla="*/ 155 w 259"/>
                  <a:gd name="T109" fmla="*/ 36 h 148"/>
                  <a:gd name="T110" fmla="*/ 167 w 259"/>
                  <a:gd name="T111" fmla="*/ 44 h 148"/>
                  <a:gd name="T112" fmla="*/ 176 w 259"/>
                  <a:gd name="T113" fmla="*/ 56 h 148"/>
                  <a:gd name="T114" fmla="*/ 220 w 259"/>
                  <a:gd name="T115" fmla="*/ 67 h 148"/>
                  <a:gd name="T116" fmla="*/ 249 w 259"/>
                  <a:gd name="T117" fmla="*/ 59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59" h="148">
                    <a:moveTo>
                      <a:pt x="259" y="65"/>
                    </a:moveTo>
                    <a:lnTo>
                      <a:pt x="251" y="77"/>
                    </a:lnTo>
                    <a:lnTo>
                      <a:pt x="249" y="77"/>
                    </a:lnTo>
                    <a:lnTo>
                      <a:pt x="249" y="79"/>
                    </a:lnTo>
                    <a:lnTo>
                      <a:pt x="253" y="82"/>
                    </a:lnTo>
                    <a:lnTo>
                      <a:pt x="251" y="88"/>
                    </a:lnTo>
                    <a:lnTo>
                      <a:pt x="249" y="88"/>
                    </a:lnTo>
                    <a:lnTo>
                      <a:pt x="249" y="90"/>
                    </a:lnTo>
                    <a:lnTo>
                      <a:pt x="247" y="90"/>
                    </a:lnTo>
                    <a:lnTo>
                      <a:pt x="249" y="92"/>
                    </a:lnTo>
                    <a:lnTo>
                      <a:pt x="249" y="94"/>
                    </a:lnTo>
                    <a:lnTo>
                      <a:pt x="249" y="96"/>
                    </a:lnTo>
                    <a:lnTo>
                      <a:pt x="249" y="94"/>
                    </a:lnTo>
                    <a:lnTo>
                      <a:pt x="249" y="96"/>
                    </a:lnTo>
                    <a:lnTo>
                      <a:pt x="251" y="98"/>
                    </a:lnTo>
                    <a:lnTo>
                      <a:pt x="253" y="98"/>
                    </a:lnTo>
                    <a:lnTo>
                      <a:pt x="255" y="98"/>
                    </a:lnTo>
                    <a:lnTo>
                      <a:pt x="253" y="98"/>
                    </a:lnTo>
                    <a:lnTo>
                      <a:pt x="253" y="100"/>
                    </a:lnTo>
                    <a:lnTo>
                      <a:pt x="251" y="100"/>
                    </a:lnTo>
                    <a:lnTo>
                      <a:pt x="251" y="102"/>
                    </a:lnTo>
                    <a:lnTo>
                      <a:pt x="253" y="102"/>
                    </a:lnTo>
                    <a:lnTo>
                      <a:pt x="251" y="104"/>
                    </a:lnTo>
                    <a:lnTo>
                      <a:pt x="253" y="104"/>
                    </a:lnTo>
                    <a:lnTo>
                      <a:pt x="251" y="104"/>
                    </a:lnTo>
                    <a:lnTo>
                      <a:pt x="253" y="104"/>
                    </a:lnTo>
                    <a:lnTo>
                      <a:pt x="253" y="106"/>
                    </a:lnTo>
                    <a:lnTo>
                      <a:pt x="251" y="106"/>
                    </a:lnTo>
                    <a:lnTo>
                      <a:pt x="251" y="107"/>
                    </a:lnTo>
                    <a:lnTo>
                      <a:pt x="251" y="109"/>
                    </a:lnTo>
                    <a:lnTo>
                      <a:pt x="251" y="111"/>
                    </a:lnTo>
                    <a:lnTo>
                      <a:pt x="251" y="113"/>
                    </a:lnTo>
                    <a:lnTo>
                      <a:pt x="249" y="113"/>
                    </a:lnTo>
                    <a:lnTo>
                      <a:pt x="247" y="113"/>
                    </a:lnTo>
                    <a:lnTo>
                      <a:pt x="245" y="113"/>
                    </a:lnTo>
                    <a:lnTo>
                      <a:pt x="245" y="111"/>
                    </a:lnTo>
                    <a:lnTo>
                      <a:pt x="244" y="111"/>
                    </a:lnTo>
                    <a:lnTo>
                      <a:pt x="244" y="109"/>
                    </a:lnTo>
                    <a:lnTo>
                      <a:pt x="242" y="109"/>
                    </a:lnTo>
                    <a:lnTo>
                      <a:pt x="240" y="109"/>
                    </a:lnTo>
                    <a:lnTo>
                      <a:pt x="242" y="109"/>
                    </a:lnTo>
                    <a:lnTo>
                      <a:pt x="240" y="109"/>
                    </a:lnTo>
                    <a:lnTo>
                      <a:pt x="240" y="111"/>
                    </a:lnTo>
                    <a:lnTo>
                      <a:pt x="238" y="111"/>
                    </a:lnTo>
                    <a:lnTo>
                      <a:pt x="240" y="111"/>
                    </a:lnTo>
                    <a:lnTo>
                      <a:pt x="240" y="113"/>
                    </a:lnTo>
                    <a:lnTo>
                      <a:pt x="238" y="113"/>
                    </a:lnTo>
                    <a:lnTo>
                      <a:pt x="238" y="115"/>
                    </a:lnTo>
                    <a:lnTo>
                      <a:pt x="240" y="115"/>
                    </a:lnTo>
                    <a:lnTo>
                      <a:pt x="238" y="115"/>
                    </a:lnTo>
                    <a:lnTo>
                      <a:pt x="238" y="117"/>
                    </a:lnTo>
                    <a:lnTo>
                      <a:pt x="236" y="117"/>
                    </a:lnTo>
                    <a:lnTo>
                      <a:pt x="234" y="117"/>
                    </a:lnTo>
                    <a:lnTo>
                      <a:pt x="234" y="115"/>
                    </a:lnTo>
                    <a:lnTo>
                      <a:pt x="232" y="113"/>
                    </a:lnTo>
                    <a:lnTo>
                      <a:pt x="232" y="115"/>
                    </a:lnTo>
                    <a:lnTo>
                      <a:pt x="230" y="115"/>
                    </a:lnTo>
                    <a:lnTo>
                      <a:pt x="230" y="117"/>
                    </a:lnTo>
                    <a:lnTo>
                      <a:pt x="228" y="117"/>
                    </a:lnTo>
                    <a:lnTo>
                      <a:pt x="226" y="119"/>
                    </a:lnTo>
                    <a:lnTo>
                      <a:pt x="224" y="123"/>
                    </a:lnTo>
                    <a:lnTo>
                      <a:pt x="222" y="123"/>
                    </a:lnTo>
                    <a:lnTo>
                      <a:pt x="220" y="121"/>
                    </a:lnTo>
                    <a:lnTo>
                      <a:pt x="219" y="121"/>
                    </a:lnTo>
                    <a:lnTo>
                      <a:pt x="217" y="121"/>
                    </a:lnTo>
                    <a:lnTo>
                      <a:pt x="213" y="121"/>
                    </a:lnTo>
                    <a:lnTo>
                      <a:pt x="215" y="119"/>
                    </a:lnTo>
                    <a:lnTo>
                      <a:pt x="213" y="119"/>
                    </a:lnTo>
                    <a:lnTo>
                      <a:pt x="211" y="121"/>
                    </a:lnTo>
                    <a:lnTo>
                      <a:pt x="209" y="123"/>
                    </a:lnTo>
                    <a:lnTo>
                      <a:pt x="207" y="123"/>
                    </a:lnTo>
                    <a:lnTo>
                      <a:pt x="207" y="125"/>
                    </a:lnTo>
                    <a:lnTo>
                      <a:pt x="207" y="127"/>
                    </a:lnTo>
                    <a:lnTo>
                      <a:pt x="207" y="129"/>
                    </a:lnTo>
                    <a:lnTo>
                      <a:pt x="205" y="129"/>
                    </a:lnTo>
                    <a:lnTo>
                      <a:pt x="203" y="129"/>
                    </a:lnTo>
                    <a:lnTo>
                      <a:pt x="201" y="127"/>
                    </a:lnTo>
                    <a:lnTo>
                      <a:pt x="201" y="129"/>
                    </a:lnTo>
                    <a:lnTo>
                      <a:pt x="201" y="127"/>
                    </a:lnTo>
                    <a:lnTo>
                      <a:pt x="199" y="127"/>
                    </a:lnTo>
                    <a:lnTo>
                      <a:pt x="199" y="129"/>
                    </a:lnTo>
                    <a:lnTo>
                      <a:pt x="197" y="131"/>
                    </a:lnTo>
                    <a:lnTo>
                      <a:pt x="199" y="131"/>
                    </a:lnTo>
                    <a:lnTo>
                      <a:pt x="199" y="129"/>
                    </a:lnTo>
                    <a:lnTo>
                      <a:pt x="199" y="131"/>
                    </a:lnTo>
                    <a:lnTo>
                      <a:pt x="199" y="129"/>
                    </a:lnTo>
                    <a:lnTo>
                      <a:pt x="201" y="131"/>
                    </a:lnTo>
                    <a:lnTo>
                      <a:pt x="199" y="131"/>
                    </a:lnTo>
                    <a:lnTo>
                      <a:pt x="199" y="132"/>
                    </a:lnTo>
                    <a:lnTo>
                      <a:pt x="199" y="131"/>
                    </a:lnTo>
                    <a:lnTo>
                      <a:pt x="197" y="131"/>
                    </a:lnTo>
                    <a:lnTo>
                      <a:pt x="197" y="132"/>
                    </a:lnTo>
                    <a:lnTo>
                      <a:pt x="197" y="134"/>
                    </a:lnTo>
                    <a:lnTo>
                      <a:pt x="195" y="136"/>
                    </a:lnTo>
                    <a:lnTo>
                      <a:pt x="195" y="138"/>
                    </a:lnTo>
                    <a:lnTo>
                      <a:pt x="194" y="138"/>
                    </a:lnTo>
                    <a:lnTo>
                      <a:pt x="192" y="138"/>
                    </a:lnTo>
                    <a:lnTo>
                      <a:pt x="192" y="140"/>
                    </a:lnTo>
                    <a:lnTo>
                      <a:pt x="190" y="142"/>
                    </a:lnTo>
                    <a:lnTo>
                      <a:pt x="190" y="144"/>
                    </a:lnTo>
                    <a:lnTo>
                      <a:pt x="188" y="144"/>
                    </a:lnTo>
                    <a:lnTo>
                      <a:pt x="190" y="144"/>
                    </a:lnTo>
                    <a:lnTo>
                      <a:pt x="188" y="144"/>
                    </a:lnTo>
                    <a:lnTo>
                      <a:pt x="190" y="146"/>
                    </a:lnTo>
                    <a:lnTo>
                      <a:pt x="188" y="146"/>
                    </a:lnTo>
                    <a:lnTo>
                      <a:pt x="186" y="144"/>
                    </a:lnTo>
                    <a:lnTo>
                      <a:pt x="184" y="144"/>
                    </a:lnTo>
                    <a:lnTo>
                      <a:pt x="180" y="142"/>
                    </a:lnTo>
                    <a:lnTo>
                      <a:pt x="178" y="140"/>
                    </a:lnTo>
                    <a:lnTo>
                      <a:pt x="176" y="140"/>
                    </a:lnTo>
                    <a:lnTo>
                      <a:pt x="174" y="140"/>
                    </a:lnTo>
                    <a:lnTo>
                      <a:pt x="174" y="138"/>
                    </a:lnTo>
                    <a:lnTo>
                      <a:pt x="172" y="138"/>
                    </a:lnTo>
                    <a:lnTo>
                      <a:pt x="172" y="140"/>
                    </a:lnTo>
                    <a:lnTo>
                      <a:pt x="171" y="140"/>
                    </a:lnTo>
                    <a:lnTo>
                      <a:pt x="171" y="142"/>
                    </a:lnTo>
                    <a:lnTo>
                      <a:pt x="169" y="140"/>
                    </a:lnTo>
                    <a:lnTo>
                      <a:pt x="169" y="142"/>
                    </a:lnTo>
                    <a:lnTo>
                      <a:pt x="167" y="142"/>
                    </a:lnTo>
                    <a:lnTo>
                      <a:pt x="167" y="144"/>
                    </a:lnTo>
                    <a:lnTo>
                      <a:pt x="165" y="144"/>
                    </a:lnTo>
                    <a:lnTo>
                      <a:pt x="163" y="142"/>
                    </a:lnTo>
                    <a:lnTo>
                      <a:pt x="163" y="140"/>
                    </a:lnTo>
                    <a:lnTo>
                      <a:pt x="163" y="138"/>
                    </a:lnTo>
                    <a:lnTo>
                      <a:pt x="163" y="136"/>
                    </a:lnTo>
                    <a:lnTo>
                      <a:pt x="165" y="136"/>
                    </a:lnTo>
                    <a:lnTo>
                      <a:pt x="165" y="134"/>
                    </a:lnTo>
                    <a:lnTo>
                      <a:pt x="159" y="132"/>
                    </a:lnTo>
                    <a:lnTo>
                      <a:pt x="159" y="131"/>
                    </a:lnTo>
                    <a:lnTo>
                      <a:pt x="157" y="131"/>
                    </a:lnTo>
                    <a:lnTo>
                      <a:pt x="159" y="127"/>
                    </a:lnTo>
                    <a:lnTo>
                      <a:pt x="155" y="125"/>
                    </a:lnTo>
                    <a:lnTo>
                      <a:pt x="153" y="125"/>
                    </a:lnTo>
                    <a:lnTo>
                      <a:pt x="153" y="123"/>
                    </a:lnTo>
                    <a:lnTo>
                      <a:pt x="151" y="125"/>
                    </a:lnTo>
                    <a:lnTo>
                      <a:pt x="151" y="123"/>
                    </a:lnTo>
                    <a:lnTo>
                      <a:pt x="149" y="123"/>
                    </a:lnTo>
                    <a:lnTo>
                      <a:pt x="147" y="123"/>
                    </a:lnTo>
                    <a:lnTo>
                      <a:pt x="147" y="125"/>
                    </a:lnTo>
                    <a:lnTo>
                      <a:pt x="146" y="125"/>
                    </a:lnTo>
                    <a:lnTo>
                      <a:pt x="144" y="127"/>
                    </a:lnTo>
                    <a:lnTo>
                      <a:pt x="144" y="129"/>
                    </a:lnTo>
                    <a:lnTo>
                      <a:pt x="142" y="129"/>
                    </a:lnTo>
                    <a:lnTo>
                      <a:pt x="142" y="132"/>
                    </a:lnTo>
                    <a:lnTo>
                      <a:pt x="142" y="134"/>
                    </a:lnTo>
                    <a:lnTo>
                      <a:pt x="142" y="136"/>
                    </a:lnTo>
                    <a:lnTo>
                      <a:pt x="140" y="136"/>
                    </a:lnTo>
                    <a:lnTo>
                      <a:pt x="138" y="138"/>
                    </a:lnTo>
                    <a:lnTo>
                      <a:pt x="136" y="140"/>
                    </a:lnTo>
                    <a:lnTo>
                      <a:pt x="134" y="140"/>
                    </a:lnTo>
                    <a:lnTo>
                      <a:pt x="134" y="142"/>
                    </a:lnTo>
                    <a:lnTo>
                      <a:pt x="132" y="142"/>
                    </a:lnTo>
                    <a:lnTo>
                      <a:pt x="130" y="142"/>
                    </a:lnTo>
                    <a:lnTo>
                      <a:pt x="128" y="142"/>
                    </a:lnTo>
                    <a:lnTo>
                      <a:pt x="128" y="140"/>
                    </a:lnTo>
                    <a:lnTo>
                      <a:pt x="126" y="142"/>
                    </a:lnTo>
                    <a:lnTo>
                      <a:pt x="124" y="142"/>
                    </a:lnTo>
                    <a:lnTo>
                      <a:pt x="122" y="144"/>
                    </a:lnTo>
                    <a:lnTo>
                      <a:pt x="122" y="146"/>
                    </a:lnTo>
                    <a:lnTo>
                      <a:pt x="121" y="144"/>
                    </a:lnTo>
                    <a:lnTo>
                      <a:pt x="121" y="146"/>
                    </a:lnTo>
                    <a:lnTo>
                      <a:pt x="119" y="146"/>
                    </a:lnTo>
                    <a:lnTo>
                      <a:pt x="117" y="148"/>
                    </a:lnTo>
                    <a:lnTo>
                      <a:pt x="117" y="146"/>
                    </a:lnTo>
                    <a:lnTo>
                      <a:pt x="115" y="148"/>
                    </a:lnTo>
                    <a:lnTo>
                      <a:pt x="115" y="146"/>
                    </a:lnTo>
                    <a:lnTo>
                      <a:pt x="113" y="146"/>
                    </a:lnTo>
                    <a:lnTo>
                      <a:pt x="111" y="148"/>
                    </a:lnTo>
                    <a:lnTo>
                      <a:pt x="109" y="148"/>
                    </a:lnTo>
                    <a:lnTo>
                      <a:pt x="107" y="148"/>
                    </a:lnTo>
                    <a:lnTo>
                      <a:pt x="105" y="148"/>
                    </a:lnTo>
                    <a:lnTo>
                      <a:pt x="103" y="148"/>
                    </a:lnTo>
                    <a:lnTo>
                      <a:pt x="101" y="146"/>
                    </a:lnTo>
                    <a:lnTo>
                      <a:pt x="99" y="146"/>
                    </a:lnTo>
                    <a:lnTo>
                      <a:pt x="99" y="144"/>
                    </a:lnTo>
                    <a:lnTo>
                      <a:pt x="98" y="146"/>
                    </a:lnTo>
                    <a:lnTo>
                      <a:pt x="98" y="144"/>
                    </a:lnTo>
                    <a:lnTo>
                      <a:pt x="98" y="142"/>
                    </a:lnTo>
                    <a:lnTo>
                      <a:pt x="98" y="140"/>
                    </a:lnTo>
                    <a:lnTo>
                      <a:pt x="96" y="140"/>
                    </a:lnTo>
                    <a:lnTo>
                      <a:pt x="98" y="140"/>
                    </a:lnTo>
                    <a:lnTo>
                      <a:pt x="96" y="138"/>
                    </a:lnTo>
                    <a:lnTo>
                      <a:pt x="96" y="136"/>
                    </a:lnTo>
                    <a:lnTo>
                      <a:pt x="98" y="134"/>
                    </a:lnTo>
                    <a:lnTo>
                      <a:pt x="96" y="134"/>
                    </a:lnTo>
                    <a:lnTo>
                      <a:pt x="96" y="132"/>
                    </a:lnTo>
                    <a:lnTo>
                      <a:pt x="94" y="132"/>
                    </a:lnTo>
                    <a:lnTo>
                      <a:pt x="96" y="131"/>
                    </a:lnTo>
                    <a:lnTo>
                      <a:pt x="94" y="132"/>
                    </a:lnTo>
                    <a:lnTo>
                      <a:pt x="94" y="131"/>
                    </a:lnTo>
                    <a:lnTo>
                      <a:pt x="96" y="131"/>
                    </a:lnTo>
                    <a:lnTo>
                      <a:pt x="96" y="129"/>
                    </a:lnTo>
                    <a:lnTo>
                      <a:pt x="94" y="129"/>
                    </a:lnTo>
                    <a:lnTo>
                      <a:pt x="94" y="131"/>
                    </a:lnTo>
                    <a:lnTo>
                      <a:pt x="92" y="131"/>
                    </a:lnTo>
                    <a:lnTo>
                      <a:pt x="90" y="131"/>
                    </a:lnTo>
                    <a:lnTo>
                      <a:pt x="88" y="131"/>
                    </a:lnTo>
                    <a:lnTo>
                      <a:pt x="88" y="132"/>
                    </a:lnTo>
                    <a:lnTo>
                      <a:pt x="86" y="132"/>
                    </a:lnTo>
                    <a:lnTo>
                      <a:pt x="86" y="134"/>
                    </a:lnTo>
                    <a:lnTo>
                      <a:pt x="84" y="136"/>
                    </a:lnTo>
                    <a:lnTo>
                      <a:pt x="82" y="136"/>
                    </a:lnTo>
                    <a:lnTo>
                      <a:pt x="80" y="134"/>
                    </a:lnTo>
                    <a:lnTo>
                      <a:pt x="82" y="132"/>
                    </a:lnTo>
                    <a:lnTo>
                      <a:pt x="84" y="131"/>
                    </a:lnTo>
                    <a:lnTo>
                      <a:pt x="84" y="129"/>
                    </a:lnTo>
                    <a:lnTo>
                      <a:pt x="86" y="127"/>
                    </a:lnTo>
                    <a:lnTo>
                      <a:pt x="86" y="125"/>
                    </a:lnTo>
                    <a:lnTo>
                      <a:pt x="84" y="127"/>
                    </a:lnTo>
                    <a:lnTo>
                      <a:pt x="84" y="129"/>
                    </a:lnTo>
                    <a:lnTo>
                      <a:pt x="84" y="131"/>
                    </a:lnTo>
                    <a:lnTo>
                      <a:pt x="82" y="131"/>
                    </a:lnTo>
                    <a:lnTo>
                      <a:pt x="82" y="132"/>
                    </a:lnTo>
                    <a:lnTo>
                      <a:pt x="80" y="132"/>
                    </a:lnTo>
                    <a:lnTo>
                      <a:pt x="80" y="134"/>
                    </a:lnTo>
                    <a:lnTo>
                      <a:pt x="78" y="134"/>
                    </a:lnTo>
                    <a:lnTo>
                      <a:pt x="78" y="136"/>
                    </a:lnTo>
                    <a:lnTo>
                      <a:pt x="74" y="134"/>
                    </a:lnTo>
                    <a:lnTo>
                      <a:pt x="71" y="134"/>
                    </a:lnTo>
                    <a:lnTo>
                      <a:pt x="71" y="132"/>
                    </a:lnTo>
                    <a:lnTo>
                      <a:pt x="71" y="131"/>
                    </a:lnTo>
                    <a:lnTo>
                      <a:pt x="69" y="129"/>
                    </a:lnTo>
                    <a:lnTo>
                      <a:pt x="71" y="129"/>
                    </a:lnTo>
                    <a:lnTo>
                      <a:pt x="71" y="127"/>
                    </a:lnTo>
                    <a:lnTo>
                      <a:pt x="73" y="127"/>
                    </a:lnTo>
                    <a:lnTo>
                      <a:pt x="73" y="125"/>
                    </a:lnTo>
                    <a:lnTo>
                      <a:pt x="74" y="125"/>
                    </a:lnTo>
                    <a:lnTo>
                      <a:pt x="74" y="123"/>
                    </a:lnTo>
                    <a:lnTo>
                      <a:pt x="73" y="123"/>
                    </a:lnTo>
                    <a:lnTo>
                      <a:pt x="74" y="123"/>
                    </a:lnTo>
                    <a:lnTo>
                      <a:pt x="74" y="121"/>
                    </a:lnTo>
                    <a:lnTo>
                      <a:pt x="76" y="121"/>
                    </a:lnTo>
                    <a:lnTo>
                      <a:pt x="76" y="119"/>
                    </a:lnTo>
                    <a:lnTo>
                      <a:pt x="78" y="119"/>
                    </a:lnTo>
                    <a:lnTo>
                      <a:pt x="76" y="119"/>
                    </a:lnTo>
                    <a:lnTo>
                      <a:pt x="78" y="119"/>
                    </a:lnTo>
                    <a:lnTo>
                      <a:pt x="76" y="119"/>
                    </a:lnTo>
                    <a:lnTo>
                      <a:pt x="78" y="119"/>
                    </a:lnTo>
                    <a:lnTo>
                      <a:pt x="78" y="117"/>
                    </a:lnTo>
                    <a:lnTo>
                      <a:pt x="80" y="117"/>
                    </a:lnTo>
                    <a:lnTo>
                      <a:pt x="80" y="115"/>
                    </a:lnTo>
                    <a:lnTo>
                      <a:pt x="78" y="115"/>
                    </a:lnTo>
                    <a:lnTo>
                      <a:pt x="78" y="113"/>
                    </a:lnTo>
                    <a:lnTo>
                      <a:pt x="80" y="113"/>
                    </a:lnTo>
                    <a:lnTo>
                      <a:pt x="78" y="113"/>
                    </a:lnTo>
                    <a:lnTo>
                      <a:pt x="78" y="111"/>
                    </a:lnTo>
                    <a:lnTo>
                      <a:pt x="76" y="111"/>
                    </a:lnTo>
                    <a:lnTo>
                      <a:pt x="76" y="113"/>
                    </a:lnTo>
                    <a:lnTo>
                      <a:pt x="74" y="113"/>
                    </a:lnTo>
                    <a:lnTo>
                      <a:pt x="74" y="115"/>
                    </a:lnTo>
                    <a:lnTo>
                      <a:pt x="74" y="113"/>
                    </a:lnTo>
                    <a:lnTo>
                      <a:pt x="73" y="113"/>
                    </a:lnTo>
                    <a:lnTo>
                      <a:pt x="71" y="113"/>
                    </a:lnTo>
                    <a:lnTo>
                      <a:pt x="69" y="111"/>
                    </a:lnTo>
                    <a:lnTo>
                      <a:pt x="67" y="111"/>
                    </a:lnTo>
                    <a:lnTo>
                      <a:pt x="69" y="111"/>
                    </a:lnTo>
                    <a:lnTo>
                      <a:pt x="67" y="111"/>
                    </a:lnTo>
                    <a:lnTo>
                      <a:pt x="65" y="111"/>
                    </a:lnTo>
                    <a:lnTo>
                      <a:pt x="63" y="111"/>
                    </a:lnTo>
                    <a:lnTo>
                      <a:pt x="63" y="113"/>
                    </a:lnTo>
                    <a:lnTo>
                      <a:pt x="63" y="111"/>
                    </a:lnTo>
                    <a:lnTo>
                      <a:pt x="61" y="111"/>
                    </a:lnTo>
                    <a:lnTo>
                      <a:pt x="61" y="113"/>
                    </a:lnTo>
                    <a:lnTo>
                      <a:pt x="61" y="111"/>
                    </a:lnTo>
                    <a:lnTo>
                      <a:pt x="59" y="111"/>
                    </a:lnTo>
                    <a:lnTo>
                      <a:pt x="57" y="111"/>
                    </a:lnTo>
                    <a:lnTo>
                      <a:pt x="59" y="111"/>
                    </a:lnTo>
                    <a:lnTo>
                      <a:pt x="57" y="109"/>
                    </a:lnTo>
                    <a:lnTo>
                      <a:pt x="57" y="111"/>
                    </a:lnTo>
                    <a:lnTo>
                      <a:pt x="57" y="109"/>
                    </a:lnTo>
                    <a:lnTo>
                      <a:pt x="55" y="109"/>
                    </a:lnTo>
                    <a:lnTo>
                      <a:pt x="57" y="107"/>
                    </a:lnTo>
                    <a:lnTo>
                      <a:pt x="55" y="107"/>
                    </a:lnTo>
                    <a:lnTo>
                      <a:pt x="57" y="107"/>
                    </a:lnTo>
                    <a:lnTo>
                      <a:pt x="55" y="107"/>
                    </a:lnTo>
                    <a:lnTo>
                      <a:pt x="53" y="106"/>
                    </a:lnTo>
                    <a:lnTo>
                      <a:pt x="55" y="106"/>
                    </a:lnTo>
                    <a:lnTo>
                      <a:pt x="55" y="104"/>
                    </a:lnTo>
                    <a:lnTo>
                      <a:pt x="53" y="104"/>
                    </a:lnTo>
                    <a:lnTo>
                      <a:pt x="53" y="102"/>
                    </a:lnTo>
                    <a:lnTo>
                      <a:pt x="53" y="100"/>
                    </a:lnTo>
                    <a:lnTo>
                      <a:pt x="53" y="98"/>
                    </a:lnTo>
                    <a:lnTo>
                      <a:pt x="53" y="96"/>
                    </a:lnTo>
                    <a:lnTo>
                      <a:pt x="51" y="96"/>
                    </a:lnTo>
                    <a:lnTo>
                      <a:pt x="51" y="94"/>
                    </a:lnTo>
                    <a:lnTo>
                      <a:pt x="49" y="92"/>
                    </a:lnTo>
                    <a:lnTo>
                      <a:pt x="49" y="90"/>
                    </a:lnTo>
                    <a:lnTo>
                      <a:pt x="48" y="90"/>
                    </a:lnTo>
                    <a:lnTo>
                      <a:pt x="48" y="92"/>
                    </a:lnTo>
                    <a:lnTo>
                      <a:pt x="46" y="92"/>
                    </a:lnTo>
                    <a:lnTo>
                      <a:pt x="46" y="94"/>
                    </a:lnTo>
                    <a:lnTo>
                      <a:pt x="46" y="96"/>
                    </a:lnTo>
                    <a:lnTo>
                      <a:pt x="44" y="96"/>
                    </a:lnTo>
                    <a:lnTo>
                      <a:pt x="44" y="98"/>
                    </a:lnTo>
                    <a:lnTo>
                      <a:pt x="44" y="100"/>
                    </a:lnTo>
                    <a:lnTo>
                      <a:pt x="42" y="100"/>
                    </a:lnTo>
                    <a:lnTo>
                      <a:pt x="42" y="102"/>
                    </a:lnTo>
                    <a:lnTo>
                      <a:pt x="40" y="102"/>
                    </a:lnTo>
                    <a:lnTo>
                      <a:pt x="42" y="102"/>
                    </a:lnTo>
                    <a:lnTo>
                      <a:pt x="42" y="104"/>
                    </a:lnTo>
                    <a:lnTo>
                      <a:pt x="40" y="104"/>
                    </a:lnTo>
                    <a:lnTo>
                      <a:pt x="40" y="106"/>
                    </a:lnTo>
                    <a:lnTo>
                      <a:pt x="38" y="106"/>
                    </a:lnTo>
                    <a:lnTo>
                      <a:pt x="36" y="106"/>
                    </a:lnTo>
                    <a:lnTo>
                      <a:pt x="36" y="104"/>
                    </a:lnTo>
                    <a:lnTo>
                      <a:pt x="34" y="104"/>
                    </a:lnTo>
                    <a:lnTo>
                      <a:pt x="32" y="104"/>
                    </a:lnTo>
                    <a:lnTo>
                      <a:pt x="32" y="106"/>
                    </a:lnTo>
                    <a:lnTo>
                      <a:pt x="30" y="106"/>
                    </a:lnTo>
                    <a:lnTo>
                      <a:pt x="30" y="104"/>
                    </a:lnTo>
                    <a:lnTo>
                      <a:pt x="28" y="104"/>
                    </a:lnTo>
                    <a:lnTo>
                      <a:pt x="26" y="104"/>
                    </a:lnTo>
                    <a:lnTo>
                      <a:pt x="25" y="104"/>
                    </a:lnTo>
                    <a:lnTo>
                      <a:pt x="25" y="102"/>
                    </a:lnTo>
                    <a:lnTo>
                      <a:pt x="25" y="104"/>
                    </a:lnTo>
                    <a:lnTo>
                      <a:pt x="23" y="104"/>
                    </a:lnTo>
                    <a:lnTo>
                      <a:pt x="21" y="104"/>
                    </a:lnTo>
                    <a:lnTo>
                      <a:pt x="19" y="104"/>
                    </a:lnTo>
                    <a:lnTo>
                      <a:pt x="19" y="106"/>
                    </a:lnTo>
                    <a:lnTo>
                      <a:pt x="17" y="106"/>
                    </a:lnTo>
                    <a:lnTo>
                      <a:pt x="17" y="104"/>
                    </a:lnTo>
                    <a:lnTo>
                      <a:pt x="15" y="104"/>
                    </a:lnTo>
                    <a:lnTo>
                      <a:pt x="15" y="102"/>
                    </a:lnTo>
                    <a:lnTo>
                      <a:pt x="13" y="102"/>
                    </a:lnTo>
                    <a:lnTo>
                      <a:pt x="13" y="100"/>
                    </a:lnTo>
                    <a:lnTo>
                      <a:pt x="13" y="102"/>
                    </a:lnTo>
                    <a:lnTo>
                      <a:pt x="11" y="102"/>
                    </a:lnTo>
                    <a:lnTo>
                      <a:pt x="11" y="100"/>
                    </a:lnTo>
                    <a:lnTo>
                      <a:pt x="9" y="100"/>
                    </a:lnTo>
                    <a:lnTo>
                      <a:pt x="7" y="100"/>
                    </a:lnTo>
                    <a:lnTo>
                      <a:pt x="7" y="102"/>
                    </a:lnTo>
                    <a:lnTo>
                      <a:pt x="7" y="100"/>
                    </a:lnTo>
                    <a:lnTo>
                      <a:pt x="5" y="100"/>
                    </a:lnTo>
                    <a:lnTo>
                      <a:pt x="5" y="98"/>
                    </a:lnTo>
                    <a:lnTo>
                      <a:pt x="3" y="98"/>
                    </a:lnTo>
                    <a:lnTo>
                      <a:pt x="1" y="98"/>
                    </a:lnTo>
                    <a:lnTo>
                      <a:pt x="1" y="100"/>
                    </a:lnTo>
                    <a:lnTo>
                      <a:pt x="1" y="98"/>
                    </a:lnTo>
                    <a:lnTo>
                      <a:pt x="1" y="100"/>
                    </a:lnTo>
                    <a:lnTo>
                      <a:pt x="1" y="98"/>
                    </a:lnTo>
                    <a:lnTo>
                      <a:pt x="0" y="98"/>
                    </a:lnTo>
                    <a:lnTo>
                      <a:pt x="0" y="96"/>
                    </a:lnTo>
                    <a:lnTo>
                      <a:pt x="1" y="96"/>
                    </a:lnTo>
                    <a:lnTo>
                      <a:pt x="1" y="94"/>
                    </a:lnTo>
                    <a:lnTo>
                      <a:pt x="3" y="94"/>
                    </a:lnTo>
                    <a:lnTo>
                      <a:pt x="3" y="92"/>
                    </a:lnTo>
                    <a:lnTo>
                      <a:pt x="3" y="90"/>
                    </a:lnTo>
                    <a:lnTo>
                      <a:pt x="5" y="90"/>
                    </a:lnTo>
                    <a:lnTo>
                      <a:pt x="5" y="88"/>
                    </a:lnTo>
                    <a:lnTo>
                      <a:pt x="5" y="86"/>
                    </a:lnTo>
                    <a:lnTo>
                      <a:pt x="7" y="86"/>
                    </a:lnTo>
                    <a:lnTo>
                      <a:pt x="7" y="84"/>
                    </a:lnTo>
                    <a:lnTo>
                      <a:pt x="9" y="84"/>
                    </a:lnTo>
                    <a:lnTo>
                      <a:pt x="9" y="86"/>
                    </a:lnTo>
                    <a:lnTo>
                      <a:pt x="11" y="84"/>
                    </a:lnTo>
                    <a:lnTo>
                      <a:pt x="9" y="84"/>
                    </a:lnTo>
                    <a:lnTo>
                      <a:pt x="11" y="84"/>
                    </a:lnTo>
                    <a:lnTo>
                      <a:pt x="9" y="84"/>
                    </a:lnTo>
                    <a:lnTo>
                      <a:pt x="9" y="82"/>
                    </a:lnTo>
                    <a:lnTo>
                      <a:pt x="11" y="82"/>
                    </a:lnTo>
                    <a:lnTo>
                      <a:pt x="13" y="82"/>
                    </a:lnTo>
                    <a:lnTo>
                      <a:pt x="13" y="81"/>
                    </a:lnTo>
                    <a:lnTo>
                      <a:pt x="13" y="82"/>
                    </a:lnTo>
                    <a:lnTo>
                      <a:pt x="15" y="82"/>
                    </a:lnTo>
                    <a:lnTo>
                      <a:pt x="13" y="82"/>
                    </a:lnTo>
                    <a:lnTo>
                      <a:pt x="15" y="82"/>
                    </a:lnTo>
                    <a:lnTo>
                      <a:pt x="15" y="84"/>
                    </a:lnTo>
                    <a:lnTo>
                      <a:pt x="17" y="84"/>
                    </a:lnTo>
                    <a:lnTo>
                      <a:pt x="19" y="82"/>
                    </a:lnTo>
                    <a:lnTo>
                      <a:pt x="21" y="82"/>
                    </a:lnTo>
                    <a:lnTo>
                      <a:pt x="21" y="81"/>
                    </a:lnTo>
                    <a:lnTo>
                      <a:pt x="21" y="77"/>
                    </a:lnTo>
                    <a:lnTo>
                      <a:pt x="23" y="77"/>
                    </a:lnTo>
                    <a:lnTo>
                      <a:pt x="23" y="75"/>
                    </a:lnTo>
                    <a:lnTo>
                      <a:pt x="23" y="73"/>
                    </a:lnTo>
                    <a:lnTo>
                      <a:pt x="23" y="71"/>
                    </a:lnTo>
                    <a:lnTo>
                      <a:pt x="25" y="71"/>
                    </a:lnTo>
                    <a:lnTo>
                      <a:pt x="25" y="69"/>
                    </a:lnTo>
                    <a:lnTo>
                      <a:pt x="26" y="67"/>
                    </a:lnTo>
                    <a:lnTo>
                      <a:pt x="26" y="65"/>
                    </a:lnTo>
                    <a:lnTo>
                      <a:pt x="28" y="65"/>
                    </a:lnTo>
                    <a:lnTo>
                      <a:pt x="28" y="63"/>
                    </a:lnTo>
                    <a:lnTo>
                      <a:pt x="30" y="61"/>
                    </a:lnTo>
                    <a:lnTo>
                      <a:pt x="32" y="61"/>
                    </a:lnTo>
                    <a:lnTo>
                      <a:pt x="34" y="61"/>
                    </a:lnTo>
                    <a:lnTo>
                      <a:pt x="36" y="59"/>
                    </a:lnTo>
                    <a:lnTo>
                      <a:pt x="36" y="57"/>
                    </a:lnTo>
                    <a:lnTo>
                      <a:pt x="38" y="57"/>
                    </a:lnTo>
                    <a:lnTo>
                      <a:pt x="38" y="59"/>
                    </a:lnTo>
                    <a:lnTo>
                      <a:pt x="40" y="59"/>
                    </a:lnTo>
                    <a:lnTo>
                      <a:pt x="40" y="57"/>
                    </a:lnTo>
                    <a:lnTo>
                      <a:pt x="42" y="57"/>
                    </a:lnTo>
                    <a:lnTo>
                      <a:pt x="40" y="57"/>
                    </a:lnTo>
                    <a:lnTo>
                      <a:pt x="42" y="57"/>
                    </a:lnTo>
                    <a:lnTo>
                      <a:pt x="42" y="56"/>
                    </a:lnTo>
                    <a:lnTo>
                      <a:pt x="44" y="56"/>
                    </a:lnTo>
                    <a:lnTo>
                      <a:pt x="44" y="54"/>
                    </a:lnTo>
                    <a:lnTo>
                      <a:pt x="46" y="52"/>
                    </a:lnTo>
                    <a:lnTo>
                      <a:pt x="46" y="54"/>
                    </a:lnTo>
                    <a:lnTo>
                      <a:pt x="48" y="54"/>
                    </a:lnTo>
                    <a:lnTo>
                      <a:pt x="48" y="52"/>
                    </a:lnTo>
                    <a:lnTo>
                      <a:pt x="49" y="52"/>
                    </a:lnTo>
                    <a:lnTo>
                      <a:pt x="49" y="50"/>
                    </a:lnTo>
                    <a:lnTo>
                      <a:pt x="51" y="50"/>
                    </a:lnTo>
                    <a:lnTo>
                      <a:pt x="53" y="50"/>
                    </a:lnTo>
                    <a:lnTo>
                      <a:pt x="55" y="50"/>
                    </a:lnTo>
                    <a:lnTo>
                      <a:pt x="57" y="50"/>
                    </a:lnTo>
                    <a:lnTo>
                      <a:pt x="57" y="48"/>
                    </a:lnTo>
                    <a:lnTo>
                      <a:pt x="59" y="48"/>
                    </a:lnTo>
                    <a:lnTo>
                      <a:pt x="57" y="46"/>
                    </a:lnTo>
                    <a:lnTo>
                      <a:pt x="59" y="46"/>
                    </a:lnTo>
                    <a:lnTo>
                      <a:pt x="59" y="44"/>
                    </a:lnTo>
                    <a:lnTo>
                      <a:pt x="57" y="44"/>
                    </a:lnTo>
                    <a:lnTo>
                      <a:pt x="59" y="44"/>
                    </a:lnTo>
                    <a:lnTo>
                      <a:pt x="57" y="44"/>
                    </a:lnTo>
                    <a:lnTo>
                      <a:pt x="59" y="44"/>
                    </a:lnTo>
                    <a:lnTo>
                      <a:pt x="57" y="42"/>
                    </a:lnTo>
                    <a:lnTo>
                      <a:pt x="57" y="40"/>
                    </a:lnTo>
                    <a:lnTo>
                      <a:pt x="59" y="40"/>
                    </a:lnTo>
                    <a:lnTo>
                      <a:pt x="59" y="38"/>
                    </a:lnTo>
                    <a:lnTo>
                      <a:pt x="61" y="38"/>
                    </a:lnTo>
                    <a:lnTo>
                      <a:pt x="61" y="36"/>
                    </a:lnTo>
                    <a:lnTo>
                      <a:pt x="61" y="34"/>
                    </a:lnTo>
                    <a:lnTo>
                      <a:pt x="59" y="34"/>
                    </a:lnTo>
                    <a:lnTo>
                      <a:pt x="59" y="32"/>
                    </a:lnTo>
                    <a:lnTo>
                      <a:pt x="59" y="31"/>
                    </a:lnTo>
                    <a:lnTo>
                      <a:pt x="61" y="31"/>
                    </a:lnTo>
                    <a:lnTo>
                      <a:pt x="61" y="32"/>
                    </a:lnTo>
                    <a:lnTo>
                      <a:pt x="61" y="31"/>
                    </a:lnTo>
                    <a:lnTo>
                      <a:pt x="63" y="31"/>
                    </a:lnTo>
                    <a:lnTo>
                      <a:pt x="63" y="32"/>
                    </a:lnTo>
                    <a:lnTo>
                      <a:pt x="63" y="31"/>
                    </a:lnTo>
                    <a:lnTo>
                      <a:pt x="65" y="31"/>
                    </a:lnTo>
                    <a:lnTo>
                      <a:pt x="67" y="31"/>
                    </a:lnTo>
                    <a:lnTo>
                      <a:pt x="69" y="31"/>
                    </a:lnTo>
                    <a:lnTo>
                      <a:pt x="69" y="29"/>
                    </a:lnTo>
                    <a:lnTo>
                      <a:pt x="71" y="29"/>
                    </a:lnTo>
                    <a:lnTo>
                      <a:pt x="71" y="27"/>
                    </a:lnTo>
                    <a:lnTo>
                      <a:pt x="73" y="29"/>
                    </a:lnTo>
                    <a:lnTo>
                      <a:pt x="73" y="27"/>
                    </a:lnTo>
                    <a:lnTo>
                      <a:pt x="73" y="25"/>
                    </a:lnTo>
                    <a:lnTo>
                      <a:pt x="73" y="23"/>
                    </a:lnTo>
                    <a:lnTo>
                      <a:pt x="74" y="21"/>
                    </a:lnTo>
                    <a:lnTo>
                      <a:pt x="74" y="23"/>
                    </a:lnTo>
                    <a:lnTo>
                      <a:pt x="76" y="21"/>
                    </a:lnTo>
                    <a:lnTo>
                      <a:pt x="76" y="19"/>
                    </a:lnTo>
                    <a:lnTo>
                      <a:pt x="76" y="21"/>
                    </a:lnTo>
                    <a:lnTo>
                      <a:pt x="78" y="19"/>
                    </a:lnTo>
                    <a:lnTo>
                      <a:pt x="78" y="17"/>
                    </a:lnTo>
                    <a:lnTo>
                      <a:pt x="76" y="17"/>
                    </a:lnTo>
                    <a:lnTo>
                      <a:pt x="78" y="15"/>
                    </a:lnTo>
                    <a:lnTo>
                      <a:pt x="80" y="13"/>
                    </a:lnTo>
                    <a:lnTo>
                      <a:pt x="82" y="13"/>
                    </a:lnTo>
                    <a:lnTo>
                      <a:pt x="84" y="13"/>
                    </a:lnTo>
                    <a:lnTo>
                      <a:pt x="84" y="15"/>
                    </a:lnTo>
                    <a:lnTo>
                      <a:pt x="84" y="17"/>
                    </a:lnTo>
                    <a:lnTo>
                      <a:pt x="86" y="15"/>
                    </a:lnTo>
                    <a:lnTo>
                      <a:pt x="88" y="15"/>
                    </a:lnTo>
                    <a:lnTo>
                      <a:pt x="90" y="15"/>
                    </a:lnTo>
                    <a:lnTo>
                      <a:pt x="92" y="13"/>
                    </a:lnTo>
                    <a:lnTo>
                      <a:pt x="92" y="15"/>
                    </a:lnTo>
                    <a:lnTo>
                      <a:pt x="94" y="15"/>
                    </a:lnTo>
                    <a:lnTo>
                      <a:pt x="94" y="13"/>
                    </a:lnTo>
                    <a:lnTo>
                      <a:pt x="96" y="15"/>
                    </a:lnTo>
                    <a:lnTo>
                      <a:pt x="98" y="13"/>
                    </a:lnTo>
                    <a:lnTo>
                      <a:pt x="98" y="15"/>
                    </a:lnTo>
                    <a:lnTo>
                      <a:pt x="98" y="13"/>
                    </a:lnTo>
                    <a:lnTo>
                      <a:pt x="99" y="13"/>
                    </a:lnTo>
                    <a:lnTo>
                      <a:pt x="101" y="15"/>
                    </a:lnTo>
                    <a:lnTo>
                      <a:pt x="101" y="17"/>
                    </a:lnTo>
                    <a:lnTo>
                      <a:pt x="103" y="19"/>
                    </a:lnTo>
                    <a:lnTo>
                      <a:pt x="103" y="17"/>
                    </a:lnTo>
                    <a:lnTo>
                      <a:pt x="105" y="17"/>
                    </a:lnTo>
                    <a:lnTo>
                      <a:pt x="105" y="19"/>
                    </a:lnTo>
                    <a:lnTo>
                      <a:pt x="107" y="17"/>
                    </a:lnTo>
                    <a:lnTo>
                      <a:pt x="109" y="17"/>
                    </a:lnTo>
                    <a:lnTo>
                      <a:pt x="111" y="15"/>
                    </a:lnTo>
                    <a:lnTo>
                      <a:pt x="113" y="11"/>
                    </a:lnTo>
                    <a:lnTo>
                      <a:pt x="111" y="9"/>
                    </a:lnTo>
                    <a:lnTo>
                      <a:pt x="111" y="11"/>
                    </a:lnTo>
                    <a:lnTo>
                      <a:pt x="111" y="9"/>
                    </a:lnTo>
                    <a:lnTo>
                      <a:pt x="109" y="7"/>
                    </a:lnTo>
                    <a:lnTo>
                      <a:pt x="109" y="6"/>
                    </a:lnTo>
                    <a:lnTo>
                      <a:pt x="111" y="6"/>
                    </a:lnTo>
                    <a:lnTo>
                      <a:pt x="111" y="7"/>
                    </a:lnTo>
                    <a:lnTo>
                      <a:pt x="113" y="6"/>
                    </a:lnTo>
                    <a:lnTo>
                      <a:pt x="115" y="2"/>
                    </a:lnTo>
                    <a:lnTo>
                      <a:pt x="117" y="0"/>
                    </a:lnTo>
                    <a:lnTo>
                      <a:pt x="119" y="0"/>
                    </a:lnTo>
                    <a:lnTo>
                      <a:pt x="119" y="2"/>
                    </a:lnTo>
                    <a:lnTo>
                      <a:pt x="121" y="2"/>
                    </a:lnTo>
                    <a:lnTo>
                      <a:pt x="122" y="4"/>
                    </a:lnTo>
                    <a:lnTo>
                      <a:pt x="119" y="7"/>
                    </a:lnTo>
                    <a:lnTo>
                      <a:pt x="119" y="9"/>
                    </a:lnTo>
                    <a:lnTo>
                      <a:pt x="119" y="11"/>
                    </a:lnTo>
                    <a:lnTo>
                      <a:pt x="119" y="13"/>
                    </a:lnTo>
                    <a:lnTo>
                      <a:pt x="119" y="15"/>
                    </a:lnTo>
                    <a:lnTo>
                      <a:pt x="121" y="13"/>
                    </a:lnTo>
                    <a:lnTo>
                      <a:pt x="122" y="11"/>
                    </a:lnTo>
                    <a:lnTo>
                      <a:pt x="124" y="13"/>
                    </a:lnTo>
                    <a:lnTo>
                      <a:pt x="126" y="13"/>
                    </a:lnTo>
                    <a:lnTo>
                      <a:pt x="128" y="13"/>
                    </a:lnTo>
                    <a:lnTo>
                      <a:pt x="128" y="15"/>
                    </a:lnTo>
                    <a:lnTo>
                      <a:pt x="130" y="15"/>
                    </a:lnTo>
                    <a:lnTo>
                      <a:pt x="130" y="17"/>
                    </a:lnTo>
                    <a:lnTo>
                      <a:pt x="130" y="19"/>
                    </a:lnTo>
                    <a:lnTo>
                      <a:pt x="128" y="19"/>
                    </a:lnTo>
                    <a:lnTo>
                      <a:pt x="128" y="21"/>
                    </a:lnTo>
                    <a:lnTo>
                      <a:pt x="128" y="23"/>
                    </a:lnTo>
                    <a:lnTo>
                      <a:pt x="130" y="23"/>
                    </a:lnTo>
                    <a:lnTo>
                      <a:pt x="128" y="25"/>
                    </a:lnTo>
                    <a:lnTo>
                      <a:pt x="128" y="27"/>
                    </a:lnTo>
                    <a:lnTo>
                      <a:pt x="130" y="27"/>
                    </a:lnTo>
                    <a:lnTo>
                      <a:pt x="132" y="27"/>
                    </a:lnTo>
                    <a:lnTo>
                      <a:pt x="130" y="29"/>
                    </a:lnTo>
                    <a:lnTo>
                      <a:pt x="132" y="29"/>
                    </a:lnTo>
                    <a:lnTo>
                      <a:pt x="132" y="27"/>
                    </a:lnTo>
                    <a:lnTo>
                      <a:pt x="134" y="27"/>
                    </a:lnTo>
                    <a:lnTo>
                      <a:pt x="132" y="27"/>
                    </a:lnTo>
                    <a:lnTo>
                      <a:pt x="134" y="27"/>
                    </a:lnTo>
                    <a:lnTo>
                      <a:pt x="134" y="29"/>
                    </a:lnTo>
                    <a:lnTo>
                      <a:pt x="136" y="29"/>
                    </a:lnTo>
                    <a:lnTo>
                      <a:pt x="136" y="27"/>
                    </a:lnTo>
                    <a:lnTo>
                      <a:pt x="136" y="29"/>
                    </a:lnTo>
                    <a:lnTo>
                      <a:pt x="138" y="29"/>
                    </a:lnTo>
                    <a:lnTo>
                      <a:pt x="138" y="27"/>
                    </a:lnTo>
                    <a:lnTo>
                      <a:pt x="138" y="29"/>
                    </a:lnTo>
                    <a:lnTo>
                      <a:pt x="138" y="27"/>
                    </a:lnTo>
                    <a:lnTo>
                      <a:pt x="140" y="27"/>
                    </a:lnTo>
                    <a:lnTo>
                      <a:pt x="142" y="27"/>
                    </a:lnTo>
                    <a:lnTo>
                      <a:pt x="142" y="29"/>
                    </a:lnTo>
                    <a:lnTo>
                      <a:pt x="142" y="31"/>
                    </a:lnTo>
                    <a:lnTo>
                      <a:pt x="144" y="31"/>
                    </a:lnTo>
                    <a:lnTo>
                      <a:pt x="144" y="32"/>
                    </a:lnTo>
                    <a:lnTo>
                      <a:pt x="146" y="34"/>
                    </a:lnTo>
                    <a:lnTo>
                      <a:pt x="146" y="32"/>
                    </a:lnTo>
                    <a:lnTo>
                      <a:pt x="146" y="31"/>
                    </a:lnTo>
                    <a:lnTo>
                      <a:pt x="147" y="29"/>
                    </a:lnTo>
                    <a:lnTo>
                      <a:pt x="149" y="29"/>
                    </a:lnTo>
                    <a:lnTo>
                      <a:pt x="149" y="31"/>
                    </a:lnTo>
                    <a:lnTo>
                      <a:pt x="151" y="31"/>
                    </a:lnTo>
                    <a:lnTo>
                      <a:pt x="151" y="32"/>
                    </a:lnTo>
                    <a:lnTo>
                      <a:pt x="151" y="34"/>
                    </a:lnTo>
                    <a:lnTo>
                      <a:pt x="151" y="36"/>
                    </a:lnTo>
                    <a:lnTo>
                      <a:pt x="149" y="36"/>
                    </a:lnTo>
                    <a:lnTo>
                      <a:pt x="149" y="38"/>
                    </a:lnTo>
                    <a:lnTo>
                      <a:pt x="151" y="38"/>
                    </a:lnTo>
                    <a:lnTo>
                      <a:pt x="153" y="38"/>
                    </a:lnTo>
                    <a:lnTo>
                      <a:pt x="153" y="36"/>
                    </a:lnTo>
                    <a:lnTo>
                      <a:pt x="155" y="36"/>
                    </a:lnTo>
                    <a:lnTo>
                      <a:pt x="157" y="36"/>
                    </a:lnTo>
                    <a:lnTo>
                      <a:pt x="159" y="36"/>
                    </a:lnTo>
                    <a:lnTo>
                      <a:pt x="159" y="38"/>
                    </a:lnTo>
                    <a:lnTo>
                      <a:pt x="159" y="40"/>
                    </a:lnTo>
                    <a:lnTo>
                      <a:pt x="161" y="40"/>
                    </a:lnTo>
                    <a:lnTo>
                      <a:pt x="161" y="42"/>
                    </a:lnTo>
                    <a:lnTo>
                      <a:pt x="163" y="42"/>
                    </a:lnTo>
                    <a:lnTo>
                      <a:pt x="165" y="42"/>
                    </a:lnTo>
                    <a:lnTo>
                      <a:pt x="167" y="42"/>
                    </a:lnTo>
                    <a:lnTo>
                      <a:pt x="167" y="44"/>
                    </a:lnTo>
                    <a:lnTo>
                      <a:pt x="169" y="44"/>
                    </a:lnTo>
                    <a:lnTo>
                      <a:pt x="167" y="46"/>
                    </a:lnTo>
                    <a:lnTo>
                      <a:pt x="167" y="48"/>
                    </a:lnTo>
                    <a:lnTo>
                      <a:pt x="169" y="50"/>
                    </a:lnTo>
                    <a:lnTo>
                      <a:pt x="167" y="50"/>
                    </a:lnTo>
                    <a:lnTo>
                      <a:pt x="169" y="50"/>
                    </a:lnTo>
                    <a:lnTo>
                      <a:pt x="169" y="52"/>
                    </a:lnTo>
                    <a:lnTo>
                      <a:pt x="169" y="54"/>
                    </a:lnTo>
                    <a:lnTo>
                      <a:pt x="171" y="52"/>
                    </a:lnTo>
                    <a:lnTo>
                      <a:pt x="176" y="56"/>
                    </a:lnTo>
                    <a:lnTo>
                      <a:pt x="182" y="59"/>
                    </a:lnTo>
                    <a:lnTo>
                      <a:pt x="184" y="61"/>
                    </a:lnTo>
                    <a:lnTo>
                      <a:pt x="186" y="63"/>
                    </a:lnTo>
                    <a:lnTo>
                      <a:pt x="188" y="63"/>
                    </a:lnTo>
                    <a:lnTo>
                      <a:pt x="190" y="59"/>
                    </a:lnTo>
                    <a:lnTo>
                      <a:pt x="194" y="61"/>
                    </a:lnTo>
                    <a:lnTo>
                      <a:pt x="197" y="65"/>
                    </a:lnTo>
                    <a:lnTo>
                      <a:pt x="197" y="63"/>
                    </a:lnTo>
                    <a:lnTo>
                      <a:pt x="215" y="75"/>
                    </a:lnTo>
                    <a:lnTo>
                      <a:pt x="220" y="67"/>
                    </a:lnTo>
                    <a:lnTo>
                      <a:pt x="222" y="69"/>
                    </a:lnTo>
                    <a:lnTo>
                      <a:pt x="224" y="67"/>
                    </a:lnTo>
                    <a:lnTo>
                      <a:pt x="230" y="71"/>
                    </a:lnTo>
                    <a:lnTo>
                      <a:pt x="234" y="65"/>
                    </a:lnTo>
                    <a:lnTo>
                      <a:pt x="236" y="61"/>
                    </a:lnTo>
                    <a:lnTo>
                      <a:pt x="234" y="61"/>
                    </a:lnTo>
                    <a:lnTo>
                      <a:pt x="240" y="54"/>
                    </a:lnTo>
                    <a:lnTo>
                      <a:pt x="244" y="57"/>
                    </a:lnTo>
                    <a:lnTo>
                      <a:pt x="249" y="61"/>
                    </a:lnTo>
                    <a:lnTo>
                      <a:pt x="249" y="59"/>
                    </a:lnTo>
                    <a:lnTo>
                      <a:pt x="259" y="6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Freeform 47">
                <a:extLst>
                  <a:ext uri="{FF2B5EF4-FFF2-40B4-BE49-F238E27FC236}">
                    <a16:creationId xmlns="" xmlns:a16="http://schemas.microsoft.com/office/drawing/2014/main" id="{92E987DF-6AC7-411B-9866-FBAE01059C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20800" y="4314826"/>
                <a:ext cx="301625" cy="396875"/>
              </a:xfrm>
              <a:custGeom>
                <a:avLst/>
                <a:gdLst>
                  <a:gd name="T0" fmla="*/ 134 w 190"/>
                  <a:gd name="T1" fmla="*/ 31 h 250"/>
                  <a:gd name="T2" fmla="*/ 154 w 190"/>
                  <a:gd name="T3" fmla="*/ 27 h 250"/>
                  <a:gd name="T4" fmla="*/ 173 w 190"/>
                  <a:gd name="T5" fmla="*/ 52 h 250"/>
                  <a:gd name="T6" fmla="*/ 167 w 190"/>
                  <a:gd name="T7" fmla="*/ 77 h 250"/>
                  <a:gd name="T8" fmla="*/ 186 w 190"/>
                  <a:gd name="T9" fmla="*/ 98 h 250"/>
                  <a:gd name="T10" fmla="*/ 181 w 190"/>
                  <a:gd name="T11" fmla="*/ 129 h 250"/>
                  <a:gd name="T12" fmla="*/ 156 w 190"/>
                  <a:gd name="T13" fmla="*/ 150 h 250"/>
                  <a:gd name="T14" fmla="*/ 159 w 190"/>
                  <a:gd name="T15" fmla="*/ 171 h 250"/>
                  <a:gd name="T16" fmla="*/ 148 w 190"/>
                  <a:gd name="T17" fmla="*/ 198 h 250"/>
                  <a:gd name="T18" fmla="*/ 144 w 190"/>
                  <a:gd name="T19" fmla="*/ 223 h 250"/>
                  <a:gd name="T20" fmla="*/ 127 w 190"/>
                  <a:gd name="T21" fmla="*/ 235 h 250"/>
                  <a:gd name="T22" fmla="*/ 117 w 190"/>
                  <a:gd name="T23" fmla="*/ 227 h 250"/>
                  <a:gd name="T24" fmla="*/ 106 w 190"/>
                  <a:gd name="T25" fmla="*/ 225 h 250"/>
                  <a:gd name="T26" fmla="*/ 88 w 190"/>
                  <a:gd name="T27" fmla="*/ 239 h 250"/>
                  <a:gd name="T28" fmla="*/ 79 w 190"/>
                  <a:gd name="T29" fmla="*/ 248 h 250"/>
                  <a:gd name="T30" fmla="*/ 63 w 190"/>
                  <a:gd name="T31" fmla="*/ 235 h 250"/>
                  <a:gd name="T32" fmla="*/ 50 w 190"/>
                  <a:gd name="T33" fmla="*/ 231 h 250"/>
                  <a:gd name="T34" fmla="*/ 46 w 190"/>
                  <a:gd name="T35" fmla="*/ 206 h 250"/>
                  <a:gd name="T36" fmla="*/ 42 w 190"/>
                  <a:gd name="T37" fmla="*/ 179 h 250"/>
                  <a:gd name="T38" fmla="*/ 36 w 190"/>
                  <a:gd name="T39" fmla="*/ 156 h 250"/>
                  <a:gd name="T40" fmla="*/ 27 w 190"/>
                  <a:gd name="T41" fmla="*/ 137 h 250"/>
                  <a:gd name="T42" fmla="*/ 25 w 190"/>
                  <a:gd name="T43" fmla="*/ 121 h 250"/>
                  <a:gd name="T44" fmla="*/ 17 w 190"/>
                  <a:gd name="T45" fmla="*/ 117 h 250"/>
                  <a:gd name="T46" fmla="*/ 15 w 190"/>
                  <a:gd name="T47" fmla="*/ 94 h 250"/>
                  <a:gd name="T48" fmla="*/ 2 w 190"/>
                  <a:gd name="T49" fmla="*/ 67 h 250"/>
                  <a:gd name="T50" fmla="*/ 8 w 190"/>
                  <a:gd name="T51" fmla="*/ 64 h 250"/>
                  <a:gd name="T52" fmla="*/ 13 w 190"/>
                  <a:gd name="T53" fmla="*/ 56 h 250"/>
                  <a:gd name="T54" fmla="*/ 8 w 190"/>
                  <a:gd name="T55" fmla="*/ 56 h 250"/>
                  <a:gd name="T56" fmla="*/ 23 w 190"/>
                  <a:gd name="T57" fmla="*/ 62 h 250"/>
                  <a:gd name="T58" fmla="*/ 42 w 190"/>
                  <a:gd name="T59" fmla="*/ 69 h 250"/>
                  <a:gd name="T60" fmla="*/ 65 w 190"/>
                  <a:gd name="T61" fmla="*/ 56 h 250"/>
                  <a:gd name="T62" fmla="*/ 81 w 190"/>
                  <a:gd name="T63" fmla="*/ 50 h 250"/>
                  <a:gd name="T64" fmla="*/ 96 w 190"/>
                  <a:gd name="T65" fmla="*/ 40 h 250"/>
                  <a:gd name="T66" fmla="*/ 102 w 190"/>
                  <a:gd name="T67" fmla="*/ 54 h 250"/>
                  <a:gd name="T68" fmla="*/ 98 w 190"/>
                  <a:gd name="T69" fmla="*/ 29 h 250"/>
                  <a:gd name="T70" fmla="*/ 96 w 190"/>
                  <a:gd name="T71" fmla="*/ 2 h 250"/>
                  <a:gd name="T72" fmla="*/ 117 w 190"/>
                  <a:gd name="T73" fmla="*/ 17 h 250"/>
                  <a:gd name="T74" fmla="*/ 121 w 190"/>
                  <a:gd name="T75" fmla="*/ 12 h 250"/>
                  <a:gd name="T76" fmla="*/ 69 w 190"/>
                  <a:gd name="T77" fmla="*/ 119 h 250"/>
                  <a:gd name="T78" fmla="*/ 67 w 190"/>
                  <a:gd name="T79" fmla="*/ 131 h 250"/>
                  <a:gd name="T80" fmla="*/ 86 w 190"/>
                  <a:gd name="T81" fmla="*/ 148 h 250"/>
                  <a:gd name="T82" fmla="*/ 96 w 190"/>
                  <a:gd name="T83" fmla="*/ 137 h 250"/>
                  <a:gd name="T84" fmla="*/ 106 w 190"/>
                  <a:gd name="T85" fmla="*/ 144 h 250"/>
                  <a:gd name="T86" fmla="*/ 102 w 190"/>
                  <a:gd name="T87" fmla="*/ 164 h 250"/>
                  <a:gd name="T88" fmla="*/ 88 w 190"/>
                  <a:gd name="T89" fmla="*/ 169 h 250"/>
                  <a:gd name="T90" fmla="*/ 83 w 190"/>
                  <a:gd name="T91" fmla="*/ 185 h 250"/>
                  <a:gd name="T92" fmla="*/ 77 w 190"/>
                  <a:gd name="T93" fmla="*/ 202 h 250"/>
                  <a:gd name="T94" fmla="*/ 69 w 190"/>
                  <a:gd name="T95" fmla="*/ 189 h 250"/>
                  <a:gd name="T96" fmla="*/ 67 w 190"/>
                  <a:gd name="T97" fmla="*/ 212 h 250"/>
                  <a:gd name="T98" fmla="*/ 73 w 190"/>
                  <a:gd name="T99" fmla="*/ 229 h 250"/>
                  <a:gd name="T100" fmla="*/ 90 w 190"/>
                  <a:gd name="T101" fmla="*/ 214 h 250"/>
                  <a:gd name="T102" fmla="*/ 102 w 190"/>
                  <a:gd name="T103" fmla="*/ 196 h 250"/>
                  <a:gd name="T104" fmla="*/ 111 w 190"/>
                  <a:gd name="T105" fmla="*/ 175 h 250"/>
                  <a:gd name="T106" fmla="*/ 111 w 190"/>
                  <a:gd name="T107" fmla="*/ 192 h 250"/>
                  <a:gd name="T108" fmla="*/ 121 w 190"/>
                  <a:gd name="T109" fmla="*/ 177 h 250"/>
                  <a:gd name="T110" fmla="*/ 123 w 190"/>
                  <a:gd name="T111" fmla="*/ 160 h 250"/>
                  <a:gd name="T112" fmla="*/ 121 w 190"/>
                  <a:gd name="T113" fmla="*/ 150 h 250"/>
                  <a:gd name="T114" fmla="*/ 113 w 190"/>
                  <a:gd name="T115" fmla="*/ 142 h 250"/>
                  <a:gd name="T116" fmla="*/ 104 w 190"/>
                  <a:gd name="T117" fmla="*/ 133 h 250"/>
                  <a:gd name="T118" fmla="*/ 92 w 190"/>
                  <a:gd name="T119" fmla="*/ 129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90" h="250">
                    <a:moveTo>
                      <a:pt x="129" y="6"/>
                    </a:moveTo>
                    <a:lnTo>
                      <a:pt x="131" y="8"/>
                    </a:lnTo>
                    <a:lnTo>
                      <a:pt x="132" y="8"/>
                    </a:lnTo>
                    <a:lnTo>
                      <a:pt x="134" y="10"/>
                    </a:lnTo>
                    <a:lnTo>
                      <a:pt x="132" y="12"/>
                    </a:lnTo>
                    <a:lnTo>
                      <a:pt x="138" y="16"/>
                    </a:lnTo>
                    <a:lnTo>
                      <a:pt x="140" y="16"/>
                    </a:lnTo>
                    <a:lnTo>
                      <a:pt x="142" y="17"/>
                    </a:lnTo>
                    <a:lnTo>
                      <a:pt x="140" y="17"/>
                    </a:lnTo>
                    <a:lnTo>
                      <a:pt x="136" y="23"/>
                    </a:lnTo>
                    <a:lnTo>
                      <a:pt x="136" y="21"/>
                    </a:lnTo>
                    <a:lnTo>
                      <a:pt x="132" y="27"/>
                    </a:lnTo>
                    <a:lnTo>
                      <a:pt x="129" y="31"/>
                    </a:lnTo>
                    <a:lnTo>
                      <a:pt x="131" y="33"/>
                    </a:lnTo>
                    <a:lnTo>
                      <a:pt x="132" y="29"/>
                    </a:lnTo>
                    <a:lnTo>
                      <a:pt x="134" y="29"/>
                    </a:lnTo>
                    <a:lnTo>
                      <a:pt x="134" y="31"/>
                    </a:lnTo>
                    <a:lnTo>
                      <a:pt x="136" y="31"/>
                    </a:lnTo>
                    <a:lnTo>
                      <a:pt x="138" y="29"/>
                    </a:lnTo>
                    <a:lnTo>
                      <a:pt x="138" y="31"/>
                    </a:lnTo>
                    <a:lnTo>
                      <a:pt x="136" y="31"/>
                    </a:lnTo>
                    <a:lnTo>
                      <a:pt x="138" y="31"/>
                    </a:lnTo>
                    <a:lnTo>
                      <a:pt x="138" y="33"/>
                    </a:lnTo>
                    <a:lnTo>
                      <a:pt x="138" y="35"/>
                    </a:lnTo>
                    <a:lnTo>
                      <a:pt x="140" y="35"/>
                    </a:lnTo>
                    <a:lnTo>
                      <a:pt x="142" y="35"/>
                    </a:lnTo>
                    <a:lnTo>
                      <a:pt x="142" y="37"/>
                    </a:lnTo>
                    <a:lnTo>
                      <a:pt x="142" y="35"/>
                    </a:lnTo>
                    <a:lnTo>
                      <a:pt x="146" y="33"/>
                    </a:lnTo>
                    <a:lnTo>
                      <a:pt x="146" y="31"/>
                    </a:lnTo>
                    <a:lnTo>
                      <a:pt x="148" y="31"/>
                    </a:lnTo>
                    <a:lnTo>
                      <a:pt x="150" y="29"/>
                    </a:lnTo>
                    <a:lnTo>
                      <a:pt x="152" y="27"/>
                    </a:lnTo>
                    <a:lnTo>
                      <a:pt x="154" y="27"/>
                    </a:lnTo>
                    <a:lnTo>
                      <a:pt x="156" y="29"/>
                    </a:lnTo>
                    <a:lnTo>
                      <a:pt x="157" y="29"/>
                    </a:lnTo>
                    <a:lnTo>
                      <a:pt x="159" y="29"/>
                    </a:lnTo>
                    <a:lnTo>
                      <a:pt x="159" y="31"/>
                    </a:lnTo>
                    <a:lnTo>
                      <a:pt x="161" y="33"/>
                    </a:lnTo>
                    <a:lnTo>
                      <a:pt x="165" y="37"/>
                    </a:lnTo>
                    <a:lnTo>
                      <a:pt x="167" y="37"/>
                    </a:lnTo>
                    <a:lnTo>
                      <a:pt x="171" y="39"/>
                    </a:lnTo>
                    <a:lnTo>
                      <a:pt x="169" y="40"/>
                    </a:lnTo>
                    <a:lnTo>
                      <a:pt x="177" y="44"/>
                    </a:lnTo>
                    <a:lnTo>
                      <a:pt x="175" y="46"/>
                    </a:lnTo>
                    <a:lnTo>
                      <a:pt x="175" y="48"/>
                    </a:lnTo>
                    <a:lnTo>
                      <a:pt x="177" y="48"/>
                    </a:lnTo>
                    <a:lnTo>
                      <a:pt x="179" y="48"/>
                    </a:lnTo>
                    <a:lnTo>
                      <a:pt x="177" y="48"/>
                    </a:lnTo>
                    <a:lnTo>
                      <a:pt x="175" y="54"/>
                    </a:lnTo>
                    <a:lnTo>
                      <a:pt x="173" y="52"/>
                    </a:lnTo>
                    <a:lnTo>
                      <a:pt x="173" y="54"/>
                    </a:lnTo>
                    <a:lnTo>
                      <a:pt x="173" y="52"/>
                    </a:lnTo>
                    <a:lnTo>
                      <a:pt x="171" y="52"/>
                    </a:lnTo>
                    <a:lnTo>
                      <a:pt x="169" y="58"/>
                    </a:lnTo>
                    <a:lnTo>
                      <a:pt x="169" y="60"/>
                    </a:lnTo>
                    <a:lnTo>
                      <a:pt x="171" y="60"/>
                    </a:lnTo>
                    <a:lnTo>
                      <a:pt x="171" y="62"/>
                    </a:lnTo>
                    <a:lnTo>
                      <a:pt x="173" y="62"/>
                    </a:lnTo>
                    <a:lnTo>
                      <a:pt x="173" y="64"/>
                    </a:lnTo>
                    <a:lnTo>
                      <a:pt x="171" y="67"/>
                    </a:lnTo>
                    <a:lnTo>
                      <a:pt x="173" y="67"/>
                    </a:lnTo>
                    <a:lnTo>
                      <a:pt x="169" y="73"/>
                    </a:lnTo>
                    <a:lnTo>
                      <a:pt x="169" y="71"/>
                    </a:lnTo>
                    <a:lnTo>
                      <a:pt x="169" y="73"/>
                    </a:lnTo>
                    <a:lnTo>
                      <a:pt x="167" y="73"/>
                    </a:lnTo>
                    <a:lnTo>
                      <a:pt x="169" y="73"/>
                    </a:lnTo>
                    <a:lnTo>
                      <a:pt x="167" y="77"/>
                    </a:lnTo>
                    <a:lnTo>
                      <a:pt x="167" y="79"/>
                    </a:lnTo>
                    <a:lnTo>
                      <a:pt x="169" y="79"/>
                    </a:lnTo>
                    <a:lnTo>
                      <a:pt x="169" y="81"/>
                    </a:lnTo>
                    <a:lnTo>
                      <a:pt x="171" y="81"/>
                    </a:lnTo>
                    <a:lnTo>
                      <a:pt x="173" y="83"/>
                    </a:lnTo>
                    <a:lnTo>
                      <a:pt x="175" y="85"/>
                    </a:lnTo>
                    <a:lnTo>
                      <a:pt x="177" y="85"/>
                    </a:lnTo>
                    <a:lnTo>
                      <a:pt x="182" y="87"/>
                    </a:lnTo>
                    <a:lnTo>
                      <a:pt x="181" y="90"/>
                    </a:lnTo>
                    <a:lnTo>
                      <a:pt x="181" y="92"/>
                    </a:lnTo>
                    <a:lnTo>
                      <a:pt x="186" y="94"/>
                    </a:lnTo>
                    <a:lnTo>
                      <a:pt x="188" y="90"/>
                    </a:lnTo>
                    <a:lnTo>
                      <a:pt x="188" y="92"/>
                    </a:lnTo>
                    <a:lnTo>
                      <a:pt x="190" y="92"/>
                    </a:lnTo>
                    <a:lnTo>
                      <a:pt x="188" y="98"/>
                    </a:lnTo>
                    <a:lnTo>
                      <a:pt x="186" y="96"/>
                    </a:lnTo>
                    <a:lnTo>
                      <a:pt x="186" y="98"/>
                    </a:lnTo>
                    <a:lnTo>
                      <a:pt x="184" y="102"/>
                    </a:lnTo>
                    <a:lnTo>
                      <a:pt x="184" y="104"/>
                    </a:lnTo>
                    <a:lnTo>
                      <a:pt x="186" y="104"/>
                    </a:lnTo>
                    <a:lnTo>
                      <a:pt x="184" y="106"/>
                    </a:lnTo>
                    <a:lnTo>
                      <a:pt x="186" y="108"/>
                    </a:lnTo>
                    <a:lnTo>
                      <a:pt x="184" y="112"/>
                    </a:lnTo>
                    <a:lnTo>
                      <a:pt x="184" y="114"/>
                    </a:lnTo>
                    <a:lnTo>
                      <a:pt x="184" y="115"/>
                    </a:lnTo>
                    <a:lnTo>
                      <a:pt x="181" y="119"/>
                    </a:lnTo>
                    <a:lnTo>
                      <a:pt x="184" y="121"/>
                    </a:lnTo>
                    <a:lnTo>
                      <a:pt x="184" y="123"/>
                    </a:lnTo>
                    <a:lnTo>
                      <a:pt x="182" y="123"/>
                    </a:lnTo>
                    <a:lnTo>
                      <a:pt x="182" y="125"/>
                    </a:lnTo>
                    <a:lnTo>
                      <a:pt x="182" y="127"/>
                    </a:lnTo>
                    <a:lnTo>
                      <a:pt x="181" y="127"/>
                    </a:lnTo>
                    <a:lnTo>
                      <a:pt x="182" y="127"/>
                    </a:lnTo>
                    <a:lnTo>
                      <a:pt x="181" y="129"/>
                    </a:lnTo>
                    <a:lnTo>
                      <a:pt x="177" y="127"/>
                    </a:lnTo>
                    <a:lnTo>
                      <a:pt x="175" y="133"/>
                    </a:lnTo>
                    <a:lnTo>
                      <a:pt x="171" y="131"/>
                    </a:lnTo>
                    <a:lnTo>
                      <a:pt x="171" y="129"/>
                    </a:lnTo>
                    <a:lnTo>
                      <a:pt x="169" y="127"/>
                    </a:lnTo>
                    <a:lnTo>
                      <a:pt x="167" y="127"/>
                    </a:lnTo>
                    <a:lnTo>
                      <a:pt x="163" y="125"/>
                    </a:lnTo>
                    <a:lnTo>
                      <a:pt x="157" y="135"/>
                    </a:lnTo>
                    <a:lnTo>
                      <a:pt x="157" y="137"/>
                    </a:lnTo>
                    <a:lnTo>
                      <a:pt x="159" y="137"/>
                    </a:lnTo>
                    <a:lnTo>
                      <a:pt x="157" y="140"/>
                    </a:lnTo>
                    <a:lnTo>
                      <a:pt x="157" y="142"/>
                    </a:lnTo>
                    <a:lnTo>
                      <a:pt x="157" y="144"/>
                    </a:lnTo>
                    <a:lnTo>
                      <a:pt x="157" y="146"/>
                    </a:lnTo>
                    <a:lnTo>
                      <a:pt x="157" y="148"/>
                    </a:lnTo>
                    <a:lnTo>
                      <a:pt x="156" y="148"/>
                    </a:lnTo>
                    <a:lnTo>
                      <a:pt x="156" y="150"/>
                    </a:lnTo>
                    <a:lnTo>
                      <a:pt x="156" y="152"/>
                    </a:lnTo>
                    <a:lnTo>
                      <a:pt x="156" y="154"/>
                    </a:lnTo>
                    <a:lnTo>
                      <a:pt x="154" y="154"/>
                    </a:lnTo>
                    <a:lnTo>
                      <a:pt x="154" y="156"/>
                    </a:lnTo>
                    <a:lnTo>
                      <a:pt x="159" y="162"/>
                    </a:lnTo>
                    <a:lnTo>
                      <a:pt x="159" y="160"/>
                    </a:lnTo>
                    <a:lnTo>
                      <a:pt x="161" y="162"/>
                    </a:lnTo>
                    <a:lnTo>
                      <a:pt x="161" y="160"/>
                    </a:lnTo>
                    <a:lnTo>
                      <a:pt x="163" y="160"/>
                    </a:lnTo>
                    <a:lnTo>
                      <a:pt x="163" y="162"/>
                    </a:lnTo>
                    <a:lnTo>
                      <a:pt x="161" y="162"/>
                    </a:lnTo>
                    <a:lnTo>
                      <a:pt x="163" y="162"/>
                    </a:lnTo>
                    <a:lnTo>
                      <a:pt x="161" y="162"/>
                    </a:lnTo>
                    <a:lnTo>
                      <a:pt x="163" y="164"/>
                    </a:lnTo>
                    <a:lnTo>
                      <a:pt x="163" y="165"/>
                    </a:lnTo>
                    <a:lnTo>
                      <a:pt x="159" y="169"/>
                    </a:lnTo>
                    <a:lnTo>
                      <a:pt x="159" y="171"/>
                    </a:lnTo>
                    <a:lnTo>
                      <a:pt x="159" y="173"/>
                    </a:lnTo>
                    <a:lnTo>
                      <a:pt x="159" y="175"/>
                    </a:lnTo>
                    <a:lnTo>
                      <a:pt x="159" y="177"/>
                    </a:lnTo>
                    <a:lnTo>
                      <a:pt x="159" y="179"/>
                    </a:lnTo>
                    <a:lnTo>
                      <a:pt x="163" y="183"/>
                    </a:lnTo>
                    <a:lnTo>
                      <a:pt x="165" y="183"/>
                    </a:lnTo>
                    <a:lnTo>
                      <a:pt x="163" y="189"/>
                    </a:lnTo>
                    <a:lnTo>
                      <a:pt x="161" y="190"/>
                    </a:lnTo>
                    <a:lnTo>
                      <a:pt x="159" y="192"/>
                    </a:lnTo>
                    <a:lnTo>
                      <a:pt x="157" y="194"/>
                    </a:lnTo>
                    <a:lnTo>
                      <a:pt x="156" y="194"/>
                    </a:lnTo>
                    <a:lnTo>
                      <a:pt x="156" y="196"/>
                    </a:lnTo>
                    <a:lnTo>
                      <a:pt x="156" y="194"/>
                    </a:lnTo>
                    <a:lnTo>
                      <a:pt x="154" y="196"/>
                    </a:lnTo>
                    <a:lnTo>
                      <a:pt x="152" y="196"/>
                    </a:lnTo>
                    <a:lnTo>
                      <a:pt x="148" y="196"/>
                    </a:lnTo>
                    <a:lnTo>
                      <a:pt x="148" y="198"/>
                    </a:lnTo>
                    <a:lnTo>
                      <a:pt x="148" y="200"/>
                    </a:lnTo>
                    <a:lnTo>
                      <a:pt x="146" y="204"/>
                    </a:lnTo>
                    <a:lnTo>
                      <a:pt x="148" y="204"/>
                    </a:lnTo>
                    <a:lnTo>
                      <a:pt x="150" y="204"/>
                    </a:lnTo>
                    <a:lnTo>
                      <a:pt x="146" y="210"/>
                    </a:lnTo>
                    <a:lnTo>
                      <a:pt x="148" y="212"/>
                    </a:lnTo>
                    <a:lnTo>
                      <a:pt x="148" y="214"/>
                    </a:lnTo>
                    <a:lnTo>
                      <a:pt x="150" y="214"/>
                    </a:lnTo>
                    <a:lnTo>
                      <a:pt x="150" y="215"/>
                    </a:lnTo>
                    <a:lnTo>
                      <a:pt x="150" y="217"/>
                    </a:lnTo>
                    <a:lnTo>
                      <a:pt x="148" y="217"/>
                    </a:lnTo>
                    <a:lnTo>
                      <a:pt x="146" y="219"/>
                    </a:lnTo>
                    <a:lnTo>
                      <a:pt x="146" y="217"/>
                    </a:lnTo>
                    <a:lnTo>
                      <a:pt x="144" y="217"/>
                    </a:lnTo>
                    <a:lnTo>
                      <a:pt x="144" y="219"/>
                    </a:lnTo>
                    <a:lnTo>
                      <a:pt x="142" y="219"/>
                    </a:lnTo>
                    <a:lnTo>
                      <a:pt x="144" y="223"/>
                    </a:lnTo>
                    <a:lnTo>
                      <a:pt x="144" y="229"/>
                    </a:lnTo>
                    <a:lnTo>
                      <a:pt x="142" y="229"/>
                    </a:lnTo>
                    <a:lnTo>
                      <a:pt x="142" y="231"/>
                    </a:lnTo>
                    <a:lnTo>
                      <a:pt x="140" y="231"/>
                    </a:lnTo>
                    <a:lnTo>
                      <a:pt x="140" y="233"/>
                    </a:lnTo>
                    <a:lnTo>
                      <a:pt x="138" y="233"/>
                    </a:lnTo>
                    <a:lnTo>
                      <a:pt x="136" y="233"/>
                    </a:lnTo>
                    <a:lnTo>
                      <a:pt x="136" y="235"/>
                    </a:lnTo>
                    <a:lnTo>
                      <a:pt x="134" y="235"/>
                    </a:lnTo>
                    <a:lnTo>
                      <a:pt x="132" y="235"/>
                    </a:lnTo>
                    <a:lnTo>
                      <a:pt x="131" y="235"/>
                    </a:lnTo>
                    <a:lnTo>
                      <a:pt x="129" y="235"/>
                    </a:lnTo>
                    <a:lnTo>
                      <a:pt x="129" y="237"/>
                    </a:lnTo>
                    <a:lnTo>
                      <a:pt x="129" y="239"/>
                    </a:lnTo>
                    <a:lnTo>
                      <a:pt x="127" y="239"/>
                    </a:lnTo>
                    <a:lnTo>
                      <a:pt x="127" y="237"/>
                    </a:lnTo>
                    <a:lnTo>
                      <a:pt x="127" y="235"/>
                    </a:lnTo>
                    <a:lnTo>
                      <a:pt x="125" y="237"/>
                    </a:lnTo>
                    <a:lnTo>
                      <a:pt x="125" y="239"/>
                    </a:lnTo>
                    <a:lnTo>
                      <a:pt x="123" y="239"/>
                    </a:lnTo>
                    <a:lnTo>
                      <a:pt x="121" y="239"/>
                    </a:lnTo>
                    <a:lnTo>
                      <a:pt x="121" y="237"/>
                    </a:lnTo>
                    <a:lnTo>
                      <a:pt x="121" y="235"/>
                    </a:lnTo>
                    <a:lnTo>
                      <a:pt x="121" y="237"/>
                    </a:lnTo>
                    <a:lnTo>
                      <a:pt x="119" y="237"/>
                    </a:lnTo>
                    <a:lnTo>
                      <a:pt x="117" y="237"/>
                    </a:lnTo>
                    <a:lnTo>
                      <a:pt x="117" y="235"/>
                    </a:lnTo>
                    <a:lnTo>
                      <a:pt x="117" y="233"/>
                    </a:lnTo>
                    <a:lnTo>
                      <a:pt x="119" y="233"/>
                    </a:lnTo>
                    <a:lnTo>
                      <a:pt x="119" y="231"/>
                    </a:lnTo>
                    <a:lnTo>
                      <a:pt x="121" y="231"/>
                    </a:lnTo>
                    <a:lnTo>
                      <a:pt x="121" y="229"/>
                    </a:lnTo>
                    <a:lnTo>
                      <a:pt x="119" y="227"/>
                    </a:lnTo>
                    <a:lnTo>
                      <a:pt x="117" y="227"/>
                    </a:lnTo>
                    <a:lnTo>
                      <a:pt x="115" y="227"/>
                    </a:lnTo>
                    <a:lnTo>
                      <a:pt x="117" y="225"/>
                    </a:lnTo>
                    <a:lnTo>
                      <a:pt x="115" y="223"/>
                    </a:lnTo>
                    <a:lnTo>
                      <a:pt x="115" y="225"/>
                    </a:lnTo>
                    <a:lnTo>
                      <a:pt x="113" y="225"/>
                    </a:lnTo>
                    <a:lnTo>
                      <a:pt x="113" y="223"/>
                    </a:lnTo>
                    <a:lnTo>
                      <a:pt x="113" y="221"/>
                    </a:lnTo>
                    <a:lnTo>
                      <a:pt x="111" y="221"/>
                    </a:lnTo>
                    <a:lnTo>
                      <a:pt x="111" y="219"/>
                    </a:lnTo>
                    <a:lnTo>
                      <a:pt x="109" y="219"/>
                    </a:lnTo>
                    <a:lnTo>
                      <a:pt x="109" y="217"/>
                    </a:lnTo>
                    <a:lnTo>
                      <a:pt x="108" y="219"/>
                    </a:lnTo>
                    <a:lnTo>
                      <a:pt x="108" y="221"/>
                    </a:lnTo>
                    <a:lnTo>
                      <a:pt x="106" y="221"/>
                    </a:lnTo>
                    <a:lnTo>
                      <a:pt x="108" y="223"/>
                    </a:lnTo>
                    <a:lnTo>
                      <a:pt x="106" y="223"/>
                    </a:lnTo>
                    <a:lnTo>
                      <a:pt x="106" y="225"/>
                    </a:lnTo>
                    <a:lnTo>
                      <a:pt x="106" y="227"/>
                    </a:lnTo>
                    <a:lnTo>
                      <a:pt x="106" y="229"/>
                    </a:lnTo>
                    <a:lnTo>
                      <a:pt x="104" y="229"/>
                    </a:lnTo>
                    <a:lnTo>
                      <a:pt x="102" y="229"/>
                    </a:lnTo>
                    <a:lnTo>
                      <a:pt x="102" y="227"/>
                    </a:lnTo>
                    <a:lnTo>
                      <a:pt x="100" y="229"/>
                    </a:lnTo>
                    <a:lnTo>
                      <a:pt x="98" y="229"/>
                    </a:lnTo>
                    <a:lnTo>
                      <a:pt x="96" y="229"/>
                    </a:lnTo>
                    <a:lnTo>
                      <a:pt x="96" y="231"/>
                    </a:lnTo>
                    <a:lnTo>
                      <a:pt x="94" y="231"/>
                    </a:lnTo>
                    <a:lnTo>
                      <a:pt x="94" y="233"/>
                    </a:lnTo>
                    <a:lnTo>
                      <a:pt x="92" y="233"/>
                    </a:lnTo>
                    <a:lnTo>
                      <a:pt x="92" y="235"/>
                    </a:lnTo>
                    <a:lnTo>
                      <a:pt x="90" y="235"/>
                    </a:lnTo>
                    <a:lnTo>
                      <a:pt x="90" y="237"/>
                    </a:lnTo>
                    <a:lnTo>
                      <a:pt x="90" y="239"/>
                    </a:lnTo>
                    <a:lnTo>
                      <a:pt x="88" y="239"/>
                    </a:lnTo>
                    <a:lnTo>
                      <a:pt x="88" y="237"/>
                    </a:lnTo>
                    <a:lnTo>
                      <a:pt x="86" y="237"/>
                    </a:lnTo>
                    <a:lnTo>
                      <a:pt x="86" y="239"/>
                    </a:lnTo>
                    <a:lnTo>
                      <a:pt x="86" y="240"/>
                    </a:lnTo>
                    <a:lnTo>
                      <a:pt x="86" y="242"/>
                    </a:lnTo>
                    <a:lnTo>
                      <a:pt x="84" y="242"/>
                    </a:lnTo>
                    <a:lnTo>
                      <a:pt x="84" y="244"/>
                    </a:lnTo>
                    <a:lnTo>
                      <a:pt x="84" y="246"/>
                    </a:lnTo>
                    <a:lnTo>
                      <a:pt x="83" y="246"/>
                    </a:lnTo>
                    <a:lnTo>
                      <a:pt x="83" y="248"/>
                    </a:lnTo>
                    <a:lnTo>
                      <a:pt x="83" y="246"/>
                    </a:lnTo>
                    <a:lnTo>
                      <a:pt x="83" y="248"/>
                    </a:lnTo>
                    <a:lnTo>
                      <a:pt x="81" y="250"/>
                    </a:lnTo>
                    <a:lnTo>
                      <a:pt x="79" y="250"/>
                    </a:lnTo>
                    <a:lnTo>
                      <a:pt x="79" y="248"/>
                    </a:lnTo>
                    <a:lnTo>
                      <a:pt x="81" y="248"/>
                    </a:lnTo>
                    <a:lnTo>
                      <a:pt x="79" y="248"/>
                    </a:lnTo>
                    <a:lnTo>
                      <a:pt x="81" y="248"/>
                    </a:lnTo>
                    <a:lnTo>
                      <a:pt x="79" y="246"/>
                    </a:lnTo>
                    <a:lnTo>
                      <a:pt x="77" y="246"/>
                    </a:lnTo>
                    <a:lnTo>
                      <a:pt x="77" y="248"/>
                    </a:lnTo>
                    <a:lnTo>
                      <a:pt x="75" y="248"/>
                    </a:lnTo>
                    <a:lnTo>
                      <a:pt x="73" y="246"/>
                    </a:lnTo>
                    <a:lnTo>
                      <a:pt x="73" y="244"/>
                    </a:lnTo>
                    <a:lnTo>
                      <a:pt x="71" y="244"/>
                    </a:lnTo>
                    <a:lnTo>
                      <a:pt x="71" y="242"/>
                    </a:lnTo>
                    <a:lnTo>
                      <a:pt x="69" y="242"/>
                    </a:lnTo>
                    <a:lnTo>
                      <a:pt x="69" y="240"/>
                    </a:lnTo>
                    <a:lnTo>
                      <a:pt x="67" y="240"/>
                    </a:lnTo>
                    <a:lnTo>
                      <a:pt x="67" y="239"/>
                    </a:lnTo>
                    <a:lnTo>
                      <a:pt x="67" y="237"/>
                    </a:lnTo>
                    <a:lnTo>
                      <a:pt x="65" y="237"/>
                    </a:lnTo>
                    <a:lnTo>
                      <a:pt x="63" y="237"/>
                    </a:lnTo>
                    <a:lnTo>
                      <a:pt x="63" y="235"/>
                    </a:lnTo>
                    <a:lnTo>
                      <a:pt x="61" y="235"/>
                    </a:lnTo>
                    <a:lnTo>
                      <a:pt x="59" y="235"/>
                    </a:lnTo>
                    <a:lnTo>
                      <a:pt x="59" y="237"/>
                    </a:lnTo>
                    <a:lnTo>
                      <a:pt x="58" y="237"/>
                    </a:lnTo>
                    <a:lnTo>
                      <a:pt x="56" y="237"/>
                    </a:lnTo>
                    <a:lnTo>
                      <a:pt x="56" y="239"/>
                    </a:lnTo>
                    <a:lnTo>
                      <a:pt x="54" y="239"/>
                    </a:lnTo>
                    <a:lnTo>
                      <a:pt x="54" y="240"/>
                    </a:lnTo>
                    <a:lnTo>
                      <a:pt x="52" y="240"/>
                    </a:lnTo>
                    <a:lnTo>
                      <a:pt x="52" y="242"/>
                    </a:lnTo>
                    <a:lnTo>
                      <a:pt x="50" y="242"/>
                    </a:lnTo>
                    <a:lnTo>
                      <a:pt x="48" y="240"/>
                    </a:lnTo>
                    <a:lnTo>
                      <a:pt x="48" y="239"/>
                    </a:lnTo>
                    <a:lnTo>
                      <a:pt x="48" y="237"/>
                    </a:lnTo>
                    <a:lnTo>
                      <a:pt x="50" y="235"/>
                    </a:lnTo>
                    <a:lnTo>
                      <a:pt x="50" y="233"/>
                    </a:lnTo>
                    <a:lnTo>
                      <a:pt x="50" y="231"/>
                    </a:lnTo>
                    <a:lnTo>
                      <a:pt x="48" y="231"/>
                    </a:lnTo>
                    <a:lnTo>
                      <a:pt x="48" y="229"/>
                    </a:lnTo>
                    <a:lnTo>
                      <a:pt x="48" y="227"/>
                    </a:lnTo>
                    <a:lnTo>
                      <a:pt x="46" y="227"/>
                    </a:lnTo>
                    <a:lnTo>
                      <a:pt x="46" y="225"/>
                    </a:lnTo>
                    <a:lnTo>
                      <a:pt x="48" y="225"/>
                    </a:lnTo>
                    <a:lnTo>
                      <a:pt x="48" y="223"/>
                    </a:lnTo>
                    <a:lnTo>
                      <a:pt x="48" y="221"/>
                    </a:lnTo>
                    <a:lnTo>
                      <a:pt x="48" y="219"/>
                    </a:lnTo>
                    <a:lnTo>
                      <a:pt x="46" y="219"/>
                    </a:lnTo>
                    <a:lnTo>
                      <a:pt x="46" y="217"/>
                    </a:lnTo>
                    <a:lnTo>
                      <a:pt x="46" y="215"/>
                    </a:lnTo>
                    <a:lnTo>
                      <a:pt x="46" y="214"/>
                    </a:lnTo>
                    <a:lnTo>
                      <a:pt x="46" y="212"/>
                    </a:lnTo>
                    <a:lnTo>
                      <a:pt x="46" y="210"/>
                    </a:lnTo>
                    <a:lnTo>
                      <a:pt x="46" y="208"/>
                    </a:lnTo>
                    <a:lnTo>
                      <a:pt x="46" y="206"/>
                    </a:lnTo>
                    <a:lnTo>
                      <a:pt x="46" y="204"/>
                    </a:lnTo>
                    <a:lnTo>
                      <a:pt x="46" y="202"/>
                    </a:lnTo>
                    <a:lnTo>
                      <a:pt x="46" y="200"/>
                    </a:lnTo>
                    <a:lnTo>
                      <a:pt x="46" y="198"/>
                    </a:lnTo>
                    <a:lnTo>
                      <a:pt x="46" y="196"/>
                    </a:lnTo>
                    <a:lnTo>
                      <a:pt x="46" y="194"/>
                    </a:lnTo>
                    <a:lnTo>
                      <a:pt x="44" y="192"/>
                    </a:lnTo>
                    <a:lnTo>
                      <a:pt x="44" y="190"/>
                    </a:lnTo>
                    <a:lnTo>
                      <a:pt x="44" y="189"/>
                    </a:lnTo>
                    <a:lnTo>
                      <a:pt x="44" y="187"/>
                    </a:lnTo>
                    <a:lnTo>
                      <a:pt x="44" y="185"/>
                    </a:lnTo>
                    <a:lnTo>
                      <a:pt x="44" y="183"/>
                    </a:lnTo>
                    <a:lnTo>
                      <a:pt x="44" y="181"/>
                    </a:lnTo>
                    <a:lnTo>
                      <a:pt x="42" y="181"/>
                    </a:lnTo>
                    <a:lnTo>
                      <a:pt x="44" y="181"/>
                    </a:lnTo>
                    <a:lnTo>
                      <a:pt x="42" y="181"/>
                    </a:lnTo>
                    <a:lnTo>
                      <a:pt x="42" y="179"/>
                    </a:lnTo>
                    <a:lnTo>
                      <a:pt x="44" y="179"/>
                    </a:lnTo>
                    <a:lnTo>
                      <a:pt x="44" y="177"/>
                    </a:lnTo>
                    <a:lnTo>
                      <a:pt x="44" y="175"/>
                    </a:lnTo>
                    <a:lnTo>
                      <a:pt x="42" y="175"/>
                    </a:lnTo>
                    <a:lnTo>
                      <a:pt x="42" y="173"/>
                    </a:lnTo>
                    <a:lnTo>
                      <a:pt x="42" y="171"/>
                    </a:lnTo>
                    <a:lnTo>
                      <a:pt x="40" y="171"/>
                    </a:lnTo>
                    <a:lnTo>
                      <a:pt x="40" y="169"/>
                    </a:lnTo>
                    <a:lnTo>
                      <a:pt x="40" y="167"/>
                    </a:lnTo>
                    <a:lnTo>
                      <a:pt x="40" y="165"/>
                    </a:lnTo>
                    <a:lnTo>
                      <a:pt x="40" y="164"/>
                    </a:lnTo>
                    <a:lnTo>
                      <a:pt x="40" y="162"/>
                    </a:lnTo>
                    <a:lnTo>
                      <a:pt x="38" y="162"/>
                    </a:lnTo>
                    <a:lnTo>
                      <a:pt x="38" y="160"/>
                    </a:lnTo>
                    <a:lnTo>
                      <a:pt x="38" y="158"/>
                    </a:lnTo>
                    <a:lnTo>
                      <a:pt x="36" y="158"/>
                    </a:lnTo>
                    <a:lnTo>
                      <a:pt x="36" y="156"/>
                    </a:lnTo>
                    <a:lnTo>
                      <a:pt x="36" y="154"/>
                    </a:lnTo>
                    <a:lnTo>
                      <a:pt x="35" y="154"/>
                    </a:lnTo>
                    <a:lnTo>
                      <a:pt x="33" y="152"/>
                    </a:lnTo>
                    <a:lnTo>
                      <a:pt x="33" y="150"/>
                    </a:lnTo>
                    <a:lnTo>
                      <a:pt x="31" y="150"/>
                    </a:lnTo>
                    <a:lnTo>
                      <a:pt x="31" y="148"/>
                    </a:lnTo>
                    <a:lnTo>
                      <a:pt x="29" y="148"/>
                    </a:lnTo>
                    <a:lnTo>
                      <a:pt x="29" y="146"/>
                    </a:lnTo>
                    <a:lnTo>
                      <a:pt x="29" y="144"/>
                    </a:lnTo>
                    <a:lnTo>
                      <a:pt x="27" y="144"/>
                    </a:lnTo>
                    <a:lnTo>
                      <a:pt x="27" y="142"/>
                    </a:lnTo>
                    <a:lnTo>
                      <a:pt x="25" y="142"/>
                    </a:lnTo>
                    <a:lnTo>
                      <a:pt x="27" y="140"/>
                    </a:lnTo>
                    <a:lnTo>
                      <a:pt x="25" y="140"/>
                    </a:lnTo>
                    <a:lnTo>
                      <a:pt x="25" y="139"/>
                    </a:lnTo>
                    <a:lnTo>
                      <a:pt x="25" y="137"/>
                    </a:lnTo>
                    <a:lnTo>
                      <a:pt x="27" y="137"/>
                    </a:lnTo>
                    <a:lnTo>
                      <a:pt x="27" y="135"/>
                    </a:lnTo>
                    <a:lnTo>
                      <a:pt x="27" y="133"/>
                    </a:lnTo>
                    <a:lnTo>
                      <a:pt x="25" y="133"/>
                    </a:lnTo>
                    <a:lnTo>
                      <a:pt x="25" y="131"/>
                    </a:lnTo>
                    <a:lnTo>
                      <a:pt x="27" y="131"/>
                    </a:lnTo>
                    <a:lnTo>
                      <a:pt x="27" y="129"/>
                    </a:lnTo>
                    <a:lnTo>
                      <a:pt x="25" y="129"/>
                    </a:lnTo>
                    <a:lnTo>
                      <a:pt x="25" y="131"/>
                    </a:lnTo>
                    <a:lnTo>
                      <a:pt x="25" y="129"/>
                    </a:lnTo>
                    <a:lnTo>
                      <a:pt x="23" y="129"/>
                    </a:lnTo>
                    <a:lnTo>
                      <a:pt x="25" y="129"/>
                    </a:lnTo>
                    <a:lnTo>
                      <a:pt x="23" y="129"/>
                    </a:lnTo>
                    <a:lnTo>
                      <a:pt x="23" y="127"/>
                    </a:lnTo>
                    <a:lnTo>
                      <a:pt x="23" y="125"/>
                    </a:lnTo>
                    <a:lnTo>
                      <a:pt x="23" y="123"/>
                    </a:lnTo>
                    <a:lnTo>
                      <a:pt x="25" y="123"/>
                    </a:lnTo>
                    <a:lnTo>
                      <a:pt x="25" y="121"/>
                    </a:lnTo>
                    <a:lnTo>
                      <a:pt x="25" y="119"/>
                    </a:lnTo>
                    <a:lnTo>
                      <a:pt x="25" y="117"/>
                    </a:lnTo>
                    <a:lnTo>
                      <a:pt x="25" y="115"/>
                    </a:lnTo>
                    <a:lnTo>
                      <a:pt x="23" y="115"/>
                    </a:lnTo>
                    <a:lnTo>
                      <a:pt x="25" y="115"/>
                    </a:lnTo>
                    <a:lnTo>
                      <a:pt x="23" y="115"/>
                    </a:lnTo>
                    <a:lnTo>
                      <a:pt x="25" y="115"/>
                    </a:lnTo>
                    <a:lnTo>
                      <a:pt x="23" y="115"/>
                    </a:lnTo>
                    <a:lnTo>
                      <a:pt x="25" y="115"/>
                    </a:lnTo>
                    <a:lnTo>
                      <a:pt x="23" y="115"/>
                    </a:lnTo>
                    <a:lnTo>
                      <a:pt x="23" y="117"/>
                    </a:lnTo>
                    <a:lnTo>
                      <a:pt x="23" y="119"/>
                    </a:lnTo>
                    <a:lnTo>
                      <a:pt x="21" y="117"/>
                    </a:lnTo>
                    <a:lnTo>
                      <a:pt x="21" y="119"/>
                    </a:lnTo>
                    <a:lnTo>
                      <a:pt x="19" y="119"/>
                    </a:lnTo>
                    <a:lnTo>
                      <a:pt x="19" y="117"/>
                    </a:lnTo>
                    <a:lnTo>
                      <a:pt x="17" y="117"/>
                    </a:lnTo>
                    <a:lnTo>
                      <a:pt x="17" y="115"/>
                    </a:lnTo>
                    <a:lnTo>
                      <a:pt x="15" y="115"/>
                    </a:lnTo>
                    <a:lnTo>
                      <a:pt x="15" y="114"/>
                    </a:lnTo>
                    <a:lnTo>
                      <a:pt x="13" y="114"/>
                    </a:lnTo>
                    <a:lnTo>
                      <a:pt x="13" y="112"/>
                    </a:lnTo>
                    <a:lnTo>
                      <a:pt x="11" y="112"/>
                    </a:lnTo>
                    <a:lnTo>
                      <a:pt x="11" y="110"/>
                    </a:lnTo>
                    <a:lnTo>
                      <a:pt x="11" y="108"/>
                    </a:lnTo>
                    <a:lnTo>
                      <a:pt x="11" y="106"/>
                    </a:lnTo>
                    <a:lnTo>
                      <a:pt x="11" y="104"/>
                    </a:lnTo>
                    <a:lnTo>
                      <a:pt x="11" y="102"/>
                    </a:lnTo>
                    <a:lnTo>
                      <a:pt x="11" y="100"/>
                    </a:lnTo>
                    <a:lnTo>
                      <a:pt x="11" y="98"/>
                    </a:lnTo>
                    <a:lnTo>
                      <a:pt x="13" y="98"/>
                    </a:lnTo>
                    <a:lnTo>
                      <a:pt x="13" y="96"/>
                    </a:lnTo>
                    <a:lnTo>
                      <a:pt x="13" y="94"/>
                    </a:lnTo>
                    <a:lnTo>
                      <a:pt x="15" y="94"/>
                    </a:lnTo>
                    <a:lnTo>
                      <a:pt x="15" y="92"/>
                    </a:lnTo>
                    <a:lnTo>
                      <a:pt x="15" y="90"/>
                    </a:lnTo>
                    <a:lnTo>
                      <a:pt x="15" y="89"/>
                    </a:lnTo>
                    <a:lnTo>
                      <a:pt x="15" y="87"/>
                    </a:lnTo>
                    <a:lnTo>
                      <a:pt x="13" y="85"/>
                    </a:lnTo>
                    <a:lnTo>
                      <a:pt x="13" y="83"/>
                    </a:lnTo>
                    <a:lnTo>
                      <a:pt x="11" y="81"/>
                    </a:lnTo>
                    <a:lnTo>
                      <a:pt x="11" y="79"/>
                    </a:lnTo>
                    <a:lnTo>
                      <a:pt x="10" y="77"/>
                    </a:lnTo>
                    <a:lnTo>
                      <a:pt x="10" y="75"/>
                    </a:lnTo>
                    <a:lnTo>
                      <a:pt x="8" y="73"/>
                    </a:lnTo>
                    <a:lnTo>
                      <a:pt x="8" y="71"/>
                    </a:lnTo>
                    <a:lnTo>
                      <a:pt x="6" y="71"/>
                    </a:lnTo>
                    <a:lnTo>
                      <a:pt x="6" y="69"/>
                    </a:lnTo>
                    <a:lnTo>
                      <a:pt x="4" y="69"/>
                    </a:lnTo>
                    <a:lnTo>
                      <a:pt x="2" y="69"/>
                    </a:lnTo>
                    <a:lnTo>
                      <a:pt x="2" y="67"/>
                    </a:lnTo>
                    <a:lnTo>
                      <a:pt x="2" y="65"/>
                    </a:lnTo>
                    <a:lnTo>
                      <a:pt x="0" y="65"/>
                    </a:lnTo>
                    <a:lnTo>
                      <a:pt x="0" y="64"/>
                    </a:lnTo>
                    <a:lnTo>
                      <a:pt x="2" y="64"/>
                    </a:lnTo>
                    <a:lnTo>
                      <a:pt x="2" y="62"/>
                    </a:lnTo>
                    <a:lnTo>
                      <a:pt x="2" y="60"/>
                    </a:lnTo>
                    <a:lnTo>
                      <a:pt x="2" y="62"/>
                    </a:lnTo>
                    <a:lnTo>
                      <a:pt x="2" y="60"/>
                    </a:lnTo>
                    <a:lnTo>
                      <a:pt x="2" y="62"/>
                    </a:lnTo>
                    <a:lnTo>
                      <a:pt x="4" y="62"/>
                    </a:lnTo>
                    <a:lnTo>
                      <a:pt x="6" y="62"/>
                    </a:lnTo>
                    <a:lnTo>
                      <a:pt x="6" y="64"/>
                    </a:lnTo>
                    <a:lnTo>
                      <a:pt x="8" y="64"/>
                    </a:lnTo>
                    <a:lnTo>
                      <a:pt x="8" y="62"/>
                    </a:lnTo>
                    <a:lnTo>
                      <a:pt x="10" y="64"/>
                    </a:lnTo>
                    <a:lnTo>
                      <a:pt x="10" y="62"/>
                    </a:lnTo>
                    <a:lnTo>
                      <a:pt x="8" y="64"/>
                    </a:lnTo>
                    <a:lnTo>
                      <a:pt x="10" y="64"/>
                    </a:lnTo>
                    <a:lnTo>
                      <a:pt x="11" y="64"/>
                    </a:lnTo>
                    <a:lnTo>
                      <a:pt x="13" y="64"/>
                    </a:lnTo>
                    <a:lnTo>
                      <a:pt x="13" y="65"/>
                    </a:lnTo>
                    <a:lnTo>
                      <a:pt x="13" y="64"/>
                    </a:lnTo>
                    <a:lnTo>
                      <a:pt x="15" y="64"/>
                    </a:lnTo>
                    <a:lnTo>
                      <a:pt x="17" y="65"/>
                    </a:lnTo>
                    <a:lnTo>
                      <a:pt x="19" y="64"/>
                    </a:lnTo>
                    <a:lnTo>
                      <a:pt x="19" y="62"/>
                    </a:lnTo>
                    <a:lnTo>
                      <a:pt x="19" y="64"/>
                    </a:lnTo>
                    <a:lnTo>
                      <a:pt x="19" y="62"/>
                    </a:lnTo>
                    <a:lnTo>
                      <a:pt x="17" y="62"/>
                    </a:lnTo>
                    <a:lnTo>
                      <a:pt x="15" y="60"/>
                    </a:lnTo>
                    <a:lnTo>
                      <a:pt x="13" y="60"/>
                    </a:lnTo>
                    <a:lnTo>
                      <a:pt x="11" y="60"/>
                    </a:lnTo>
                    <a:lnTo>
                      <a:pt x="13" y="58"/>
                    </a:lnTo>
                    <a:lnTo>
                      <a:pt x="13" y="56"/>
                    </a:lnTo>
                    <a:lnTo>
                      <a:pt x="13" y="54"/>
                    </a:lnTo>
                    <a:lnTo>
                      <a:pt x="13" y="56"/>
                    </a:lnTo>
                    <a:lnTo>
                      <a:pt x="15" y="56"/>
                    </a:lnTo>
                    <a:lnTo>
                      <a:pt x="13" y="56"/>
                    </a:lnTo>
                    <a:lnTo>
                      <a:pt x="15" y="56"/>
                    </a:lnTo>
                    <a:lnTo>
                      <a:pt x="17" y="56"/>
                    </a:lnTo>
                    <a:lnTo>
                      <a:pt x="15" y="56"/>
                    </a:lnTo>
                    <a:lnTo>
                      <a:pt x="15" y="54"/>
                    </a:lnTo>
                    <a:lnTo>
                      <a:pt x="15" y="52"/>
                    </a:lnTo>
                    <a:lnTo>
                      <a:pt x="13" y="54"/>
                    </a:lnTo>
                    <a:lnTo>
                      <a:pt x="11" y="54"/>
                    </a:lnTo>
                    <a:lnTo>
                      <a:pt x="11" y="56"/>
                    </a:lnTo>
                    <a:lnTo>
                      <a:pt x="11" y="54"/>
                    </a:lnTo>
                    <a:lnTo>
                      <a:pt x="10" y="56"/>
                    </a:lnTo>
                    <a:lnTo>
                      <a:pt x="8" y="56"/>
                    </a:lnTo>
                    <a:lnTo>
                      <a:pt x="10" y="56"/>
                    </a:lnTo>
                    <a:lnTo>
                      <a:pt x="8" y="56"/>
                    </a:lnTo>
                    <a:lnTo>
                      <a:pt x="6" y="56"/>
                    </a:lnTo>
                    <a:lnTo>
                      <a:pt x="8" y="56"/>
                    </a:lnTo>
                    <a:lnTo>
                      <a:pt x="8" y="54"/>
                    </a:lnTo>
                    <a:lnTo>
                      <a:pt x="8" y="56"/>
                    </a:lnTo>
                    <a:lnTo>
                      <a:pt x="8" y="54"/>
                    </a:lnTo>
                    <a:lnTo>
                      <a:pt x="10" y="54"/>
                    </a:lnTo>
                    <a:lnTo>
                      <a:pt x="11" y="54"/>
                    </a:lnTo>
                    <a:lnTo>
                      <a:pt x="13" y="54"/>
                    </a:lnTo>
                    <a:lnTo>
                      <a:pt x="15" y="52"/>
                    </a:lnTo>
                    <a:lnTo>
                      <a:pt x="17" y="52"/>
                    </a:lnTo>
                    <a:lnTo>
                      <a:pt x="19" y="52"/>
                    </a:lnTo>
                    <a:lnTo>
                      <a:pt x="19" y="54"/>
                    </a:lnTo>
                    <a:lnTo>
                      <a:pt x="21" y="54"/>
                    </a:lnTo>
                    <a:lnTo>
                      <a:pt x="21" y="56"/>
                    </a:lnTo>
                    <a:lnTo>
                      <a:pt x="21" y="58"/>
                    </a:lnTo>
                    <a:lnTo>
                      <a:pt x="23" y="60"/>
                    </a:lnTo>
                    <a:lnTo>
                      <a:pt x="23" y="62"/>
                    </a:lnTo>
                    <a:lnTo>
                      <a:pt x="25" y="64"/>
                    </a:lnTo>
                    <a:lnTo>
                      <a:pt x="27" y="65"/>
                    </a:lnTo>
                    <a:lnTo>
                      <a:pt x="27" y="67"/>
                    </a:lnTo>
                    <a:lnTo>
                      <a:pt x="29" y="67"/>
                    </a:lnTo>
                    <a:lnTo>
                      <a:pt x="29" y="69"/>
                    </a:lnTo>
                    <a:lnTo>
                      <a:pt x="31" y="69"/>
                    </a:lnTo>
                    <a:lnTo>
                      <a:pt x="33" y="69"/>
                    </a:lnTo>
                    <a:lnTo>
                      <a:pt x="33" y="71"/>
                    </a:lnTo>
                    <a:lnTo>
                      <a:pt x="33" y="69"/>
                    </a:lnTo>
                    <a:lnTo>
                      <a:pt x="35" y="69"/>
                    </a:lnTo>
                    <a:lnTo>
                      <a:pt x="35" y="71"/>
                    </a:lnTo>
                    <a:lnTo>
                      <a:pt x="35" y="69"/>
                    </a:lnTo>
                    <a:lnTo>
                      <a:pt x="35" y="71"/>
                    </a:lnTo>
                    <a:lnTo>
                      <a:pt x="36" y="71"/>
                    </a:lnTo>
                    <a:lnTo>
                      <a:pt x="40" y="71"/>
                    </a:lnTo>
                    <a:lnTo>
                      <a:pt x="42" y="71"/>
                    </a:lnTo>
                    <a:lnTo>
                      <a:pt x="42" y="69"/>
                    </a:lnTo>
                    <a:lnTo>
                      <a:pt x="44" y="69"/>
                    </a:lnTo>
                    <a:lnTo>
                      <a:pt x="46" y="67"/>
                    </a:lnTo>
                    <a:lnTo>
                      <a:pt x="46" y="65"/>
                    </a:lnTo>
                    <a:lnTo>
                      <a:pt x="48" y="64"/>
                    </a:lnTo>
                    <a:lnTo>
                      <a:pt x="50" y="62"/>
                    </a:lnTo>
                    <a:lnTo>
                      <a:pt x="52" y="60"/>
                    </a:lnTo>
                    <a:lnTo>
                      <a:pt x="52" y="58"/>
                    </a:lnTo>
                    <a:lnTo>
                      <a:pt x="54" y="58"/>
                    </a:lnTo>
                    <a:lnTo>
                      <a:pt x="54" y="56"/>
                    </a:lnTo>
                    <a:lnTo>
                      <a:pt x="56" y="56"/>
                    </a:lnTo>
                    <a:lnTo>
                      <a:pt x="58" y="56"/>
                    </a:lnTo>
                    <a:lnTo>
                      <a:pt x="58" y="58"/>
                    </a:lnTo>
                    <a:lnTo>
                      <a:pt x="59" y="58"/>
                    </a:lnTo>
                    <a:lnTo>
                      <a:pt x="59" y="56"/>
                    </a:lnTo>
                    <a:lnTo>
                      <a:pt x="61" y="56"/>
                    </a:lnTo>
                    <a:lnTo>
                      <a:pt x="63" y="56"/>
                    </a:lnTo>
                    <a:lnTo>
                      <a:pt x="65" y="56"/>
                    </a:lnTo>
                    <a:lnTo>
                      <a:pt x="67" y="54"/>
                    </a:lnTo>
                    <a:lnTo>
                      <a:pt x="69" y="52"/>
                    </a:lnTo>
                    <a:lnTo>
                      <a:pt x="71" y="50"/>
                    </a:lnTo>
                    <a:lnTo>
                      <a:pt x="73" y="48"/>
                    </a:lnTo>
                    <a:lnTo>
                      <a:pt x="75" y="46"/>
                    </a:lnTo>
                    <a:lnTo>
                      <a:pt x="77" y="44"/>
                    </a:lnTo>
                    <a:lnTo>
                      <a:pt x="79" y="44"/>
                    </a:lnTo>
                    <a:lnTo>
                      <a:pt x="79" y="42"/>
                    </a:lnTo>
                    <a:lnTo>
                      <a:pt x="81" y="42"/>
                    </a:lnTo>
                    <a:lnTo>
                      <a:pt x="83" y="44"/>
                    </a:lnTo>
                    <a:lnTo>
                      <a:pt x="84" y="44"/>
                    </a:lnTo>
                    <a:lnTo>
                      <a:pt x="84" y="46"/>
                    </a:lnTo>
                    <a:lnTo>
                      <a:pt x="83" y="46"/>
                    </a:lnTo>
                    <a:lnTo>
                      <a:pt x="81" y="48"/>
                    </a:lnTo>
                    <a:lnTo>
                      <a:pt x="81" y="50"/>
                    </a:lnTo>
                    <a:lnTo>
                      <a:pt x="79" y="52"/>
                    </a:lnTo>
                    <a:lnTo>
                      <a:pt x="81" y="50"/>
                    </a:lnTo>
                    <a:lnTo>
                      <a:pt x="83" y="50"/>
                    </a:lnTo>
                    <a:lnTo>
                      <a:pt x="84" y="50"/>
                    </a:lnTo>
                    <a:lnTo>
                      <a:pt x="84" y="48"/>
                    </a:lnTo>
                    <a:lnTo>
                      <a:pt x="84" y="46"/>
                    </a:lnTo>
                    <a:lnTo>
                      <a:pt x="86" y="46"/>
                    </a:lnTo>
                    <a:lnTo>
                      <a:pt x="88" y="44"/>
                    </a:lnTo>
                    <a:lnTo>
                      <a:pt x="90" y="42"/>
                    </a:lnTo>
                    <a:lnTo>
                      <a:pt x="92" y="42"/>
                    </a:lnTo>
                    <a:lnTo>
                      <a:pt x="94" y="42"/>
                    </a:lnTo>
                    <a:lnTo>
                      <a:pt x="94" y="40"/>
                    </a:lnTo>
                    <a:lnTo>
                      <a:pt x="96" y="39"/>
                    </a:lnTo>
                    <a:lnTo>
                      <a:pt x="98" y="37"/>
                    </a:lnTo>
                    <a:lnTo>
                      <a:pt x="98" y="39"/>
                    </a:lnTo>
                    <a:lnTo>
                      <a:pt x="96" y="39"/>
                    </a:lnTo>
                    <a:lnTo>
                      <a:pt x="96" y="40"/>
                    </a:lnTo>
                    <a:lnTo>
                      <a:pt x="94" y="40"/>
                    </a:lnTo>
                    <a:lnTo>
                      <a:pt x="96" y="40"/>
                    </a:lnTo>
                    <a:lnTo>
                      <a:pt x="94" y="40"/>
                    </a:lnTo>
                    <a:lnTo>
                      <a:pt x="94" y="42"/>
                    </a:lnTo>
                    <a:lnTo>
                      <a:pt x="94" y="44"/>
                    </a:lnTo>
                    <a:lnTo>
                      <a:pt x="94" y="42"/>
                    </a:lnTo>
                    <a:lnTo>
                      <a:pt x="94" y="44"/>
                    </a:lnTo>
                    <a:lnTo>
                      <a:pt x="94" y="46"/>
                    </a:lnTo>
                    <a:lnTo>
                      <a:pt x="94" y="48"/>
                    </a:lnTo>
                    <a:lnTo>
                      <a:pt x="96" y="48"/>
                    </a:lnTo>
                    <a:lnTo>
                      <a:pt x="94" y="48"/>
                    </a:lnTo>
                    <a:lnTo>
                      <a:pt x="96" y="48"/>
                    </a:lnTo>
                    <a:lnTo>
                      <a:pt x="94" y="50"/>
                    </a:lnTo>
                    <a:lnTo>
                      <a:pt x="96" y="50"/>
                    </a:lnTo>
                    <a:lnTo>
                      <a:pt x="96" y="52"/>
                    </a:lnTo>
                    <a:lnTo>
                      <a:pt x="96" y="54"/>
                    </a:lnTo>
                    <a:lnTo>
                      <a:pt x="98" y="54"/>
                    </a:lnTo>
                    <a:lnTo>
                      <a:pt x="100" y="56"/>
                    </a:lnTo>
                    <a:lnTo>
                      <a:pt x="102" y="54"/>
                    </a:lnTo>
                    <a:lnTo>
                      <a:pt x="102" y="52"/>
                    </a:lnTo>
                    <a:lnTo>
                      <a:pt x="102" y="50"/>
                    </a:lnTo>
                    <a:lnTo>
                      <a:pt x="102" y="48"/>
                    </a:lnTo>
                    <a:lnTo>
                      <a:pt x="100" y="48"/>
                    </a:lnTo>
                    <a:lnTo>
                      <a:pt x="100" y="46"/>
                    </a:lnTo>
                    <a:lnTo>
                      <a:pt x="100" y="44"/>
                    </a:lnTo>
                    <a:lnTo>
                      <a:pt x="98" y="42"/>
                    </a:lnTo>
                    <a:lnTo>
                      <a:pt x="98" y="40"/>
                    </a:lnTo>
                    <a:lnTo>
                      <a:pt x="98" y="39"/>
                    </a:lnTo>
                    <a:lnTo>
                      <a:pt x="98" y="37"/>
                    </a:lnTo>
                    <a:lnTo>
                      <a:pt x="98" y="35"/>
                    </a:lnTo>
                    <a:lnTo>
                      <a:pt x="98" y="33"/>
                    </a:lnTo>
                    <a:lnTo>
                      <a:pt x="100" y="31"/>
                    </a:lnTo>
                    <a:lnTo>
                      <a:pt x="98" y="31"/>
                    </a:lnTo>
                    <a:lnTo>
                      <a:pt x="98" y="33"/>
                    </a:lnTo>
                    <a:lnTo>
                      <a:pt x="98" y="31"/>
                    </a:lnTo>
                    <a:lnTo>
                      <a:pt x="98" y="29"/>
                    </a:lnTo>
                    <a:lnTo>
                      <a:pt x="98" y="27"/>
                    </a:lnTo>
                    <a:lnTo>
                      <a:pt x="98" y="25"/>
                    </a:lnTo>
                    <a:lnTo>
                      <a:pt x="96" y="23"/>
                    </a:lnTo>
                    <a:lnTo>
                      <a:pt x="94" y="21"/>
                    </a:lnTo>
                    <a:lnTo>
                      <a:pt x="94" y="23"/>
                    </a:lnTo>
                    <a:lnTo>
                      <a:pt x="94" y="25"/>
                    </a:lnTo>
                    <a:lnTo>
                      <a:pt x="92" y="25"/>
                    </a:lnTo>
                    <a:lnTo>
                      <a:pt x="92" y="23"/>
                    </a:lnTo>
                    <a:lnTo>
                      <a:pt x="92" y="21"/>
                    </a:lnTo>
                    <a:lnTo>
                      <a:pt x="92" y="19"/>
                    </a:lnTo>
                    <a:lnTo>
                      <a:pt x="92" y="17"/>
                    </a:lnTo>
                    <a:lnTo>
                      <a:pt x="92" y="16"/>
                    </a:lnTo>
                    <a:lnTo>
                      <a:pt x="92" y="14"/>
                    </a:lnTo>
                    <a:lnTo>
                      <a:pt x="94" y="10"/>
                    </a:lnTo>
                    <a:lnTo>
                      <a:pt x="94" y="8"/>
                    </a:lnTo>
                    <a:lnTo>
                      <a:pt x="94" y="6"/>
                    </a:lnTo>
                    <a:lnTo>
                      <a:pt x="96" y="2"/>
                    </a:lnTo>
                    <a:lnTo>
                      <a:pt x="96" y="0"/>
                    </a:lnTo>
                    <a:lnTo>
                      <a:pt x="98" y="4"/>
                    </a:lnTo>
                    <a:lnTo>
                      <a:pt x="100" y="6"/>
                    </a:lnTo>
                    <a:lnTo>
                      <a:pt x="102" y="8"/>
                    </a:lnTo>
                    <a:lnTo>
                      <a:pt x="104" y="10"/>
                    </a:lnTo>
                    <a:lnTo>
                      <a:pt x="106" y="10"/>
                    </a:lnTo>
                    <a:lnTo>
                      <a:pt x="108" y="10"/>
                    </a:lnTo>
                    <a:lnTo>
                      <a:pt x="109" y="8"/>
                    </a:lnTo>
                    <a:lnTo>
                      <a:pt x="111" y="10"/>
                    </a:lnTo>
                    <a:lnTo>
                      <a:pt x="113" y="10"/>
                    </a:lnTo>
                    <a:lnTo>
                      <a:pt x="115" y="10"/>
                    </a:lnTo>
                    <a:lnTo>
                      <a:pt x="117" y="10"/>
                    </a:lnTo>
                    <a:lnTo>
                      <a:pt x="115" y="10"/>
                    </a:lnTo>
                    <a:lnTo>
                      <a:pt x="115" y="12"/>
                    </a:lnTo>
                    <a:lnTo>
                      <a:pt x="115" y="14"/>
                    </a:lnTo>
                    <a:lnTo>
                      <a:pt x="117" y="16"/>
                    </a:lnTo>
                    <a:lnTo>
                      <a:pt x="117" y="17"/>
                    </a:lnTo>
                    <a:lnTo>
                      <a:pt x="119" y="17"/>
                    </a:lnTo>
                    <a:lnTo>
                      <a:pt x="119" y="19"/>
                    </a:lnTo>
                    <a:lnTo>
                      <a:pt x="121" y="19"/>
                    </a:lnTo>
                    <a:lnTo>
                      <a:pt x="123" y="19"/>
                    </a:lnTo>
                    <a:lnTo>
                      <a:pt x="125" y="19"/>
                    </a:lnTo>
                    <a:lnTo>
                      <a:pt x="125" y="17"/>
                    </a:lnTo>
                    <a:lnTo>
                      <a:pt x="127" y="16"/>
                    </a:lnTo>
                    <a:lnTo>
                      <a:pt x="125" y="16"/>
                    </a:lnTo>
                    <a:lnTo>
                      <a:pt x="125" y="14"/>
                    </a:lnTo>
                    <a:lnTo>
                      <a:pt x="123" y="12"/>
                    </a:lnTo>
                    <a:lnTo>
                      <a:pt x="123" y="14"/>
                    </a:lnTo>
                    <a:lnTo>
                      <a:pt x="123" y="12"/>
                    </a:lnTo>
                    <a:lnTo>
                      <a:pt x="121" y="12"/>
                    </a:lnTo>
                    <a:lnTo>
                      <a:pt x="121" y="10"/>
                    </a:lnTo>
                    <a:lnTo>
                      <a:pt x="121" y="12"/>
                    </a:lnTo>
                    <a:lnTo>
                      <a:pt x="119" y="12"/>
                    </a:lnTo>
                    <a:lnTo>
                      <a:pt x="121" y="12"/>
                    </a:lnTo>
                    <a:lnTo>
                      <a:pt x="121" y="10"/>
                    </a:lnTo>
                    <a:lnTo>
                      <a:pt x="123" y="8"/>
                    </a:lnTo>
                    <a:lnTo>
                      <a:pt x="125" y="6"/>
                    </a:lnTo>
                    <a:lnTo>
                      <a:pt x="127" y="6"/>
                    </a:lnTo>
                    <a:lnTo>
                      <a:pt x="129" y="6"/>
                    </a:lnTo>
                    <a:close/>
                    <a:moveTo>
                      <a:pt x="75" y="125"/>
                    </a:moveTo>
                    <a:lnTo>
                      <a:pt x="73" y="125"/>
                    </a:lnTo>
                    <a:lnTo>
                      <a:pt x="73" y="123"/>
                    </a:lnTo>
                    <a:lnTo>
                      <a:pt x="75" y="123"/>
                    </a:lnTo>
                    <a:lnTo>
                      <a:pt x="73" y="123"/>
                    </a:lnTo>
                    <a:lnTo>
                      <a:pt x="73" y="121"/>
                    </a:lnTo>
                    <a:lnTo>
                      <a:pt x="71" y="121"/>
                    </a:lnTo>
                    <a:lnTo>
                      <a:pt x="71" y="123"/>
                    </a:lnTo>
                    <a:lnTo>
                      <a:pt x="69" y="121"/>
                    </a:lnTo>
                    <a:lnTo>
                      <a:pt x="67" y="121"/>
                    </a:lnTo>
                    <a:lnTo>
                      <a:pt x="67" y="119"/>
                    </a:lnTo>
                    <a:lnTo>
                      <a:pt x="69" y="119"/>
                    </a:lnTo>
                    <a:lnTo>
                      <a:pt x="67" y="119"/>
                    </a:lnTo>
                    <a:lnTo>
                      <a:pt x="69" y="117"/>
                    </a:lnTo>
                    <a:lnTo>
                      <a:pt x="67" y="117"/>
                    </a:lnTo>
                    <a:lnTo>
                      <a:pt x="67" y="115"/>
                    </a:lnTo>
                    <a:lnTo>
                      <a:pt x="65" y="117"/>
                    </a:lnTo>
                    <a:lnTo>
                      <a:pt x="63" y="119"/>
                    </a:lnTo>
                    <a:lnTo>
                      <a:pt x="61" y="121"/>
                    </a:lnTo>
                    <a:lnTo>
                      <a:pt x="65" y="123"/>
                    </a:lnTo>
                    <a:lnTo>
                      <a:pt x="67" y="123"/>
                    </a:lnTo>
                    <a:lnTo>
                      <a:pt x="65" y="123"/>
                    </a:lnTo>
                    <a:lnTo>
                      <a:pt x="65" y="125"/>
                    </a:lnTo>
                    <a:lnTo>
                      <a:pt x="67" y="125"/>
                    </a:lnTo>
                    <a:lnTo>
                      <a:pt x="67" y="127"/>
                    </a:lnTo>
                    <a:lnTo>
                      <a:pt x="67" y="129"/>
                    </a:lnTo>
                    <a:lnTo>
                      <a:pt x="65" y="129"/>
                    </a:lnTo>
                    <a:lnTo>
                      <a:pt x="67" y="129"/>
                    </a:lnTo>
                    <a:lnTo>
                      <a:pt x="67" y="131"/>
                    </a:lnTo>
                    <a:lnTo>
                      <a:pt x="69" y="133"/>
                    </a:lnTo>
                    <a:lnTo>
                      <a:pt x="69" y="135"/>
                    </a:lnTo>
                    <a:lnTo>
                      <a:pt x="71" y="137"/>
                    </a:lnTo>
                    <a:lnTo>
                      <a:pt x="71" y="139"/>
                    </a:lnTo>
                    <a:lnTo>
                      <a:pt x="73" y="139"/>
                    </a:lnTo>
                    <a:lnTo>
                      <a:pt x="75" y="139"/>
                    </a:lnTo>
                    <a:lnTo>
                      <a:pt x="77" y="142"/>
                    </a:lnTo>
                    <a:lnTo>
                      <a:pt x="79" y="142"/>
                    </a:lnTo>
                    <a:lnTo>
                      <a:pt x="81" y="144"/>
                    </a:lnTo>
                    <a:lnTo>
                      <a:pt x="81" y="146"/>
                    </a:lnTo>
                    <a:lnTo>
                      <a:pt x="81" y="144"/>
                    </a:lnTo>
                    <a:lnTo>
                      <a:pt x="84" y="146"/>
                    </a:lnTo>
                    <a:lnTo>
                      <a:pt x="83" y="148"/>
                    </a:lnTo>
                    <a:lnTo>
                      <a:pt x="84" y="148"/>
                    </a:lnTo>
                    <a:lnTo>
                      <a:pt x="84" y="146"/>
                    </a:lnTo>
                    <a:lnTo>
                      <a:pt x="84" y="148"/>
                    </a:lnTo>
                    <a:lnTo>
                      <a:pt x="86" y="148"/>
                    </a:lnTo>
                    <a:lnTo>
                      <a:pt x="86" y="150"/>
                    </a:lnTo>
                    <a:lnTo>
                      <a:pt x="88" y="150"/>
                    </a:lnTo>
                    <a:lnTo>
                      <a:pt x="88" y="148"/>
                    </a:lnTo>
                    <a:lnTo>
                      <a:pt x="90" y="148"/>
                    </a:lnTo>
                    <a:lnTo>
                      <a:pt x="92" y="148"/>
                    </a:lnTo>
                    <a:lnTo>
                      <a:pt x="92" y="146"/>
                    </a:lnTo>
                    <a:lnTo>
                      <a:pt x="92" y="144"/>
                    </a:lnTo>
                    <a:lnTo>
                      <a:pt x="92" y="142"/>
                    </a:lnTo>
                    <a:lnTo>
                      <a:pt x="92" y="140"/>
                    </a:lnTo>
                    <a:lnTo>
                      <a:pt x="92" y="139"/>
                    </a:lnTo>
                    <a:lnTo>
                      <a:pt x="90" y="139"/>
                    </a:lnTo>
                    <a:lnTo>
                      <a:pt x="92" y="137"/>
                    </a:lnTo>
                    <a:lnTo>
                      <a:pt x="90" y="137"/>
                    </a:lnTo>
                    <a:lnTo>
                      <a:pt x="92" y="137"/>
                    </a:lnTo>
                    <a:lnTo>
                      <a:pt x="94" y="135"/>
                    </a:lnTo>
                    <a:lnTo>
                      <a:pt x="96" y="135"/>
                    </a:lnTo>
                    <a:lnTo>
                      <a:pt x="96" y="137"/>
                    </a:lnTo>
                    <a:lnTo>
                      <a:pt x="96" y="135"/>
                    </a:lnTo>
                    <a:lnTo>
                      <a:pt x="96" y="137"/>
                    </a:lnTo>
                    <a:lnTo>
                      <a:pt x="98" y="137"/>
                    </a:lnTo>
                    <a:lnTo>
                      <a:pt x="98" y="139"/>
                    </a:lnTo>
                    <a:lnTo>
                      <a:pt x="98" y="140"/>
                    </a:lnTo>
                    <a:lnTo>
                      <a:pt x="96" y="140"/>
                    </a:lnTo>
                    <a:lnTo>
                      <a:pt x="94" y="140"/>
                    </a:lnTo>
                    <a:lnTo>
                      <a:pt x="94" y="142"/>
                    </a:lnTo>
                    <a:lnTo>
                      <a:pt x="96" y="142"/>
                    </a:lnTo>
                    <a:lnTo>
                      <a:pt x="98" y="140"/>
                    </a:lnTo>
                    <a:lnTo>
                      <a:pt x="98" y="142"/>
                    </a:lnTo>
                    <a:lnTo>
                      <a:pt x="98" y="144"/>
                    </a:lnTo>
                    <a:lnTo>
                      <a:pt x="100" y="144"/>
                    </a:lnTo>
                    <a:lnTo>
                      <a:pt x="100" y="142"/>
                    </a:lnTo>
                    <a:lnTo>
                      <a:pt x="102" y="144"/>
                    </a:lnTo>
                    <a:lnTo>
                      <a:pt x="104" y="144"/>
                    </a:lnTo>
                    <a:lnTo>
                      <a:pt x="106" y="144"/>
                    </a:lnTo>
                    <a:lnTo>
                      <a:pt x="106" y="146"/>
                    </a:lnTo>
                    <a:lnTo>
                      <a:pt x="104" y="150"/>
                    </a:lnTo>
                    <a:lnTo>
                      <a:pt x="106" y="150"/>
                    </a:lnTo>
                    <a:lnTo>
                      <a:pt x="104" y="154"/>
                    </a:lnTo>
                    <a:lnTo>
                      <a:pt x="102" y="154"/>
                    </a:lnTo>
                    <a:lnTo>
                      <a:pt x="104" y="154"/>
                    </a:lnTo>
                    <a:lnTo>
                      <a:pt x="102" y="154"/>
                    </a:lnTo>
                    <a:lnTo>
                      <a:pt x="102" y="156"/>
                    </a:lnTo>
                    <a:lnTo>
                      <a:pt x="104" y="158"/>
                    </a:lnTo>
                    <a:lnTo>
                      <a:pt x="102" y="158"/>
                    </a:lnTo>
                    <a:lnTo>
                      <a:pt x="102" y="156"/>
                    </a:lnTo>
                    <a:lnTo>
                      <a:pt x="100" y="156"/>
                    </a:lnTo>
                    <a:lnTo>
                      <a:pt x="100" y="158"/>
                    </a:lnTo>
                    <a:lnTo>
                      <a:pt x="100" y="160"/>
                    </a:lnTo>
                    <a:lnTo>
                      <a:pt x="102" y="160"/>
                    </a:lnTo>
                    <a:lnTo>
                      <a:pt x="100" y="162"/>
                    </a:lnTo>
                    <a:lnTo>
                      <a:pt x="102" y="164"/>
                    </a:lnTo>
                    <a:lnTo>
                      <a:pt x="98" y="164"/>
                    </a:lnTo>
                    <a:lnTo>
                      <a:pt x="98" y="162"/>
                    </a:lnTo>
                    <a:lnTo>
                      <a:pt x="96" y="162"/>
                    </a:lnTo>
                    <a:lnTo>
                      <a:pt x="96" y="164"/>
                    </a:lnTo>
                    <a:lnTo>
                      <a:pt x="94" y="164"/>
                    </a:lnTo>
                    <a:lnTo>
                      <a:pt x="96" y="164"/>
                    </a:lnTo>
                    <a:lnTo>
                      <a:pt x="94" y="164"/>
                    </a:lnTo>
                    <a:lnTo>
                      <a:pt x="96" y="164"/>
                    </a:lnTo>
                    <a:lnTo>
                      <a:pt x="96" y="165"/>
                    </a:lnTo>
                    <a:lnTo>
                      <a:pt x="94" y="165"/>
                    </a:lnTo>
                    <a:lnTo>
                      <a:pt x="96" y="165"/>
                    </a:lnTo>
                    <a:lnTo>
                      <a:pt x="94" y="165"/>
                    </a:lnTo>
                    <a:lnTo>
                      <a:pt x="92" y="167"/>
                    </a:lnTo>
                    <a:lnTo>
                      <a:pt x="92" y="169"/>
                    </a:lnTo>
                    <a:lnTo>
                      <a:pt x="92" y="171"/>
                    </a:lnTo>
                    <a:lnTo>
                      <a:pt x="90" y="169"/>
                    </a:lnTo>
                    <a:lnTo>
                      <a:pt x="88" y="169"/>
                    </a:lnTo>
                    <a:lnTo>
                      <a:pt x="88" y="171"/>
                    </a:lnTo>
                    <a:lnTo>
                      <a:pt x="88" y="173"/>
                    </a:lnTo>
                    <a:lnTo>
                      <a:pt x="86" y="175"/>
                    </a:lnTo>
                    <a:lnTo>
                      <a:pt x="86" y="177"/>
                    </a:lnTo>
                    <a:lnTo>
                      <a:pt x="84" y="177"/>
                    </a:lnTo>
                    <a:lnTo>
                      <a:pt x="84" y="179"/>
                    </a:lnTo>
                    <a:lnTo>
                      <a:pt x="83" y="179"/>
                    </a:lnTo>
                    <a:lnTo>
                      <a:pt x="83" y="181"/>
                    </a:lnTo>
                    <a:lnTo>
                      <a:pt x="81" y="183"/>
                    </a:lnTo>
                    <a:lnTo>
                      <a:pt x="81" y="185"/>
                    </a:lnTo>
                    <a:lnTo>
                      <a:pt x="81" y="183"/>
                    </a:lnTo>
                    <a:lnTo>
                      <a:pt x="81" y="185"/>
                    </a:lnTo>
                    <a:lnTo>
                      <a:pt x="81" y="183"/>
                    </a:lnTo>
                    <a:lnTo>
                      <a:pt x="83" y="183"/>
                    </a:lnTo>
                    <a:lnTo>
                      <a:pt x="83" y="185"/>
                    </a:lnTo>
                    <a:lnTo>
                      <a:pt x="83" y="187"/>
                    </a:lnTo>
                    <a:lnTo>
                      <a:pt x="83" y="185"/>
                    </a:lnTo>
                    <a:lnTo>
                      <a:pt x="84" y="185"/>
                    </a:lnTo>
                    <a:lnTo>
                      <a:pt x="84" y="187"/>
                    </a:lnTo>
                    <a:lnTo>
                      <a:pt x="83" y="187"/>
                    </a:lnTo>
                    <a:lnTo>
                      <a:pt x="83" y="189"/>
                    </a:lnTo>
                    <a:lnTo>
                      <a:pt x="83" y="190"/>
                    </a:lnTo>
                    <a:lnTo>
                      <a:pt x="81" y="190"/>
                    </a:lnTo>
                    <a:lnTo>
                      <a:pt x="83" y="192"/>
                    </a:lnTo>
                    <a:lnTo>
                      <a:pt x="83" y="190"/>
                    </a:lnTo>
                    <a:lnTo>
                      <a:pt x="84" y="192"/>
                    </a:lnTo>
                    <a:lnTo>
                      <a:pt x="84" y="194"/>
                    </a:lnTo>
                    <a:lnTo>
                      <a:pt x="83" y="194"/>
                    </a:lnTo>
                    <a:lnTo>
                      <a:pt x="83" y="196"/>
                    </a:lnTo>
                    <a:lnTo>
                      <a:pt x="81" y="198"/>
                    </a:lnTo>
                    <a:lnTo>
                      <a:pt x="79" y="198"/>
                    </a:lnTo>
                    <a:lnTo>
                      <a:pt x="77" y="198"/>
                    </a:lnTo>
                    <a:lnTo>
                      <a:pt x="77" y="200"/>
                    </a:lnTo>
                    <a:lnTo>
                      <a:pt x="77" y="202"/>
                    </a:lnTo>
                    <a:lnTo>
                      <a:pt x="75" y="202"/>
                    </a:lnTo>
                    <a:lnTo>
                      <a:pt x="73" y="202"/>
                    </a:lnTo>
                    <a:lnTo>
                      <a:pt x="71" y="200"/>
                    </a:lnTo>
                    <a:lnTo>
                      <a:pt x="73" y="200"/>
                    </a:lnTo>
                    <a:lnTo>
                      <a:pt x="73" y="198"/>
                    </a:lnTo>
                    <a:lnTo>
                      <a:pt x="73" y="196"/>
                    </a:lnTo>
                    <a:lnTo>
                      <a:pt x="71" y="196"/>
                    </a:lnTo>
                    <a:lnTo>
                      <a:pt x="71" y="194"/>
                    </a:lnTo>
                    <a:lnTo>
                      <a:pt x="73" y="194"/>
                    </a:lnTo>
                    <a:lnTo>
                      <a:pt x="73" y="192"/>
                    </a:lnTo>
                    <a:lnTo>
                      <a:pt x="71" y="192"/>
                    </a:lnTo>
                    <a:lnTo>
                      <a:pt x="73" y="192"/>
                    </a:lnTo>
                    <a:lnTo>
                      <a:pt x="73" y="190"/>
                    </a:lnTo>
                    <a:lnTo>
                      <a:pt x="71" y="192"/>
                    </a:lnTo>
                    <a:lnTo>
                      <a:pt x="73" y="190"/>
                    </a:lnTo>
                    <a:lnTo>
                      <a:pt x="71" y="190"/>
                    </a:lnTo>
                    <a:lnTo>
                      <a:pt x="69" y="189"/>
                    </a:lnTo>
                    <a:lnTo>
                      <a:pt x="69" y="190"/>
                    </a:lnTo>
                    <a:lnTo>
                      <a:pt x="67" y="190"/>
                    </a:lnTo>
                    <a:lnTo>
                      <a:pt x="67" y="192"/>
                    </a:lnTo>
                    <a:lnTo>
                      <a:pt x="67" y="194"/>
                    </a:lnTo>
                    <a:lnTo>
                      <a:pt x="67" y="196"/>
                    </a:lnTo>
                    <a:lnTo>
                      <a:pt x="65" y="198"/>
                    </a:lnTo>
                    <a:lnTo>
                      <a:pt x="65" y="200"/>
                    </a:lnTo>
                    <a:lnTo>
                      <a:pt x="63" y="200"/>
                    </a:lnTo>
                    <a:lnTo>
                      <a:pt x="63" y="202"/>
                    </a:lnTo>
                    <a:lnTo>
                      <a:pt x="61" y="202"/>
                    </a:lnTo>
                    <a:lnTo>
                      <a:pt x="61" y="204"/>
                    </a:lnTo>
                    <a:lnTo>
                      <a:pt x="59" y="206"/>
                    </a:lnTo>
                    <a:lnTo>
                      <a:pt x="61" y="208"/>
                    </a:lnTo>
                    <a:lnTo>
                      <a:pt x="61" y="210"/>
                    </a:lnTo>
                    <a:lnTo>
                      <a:pt x="63" y="210"/>
                    </a:lnTo>
                    <a:lnTo>
                      <a:pt x="65" y="210"/>
                    </a:lnTo>
                    <a:lnTo>
                      <a:pt x="67" y="212"/>
                    </a:lnTo>
                    <a:lnTo>
                      <a:pt x="65" y="212"/>
                    </a:lnTo>
                    <a:lnTo>
                      <a:pt x="67" y="214"/>
                    </a:lnTo>
                    <a:lnTo>
                      <a:pt x="67" y="215"/>
                    </a:lnTo>
                    <a:lnTo>
                      <a:pt x="69" y="217"/>
                    </a:lnTo>
                    <a:lnTo>
                      <a:pt x="69" y="215"/>
                    </a:lnTo>
                    <a:lnTo>
                      <a:pt x="69" y="217"/>
                    </a:lnTo>
                    <a:lnTo>
                      <a:pt x="71" y="217"/>
                    </a:lnTo>
                    <a:lnTo>
                      <a:pt x="71" y="219"/>
                    </a:lnTo>
                    <a:lnTo>
                      <a:pt x="71" y="221"/>
                    </a:lnTo>
                    <a:lnTo>
                      <a:pt x="73" y="221"/>
                    </a:lnTo>
                    <a:lnTo>
                      <a:pt x="71" y="221"/>
                    </a:lnTo>
                    <a:lnTo>
                      <a:pt x="71" y="223"/>
                    </a:lnTo>
                    <a:lnTo>
                      <a:pt x="73" y="223"/>
                    </a:lnTo>
                    <a:lnTo>
                      <a:pt x="71" y="225"/>
                    </a:lnTo>
                    <a:lnTo>
                      <a:pt x="73" y="225"/>
                    </a:lnTo>
                    <a:lnTo>
                      <a:pt x="73" y="227"/>
                    </a:lnTo>
                    <a:lnTo>
                      <a:pt x="73" y="229"/>
                    </a:lnTo>
                    <a:lnTo>
                      <a:pt x="75" y="229"/>
                    </a:lnTo>
                    <a:lnTo>
                      <a:pt x="77" y="227"/>
                    </a:lnTo>
                    <a:lnTo>
                      <a:pt x="77" y="229"/>
                    </a:lnTo>
                    <a:lnTo>
                      <a:pt x="77" y="227"/>
                    </a:lnTo>
                    <a:lnTo>
                      <a:pt x="79" y="227"/>
                    </a:lnTo>
                    <a:lnTo>
                      <a:pt x="79" y="225"/>
                    </a:lnTo>
                    <a:lnTo>
                      <a:pt x="81" y="225"/>
                    </a:lnTo>
                    <a:lnTo>
                      <a:pt x="81" y="223"/>
                    </a:lnTo>
                    <a:lnTo>
                      <a:pt x="83" y="223"/>
                    </a:lnTo>
                    <a:lnTo>
                      <a:pt x="83" y="221"/>
                    </a:lnTo>
                    <a:lnTo>
                      <a:pt x="84" y="221"/>
                    </a:lnTo>
                    <a:lnTo>
                      <a:pt x="86" y="221"/>
                    </a:lnTo>
                    <a:lnTo>
                      <a:pt x="86" y="219"/>
                    </a:lnTo>
                    <a:lnTo>
                      <a:pt x="88" y="217"/>
                    </a:lnTo>
                    <a:lnTo>
                      <a:pt x="88" y="215"/>
                    </a:lnTo>
                    <a:lnTo>
                      <a:pt x="88" y="214"/>
                    </a:lnTo>
                    <a:lnTo>
                      <a:pt x="90" y="214"/>
                    </a:lnTo>
                    <a:lnTo>
                      <a:pt x="90" y="212"/>
                    </a:lnTo>
                    <a:lnTo>
                      <a:pt x="88" y="212"/>
                    </a:lnTo>
                    <a:lnTo>
                      <a:pt x="90" y="212"/>
                    </a:lnTo>
                    <a:lnTo>
                      <a:pt x="90" y="210"/>
                    </a:lnTo>
                    <a:lnTo>
                      <a:pt x="92" y="210"/>
                    </a:lnTo>
                    <a:lnTo>
                      <a:pt x="92" y="208"/>
                    </a:lnTo>
                    <a:lnTo>
                      <a:pt x="92" y="206"/>
                    </a:lnTo>
                    <a:lnTo>
                      <a:pt x="92" y="204"/>
                    </a:lnTo>
                    <a:lnTo>
                      <a:pt x="94" y="204"/>
                    </a:lnTo>
                    <a:lnTo>
                      <a:pt x="94" y="202"/>
                    </a:lnTo>
                    <a:lnTo>
                      <a:pt x="94" y="200"/>
                    </a:lnTo>
                    <a:lnTo>
                      <a:pt x="96" y="200"/>
                    </a:lnTo>
                    <a:lnTo>
                      <a:pt x="98" y="200"/>
                    </a:lnTo>
                    <a:lnTo>
                      <a:pt x="98" y="198"/>
                    </a:lnTo>
                    <a:lnTo>
                      <a:pt x="100" y="198"/>
                    </a:lnTo>
                    <a:lnTo>
                      <a:pt x="102" y="198"/>
                    </a:lnTo>
                    <a:lnTo>
                      <a:pt x="102" y="196"/>
                    </a:lnTo>
                    <a:lnTo>
                      <a:pt x="104" y="190"/>
                    </a:lnTo>
                    <a:lnTo>
                      <a:pt x="102" y="190"/>
                    </a:lnTo>
                    <a:lnTo>
                      <a:pt x="104" y="190"/>
                    </a:lnTo>
                    <a:lnTo>
                      <a:pt x="104" y="189"/>
                    </a:lnTo>
                    <a:lnTo>
                      <a:pt x="104" y="187"/>
                    </a:lnTo>
                    <a:lnTo>
                      <a:pt x="106" y="187"/>
                    </a:lnTo>
                    <a:lnTo>
                      <a:pt x="106" y="185"/>
                    </a:lnTo>
                    <a:lnTo>
                      <a:pt x="106" y="187"/>
                    </a:lnTo>
                    <a:lnTo>
                      <a:pt x="106" y="185"/>
                    </a:lnTo>
                    <a:lnTo>
                      <a:pt x="106" y="183"/>
                    </a:lnTo>
                    <a:lnTo>
                      <a:pt x="106" y="181"/>
                    </a:lnTo>
                    <a:lnTo>
                      <a:pt x="106" y="179"/>
                    </a:lnTo>
                    <a:lnTo>
                      <a:pt x="108" y="179"/>
                    </a:lnTo>
                    <a:lnTo>
                      <a:pt x="108" y="177"/>
                    </a:lnTo>
                    <a:lnTo>
                      <a:pt x="108" y="175"/>
                    </a:lnTo>
                    <a:lnTo>
                      <a:pt x="109" y="175"/>
                    </a:lnTo>
                    <a:lnTo>
                      <a:pt x="111" y="175"/>
                    </a:lnTo>
                    <a:lnTo>
                      <a:pt x="111" y="173"/>
                    </a:lnTo>
                    <a:lnTo>
                      <a:pt x="113" y="173"/>
                    </a:lnTo>
                    <a:lnTo>
                      <a:pt x="113" y="171"/>
                    </a:lnTo>
                    <a:lnTo>
                      <a:pt x="115" y="173"/>
                    </a:lnTo>
                    <a:lnTo>
                      <a:pt x="115" y="171"/>
                    </a:lnTo>
                    <a:lnTo>
                      <a:pt x="119" y="173"/>
                    </a:lnTo>
                    <a:lnTo>
                      <a:pt x="117" y="173"/>
                    </a:lnTo>
                    <a:lnTo>
                      <a:pt x="117" y="175"/>
                    </a:lnTo>
                    <a:lnTo>
                      <a:pt x="119" y="175"/>
                    </a:lnTo>
                    <a:lnTo>
                      <a:pt x="115" y="181"/>
                    </a:lnTo>
                    <a:lnTo>
                      <a:pt x="117" y="181"/>
                    </a:lnTo>
                    <a:lnTo>
                      <a:pt x="117" y="183"/>
                    </a:lnTo>
                    <a:lnTo>
                      <a:pt x="115" y="187"/>
                    </a:lnTo>
                    <a:lnTo>
                      <a:pt x="115" y="189"/>
                    </a:lnTo>
                    <a:lnTo>
                      <a:pt x="115" y="190"/>
                    </a:lnTo>
                    <a:lnTo>
                      <a:pt x="113" y="192"/>
                    </a:lnTo>
                    <a:lnTo>
                      <a:pt x="111" y="192"/>
                    </a:lnTo>
                    <a:lnTo>
                      <a:pt x="111" y="194"/>
                    </a:lnTo>
                    <a:lnTo>
                      <a:pt x="117" y="196"/>
                    </a:lnTo>
                    <a:lnTo>
                      <a:pt x="117" y="194"/>
                    </a:lnTo>
                    <a:lnTo>
                      <a:pt x="117" y="192"/>
                    </a:lnTo>
                    <a:lnTo>
                      <a:pt x="117" y="190"/>
                    </a:lnTo>
                    <a:lnTo>
                      <a:pt x="119" y="190"/>
                    </a:lnTo>
                    <a:lnTo>
                      <a:pt x="117" y="190"/>
                    </a:lnTo>
                    <a:lnTo>
                      <a:pt x="119" y="189"/>
                    </a:lnTo>
                    <a:lnTo>
                      <a:pt x="119" y="187"/>
                    </a:lnTo>
                    <a:lnTo>
                      <a:pt x="121" y="187"/>
                    </a:lnTo>
                    <a:lnTo>
                      <a:pt x="121" y="185"/>
                    </a:lnTo>
                    <a:lnTo>
                      <a:pt x="121" y="183"/>
                    </a:lnTo>
                    <a:lnTo>
                      <a:pt x="119" y="183"/>
                    </a:lnTo>
                    <a:lnTo>
                      <a:pt x="121" y="183"/>
                    </a:lnTo>
                    <a:lnTo>
                      <a:pt x="121" y="181"/>
                    </a:lnTo>
                    <a:lnTo>
                      <a:pt x="121" y="179"/>
                    </a:lnTo>
                    <a:lnTo>
                      <a:pt x="121" y="177"/>
                    </a:lnTo>
                    <a:lnTo>
                      <a:pt x="123" y="177"/>
                    </a:lnTo>
                    <a:lnTo>
                      <a:pt x="123" y="175"/>
                    </a:lnTo>
                    <a:lnTo>
                      <a:pt x="123" y="173"/>
                    </a:lnTo>
                    <a:lnTo>
                      <a:pt x="123" y="171"/>
                    </a:lnTo>
                    <a:lnTo>
                      <a:pt x="123" y="169"/>
                    </a:lnTo>
                    <a:lnTo>
                      <a:pt x="123" y="167"/>
                    </a:lnTo>
                    <a:lnTo>
                      <a:pt x="125" y="167"/>
                    </a:lnTo>
                    <a:lnTo>
                      <a:pt x="123" y="165"/>
                    </a:lnTo>
                    <a:lnTo>
                      <a:pt x="125" y="165"/>
                    </a:lnTo>
                    <a:lnTo>
                      <a:pt x="123" y="164"/>
                    </a:lnTo>
                    <a:lnTo>
                      <a:pt x="123" y="162"/>
                    </a:lnTo>
                    <a:lnTo>
                      <a:pt x="125" y="162"/>
                    </a:lnTo>
                    <a:lnTo>
                      <a:pt x="123" y="162"/>
                    </a:lnTo>
                    <a:lnTo>
                      <a:pt x="125" y="162"/>
                    </a:lnTo>
                    <a:lnTo>
                      <a:pt x="125" y="160"/>
                    </a:lnTo>
                    <a:lnTo>
                      <a:pt x="123" y="162"/>
                    </a:lnTo>
                    <a:lnTo>
                      <a:pt x="123" y="160"/>
                    </a:lnTo>
                    <a:lnTo>
                      <a:pt x="125" y="160"/>
                    </a:lnTo>
                    <a:lnTo>
                      <a:pt x="123" y="158"/>
                    </a:lnTo>
                    <a:lnTo>
                      <a:pt x="125" y="158"/>
                    </a:lnTo>
                    <a:lnTo>
                      <a:pt x="123" y="158"/>
                    </a:lnTo>
                    <a:lnTo>
                      <a:pt x="125" y="158"/>
                    </a:lnTo>
                    <a:lnTo>
                      <a:pt x="123" y="158"/>
                    </a:lnTo>
                    <a:lnTo>
                      <a:pt x="125" y="156"/>
                    </a:lnTo>
                    <a:lnTo>
                      <a:pt x="123" y="156"/>
                    </a:lnTo>
                    <a:lnTo>
                      <a:pt x="123" y="154"/>
                    </a:lnTo>
                    <a:lnTo>
                      <a:pt x="123" y="152"/>
                    </a:lnTo>
                    <a:lnTo>
                      <a:pt x="123" y="154"/>
                    </a:lnTo>
                    <a:lnTo>
                      <a:pt x="123" y="152"/>
                    </a:lnTo>
                    <a:lnTo>
                      <a:pt x="123" y="150"/>
                    </a:lnTo>
                    <a:lnTo>
                      <a:pt x="123" y="152"/>
                    </a:lnTo>
                    <a:lnTo>
                      <a:pt x="121" y="150"/>
                    </a:lnTo>
                    <a:lnTo>
                      <a:pt x="123" y="150"/>
                    </a:lnTo>
                    <a:lnTo>
                      <a:pt x="121" y="150"/>
                    </a:lnTo>
                    <a:lnTo>
                      <a:pt x="123" y="150"/>
                    </a:lnTo>
                    <a:lnTo>
                      <a:pt x="123" y="148"/>
                    </a:lnTo>
                    <a:lnTo>
                      <a:pt x="121" y="148"/>
                    </a:lnTo>
                    <a:lnTo>
                      <a:pt x="121" y="146"/>
                    </a:lnTo>
                    <a:lnTo>
                      <a:pt x="119" y="144"/>
                    </a:lnTo>
                    <a:lnTo>
                      <a:pt x="121" y="144"/>
                    </a:lnTo>
                    <a:lnTo>
                      <a:pt x="119" y="144"/>
                    </a:lnTo>
                    <a:lnTo>
                      <a:pt x="117" y="144"/>
                    </a:lnTo>
                    <a:lnTo>
                      <a:pt x="117" y="142"/>
                    </a:lnTo>
                    <a:lnTo>
                      <a:pt x="117" y="144"/>
                    </a:lnTo>
                    <a:lnTo>
                      <a:pt x="117" y="142"/>
                    </a:lnTo>
                    <a:lnTo>
                      <a:pt x="117" y="144"/>
                    </a:lnTo>
                    <a:lnTo>
                      <a:pt x="115" y="144"/>
                    </a:lnTo>
                    <a:lnTo>
                      <a:pt x="115" y="142"/>
                    </a:lnTo>
                    <a:lnTo>
                      <a:pt x="115" y="144"/>
                    </a:lnTo>
                    <a:lnTo>
                      <a:pt x="115" y="142"/>
                    </a:lnTo>
                    <a:lnTo>
                      <a:pt x="113" y="142"/>
                    </a:lnTo>
                    <a:lnTo>
                      <a:pt x="111" y="142"/>
                    </a:lnTo>
                    <a:lnTo>
                      <a:pt x="111" y="140"/>
                    </a:lnTo>
                    <a:lnTo>
                      <a:pt x="109" y="140"/>
                    </a:lnTo>
                    <a:lnTo>
                      <a:pt x="109" y="139"/>
                    </a:lnTo>
                    <a:lnTo>
                      <a:pt x="108" y="139"/>
                    </a:lnTo>
                    <a:lnTo>
                      <a:pt x="108" y="137"/>
                    </a:lnTo>
                    <a:lnTo>
                      <a:pt x="108" y="135"/>
                    </a:lnTo>
                    <a:lnTo>
                      <a:pt x="108" y="137"/>
                    </a:lnTo>
                    <a:lnTo>
                      <a:pt x="108" y="135"/>
                    </a:lnTo>
                    <a:lnTo>
                      <a:pt x="106" y="137"/>
                    </a:lnTo>
                    <a:lnTo>
                      <a:pt x="106" y="135"/>
                    </a:lnTo>
                    <a:lnTo>
                      <a:pt x="108" y="135"/>
                    </a:lnTo>
                    <a:lnTo>
                      <a:pt x="106" y="135"/>
                    </a:lnTo>
                    <a:lnTo>
                      <a:pt x="106" y="133"/>
                    </a:lnTo>
                    <a:lnTo>
                      <a:pt x="104" y="133"/>
                    </a:lnTo>
                    <a:lnTo>
                      <a:pt x="106" y="133"/>
                    </a:lnTo>
                    <a:lnTo>
                      <a:pt x="104" y="133"/>
                    </a:lnTo>
                    <a:lnTo>
                      <a:pt x="104" y="131"/>
                    </a:lnTo>
                    <a:lnTo>
                      <a:pt x="106" y="131"/>
                    </a:lnTo>
                    <a:lnTo>
                      <a:pt x="106" y="129"/>
                    </a:lnTo>
                    <a:lnTo>
                      <a:pt x="106" y="131"/>
                    </a:lnTo>
                    <a:lnTo>
                      <a:pt x="106" y="129"/>
                    </a:lnTo>
                    <a:lnTo>
                      <a:pt x="104" y="127"/>
                    </a:lnTo>
                    <a:lnTo>
                      <a:pt x="102" y="127"/>
                    </a:lnTo>
                    <a:lnTo>
                      <a:pt x="100" y="127"/>
                    </a:lnTo>
                    <a:lnTo>
                      <a:pt x="100" y="129"/>
                    </a:lnTo>
                    <a:lnTo>
                      <a:pt x="98" y="127"/>
                    </a:lnTo>
                    <a:lnTo>
                      <a:pt x="98" y="129"/>
                    </a:lnTo>
                    <a:lnTo>
                      <a:pt x="96" y="129"/>
                    </a:lnTo>
                    <a:lnTo>
                      <a:pt x="94" y="129"/>
                    </a:lnTo>
                    <a:lnTo>
                      <a:pt x="92" y="131"/>
                    </a:lnTo>
                    <a:lnTo>
                      <a:pt x="92" y="129"/>
                    </a:lnTo>
                    <a:lnTo>
                      <a:pt x="92" y="131"/>
                    </a:lnTo>
                    <a:lnTo>
                      <a:pt x="92" y="129"/>
                    </a:lnTo>
                    <a:lnTo>
                      <a:pt x="90" y="131"/>
                    </a:lnTo>
                    <a:lnTo>
                      <a:pt x="90" y="129"/>
                    </a:lnTo>
                    <a:lnTo>
                      <a:pt x="90" y="131"/>
                    </a:lnTo>
                    <a:lnTo>
                      <a:pt x="88" y="133"/>
                    </a:lnTo>
                    <a:lnTo>
                      <a:pt x="86" y="133"/>
                    </a:lnTo>
                    <a:lnTo>
                      <a:pt x="84" y="133"/>
                    </a:lnTo>
                    <a:lnTo>
                      <a:pt x="83" y="131"/>
                    </a:lnTo>
                    <a:lnTo>
                      <a:pt x="81" y="131"/>
                    </a:lnTo>
                    <a:lnTo>
                      <a:pt x="79" y="129"/>
                    </a:lnTo>
                    <a:lnTo>
                      <a:pt x="77" y="129"/>
                    </a:lnTo>
                    <a:lnTo>
                      <a:pt x="75" y="127"/>
                    </a:lnTo>
                    <a:lnTo>
                      <a:pt x="75" y="129"/>
                    </a:lnTo>
                    <a:lnTo>
                      <a:pt x="75" y="127"/>
                    </a:lnTo>
                    <a:lnTo>
                      <a:pt x="75" y="125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" name="Freeform 48">
                <a:extLst>
                  <a:ext uri="{FF2B5EF4-FFF2-40B4-BE49-F238E27FC236}">
                    <a16:creationId xmlns="" xmlns:a16="http://schemas.microsoft.com/office/drawing/2014/main" id="{F6B92BCD-75B1-4671-B3A5-61CE7DE5C0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9713" y="4327526"/>
                <a:ext cx="3175" cy="3175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0 h 2"/>
                  <a:gd name="T4" fmla="*/ 2 w 2"/>
                  <a:gd name="T5" fmla="*/ 0 h 2"/>
                  <a:gd name="T6" fmla="*/ 2 w 2"/>
                  <a:gd name="T7" fmla="*/ 0 h 2"/>
                  <a:gd name="T8" fmla="*/ 0 w 2"/>
                  <a:gd name="T9" fmla="*/ 0 h 2"/>
                  <a:gd name="T10" fmla="*/ 0 w 2"/>
                  <a:gd name="T11" fmla="*/ 0 h 2"/>
                  <a:gd name="T12" fmla="*/ 0 w 2"/>
                  <a:gd name="T13" fmla="*/ 0 h 2"/>
                  <a:gd name="T14" fmla="*/ 0 w 2"/>
                  <a:gd name="T15" fmla="*/ 0 h 2"/>
                  <a:gd name="T16" fmla="*/ 0 w 2"/>
                  <a:gd name="T17" fmla="*/ 0 h 2"/>
                  <a:gd name="T18" fmla="*/ 0 w 2"/>
                  <a:gd name="T19" fmla="*/ 0 h 2"/>
                  <a:gd name="T20" fmla="*/ 0 w 2"/>
                  <a:gd name="T21" fmla="*/ 0 h 2"/>
                  <a:gd name="T22" fmla="*/ 0 w 2"/>
                  <a:gd name="T23" fmla="*/ 2 h 2"/>
                  <a:gd name="T24" fmla="*/ 0 w 2"/>
                  <a:gd name="T25" fmla="*/ 0 h 2"/>
                  <a:gd name="T26" fmla="*/ 0 w 2"/>
                  <a:gd name="T27" fmla="*/ 0 h 2"/>
                  <a:gd name="T28" fmla="*/ 0 w 2"/>
                  <a:gd name="T29" fmla="*/ 0 h 2"/>
                  <a:gd name="T30" fmla="*/ 0 w 2"/>
                  <a:gd name="T3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4" name="Freeform 49">
                <a:extLst>
                  <a:ext uri="{FF2B5EF4-FFF2-40B4-BE49-F238E27FC236}">
                    <a16:creationId xmlns="" xmlns:a16="http://schemas.microsoft.com/office/drawing/2014/main" id="{9C654BB2-004D-4433-876F-B3885084FCC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33500" y="4327526"/>
                <a:ext cx="179388" cy="93663"/>
              </a:xfrm>
              <a:custGeom>
                <a:avLst/>
                <a:gdLst>
                  <a:gd name="T0" fmla="*/ 0 w 113"/>
                  <a:gd name="T1" fmla="*/ 48 h 59"/>
                  <a:gd name="T2" fmla="*/ 0 w 113"/>
                  <a:gd name="T3" fmla="*/ 48 h 59"/>
                  <a:gd name="T4" fmla="*/ 0 w 113"/>
                  <a:gd name="T5" fmla="*/ 48 h 59"/>
                  <a:gd name="T6" fmla="*/ 0 w 113"/>
                  <a:gd name="T7" fmla="*/ 48 h 59"/>
                  <a:gd name="T8" fmla="*/ 0 w 113"/>
                  <a:gd name="T9" fmla="*/ 48 h 59"/>
                  <a:gd name="T10" fmla="*/ 0 w 113"/>
                  <a:gd name="T11" fmla="*/ 48 h 59"/>
                  <a:gd name="T12" fmla="*/ 0 w 113"/>
                  <a:gd name="T13" fmla="*/ 48 h 59"/>
                  <a:gd name="T14" fmla="*/ 0 w 113"/>
                  <a:gd name="T15" fmla="*/ 48 h 59"/>
                  <a:gd name="T16" fmla="*/ 0 w 113"/>
                  <a:gd name="T17" fmla="*/ 48 h 59"/>
                  <a:gd name="T18" fmla="*/ 0 w 113"/>
                  <a:gd name="T19" fmla="*/ 48 h 59"/>
                  <a:gd name="T20" fmla="*/ 2 w 113"/>
                  <a:gd name="T21" fmla="*/ 48 h 59"/>
                  <a:gd name="T22" fmla="*/ 2 w 113"/>
                  <a:gd name="T23" fmla="*/ 48 h 59"/>
                  <a:gd name="T24" fmla="*/ 2 w 113"/>
                  <a:gd name="T25" fmla="*/ 48 h 59"/>
                  <a:gd name="T26" fmla="*/ 2 w 113"/>
                  <a:gd name="T27" fmla="*/ 48 h 59"/>
                  <a:gd name="T28" fmla="*/ 2 w 113"/>
                  <a:gd name="T29" fmla="*/ 48 h 59"/>
                  <a:gd name="T30" fmla="*/ 38 w 113"/>
                  <a:gd name="T31" fmla="*/ 59 h 59"/>
                  <a:gd name="T32" fmla="*/ 36 w 113"/>
                  <a:gd name="T33" fmla="*/ 59 h 59"/>
                  <a:gd name="T34" fmla="*/ 36 w 113"/>
                  <a:gd name="T35" fmla="*/ 59 h 59"/>
                  <a:gd name="T36" fmla="*/ 36 w 113"/>
                  <a:gd name="T37" fmla="*/ 59 h 59"/>
                  <a:gd name="T38" fmla="*/ 38 w 113"/>
                  <a:gd name="T39" fmla="*/ 59 h 59"/>
                  <a:gd name="T40" fmla="*/ 38 w 113"/>
                  <a:gd name="T41" fmla="*/ 59 h 59"/>
                  <a:gd name="T42" fmla="*/ 38 w 113"/>
                  <a:gd name="T43" fmla="*/ 59 h 59"/>
                  <a:gd name="T44" fmla="*/ 38 w 113"/>
                  <a:gd name="T45" fmla="*/ 59 h 59"/>
                  <a:gd name="T46" fmla="*/ 38 w 113"/>
                  <a:gd name="T47" fmla="*/ 59 h 59"/>
                  <a:gd name="T48" fmla="*/ 88 w 113"/>
                  <a:gd name="T49" fmla="*/ 31 h 59"/>
                  <a:gd name="T50" fmla="*/ 88 w 113"/>
                  <a:gd name="T51" fmla="*/ 31 h 59"/>
                  <a:gd name="T52" fmla="*/ 88 w 113"/>
                  <a:gd name="T53" fmla="*/ 31 h 59"/>
                  <a:gd name="T54" fmla="*/ 88 w 113"/>
                  <a:gd name="T55" fmla="*/ 31 h 59"/>
                  <a:gd name="T56" fmla="*/ 88 w 113"/>
                  <a:gd name="T57" fmla="*/ 31 h 59"/>
                  <a:gd name="T58" fmla="*/ 90 w 113"/>
                  <a:gd name="T59" fmla="*/ 31 h 59"/>
                  <a:gd name="T60" fmla="*/ 90 w 113"/>
                  <a:gd name="T61" fmla="*/ 31 h 59"/>
                  <a:gd name="T62" fmla="*/ 88 w 113"/>
                  <a:gd name="T63" fmla="*/ 31 h 59"/>
                  <a:gd name="T64" fmla="*/ 86 w 113"/>
                  <a:gd name="T65" fmla="*/ 15 h 59"/>
                  <a:gd name="T66" fmla="*/ 86 w 113"/>
                  <a:gd name="T67" fmla="*/ 15 h 59"/>
                  <a:gd name="T68" fmla="*/ 86 w 113"/>
                  <a:gd name="T69" fmla="*/ 15 h 59"/>
                  <a:gd name="T70" fmla="*/ 86 w 113"/>
                  <a:gd name="T71" fmla="*/ 15 h 59"/>
                  <a:gd name="T72" fmla="*/ 113 w 113"/>
                  <a:gd name="T73" fmla="*/ 6 h 59"/>
                  <a:gd name="T74" fmla="*/ 113 w 113"/>
                  <a:gd name="T75" fmla="*/ 6 h 59"/>
                  <a:gd name="T76" fmla="*/ 113 w 113"/>
                  <a:gd name="T77" fmla="*/ 6 h 59"/>
                  <a:gd name="T78" fmla="*/ 113 w 113"/>
                  <a:gd name="T79" fmla="*/ 6 h 59"/>
                  <a:gd name="T80" fmla="*/ 113 w 113"/>
                  <a:gd name="T81" fmla="*/ 6 h 59"/>
                  <a:gd name="T82" fmla="*/ 113 w 113"/>
                  <a:gd name="T83" fmla="*/ 6 h 59"/>
                  <a:gd name="T84" fmla="*/ 113 w 113"/>
                  <a:gd name="T85" fmla="*/ 6 h 59"/>
                  <a:gd name="T86" fmla="*/ 113 w 113"/>
                  <a:gd name="T87" fmla="*/ 6 h 59"/>
                  <a:gd name="T88" fmla="*/ 113 w 113"/>
                  <a:gd name="T89" fmla="*/ 6 h 59"/>
                  <a:gd name="T90" fmla="*/ 113 w 113"/>
                  <a:gd name="T91" fmla="*/ 6 h 59"/>
                  <a:gd name="T92" fmla="*/ 111 w 113"/>
                  <a:gd name="T93" fmla="*/ 6 h 59"/>
                  <a:gd name="T94" fmla="*/ 113 w 113"/>
                  <a:gd name="T95" fmla="*/ 6 h 59"/>
                  <a:gd name="T96" fmla="*/ 113 w 113"/>
                  <a:gd name="T97" fmla="*/ 6 h 59"/>
                  <a:gd name="T98" fmla="*/ 111 w 113"/>
                  <a:gd name="T99" fmla="*/ 6 h 59"/>
                  <a:gd name="T100" fmla="*/ 111 w 113"/>
                  <a:gd name="T101" fmla="*/ 6 h 59"/>
                  <a:gd name="T102" fmla="*/ 111 w 113"/>
                  <a:gd name="T103" fmla="*/ 6 h 59"/>
                  <a:gd name="T104" fmla="*/ 111 w 113"/>
                  <a:gd name="T105" fmla="*/ 6 h 59"/>
                  <a:gd name="T106" fmla="*/ 111 w 113"/>
                  <a:gd name="T107" fmla="*/ 6 h 59"/>
                  <a:gd name="T108" fmla="*/ 111 w 113"/>
                  <a:gd name="T109" fmla="*/ 0 h 59"/>
                  <a:gd name="T110" fmla="*/ 111 w 113"/>
                  <a:gd name="T111" fmla="*/ 0 h 59"/>
                  <a:gd name="T112" fmla="*/ 111 w 113"/>
                  <a:gd name="T113" fmla="*/ 0 h 59"/>
                  <a:gd name="T114" fmla="*/ 111 w 113"/>
                  <a:gd name="T115" fmla="*/ 0 h 59"/>
                  <a:gd name="T116" fmla="*/ 111 w 113"/>
                  <a:gd name="T117" fmla="*/ 0 h 59"/>
                  <a:gd name="T118" fmla="*/ 111 w 113"/>
                  <a:gd name="T119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13" h="59">
                    <a:moveTo>
                      <a:pt x="0" y="48"/>
                    </a:move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close/>
                    <a:moveTo>
                      <a:pt x="0" y="48"/>
                    </a:move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close/>
                    <a:moveTo>
                      <a:pt x="2" y="48"/>
                    </a:moveTo>
                    <a:lnTo>
                      <a:pt x="2" y="48"/>
                    </a:lnTo>
                    <a:lnTo>
                      <a:pt x="2" y="48"/>
                    </a:lnTo>
                    <a:lnTo>
                      <a:pt x="2" y="48"/>
                    </a:lnTo>
                    <a:lnTo>
                      <a:pt x="2" y="48"/>
                    </a:lnTo>
                    <a:close/>
                    <a:moveTo>
                      <a:pt x="38" y="59"/>
                    </a:moveTo>
                    <a:lnTo>
                      <a:pt x="36" y="59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38" y="59"/>
                    </a:lnTo>
                    <a:lnTo>
                      <a:pt x="38" y="59"/>
                    </a:lnTo>
                    <a:lnTo>
                      <a:pt x="38" y="59"/>
                    </a:lnTo>
                    <a:lnTo>
                      <a:pt x="38" y="59"/>
                    </a:lnTo>
                    <a:lnTo>
                      <a:pt x="38" y="59"/>
                    </a:lnTo>
                    <a:close/>
                    <a:moveTo>
                      <a:pt x="88" y="31"/>
                    </a:moveTo>
                    <a:lnTo>
                      <a:pt x="88" y="31"/>
                    </a:lnTo>
                    <a:lnTo>
                      <a:pt x="88" y="31"/>
                    </a:lnTo>
                    <a:lnTo>
                      <a:pt x="88" y="31"/>
                    </a:lnTo>
                    <a:lnTo>
                      <a:pt x="88" y="31"/>
                    </a:lnTo>
                    <a:lnTo>
                      <a:pt x="90" y="31"/>
                    </a:lnTo>
                    <a:lnTo>
                      <a:pt x="90" y="31"/>
                    </a:lnTo>
                    <a:lnTo>
                      <a:pt x="88" y="31"/>
                    </a:lnTo>
                    <a:close/>
                    <a:moveTo>
                      <a:pt x="86" y="15"/>
                    </a:moveTo>
                    <a:lnTo>
                      <a:pt x="86" y="15"/>
                    </a:lnTo>
                    <a:lnTo>
                      <a:pt x="86" y="15"/>
                    </a:lnTo>
                    <a:lnTo>
                      <a:pt x="86" y="15"/>
                    </a:lnTo>
                    <a:close/>
                    <a:moveTo>
                      <a:pt x="113" y="6"/>
                    </a:moveTo>
                    <a:lnTo>
                      <a:pt x="113" y="6"/>
                    </a:lnTo>
                    <a:lnTo>
                      <a:pt x="113" y="6"/>
                    </a:lnTo>
                    <a:lnTo>
                      <a:pt x="113" y="6"/>
                    </a:lnTo>
                    <a:lnTo>
                      <a:pt x="113" y="6"/>
                    </a:lnTo>
                    <a:lnTo>
                      <a:pt x="113" y="6"/>
                    </a:lnTo>
                    <a:lnTo>
                      <a:pt x="113" y="6"/>
                    </a:lnTo>
                    <a:close/>
                    <a:moveTo>
                      <a:pt x="113" y="6"/>
                    </a:moveTo>
                    <a:lnTo>
                      <a:pt x="113" y="6"/>
                    </a:lnTo>
                    <a:lnTo>
                      <a:pt x="113" y="6"/>
                    </a:lnTo>
                    <a:lnTo>
                      <a:pt x="111" y="6"/>
                    </a:lnTo>
                    <a:lnTo>
                      <a:pt x="113" y="6"/>
                    </a:lnTo>
                    <a:lnTo>
                      <a:pt x="113" y="6"/>
                    </a:lnTo>
                    <a:close/>
                    <a:moveTo>
                      <a:pt x="111" y="6"/>
                    </a:moveTo>
                    <a:lnTo>
                      <a:pt x="111" y="6"/>
                    </a:lnTo>
                    <a:lnTo>
                      <a:pt x="111" y="6"/>
                    </a:lnTo>
                    <a:lnTo>
                      <a:pt x="111" y="6"/>
                    </a:lnTo>
                    <a:lnTo>
                      <a:pt x="111" y="6"/>
                    </a:lnTo>
                    <a:close/>
                    <a:moveTo>
                      <a:pt x="111" y="0"/>
                    </a:moveTo>
                    <a:lnTo>
                      <a:pt x="111" y="0"/>
                    </a:lnTo>
                    <a:lnTo>
                      <a:pt x="111" y="0"/>
                    </a:lnTo>
                    <a:lnTo>
                      <a:pt x="111" y="0"/>
                    </a:lnTo>
                    <a:lnTo>
                      <a:pt x="111" y="0"/>
                    </a:lnTo>
                    <a:lnTo>
                      <a:pt x="111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5" name="Freeform 50">
                <a:extLst>
                  <a:ext uri="{FF2B5EF4-FFF2-40B4-BE49-F238E27FC236}">
                    <a16:creationId xmlns="" xmlns:a16="http://schemas.microsoft.com/office/drawing/2014/main" id="{F0D31EFF-30D2-4D11-9116-085B7EC4EF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9513" y="2127251"/>
                <a:ext cx="182563" cy="103188"/>
              </a:xfrm>
              <a:custGeom>
                <a:avLst/>
                <a:gdLst>
                  <a:gd name="T0" fmla="*/ 2 w 115"/>
                  <a:gd name="T1" fmla="*/ 65 h 65"/>
                  <a:gd name="T2" fmla="*/ 4 w 115"/>
                  <a:gd name="T3" fmla="*/ 55 h 65"/>
                  <a:gd name="T4" fmla="*/ 12 w 115"/>
                  <a:gd name="T5" fmla="*/ 48 h 65"/>
                  <a:gd name="T6" fmla="*/ 14 w 115"/>
                  <a:gd name="T7" fmla="*/ 46 h 65"/>
                  <a:gd name="T8" fmla="*/ 15 w 115"/>
                  <a:gd name="T9" fmla="*/ 42 h 65"/>
                  <a:gd name="T10" fmla="*/ 19 w 115"/>
                  <a:gd name="T11" fmla="*/ 38 h 65"/>
                  <a:gd name="T12" fmla="*/ 19 w 115"/>
                  <a:gd name="T13" fmla="*/ 32 h 65"/>
                  <a:gd name="T14" fmla="*/ 25 w 115"/>
                  <a:gd name="T15" fmla="*/ 29 h 65"/>
                  <a:gd name="T16" fmla="*/ 33 w 115"/>
                  <a:gd name="T17" fmla="*/ 30 h 65"/>
                  <a:gd name="T18" fmla="*/ 27 w 115"/>
                  <a:gd name="T19" fmla="*/ 29 h 65"/>
                  <a:gd name="T20" fmla="*/ 27 w 115"/>
                  <a:gd name="T21" fmla="*/ 23 h 65"/>
                  <a:gd name="T22" fmla="*/ 33 w 115"/>
                  <a:gd name="T23" fmla="*/ 19 h 65"/>
                  <a:gd name="T24" fmla="*/ 40 w 115"/>
                  <a:gd name="T25" fmla="*/ 21 h 65"/>
                  <a:gd name="T26" fmla="*/ 33 w 115"/>
                  <a:gd name="T27" fmla="*/ 17 h 65"/>
                  <a:gd name="T28" fmla="*/ 35 w 115"/>
                  <a:gd name="T29" fmla="*/ 15 h 65"/>
                  <a:gd name="T30" fmla="*/ 35 w 115"/>
                  <a:gd name="T31" fmla="*/ 11 h 65"/>
                  <a:gd name="T32" fmla="*/ 40 w 115"/>
                  <a:gd name="T33" fmla="*/ 7 h 65"/>
                  <a:gd name="T34" fmla="*/ 39 w 115"/>
                  <a:gd name="T35" fmla="*/ 7 h 65"/>
                  <a:gd name="T36" fmla="*/ 42 w 115"/>
                  <a:gd name="T37" fmla="*/ 5 h 65"/>
                  <a:gd name="T38" fmla="*/ 46 w 115"/>
                  <a:gd name="T39" fmla="*/ 7 h 65"/>
                  <a:gd name="T40" fmla="*/ 54 w 115"/>
                  <a:gd name="T41" fmla="*/ 9 h 65"/>
                  <a:gd name="T42" fmla="*/ 52 w 115"/>
                  <a:gd name="T43" fmla="*/ 2 h 65"/>
                  <a:gd name="T44" fmla="*/ 58 w 115"/>
                  <a:gd name="T45" fmla="*/ 2 h 65"/>
                  <a:gd name="T46" fmla="*/ 67 w 115"/>
                  <a:gd name="T47" fmla="*/ 4 h 65"/>
                  <a:gd name="T48" fmla="*/ 67 w 115"/>
                  <a:gd name="T49" fmla="*/ 5 h 65"/>
                  <a:gd name="T50" fmla="*/ 65 w 115"/>
                  <a:gd name="T51" fmla="*/ 9 h 65"/>
                  <a:gd name="T52" fmla="*/ 62 w 115"/>
                  <a:gd name="T53" fmla="*/ 15 h 65"/>
                  <a:gd name="T54" fmla="*/ 60 w 115"/>
                  <a:gd name="T55" fmla="*/ 23 h 65"/>
                  <a:gd name="T56" fmla="*/ 60 w 115"/>
                  <a:gd name="T57" fmla="*/ 25 h 65"/>
                  <a:gd name="T58" fmla="*/ 64 w 115"/>
                  <a:gd name="T59" fmla="*/ 21 h 65"/>
                  <a:gd name="T60" fmla="*/ 67 w 115"/>
                  <a:gd name="T61" fmla="*/ 15 h 65"/>
                  <a:gd name="T62" fmla="*/ 73 w 115"/>
                  <a:gd name="T63" fmla="*/ 11 h 65"/>
                  <a:gd name="T64" fmla="*/ 79 w 115"/>
                  <a:gd name="T65" fmla="*/ 11 h 65"/>
                  <a:gd name="T66" fmla="*/ 83 w 115"/>
                  <a:gd name="T67" fmla="*/ 9 h 65"/>
                  <a:gd name="T68" fmla="*/ 87 w 115"/>
                  <a:gd name="T69" fmla="*/ 11 h 65"/>
                  <a:gd name="T70" fmla="*/ 94 w 115"/>
                  <a:gd name="T71" fmla="*/ 15 h 65"/>
                  <a:gd name="T72" fmla="*/ 94 w 115"/>
                  <a:gd name="T73" fmla="*/ 21 h 65"/>
                  <a:gd name="T74" fmla="*/ 98 w 115"/>
                  <a:gd name="T75" fmla="*/ 23 h 65"/>
                  <a:gd name="T76" fmla="*/ 102 w 115"/>
                  <a:gd name="T77" fmla="*/ 21 h 65"/>
                  <a:gd name="T78" fmla="*/ 112 w 115"/>
                  <a:gd name="T79" fmla="*/ 21 h 65"/>
                  <a:gd name="T80" fmla="*/ 113 w 115"/>
                  <a:gd name="T81" fmla="*/ 25 h 65"/>
                  <a:gd name="T82" fmla="*/ 115 w 115"/>
                  <a:gd name="T83" fmla="*/ 32 h 65"/>
                  <a:gd name="T84" fmla="*/ 110 w 115"/>
                  <a:gd name="T85" fmla="*/ 38 h 65"/>
                  <a:gd name="T86" fmla="*/ 100 w 115"/>
                  <a:gd name="T87" fmla="*/ 42 h 65"/>
                  <a:gd name="T88" fmla="*/ 90 w 115"/>
                  <a:gd name="T89" fmla="*/ 44 h 65"/>
                  <a:gd name="T90" fmla="*/ 83 w 115"/>
                  <a:gd name="T91" fmla="*/ 48 h 65"/>
                  <a:gd name="T92" fmla="*/ 77 w 115"/>
                  <a:gd name="T93" fmla="*/ 48 h 65"/>
                  <a:gd name="T94" fmla="*/ 71 w 115"/>
                  <a:gd name="T95" fmla="*/ 50 h 65"/>
                  <a:gd name="T96" fmla="*/ 69 w 115"/>
                  <a:gd name="T97" fmla="*/ 50 h 65"/>
                  <a:gd name="T98" fmla="*/ 62 w 115"/>
                  <a:gd name="T99" fmla="*/ 50 h 65"/>
                  <a:gd name="T100" fmla="*/ 54 w 115"/>
                  <a:gd name="T101" fmla="*/ 52 h 65"/>
                  <a:gd name="T102" fmla="*/ 48 w 115"/>
                  <a:gd name="T103" fmla="*/ 52 h 65"/>
                  <a:gd name="T104" fmla="*/ 44 w 115"/>
                  <a:gd name="T105" fmla="*/ 54 h 65"/>
                  <a:gd name="T106" fmla="*/ 40 w 115"/>
                  <a:gd name="T107" fmla="*/ 54 h 65"/>
                  <a:gd name="T108" fmla="*/ 35 w 115"/>
                  <a:gd name="T109" fmla="*/ 54 h 65"/>
                  <a:gd name="T110" fmla="*/ 27 w 115"/>
                  <a:gd name="T111" fmla="*/ 59 h 65"/>
                  <a:gd name="T112" fmla="*/ 21 w 115"/>
                  <a:gd name="T113" fmla="*/ 59 h 65"/>
                  <a:gd name="T114" fmla="*/ 14 w 115"/>
                  <a:gd name="T115" fmla="*/ 63 h 65"/>
                  <a:gd name="T116" fmla="*/ 8 w 115"/>
                  <a:gd name="T117" fmla="*/ 63 h 65"/>
                  <a:gd name="T118" fmla="*/ 4 w 115"/>
                  <a:gd name="T119" fmla="*/ 65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15" h="65">
                    <a:moveTo>
                      <a:pt x="6" y="65"/>
                    </a:moveTo>
                    <a:lnTo>
                      <a:pt x="4" y="65"/>
                    </a:lnTo>
                    <a:lnTo>
                      <a:pt x="2" y="65"/>
                    </a:lnTo>
                    <a:lnTo>
                      <a:pt x="4" y="65"/>
                    </a:lnTo>
                    <a:lnTo>
                      <a:pt x="2" y="65"/>
                    </a:lnTo>
                    <a:lnTo>
                      <a:pt x="2" y="63"/>
                    </a:lnTo>
                    <a:lnTo>
                      <a:pt x="0" y="61"/>
                    </a:lnTo>
                    <a:lnTo>
                      <a:pt x="2" y="59"/>
                    </a:lnTo>
                    <a:lnTo>
                      <a:pt x="2" y="57"/>
                    </a:lnTo>
                    <a:lnTo>
                      <a:pt x="4" y="55"/>
                    </a:lnTo>
                    <a:lnTo>
                      <a:pt x="6" y="55"/>
                    </a:lnTo>
                    <a:lnTo>
                      <a:pt x="6" y="54"/>
                    </a:lnTo>
                    <a:lnTo>
                      <a:pt x="8" y="52"/>
                    </a:lnTo>
                    <a:lnTo>
                      <a:pt x="12" y="50"/>
                    </a:lnTo>
                    <a:lnTo>
                      <a:pt x="12" y="48"/>
                    </a:lnTo>
                    <a:lnTo>
                      <a:pt x="14" y="48"/>
                    </a:lnTo>
                    <a:lnTo>
                      <a:pt x="14" y="46"/>
                    </a:lnTo>
                    <a:lnTo>
                      <a:pt x="14" y="48"/>
                    </a:lnTo>
                    <a:lnTo>
                      <a:pt x="12" y="46"/>
                    </a:lnTo>
                    <a:lnTo>
                      <a:pt x="14" y="46"/>
                    </a:lnTo>
                    <a:lnTo>
                      <a:pt x="12" y="46"/>
                    </a:lnTo>
                    <a:lnTo>
                      <a:pt x="12" y="44"/>
                    </a:lnTo>
                    <a:lnTo>
                      <a:pt x="14" y="44"/>
                    </a:lnTo>
                    <a:lnTo>
                      <a:pt x="15" y="44"/>
                    </a:lnTo>
                    <a:lnTo>
                      <a:pt x="15" y="42"/>
                    </a:lnTo>
                    <a:lnTo>
                      <a:pt x="14" y="42"/>
                    </a:lnTo>
                    <a:lnTo>
                      <a:pt x="15" y="40"/>
                    </a:lnTo>
                    <a:lnTo>
                      <a:pt x="15" y="38"/>
                    </a:lnTo>
                    <a:lnTo>
                      <a:pt x="17" y="38"/>
                    </a:lnTo>
                    <a:lnTo>
                      <a:pt x="19" y="38"/>
                    </a:lnTo>
                    <a:lnTo>
                      <a:pt x="17" y="38"/>
                    </a:lnTo>
                    <a:lnTo>
                      <a:pt x="17" y="36"/>
                    </a:lnTo>
                    <a:lnTo>
                      <a:pt x="17" y="34"/>
                    </a:lnTo>
                    <a:lnTo>
                      <a:pt x="17" y="32"/>
                    </a:lnTo>
                    <a:lnTo>
                      <a:pt x="19" y="32"/>
                    </a:lnTo>
                    <a:lnTo>
                      <a:pt x="19" y="30"/>
                    </a:lnTo>
                    <a:lnTo>
                      <a:pt x="21" y="30"/>
                    </a:lnTo>
                    <a:lnTo>
                      <a:pt x="21" y="29"/>
                    </a:lnTo>
                    <a:lnTo>
                      <a:pt x="23" y="29"/>
                    </a:lnTo>
                    <a:lnTo>
                      <a:pt x="25" y="29"/>
                    </a:lnTo>
                    <a:lnTo>
                      <a:pt x="27" y="29"/>
                    </a:lnTo>
                    <a:lnTo>
                      <a:pt x="29" y="29"/>
                    </a:lnTo>
                    <a:lnTo>
                      <a:pt x="31" y="29"/>
                    </a:lnTo>
                    <a:lnTo>
                      <a:pt x="31" y="30"/>
                    </a:lnTo>
                    <a:lnTo>
                      <a:pt x="33" y="30"/>
                    </a:lnTo>
                    <a:lnTo>
                      <a:pt x="35" y="30"/>
                    </a:lnTo>
                    <a:lnTo>
                      <a:pt x="35" y="29"/>
                    </a:lnTo>
                    <a:lnTo>
                      <a:pt x="33" y="29"/>
                    </a:lnTo>
                    <a:lnTo>
                      <a:pt x="29" y="29"/>
                    </a:lnTo>
                    <a:lnTo>
                      <a:pt x="27" y="29"/>
                    </a:lnTo>
                    <a:lnTo>
                      <a:pt x="27" y="27"/>
                    </a:lnTo>
                    <a:lnTo>
                      <a:pt x="25" y="27"/>
                    </a:lnTo>
                    <a:lnTo>
                      <a:pt x="25" y="25"/>
                    </a:lnTo>
                    <a:lnTo>
                      <a:pt x="27" y="25"/>
                    </a:lnTo>
                    <a:lnTo>
                      <a:pt x="27" y="23"/>
                    </a:lnTo>
                    <a:lnTo>
                      <a:pt x="27" y="21"/>
                    </a:lnTo>
                    <a:lnTo>
                      <a:pt x="29" y="21"/>
                    </a:lnTo>
                    <a:lnTo>
                      <a:pt x="29" y="19"/>
                    </a:lnTo>
                    <a:lnTo>
                      <a:pt x="31" y="19"/>
                    </a:lnTo>
                    <a:lnTo>
                      <a:pt x="33" y="19"/>
                    </a:lnTo>
                    <a:lnTo>
                      <a:pt x="35" y="19"/>
                    </a:lnTo>
                    <a:lnTo>
                      <a:pt x="37" y="19"/>
                    </a:lnTo>
                    <a:lnTo>
                      <a:pt x="37" y="21"/>
                    </a:lnTo>
                    <a:lnTo>
                      <a:pt x="39" y="21"/>
                    </a:lnTo>
                    <a:lnTo>
                      <a:pt x="40" y="21"/>
                    </a:lnTo>
                    <a:lnTo>
                      <a:pt x="40" y="19"/>
                    </a:lnTo>
                    <a:lnTo>
                      <a:pt x="39" y="19"/>
                    </a:lnTo>
                    <a:lnTo>
                      <a:pt x="37" y="19"/>
                    </a:lnTo>
                    <a:lnTo>
                      <a:pt x="35" y="19"/>
                    </a:lnTo>
                    <a:lnTo>
                      <a:pt x="33" y="17"/>
                    </a:lnTo>
                    <a:lnTo>
                      <a:pt x="31" y="17"/>
                    </a:lnTo>
                    <a:lnTo>
                      <a:pt x="29" y="17"/>
                    </a:lnTo>
                    <a:lnTo>
                      <a:pt x="31" y="17"/>
                    </a:lnTo>
                    <a:lnTo>
                      <a:pt x="31" y="15"/>
                    </a:lnTo>
                    <a:lnTo>
                      <a:pt x="35" y="15"/>
                    </a:lnTo>
                    <a:lnTo>
                      <a:pt x="37" y="15"/>
                    </a:lnTo>
                    <a:lnTo>
                      <a:pt x="35" y="13"/>
                    </a:lnTo>
                    <a:lnTo>
                      <a:pt x="33" y="13"/>
                    </a:lnTo>
                    <a:lnTo>
                      <a:pt x="33" y="11"/>
                    </a:lnTo>
                    <a:lnTo>
                      <a:pt x="35" y="11"/>
                    </a:lnTo>
                    <a:lnTo>
                      <a:pt x="35" y="9"/>
                    </a:lnTo>
                    <a:lnTo>
                      <a:pt x="37" y="9"/>
                    </a:lnTo>
                    <a:lnTo>
                      <a:pt x="39" y="9"/>
                    </a:lnTo>
                    <a:lnTo>
                      <a:pt x="40" y="9"/>
                    </a:lnTo>
                    <a:lnTo>
                      <a:pt x="40" y="7"/>
                    </a:lnTo>
                    <a:lnTo>
                      <a:pt x="40" y="9"/>
                    </a:lnTo>
                    <a:lnTo>
                      <a:pt x="40" y="7"/>
                    </a:lnTo>
                    <a:lnTo>
                      <a:pt x="39" y="7"/>
                    </a:lnTo>
                    <a:lnTo>
                      <a:pt x="40" y="7"/>
                    </a:lnTo>
                    <a:lnTo>
                      <a:pt x="39" y="7"/>
                    </a:lnTo>
                    <a:lnTo>
                      <a:pt x="40" y="7"/>
                    </a:lnTo>
                    <a:lnTo>
                      <a:pt x="40" y="5"/>
                    </a:lnTo>
                    <a:lnTo>
                      <a:pt x="39" y="5"/>
                    </a:lnTo>
                    <a:lnTo>
                      <a:pt x="40" y="5"/>
                    </a:lnTo>
                    <a:lnTo>
                      <a:pt x="42" y="5"/>
                    </a:lnTo>
                    <a:lnTo>
                      <a:pt x="42" y="4"/>
                    </a:lnTo>
                    <a:lnTo>
                      <a:pt x="44" y="4"/>
                    </a:lnTo>
                    <a:lnTo>
                      <a:pt x="44" y="5"/>
                    </a:lnTo>
                    <a:lnTo>
                      <a:pt x="46" y="5"/>
                    </a:lnTo>
                    <a:lnTo>
                      <a:pt x="46" y="7"/>
                    </a:lnTo>
                    <a:lnTo>
                      <a:pt x="46" y="9"/>
                    </a:lnTo>
                    <a:lnTo>
                      <a:pt x="48" y="9"/>
                    </a:lnTo>
                    <a:lnTo>
                      <a:pt x="50" y="9"/>
                    </a:lnTo>
                    <a:lnTo>
                      <a:pt x="52" y="9"/>
                    </a:lnTo>
                    <a:lnTo>
                      <a:pt x="54" y="9"/>
                    </a:lnTo>
                    <a:lnTo>
                      <a:pt x="52" y="7"/>
                    </a:lnTo>
                    <a:lnTo>
                      <a:pt x="52" y="5"/>
                    </a:lnTo>
                    <a:lnTo>
                      <a:pt x="50" y="5"/>
                    </a:lnTo>
                    <a:lnTo>
                      <a:pt x="50" y="4"/>
                    </a:lnTo>
                    <a:lnTo>
                      <a:pt x="52" y="2"/>
                    </a:lnTo>
                    <a:lnTo>
                      <a:pt x="54" y="2"/>
                    </a:lnTo>
                    <a:lnTo>
                      <a:pt x="56" y="2"/>
                    </a:lnTo>
                    <a:lnTo>
                      <a:pt x="56" y="0"/>
                    </a:lnTo>
                    <a:lnTo>
                      <a:pt x="56" y="2"/>
                    </a:lnTo>
                    <a:lnTo>
                      <a:pt x="58" y="2"/>
                    </a:lnTo>
                    <a:lnTo>
                      <a:pt x="60" y="2"/>
                    </a:lnTo>
                    <a:lnTo>
                      <a:pt x="62" y="2"/>
                    </a:lnTo>
                    <a:lnTo>
                      <a:pt x="64" y="2"/>
                    </a:lnTo>
                    <a:lnTo>
                      <a:pt x="65" y="4"/>
                    </a:lnTo>
                    <a:lnTo>
                      <a:pt x="67" y="4"/>
                    </a:lnTo>
                    <a:lnTo>
                      <a:pt x="67" y="5"/>
                    </a:lnTo>
                    <a:lnTo>
                      <a:pt x="67" y="4"/>
                    </a:lnTo>
                    <a:lnTo>
                      <a:pt x="69" y="4"/>
                    </a:lnTo>
                    <a:lnTo>
                      <a:pt x="69" y="5"/>
                    </a:lnTo>
                    <a:lnTo>
                      <a:pt x="67" y="5"/>
                    </a:lnTo>
                    <a:lnTo>
                      <a:pt x="67" y="7"/>
                    </a:lnTo>
                    <a:lnTo>
                      <a:pt x="65" y="7"/>
                    </a:lnTo>
                    <a:lnTo>
                      <a:pt x="64" y="7"/>
                    </a:lnTo>
                    <a:lnTo>
                      <a:pt x="65" y="7"/>
                    </a:lnTo>
                    <a:lnTo>
                      <a:pt x="65" y="9"/>
                    </a:lnTo>
                    <a:lnTo>
                      <a:pt x="64" y="9"/>
                    </a:lnTo>
                    <a:lnTo>
                      <a:pt x="64" y="11"/>
                    </a:lnTo>
                    <a:lnTo>
                      <a:pt x="64" y="13"/>
                    </a:lnTo>
                    <a:lnTo>
                      <a:pt x="62" y="13"/>
                    </a:lnTo>
                    <a:lnTo>
                      <a:pt x="62" y="15"/>
                    </a:lnTo>
                    <a:lnTo>
                      <a:pt x="62" y="17"/>
                    </a:lnTo>
                    <a:lnTo>
                      <a:pt x="62" y="19"/>
                    </a:lnTo>
                    <a:lnTo>
                      <a:pt x="62" y="21"/>
                    </a:lnTo>
                    <a:lnTo>
                      <a:pt x="60" y="21"/>
                    </a:lnTo>
                    <a:lnTo>
                      <a:pt x="60" y="23"/>
                    </a:lnTo>
                    <a:lnTo>
                      <a:pt x="58" y="23"/>
                    </a:lnTo>
                    <a:lnTo>
                      <a:pt x="58" y="25"/>
                    </a:lnTo>
                    <a:lnTo>
                      <a:pt x="56" y="25"/>
                    </a:lnTo>
                    <a:lnTo>
                      <a:pt x="58" y="25"/>
                    </a:lnTo>
                    <a:lnTo>
                      <a:pt x="60" y="25"/>
                    </a:lnTo>
                    <a:lnTo>
                      <a:pt x="62" y="25"/>
                    </a:lnTo>
                    <a:lnTo>
                      <a:pt x="60" y="23"/>
                    </a:lnTo>
                    <a:lnTo>
                      <a:pt x="62" y="23"/>
                    </a:lnTo>
                    <a:lnTo>
                      <a:pt x="62" y="21"/>
                    </a:lnTo>
                    <a:lnTo>
                      <a:pt x="64" y="21"/>
                    </a:lnTo>
                    <a:lnTo>
                      <a:pt x="64" y="19"/>
                    </a:lnTo>
                    <a:lnTo>
                      <a:pt x="65" y="19"/>
                    </a:lnTo>
                    <a:lnTo>
                      <a:pt x="65" y="17"/>
                    </a:lnTo>
                    <a:lnTo>
                      <a:pt x="65" y="15"/>
                    </a:lnTo>
                    <a:lnTo>
                      <a:pt x="67" y="15"/>
                    </a:lnTo>
                    <a:lnTo>
                      <a:pt x="69" y="15"/>
                    </a:lnTo>
                    <a:lnTo>
                      <a:pt x="71" y="15"/>
                    </a:lnTo>
                    <a:lnTo>
                      <a:pt x="71" y="13"/>
                    </a:lnTo>
                    <a:lnTo>
                      <a:pt x="73" y="13"/>
                    </a:lnTo>
                    <a:lnTo>
                      <a:pt x="73" y="11"/>
                    </a:lnTo>
                    <a:lnTo>
                      <a:pt x="75" y="11"/>
                    </a:lnTo>
                    <a:lnTo>
                      <a:pt x="77" y="11"/>
                    </a:lnTo>
                    <a:lnTo>
                      <a:pt x="77" y="9"/>
                    </a:lnTo>
                    <a:lnTo>
                      <a:pt x="79" y="9"/>
                    </a:lnTo>
                    <a:lnTo>
                      <a:pt x="79" y="11"/>
                    </a:lnTo>
                    <a:lnTo>
                      <a:pt x="81" y="11"/>
                    </a:lnTo>
                    <a:lnTo>
                      <a:pt x="81" y="9"/>
                    </a:lnTo>
                    <a:lnTo>
                      <a:pt x="83" y="9"/>
                    </a:lnTo>
                    <a:lnTo>
                      <a:pt x="81" y="9"/>
                    </a:lnTo>
                    <a:lnTo>
                      <a:pt x="83" y="9"/>
                    </a:lnTo>
                    <a:lnTo>
                      <a:pt x="83" y="7"/>
                    </a:lnTo>
                    <a:lnTo>
                      <a:pt x="83" y="9"/>
                    </a:lnTo>
                    <a:lnTo>
                      <a:pt x="85" y="9"/>
                    </a:lnTo>
                    <a:lnTo>
                      <a:pt x="87" y="9"/>
                    </a:lnTo>
                    <a:lnTo>
                      <a:pt x="87" y="11"/>
                    </a:lnTo>
                    <a:lnTo>
                      <a:pt x="87" y="13"/>
                    </a:lnTo>
                    <a:lnTo>
                      <a:pt x="88" y="13"/>
                    </a:lnTo>
                    <a:lnTo>
                      <a:pt x="88" y="15"/>
                    </a:lnTo>
                    <a:lnTo>
                      <a:pt x="90" y="15"/>
                    </a:lnTo>
                    <a:lnTo>
                      <a:pt x="94" y="15"/>
                    </a:lnTo>
                    <a:lnTo>
                      <a:pt x="96" y="17"/>
                    </a:lnTo>
                    <a:lnTo>
                      <a:pt x="96" y="19"/>
                    </a:lnTo>
                    <a:lnTo>
                      <a:pt x="98" y="19"/>
                    </a:lnTo>
                    <a:lnTo>
                      <a:pt x="96" y="21"/>
                    </a:lnTo>
                    <a:lnTo>
                      <a:pt x="94" y="21"/>
                    </a:lnTo>
                    <a:lnTo>
                      <a:pt x="96" y="21"/>
                    </a:lnTo>
                    <a:lnTo>
                      <a:pt x="98" y="21"/>
                    </a:lnTo>
                    <a:lnTo>
                      <a:pt x="100" y="21"/>
                    </a:lnTo>
                    <a:lnTo>
                      <a:pt x="100" y="23"/>
                    </a:lnTo>
                    <a:lnTo>
                      <a:pt x="98" y="23"/>
                    </a:lnTo>
                    <a:lnTo>
                      <a:pt x="100" y="23"/>
                    </a:lnTo>
                    <a:lnTo>
                      <a:pt x="102" y="23"/>
                    </a:lnTo>
                    <a:lnTo>
                      <a:pt x="102" y="21"/>
                    </a:lnTo>
                    <a:lnTo>
                      <a:pt x="102" y="19"/>
                    </a:lnTo>
                    <a:lnTo>
                      <a:pt x="102" y="21"/>
                    </a:lnTo>
                    <a:lnTo>
                      <a:pt x="104" y="19"/>
                    </a:lnTo>
                    <a:lnTo>
                      <a:pt x="106" y="19"/>
                    </a:lnTo>
                    <a:lnTo>
                      <a:pt x="108" y="19"/>
                    </a:lnTo>
                    <a:lnTo>
                      <a:pt x="110" y="21"/>
                    </a:lnTo>
                    <a:lnTo>
                      <a:pt x="112" y="21"/>
                    </a:lnTo>
                    <a:lnTo>
                      <a:pt x="112" y="23"/>
                    </a:lnTo>
                    <a:lnTo>
                      <a:pt x="113" y="23"/>
                    </a:lnTo>
                    <a:lnTo>
                      <a:pt x="112" y="23"/>
                    </a:lnTo>
                    <a:lnTo>
                      <a:pt x="112" y="25"/>
                    </a:lnTo>
                    <a:lnTo>
                      <a:pt x="113" y="25"/>
                    </a:lnTo>
                    <a:lnTo>
                      <a:pt x="113" y="27"/>
                    </a:lnTo>
                    <a:lnTo>
                      <a:pt x="113" y="29"/>
                    </a:lnTo>
                    <a:lnTo>
                      <a:pt x="115" y="29"/>
                    </a:lnTo>
                    <a:lnTo>
                      <a:pt x="115" y="30"/>
                    </a:lnTo>
                    <a:lnTo>
                      <a:pt x="115" y="32"/>
                    </a:lnTo>
                    <a:lnTo>
                      <a:pt x="113" y="34"/>
                    </a:lnTo>
                    <a:lnTo>
                      <a:pt x="112" y="36"/>
                    </a:lnTo>
                    <a:lnTo>
                      <a:pt x="110" y="38"/>
                    </a:lnTo>
                    <a:lnTo>
                      <a:pt x="110" y="40"/>
                    </a:lnTo>
                    <a:lnTo>
                      <a:pt x="110" y="38"/>
                    </a:lnTo>
                    <a:lnTo>
                      <a:pt x="108" y="40"/>
                    </a:lnTo>
                    <a:lnTo>
                      <a:pt x="106" y="42"/>
                    </a:lnTo>
                    <a:lnTo>
                      <a:pt x="104" y="42"/>
                    </a:lnTo>
                    <a:lnTo>
                      <a:pt x="102" y="42"/>
                    </a:lnTo>
                    <a:lnTo>
                      <a:pt x="100" y="42"/>
                    </a:lnTo>
                    <a:lnTo>
                      <a:pt x="98" y="42"/>
                    </a:lnTo>
                    <a:lnTo>
                      <a:pt x="96" y="42"/>
                    </a:lnTo>
                    <a:lnTo>
                      <a:pt x="94" y="42"/>
                    </a:lnTo>
                    <a:lnTo>
                      <a:pt x="92" y="44"/>
                    </a:lnTo>
                    <a:lnTo>
                      <a:pt x="90" y="44"/>
                    </a:lnTo>
                    <a:lnTo>
                      <a:pt x="88" y="46"/>
                    </a:lnTo>
                    <a:lnTo>
                      <a:pt x="87" y="46"/>
                    </a:lnTo>
                    <a:lnTo>
                      <a:pt x="85" y="46"/>
                    </a:lnTo>
                    <a:lnTo>
                      <a:pt x="85" y="48"/>
                    </a:lnTo>
                    <a:lnTo>
                      <a:pt x="83" y="48"/>
                    </a:lnTo>
                    <a:lnTo>
                      <a:pt x="83" y="46"/>
                    </a:lnTo>
                    <a:lnTo>
                      <a:pt x="83" y="48"/>
                    </a:lnTo>
                    <a:lnTo>
                      <a:pt x="81" y="48"/>
                    </a:lnTo>
                    <a:lnTo>
                      <a:pt x="79" y="48"/>
                    </a:lnTo>
                    <a:lnTo>
                      <a:pt x="77" y="48"/>
                    </a:lnTo>
                    <a:lnTo>
                      <a:pt x="75" y="50"/>
                    </a:lnTo>
                    <a:lnTo>
                      <a:pt x="73" y="50"/>
                    </a:lnTo>
                    <a:lnTo>
                      <a:pt x="73" y="48"/>
                    </a:lnTo>
                    <a:lnTo>
                      <a:pt x="71" y="48"/>
                    </a:lnTo>
                    <a:lnTo>
                      <a:pt x="71" y="50"/>
                    </a:lnTo>
                    <a:lnTo>
                      <a:pt x="71" y="48"/>
                    </a:lnTo>
                    <a:lnTo>
                      <a:pt x="71" y="50"/>
                    </a:lnTo>
                    <a:lnTo>
                      <a:pt x="69" y="50"/>
                    </a:lnTo>
                    <a:lnTo>
                      <a:pt x="67" y="50"/>
                    </a:lnTo>
                    <a:lnTo>
                      <a:pt x="69" y="50"/>
                    </a:lnTo>
                    <a:lnTo>
                      <a:pt x="69" y="52"/>
                    </a:lnTo>
                    <a:lnTo>
                      <a:pt x="67" y="52"/>
                    </a:lnTo>
                    <a:lnTo>
                      <a:pt x="65" y="52"/>
                    </a:lnTo>
                    <a:lnTo>
                      <a:pt x="64" y="50"/>
                    </a:lnTo>
                    <a:lnTo>
                      <a:pt x="62" y="50"/>
                    </a:lnTo>
                    <a:lnTo>
                      <a:pt x="60" y="50"/>
                    </a:lnTo>
                    <a:lnTo>
                      <a:pt x="60" y="52"/>
                    </a:lnTo>
                    <a:lnTo>
                      <a:pt x="58" y="52"/>
                    </a:lnTo>
                    <a:lnTo>
                      <a:pt x="56" y="52"/>
                    </a:lnTo>
                    <a:lnTo>
                      <a:pt x="54" y="52"/>
                    </a:lnTo>
                    <a:lnTo>
                      <a:pt x="52" y="52"/>
                    </a:lnTo>
                    <a:lnTo>
                      <a:pt x="50" y="52"/>
                    </a:lnTo>
                    <a:lnTo>
                      <a:pt x="52" y="52"/>
                    </a:lnTo>
                    <a:lnTo>
                      <a:pt x="50" y="52"/>
                    </a:lnTo>
                    <a:lnTo>
                      <a:pt x="48" y="52"/>
                    </a:lnTo>
                    <a:lnTo>
                      <a:pt x="46" y="52"/>
                    </a:lnTo>
                    <a:lnTo>
                      <a:pt x="44" y="52"/>
                    </a:lnTo>
                    <a:lnTo>
                      <a:pt x="44" y="54"/>
                    </a:lnTo>
                    <a:lnTo>
                      <a:pt x="44" y="52"/>
                    </a:lnTo>
                    <a:lnTo>
                      <a:pt x="44" y="54"/>
                    </a:lnTo>
                    <a:lnTo>
                      <a:pt x="44" y="52"/>
                    </a:lnTo>
                    <a:lnTo>
                      <a:pt x="42" y="52"/>
                    </a:lnTo>
                    <a:lnTo>
                      <a:pt x="40" y="54"/>
                    </a:lnTo>
                    <a:lnTo>
                      <a:pt x="40" y="52"/>
                    </a:lnTo>
                    <a:lnTo>
                      <a:pt x="40" y="54"/>
                    </a:lnTo>
                    <a:lnTo>
                      <a:pt x="39" y="54"/>
                    </a:lnTo>
                    <a:lnTo>
                      <a:pt x="37" y="54"/>
                    </a:lnTo>
                    <a:lnTo>
                      <a:pt x="39" y="54"/>
                    </a:lnTo>
                    <a:lnTo>
                      <a:pt x="37" y="54"/>
                    </a:lnTo>
                    <a:lnTo>
                      <a:pt x="35" y="54"/>
                    </a:lnTo>
                    <a:lnTo>
                      <a:pt x="33" y="55"/>
                    </a:lnTo>
                    <a:lnTo>
                      <a:pt x="31" y="55"/>
                    </a:lnTo>
                    <a:lnTo>
                      <a:pt x="29" y="57"/>
                    </a:lnTo>
                    <a:lnTo>
                      <a:pt x="27" y="57"/>
                    </a:lnTo>
                    <a:lnTo>
                      <a:pt x="27" y="59"/>
                    </a:lnTo>
                    <a:lnTo>
                      <a:pt x="25" y="59"/>
                    </a:lnTo>
                    <a:lnTo>
                      <a:pt x="25" y="57"/>
                    </a:lnTo>
                    <a:lnTo>
                      <a:pt x="25" y="59"/>
                    </a:lnTo>
                    <a:lnTo>
                      <a:pt x="23" y="59"/>
                    </a:lnTo>
                    <a:lnTo>
                      <a:pt x="21" y="59"/>
                    </a:lnTo>
                    <a:lnTo>
                      <a:pt x="19" y="61"/>
                    </a:lnTo>
                    <a:lnTo>
                      <a:pt x="17" y="61"/>
                    </a:lnTo>
                    <a:lnTo>
                      <a:pt x="17" y="63"/>
                    </a:lnTo>
                    <a:lnTo>
                      <a:pt x="15" y="63"/>
                    </a:lnTo>
                    <a:lnTo>
                      <a:pt x="14" y="63"/>
                    </a:lnTo>
                    <a:lnTo>
                      <a:pt x="14" y="65"/>
                    </a:lnTo>
                    <a:lnTo>
                      <a:pt x="12" y="65"/>
                    </a:lnTo>
                    <a:lnTo>
                      <a:pt x="10" y="65"/>
                    </a:lnTo>
                    <a:lnTo>
                      <a:pt x="8" y="65"/>
                    </a:lnTo>
                    <a:lnTo>
                      <a:pt x="8" y="63"/>
                    </a:lnTo>
                    <a:lnTo>
                      <a:pt x="8" y="65"/>
                    </a:lnTo>
                    <a:lnTo>
                      <a:pt x="6" y="65"/>
                    </a:lnTo>
                    <a:lnTo>
                      <a:pt x="6" y="63"/>
                    </a:lnTo>
                    <a:lnTo>
                      <a:pt x="6" y="65"/>
                    </a:lnTo>
                    <a:lnTo>
                      <a:pt x="4" y="65"/>
                    </a:lnTo>
                    <a:lnTo>
                      <a:pt x="6" y="6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51">
                <a:extLst>
                  <a:ext uri="{FF2B5EF4-FFF2-40B4-BE49-F238E27FC236}">
                    <a16:creationId xmlns="" xmlns:a16="http://schemas.microsoft.com/office/drawing/2014/main" id="{0305B2A1-8BB3-4081-9CCE-1342EEB774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81488" y="2011363"/>
                <a:ext cx="1138238" cy="585788"/>
              </a:xfrm>
              <a:custGeom>
                <a:avLst/>
                <a:gdLst>
                  <a:gd name="T0" fmla="*/ 20 w 717"/>
                  <a:gd name="T1" fmla="*/ 363 h 369"/>
                  <a:gd name="T2" fmla="*/ 4 w 717"/>
                  <a:gd name="T3" fmla="*/ 365 h 369"/>
                  <a:gd name="T4" fmla="*/ 6 w 717"/>
                  <a:gd name="T5" fmla="*/ 353 h 369"/>
                  <a:gd name="T6" fmla="*/ 204 w 717"/>
                  <a:gd name="T7" fmla="*/ 328 h 369"/>
                  <a:gd name="T8" fmla="*/ 200 w 717"/>
                  <a:gd name="T9" fmla="*/ 330 h 369"/>
                  <a:gd name="T10" fmla="*/ 198 w 717"/>
                  <a:gd name="T11" fmla="*/ 323 h 369"/>
                  <a:gd name="T12" fmla="*/ 198 w 717"/>
                  <a:gd name="T13" fmla="*/ 321 h 369"/>
                  <a:gd name="T14" fmla="*/ 196 w 717"/>
                  <a:gd name="T15" fmla="*/ 328 h 369"/>
                  <a:gd name="T16" fmla="*/ 189 w 717"/>
                  <a:gd name="T17" fmla="*/ 319 h 369"/>
                  <a:gd name="T18" fmla="*/ 193 w 717"/>
                  <a:gd name="T19" fmla="*/ 276 h 369"/>
                  <a:gd name="T20" fmla="*/ 191 w 717"/>
                  <a:gd name="T21" fmla="*/ 278 h 369"/>
                  <a:gd name="T22" fmla="*/ 179 w 717"/>
                  <a:gd name="T23" fmla="*/ 276 h 369"/>
                  <a:gd name="T24" fmla="*/ 183 w 717"/>
                  <a:gd name="T25" fmla="*/ 271 h 369"/>
                  <a:gd name="T26" fmla="*/ 98 w 717"/>
                  <a:gd name="T27" fmla="*/ 234 h 369"/>
                  <a:gd name="T28" fmla="*/ 96 w 717"/>
                  <a:gd name="T29" fmla="*/ 238 h 369"/>
                  <a:gd name="T30" fmla="*/ 95 w 717"/>
                  <a:gd name="T31" fmla="*/ 242 h 369"/>
                  <a:gd name="T32" fmla="*/ 89 w 717"/>
                  <a:gd name="T33" fmla="*/ 250 h 369"/>
                  <a:gd name="T34" fmla="*/ 87 w 717"/>
                  <a:gd name="T35" fmla="*/ 246 h 369"/>
                  <a:gd name="T36" fmla="*/ 85 w 717"/>
                  <a:gd name="T37" fmla="*/ 250 h 369"/>
                  <a:gd name="T38" fmla="*/ 89 w 717"/>
                  <a:gd name="T39" fmla="*/ 236 h 369"/>
                  <a:gd name="T40" fmla="*/ 95 w 717"/>
                  <a:gd name="T41" fmla="*/ 236 h 369"/>
                  <a:gd name="T42" fmla="*/ 381 w 717"/>
                  <a:gd name="T43" fmla="*/ 215 h 369"/>
                  <a:gd name="T44" fmla="*/ 390 w 717"/>
                  <a:gd name="T45" fmla="*/ 213 h 369"/>
                  <a:gd name="T46" fmla="*/ 387 w 717"/>
                  <a:gd name="T47" fmla="*/ 219 h 369"/>
                  <a:gd name="T48" fmla="*/ 379 w 717"/>
                  <a:gd name="T49" fmla="*/ 221 h 369"/>
                  <a:gd name="T50" fmla="*/ 367 w 717"/>
                  <a:gd name="T51" fmla="*/ 217 h 369"/>
                  <a:gd name="T52" fmla="*/ 704 w 717"/>
                  <a:gd name="T53" fmla="*/ 169 h 369"/>
                  <a:gd name="T54" fmla="*/ 713 w 717"/>
                  <a:gd name="T55" fmla="*/ 173 h 369"/>
                  <a:gd name="T56" fmla="*/ 711 w 717"/>
                  <a:gd name="T57" fmla="*/ 175 h 369"/>
                  <a:gd name="T58" fmla="*/ 700 w 717"/>
                  <a:gd name="T59" fmla="*/ 171 h 369"/>
                  <a:gd name="T60" fmla="*/ 388 w 717"/>
                  <a:gd name="T61" fmla="*/ 178 h 369"/>
                  <a:gd name="T62" fmla="*/ 377 w 717"/>
                  <a:gd name="T63" fmla="*/ 184 h 369"/>
                  <a:gd name="T64" fmla="*/ 379 w 717"/>
                  <a:gd name="T65" fmla="*/ 180 h 369"/>
                  <a:gd name="T66" fmla="*/ 367 w 717"/>
                  <a:gd name="T67" fmla="*/ 182 h 369"/>
                  <a:gd name="T68" fmla="*/ 390 w 717"/>
                  <a:gd name="T69" fmla="*/ 173 h 369"/>
                  <a:gd name="T70" fmla="*/ 254 w 717"/>
                  <a:gd name="T71" fmla="*/ 171 h 369"/>
                  <a:gd name="T72" fmla="*/ 248 w 717"/>
                  <a:gd name="T73" fmla="*/ 165 h 369"/>
                  <a:gd name="T74" fmla="*/ 607 w 717"/>
                  <a:gd name="T75" fmla="*/ 115 h 369"/>
                  <a:gd name="T76" fmla="*/ 604 w 717"/>
                  <a:gd name="T77" fmla="*/ 119 h 369"/>
                  <a:gd name="T78" fmla="*/ 590 w 717"/>
                  <a:gd name="T79" fmla="*/ 119 h 369"/>
                  <a:gd name="T80" fmla="*/ 590 w 717"/>
                  <a:gd name="T81" fmla="*/ 117 h 369"/>
                  <a:gd name="T82" fmla="*/ 596 w 717"/>
                  <a:gd name="T83" fmla="*/ 117 h 369"/>
                  <a:gd name="T84" fmla="*/ 600 w 717"/>
                  <a:gd name="T85" fmla="*/ 115 h 369"/>
                  <a:gd name="T86" fmla="*/ 10 w 717"/>
                  <a:gd name="T87" fmla="*/ 38 h 369"/>
                  <a:gd name="T88" fmla="*/ 22 w 717"/>
                  <a:gd name="T89" fmla="*/ 40 h 369"/>
                  <a:gd name="T90" fmla="*/ 18 w 717"/>
                  <a:gd name="T91" fmla="*/ 44 h 369"/>
                  <a:gd name="T92" fmla="*/ 304 w 717"/>
                  <a:gd name="T93" fmla="*/ 53 h 369"/>
                  <a:gd name="T94" fmla="*/ 321 w 717"/>
                  <a:gd name="T95" fmla="*/ 55 h 369"/>
                  <a:gd name="T96" fmla="*/ 337 w 717"/>
                  <a:gd name="T97" fmla="*/ 63 h 369"/>
                  <a:gd name="T98" fmla="*/ 319 w 717"/>
                  <a:gd name="T99" fmla="*/ 69 h 369"/>
                  <a:gd name="T100" fmla="*/ 304 w 717"/>
                  <a:gd name="T101" fmla="*/ 69 h 369"/>
                  <a:gd name="T102" fmla="*/ 310 w 717"/>
                  <a:gd name="T103" fmla="*/ 67 h 369"/>
                  <a:gd name="T104" fmla="*/ 296 w 717"/>
                  <a:gd name="T105" fmla="*/ 63 h 369"/>
                  <a:gd name="T106" fmla="*/ 292 w 717"/>
                  <a:gd name="T107" fmla="*/ 55 h 369"/>
                  <a:gd name="T108" fmla="*/ 300 w 717"/>
                  <a:gd name="T109" fmla="*/ 53 h 369"/>
                  <a:gd name="T110" fmla="*/ 79 w 717"/>
                  <a:gd name="T111" fmla="*/ 5 h 369"/>
                  <a:gd name="T112" fmla="*/ 83 w 717"/>
                  <a:gd name="T113" fmla="*/ 0 h 369"/>
                  <a:gd name="T114" fmla="*/ 287 w 717"/>
                  <a:gd name="T115" fmla="*/ 19 h 369"/>
                  <a:gd name="T116" fmla="*/ 281 w 717"/>
                  <a:gd name="T117" fmla="*/ 13 h 3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17" h="369">
                    <a:moveTo>
                      <a:pt x="16" y="348"/>
                    </a:moveTo>
                    <a:lnTo>
                      <a:pt x="16" y="350"/>
                    </a:lnTo>
                    <a:lnTo>
                      <a:pt x="18" y="350"/>
                    </a:lnTo>
                    <a:lnTo>
                      <a:pt x="18" y="351"/>
                    </a:lnTo>
                    <a:lnTo>
                      <a:pt x="20" y="353"/>
                    </a:lnTo>
                    <a:lnTo>
                      <a:pt x="20" y="355"/>
                    </a:lnTo>
                    <a:lnTo>
                      <a:pt x="22" y="357"/>
                    </a:lnTo>
                    <a:lnTo>
                      <a:pt x="20" y="357"/>
                    </a:lnTo>
                    <a:lnTo>
                      <a:pt x="20" y="359"/>
                    </a:lnTo>
                    <a:lnTo>
                      <a:pt x="22" y="359"/>
                    </a:lnTo>
                    <a:lnTo>
                      <a:pt x="20" y="359"/>
                    </a:lnTo>
                    <a:lnTo>
                      <a:pt x="20" y="361"/>
                    </a:lnTo>
                    <a:lnTo>
                      <a:pt x="20" y="363"/>
                    </a:lnTo>
                    <a:lnTo>
                      <a:pt x="20" y="365"/>
                    </a:lnTo>
                    <a:lnTo>
                      <a:pt x="20" y="367"/>
                    </a:lnTo>
                    <a:lnTo>
                      <a:pt x="22" y="367"/>
                    </a:lnTo>
                    <a:lnTo>
                      <a:pt x="20" y="367"/>
                    </a:lnTo>
                    <a:lnTo>
                      <a:pt x="20" y="369"/>
                    </a:lnTo>
                    <a:lnTo>
                      <a:pt x="18" y="367"/>
                    </a:lnTo>
                    <a:lnTo>
                      <a:pt x="16" y="369"/>
                    </a:lnTo>
                    <a:lnTo>
                      <a:pt x="14" y="367"/>
                    </a:lnTo>
                    <a:lnTo>
                      <a:pt x="12" y="367"/>
                    </a:lnTo>
                    <a:lnTo>
                      <a:pt x="8" y="367"/>
                    </a:lnTo>
                    <a:lnTo>
                      <a:pt x="8" y="365"/>
                    </a:lnTo>
                    <a:lnTo>
                      <a:pt x="6" y="365"/>
                    </a:lnTo>
                    <a:lnTo>
                      <a:pt x="4" y="365"/>
                    </a:lnTo>
                    <a:lnTo>
                      <a:pt x="6" y="363"/>
                    </a:lnTo>
                    <a:lnTo>
                      <a:pt x="4" y="363"/>
                    </a:lnTo>
                    <a:lnTo>
                      <a:pt x="2" y="363"/>
                    </a:lnTo>
                    <a:lnTo>
                      <a:pt x="2" y="361"/>
                    </a:lnTo>
                    <a:lnTo>
                      <a:pt x="0" y="361"/>
                    </a:lnTo>
                    <a:lnTo>
                      <a:pt x="0" y="359"/>
                    </a:lnTo>
                    <a:lnTo>
                      <a:pt x="0" y="361"/>
                    </a:lnTo>
                    <a:lnTo>
                      <a:pt x="0" y="359"/>
                    </a:lnTo>
                    <a:lnTo>
                      <a:pt x="0" y="357"/>
                    </a:lnTo>
                    <a:lnTo>
                      <a:pt x="2" y="357"/>
                    </a:lnTo>
                    <a:lnTo>
                      <a:pt x="2" y="355"/>
                    </a:lnTo>
                    <a:lnTo>
                      <a:pt x="4" y="355"/>
                    </a:lnTo>
                    <a:lnTo>
                      <a:pt x="6" y="353"/>
                    </a:lnTo>
                    <a:lnTo>
                      <a:pt x="8" y="353"/>
                    </a:lnTo>
                    <a:lnTo>
                      <a:pt x="10" y="351"/>
                    </a:lnTo>
                    <a:lnTo>
                      <a:pt x="12" y="348"/>
                    </a:lnTo>
                    <a:lnTo>
                      <a:pt x="14" y="348"/>
                    </a:lnTo>
                    <a:lnTo>
                      <a:pt x="16" y="348"/>
                    </a:lnTo>
                    <a:close/>
                    <a:moveTo>
                      <a:pt x="200" y="323"/>
                    </a:moveTo>
                    <a:lnTo>
                      <a:pt x="202" y="323"/>
                    </a:lnTo>
                    <a:lnTo>
                      <a:pt x="202" y="325"/>
                    </a:lnTo>
                    <a:lnTo>
                      <a:pt x="202" y="326"/>
                    </a:lnTo>
                    <a:lnTo>
                      <a:pt x="200" y="326"/>
                    </a:lnTo>
                    <a:lnTo>
                      <a:pt x="202" y="326"/>
                    </a:lnTo>
                    <a:lnTo>
                      <a:pt x="204" y="326"/>
                    </a:lnTo>
                    <a:lnTo>
                      <a:pt x="204" y="328"/>
                    </a:lnTo>
                    <a:lnTo>
                      <a:pt x="202" y="328"/>
                    </a:lnTo>
                    <a:lnTo>
                      <a:pt x="202" y="330"/>
                    </a:lnTo>
                    <a:lnTo>
                      <a:pt x="204" y="330"/>
                    </a:lnTo>
                    <a:lnTo>
                      <a:pt x="202" y="330"/>
                    </a:lnTo>
                    <a:lnTo>
                      <a:pt x="200" y="330"/>
                    </a:lnTo>
                    <a:lnTo>
                      <a:pt x="200" y="332"/>
                    </a:lnTo>
                    <a:lnTo>
                      <a:pt x="198" y="332"/>
                    </a:lnTo>
                    <a:lnTo>
                      <a:pt x="198" y="334"/>
                    </a:lnTo>
                    <a:lnTo>
                      <a:pt x="196" y="334"/>
                    </a:lnTo>
                    <a:lnTo>
                      <a:pt x="196" y="332"/>
                    </a:lnTo>
                    <a:lnTo>
                      <a:pt x="198" y="332"/>
                    </a:lnTo>
                    <a:lnTo>
                      <a:pt x="198" y="330"/>
                    </a:lnTo>
                    <a:lnTo>
                      <a:pt x="200" y="330"/>
                    </a:lnTo>
                    <a:lnTo>
                      <a:pt x="200" y="328"/>
                    </a:lnTo>
                    <a:lnTo>
                      <a:pt x="198" y="328"/>
                    </a:lnTo>
                    <a:lnTo>
                      <a:pt x="200" y="328"/>
                    </a:lnTo>
                    <a:lnTo>
                      <a:pt x="200" y="330"/>
                    </a:lnTo>
                    <a:lnTo>
                      <a:pt x="198" y="330"/>
                    </a:lnTo>
                    <a:lnTo>
                      <a:pt x="196" y="330"/>
                    </a:lnTo>
                    <a:lnTo>
                      <a:pt x="194" y="330"/>
                    </a:lnTo>
                    <a:lnTo>
                      <a:pt x="194" y="328"/>
                    </a:lnTo>
                    <a:lnTo>
                      <a:pt x="196" y="328"/>
                    </a:lnTo>
                    <a:lnTo>
                      <a:pt x="196" y="326"/>
                    </a:lnTo>
                    <a:lnTo>
                      <a:pt x="196" y="325"/>
                    </a:lnTo>
                    <a:lnTo>
                      <a:pt x="196" y="323"/>
                    </a:lnTo>
                    <a:lnTo>
                      <a:pt x="198" y="323"/>
                    </a:lnTo>
                    <a:lnTo>
                      <a:pt x="198" y="325"/>
                    </a:lnTo>
                    <a:lnTo>
                      <a:pt x="200" y="325"/>
                    </a:lnTo>
                    <a:lnTo>
                      <a:pt x="198" y="325"/>
                    </a:lnTo>
                    <a:lnTo>
                      <a:pt x="198" y="326"/>
                    </a:lnTo>
                    <a:lnTo>
                      <a:pt x="198" y="328"/>
                    </a:lnTo>
                    <a:lnTo>
                      <a:pt x="198" y="326"/>
                    </a:lnTo>
                    <a:lnTo>
                      <a:pt x="198" y="325"/>
                    </a:lnTo>
                    <a:lnTo>
                      <a:pt x="200" y="325"/>
                    </a:lnTo>
                    <a:lnTo>
                      <a:pt x="198" y="325"/>
                    </a:lnTo>
                    <a:lnTo>
                      <a:pt x="198" y="323"/>
                    </a:lnTo>
                    <a:lnTo>
                      <a:pt x="196" y="323"/>
                    </a:lnTo>
                    <a:lnTo>
                      <a:pt x="198" y="323"/>
                    </a:lnTo>
                    <a:lnTo>
                      <a:pt x="198" y="321"/>
                    </a:lnTo>
                    <a:lnTo>
                      <a:pt x="200" y="321"/>
                    </a:lnTo>
                    <a:lnTo>
                      <a:pt x="200" y="323"/>
                    </a:lnTo>
                    <a:close/>
                    <a:moveTo>
                      <a:pt x="191" y="319"/>
                    </a:moveTo>
                    <a:lnTo>
                      <a:pt x="193" y="319"/>
                    </a:lnTo>
                    <a:lnTo>
                      <a:pt x="194" y="319"/>
                    </a:lnTo>
                    <a:lnTo>
                      <a:pt x="196" y="319"/>
                    </a:lnTo>
                    <a:lnTo>
                      <a:pt x="198" y="321"/>
                    </a:lnTo>
                    <a:lnTo>
                      <a:pt x="196" y="323"/>
                    </a:lnTo>
                    <a:lnTo>
                      <a:pt x="198" y="323"/>
                    </a:lnTo>
                    <a:lnTo>
                      <a:pt x="196" y="323"/>
                    </a:lnTo>
                    <a:lnTo>
                      <a:pt x="196" y="325"/>
                    </a:lnTo>
                    <a:lnTo>
                      <a:pt x="196" y="326"/>
                    </a:lnTo>
                    <a:lnTo>
                      <a:pt x="196" y="328"/>
                    </a:lnTo>
                    <a:lnTo>
                      <a:pt x="194" y="328"/>
                    </a:lnTo>
                    <a:lnTo>
                      <a:pt x="193" y="328"/>
                    </a:lnTo>
                    <a:lnTo>
                      <a:pt x="193" y="326"/>
                    </a:lnTo>
                    <a:lnTo>
                      <a:pt x="193" y="325"/>
                    </a:lnTo>
                    <a:lnTo>
                      <a:pt x="193" y="323"/>
                    </a:lnTo>
                    <a:lnTo>
                      <a:pt x="193" y="325"/>
                    </a:lnTo>
                    <a:lnTo>
                      <a:pt x="193" y="323"/>
                    </a:lnTo>
                    <a:lnTo>
                      <a:pt x="191" y="323"/>
                    </a:lnTo>
                    <a:lnTo>
                      <a:pt x="191" y="321"/>
                    </a:lnTo>
                    <a:lnTo>
                      <a:pt x="189" y="321"/>
                    </a:lnTo>
                    <a:lnTo>
                      <a:pt x="189" y="319"/>
                    </a:lnTo>
                    <a:lnTo>
                      <a:pt x="187" y="319"/>
                    </a:lnTo>
                    <a:lnTo>
                      <a:pt x="189" y="319"/>
                    </a:lnTo>
                    <a:lnTo>
                      <a:pt x="191" y="317"/>
                    </a:lnTo>
                    <a:lnTo>
                      <a:pt x="189" y="317"/>
                    </a:lnTo>
                    <a:lnTo>
                      <a:pt x="191" y="317"/>
                    </a:lnTo>
                    <a:lnTo>
                      <a:pt x="191" y="319"/>
                    </a:lnTo>
                    <a:close/>
                    <a:moveTo>
                      <a:pt x="194" y="271"/>
                    </a:moveTo>
                    <a:lnTo>
                      <a:pt x="194" y="273"/>
                    </a:lnTo>
                    <a:lnTo>
                      <a:pt x="196" y="273"/>
                    </a:lnTo>
                    <a:lnTo>
                      <a:pt x="196" y="275"/>
                    </a:lnTo>
                    <a:lnTo>
                      <a:pt x="194" y="275"/>
                    </a:lnTo>
                    <a:lnTo>
                      <a:pt x="194" y="276"/>
                    </a:lnTo>
                    <a:lnTo>
                      <a:pt x="194" y="275"/>
                    </a:lnTo>
                    <a:lnTo>
                      <a:pt x="194" y="276"/>
                    </a:lnTo>
                    <a:lnTo>
                      <a:pt x="193" y="276"/>
                    </a:lnTo>
                    <a:lnTo>
                      <a:pt x="193" y="275"/>
                    </a:lnTo>
                    <a:lnTo>
                      <a:pt x="193" y="276"/>
                    </a:lnTo>
                    <a:lnTo>
                      <a:pt x="191" y="276"/>
                    </a:lnTo>
                    <a:lnTo>
                      <a:pt x="191" y="275"/>
                    </a:lnTo>
                    <a:lnTo>
                      <a:pt x="189" y="275"/>
                    </a:lnTo>
                    <a:lnTo>
                      <a:pt x="191" y="275"/>
                    </a:lnTo>
                    <a:lnTo>
                      <a:pt x="189" y="275"/>
                    </a:lnTo>
                    <a:lnTo>
                      <a:pt x="189" y="273"/>
                    </a:lnTo>
                    <a:lnTo>
                      <a:pt x="189" y="275"/>
                    </a:lnTo>
                    <a:lnTo>
                      <a:pt x="187" y="275"/>
                    </a:lnTo>
                    <a:lnTo>
                      <a:pt x="189" y="276"/>
                    </a:lnTo>
                    <a:lnTo>
                      <a:pt x="189" y="278"/>
                    </a:lnTo>
                    <a:lnTo>
                      <a:pt x="191" y="278"/>
                    </a:lnTo>
                    <a:lnTo>
                      <a:pt x="191" y="276"/>
                    </a:lnTo>
                    <a:lnTo>
                      <a:pt x="193" y="276"/>
                    </a:lnTo>
                    <a:lnTo>
                      <a:pt x="193" y="278"/>
                    </a:lnTo>
                    <a:lnTo>
                      <a:pt x="191" y="278"/>
                    </a:lnTo>
                    <a:lnTo>
                      <a:pt x="189" y="278"/>
                    </a:lnTo>
                    <a:lnTo>
                      <a:pt x="187" y="278"/>
                    </a:lnTo>
                    <a:lnTo>
                      <a:pt x="185" y="278"/>
                    </a:lnTo>
                    <a:lnTo>
                      <a:pt x="185" y="276"/>
                    </a:lnTo>
                    <a:lnTo>
                      <a:pt x="183" y="276"/>
                    </a:lnTo>
                    <a:lnTo>
                      <a:pt x="181" y="276"/>
                    </a:lnTo>
                    <a:lnTo>
                      <a:pt x="179" y="276"/>
                    </a:lnTo>
                    <a:lnTo>
                      <a:pt x="181" y="276"/>
                    </a:lnTo>
                    <a:lnTo>
                      <a:pt x="179" y="276"/>
                    </a:lnTo>
                    <a:lnTo>
                      <a:pt x="177" y="276"/>
                    </a:lnTo>
                    <a:lnTo>
                      <a:pt x="177" y="275"/>
                    </a:lnTo>
                    <a:lnTo>
                      <a:pt x="177" y="273"/>
                    </a:lnTo>
                    <a:lnTo>
                      <a:pt x="179" y="273"/>
                    </a:lnTo>
                    <a:lnTo>
                      <a:pt x="181" y="273"/>
                    </a:lnTo>
                    <a:lnTo>
                      <a:pt x="181" y="275"/>
                    </a:lnTo>
                    <a:lnTo>
                      <a:pt x="183" y="275"/>
                    </a:lnTo>
                    <a:lnTo>
                      <a:pt x="185" y="275"/>
                    </a:lnTo>
                    <a:lnTo>
                      <a:pt x="185" y="273"/>
                    </a:lnTo>
                    <a:lnTo>
                      <a:pt x="183" y="273"/>
                    </a:lnTo>
                    <a:lnTo>
                      <a:pt x="185" y="273"/>
                    </a:lnTo>
                    <a:lnTo>
                      <a:pt x="183" y="273"/>
                    </a:lnTo>
                    <a:lnTo>
                      <a:pt x="183" y="271"/>
                    </a:lnTo>
                    <a:lnTo>
                      <a:pt x="185" y="271"/>
                    </a:lnTo>
                    <a:lnTo>
                      <a:pt x="183" y="271"/>
                    </a:lnTo>
                    <a:lnTo>
                      <a:pt x="185" y="271"/>
                    </a:lnTo>
                    <a:lnTo>
                      <a:pt x="187" y="271"/>
                    </a:lnTo>
                    <a:lnTo>
                      <a:pt x="185" y="271"/>
                    </a:lnTo>
                    <a:lnTo>
                      <a:pt x="185" y="273"/>
                    </a:lnTo>
                    <a:lnTo>
                      <a:pt x="187" y="273"/>
                    </a:lnTo>
                    <a:lnTo>
                      <a:pt x="187" y="271"/>
                    </a:lnTo>
                    <a:lnTo>
                      <a:pt x="189" y="271"/>
                    </a:lnTo>
                    <a:lnTo>
                      <a:pt x="191" y="271"/>
                    </a:lnTo>
                    <a:lnTo>
                      <a:pt x="193" y="271"/>
                    </a:lnTo>
                    <a:lnTo>
                      <a:pt x="194" y="271"/>
                    </a:lnTo>
                    <a:close/>
                    <a:moveTo>
                      <a:pt x="98" y="234"/>
                    </a:moveTo>
                    <a:lnTo>
                      <a:pt x="96" y="234"/>
                    </a:lnTo>
                    <a:lnTo>
                      <a:pt x="95" y="236"/>
                    </a:lnTo>
                    <a:lnTo>
                      <a:pt x="95" y="238"/>
                    </a:lnTo>
                    <a:lnTo>
                      <a:pt x="96" y="238"/>
                    </a:lnTo>
                    <a:lnTo>
                      <a:pt x="95" y="238"/>
                    </a:lnTo>
                    <a:lnTo>
                      <a:pt x="95" y="236"/>
                    </a:lnTo>
                    <a:lnTo>
                      <a:pt x="93" y="236"/>
                    </a:lnTo>
                    <a:lnTo>
                      <a:pt x="93" y="238"/>
                    </a:lnTo>
                    <a:lnTo>
                      <a:pt x="95" y="238"/>
                    </a:lnTo>
                    <a:lnTo>
                      <a:pt x="95" y="240"/>
                    </a:lnTo>
                    <a:lnTo>
                      <a:pt x="96" y="240"/>
                    </a:lnTo>
                    <a:lnTo>
                      <a:pt x="95" y="238"/>
                    </a:lnTo>
                    <a:lnTo>
                      <a:pt x="96" y="238"/>
                    </a:lnTo>
                    <a:lnTo>
                      <a:pt x="96" y="240"/>
                    </a:lnTo>
                    <a:lnTo>
                      <a:pt x="96" y="242"/>
                    </a:lnTo>
                    <a:lnTo>
                      <a:pt x="98" y="242"/>
                    </a:lnTo>
                    <a:lnTo>
                      <a:pt x="98" y="244"/>
                    </a:lnTo>
                    <a:lnTo>
                      <a:pt x="96" y="244"/>
                    </a:lnTo>
                    <a:lnTo>
                      <a:pt x="96" y="246"/>
                    </a:lnTo>
                    <a:lnTo>
                      <a:pt x="96" y="244"/>
                    </a:lnTo>
                    <a:lnTo>
                      <a:pt x="98" y="244"/>
                    </a:lnTo>
                    <a:lnTo>
                      <a:pt x="96" y="244"/>
                    </a:lnTo>
                    <a:lnTo>
                      <a:pt x="96" y="242"/>
                    </a:lnTo>
                    <a:lnTo>
                      <a:pt x="95" y="242"/>
                    </a:lnTo>
                    <a:lnTo>
                      <a:pt x="95" y="244"/>
                    </a:lnTo>
                    <a:lnTo>
                      <a:pt x="95" y="242"/>
                    </a:lnTo>
                    <a:lnTo>
                      <a:pt x="95" y="244"/>
                    </a:lnTo>
                    <a:lnTo>
                      <a:pt x="93" y="244"/>
                    </a:lnTo>
                    <a:lnTo>
                      <a:pt x="93" y="242"/>
                    </a:lnTo>
                    <a:lnTo>
                      <a:pt x="93" y="244"/>
                    </a:lnTo>
                    <a:lnTo>
                      <a:pt x="93" y="246"/>
                    </a:lnTo>
                    <a:lnTo>
                      <a:pt x="91" y="246"/>
                    </a:lnTo>
                    <a:lnTo>
                      <a:pt x="93" y="246"/>
                    </a:lnTo>
                    <a:lnTo>
                      <a:pt x="93" y="248"/>
                    </a:lnTo>
                    <a:lnTo>
                      <a:pt x="91" y="248"/>
                    </a:lnTo>
                    <a:lnTo>
                      <a:pt x="91" y="250"/>
                    </a:lnTo>
                    <a:lnTo>
                      <a:pt x="91" y="251"/>
                    </a:lnTo>
                    <a:lnTo>
                      <a:pt x="91" y="250"/>
                    </a:lnTo>
                    <a:lnTo>
                      <a:pt x="89" y="250"/>
                    </a:lnTo>
                    <a:lnTo>
                      <a:pt x="89" y="248"/>
                    </a:lnTo>
                    <a:lnTo>
                      <a:pt x="91" y="248"/>
                    </a:lnTo>
                    <a:lnTo>
                      <a:pt x="89" y="248"/>
                    </a:lnTo>
                    <a:lnTo>
                      <a:pt x="89" y="246"/>
                    </a:lnTo>
                    <a:lnTo>
                      <a:pt x="89" y="244"/>
                    </a:lnTo>
                    <a:lnTo>
                      <a:pt x="87" y="244"/>
                    </a:lnTo>
                    <a:lnTo>
                      <a:pt x="89" y="244"/>
                    </a:lnTo>
                    <a:lnTo>
                      <a:pt x="87" y="244"/>
                    </a:lnTo>
                    <a:lnTo>
                      <a:pt x="85" y="244"/>
                    </a:lnTo>
                    <a:lnTo>
                      <a:pt x="87" y="244"/>
                    </a:lnTo>
                    <a:lnTo>
                      <a:pt x="85" y="244"/>
                    </a:lnTo>
                    <a:lnTo>
                      <a:pt x="85" y="246"/>
                    </a:lnTo>
                    <a:lnTo>
                      <a:pt x="87" y="246"/>
                    </a:lnTo>
                    <a:lnTo>
                      <a:pt x="85" y="246"/>
                    </a:lnTo>
                    <a:lnTo>
                      <a:pt x="85" y="244"/>
                    </a:lnTo>
                    <a:lnTo>
                      <a:pt x="83" y="244"/>
                    </a:lnTo>
                    <a:lnTo>
                      <a:pt x="85" y="244"/>
                    </a:lnTo>
                    <a:lnTo>
                      <a:pt x="83" y="242"/>
                    </a:lnTo>
                    <a:lnTo>
                      <a:pt x="85" y="242"/>
                    </a:lnTo>
                    <a:lnTo>
                      <a:pt x="85" y="240"/>
                    </a:lnTo>
                    <a:lnTo>
                      <a:pt x="83" y="240"/>
                    </a:lnTo>
                    <a:lnTo>
                      <a:pt x="83" y="242"/>
                    </a:lnTo>
                    <a:lnTo>
                      <a:pt x="83" y="244"/>
                    </a:lnTo>
                    <a:lnTo>
                      <a:pt x="83" y="246"/>
                    </a:lnTo>
                    <a:lnTo>
                      <a:pt x="85" y="248"/>
                    </a:lnTo>
                    <a:lnTo>
                      <a:pt x="85" y="250"/>
                    </a:lnTo>
                    <a:lnTo>
                      <a:pt x="89" y="250"/>
                    </a:lnTo>
                    <a:lnTo>
                      <a:pt x="89" y="251"/>
                    </a:lnTo>
                    <a:lnTo>
                      <a:pt x="87" y="251"/>
                    </a:lnTo>
                    <a:lnTo>
                      <a:pt x="87" y="250"/>
                    </a:lnTo>
                    <a:lnTo>
                      <a:pt x="85" y="250"/>
                    </a:lnTo>
                    <a:lnTo>
                      <a:pt x="85" y="248"/>
                    </a:lnTo>
                    <a:lnTo>
                      <a:pt x="83" y="246"/>
                    </a:lnTo>
                    <a:lnTo>
                      <a:pt x="83" y="244"/>
                    </a:lnTo>
                    <a:lnTo>
                      <a:pt x="83" y="242"/>
                    </a:lnTo>
                    <a:lnTo>
                      <a:pt x="83" y="240"/>
                    </a:lnTo>
                    <a:lnTo>
                      <a:pt x="85" y="238"/>
                    </a:lnTo>
                    <a:lnTo>
                      <a:pt x="87" y="236"/>
                    </a:lnTo>
                    <a:lnTo>
                      <a:pt x="89" y="236"/>
                    </a:lnTo>
                    <a:lnTo>
                      <a:pt x="87" y="236"/>
                    </a:lnTo>
                    <a:lnTo>
                      <a:pt x="87" y="238"/>
                    </a:lnTo>
                    <a:lnTo>
                      <a:pt x="85" y="238"/>
                    </a:lnTo>
                    <a:lnTo>
                      <a:pt x="87" y="238"/>
                    </a:lnTo>
                    <a:lnTo>
                      <a:pt x="87" y="240"/>
                    </a:lnTo>
                    <a:lnTo>
                      <a:pt x="89" y="240"/>
                    </a:lnTo>
                    <a:lnTo>
                      <a:pt x="91" y="240"/>
                    </a:lnTo>
                    <a:lnTo>
                      <a:pt x="91" y="238"/>
                    </a:lnTo>
                    <a:lnTo>
                      <a:pt x="89" y="236"/>
                    </a:lnTo>
                    <a:lnTo>
                      <a:pt x="91" y="238"/>
                    </a:lnTo>
                    <a:lnTo>
                      <a:pt x="93" y="238"/>
                    </a:lnTo>
                    <a:lnTo>
                      <a:pt x="93" y="236"/>
                    </a:lnTo>
                    <a:lnTo>
                      <a:pt x="95" y="236"/>
                    </a:lnTo>
                    <a:lnTo>
                      <a:pt x="95" y="234"/>
                    </a:lnTo>
                    <a:lnTo>
                      <a:pt x="93" y="234"/>
                    </a:lnTo>
                    <a:lnTo>
                      <a:pt x="91" y="234"/>
                    </a:lnTo>
                    <a:lnTo>
                      <a:pt x="91" y="236"/>
                    </a:lnTo>
                    <a:lnTo>
                      <a:pt x="89" y="236"/>
                    </a:lnTo>
                    <a:lnTo>
                      <a:pt x="91" y="234"/>
                    </a:lnTo>
                    <a:lnTo>
                      <a:pt x="93" y="234"/>
                    </a:lnTo>
                    <a:lnTo>
                      <a:pt x="95" y="234"/>
                    </a:lnTo>
                    <a:lnTo>
                      <a:pt x="96" y="234"/>
                    </a:lnTo>
                    <a:lnTo>
                      <a:pt x="98" y="234"/>
                    </a:lnTo>
                    <a:close/>
                    <a:moveTo>
                      <a:pt x="379" y="213"/>
                    </a:moveTo>
                    <a:lnTo>
                      <a:pt x="379" y="215"/>
                    </a:lnTo>
                    <a:lnTo>
                      <a:pt x="381" y="215"/>
                    </a:lnTo>
                    <a:lnTo>
                      <a:pt x="383" y="215"/>
                    </a:lnTo>
                    <a:lnTo>
                      <a:pt x="385" y="215"/>
                    </a:lnTo>
                    <a:lnTo>
                      <a:pt x="383" y="215"/>
                    </a:lnTo>
                    <a:lnTo>
                      <a:pt x="385" y="215"/>
                    </a:lnTo>
                    <a:lnTo>
                      <a:pt x="383" y="215"/>
                    </a:lnTo>
                    <a:lnTo>
                      <a:pt x="383" y="217"/>
                    </a:lnTo>
                    <a:lnTo>
                      <a:pt x="385" y="217"/>
                    </a:lnTo>
                    <a:lnTo>
                      <a:pt x="385" y="215"/>
                    </a:lnTo>
                    <a:lnTo>
                      <a:pt x="387" y="215"/>
                    </a:lnTo>
                    <a:lnTo>
                      <a:pt x="385" y="215"/>
                    </a:lnTo>
                    <a:lnTo>
                      <a:pt x="387" y="213"/>
                    </a:lnTo>
                    <a:lnTo>
                      <a:pt x="388" y="213"/>
                    </a:lnTo>
                    <a:lnTo>
                      <a:pt x="390" y="213"/>
                    </a:lnTo>
                    <a:lnTo>
                      <a:pt x="390" y="215"/>
                    </a:lnTo>
                    <a:lnTo>
                      <a:pt x="388" y="215"/>
                    </a:lnTo>
                    <a:lnTo>
                      <a:pt x="388" y="217"/>
                    </a:lnTo>
                    <a:lnTo>
                      <a:pt x="390" y="217"/>
                    </a:lnTo>
                    <a:lnTo>
                      <a:pt x="390" y="219"/>
                    </a:lnTo>
                    <a:lnTo>
                      <a:pt x="390" y="217"/>
                    </a:lnTo>
                    <a:lnTo>
                      <a:pt x="388" y="217"/>
                    </a:lnTo>
                    <a:lnTo>
                      <a:pt x="387" y="217"/>
                    </a:lnTo>
                    <a:lnTo>
                      <a:pt x="385" y="217"/>
                    </a:lnTo>
                    <a:lnTo>
                      <a:pt x="387" y="217"/>
                    </a:lnTo>
                    <a:lnTo>
                      <a:pt x="387" y="219"/>
                    </a:lnTo>
                    <a:lnTo>
                      <a:pt x="387" y="217"/>
                    </a:lnTo>
                    <a:lnTo>
                      <a:pt x="387" y="219"/>
                    </a:lnTo>
                    <a:lnTo>
                      <a:pt x="388" y="219"/>
                    </a:lnTo>
                    <a:lnTo>
                      <a:pt x="390" y="219"/>
                    </a:lnTo>
                    <a:lnTo>
                      <a:pt x="390" y="221"/>
                    </a:lnTo>
                    <a:lnTo>
                      <a:pt x="388" y="221"/>
                    </a:lnTo>
                    <a:lnTo>
                      <a:pt x="388" y="223"/>
                    </a:lnTo>
                    <a:lnTo>
                      <a:pt x="390" y="223"/>
                    </a:lnTo>
                    <a:lnTo>
                      <a:pt x="388" y="223"/>
                    </a:lnTo>
                    <a:lnTo>
                      <a:pt x="388" y="221"/>
                    </a:lnTo>
                    <a:lnTo>
                      <a:pt x="387" y="221"/>
                    </a:lnTo>
                    <a:lnTo>
                      <a:pt x="385" y="221"/>
                    </a:lnTo>
                    <a:lnTo>
                      <a:pt x="383" y="221"/>
                    </a:lnTo>
                    <a:lnTo>
                      <a:pt x="381" y="221"/>
                    </a:lnTo>
                    <a:lnTo>
                      <a:pt x="379" y="221"/>
                    </a:lnTo>
                    <a:lnTo>
                      <a:pt x="377" y="221"/>
                    </a:lnTo>
                    <a:lnTo>
                      <a:pt x="375" y="221"/>
                    </a:lnTo>
                    <a:lnTo>
                      <a:pt x="373" y="221"/>
                    </a:lnTo>
                    <a:lnTo>
                      <a:pt x="373" y="219"/>
                    </a:lnTo>
                    <a:lnTo>
                      <a:pt x="375" y="221"/>
                    </a:lnTo>
                    <a:lnTo>
                      <a:pt x="375" y="219"/>
                    </a:lnTo>
                    <a:lnTo>
                      <a:pt x="373" y="219"/>
                    </a:lnTo>
                    <a:lnTo>
                      <a:pt x="371" y="219"/>
                    </a:lnTo>
                    <a:lnTo>
                      <a:pt x="371" y="217"/>
                    </a:lnTo>
                    <a:lnTo>
                      <a:pt x="371" y="219"/>
                    </a:lnTo>
                    <a:lnTo>
                      <a:pt x="369" y="219"/>
                    </a:lnTo>
                    <a:lnTo>
                      <a:pt x="369" y="217"/>
                    </a:lnTo>
                    <a:lnTo>
                      <a:pt x="367" y="217"/>
                    </a:lnTo>
                    <a:lnTo>
                      <a:pt x="367" y="215"/>
                    </a:lnTo>
                    <a:lnTo>
                      <a:pt x="369" y="215"/>
                    </a:lnTo>
                    <a:lnTo>
                      <a:pt x="371" y="215"/>
                    </a:lnTo>
                    <a:lnTo>
                      <a:pt x="373" y="215"/>
                    </a:lnTo>
                    <a:lnTo>
                      <a:pt x="373" y="217"/>
                    </a:lnTo>
                    <a:lnTo>
                      <a:pt x="371" y="217"/>
                    </a:lnTo>
                    <a:lnTo>
                      <a:pt x="373" y="217"/>
                    </a:lnTo>
                    <a:lnTo>
                      <a:pt x="373" y="215"/>
                    </a:lnTo>
                    <a:lnTo>
                      <a:pt x="375" y="215"/>
                    </a:lnTo>
                    <a:lnTo>
                      <a:pt x="375" y="213"/>
                    </a:lnTo>
                    <a:lnTo>
                      <a:pt x="377" y="213"/>
                    </a:lnTo>
                    <a:lnTo>
                      <a:pt x="379" y="213"/>
                    </a:lnTo>
                    <a:close/>
                    <a:moveTo>
                      <a:pt x="704" y="169"/>
                    </a:moveTo>
                    <a:lnTo>
                      <a:pt x="705" y="169"/>
                    </a:lnTo>
                    <a:lnTo>
                      <a:pt x="707" y="169"/>
                    </a:lnTo>
                    <a:lnTo>
                      <a:pt x="709" y="169"/>
                    </a:lnTo>
                    <a:lnTo>
                      <a:pt x="711" y="169"/>
                    </a:lnTo>
                    <a:lnTo>
                      <a:pt x="711" y="171"/>
                    </a:lnTo>
                    <a:lnTo>
                      <a:pt x="713" y="171"/>
                    </a:lnTo>
                    <a:lnTo>
                      <a:pt x="711" y="171"/>
                    </a:lnTo>
                    <a:lnTo>
                      <a:pt x="713" y="171"/>
                    </a:lnTo>
                    <a:lnTo>
                      <a:pt x="711" y="171"/>
                    </a:lnTo>
                    <a:lnTo>
                      <a:pt x="711" y="173"/>
                    </a:lnTo>
                    <a:lnTo>
                      <a:pt x="713" y="173"/>
                    </a:lnTo>
                    <a:lnTo>
                      <a:pt x="711" y="173"/>
                    </a:lnTo>
                    <a:lnTo>
                      <a:pt x="713" y="173"/>
                    </a:lnTo>
                    <a:lnTo>
                      <a:pt x="715" y="173"/>
                    </a:lnTo>
                    <a:lnTo>
                      <a:pt x="715" y="171"/>
                    </a:lnTo>
                    <a:lnTo>
                      <a:pt x="717" y="173"/>
                    </a:lnTo>
                    <a:lnTo>
                      <a:pt x="715" y="173"/>
                    </a:lnTo>
                    <a:lnTo>
                      <a:pt x="713" y="173"/>
                    </a:lnTo>
                    <a:lnTo>
                      <a:pt x="713" y="175"/>
                    </a:lnTo>
                    <a:lnTo>
                      <a:pt x="715" y="175"/>
                    </a:lnTo>
                    <a:lnTo>
                      <a:pt x="715" y="177"/>
                    </a:lnTo>
                    <a:lnTo>
                      <a:pt x="713" y="177"/>
                    </a:lnTo>
                    <a:lnTo>
                      <a:pt x="711" y="177"/>
                    </a:lnTo>
                    <a:lnTo>
                      <a:pt x="709" y="177"/>
                    </a:lnTo>
                    <a:lnTo>
                      <a:pt x="711" y="177"/>
                    </a:lnTo>
                    <a:lnTo>
                      <a:pt x="711" y="175"/>
                    </a:lnTo>
                    <a:lnTo>
                      <a:pt x="709" y="175"/>
                    </a:lnTo>
                    <a:lnTo>
                      <a:pt x="707" y="173"/>
                    </a:lnTo>
                    <a:lnTo>
                      <a:pt x="705" y="173"/>
                    </a:lnTo>
                    <a:lnTo>
                      <a:pt x="707" y="173"/>
                    </a:lnTo>
                    <a:lnTo>
                      <a:pt x="705" y="173"/>
                    </a:lnTo>
                    <a:lnTo>
                      <a:pt x="704" y="173"/>
                    </a:lnTo>
                    <a:lnTo>
                      <a:pt x="702" y="173"/>
                    </a:lnTo>
                    <a:lnTo>
                      <a:pt x="704" y="173"/>
                    </a:lnTo>
                    <a:lnTo>
                      <a:pt x="702" y="173"/>
                    </a:lnTo>
                    <a:lnTo>
                      <a:pt x="702" y="171"/>
                    </a:lnTo>
                    <a:lnTo>
                      <a:pt x="704" y="171"/>
                    </a:lnTo>
                    <a:lnTo>
                      <a:pt x="702" y="171"/>
                    </a:lnTo>
                    <a:lnTo>
                      <a:pt x="700" y="171"/>
                    </a:lnTo>
                    <a:lnTo>
                      <a:pt x="702" y="171"/>
                    </a:lnTo>
                    <a:lnTo>
                      <a:pt x="704" y="171"/>
                    </a:lnTo>
                    <a:lnTo>
                      <a:pt x="702" y="171"/>
                    </a:lnTo>
                    <a:lnTo>
                      <a:pt x="702" y="169"/>
                    </a:lnTo>
                    <a:lnTo>
                      <a:pt x="704" y="169"/>
                    </a:lnTo>
                    <a:close/>
                    <a:moveTo>
                      <a:pt x="392" y="177"/>
                    </a:moveTo>
                    <a:lnTo>
                      <a:pt x="390" y="177"/>
                    </a:lnTo>
                    <a:lnTo>
                      <a:pt x="390" y="178"/>
                    </a:lnTo>
                    <a:lnTo>
                      <a:pt x="388" y="178"/>
                    </a:lnTo>
                    <a:lnTo>
                      <a:pt x="388" y="180"/>
                    </a:lnTo>
                    <a:lnTo>
                      <a:pt x="387" y="180"/>
                    </a:lnTo>
                    <a:lnTo>
                      <a:pt x="388" y="180"/>
                    </a:lnTo>
                    <a:lnTo>
                      <a:pt x="388" y="178"/>
                    </a:lnTo>
                    <a:lnTo>
                      <a:pt x="387" y="178"/>
                    </a:lnTo>
                    <a:lnTo>
                      <a:pt x="387" y="180"/>
                    </a:lnTo>
                    <a:lnTo>
                      <a:pt x="385" y="180"/>
                    </a:lnTo>
                    <a:lnTo>
                      <a:pt x="385" y="182"/>
                    </a:lnTo>
                    <a:lnTo>
                      <a:pt x="385" y="180"/>
                    </a:lnTo>
                    <a:lnTo>
                      <a:pt x="387" y="180"/>
                    </a:lnTo>
                    <a:lnTo>
                      <a:pt x="385" y="180"/>
                    </a:lnTo>
                    <a:lnTo>
                      <a:pt x="385" y="182"/>
                    </a:lnTo>
                    <a:lnTo>
                      <a:pt x="383" y="182"/>
                    </a:lnTo>
                    <a:lnTo>
                      <a:pt x="381" y="182"/>
                    </a:lnTo>
                    <a:lnTo>
                      <a:pt x="379" y="182"/>
                    </a:lnTo>
                    <a:lnTo>
                      <a:pt x="379" y="184"/>
                    </a:lnTo>
                    <a:lnTo>
                      <a:pt x="377" y="184"/>
                    </a:lnTo>
                    <a:lnTo>
                      <a:pt x="375" y="184"/>
                    </a:lnTo>
                    <a:lnTo>
                      <a:pt x="375" y="186"/>
                    </a:lnTo>
                    <a:lnTo>
                      <a:pt x="373" y="186"/>
                    </a:lnTo>
                    <a:lnTo>
                      <a:pt x="375" y="186"/>
                    </a:lnTo>
                    <a:lnTo>
                      <a:pt x="375" y="184"/>
                    </a:lnTo>
                    <a:lnTo>
                      <a:pt x="377" y="184"/>
                    </a:lnTo>
                    <a:lnTo>
                      <a:pt x="377" y="182"/>
                    </a:lnTo>
                    <a:lnTo>
                      <a:pt x="379" y="182"/>
                    </a:lnTo>
                    <a:lnTo>
                      <a:pt x="381" y="182"/>
                    </a:lnTo>
                    <a:lnTo>
                      <a:pt x="381" y="180"/>
                    </a:lnTo>
                    <a:lnTo>
                      <a:pt x="381" y="182"/>
                    </a:lnTo>
                    <a:lnTo>
                      <a:pt x="381" y="180"/>
                    </a:lnTo>
                    <a:lnTo>
                      <a:pt x="379" y="180"/>
                    </a:lnTo>
                    <a:lnTo>
                      <a:pt x="377" y="180"/>
                    </a:lnTo>
                    <a:lnTo>
                      <a:pt x="377" y="182"/>
                    </a:lnTo>
                    <a:lnTo>
                      <a:pt x="375" y="182"/>
                    </a:lnTo>
                    <a:lnTo>
                      <a:pt x="373" y="182"/>
                    </a:lnTo>
                    <a:lnTo>
                      <a:pt x="371" y="182"/>
                    </a:lnTo>
                    <a:lnTo>
                      <a:pt x="369" y="182"/>
                    </a:lnTo>
                    <a:lnTo>
                      <a:pt x="371" y="182"/>
                    </a:lnTo>
                    <a:lnTo>
                      <a:pt x="369" y="182"/>
                    </a:lnTo>
                    <a:lnTo>
                      <a:pt x="369" y="180"/>
                    </a:lnTo>
                    <a:lnTo>
                      <a:pt x="369" y="182"/>
                    </a:lnTo>
                    <a:lnTo>
                      <a:pt x="367" y="182"/>
                    </a:lnTo>
                    <a:lnTo>
                      <a:pt x="369" y="182"/>
                    </a:lnTo>
                    <a:lnTo>
                      <a:pt x="367" y="182"/>
                    </a:lnTo>
                    <a:lnTo>
                      <a:pt x="369" y="180"/>
                    </a:lnTo>
                    <a:lnTo>
                      <a:pt x="371" y="180"/>
                    </a:lnTo>
                    <a:lnTo>
                      <a:pt x="373" y="178"/>
                    </a:lnTo>
                    <a:lnTo>
                      <a:pt x="375" y="178"/>
                    </a:lnTo>
                    <a:lnTo>
                      <a:pt x="377" y="178"/>
                    </a:lnTo>
                    <a:lnTo>
                      <a:pt x="379" y="178"/>
                    </a:lnTo>
                    <a:lnTo>
                      <a:pt x="381" y="178"/>
                    </a:lnTo>
                    <a:lnTo>
                      <a:pt x="381" y="177"/>
                    </a:lnTo>
                    <a:lnTo>
                      <a:pt x="383" y="177"/>
                    </a:lnTo>
                    <a:lnTo>
                      <a:pt x="385" y="175"/>
                    </a:lnTo>
                    <a:lnTo>
                      <a:pt x="387" y="175"/>
                    </a:lnTo>
                    <a:lnTo>
                      <a:pt x="388" y="173"/>
                    </a:lnTo>
                    <a:lnTo>
                      <a:pt x="390" y="173"/>
                    </a:lnTo>
                    <a:lnTo>
                      <a:pt x="390" y="175"/>
                    </a:lnTo>
                    <a:lnTo>
                      <a:pt x="392" y="175"/>
                    </a:lnTo>
                    <a:lnTo>
                      <a:pt x="392" y="177"/>
                    </a:lnTo>
                    <a:close/>
                    <a:moveTo>
                      <a:pt x="254" y="165"/>
                    </a:moveTo>
                    <a:lnTo>
                      <a:pt x="256" y="167"/>
                    </a:lnTo>
                    <a:lnTo>
                      <a:pt x="254" y="167"/>
                    </a:lnTo>
                    <a:lnTo>
                      <a:pt x="252" y="167"/>
                    </a:lnTo>
                    <a:lnTo>
                      <a:pt x="254" y="167"/>
                    </a:lnTo>
                    <a:lnTo>
                      <a:pt x="256" y="169"/>
                    </a:lnTo>
                    <a:lnTo>
                      <a:pt x="256" y="167"/>
                    </a:lnTo>
                    <a:lnTo>
                      <a:pt x="256" y="169"/>
                    </a:lnTo>
                    <a:lnTo>
                      <a:pt x="254" y="169"/>
                    </a:lnTo>
                    <a:lnTo>
                      <a:pt x="254" y="171"/>
                    </a:lnTo>
                    <a:lnTo>
                      <a:pt x="252" y="171"/>
                    </a:lnTo>
                    <a:lnTo>
                      <a:pt x="250" y="171"/>
                    </a:lnTo>
                    <a:lnTo>
                      <a:pt x="248" y="171"/>
                    </a:lnTo>
                    <a:lnTo>
                      <a:pt x="250" y="171"/>
                    </a:lnTo>
                    <a:lnTo>
                      <a:pt x="248" y="171"/>
                    </a:lnTo>
                    <a:lnTo>
                      <a:pt x="246" y="171"/>
                    </a:lnTo>
                    <a:lnTo>
                      <a:pt x="246" y="169"/>
                    </a:lnTo>
                    <a:lnTo>
                      <a:pt x="244" y="169"/>
                    </a:lnTo>
                    <a:lnTo>
                      <a:pt x="246" y="169"/>
                    </a:lnTo>
                    <a:lnTo>
                      <a:pt x="246" y="171"/>
                    </a:lnTo>
                    <a:lnTo>
                      <a:pt x="244" y="169"/>
                    </a:lnTo>
                    <a:lnTo>
                      <a:pt x="246" y="167"/>
                    </a:lnTo>
                    <a:lnTo>
                      <a:pt x="248" y="165"/>
                    </a:lnTo>
                    <a:lnTo>
                      <a:pt x="250" y="165"/>
                    </a:lnTo>
                    <a:lnTo>
                      <a:pt x="252" y="165"/>
                    </a:lnTo>
                    <a:lnTo>
                      <a:pt x="254" y="165"/>
                    </a:lnTo>
                    <a:close/>
                    <a:moveTo>
                      <a:pt x="602" y="115"/>
                    </a:moveTo>
                    <a:lnTo>
                      <a:pt x="604" y="115"/>
                    </a:lnTo>
                    <a:lnTo>
                      <a:pt x="602" y="115"/>
                    </a:lnTo>
                    <a:lnTo>
                      <a:pt x="604" y="115"/>
                    </a:lnTo>
                    <a:lnTo>
                      <a:pt x="606" y="115"/>
                    </a:lnTo>
                    <a:lnTo>
                      <a:pt x="607" y="115"/>
                    </a:lnTo>
                    <a:lnTo>
                      <a:pt x="606" y="115"/>
                    </a:lnTo>
                    <a:lnTo>
                      <a:pt x="607" y="115"/>
                    </a:lnTo>
                    <a:lnTo>
                      <a:pt x="606" y="115"/>
                    </a:lnTo>
                    <a:lnTo>
                      <a:pt x="607" y="115"/>
                    </a:lnTo>
                    <a:lnTo>
                      <a:pt x="607" y="117"/>
                    </a:lnTo>
                    <a:lnTo>
                      <a:pt x="607" y="119"/>
                    </a:lnTo>
                    <a:lnTo>
                      <a:pt x="606" y="119"/>
                    </a:lnTo>
                    <a:lnTo>
                      <a:pt x="604" y="121"/>
                    </a:lnTo>
                    <a:lnTo>
                      <a:pt x="602" y="121"/>
                    </a:lnTo>
                    <a:lnTo>
                      <a:pt x="604" y="121"/>
                    </a:lnTo>
                    <a:lnTo>
                      <a:pt x="604" y="119"/>
                    </a:lnTo>
                    <a:lnTo>
                      <a:pt x="602" y="119"/>
                    </a:lnTo>
                    <a:lnTo>
                      <a:pt x="604" y="119"/>
                    </a:lnTo>
                    <a:lnTo>
                      <a:pt x="602" y="119"/>
                    </a:lnTo>
                    <a:lnTo>
                      <a:pt x="604" y="119"/>
                    </a:lnTo>
                    <a:lnTo>
                      <a:pt x="606" y="119"/>
                    </a:lnTo>
                    <a:lnTo>
                      <a:pt x="604" y="119"/>
                    </a:lnTo>
                    <a:lnTo>
                      <a:pt x="604" y="117"/>
                    </a:lnTo>
                    <a:lnTo>
                      <a:pt x="604" y="119"/>
                    </a:lnTo>
                    <a:lnTo>
                      <a:pt x="602" y="119"/>
                    </a:lnTo>
                    <a:lnTo>
                      <a:pt x="600" y="119"/>
                    </a:lnTo>
                    <a:lnTo>
                      <a:pt x="598" y="119"/>
                    </a:lnTo>
                    <a:lnTo>
                      <a:pt x="596" y="119"/>
                    </a:lnTo>
                    <a:lnTo>
                      <a:pt x="594" y="119"/>
                    </a:lnTo>
                    <a:lnTo>
                      <a:pt x="592" y="119"/>
                    </a:lnTo>
                    <a:lnTo>
                      <a:pt x="594" y="119"/>
                    </a:lnTo>
                    <a:lnTo>
                      <a:pt x="592" y="119"/>
                    </a:lnTo>
                    <a:lnTo>
                      <a:pt x="590" y="119"/>
                    </a:lnTo>
                    <a:lnTo>
                      <a:pt x="588" y="119"/>
                    </a:lnTo>
                    <a:lnTo>
                      <a:pt x="590" y="119"/>
                    </a:lnTo>
                    <a:lnTo>
                      <a:pt x="588" y="119"/>
                    </a:lnTo>
                    <a:lnTo>
                      <a:pt x="586" y="119"/>
                    </a:lnTo>
                    <a:lnTo>
                      <a:pt x="588" y="119"/>
                    </a:lnTo>
                    <a:lnTo>
                      <a:pt x="586" y="119"/>
                    </a:lnTo>
                    <a:lnTo>
                      <a:pt x="584" y="119"/>
                    </a:lnTo>
                    <a:lnTo>
                      <a:pt x="584" y="117"/>
                    </a:lnTo>
                    <a:lnTo>
                      <a:pt x="586" y="117"/>
                    </a:lnTo>
                    <a:lnTo>
                      <a:pt x="584" y="117"/>
                    </a:lnTo>
                    <a:lnTo>
                      <a:pt x="584" y="119"/>
                    </a:lnTo>
                    <a:lnTo>
                      <a:pt x="586" y="119"/>
                    </a:lnTo>
                    <a:lnTo>
                      <a:pt x="586" y="117"/>
                    </a:lnTo>
                    <a:lnTo>
                      <a:pt x="588" y="117"/>
                    </a:lnTo>
                    <a:lnTo>
                      <a:pt x="590" y="117"/>
                    </a:lnTo>
                    <a:lnTo>
                      <a:pt x="588" y="117"/>
                    </a:lnTo>
                    <a:lnTo>
                      <a:pt x="590" y="117"/>
                    </a:lnTo>
                    <a:lnTo>
                      <a:pt x="592" y="117"/>
                    </a:lnTo>
                    <a:lnTo>
                      <a:pt x="590" y="117"/>
                    </a:lnTo>
                    <a:lnTo>
                      <a:pt x="592" y="117"/>
                    </a:lnTo>
                    <a:lnTo>
                      <a:pt x="594" y="117"/>
                    </a:lnTo>
                    <a:lnTo>
                      <a:pt x="596" y="117"/>
                    </a:lnTo>
                    <a:lnTo>
                      <a:pt x="594" y="117"/>
                    </a:lnTo>
                    <a:lnTo>
                      <a:pt x="596" y="117"/>
                    </a:lnTo>
                    <a:lnTo>
                      <a:pt x="598" y="117"/>
                    </a:lnTo>
                    <a:lnTo>
                      <a:pt x="596" y="117"/>
                    </a:lnTo>
                    <a:lnTo>
                      <a:pt x="598" y="117"/>
                    </a:lnTo>
                    <a:lnTo>
                      <a:pt x="596" y="117"/>
                    </a:lnTo>
                    <a:lnTo>
                      <a:pt x="596" y="115"/>
                    </a:lnTo>
                    <a:lnTo>
                      <a:pt x="598" y="115"/>
                    </a:lnTo>
                    <a:lnTo>
                      <a:pt x="598" y="117"/>
                    </a:lnTo>
                    <a:lnTo>
                      <a:pt x="600" y="117"/>
                    </a:lnTo>
                    <a:lnTo>
                      <a:pt x="600" y="115"/>
                    </a:lnTo>
                    <a:lnTo>
                      <a:pt x="600" y="117"/>
                    </a:lnTo>
                    <a:lnTo>
                      <a:pt x="600" y="115"/>
                    </a:lnTo>
                    <a:lnTo>
                      <a:pt x="598" y="115"/>
                    </a:lnTo>
                    <a:lnTo>
                      <a:pt x="600" y="115"/>
                    </a:lnTo>
                    <a:lnTo>
                      <a:pt x="602" y="115"/>
                    </a:lnTo>
                    <a:lnTo>
                      <a:pt x="600" y="115"/>
                    </a:lnTo>
                    <a:lnTo>
                      <a:pt x="602" y="115"/>
                    </a:lnTo>
                    <a:lnTo>
                      <a:pt x="600" y="115"/>
                    </a:lnTo>
                    <a:lnTo>
                      <a:pt x="602" y="115"/>
                    </a:lnTo>
                    <a:lnTo>
                      <a:pt x="604" y="115"/>
                    </a:lnTo>
                    <a:lnTo>
                      <a:pt x="602" y="115"/>
                    </a:lnTo>
                    <a:close/>
                    <a:moveTo>
                      <a:pt x="10" y="36"/>
                    </a:moveTo>
                    <a:lnTo>
                      <a:pt x="10" y="38"/>
                    </a:lnTo>
                    <a:lnTo>
                      <a:pt x="12" y="38"/>
                    </a:lnTo>
                    <a:lnTo>
                      <a:pt x="14" y="38"/>
                    </a:lnTo>
                    <a:lnTo>
                      <a:pt x="12" y="38"/>
                    </a:lnTo>
                    <a:lnTo>
                      <a:pt x="10" y="38"/>
                    </a:lnTo>
                    <a:lnTo>
                      <a:pt x="10" y="36"/>
                    </a:lnTo>
                    <a:lnTo>
                      <a:pt x="8" y="36"/>
                    </a:lnTo>
                    <a:lnTo>
                      <a:pt x="8" y="38"/>
                    </a:lnTo>
                    <a:lnTo>
                      <a:pt x="10" y="38"/>
                    </a:lnTo>
                    <a:lnTo>
                      <a:pt x="8" y="38"/>
                    </a:lnTo>
                    <a:lnTo>
                      <a:pt x="10" y="38"/>
                    </a:lnTo>
                    <a:lnTo>
                      <a:pt x="12" y="38"/>
                    </a:lnTo>
                    <a:lnTo>
                      <a:pt x="12" y="40"/>
                    </a:lnTo>
                    <a:lnTo>
                      <a:pt x="14" y="40"/>
                    </a:lnTo>
                    <a:lnTo>
                      <a:pt x="14" y="38"/>
                    </a:lnTo>
                    <a:lnTo>
                      <a:pt x="12" y="38"/>
                    </a:lnTo>
                    <a:lnTo>
                      <a:pt x="14" y="38"/>
                    </a:lnTo>
                    <a:lnTo>
                      <a:pt x="16" y="38"/>
                    </a:lnTo>
                    <a:lnTo>
                      <a:pt x="18" y="38"/>
                    </a:lnTo>
                    <a:lnTo>
                      <a:pt x="18" y="40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2" y="42"/>
                    </a:lnTo>
                    <a:lnTo>
                      <a:pt x="23" y="42"/>
                    </a:lnTo>
                    <a:lnTo>
                      <a:pt x="25" y="44"/>
                    </a:lnTo>
                    <a:lnTo>
                      <a:pt x="27" y="44"/>
                    </a:lnTo>
                    <a:lnTo>
                      <a:pt x="29" y="46"/>
                    </a:lnTo>
                    <a:lnTo>
                      <a:pt x="31" y="46"/>
                    </a:lnTo>
                    <a:lnTo>
                      <a:pt x="33" y="46"/>
                    </a:lnTo>
                    <a:lnTo>
                      <a:pt x="33" y="48"/>
                    </a:lnTo>
                    <a:lnTo>
                      <a:pt x="31" y="48"/>
                    </a:lnTo>
                    <a:lnTo>
                      <a:pt x="25" y="46"/>
                    </a:lnTo>
                    <a:lnTo>
                      <a:pt x="22" y="46"/>
                    </a:lnTo>
                    <a:lnTo>
                      <a:pt x="20" y="46"/>
                    </a:lnTo>
                    <a:lnTo>
                      <a:pt x="18" y="44"/>
                    </a:lnTo>
                    <a:lnTo>
                      <a:pt x="16" y="42"/>
                    </a:lnTo>
                    <a:lnTo>
                      <a:pt x="18" y="42"/>
                    </a:lnTo>
                    <a:lnTo>
                      <a:pt x="16" y="42"/>
                    </a:lnTo>
                    <a:lnTo>
                      <a:pt x="14" y="42"/>
                    </a:lnTo>
                    <a:lnTo>
                      <a:pt x="16" y="42"/>
                    </a:lnTo>
                    <a:lnTo>
                      <a:pt x="12" y="42"/>
                    </a:lnTo>
                    <a:lnTo>
                      <a:pt x="12" y="40"/>
                    </a:lnTo>
                    <a:lnTo>
                      <a:pt x="10" y="40"/>
                    </a:lnTo>
                    <a:lnTo>
                      <a:pt x="8" y="38"/>
                    </a:lnTo>
                    <a:lnTo>
                      <a:pt x="6" y="36"/>
                    </a:lnTo>
                    <a:lnTo>
                      <a:pt x="8" y="36"/>
                    </a:lnTo>
                    <a:lnTo>
                      <a:pt x="10" y="36"/>
                    </a:lnTo>
                    <a:close/>
                    <a:moveTo>
                      <a:pt x="304" y="53"/>
                    </a:moveTo>
                    <a:lnTo>
                      <a:pt x="308" y="53"/>
                    </a:lnTo>
                    <a:lnTo>
                      <a:pt x="308" y="55"/>
                    </a:lnTo>
                    <a:lnTo>
                      <a:pt x="310" y="55"/>
                    </a:lnTo>
                    <a:lnTo>
                      <a:pt x="312" y="55"/>
                    </a:lnTo>
                    <a:lnTo>
                      <a:pt x="314" y="55"/>
                    </a:lnTo>
                    <a:lnTo>
                      <a:pt x="315" y="55"/>
                    </a:lnTo>
                    <a:lnTo>
                      <a:pt x="314" y="55"/>
                    </a:lnTo>
                    <a:lnTo>
                      <a:pt x="315" y="55"/>
                    </a:lnTo>
                    <a:lnTo>
                      <a:pt x="317" y="55"/>
                    </a:lnTo>
                    <a:lnTo>
                      <a:pt x="315" y="55"/>
                    </a:lnTo>
                    <a:lnTo>
                      <a:pt x="317" y="55"/>
                    </a:lnTo>
                    <a:lnTo>
                      <a:pt x="319" y="55"/>
                    </a:lnTo>
                    <a:lnTo>
                      <a:pt x="321" y="55"/>
                    </a:lnTo>
                    <a:lnTo>
                      <a:pt x="323" y="55"/>
                    </a:lnTo>
                    <a:lnTo>
                      <a:pt x="325" y="55"/>
                    </a:lnTo>
                    <a:lnTo>
                      <a:pt x="325" y="57"/>
                    </a:lnTo>
                    <a:lnTo>
                      <a:pt x="329" y="57"/>
                    </a:lnTo>
                    <a:lnTo>
                      <a:pt x="331" y="57"/>
                    </a:lnTo>
                    <a:lnTo>
                      <a:pt x="333" y="57"/>
                    </a:lnTo>
                    <a:lnTo>
                      <a:pt x="333" y="59"/>
                    </a:lnTo>
                    <a:lnTo>
                      <a:pt x="335" y="59"/>
                    </a:lnTo>
                    <a:lnTo>
                      <a:pt x="337" y="59"/>
                    </a:lnTo>
                    <a:lnTo>
                      <a:pt x="339" y="59"/>
                    </a:lnTo>
                    <a:lnTo>
                      <a:pt x="339" y="61"/>
                    </a:lnTo>
                    <a:lnTo>
                      <a:pt x="337" y="61"/>
                    </a:lnTo>
                    <a:lnTo>
                      <a:pt x="337" y="63"/>
                    </a:lnTo>
                    <a:lnTo>
                      <a:pt x="335" y="63"/>
                    </a:lnTo>
                    <a:lnTo>
                      <a:pt x="333" y="63"/>
                    </a:lnTo>
                    <a:lnTo>
                      <a:pt x="333" y="65"/>
                    </a:lnTo>
                    <a:lnTo>
                      <a:pt x="331" y="65"/>
                    </a:lnTo>
                    <a:lnTo>
                      <a:pt x="333" y="65"/>
                    </a:lnTo>
                    <a:lnTo>
                      <a:pt x="331" y="65"/>
                    </a:lnTo>
                    <a:lnTo>
                      <a:pt x="329" y="65"/>
                    </a:lnTo>
                    <a:lnTo>
                      <a:pt x="329" y="67"/>
                    </a:lnTo>
                    <a:lnTo>
                      <a:pt x="327" y="67"/>
                    </a:lnTo>
                    <a:lnTo>
                      <a:pt x="325" y="67"/>
                    </a:lnTo>
                    <a:lnTo>
                      <a:pt x="325" y="69"/>
                    </a:lnTo>
                    <a:lnTo>
                      <a:pt x="323" y="69"/>
                    </a:lnTo>
                    <a:lnTo>
                      <a:pt x="319" y="69"/>
                    </a:lnTo>
                    <a:lnTo>
                      <a:pt x="317" y="69"/>
                    </a:lnTo>
                    <a:lnTo>
                      <a:pt x="315" y="69"/>
                    </a:lnTo>
                    <a:lnTo>
                      <a:pt x="314" y="69"/>
                    </a:lnTo>
                    <a:lnTo>
                      <a:pt x="310" y="69"/>
                    </a:lnTo>
                    <a:lnTo>
                      <a:pt x="308" y="69"/>
                    </a:lnTo>
                    <a:lnTo>
                      <a:pt x="310" y="69"/>
                    </a:lnTo>
                    <a:lnTo>
                      <a:pt x="308" y="69"/>
                    </a:lnTo>
                    <a:lnTo>
                      <a:pt x="306" y="69"/>
                    </a:lnTo>
                    <a:lnTo>
                      <a:pt x="304" y="69"/>
                    </a:lnTo>
                    <a:lnTo>
                      <a:pt x="306" y="69"/>
                    </a:lnTo>
                    <a:lnTo>
                      <a:pt x="304" y="69"/>
                    </a:lnTo>
                    <a:lnTo>
                      <a:pt x="306" y="69"/>
                    </a:lnTo>
                    <a:lnTo>
                      <a:pt x="304" y="69"/>
                    </a:lnTo>
                    <a:lnTo>
                      <a:pt x="304" y="67"/>
                    </a:lnTo>
                    <a:lnTo>
                      <a:pt x="306" y="67"/>
                    </a:lnTo>
                    <a:lnTo>
                      <a:pt x="304" y="67"/>
                    </a:lnTo>
                    <a:lnTo>
                      <a:pt x="306" y="67"/>
                    </a:lnTo>
                    <a:lnTo>
                      <a:pt x="308" y="67"/>
                    </a:lnTo>
                    <a:lnTo>
                      <a:pt x="306" y="67"/>
                    </a:lnTo>
                    <a:lnTo>
                      <a:pt x="306" y="65"/>
                    </a:lnTo>
                    <a:lnTo>
                      <a:pt x="306" y="67"/>
                    </a:lnTo>
                    <a:lnTo>
                      <a:pt x="308" y="67"/>
                    </a:lnTo>
                    <a:lnTo>
                      <a:pt x="306" y="67"/>
                    </a:lnTo>
                    <a:lnTo>
                      <a:pt x="308" y="65"/>
                    </a:lnTo>
                    <a:lnTo>
                      <a:pt x="308" y="67"/>
                    </a:lnTo>
                    <a:lnTo>
                      <a:pt x="310" y="67"/>
                    </a:lnTo>
                    <a:lnTo>
                      <a:pt x="312" y="67"/>
                    </a:lnTo>
                    <a:lnTo>
                      <a:pt x="312" y="65"/>
                    </a:lnTo>
                    <a:lnTo>
                      <a:pt x="310" y="65"/>
                    </a:lnTo>
                    <a:lnTo>
                      <a:pt x="312" y="65"/>
                    </a:lnTo>
                    <a:lnTo>
                      <a:pt x="310" y="65"/>
                    </a:lnTo>
                    <a:lnTo>
                      <a:pt x="308" y="65"/>
                    </a:lnTo>
                    <a:lnTo>
                      <a:pt x="308" y="63"/>
                    </a:lnTo>
                    <a:lnTo>
                      <a:pt x="306" y="63"/>
                    </a:lnTo>
                    <a:lnTo>
                      <a:pt x="304" y="63"/>
                    </a:lnTo>
                    <a:lnTo>
                      <a:pt x="302" y="63"/>
                    </a:lnTo>
                    <a:lnTo>
                      <a:pt x="300" y="63"/>
                    </a:lnTo>
                    <a:lnTo>
                      <a:pt x="298" y="63"/>
                    </a:lnTo>
                    <a:lnTo>
                      <a:pt x="296" y="63"/>
                    </a:lnTo>
                    <a:lnTo>
                      <a:pt x="294" y="63"/>
                    </a:lnTo>
                    <a:lnTo>
                      <a:pt x="292" y="63"/>
                    </a:lnTo>
                    <a:lnTo>
                      <a:pt x="290" y="63"/>
                    </a:lnTo>
                    <a:lnTo>
                      <a:pt x="290" y="61"/>
                    </a:lnTo>
                    <a:lnTo>
                      <a:pt x="289" y="61"/>
                    </a:lnTo>
                    <a:lnTo>
                      <a:pt x="289" y="59"/>
                    </a:lnTo>
                    <a:lnTo>
                      <a:pt x="290" y="59"/>
                    </a:lnTo>
                    <a:lnTo>
                      <a:pt x="292" y="59"/>
                    </a:lnTo>
                    <a:lnTo>
                      <a:pt x="290" y="57"/>
                    </a:lnTo>
                    <a:lnTo>
                      <a:pt x="289" y="57"/>
                    </a:lnTo>
                    <a:lnTo>
                      <a:pt x="290" y="57"/>
                    </a:lnTo>
                    <a:lnTo>
                      <a:pt x="290" y="55"/>
                    </a:lnTo>
                    <a:lnTo>
                      <a:pt x="292" y="55"/>
                    </a:lnTo>
                    <a:lnTo>
                      <a:pt x="290" y="55"/>
                    </a:lnTo>
                    <a:lnTo>
                      <a:pt x="289" y="53"/>
                    </a:lnTo>
                    <a:lnTo>
                      <a:pt x="290" y="53"/>
                    </a:lnTo>
                    <a:lnTo>
                      <a:pt x="289" y="53"/>
                    </a:lnTo>
                    <a:lnTo>
                      <a:pt x="287" y="53"/>
                    </a:lnTo>
                    <a:lnTo>
                      <a:pt x="285" y="53"/>
                    </a:lnTo>
                    <a:lnTo>
                      <a:pt x="287" y="53"/>
                    </a:lnTo>
                    <a:lnTo>
                      <a:pt x="289" y="53"/>
                    </a:lnTo>
                    <a:lnTo>
                      <a:pt x="290" y="53"/>
                    </a:lnTo>
                    <a:lnTo>
                      <a:pt x="292" y="53"/>
                    </a:lnTo>
                    <a:lnTo>
                      <a:pt x="294" y="53"/>
                    </a:lnTo>
                    <a:lnTo>
                      <a:pt x="296" y="53"/>
                    </a:lnTo>
                    <a:lnTo>
                      <a:pt x="300" y="53"/>
                    </a:lnTo>
                    <a:lnTo>
                      <a:pt x="304" y="53"/>
                    </a:lnTo>
                    <a:close/>
                    <a:moveTo>
                      <a:pt x="89" y="2"/>
                    </a:moveTo>
                    <a:lnTo>
                      <a:pt x="91" y="3"/>
                    </a:lnTo>
                    <a:lnTo>
                      <a:pt x="93" y="3"/>
                    </a:lnTo>
                    <a:lnTo>
                      <a:pt x="95" y="3"/>
                    </a:lnTo>
                    <a:lnTo>
                      <a:pt x="93" y="5"/>
                    </a:lnTo>
                    <a:lnTo>
                      <a:pt x="91" y="5"/>
                    </a:lnTo>
                    <a:lnTo>
                      <a:pt x="89" y="5"/>
                    </a:lnTo>
                    <a:lnTo>
                      <a:pt x="87" y="5"/>
                    </a:lnTo>
                    <a:lnTo>
                      <a:pt x="85" y="5"/>
                    </a:lnTo>
                    <a:lnTo>
                      <a:pt x="83" y="5"/>
                    </a:lnTo>
                    <a:lnTo>
                      <a:pt x="81" y="5"/>
                    </a:lnTo>
                    <a:lnTo>
                      <a:pt x="79" y="5"/>
                    </a:lnTo>
                    <a:lnTo>
                      <a:pt x="77" y="5"/>
                    </a:lnTo>
                    <a:lnTo>
                      <a:pt x="75" y="5"/>
                    </a:lnTo>
                    <a:lnTo>
                      <a:pt x="73" y="5"/>
                    </a:lnTo>
                    <a:lnTo>
                      <a:pt x="71" y="3"/>
                    </a:lnTo>
                    <a:lnTo>
                      <a:pt x="70" y="3"/>
                    </a:lnTo>
                    <a:lnTo>
                      <a:pt x="70" y="2"/>
                    </a:lnTo>
                    <a:lnTo>
                      <a:pt x="71" y="0"/>
                    </a:lnTo>
                    <a:lnTo>
                      <a:pt x="73" y="0"/>
                    </a:lnTo>
                    <a:lnTo>
                      <a:pt x="75" y="0"/>
                    </a:lnTo>
                    <a:lnTo>
                      <a:pt x="77" y="0"/>
                    </a:lnTo>
                    <a:lnTo>
                      <a:pt x="79" y="0"/>
                    </a:lnTo>
                    <a:lnTo>
                      <a:pt x="81" y="0"/>
                    </a:lnTo>
                    <a:lnTo>
                      <a:pt x="83" y="0"/>
                    </a:lnTo>
                    <a:lnTo>
                      <a:pt x="87" y="2"/>
                    </a:lnTo>
                    <a:lnTo>
                      <a:pt x="89" y="2"/>
                    </a:lnTo>
                    <a:close/>
                    <a:moveTo>
                      <a:pt x="289" y="13"/>
                    </a:moveTo>
                    <a:lnTo>
                      <a:pt x="290" y="13"/>
                    </a:lnTo>
                    <a:lnTo>
                      <a:pt x="294" y="13"/>
                    </a:lnTo>
                    <a:lnTo>
                      <a:pt x="296" y="13"/>
                    </a:lnTo>
                    <a:lnTo>
                      <a:pt x="298" y="15"/>
                    </a:lnTo>
                    <a:lnTo>
                      <a:pt x="298" y="17"/>
                    </a:lnTo>
                    <a:lnTo>
                      <a:pt x="296" y="17"/>
                    </a:lnTo>
                    <a:lnTo>
                      <a:pt x="294" y="19"/>
                    </a:lnTo>
                    <a:lnTo>
                      <a:pt x="292" y="19"/>
                    </a:lnTo>
                    <a:lnTo>
                      <a:pt x="290" y="19"/>
                    </a:lnTo>
                    <a:lnTo>
                      <a:pt x="287" y="19"/>
                    </a:lnTo>
                    <a:lnTo>
                      <a:pt x="283" y="19"/>
                    </a:lnTo>
                    <a:lnTo>
                      <a:pt x="281" y="19"/>
                    </a:lnTo>
                    <a:lnTo>
                      <a:pt x="279" y="17"/>
                    </a:lnTo>
                    <a:lnTo>
                      <a:pt x="277" y="17"/>
                    </a:lnTo>
                    <a:lnTo>
                      <a:pt x="273" y="17"/>
                    </a:lnTo>
                    <a:lnTo>
                      <a:pt x="271" y="17"/>
                    </a:lnTo>
                    <a:lnTo>
                      <a:pt x="271" y="15"/>
                    </a:lnTo>
                    <a:lnTo>
                      <a:pt x="271" y="13"/>
                    </a:lnTo>
                    <a:lnTo>
                      <a:pt x="273" y="13"/>
                    </a:lnTo>
                    <a:lnTo>
                      <a:pt x="275" y="13"/>
                    </a:lnTo>
                    <a:lnTo>
                      <a:pt x="277" y="13"/>
                    </a:lnTo>
                    <a:lnTo>
                      <a:pt x="279" y="13"/>
                    </a:lnTo>
                    <a:lnTo>
                      <a:pt x="281" y="13"/>
                    </a:lnTo>
                    <a:lnTo>
                      <a:pt x="287" y="13"/>
                    </a:lnTo>
                    <a:lnTo>
                      <a:pt x="289" y="1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52">
                <a:extLst>
                  <a:ext uri="{FF2B5EF4-FFF2-40B4-BE49-F238E27FC236}">
                    <a16:creationId xmlns="" xmlns:a16="http://schemas.microsoft.com/office/drawing/2014/main" id="{2CA30AD1-B0C1-43D6-944B-0F4395AC85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48150" y="2028826"/>
                <a:ext cx="1247775" cy="2738438"/>
              </a:xfrm>
              <a:custGeom>
                <a:avLst/>
                <a:gdLst>
                  <a:gd name="T0" fmla="*/ 83 w 786"/>
                  <a:gd name="T1" fmla="*/ 496 h 1725"/>
                  <a:gd name="T2" fmla="*/ 91 w 786"/>
                  <a:gd name="T3" fmla="*/ 496 h 1725"/>
                  <a:gd name="T4" fmla="*/ 85 w 786"/>
                  <a:gd name="T5" fmla="*/ 481 h 1725"/>
                  <a:gd name="T6" fmla="*/ 19 w 786"/>
                  <a:gd name="T7" fmla="*/ 387 h 1725"/>
                  <a:gd name="T8" fmla="*/ 580 w 786"/>
                  <a:gd name="T9" fmla="*/ 135 h 1725"/>
                  <a:gd name="T10" fmla="*/ 582 w 786"/>
                  <a:gd name="T11" fmla="*/ 158 h 1725"/>
                  <a:gd name="T12" fmla="*/ 642 w 786"/>
                  <a:gd name="T13" fmla="*/ 171 h 1725"/>
                  <a:gd name="T14" fmla="*/ 726 w 786"/>
                  <a:gd name="T15" fmla="*/ 167 h 1725"/>
                  <a:gd name="T16" fmla="*/ 744 w 786"/>
                  <a:gd name="T17" fmla="*/ 196 h 1725"/>
                  <a:gd name="T18" fmla="*/ 701 w 786"/>
                  <a:gd name="T19" fmla="*/ 265 h 1725"/>
                  <a:gd name="T20" fmla="*/ 678 w 786"/>
                  <a:gd name="T21" fmla="*/ 296 h 1725"/>
                  <a:gd name="T22" fmla="*/ 569 w 786"/>
                  <a:gd name="T23" fmla="*/ 331 h 1725"/>
                  <a:gd name="T24" fmla="*/ 607 w 786"/>
                  <a:gd name="T25" fmla="*/ 365 h 1725"/>
                  <a:gd name="T26" fmla="*/ 525 w 786"/>
                  <a:gd name="T27" fmla="*/ 427 h 1725"/>
                  <a:gd name="T28" fmla="*/ 390 w 786"/>
                  <a:gd name="T29" fmla="*/ 483 h 1725"/>
                  <a:gd name="T30" fmla="*/ 390 w 786"/>
                  <a:gd name="T31" fmla="*/ 529 h 1725"/>
                  <a:gd name="T32" fmla="*/ 396 w 786"/>
                  <a:gd name="T33" fmla="*/ 487 h 1725"/>
                  <a:gd name="T34" fmla="*/ 515 w 786"/>
                  <a:gd name="T35" fmla="*/ 433 h 1725"/>
                  <a:gd name="T36" fmla="*/ 582 w 786"/>
                  <a:gd name="T37" fmla="*/ 554 h 1725"/>
                  <a:gd name="T38" fmla="*/ 555 w 786"/>
                  <a:gd name="T39" fmla="*/ 439 h 1725"/>
                  <a:gd name="T40" fmla="*/ 669 w 786"/>
                  <a:gd name="T41" fmla="*/ 365 h 1725"/>
                  <a:gd name="T42" fmla="*/ 717 w 786"/>
                  <a:gd name="T43" fmla="*/ 308 h 1725"/>
                  <a:gd name="T44" fmla="*/ 746 w 786"/>
                  <a:gd name="T45" fmla="*/ 462 h 1725"/>
                  <a:gd name="T46" fmla="*/ 680 w 786"/>
                  <a:gd name="T47" fmla="*/ 761 h 1725"/>
                  <a:gd name="T48" fmla="*/ 717 w 786"/>
                  <a:gd name="T49" fmla="*/ 885 h 1725"/>
                  <a:gd name="T50" fmla="*/ 663 w 786"/>
                  <a:gd name="T51" fmla="*/ 1090 h 1725"/>
                  <a:gd name="T52" fmla="*/ 657 w 786"/>
                  <a:gd name="T53" fmla="*/ 1234 h 1725"/>
                  <a:gd name="T54" fmla="*/ 546 w 786"/>
                  <a:gd name="T55" fmla="*/ 1306 h 1725"/>
                  <a:gd name="T56" fmla="*/ 434 w 786"/>
                  <a:gd name="T57" fmla="*/ 1536 h 1725"/>
                  <a:gd name="T58" fmla="*/ 340 w 786"/>
                  <a:gd name="T59" fmla="*/ 1675 h 1725"/>
                  <a:gd name="T60" fmla="*/ 263 w 786"/>
                  <a:gd name="T61" fmla="*/ 1565 h 1725"/>
                  <a:gd name="T62" fmla="*/ 187 w 786"/>
                  <a:gd name="T63" fmla="*/ 1329 h 1725"/>
                  <a:gd name="T64" fmla="*/ 81 w 786"/>
                  <a:gd name="T65" fmla="*/ 1004 h 1725"/>
                  <a:gd name="T66" fmla="*/ 135 w 786"/>
                  <a:gd name="T67" fmla="*/ 848 h 1725"/>
                  <a:gd name="T68" fmla="*/ 64 w 786"/>
                  <a:gd name="T69" fmla="*/ 663 h 1725"/>
                  <a:gd name="T70" fmla="*/ 0 w 786"/>
                  <a:gd name="T71" fmla="*/ 512 h 1725"/>
                  <a:gd name="T72" fmla="*/ 91 w 786"/>
                  <a:gd name="T73" fmla="*/ 523 h 1725"/>
                  <a:gd name="T74" fmla="*/ 110 w 786"/>
                  <a:gd name="T75" fmla="*/ 596 h 1725"/>
                  <a:gd name="T76" fmla="*/ 181 w 786"/>
                  <a:gd name="T77" fmla="*/ 642 h 1725"/>
                  <a:gd name="T78" fmla="*/ 100 w 786"/>
                  <a:gd name="T79" fmla="*/ 508 h 1725"/>
                  <a:gd name="T80" fmla="*/ 81 w 786"/>
                  <a:gd name="T81" fmla="*/ 383 h 1725"/>
                  <a:gd name="T82" fmla="*/ 117 w 786"/>
                  <a:gd name="T83" fmla="*/ 319 h 1725"/>
                  <a:gd name="T84" fmla="*/ 167 w 786"/>
                  <a:gd name="T85" fmla="*/ 398 h 1725"/>
                  <a:gd name="T86" fmla="*/ 244 w 786"/>
                  <a:gd name="T87" fmla="*/ 373 h 1725"/>
                  <a:gd name="T88" fmla="*/ 283 w 786"/>
                  <a:gd name="T89" fmla="*/ 406 h 1725"/>
                  <a:gd name="T90" fmla="*/ 300 w 786"/>
                  <a:gd name="T91" fmla="*/ 331 h 1725"/>
                  <a:gd name="T92" fmla="*/ 227 w 786"/>
                  <a:gd name="T93" fmla="*/ 333 h 1725"/>
                  <a:gd name="T94" fmla="*/ 206 w 786"/>
                  <a:gd name="T95" fmla="*/ 285 h 1725"/>
                  <a:gd name="T96" fmla="*/ 246 w 786"/>
                  <a:gd name="T97" fmla="*/ 248 h 1725"/>
                  <a:gd name="T98" fmla="*/ 350 w 786"/>
                  <a:gd name="T99" fmla="*/ 221 h 1725"/>
                  <a:gd name="T100" fmla="*/ 421 w 786"/>
                  <a:gd name="T101" fmla="*/ 217 h 1725"/>
                  <a:gd name="T102" fmla="*/ 425 w 786"/>
                  <a:gd name="T103" fmla="*/ 248 h 1725"/>
                  <a:gd name="T104" fmla="*/ 456 w 786"/>
                  <a:gd name="T105" fmla="*/ 308 h 1725"/>
                  <a:gd name="T106" fmla="*/ 542 w 786"/>
                  <a:gd name="T107" fmla="*/ 285 h 1725"/>
                  <a:gd name="T108" fmla="*/ 628 w 786"/>
                  <a:gd name="T109" fmla="*/ 269 h 1725"/>
                  <a:gd name="T110" fmla="*/ 598 w 786"/>
                  <a:gd name="T111" fmla="*/ 237 h 1725"/>
                  <a:gd name="T112" fmla="*/ 494 w 786"/>
                  <a:gd name="T113" fmla="*/ 267 h 1725"/>
                  <a:gd name="T114" fmla="*/ 550 w 786"/>
                  <a:gd name="T115" fmla="*/ 192 h 1725"/>
                  <a:gd name="T116" fmla="*/ 540 w 786"/>
                  <a:gd name="T117" fmla="*/ 139 h 1725"/>
                  <a:gd name="T118" fmla="*/ 459 w 786"/>
                  <a:gd name="T119" fmla="*/ 475 h 1725"/>
                  <a:gd name="T120" fmla="*/ 409 w 786"/>
                  <a:gd name="T121" fmla="*/ 85 h 1725"/>
                  <a:gd name="T122" fmla="*/ 396 w 786"/>
                  <a:gd name="T123" fmla="*/ 42 h 1725"/>
                  <a:gd name="T124" fmla="*/ 336 w 786"/>
                  <a:gd name="T125" fmla="*/ 39 h 17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86" h="1725">
                    <a:moveTo>
                      <a:pt x="429" y="550"/>
                    </a:moveTo>
                    <a:lnTo>
                      <a:pt x="429" y="548"/>
                    </a:lnTo>
                    <a:lnTo>
                      <a:pt x="429" y="550"/>
                    </a:lnTo>
                    <a:close/>
                    <a:moveTo>
                      <a:pt x="158" y="542"/>
                    </a:moveTo>
                    <a:lnTo>
                      <a:pt x="158" y="544"/>
                    </a:lnTo>
                    <a:lnTo>
                      <a:pt x="158" y="542"/>
                    </a:lnTo>
                    <a:lnTo>
                      <a:pt x="158" y="544"/>
                    </a:lnTo>
                    <a:lnTo>
                      <a:pt x="160" y="544"/>
                    </a:lnTo>
                    <a:lnTo>
                      <a:pt x="160" y="546"/>
                    </a:lnTo>
                    <a:lnTo>
                      <a:pt x="158" y="548"/>
                    </a:lnTo>
                    <a:lnTo>
                      <a:pt x="158" y="546"/>
                    </a:lnTo>
                    <a:lnTo>
                      <a:pt x="156" y="546"/>
                    </a:lnTo>
                    <a:lnTo>
                      <a:pt x="154" y="544"/>
                    </a:lnTo>
                    <a:lnTo>
                      <a:pt x="152" y="544"/>
                    </a:lnTo>
                    <a:lnTo>
                      <a:pt x="152" y="540"/>
                    </a:lnTo>
                    <a:lnTo>
                      <a:pt x="152" y="538"/>
                    </a:lnTo>
                    <a:lnTo>
                      <a:pt x="150" y="538"/>
                    </a:lnTo>
                    <a:lnTo>
                      <a:pt x="152" y="538"/>
                    </a:lnTo>
                    <a:lnTo>
                      <a:pt x="154" y="538"/>
                    </a:lnTo>
                    <a:lnTo>
                      <a:pt x="154" y="540"/>
                    </a:lnTo>
                    <a:lnTo>
                      <a:pt x="156" y="540"/>
                    </a:lnTo>
                    <a:lnTo>
                      <a:pt x="158" y="542"/>
                    </a:lnTo>
                    <a:close/>
                    <a:moveTo>
                      <a:pt x="114" y="535"/>
                    </a:moveTo>
                    <a:lnTo>
                      <a:pt x="116" y="535"/>
                    </a:lnTo>
                    <a:lnTo>
                      <a:pt x="116" y="537"/>
                    </a:lnTo>
                    <a:lnTo>
                      <a:pt x="116" y="535"/>
                    </a:lnTo>
                    <a:lnTo>
                      <a:pt x="114" y="535"/>
                    </a:lnTo>
                    <a:lnTo>
                      <a:pt x="114" y="533"/>
                    </a:lnTo>
                    <a:lnTo>
                      <a:pt x="112" y="531"/>
                    </a:lnTo>
                    <a:lnTo>
                      <a:pt x="112" y="529"/>
                    </a:lnTo>
                    <a:lnTo>
                      <a:pt x="110" y="529"/>
                    </a:lnTo>
                    <a:lnTo>
                      <a:pt x="110" y="527"/>
                    </a:lnTo>
                    <a:lnTo>
                      <a:pt x="110" y="529"/>
                    </a:lnTo>
                    <a:lnTo>
                      <a:pt x="110" y="527"/>
                    </a:lnTo>
                    <a:lnTo>
                      <a:pt x="112" y="527"/>
                    </a:lnTo>
                    <a:lnTo>
                      <a:pt x="112" y="529"/>
                    </a:lnTo>
                    <a:lnTo>
                      <a:pt x="114" y="531"/>
                    </a:lnTo>
                    <a:lnTo>
                      <a:pt x="114" y="533"/>
                    </a:lnTo>
                    <a:lnTo>
                      <a:pt x="116" y="533"/>
                    </a:lnTo>
                    <a:lnTo>
                      <a:pt x="116" y="535"/>
                    </a:lnTo>
                    <a:lnTo>
                      <a:pt x="116" y="537"/>
                    </a:lnTo>
                    <a:lnTo>
                      <a:pt x="114" y="537"/>
                    </a:lnTo>
                    <a:lnTo>
                      <a:pt x="112" y="537"/>
                    </a:lnTo>
                    <a:lnTo>
                      <a:pt x="112" y="535"/>
                    </a:lnTo>
                    <a:lnTo>
                      <a:pt x="112" y="537"/>
                    </a:lnTo>
                    <a:lnTo>
                      <a:pt x="112" y="535"/>
                    </a:lnTo>
                    <a:lnTo>
                      <a:pt x="110" y="535"/>
                    </a:lnTo>
                    <a:lnTo>
                      <a:pt x="108" y="535"/>
                    </a:lnTo>
                    <a:lnTo>
                      <a:pt x="108" y="533"/>
                    </a:lnTo>
                    <a:lnTo>
                      <a:pt x="108" y="531"/>
                    </a:lnTo>
                    <a:lnTo>
                      <a:pt x="108" y="529"/>
                    </a:lnTo>
                    <a:lnTo>
                      <a:pt x="108" y="531"/>
                    </a:lnTo>
                    <a:lnTo>
                      <a:pt x="108" y="529"/>
                    </a:lnTo>
                    <a:lnTo>
                      <a:pt x="108" y="531"/>
                    </a:lnTo>
                    <a:lnTo>
                      <a:pt x="108" y="529"/>
                    </a:lnTo>
                    <a:lnTo>
                      <a:pt x="110" y="529"/>
                    </a:lnTo>
                    <a:lnTo>
                      <a:pt x="108" y="529"/>
                    </a:lnTo>
                    <a:lnTo>
                      <a:pt x="110" y="529"/>
                    </a:lnTo>
                    <a:lnTo>
                      <a:pt x="110" y="527"/>
                    </a:lnTo>
                    <a:lnTo>
                      <a:pt x="110" y="529"/>
                    </a:lnTo>
                    <a:lnTo>
                      <a:pt x="110" y="527"/>
                    </a:lnTo>
                    <a:lnTo>
                      <a:pt x="112" y="529"/>
                    </a:lnTo>
                    <a:lnTo>
                      <a:pt x="112" y="531"/>
                    </a:lnTo>
                    <a:lnTo>
                      <a:pt x="114" y="533"/>
                    </a:lnTo>
                    <a:lnTo>
                      <a:pt x="114" y="535"/>
                    </a:lnTo>
                    <a:close/>
                    <a:moveTo>
                      <a:pt x="87" y="519"/>
                    </a:moveTo>
                    <a:lnTo>
                      <a:pt x="89" y="519"/>
                    </a:lnTo>
                    <a:lnTo>
                      <a:pt x="87" y="519"/>
                    </a:lnTo>
                    <a:lnTo>
                      <a:pt x="87" y="517"/>
                    </a:lnTo>
                    <a:lnTo>
                      <a:pt x="85" y="517"/>
                    </a:lnTo>
                    <a:lnTo>
                      <a:pt x="85" y="515"/>
                    </a:lnTo>
                    <a:lnTo>
                      <a:pt x="85" y="517"/>
                    </a:lnTo>
                    <a:lnTo>
                      <a:pt x="87" y="517"/>
                    </a:lnTo>
                    <a:lnTo>
                      <a:pt x="89" y="517"/>
                    </a:lnTo>
                    <a:lnTo>
                      <a:pt x="91" y="517"/>
                    </a:lnTo>
                    <a:lnTo>
                      <a:pt x="91" y="519"/>
                    </a:lnTo>
                    <a:lnTo>
                      <a:pt x="92" y="521"/>
                    </a:lnTo>
                    <a:lnTo>
                      <a:pt x="94" y="521"/>
                    </a:lnTo>
                    <a:lnTo>
                      <a:pt x="94" y="523"/>
                    </a:lnTo>
                    <a:lnTo>
                      <a:pt x="94" y="521"/>
                    </a:lnTo>
                    <a:lnTo>
                      <a:pt x="92" y="521"/>
                    </a:lnTo>
                    <a:lnTo>
                      <a:pt x="92" y="523"/>
                    </a:lnTo>
                    <a:lnTo>
                      <a:pt x="92" y="521"/>
                    </a:lnTo>
                    <a:lnTo>
                      <a:pt x="94" y="521"/>
                    </a:lnTo>
                    <a:lnTo>
                      <a:pt x="94" y="523"/>
                    </a:lnTo>
                    <a:lnTo>
                      <a:pt x="94" y="521"/>
                    </a:lnTo>
                    <a:lnTo>
                      <a:pt x="92" y="521"/>
                    </a:lnTo>
                    <a:lnTo>
                      <a:pt x="92" y="519"/>
                    </a:lnTo>
                    <a:lnTo>
                      <a:pt x="91" y="517"/>
                    </a:lnTo>
                    <a:lnTo>
                      <a:pt x="91" y="519"/>
                    </a:lnTo>
                    <a:lnTo>
                      <a:pt x="92" y="519"/>
                    </a:lnTo>
                    <a:lnTo>
                      <a:pt x="94" y="519"/>
                    </a:lnTo>
                    <a:lnTo>
                      <a:pt x="92" y="519"/>
                    </a:lnTo>
                    <a:lnTo>
                      <a:pt x="94" y="519"/>
                    </a:lnTo>
                    <a:lnTo>
                      <a:pt x="96" y="519"/>
                    </a:lnTo>
                    <a:lnTo>
                      <a:pt x="96" y="521"/>
                    </a:lnTo>
                    <a:lnTo>
                      <a:pt x="98" y="521"/>
                    </a:lnTo>
                    <a:lnTo>
                      <a:pt x="100" y="523"/>
                    </a:lnTo>
                    <a:lnTo>
                      <a:pt x="102" y="523"/>
                    </a:lnTo>
                    <a:lnTo>
                      <a:pt x="102" y="525"/>
                    </a:lnTo>
                    <a:lnTo>
                      <a:pt x="102" y="527"/>
                    </a:lnTo>
                    <a:lnTo>
                      <a:pt x="100" y="527"/>
                    </a:lnTo>
                    <a:lnTo>
                      <a:pt x="98" y="527"/>
                    </a:lnTo>
                    <a:lnTo>
                      <a:pt x="98" y="525"/>
                    </a:lnTo>
                    <a:lnTo>
                      <a:pt x="96" y="525"/>
                    </a:lnTo>
                    <a:lnTo>
                      <a:pt x="94" y="525"/>
                    </a:lnTo>
                    <a:lnTo>
                      <a:pt x="94" y="523"/>
                    </a:lnTo>
                    <a:lnTo>
                      <a:pt x="96" y="525"/>
                    </a:lnTo>
                    <a:lnTo>
                      <a:pt x="94" y="525"/>
                    </a:lnTo>
                    <a:lnTo>
                      <a:pt x="92" y="525"/>
                    </a:lnTo>
                    <a:lnTo>
                      <a:pt x="92" y="523"/>
                    </a:lnTo>
                    <a:lnTo>
                      <a:pt x="92" y="525"/>
                    </a:lnTo>
                    <a:lnTo>
                      <a:pt x="91" y="525"/>
                    </a:lnTo>
                    <a:lnTo>
                      <a:pt x="91" y="523"/>
                    </a:lnTo>
                    <a:lnTo>
                      <a:pt x="89" y="523"/>
                    </a:lnTo>
                    <a:lnTo>
                      <a:pt x="89" y="521"/>
                    </a:lnTo>
                    <a:lnTo>
                      <a:pt x="87" y="521"/>
                    </a:lnTo>
                    <a:lnTo>
                      <a:pt x="85" y="519"/>
                    </a:lnTo>
                    <a:lnTo>
                      <a:pt x="83" y="519"/>
                    </a:lnTo>
                    <a:lnTo>
                      <a:pt x="81" y="519"/>
                    </a:lnTo>
                    <a:lnTo>
                      <a:pt x="81" y="517"/>
                    </a:lnTo>
                    <a:lnTo>
                      <a:pt x="81" y="515"/>
                    </a:lnTo>
                    <a:lnTo>
                      <a:pt x="81" y="513"/>
                    </a:lnTo>
                    <a:lnTo>
                      <a:pt x="81" y="515"/>
                    </a:lnTo>
                    <a:lnTo>
                      <a:pt x="81" y="513"/>
                    </a:lnTo>
                    <a:lnTo>
                      <a:pt x="81" y="512"/>
                    </a:lnTo>
                    <a:lnTo>
                      <a:pt x="81" y="510"/>
                    </a:lnTo>
                    <a:lnTo>
                      <a:pt x="81" y="508"/>
                    </a:lnTo>
                    <a:lnTo>
                      <a:pt x="83" y="508"/>
                    </a:lnTo>
                    <a:lnTo>
                      <a:pt x="85" y="508"/>
                    </a:lnTo>
                    <a:lnTo>
                      <a:pt x="83" y="508"/>
                    </a:lnTo>
                    <a:lnTo>
                      <a:pt x="81" y="510"/>
                    </a:lnTo>
                    <a:lnTo>
                      <a:pt x="81" y="512"/>
                    </a:lnTo>
                    <a:lnTo>
                      <a:pt x="83" y="512"/>
                    </a:lnTo>
                    <a:lnTo>
                      <a:pt x="83" y="513"/>
                    </a:lnTo>
                    <a:lnTo>
                      <a:pt x="83" y="515"/>
                    </a:lnTo>
                    <a:lnTo>
                      <a:pt x="85" y="515"/>
                    </a:lnTo>
                    <a:lnTo>
                      <a:pt x="85" y="517"/>
                    </a:lnTo>
                    <a:lnTo>
                      <a:pt x="87" y="517"/>
                    </a:lnTo>
                    <a:lnTo>
                      <a:pt x="87" y="519"/>
                    </a:lnTo>
                    <a:close/>
                    <a:moveTo>
                      <a:pt x="100" y="512"/>
                    </a:moveTo>
                    <a:lnTo>
                      <a:pt x="100" y="513"/>
                    </a:lnTo>
                    <a:lnTo>
                      <a:pt x="100" y="512"/>
                    </a:lnTo>
                    <a:lnTo>
                      <a:pt x="100" y="510"/>
                    </a:lnTo>
                    <a:lnTo>
                      <a:pt x="98" y="510"/>
                    </a:lnTo>
                    <a:lnTo>
                      <a:pt x="98" y="508"/>
                    </a:lnTo>
                    <a:lnTo>
                      <a:pt x="98" y="506"/>
                    </a:lnTo>
                    <a:lnTo>
                      <a:pt x="100" y="508"/>
                    </a:lnTo>
                    <a:lnTo>
                      <a:pt x="98" y="506"/>
                    </a:lnTo>
                    <a:lnTo>
                      <a:pt x="100" y="508"/>
                    </a:lnTo>
                    <a:lnTo>
                      <a:pt x="102" y="510"/>
                    </a:lnTo>
                    <a:lnTo>
                      <a:pt x="102" y="512"/>
                    </a:lnTo>
                    <a:lnTo>
                      <a:pt x="100" y="512"/>
                    </a:lnTo>
                    <a:lnTo>
                      <a:pt x="100" y="513"/>
                    </a:lnTo>
                    <a:lnTo>
                      <a:pt x="98" y="513"/>
                    </a:lnTo>
                    <a:lnTo>
                      <a:pt x="98" y="512"/>
                    </a:lnTo>
                    <a:lnTo>
                      <a:pt x="98" y="510"/>
                    </a:lnTo>
                    <a:lnTo>
                      <a:pt x="98" y="508"/>
                    </a:lnTo>
                    <a:lnTo>
                      <a:pt x="98" y="510"/>
                    </a:lnTo>
                    <a:lnTo>
                      <a:pt x="100" y="510"/>
                    </a:lnTo>
                    <a:lnTo>
                      <a:pt x="98" y="510"/>
                    </a:lnTo>
                    <a:lnTo>
                      <a:pt x="100" y="510"/>
                    </a:lnTo>
                    <a:lnTo>
                      <a:pt x="100" y="512"/>
                    </a:lnTo>
                    <a:close/>
                    <a:moveTo>
                      <a:pt x="85" y="498"/>
                    </a:moveTo>
                    <a:lnTo>
                      <a:pt x="87" y="500"/>
                    </a:lnTo>
                    <a:lnTo>
                      <a:pt x="87" y="502"/>
                    </a:lnTo>
                    <a:lnTo>
                      <a:pt x="89" y="504"/>
                    </a:lnTo>
                    <a:lnTo>
                      <a:pt x="91" y="504"/>
                    </a:lnTo>
                    <a:lnTo>
                      <a:pt x="91" y="506"/>
                    </a:lnTo>
                    <a:lnTo>
                      <a:pt x="89" y="506"/>
                    </a:lnTo>
                    <a:lnTo>
                      <a:pt x="89" y="508"/>
                    </a:lnTo>
                    <a:lnTo>
                      <a:pt x="89" y="506"/>
                    </a:lnTo>
                    <a:lnTo>
                      <a:pt x="89" y="504"/>
                    </a:lnTo>
                    <a:lnTo>
                      <a:pt x="87" y="504"/>
                    </a:lnTo>
                    <a:lnTo>
                      <a:pt x="89" y="504"/>
                    </a:lnTo>
                    <a:lnTo>
                      <a:pt x="89" y="506"/>
                    </a:lnTo>
                    <a:lnTo>
                      <a:pt x="89" y="508"/>
                    </a:lnTo>
                    <a:lnTo>
                      <a:pt x="87" y="506"/>
                    </a:lnTo>
                    <a:lnTo>
                      <a:pt x="85" y="506"/>
                    </a:lnTo>
                    <a:lnTo>
                      <a:pt x="87" y="506"/>
                    </a:lnTo>
                    <a:lnTo>
                      <a:pt x="87" y="504"/>
                    </a:lnTo>
                    <a:lnTo>
                      <a:pt x="89" y="504"/>
                    </a:lnTo>
                    <a:lnTo>
                      <a:pt x="87" y="504"/>
                    </a:lnTo>
                    <a:lnTo>
                      <a:pt x="89" y="504"/>
                    </a:lnTo>
                    <a:lnTo>
                      <a:pt x="87" y="504"/>
                    </a:lnTo>
                    <a:lnTo>
                      <a:pt x="87" y="502"/>
                    </a:lnTo>
                    <a:lnTo>
                      <a:pt x="85" y="500"/>
                    </a:lnTo>
                    <a:lnTo>
                      <a:pt x="85" y="498"/>
                    </a:lnTo>
                    <a:close/>
                    <a:moveTo>
                      <a:pt x="87" y="506"/>
                    </a:moveTo>
                    <a:lnTo>
                      <a:pt x="85" y="506"/>
                    </a:lnTo>
                    <a:lnTo>
                      <a:pt x="85" y="504"/>
                    </a:lnTo>
                    <a:lnTo>
                      <a:pt x="83" y="502"/>
                    </a:lnTo>
                    <a:lnTo>
                      <a:pt x="83" y="500"/>
                    </a:lnTo>
                    <a:lnTo>
                      <a:pt x="85" y="500"/>
                    </a:lnTo>
                    <a:lnTo>
                      <a:pt x="85" y="502"/>
                    </a:lnTo>
                    <a:lnTo>
                      <a:pt x="85" y="500"/>
                    </a:lnTo>
                    <a:lnTo>
                      <a:pt x="83" y="500"/>
                    </a:lnTo>
                    <a:lnTo>
                      <a:pt x="83" y="498"/>
                    </a:lnTo>
                    <a:lnTo>
                      <a:pt x="83" y="496"/>
                    </a:lnTo>
                    <a:lnTo>
                      <a:pt x="81" y="496"/>
                    </a:lnTo>
                    <a:lnTo>
                      <a:pt x="83" y="496"/>
                    </a:lnTo>
                    <a:lnTo>
                      <a:pt x="83" y="498"/>
                    </a:lnTo>
                    <a:lnTo>
                      <a:pt x="85" y="498"/>
                    </a:lnTo>
                    <a:lnTo>
                      <a:pt x="85" y="500"/>
                    </a:lnTo>
                    <a:lnTo>
                      <a:pt x="85" y="502"/>
                    </a:lnTo>
                    <a:lnTo>
                      <a:pt x="87" y="502"/>
                    </a:lnTo>
                    <a:lnTo>
                      <a:pt x="87" y="504"/>
                    </a:lnTo>
                    <a:lnTo>
                      <a:pt x="87" y="506"/>
                    </a:lnTo>
                    <a:close/>
                    <a:moveTo>
                      <a:pt x="77" y="496"/>
                    </a:moveTo>
                    <a:lnTo>
                      <a:pt x="77" y="498"/>
                    </a:lnTo>
                    <a:lnTo>
                      <a:pt x="75" y="498"/>
                    </a:lnTo>
                    <a:lnTo>
                      <a:pt x="77" y="498"/>
                    </a:lnTo>
                    <a:lnTo>
                      <a:pt x="77" y="496"/>
                    </a:lnTo>
                    <a:lnTo>
                      <a:pt x="77" y="494"/>
                    </a:lnTo>
                    <a:lnTo>
                      <a:pt x="77" y="496"/>
                    </a:lnTo>
                    <a:lnTo>
                      <a:pt x="79" y="496"/>
                    </a:lnTo>
                    <a:lnTo>
                      <a:pt x="79" y="494"/>
                    </a:lnTo>
                    <a:lnTo>
                      <a:pt x="79" y="496"/>
                    </a:lnTo>
                    <a:lnTo>
                      <a:pt x="79" y="498"/>
                    </a:lnTo>
                    <a:lnTo>
                      <a:pt x="79" y="496"/>
                    </a:lnTo>
                    <a:lnTo>
                      <a:pt x="79" y="494"/>
                    </a:lnTo>
                    <a:lnTo>
                      <a:pt x="81" y="494"/>
                    </a:lnTo>
                    <a:lnTo>
                      <a:pt x="81" y="496"/>
                    </a:lnTo>
                    <a:lnTo>
                      <a:pt x="81" y="498"/>
                    </a:lnTo>
                    <a:lnTo>
                      <a:pt x="81" y="500"/>
                    </a:lnTo>
                    <a:lnTo>
                      <a:pt x="81" y="498"/>
                    </a:lnTo>
                    <a:lnTo>
                      <a:pt x="79" y="498"/>
                    </a:lnTo>
                    <a:lnTo>
                      <a:pt x="81" y="500"/>
                    </a:lnTo>
                    <a:lnTo>
                      <a:pt x="79" y="500"/>
                    </a:lnTo>
                    <a:lnTo>
                      <a:pt x="77" y="500"/>
                    </a:lnTo>
                    <a:lnTo>
                      <a:pt x="75" y="500"/>
                    </a:lnTo>
                    <a:lnTo>
                      <a:pt x="75" y="498"/>
                    </a:lnTo>
                    <a:lnTo>
                      <a:pt x="75" y="496"/>
                    </a:lnTo>
                    <a:lnTo>
                      <a:pt x="75" y="494"/>
                    </a:lnTo>
                    <a:lnTo>
                      <a:pt x="77" y="494"/>
                    </a:lnTo>
                    <a:lnTo>
                      <a:pt x="79" y="494"/>
                    </a:lnTo>
                    <a:lnTo>
                      <a:pt x="79" y="496"/>
                    </a:lnTo>
                    <a:lnTo>
                      <a:pt x="77" y="496"/>
                    </a:lnTo>
                    <a:lnTo>
                      <a:pt x="77" y="494"/>
                    </a:lnTo>
                    <a:lnTo>
                      <a:pt x="77" y="496"/>
                    </a:lnTo>
                    <a:close/>
                    <a:moveTo>
                      <a:pt x="85" y="498"/>
                    </a:moveTo>
                    <a:lnTo>
                      <a:pt x="87" y="498"/>
                    </a:lnTo>
                    <a:lnTo>
                      <a:pt x="85" y="498"/>
                    </a:lnTo>
                    <a:lnTo>
                      <a:pt x="87" y="498"/>
                    </a:lnTo>
                    <a:lnTo>
                      <a:pt x="85" y="498"/>
                    </a:lnTo>
                    <a:lnTo>
                      <a:pt x="85" y="496"/>
                    </a:lnTo>
                    <a:lnTo>
                      <a:pt x="85" y="494"/>
                    </a:lnTo>
                    <a:lnTo>
                      <a:pt x="83" y="494"/>
                    </a:lnTo>
                    <a:lnTo>
                      <a:pt x="85" y="494"/>
                    </a:lnTo>
                    <a:lnTo>
                      <a:pt x="87" y="496"/>
                    </a:lnTo>
                    <a:lnTo>
                      <a:pt x="87" y="498"/>
                    </a:lnTo>
                    <a:lnTo>
                      <a:pt x="89" y="498"/>
                    </a:lnTo>
                    <a:lnTo>
                      <a:pt x="89" y="500"/>
                    </a:lnTo>
                    <a:lnTo>
                      <a:pt x="89" y="502"/>
                    </a:lnTo>
                    <a:lnTo>
                      <a:pt x="89" y="504"/>
                    </a:lnTo>
                    <a:lnTo>
                      <a:pt x="91" y="504"/>
                    </a:lnTo>
                    <a:lnTo>
                      <a:pt x="89" y="504"/>
                    </a:lnTo>
                    <a:lnTo>
                      <a:pt x="89" y="502"/>
                    </a:lnTo>
                    <a:lnTo>
                      <a:pt x="87" y="500"/>
                    </a:lnTo>
                    <a:lnTo>
                      <a:pt x="87" y="498"/>
                    </a:lnTo>
                    <a:lnTo>
                      <a:pt x="85" y="498"/>
                    </a:lnTo>
                    <a:close/>
                    <a:moveTo>
                      <a:pt x="52" y="490"/>
                    </a:moveTo>
                    <a:lnTo>
                      <a:pt x="54" y="490"/>
                    </a:lnTo>
                    <a:lnTo>
                      <a:pt x="54" y="488"/>
                    </a:lnTo>
                    <a:lnTo>
                      <a:pt x="54" y="490"/>
                    </a:lnTo>
                    <a:lnTo>
                      <a:pt x="56" y="490"/>
                    </a:lnTo>
                    <a:lnTo>
                      <a:pt x="56" y="492"/>
                    </a:lnTo>
                    <a:lnTo>
                      <a:pt x="58" y="494"/>
                    </a:lnTo>
                    <a:lnTo>
                      <a:pt x="60" y="494"/>
                    </a:lnTo>
                    <a:lnTo>
                      <a:pt x="60" y="496"/>
                    </a:lnTo>
                    <a:lnTo>
                      <a:pt x="58" y="494"/>
                    </a:lnTo>
                    <a:lnTo>
                      <a:pt x="56" y="494"/>
                    </a:lnTo>
                    <a:lnTo>
                      <a:pt x="54" y="492"/>
                    </a:lnTo>
                    <a:lnTo>
                      <a:pt x="52" y="492"/>
                    </a:lnTo>
                    <a:lnTo>
                      <a:pt x="52" y="494"/>
                    </a:lnTo>
                    <a:lnTo>
                      <a:pt x="50" y="492"/>
                    </a:lnTo>
                    <a:lnTo>
                      <a:pt x="50" y="494"/>
                    </a:lnTo>
                    <a:lnTo>
                      <a:pt x="50" y="492"/>
                    </a:lnTo>
                    <a:lnTo>
                      <a:pt x="48" y="492"/>
                    </a:lnTo>
                    <a:lnTo>
                      <a:pt x="48" y="490"/>
                    </a:lnTo>
                    <a:lnTo>
                      <a:pt x="46" y="490"/>
                    </a:lnTo>
                    <a:lnTo>
                      <a:pt x="48" y="490"/>
                    </a:lnTo>
                    <a:lnTo>
                      <a:pt x="50" y="490"/>
                    </a:lnTo>
                    <a:lnTo>
                      <a:pt x="50" y="488"/>
                    </a:lnTo>
                    <a:lnTo>
                      <a:pt x="48" y="488"/>
                    </a:lnTo>
                    <a:lnTo>
                      <a:pt x="50" y="488"/>
                    </a:lnTo>
                    <a:lnTo>
                      <a:pt x="52" y="488"/>
                    </a:lnTo>
                    <a:lnTo>
                      <a:pt x="52" y="490"/>
                    </a:lnTo>
                    <a:close/>
                    <a:moveTo>
                      <a:pt x="114" y="494"/>
                    </a:moveTo>
                    <a:lnTo>
                      <a:pt x="114" y="496"/>
                    </a:lnTo>
                    <a:lnTo>
                      <a:pt x="114" y="494"/>
                    </a:lnTo>
                    <a:lnTo>
                      <a:pt x="116" y="494"/>
                    </a:lnTo>
                    <a:lnTo>
                      <a:pt x="116" y="496"/>
                    </a:lnTo>
                    <a:lnTo>
                      <a:pt x="114" y="496"/>
                    </a:lnTo>
                    <a:lnTo>
                      <a:pt x="112" y="496"/>
                    </a:lnTo>
                    <a:lnTo>
                      <a:pt x="112" y="498"/>
                    </a:lnTo>
                    <a:lnTo>
                      <a:pt x="110" y="498"/>
                    </a:lnTo>
                    <a:lnTo>
                      <a:pt x="110" y="496"/>
                    </a:lnTo>
                    <a:lnTo>
                      <a:pt x="112" y="496"/>
                    </a:lnTo>
                    <a:lnTo>
                      <a:pt x="112" y="494"/>
                    </a:lnTo>
                    <a:lnTo>
                      <a:pt x="114" y="494"/>
                    </a:lnTo>
                    <a:lnTo>
                      <a:pt x="114" y="492"/>
                    </a:lnTo>
                    <a:lnTo>
                      <a:pt x="114" y="490"/>
                    </a:lnTo>
                    <a:lnTo>
                      <a:pt x="116" y="490"/>
                    </a:lnTo>
                    <a:lnTo>
                      <a:pt x="116" y="492"/>
                    </a:lnTo>
                    <a:lnTo>
                      <a:pt x="116" y="494"/>
                    </a:lnTo>
                    <a:lnTo>
                      <a:pt x="114" y="494"/>
                    </a:lnTo>
                    <a:close/>
                    <a:moveTo>
                      <a:pt x="91" y="496"/>
                    </a:moveTo>
                    <a:lnTo>
                      <a:pt x="89" y="494"/>
                    </a:lnTo>
                    <a:lnTo>
                      <a:pt x="87" y="494"/>
                    </a:lnTo>
                    <a:lnTo>
                      <a:pt x="87" y="492"/>
                    </a:lnTo>
                    <a:lnTo>
                      <a:pt x="85" y="492"/>
                    </a:lnTo>
                    <a:lnTo>
                      <a:pt x="83" y="492"/>
                    </a:lnTo>
                    <a:lnTo>
                      <a:pt x="85" y="492"/>
                    </a:lnTo>
                    <a:lnTo>
                      <a:pt x="87" y="492"/>
                    </a:lnTo>
                    <a:lnTo>
                      <a:pt x="87" y="494"/>
                    </a:lnTo>
                    <a:lnTo>
                      <a:pt x="89" y="494"/>
                    </a:lnTo>
                    <a:lnTo>
                      <a:pt x="89" y="496"/>
                    </a:lnTo>
                    <a:lnTo>
                      <a:pt x="89" y="498"/>
                    </a:lnTo>
                    <a:lnTo>
                      <a:pt x="89" y="500"/>
                    </a:lnTo>
                    <a:lnTo>
                      <a:pt x="89" y="498"/>
                    </a:lnTo>
                    <a:lnTo>
                      <a:pt x="89" y="496"/>
                    </a:lnTo>
                    <a:lnTo>
                      <a:pt x="89" y="494"/>
                    </a:lnTo>
                    <a:lnTo>
                      <a:pt x="91" y="496"/>
                    </a:lnTo>
                    <a:lnTo>
                      <a:pt x="92" y="496"/>
                    </a:lnTo>
                    <a:lnTo>
                      <a:pt x="91" y="496"/>
                    </a:lnTo>
                    <a:lnTo>
                      <a:pt x="91" y="494"/>
                    </a:lnTo>
                    <a:lnTo>
                      <a:pt x="89" y="492"/>
                    </a:lnTo>
                    <a:lnTo>
                      <a:pt x="89" y="490"/>
                    </a:lnTo>
                    <a:lnTo>
                      <a:pt x="89" y="492"/>
                    </a:lnTo>
                    <a:lnTo>
                      <a:pt x="87" y="492"/>
                    </a:lnTo>
                    <a:lnTo>
                      <a:pt x="87" y="490"/>
                    </a:lnTo>
                    <a:lnTo>
                      <a:pt x="85" y="490"/>
                    </a:lnTo>
                    <a:lnTo>
                      <a:pt x="85" y="488"/>
                    </a:lnTo>
                    <a:lnTo>
                      <a:pt x="83" y="488"/>
                    </a:lnTo>
                    <a:lnTo>
                      <a:pt x="85" y="487"/>
                    </a:lnTo>
                    <a:lnTo>
                      <a:pt x="85" y="488"/>
                    </a:lnTo>
                    <a:lnTo>
                      <a:pt x="85" y="487"/>
                    </a:lnTo>
                    <a:lnTo>
                      <a:pt x="87" y="487"/>
                    </a:lnTo>
                    <a:lnTo>
                      <a:pt x="87" y="485"/>
                    </a:lnTo>
                    <a:lnTo>
                      <a:pt x="89" y="485"/>
                    </a:lnTo>
                    <a:lnTo>
                      <a:pt x="87" y="483"/>
                    </a:lnTo>
                    <a:lnTo>
                      <a:pt x="89" y="483"/>
                    </a:lnTo>
                    <a:lnTo>
                      <a:pt x="89" y="485"/>
                    </a:lnTo>
                    <a:lnTo>
                      <a:pt x="91" y="485"/>
                    </a:lnTo>
                    <a:lnTo>
                      <a:pt x="91" y="487"/>
                    </a:lnTo>
                    <a:lnTo>
                      <a:pt x="92" y="487"/>
                    </a:lnTo>
                    <a:lnTo>
                      <a:pt x="91" y="488"/>
                    </a:lnTo>
                    <a:lnTo>
                      <a:pt x="92" y="488"/>
                    </a:lnTo>
                    <a:lnTo>
                      <a:pt x="91" y="488"/>
                    </a:lnTo>
                    <a:lnTo>
                      <a:pt x="91" y="490"/>
                    </a:lnTo>
                    <a:lnTo>
                      <a:pt x="92" y="490"/>
                    </a:lnTo>
                    <a:lnTo>
                      <a:pt x="91" y="490"/>
                    </a:lnTo>
                    <a:lnTo>
                      <a:pt x="89" y="490"/>
                    </a:lnTo>
                    <a:lnTo>
                      <a:pt x="91" y="490"/>
                    </a:lnTo>
                    <a:lnTo>
                      <a:pt x="92" y="490"/>
                    </a:lnTo>
                    <a:lnTo>
                      <a:pt x="91" y="490"/>
                    </a:lnTo>
                    <a:lnTo>
                      <a:pt x="91" y="488"/>
                    </a:lnTo>
                    <a:lnTo>
                      <a:pt x="92" y="488"/>
                    </a:lnTo>
                    <a:lnTo>
                      <a:pt x="91" y="488"/>
                    </a:lnTo>
                    <a:lnTo>
                      <a:pt x="92" y="487"/>
                    </a:lnTo>
                    <a:lnTo>
                      <a:pt x="92" y="488"/>
                    </a:lnTo>
                    <a:lnTo>
                      <a:pt x="92" y="490"/>
                    </a:lnTo>
                    <a:lnTo>
                      <a:pt x="92" y="492"/>
                    </a:lnTo>
                    <a:lnTo>
                      <a:pt x="94" y="492"/>
                    </a:lnTo>
                    <a:lnTo>
                      <a:pt x="94" y="494"/>
                    </a:lnTo>
                    <a:lnTo>
                      <a:pt x="92" y="494"/>
                    </a:lnTo>
                    <a:lnTo>
                      <a:pt x="92" y="496"/>
                    </a:lnTo>
                    <a:lnTo>
                      <a:pt x="94" y="496"/>
                    </a:lnTo>
                    <a:lnTo>
                      <a:pt x="94" y="498"/>
                    </a:lnTo>
                    <a:lnTo>
                      <a:pt x="96" y="498"/>
                    </a:lnTo>
                    <a:lnTo>
                      <a:pt x="96" y="500"/>
                    </a:lnTo>
                    <a:lnTo>
                      <a:pt x="94" y="500"/>
                    </a:lnTo>
                    <a:lnTo>
                      <a:pt x="96" y="500"/>
                    </a:lnTo>
                    <a:lnTo>
                      <a:pt x="94" y="500"/>
                    </a:lnTo>
                    <a:lnTo>
                      <a:pt x="94" y="502"/>
                    </a:lnTo>
                    <a:lnTo>
                      <a:pt x="92" y="502"/>
                    </a:lnTo>
                    <a:lnTo>
                      <a:pt x="92" y="504"/>
                    </a:lnTo>
                    <a:lnTo>
                      <a:pt x="91" y="504"/>
                    </a:lnTo>
                    <a:lnTo>
                      <a:pt x="91" y="502"/>
                    </a:lnTo>
                    <a:lnTo>
                      <a:pt x="91" y="504"/>
                    </a:lnTo>
                    <a:lnTo>
                      <a:pt x="89" y="504"/>
                    </a:lnTo>
                    <a:lnTo>
                      <a:pt x="89" y="502"/>
                    </a:lnTo>
                    <a:lnTo>
                      <a:pt x="89" y="500"/>
                    </a:lnTo>
                    <a:lnTo>
                      <a:pt x="89" y="498"/>
                    </a:lnTo>
                    <a:lnTo>
                      <a:pt x="87" y="496"/>
                    </a:lnTo>
                    <a:lnTo>
                      <a:pt x="87" y="494"/>
                    </a:lnTo>
                    <a:lnTo>
                      <a:pt x="85" y="494"/>
                    </a:lnTo>
                    <a:lnTo>
                      <a:pt x="83" y="492"/>
                    </a:lnTo>
                    <a:lnTo>
                      <a:pt x="83" y="490"/>
                    </a:lnTo>
                    <a:lnTo>
                      <a:pt x="83" y="488"/>
                    </a:lnTo>
                    <a:lnTo>
                      <a:pt x="85" y="488"/>
                    </a:lnTo>
                    <a:lnTo>
                      <a:pt x="85" y="490"/>
                    </a:lnTo>
                    <a:lnTo>
                      <a:pt x="87" y="490"/>
                    </a:lnTo>
                    <a:lnTo>
                      <a:pt x="87" y="492"/>
                    </a:lnTo>
                    <a:lnTo>
                      <a:pt x="89" y="492"/>
                    </a:lnTo>
                    <a:lnTo>
                      <a:pt x="91" y="494"/>
                    </a:lnTo>
                    <a:lnTo>
                      <a:pt x="91" y="496"/>
                    </a:lnTo>
                    <a:close/>
                    <a:moveTo>
                      <a:pt x="98" y="487"/>
                    </a:moveTo>
                    <a:lnTo>
                      <a:pt x="96" y="487"/>
                    </a:lnTo>
                    <a:lnTo>
                      <a:pt x="98" y="487"/>
                    </a:lnTo>
                    <a:lnTo>
                      <a:pt x="100" y="487"/>
                    </a:lnTo>
                    <a:lnTo>
                      <a:pt x="100" y="488"/>
                    </a:lnTo>
                    <a:lnTo>
                      <a:pt x="98" y="488"/>
                    </a:lnTo>
                    <a:lnTo>
                      <a:pt x="100" y="488"/>
                    </a:lnTo>
                    <a:lnTo>
                      <a:pt x="100" y="487"/>
                    </a:lnTo>
                    <a:lnTo>
                      <a:pt x="100" y="488"/>
                    </a:lnTo>
                    <a:lnTo>
                      <a:pt x="100" y="487"/>
                    </a:lnTo>
                    <a:lnTo>
                      <a:pt x="102" y="487"/>
                    </a:lnTo>
                    <a:lnTo>
                      <a:pt x="102" y="488"/>
                    </a:lnTo>
                    <a:lnTo>
                      <a:pt x="102" y="490"/>
                    </a:lnTo>
                    <a:lnTo>
                      <a:pt x="102" y="494"/>
                    </a:lnTo>
                    <a:lnTo>
                      <a:pt x="100" y="494"/>
                    </a:lnTo>
                    <a:lnTo>
                      <a:pt x="100" y="496"/>
                    </a:lnTo>
                    <a:lnTo>
                      <a:pt x="98" y="496"/>
                    </a:lnTo>
                    <a:lnTo>
                      <a:pt x="98" y="494"/>
                    </a:lnTo>
                    <a:lnTo>
                      <a:pt x="96" y="494"/>
                    </a:lnTo>
                    <a:lnTo>
                      <a:pt x="94" y="492"/>
                    </a:lnTo>
                    <a:lnTo>
                      <a:pt x="94" y="490"/>
                    </a:lnTo>
                    <a:lnTo>
                      <a:pt x="92" y="490"/>
                    </a:lnTo>
                    <a:lnTo>
                      <a:pt x="94" y="490"/>
                    </a:lnTo>
                    <a:lnTo>
                      <a:pt x="92" y="490"/>
                    </a:lnTo>
                    <a:lnTo>
                      <a:pt x="92" y="488"/>
                    </a:lnTo>
                    <a:lnTo>
                      <a:pt x="92" y="487"/>
                    </a:lnTo>
                    <a:lnTo>
                      <a:pt x="92" y="485"/>
                    </a:lnTo>
                    <a:lnTo>
                      <a:pt x="91" y="485"/>
                    </a:lnTo>
                    <a:lnTo>
                      <a:pt x="91" y="483"/>
                    </a:lnTo>
                    <a:lnTo>
                      <a:pt x="89" y="483"/>
                    </a:lnTo>
                    <a:lnTo>
                      <a:pt x="91" y="483"/>
                    </a:lnTo>
                    <a:lnTo>
                      <a:pt x="91" y="481"/>
                    </a:lnTo>
                    <a:lnTo>
                      <a:pt x="89" y="479"/>
                    </a:lnTo>
                    <a:lnTo>
                      <a:pt x="91" y="479"/>
                    </a:lnTo>
                    <a:lnTo>
                      <a:pt x="91" y="477"/>
                    </a:lnTo>
                    <a:lnTo>
                      <a:pt x="92" y="477"/>
                    </a:lnTo>
                    <a:lnTo>
                      <a:pt x="92" y="475"/>
                    </a:lnTo>
                    <a:lnTo>
                      <a:pt x="92" y="477"/>
                    </a:lnTo>
                    <a:lnTo>
                      <a:pt x="91" y="479"/>
                    </a:lnTo>
                    <a:lnTo>
                      <a:pt x="92" y="477"/>
                    </a:lnTo>
                    <a:lnTo>
                      <a:pt x="92" y="479"/>
                    </a:lnTo>
                    <a:lnTo>
                      <a:pt x="94" y="479"/>
                    </a:lnTo>
                    <a:lnTo>
                      <a:pt x="94" y="481"/>
                    </a:lnTo>
                    <a:lnTo>
                      <a:pt x="96" y="481"/>
                    </a:lnTo>
                    <a:lnTo>
                      <a:pt x="96" y="483"/>
                    </a:lnTo>
                    <a:lnTo>
                      <a:pt x="96" y="481"/>
                    </a:lnTo>
                    <a:lnTo>
                      <a:pt x="98" y="481"/>
                    </a:lnTo>
                    <a:lnTo>
                      <a:pt x="98" y="483"/>
                    </a:lnTo>
                    <a:lnTo>
                      <a:pt x="98" y="481"/>
                    </a:lnTo>
                    <a:lnTo>
                      <a:pt x="98" y="483"/>
                    </a:lnTo>
                    <a:lnTo>
                      <a:pt x="100" y="483"/>
                    </a:lnTo>
                    <a:lnTo>
                      <a:pt x="100" y="485"/>
                    </a:lnTo>
                    <a:lnTo>
                      <a:pt x="98" y="485"/>
                    </a:lnTo>
                    <a:lnTo>
                      <a:pt x="98" y="487"/>
                    </a:lnTo>
                    <a:lnTo>
                      <a:pt x="96" y="487"/>
                    </a:lnTo>
                    <a:lnTo>
                      <a:pt x="94" y="487"/>
                    </a:lnTo>
                    <a:lnTo>
                      <a:pt x="94" y="488"/>
                    </a:lnTo>
                    <a:lnTo>
                      <a:pt x="94" y="487"/>
                    </a:lnTo>
                    <a:lnTo>
                      <a:pt x="96" y="487"/>
                    </a:lnTo>
                    <a:lnTo>
                      <a:pt x="98" y="487"/>
                    </a:lnTo>
                    <a:close/>
                    <a:moveTo>
                      <a:pt x="102" y="473"/>
                    </a:moveTo>
                    <a:lnTo>
                      <a:pt x="102" y="475"/>
                    </a:lnTo>
                    <a:lnTo>
                      <a:pt x="104" y="475"/>
                    </a:lnTo>
                    <a:lnTo>
                      <a:pt x="102" y="475"/>
                    </a:lnTo>
                    <a:lnTo>
                      <a:pt x="104" y="475"/>
                    </a:lnTo>
                    <a:lnTo>
                      <a:pt x="104" y="477"/>
                    </a:lnTo>
                    <a:lnTo>
                      <a:pt x="106" y="477"/>
                    </a:lnTo>
                    <a:lnTo>
                      <a:pt x="104" y="477"/>
                    </a:lnTo>
                    <a:lnTo>
                      <a:pt x="104" y="479"/>
                    </a:lnTo>
                    <a:lnTo>
                      <a:pt x="102" y="479"/>
                    </a:lnTo>
                    <a:lnTo>
                      <a:pt x="100" y="479"/>
                    </a:lnTo>
                    <a:lnTo>
                      <a:pt x="98" y="481"/>
                    </a:lnTo>
                    <a:lnTo>
                      <a:pt x="98" y="479"/>
                    </a:lnTo>
                    <a:lnTo>
                      <a:pt x="96" y="477"/>
                    </a:lnTo>
                    <a:lnTo>
                      <a:pt x="96" y="475"/>
                    </a:lnTo>
                    <a:lnTo>
                      <a:pt x="94" y="475"/>
                    </a:lnTo>
                    <a:lnTo>
                      <a:pt x="94" y="473"/>
                    </a:lnTo>
                    <a:lnTo>
                      <a:pt x="96" y="473"/>
                    </a:lnTo>
                    <a:lnTo>
                      <a:pt x="96" y="471"/>
                    </a:lnTo>
                    <a:lnTo>
                      <a:pt x="98" y="471"/>
                    </a:lnTo>
                    <a:lnTo>
                      <a:pt x="98" y="469"/>
                    </a:lnTo>
                    <a:lnTo>
                      <a:pt x="98" y="467"/>
                    </a:lnTo>
                    <a:lnTo>
                      <a:pt x="100" y="467"/>
                    </a:lnTo>
                    <a:lnTo>
                      <a:pt x="100" y="465"/>
                    </a:lnTo>
                    <a:lnTo>
                      <a:pt x="100" y="464"/>
                    </a:lnTo>
                    <a:lnTo>
                      <a:pt x="100" y="465"/>
                    </a:lnTo>
                    <a:lnTo>
                      <a:pt x="100" y="467"/>
                    </a:lnTo>
                    <a:lnTo>
                      <a:pt x="100" y="469"/>
                    </a:lnTo>
                    <a:lnTo>
                      <a:pt x="102" y="469"/>
                    </a:lnTo>
                    <a:lnTo>
                      <a:pt x="102" y="471"/>
                    </a:lnTo>
                    <a:lnTo>
                      <a:pt x="102" y="473"/>
                    </a:lnTo>
                    <a:close/>
                    <a:moveTo>
                      <a:pt x="66" y="404"/>
                    </a:moveTo>
                    <a:lnTo>
                      <a:pt x="68" y="404"/>
                    </a:lnTo>
                    <a:lnTo>
                      <a:pt x="69" y="406"/>
                    </a:lnTo>
                    <a:lnTo>
                      <a:pt x="69" y="408"/>
                    </a:lnTo>
                    <a:lnTo>
                      <a:pt x="71" y="410"/>
                    </a:lnTo>
                    <a:lnTo>
                      <a:pt x="71" y="412"/>
                    </a:lnTo>
                    <a:lnTo>
                      <a:pt x="69" y="412"/>
                    </a:lnTo>
                    <a:lnTo>
                      <a:pt x="69" y="410"/>
                    </a:lnTo>
                    <a:lnTo>
                      <a:pt x="69" y="412"/>
                    </a:lnTo>
                    <a:lnTo>
                      <a:pt x="68" y="410"/>
                    </a:lnTo>
                    <a:lnTo>
                      <a:pt x="69" y="412"/>
                    </a:lnTo>
                    <a:lnTo>
                      <a:pt x="69" y="410"/>
                    </a:lnTo>
                    <a:lnTo>
                      <a:pt x="69" y="412"/>
                    </a:lnTo>
                    <a:lnTo>
                      <a:pt x="71" y="412"/>
                    </a:lnTo>
                    <a:lnTo>
                      <a:pt x="71" y="410"/>
                    </a:lnTo>
                    <a:lnTo>
                      <a:pt x="71" y="412"/>
                    </a:lnTo>
                    <a:lnTo>
                      <a:pt x="71" y="414"/>
                    </a:lnTo>
                    <a:lnTo>
                      <a:pt x="73" y="415"/>
                    </a:lnTo>
                    <a:lnTo>
                      <a:pt x="75" y="415"/>
                    </a:lnTo>
                    <a:lnTo>
                      <a:pt x="75" y="417"/>
                    </a:lnTo>
                    <a:lnTo>
                      <a:pt x="77" y="417"/>
                    </a:lnTo>
                    <a:lnTo>
                      <a:pt x="75" y="417"/>
                    </a:lnTo>
                    <a:lnTo>
                      <a:pt x="77" y="417"/>
                    </a:lnTo>
                    <a:lnTo>
                      <a:pt x="75" y="417"/>
                    </a:lnTo>
                    <a:lnTo>
                      <a:pt x="75" y="419"/>
                    </a:lnTo>
                    <a:lnTo>
                      <a:pt x="75" y="417"/>
                    </a:lnTo>
                    <a:lnTo>
                      <a:pt x="73" y="417"/>
                    </a:lnTo>
                    <a:lnTo>
                      <a:pt x="75" y="417"/>
                    </a:lnTo>
                    <a:lnTo>
                      <a:pt x="75" y="419"/>
                    </a:lnTo>
                    <a:lnTo>
                      <a:pt x="75" y="417"/>
                    </a:lnTo>
                    <a:lnTo>
                      <a:pt x="77" y="417"/>
                    </a:lnTo>
                    <a:lnTo>
                      <a:pt x="79" y="417"/>
                    </a:lnTo>
                    <a:lnTo>
                      <a:pt x="79" y="419"/>
                    </a:lnTo>
                    <a:lnTo>
                      <a:pt x="81" y="419"/>
                    </a:lnTo>
                    <a:lnTo>
                      <a:pt x="79" y="419"/>
                    </a:lnTo>
                    <a:lnTo>
                      <a:pt x="81" y="419"/>
                    </a:lnTo>
                    <a:lnTo>
                      <a:pt x="85" y="421"/>
                    </a:lnTo>
                    <a:lnTo>
                      <a:pt x="87" y="421"/>
                    </a:lnTo>
                    <a:lnTo>
                      <a:pt x="91" y="421"/>
                    </a:lnTo>
                    <a:lnTo>
                      <a:pt x="92" y="421"/>
                    </a:lnTo>
                    <a:lnTo>
                      <a:pt x="96" y="421"/>
                    </a:lnTo>
                    <a:lnTo>
                      <a:pt x="96" y="419"/>
                    </a:lnTo>
                    <a:lnTo>
                      <a:pt x="98" y="419"/>
                    </a:lnTo>
                    <a:lnTo>
                      <a:pt x="100" y="419"/>
                    </a:lnTo>
                    <a:lnTo>
                      <a:pt x="102" y="419"/>
                    </a:lnTo>
                    <a:lnTo>
                      <a:pt x="104" y="419"/>
                    </a:lnTo>
                    <a:lnTo>
                      <a:pt x="106" y="419"/>
                    </a:lnTo>
                    <a:lnTo>
                      <a:pt x="108" y="419"/>
                    </a:lnTo>
                    <a:lnTo>
                      <a:pt x="110" y="419"/>
                    </a:lnTo>
                    <a:lnTo>
                      <a:pt x="110" y="421"/>
                    </a:lnTo>
                    <a:lnTo>
                      <a:pt x="112" y="421"/>
                    </a:lnTo>
                    <a:lnTo>
                      <a:pt x="114" y="421"/>
                    </a:lnTo>
                    <a:lnTo>
                      <a:pt x="116" y="423"/>
                    </a:lnTo>
                    <a:lnTo>
                      <a:pt x="116" y="425"/>
                    </a:lnTo>
                    <a:lnTo>
                      <a:pt x="117" y="425"/>
                    </a:lnTo>
                    <a:lnTo>
                      <a:pt x="116" y="427"/>
                    </a:lnTo>
                    <a:lnTo>
                      <a:pt x="114" y="429"/>
                    </a:lnTo>
                    <a:lnTo>
                      <a:pt x="114" y="431"/>
                    </a:lnTo>
                    <a:lnTo>
                      <a:pt x="112" y="431"/>
                    </a:lnTo>
                    <a:lnTo>
                      <a:pt x="110" y="431"/>
                    </a:lnTo>
                    <a:lnTo>
                      <a:pt x="108" y="433"/>
                    </a:lnTo>
                    <a:lnTo>
                      <a:pt x="108" y="435"/>
                    </a:lnTo>
                    <a:lnTo>
                      <a:pt x="108" y="437"/>
                    </a:lnTo>
                    <a:lnTo>
                      <a:pt x="108" y="439"/>
                    </a:lnTo>
                    <a:lnTo>
                      <a:pt x="108" y="440"/>
                    </a:lnTo>
                    <a:lnTo>
                      <a:pt x="106" y="440"/>
                    </a:lnTo>
                    <a:lnTo>
                      <a:pt x="104" y="440"/>
                    </a:lnTo>
                    <a:lnTo>
                      <a:pt x="102" y="440"/>
                    </a:lnTo>
                    <a:lnTo>
                      <a:pt x="100" y="442"/>
                    </a:lnTo>
                    <a:lnTo>
                      <a:pt x="98" y="442"/>
                    </a:lnTo>
                    <a:lnTo>
                      <a:pt x="96" y="442"/>
                    </a:lnTo>
                    <a:lnTo>
                      <a:pt x="94" y="442"/>
                    </a:lnTo>
                    <a:lnTo>
                      <a:pt x="94" y="444"/>
                    </a:lnTo>
                    <a:lnTo>
                      <a:pt x="92" y="444"/>
                    </a:lnTo>
                    <a:lnTo>
                      <a:pt x="91" y="444"/>
                    </a:lnTo>
                    <a:lnTo>
                      <a:pt x="91" y="446"/>
                    </a:lnTo>
                    <a:lnTo>
                      <a:pt x="89" y="446"/>
                    </a:lnTo>
                    <a:lnTo>
                      <a:pt x="89" y="448"/>
                    </a:lnTo>
                    <a:lnTo>
                      <a:pt x="91" y="448"/>
                    </a:lnTo>
                    <a:lnTo>
                      <a:pt x="89" y="448"/>
                    </a:lnTo>
                    <a:lnTo>
                      <a:pt x="89" y="450"/>
                    </a:lnTo>
                    <a:lnTo>
                      <a:pt x="91" y="452"/>
                    </a:lnTo>
                    <a:lnTo>
                      <a:pt x="89" y="452"/>
                    </a:lnTo>
                    <a:lnTo>
                      <a:pt x="91" y="452"/>
                    </a:lnTo>
                    <a:lnTo>
                      <a:pt x="91" y="454"/>
                    </a:lnTo>
                    <a:lnTo>
                      <a:pt x="91" y="456"/>
                    </a:lnTo>
                    <a:lnTo>
                      <a:pt x="89" y="458"/>
                    </a:lnTo>
                    <a:lnTo>
                      <a:pt x="87" y="458"/>
                    </a:lnTo>
                    <a:lnTo>
                      <a:pt x="87" y="460"/>
                    </a:lnTo>
                    <a:lnTo>
                      <a:pt x="87" y="462"/>
                    </a:lnTo>
                    <a:lnTo>
                      <a:pt x="87" y="464"/>
                    </a:lnTo>
                    <a:lnTo>
                      <a:pt x="87" y="465"/>
                    </a:lnTo>
                    <a:lnTo>
                      <a:pt x="89" y="465"/>
                    </a:lnTo>
                    <a:lnTo>
                      <a:pt x="89" y="467"/>
                    </a:lnTo>
                    <a:lnTo>
                      <a:pt x="87" y="467"/>
                    </a:lnTo>
                    <a:lnTo>
                      <a:pt x="89" y="467"/>
                    </a:lnTo>
                    <a:lnTo>
                      <a:pt x="89" y="469"/>
                    </a:lnTo>
                    <a:lnTo>
                      <a:pt x="89" y="471"/>
                    </a:lnTo>
                    <a:lnTo>
                      <a:pt x="89" y="473"/>
                    </a:lnTo>
                    <a:lnTo>
                      <a:pt x="91" y="473"/>
                    </a:lnTo>
                    <a:lnTo>
                      <a:pt x="89" y="475"/>
                    </a:lnTo>
                    <a:lnTo>
                      <a:pt x="87" y="477"/>
                    </a:lnTo>
                    <a:lnTo>
                      <a:pt x="85" y="477"/>
                    </a:lnTo>
                    <a:lnTo>
                      <a:pt x="83" y="479"/>
                    </a:lnTo>
                    <a:lnTo>
                      <a:pt x="85" y="479"/>
                    </a:lnTo>
                    <a:lnTo>
                      <a:pt x="85" y="477"/>
                    </a:lnTo>
                    <a:lnTo>
                      <a:pt x="85" y="479"/>
                    </a:lnTo>
                    <a:lnTo>
                      <a:pt x="85" y="481"/>
                    </a:lnTo>
                    <a:lnTo>
                      <a:pt x="85" y="483"/>
                    </a:lnTo>
                    <a:lnTo>
                      <a:pt x="83" y="483"/>
                    </a:lnTo>
                    <a:lnTo>
                      <a:pt x="83" y="481"/>
                    </a:lnTo>
                    <a:lnTo>
                      <a:pt x="83" y="483"/>
                    </a:lnTo>
                    <a:lnTo>
                      <a:pt x="81" y="483"/>
                    </a:lnTo>
                    <a:lnTo>
                      <a:pt x="81" y="485"/>
                    </a:lnTo>
                    <a:lnTo>
                      <a:pt x="79" y="485"/>
                    </a:lnTo>
                    <a:lnTo>
                      <a:pt x="77" y="485"/>
                    </a:lnTo>
                    <a:lnTo>
                      <a:pt x="75" y="483"/>
                    </a:lnTo>
                    <a:lnTo>
                      <a:pt x="75" y="485"/>
                    </a:lnTo>
                    <a:lnTo>
                      <a:pt x="73" y="485"/>
                    </a:lnTo>
                    <a:lnTo>
                      <a:pt x="73" y="487"/>
                    </a:lnTo>
                    <a:lnTo>
                      <a:pt x="73" y="488"/>
                    </a:lnTo>
                    <a:lnTo>
                      <a:pt x="73" y="490"/>
                    </a:lnTo>
                    <a:lnTo>
                      <a:pt x="73" y="488"/>
                    </a:lnTo>
                    <a:lnTo>
                      <a:pt x="73" y="487"/>
                    </a:lnTo>
                    <a:lnTo>
                      <a:pt x="73" y="485"/>
                    </a:lnTo>
                    <a:lnTo>
                      <a:pt x="75" y="485"/>
                    </a:lnTo>
                    <a:lnTo>
                      <a:pt x="75" y="487"/>
                    </a:lnTo>
                    <a:lnTo>
                      <a:pt x="77" y="487"/>
                    </a:lnTo>
                    <a:lnTo>
                      <a:pt x="77" y="488"/>
                    </a:lnTo>
                    <a:lnTo>
                      <a:pt x="75" y="488"/>
                    </a:lnTo>
                    <a:lnTo>
                      <a:pt x="75" y="490"/>
                    </a:lnTo>
                    <a:lnTo>
                      <a:pt x="77" y="492"/>
                    </a:lnTo>
                    <a:lnTo>
                      <a:pt x="75" y="492"/>
                    </a:lnTo>
                    <a:lnTo>
                      <a:pt x="75" y="494"/>
                    </a:lnTo>
                    <a:lnTo>
                      <a:pt x="75" y="496"/>
                    </a:lnTo>
                    <a:lnTo>
                      <a:pt x="73" y="496"/>
                    </a:lnTo>
                    <a:lnTo>
                      <a:pt x="71" y="496"/>
                    </a:lnTo>
                    <a:lnTo>
                      <a:pt x="69" y="496"/>
                    </a:lnTo>
                    <a:lnTo>
                      <a:pt x="69" y="498"/>
                    </a:lnTo>
                    <a:lnTo>
                      <a:pt x="68" y="498"/>
                    </a:lnTo>
                    <a:lnTo>
                      <a:pt x="68" y="500"/>
                    </a:lnTo>
                    <a:lnTo>
                      <a:pt x="66" y="500"/>
                    </a:lnTo>
                    <a:lnTo>
                      <a:pt x="66" y="498"/>
                    </a:lnTo>
                    <a:lnTo>
                      <a:pt x="66" y="500"/>
                    </a:lnTo>
                    <a:lnTo>
                      <a:pt x="64" y="498"/>
                    </a:lnTo>
                    <a:lnTo>
                      <a:pt x="62" y="500"/>
                    </a:lnTo>
                    <a:lnTo>
                      <a:pt x="62" y="498"/>
                    </a:lnTo>
                    <a:lnTo>
                      <a:pt x="62" y="500"/>
                    </a:lnTo>
                    <a:lnTo>
                      <a:pt x="62" y="498"/>
                    </a:lnTo>
                    <a:lnTo>
                      <a:pt x="62" y="496"/>
                    </a:lnTo>
                    <a:lnTo>
                      <a:pt x="60" y="496"/>
                    </a:lnTo>
                    <a:lnTo>
                      <a:pt x="58" y="496"/>
                    </a:lnTo>
                    <a:lnTo>
                      <a:pt x="60" y="496"/>
                    </a:lnTo>
                    <a:lnTo>
                      <a:pt x="60" y="494"/>
                    </a:lnTo>
                    <a:lnTo>
                      <a:pt x="58" y="494"/>
                    </a:lnTo>
                    <a:lnTo>
                      <a:pt x="58" y="492"/>
                    </a:lnTo>
                    <a:lnTo>
                      <a:pt x="56" y="492"/>
                    </a:lnTo>
                    <a:lnTo>
                      <a:pt x="56" y="490"/>
                    </a:lnTo>
                    <a:lnTo>
                      <a:pt x="54" y="490"/>
                    </a:lnTo>
                    <a:lnTo>
                      <a:pt x="54" y="488"/>
                    </a:lnTo>
                    <a:lnTo>
                      <a:pt x="54" y="490"/>
                    </a:lnTo>
                    <a:lnTo>
                      <a:pt x="52" y="490"/>
                    </a:lnTo>
                    <a:lnTo>
                      <a:pt x="52" y="488"/>
                    </a:lnTo>
                    <a:lnTo>
                      <a:pt x="50" y="488"/>
                    </a:lnTo>
                    <a:lnTo>
                      <a:pt x="52" y="488"/>
                    </a:lnTo>
                    <a:lnTo>
                      <a:pt x="52" y="487"/>
                    </a:lnTo>
                    <a:lnTo>
                      <a:pt x="50" y="487"/>
                    </a:lnTo>
                    <a:lnTo>
                      <a:pt x="50" y="488"/>
                    </a:lnTo>
                    <a:lnTo>
                      <a:pt x="50" y="487"/>
                    </a:lnTo>
                    <a:lnTo>
                      <a:pt x="48" y="487"/>
                    </a:lnTo>
                    <a:lnTo>
                      <a:pt x="48" y="485"/>
                    </a:lnTo>
                    <a:lnTo>
                      <a:pt x="46" y="485"/>
                    </a:lnTo>
                    <a:lnTo>
                      <a:pt x="46" y="483"/>
                    </a:lnTo>
                    <a:lnTo>
                      <a:pt x="48" y="483"/>
                    </a:lnTo>
                    <a:lnTo>
                      <a:pt x="48" y="481"/>
                    </a:lnTo>
                    <a:lnTo>
                      <a:pt x="50" y="481"/>
                    </a:lnTo>
                    <a:lnTo>
                      <a:pt x="48" y="481"/>
                    </a:lnTo>
                    <a:lnTo>
                      <a:pt x="50" y="481"/>
                    </a:lnTo>
                    <a:lnTo>
                      <a:pt x="48" y="481"/>
                    </a:lnTo>
                    <a:lnTo>
                      <a:pt x="50" y="481"/>
                    </a:lnTo>
                    <a:lnTo>
                      <a:pt x="50" y="479"/>
                    </a:lnTo>
                    <a:lnTo>
                      <a:pt x="48" y="479"/>
                    </a:lnTo>
                    <a:lnTo>
                      <a:pt x="50" y="479"/>
                    </a:lnTo>
                    <a:lnTo>
                      <a:pt x="50" y="477"/>
                    </a:lnTo>
                    <a:lnTo>
                      <a:pt x="52" y="477"/>
                    </a:lnTo>
                    <a:lnTo>
                      <a:pt x="52" y="475"/>
                    </a:lnTo>
                    <a:lnTo>
                      <a:pt x="50" y="475"/>
                    </a:lnTo>
                    <a:lnTo>
                      <a:pt x="52" y="475"/>
                    </a:lnTo>
                    <a:lnTo>
                      <a:pt x="50" y="475"/>
                    </a:lnTo>
                    <a:lnTo>
                      <a:pt x="50" y="473"/>
                    </a:lnTo>
                    <a:lnTo>
                      <a:pt x="48" y="473"/>
                    </a:lnTo>
                    <a:lnTo>
                      <a:pt x="48" y="471"/>
                    </a:lnTo>
                    <a:lnTo>
                      <a:pt x="48" y="469"/>
                    </a:lnTo>
                    <a:lnTo>
                      <a:pt x="50" y="469"/>
                    </a:lnTo>
                    <a:lnTo>
                      <a:pt x="48" y="469"/>
                    </a:lnTo>
                    <a:lnTo>
                      <a:pt x="50" y="469"/>
                    </a:lnTo>
                    <a:lnTo>
                      <a:pt x="50" y="467"/>
                    </a:lnTo>
                    <a:lnTo>
                      <a:pt x="50" y="465"/>
                    </a:lnTo>
                    <a:lnTo>
                      <a:pt x="50" y="467"/>
                    </a:lnTo>
                    <a:lnTo>
                      <a:pt x="50" y="465"/>
                    </a:lnTo>
                    <a:lnTo>
                      <a:pt x="50" y="464"/>
                    </a:lnTo>
                    <a:lnTo>
                      <a:pt x="50" y="460"/>
                    </a:lnTo>
                    <a:lnTo>
                      <a:pt x="50" y="452"/>
                    </a:lnTo>
                    <a:lnTo>
                      <a:pt x="46" y="450"/>
                    </a:lnTo>
                    <a:lnTo>
                      <a:pt x="43" y="448"/>
                    </a:lnTo>
                    <a:lnTo>
                      <a:pt x="37" y="446"/>
                    </a:lnTo>
                    <a:lnTo>
                      <a:pt x="37" y="444"/>
                    </a:lnTo>
                    <a:lnTo>
                      <a:pt x="27" y="435"/>
                    </a:lnTo>
                    <a:lnTo>
                      <a:pt x="23" y="433"/>
                    </a:lnTo>
                    <a:lnTo>
                      <a:pt x="21" y="433"/>
                    </a:lnTo>
                    <a:lnTo>
                      <a:pt x="21" y="431"/>
                    </a:lnTo>
                    <a:lnTo>
                      <a:pt x="19" y="429"/>
                    </a:lnTo>
                    <a:lnTo>
                      <a:pt x="19" y="427"/>
                    </a:lnTo>
                    <a:lnTo>
                      <a:pt x="21" y="427"/>
                    </a:lnTo>
                    <a:lnTo>
                      <a:pt x="23" y="425"/>
                    </a:lnTo>
                    <a:lnTo>
                      <a:pt x="25" y="423"/>
                    </a:lnTo>
                    <a:lnTo>
                      <a:pt x="27" y="421"/>
                    </a:lnTo>
                    <a:lnTo>
                      <a:pt x="27" y="419"/>
                    </a:lnTo>
                    <a:lnTo>
                      <a:pt x="25" y="417"/>
                    </a:lnTo>
                    <a:lnTo>
                      <a:pt x="27" y="417"/>
                    </a:lnTo>
                    <a:lnTo>
                      <a:pt x="27" y="415"/>
                    </a:lnTo>
                    <a:lnTo>
                      <a:pt x="29" y="415"/>
                    </a:lnTo>
                    <a:lnTo>
                      <a:pt x="29" y="417"/>
                    </a:lnTo>
                    <a:lnTo>
                      <a:pt x="31" y="417"/>
                    </a:lnTo>
                    <a:lnTo>
                      <a:pt x="33" y="417"/>
                    </a:lnTo>
                    <a:lnTo>
                      <a:pt x="35" y="417"/>
                    </a:lnTo>
                    <a:lnTo>
                      <a:pt x="35" y="419"/>
                    </a:lnTo>
                    <a:lnTo>
                      <a:pt x="37" y="419"/>
                    </a:lnTo>
                    <a:lnTo>
                      <a:pt x="39" y="419"/>
                    </a:lnTo>
                    <a:lnTo>
                      <a:pt x="41" y="419"/>
                    </a:lnTo>
                    <a:lnTo>
                      <a:pt x="41" y="417"/>
                    </a:lnTo>
                    <a:lnTo>
                      <a:pt x="43" y="417"/>
                    </a:lnTo>
                    <a:lnTo>
                      <a:pt x="43" y="415"/>
                    </a:lnTo>
                    <a:lnTo>
                      <a:pt x="43" y="417"/>
                    </a:lnTo>
                    <a:lnTo>
                      <a:pt x="44" y="415"/>
                    </a:lnTo>
                    <a:lnTo>
                      <a:pt x="44" y="417"/>
                    </a:lnTo>
                    <a:lnTo>
                      <a:pt x="44" y="415"/>
                    </a:lnTo>
                    <a:lnTo>
                      <a:pt x="46" y="415"/>
                    </a:lnTo>
                    <a:lnTo>
                      <a:pt x="44" y="415"/>
                    </a:lnTo>
                    <a:lnTo>
                      <a:pt x="44" y="414"/>
                    </a:lnTo>
                    <a:lnTo>
                      <a:pt x="46" y="414"/>
                    </a:lnTo>
                    <a:lnTo>
                      <a:pt x="44" y="414"/>
                    </a:lnTo>
                    <a:lnTo>
                      <a:pt x="46" y="414"/>
                    </a:lnTo>
                    <a:lnTo>
                      <a:pt x="44" y="414"/>
                    </a:lnTo>
                    <a:lnTo>
                      <a:pt x="44" y="412"/>
                    </a:lnTo>
                    <a:lnTo>
                      <a:pt x="46" y="412"/>
                    </a:lnTo>
                    <a:lnTo>
                      <a:pt x="44" y="412"/>
                    </a:lnTo>
                    <a:lnTo>
                      <a:pt x="46" y="412"/>
                    </a:lnTo>
                    <a:lnTo>
                      <a:pt x="46" y="410"/>
                    </a:lnTo>
                    <a:lnTo>
                      <a:pt x="44" y="410"/>
                    </a:lnTo>
                    <a:lnTo>
                      <a:pt x="46" y="410"/>
                    </a:lnTo>
                    <a:lnTo>
                      <a:pt x="44" y="410"/>
                    </a:lnTo>
                    <a:lnTo>
                      <a:pt x="46" y="410"/>
                    </a:lnTo>
                    <a:lnTo>
                      <a:pt x="46" y="408"/>
                    </a:lnTo>
                    <a:lnTo>
                      <a:pt x="44" y="408"/>
                    </a:lnTo>
                    <a:lnTo>
                      <a:pt x="46" y="408"/>
                    </a:lnTo>
                    <a:lnTo>
                      <a:pt x="44" y="408"/>
                    </a:lnTo>
                    <a:lnTo>
                      <a:pt x="44" y="406"/>
                    </a:lnTo>
                    <a:lnTo>
                      <a:pt x="44" y="408"/>
                    </a:lnTo>
                    <a:lnTo>
                      <a:pt x="46" y="408"/>
                    </a:lnTo>
                    <a:lnTo>
                      <a:pt x="44" y="406"/>
                    </a:lnTo>
                    <a:lnTo>
                      <a:pt x="46" y="406"/>
                    </a:lnTo>
                    <a:lnTo>
                      <a:pt x="48" y="406"/>
                    </a:lnTo>
                    <a:lnTo>
                      <a:pt x="50" y="406"/>
                    </a:lnTo>
                    <a:lnTo>
                      <a:pt x="48" y="406"/>
                    </a:lnTo>
                    <a:lnTo>
                      <a:pt x="50" y="406"/>
                    </a:lnTo>
                    <a:lnTo>
                      <a:pt x="52" y="406"/>
                    </a:lnTo>
                    <a:lnTo>
                      <a:pt x="52" y="404"/>
                    </a:lnTo>
                    <a:lnTo>
                      <a:pt x="50" y="404"/>
                    </a:lnTo>
                    <a:lnTo>
                      <a:pt x="50" y="402"/>
                    </a:lnTo>
                    <a:lnTo>
                      <a:pt x="48" y="402"/>
                    </a:lnTo>
                    <a:lnTo>
                      <a:pt x="48" y="400"/>
                    </a:lnTo>
                    <a:lnTo>
                      <a:pt x="46" y="400"/>
                    </a:lnTo>
                    <a:lnTo>
                      <a:pt x="46" y="398"/>
                    </a:lnTo>
                    <a:lnTo>
                      <a:pt x="46" y="400"/>
                    </a:lnTo>
                    <a:lnTo>
                      <a:pt x="46" y="398"/>
                    </a:lnTo>
                    <a:lnTo>
                      <a:pt x="44" y="398"/>
                    </a:lnTo>
                    <a:lnTo>
                      <a:pt x="43" y="398"/>
                    </a:lnTo>
                    <a:lnTo>
                      <a:pt x="43" y="396"/>
                    </a:lnTo>
                    <a:lnTo>
                      <a:pt x="41" y="396"/>
                    </a:lnTo>
                    <a:lnTo>
                      <a:pt x="41" y="394"/>
                    </a:lnTo>
                    <a:lnTo>
                      <a:pt x="41" y="396"/>
                    </a:lnTo>
                    <a:lnTo>
                      <a:pt x="41" y="394"/>
                    </a:lnTo>
                    <a:lnTo>
                      <a:pt x="39" y="394"/>
                    </a:lnTo>
                    <a:lnTo>
                      <a:pt x="39" y="392"/>
                    </a:lnTo>
                    <a:lnTo>
                      <a:pt x="37" y="392"/>
                    </a:lnTo>
                    <a:lnTo>
                      <a:pt x="37" y="394"/>
                    </a:lnTo>
                    <a:lnTo>
                      <a:pt x="35" y="394"/>
                    </a:lnTo>
                    <a:lnTo>
                      <a:pt x="35" y="392"/>
                    </a:lnTo>
                    <a:lnTo>
                      <a:pt x="33" y="392"/>
                    </a:lnTo>
                    <a:lnTo>
                      <a:pt x="33" y="394"/>
                    </a:lnTo>
                    <a:lnTo>
                      <a:pt x="33" y="392"/>
                    </a:lnTo>
                    <a:lnTo>
                      <a:pt x="33" y="394"/>
                    </a:lnTo>
                    <a:lnTo>
                      <a:pt x="31" y="394"/>
                    </a:lnTo>
                    <a:lnTo>
                      <a:pt x="31" y="392"/>
                    </a:lnTo>
                    <a:lnTo>
                      <a:pt x="29" y="392"/>
                    </a:lnTo>
                    <a:lnTo>
                      <a:pt x="29" y="390"/>
                    </a:lnTo>
                    <a:lnTo>
                      <a:pt x="27" y="390"/>
                    </a:lnTo>
                    <a:lnTo>
                      <a:pt x="25" y="390"/>
                    </a:lnTo>
                    <a:lnTo>
                      <a:pt x="25" y="389"/>
                    </a:lnTo>
                    <a:lnTo>
                      <a:pt x="23" y="389"/>
                    </a:lnTo>
                    <a:lnTo>
                      <a:pt x="25" y="389"/>
                    </a:lnTo>
                    <a:lnTo>
                      <a:pt x="23" y="389"/>
                    </a:lnTo>
                    <a:lnTo>
                      <a:pt x="23" y="387"/>
                    </a:lnTo>
                    <a:lnTo>
                      <a:pt x="21" y="387"/>
                    </a:lnTo>
                    <a:lnTo>
                      <a:pt x="21" y="385"/>
                    </a:lnTo>
                    <a:lnTo>
                      <a:pt x="19" y="387"/>
                    </a:lnTo>
                    <a:lnTo>
                      <a:pt x="19" y="385"/>
                    </a:lnTo>
                    <a:lnTo>
                      <a:pt x="18" y="385"/>
                    </a:lnTo>
                    <a:lnTo>
                      <a:pt x="19" y="385"/>
                    </a:lnTo>
                    <a:lnTo>
                      <a:pt x="19" y="383"/>
                    </a:lnTo>
                    <a:lnTo>
                      <a:pt x="18" y="383"/>
                    </a:lnTo>
                    <a:lnTo>
                      <a:pt x="16" y="383"/>
                    </a:lnTo>
                    <a:lnTo>
                      <a:pt x="18" y="383"/>
                    </a:lnTo>
                    <a:lnTo>
                      <a:pt x="16" y="383"/>
                    </a:lnTo>
                    <a:lnTo>
                      <a:pt x="16" y="381"/>
                    </a:lnTo>
                    <a:lnTo>
                      <a:pt x="14" y="381"/>
                    </a:lnTo>
                    <a:lnTo>
                      <a:pt x="16" y="381"/>
                    </a:lnTo>
                    <a:lnTo>
                      <a:pt x="18" y="381"/>
                    </a:lnTo>
                    <a:lnTo>
                      <a:pt x="16" y="379"/>
                    </a:lnTo>
                    <a:lnTo>
                      <a:pt x="18" y="379"/>
                    </a:lnTo>
                    <a:lnTo>
                      <a:pt x="16" y="379"/>
                    </a:lnTo>
                    <a:lnTo>
                      <a:pt x="16" y="377"/>
                    </a:lnTo>
                    <a:lnTo>
                      <a:pt x="18" y="377"/>
                    </a:lnTo>
                    <a:lnTo>
                      <a:pt x="16" y="377"/>
                    </a:lnTo>
                    <a:lnTo>
                      <a:pt x="16" y="375"/>
                    </a:lnTo>
                    <a:lnTo>
                      <a:pt x="14" y="375"/>
                    </a:lnTo>
                    <a:lnTo>
                      <a:pt x="14" y="373"/>
                    </a:lnTo>
                    <a:lnTo>
                      <a:pt x="16" y="373"/>
                    </a:lnTo>
                    <a:lnTo>
                      <a:pt x="16" y="371"/>
                    </a:lnTo>
                    <a:lnTo>
                      <a:pt x="18" y="371"/>
                    </a:lnTo>
                    <a:lnTo>
                      <a:pt x="16" y="371"/>
                    </a:lnTo>
                    <a:lnTo>
                      <a:pt x="16" y="373"/>
                    </a:lnTo>
                    <a:lnTo>
                      <a:pt x="18" y="371"/>
                    </a:lnTo>
                    <a:lnTo>
                      <a:pt x="23" y="373"/>
                    </a:lnTo>
                    <a:lnTo>
                      <a:pt x="25" y="373"/>
                    </a:lnTo>
                    <a:lnTo>
                      <a:pt x="27" y="375"/>
                    </a:lnTo>
                    <a:lnTo>
                      <a:pt x="29" y="375"/>
                    </a:lnTo>
                    <a:lnTo>
                      <a:pt x="31" y="375"/>
                    </a:lnTo>
                    <a:lnTo>
                      <a:pt x="33" y="375"/>
                    </a:lnTo>
                    <a:lnTo>
                      <a:pt x="35" y="375"/>
                    </a:lnTo>
                    <a:lnTo>
                      <a:pt x="35" y="377"/>
                    </a:lnTo>
                    <a:lnTo>
                      <a:pt x="37" y="377"/>
                    </a:lnTo>
                    <a:lnTo>
                      <a:pt x="39" y="377"/>
                    </a:lnTo>
                    <a:lnTo>
                      <a:pt x="39" y="379"/>
                    </a:lnTo>
                    <a:lnTo>
                      <a:pt x="41" y="381"/>
                    </a:lnTo>
                    <a:lnTo>
                      <a:pt x="43" y="381"/>
                    </a:lnTo>
                    <a:lnTo>
                      <a:pt x="43" y="383"/>
                    </a:lnTo>
                    <a:lnTo>
                      <a:pt x="44" y="385"/>
                    </a:lnTo>
                    <a:lnTo>
                      <a:pt x="46" y="387"/>
                    </a:lnTo>
                    <a:lnTo>
                      <a:pt x="48" y="387"/>
                    </a:lnTo>
                    <a:lnTo>
                      <a:pt x="48" y="389"/>
                    </a:lnTo>
                    <a:lnTo>
                      <a:pt x="52" y="390"/>
                    </a:lnTo>
                    <a:lnTo>
                      <a:pt x="54" y="390"/>
                    </a:lnTo>
                    <a:lnTo>
                      <a:pt x="56" y="392"/>
                    </a:lnTo>
                    <a:lnTo>
                      <a:pt x="58" y="394"/>
                    </a:lnTo>
                    <a:lnTo>
                      <a:pt x="64" y="396"/>
                    </a:lnTo>
                    <a:lnTo>
                      <a:pt x="64" y="398"/>
                    </a:lnTo>
                    <a:lnTo>
                      <a:pt x="64" y="400"/>
                    </a:lnTo>
                    <a:lnTo>
                      <a:pt x="64" y="398"/>
                    </a:lnTo>
                    <a:lnTo>
                      <a:pt x="62" y="398"/>
                    </a:lnTo>
                    <a:lnTo>
                      <a:pt x="64" y="398"/>
                    </a:lnTo>
                    <a:lnTo>
                      <a:pt x="64" y="396"/>
                    </a:lnTo>
                    <a:lnTo>
                      <a:pt x="62" y="396"/>
                    </a:lnTo>
                    <a:lnTo>
                      <a:pt x="60" y="396"/>
                    </a:lnTo>
                    <a:lnTo>
                      <a:pt x="62" y="396"/>
                    </a:lnTo>
                    <a:lnTo>
                      <a:pt x="60" y="396"/>
                    </a:lnTo>
                    <a:lnTo>
                      <a:pt x="62" y="398"/>
                    </a:lnTo>
                    <a:lnTo>
                      <a:pt x="62" y="400"/>
                    </a:lnTo>
                    <a:lnTo>
                      <a:pt x="64" y="400"/>
                    </a:lnTo>
                    <a:lnTo>
                      <a:pt x="64" y="402"/>
                    </a:lnTo>
                    <a:lnTo>
                      <a:pt x="66" y="402"/>
                    </a:lnTo>
                    <a:lnTo>
                      <a:pt x="66" y="404"/>
                    </a:lnTo>
                    <a:close/>
                    <a:moveTo>
                      <a:pt x="582" y="387"/>
                    </a:moveTo>
                    <a:lnTo>
                      <a:pt x="580" y="387"/>
                    </a:lnTo>
                    <a:lnTo>
                      <a:pt x="582" y="387"/>
                    </a:lnTo>
                    <a:lnTo>
                      <a:pt x="582" y="385"/>
                    </a:lnTo>
                    <a:lnTo>
                      <a:pt x="584" y="385"/>
                    </a:lnTo>
                    <a:lnTo>
                      <a:pt x="586" y="385"/>
                    </a:lnTo>
                    <a:lnTo>
                      <a:pt x="586" y="387"/>
                    </a:lnTo>
                    <a:lnTo>
                      <a:pt x="586" y="385"/>
                    </a:lnTo>
                    <a:lnTo>
                      <a:pt x="586" y="387"/>
                    </a:lnTo>
                    <a:lnTo>
                      <a:pt x="584" y="387"/>
                    </a:lnTo>
                    <a:lnTo>
                      <a:pt x="584" y="389"/>
                    </a:lnTo>
                    <a:lnTo>
                      <a:pt x="582" y="389"/>
                    </a:lnTo>
                    <a:lnTo>
                      <a:pt x="580" y="389"/>
                    </a:lnTo>
                    <a:lnTo>
                      <a:pt x="579" y="389"/>
                    </a:lnTo>
                    <a:lnTo>
                      <a:pt x="577" y="390"/>
                    </a:lnTo>
                    <a:lnTo>
                      <a:pt x="575" y="392"/>
                    </a:lnTo>
                    <a:lnTo>
                      <a:pt x="573" y="390"/>
                    </a:lnTo>
                    <a:lnTo>
                      <a:pt x="571" y="390"/>
                    </a:lnTo>
                    <a:lnTo>
                      <a:pt x="571" y="389"/>
                    </a:lnTo>
                    <a:lnTo>
                      <a:pt x="573" y="389"/>
                    </a:lnTo>
                    <a:lnTo>
                      <a:pt x="575" y="390"/>
                    </a:lnTo>
                    <a:lnTo>
                      <a:pt x="575" y="389"/>
                    </a:lnTo>
                    <a:lnTo>
                      <a:pt x="577" y="389"/>
                    </a:lnTo>
                    <a:lnTo>
                      <a:pt x="579" y="389"/>
                    </a:lnTo>
                    <a:lnTo>
                      <a:pt x="579" y="387"/>
                    </a:lnTo>
                    <a:lnTo>
                      <a:pt x="580" y="387"/>
                    </a:lnTo>
                    <a:lnTo>
                      <a:pt x="580" y="385"/>
                    </a:lnTo>
                    <a:lnTo>
                      <a:pt x="582" y="385"/>
                    </a:lnTo>
                    <a:lnTo>
                      <a:pt x="582" y="387"/>
                    </a:lnTo>
                    <a:close/>
                    <a:moveTo>
                      <a:pt x="730" y="292"/>
                    </a:moveTo>
                    <a:lnTo>
                      <a:pt x="730" y="294"/>
                    </a:lnTo>
                    <a:lnTo>
                      <a:pt x="728" y="294"/>
                    </a:lnTo>
                    <a:lnTo>
                      <a:pt x="725" y="298"/>
                    </a:lnTo>
                    <a:lnTo>
                      <a:pt x="723" y="298"/>
                    </a:lnTo>
                    <a:lnTo>
                      <a:pt x="723" y="300"/>
                    </a:lnTo>
                    <a:lnTo>
                      <a:pt x="721" y="300"/>
                    </a:lnTo>
                    <a:lnTo>
                      <a:pt x="719" y="300"/>
                    </a:lnTo>
                    <a:lnTo>
                      <a:pt x="717" y="300"/>
                    </a:lnTo>
                    <a:lnTo>
                      <a:pt x="717" y="302"/>
                    </a:lnTo>
                    <a:lnTo>
                      <a:pt x="717" y="300"/>
                    </a:lnTo>
                    <a:lnTo>
                      <a:pt x="717" y="302"/>
                    </a:lnTo>
                    <a:lnTo>
                      <a:pt x="715" y="302"/>
                    </a:lnTo>
                    <a:lnTo>
                      <a:pt x="713" y="304"/>
                    </a:lnTo>
                    <a:lnTo>
                      <a:pt x="711" y="304"/>
                    </a:lnTo>
                    <a:lnTo>
                      <a:pt x="711" y="306"/>
                    </a:lnTo>
                    <a:lnTo>
                      <a:pt x="711" y="308"/>
                    </a:lnTo>
                    <a:lnTo>
                      <a:pt x="709" y="308"/>
                    </a:lnTo>
                    <a:lnTo>
                      <a:pt x="707" y="306"/>
                    </a:lnTo>
                    <a:lnTo>
                      <a:pt x="705" y="306"/>
                    </a:lnTo>
                    <a:lnTo>
                      <a:pt x="705" y="308"/>
                    </a:lnTo>
                    <a:lnTo>
                      <a:pt x="703" y="308"/>
                    </a:lnTo>
                    <a:lnTo>
                      <a:pt x="701" y="308"/>
                    </a:lnTo>
                    <a:lnTo>
                      <a:pt x="700" y="308"/>
                    </a:lnTo>
                    <a:lnTo>
                      <a:pt x="698" y="308"/>
                    </a:lnTo>
                    <a:lnTo>
                      <a:pt x="698" y="310"/>
                    </a:lnTo>
                    <a:lnTo>
                      <a:pt x="700" y="310"/>
                    </a:lnTo>
                    <a:lnTo>
                      <a:pt x="698" y="310"/>
                    </a:lnTo>
                    <a:lnTo>
                      <a:pt x="696" y="310"/>
                    </a:lnTo>
                    <a:lnTo>
                      <a:pt x="696" y="308"/>
                    </a:lnTo>
                    <a:lnTo>
                      <a:pt x="694" y="308"/>
                    </a:lnTo>
                    <a:lnTo>
                      <a:pt x="694" y="306"/>
                    </a:lnTo>
                    <a:lnTo>
                      <a:pt x="694" y="304"/>
                    </a:lnTo>
                    <a:lnTo>
                      <a:pt x="694" y="302"/>
                    </a:lnTo>
                    <a:lnTo>
                      <a:pt x="696" y="302"/>
                    </a:lnTo>
                    <a:lnTo>
                      <a:pt x="698" y="300"/>
                    </a:lnTo>
                    <a:lnTo>
                      <a:pt x="700" y="298"/>
                    </a:lnTo>
                    <a:lnTo>
                      <a:pt x="700" y="296"/>
                    </a:lnTo>
                    <a:lnTo>
                      <a:pt x="700" y="294"/>
                    </a:lnTo>
                    <a:lnTo>
                      <a:pt x="700" y="292"/>
                    </a:lnTo>
                    <a:lnTo>
                      <a:pt x="701" y="292"/>
                    </a:lnTo>
                    <a:lnTo>
                      <a:pt x="701" y="290"/>
                    </a:lnTo>
                    <a:lnTo>
                      <a:pt x="703" y="290"/>
                    </a:lnTo>
                    <a:lnTo>
                      <a:pt x="705" y="290"/>
                    </a:lnTo>
                    <a:lnTo>
                      <a:pt x="707" y="290"/>
                    </a:lnTo>
                    <a:lnTo>
                      <a:pt x="709" y="290"/>
                    </a:lnTo>
                    <a:lnTo>
                      <a:pt x="711" y="290"/>
                    </a:lnTo>
                    <a:lnTo>
                      <a:pt x="713" y="290"/>
                    </a:lnTo>
                    <a:lnTo>
                      <a:pt x="711" y="290"/>
                    </a:lnTo>
                    <a:lnTo>
                      <a:pt x="713" y="290"/>
                    </a:lnTo>
                    <a:lnTo>
                      <a:pt x="715" y="290"/>
                    </a:lnTo>
                    <a:lnTo>
                      <a:pt x="717" y="290"/>
                    </a:lnTo>
                    <a:lnTo>
                      <a:pt x="715" y="290"/>
                    </a:lnTo>
                    <a:lnTo>
                      <a:pt x="717" y="290"/>
                    </a:lnTo>
                    <a:lnTo>
                      <a:pt x="717" y="292"/>
                    </a:lnTo>
                    <a:lnTo>
                      <a:pt x="717" y="290"/>
                    </a:lnTo>
                    <a:lnTo>
                      <a:pt x="719" y="292"/>
                    </a:lnTo>
                    <a:lnTo>
                      <a:pt x="721" y="292"/>
                    </a:lnTo>
                    <a:lnTo>
                      <a:pt x="723" y="292"/>
                    </a:lnTo>
                    <a:lnTo>
                      <a:pt x="725" y="292"/>
                    </a:lnTo>
                    <a:lnTo>
                      <a:pt x="725" y="290"/>
                    </a:lnTo>
                    <a:lnTo>
                      <a:pt x="725" y="292"/>
                    </a:lnTo>
                    <a:lnTo>
                      <a:pt x="725" y="290"/>
                    </a:lnTo>
                    <a:lnTo>
                      <a:pt x="725" y="289"/>
                    </a:lnTo>
                    <a:lnTo>
                      <a:pt x="725" y="287"/>
                    </a:lnTo>
                    <a:lnTo>
                      <a:pt x="726" y="287"/>
                    </a:lnTo>
                    <a:lnTo>
                      <a:pt x="728" y="285"/>
                    </a:lnTo>
                    <a:lnTo>
                      <a:pt x="730" y="285"/>
                    </a:lnTo>
                    <a:lnTo>
                      <a:pt x="732" y="285"/>
                    </a:lnTo>
                    <a:lnTo>
                      <a:pt x="734" y="285"/>
                    </a:lnTo>
                    <a:lnTo>
                      <a:pt x="736" y="285"/>
                    </a:lnTo>
                    <a:lnTo>
                      <a:pt x="734" y="287"/>
                    </a:lnTo>
                    <a:lnTo>
                      <a:pt x="732" y="287"/>
                    </a:lnTo>
                    <a:lnTo>
                      <a:pt x="730" y="287"/>
                    </a:lnTo>
                    <a:lnTo>
                      <a:pt x="730" y="289"/>
                    </a:lnTo>
                    <a:lnTo>
                      <a:pt x="728" y="289"/>
                    </a:lnTo>
                    <a:lnTo>
                      <a:pt x="728" y="290"/>
                    </a:lnTo>
                    <a:lnTo>
                      <a:pt x="728" y="292"/>
                    </a:lnTo>
                    <a:lnTo>
                      <a:pt x="730" y="294"/>
                    </a:lnTo>
                    <a:lnTo>
                      <a:pt x="730" y="292"/>
                    </a:lnTo>
                    <a:close/>
                    <a:moveTo>
                      <a:pt x="642" y="237"/>
                    </a:moveTo>
                    <a:lnTo>
                      <a:pt x="642" y="235"/>
                    </a:lnTo>
                    <a:lnTo>
                      <a:pt x="642" y="237"/>
                    </a:lnTo>
                    <a:close/>
                    <a:moveTo>
                      <a:pt x="602" y="239"/>
                    </a:moveTo>
                    <a:lnTo>
                      <a:pt x="604" y="237"/>
                    </a:lnTo>
                    <a:lnTo>
                      <a:pt x="604" y="239"/>
                    </a:lnTo>
                    <a:lnTo>
                      <a:pt x="602" y="239"/>
                    </a:lnTo>
                    <a:close/>
                    <a:moveTo>
                      <a:pt x="525" y="148"/>
                    </a:moveTo>
                    <a:lnTo>
                      <a:pt x="523" y="148"/>
                    </a:lnTo>
                    <a:lnTo>
                      <a:pt x="525" y="150"/>
                    </a:lnTo>
                    <a:lnTo>
                      <a:pt x="523" y="150"/>
                    </a:lnTo>
                    <a:lnTo>
                      <a:pt x="521" y="150"/>
                    </a:lnTo>
                    <a:lnTo>
                      <a:pt x="521" y="148"/>
                    </a:lnTo>
                    <a:lnTo>
                      <a:pt x="523" y="148"/>
                    </a:lnTo>
                    <a:lnTo>
                      <a:pt x="521" y="148"/>
                    </a:lnTo>
                    <a:lnTo>
                      <a:pt x="523" y="148"/>
                    </a:lnTo>
                    <a:lnTo>
                      <a:pt x="525" y="148"/>
                    </a:lnTo>
                    <a:close/>
                    <a:moveTo>
                      <a:pt x="575" y="133"/>
                    </a:moveTo>
                    <a:lnTo>
                      <a:pt x="575" y="135"/>
                    </a:lnTo>
                    <a:lnTo>
                      <a:pt x="577" y="135"/>
                    </a:lnTo>
                    <a:lnTo>
                      <a:pt x="579" y="135"/>
                    </a:lnTo>
                    <a:lnTo>
                      <a:pt x="580" y="135"/>
                    </a:lnTo>
                    <a:lnTo>
                      <a:pt x="582" y="135"/>
                    </a:lnTo>
                    <a:lnTo>
                      <a:pt x="580" y="135"/>
                    </a:lnTo>
                    <a:lnTo>
                      <a:pt x="582" y="135"/>
                    </a:lnTo>
                    <a:lnTo>
                      <a:pt x="584" y="135"/>
                    </a:lnTo>
                    <a:lnTo>
                      <a:pt x="582" y="135"/>
                    </a:lnTo>
                    <a:lnTo>
                      <a:pt x="582" y="137"/>
                    </a:lnTo>
                    <a:lnTo>
                      <a:pt x="582" y="135"/>
                    </a:lnTo>
                    <a:lnTo>
                      <a:pt x="582" y="137"/>
                    </a:lnTo>
                    <a:lnTo>
                      <a:pt x="584" y="137"/>
                    </a:lnTo>
                    <a:lnTo>
                      <a:pt x="584" y="135"/>
                    </a:lnTo>
                    <a:lnTo>
                      <a:pt x="584" y="137"/>
                    </a:lnTo>
                    <a:lnTo>
                      <a:pt x="584" y="135"/>
                    </a:lnTo>
                    <a:lnTo>
                      <a:pt x="586" y="135"/>
                    </a:lnTo>
                    <a:lnTo>
                      <a:pt x="584" y="135"/>
                    </a:lnTo>
                    <a:lnTo>
                      <a:pt x="586" y="135"/>
                    </a:lnTo>
                    <a:lnTo>
                      <a:pt x="584" y="137"/>
                    </a:lnTo>
                    <a:lnTo>
                      <a:pt x="584" y="135"/>
                    </a:lnTo>
                    <a:lnTo>
                      <a:pt x="584" y="137"/>
                    </a:lnTo>
                    <a:lnTo>
                      <a:pt x="586" y="137"/>
                    </a:lnTo>
                    <a:lnTo>
                      <a:pt x="584" y="135"/>
                    </a:lnTo>
                    <a:lnTo>
                      <a:pt x="586" y="135"/>
                    </a:lnTo>
                    <a:lnTo>
                      <a:pt x="586" y="137"/>
                    </a:lnTo>
                    <a:lnTo>
                      <a:pt x="586" y="135"/>
                    </a:lnTo>
                    <a:lnTo>
                      <a:pt x="586" y="137"/>
                    </a:lnTo>
                    <a:lnTo>
                      <a:pt x="586" y="135"/>
                    </a:lnTo>
                    <a:lnTo>
                      <a:pt x="588" y="135"/>
                    </a:lnTo>
                    <a:lnTo>
                      <a:pt x="590" y="135"/>
                    </a:lnTo>
                    <a:lnTo>
                      <a:pt x="588" y="135"/>
                    </a:lnTo>
                    <a:lnTo>
                      <a:pt x="590" y="135"/>
                    </a:lnTo>
                    <a:lnTo>
                      <a:pt x="592" y="135"/>
                    </a:lnTo>
                    <a:lnTo>
                      <a:pt x="590" y="135"/>
                    </a:lnTo>
                    <a:lnTo>
                      <a:pt x="592" y="135"/>
                    </a:lnTo>
                    <a:lnTo>
                      <a:pt x="594" y="135"/>
                    </a:lnTo>
                    <a:lnTo>
                      <a:pt x="592" y="135"/>
                    </a:lnTo>
                    <a:lnTo>
                      <a:pt x="594" y="135"/>
                    </a:lnTo>
                    <a:lnTo>
                      <a:pt x="596" y="135"/>
                    </a:lnTo>
                    <a:lnTo>
                      <a:pt x="598" y="137"/>
                    </a:lnTo>
                    <a:lnTo>
                      <a:pt x="596" y="137"/>
                    </a:lnTo>
                    <a:lnTo>
                      <a:pt x="598" y="137"/>
                    </a:lnTo>
                    <a:lnTo>
                      <a:pt x="596" y="137"/>
                    </a:lnTo>
                    <a:lnTo>
                      <a:pt x="598" y="137"/>
                    </a:lnTo>
                    <a:lnTo>
                      <a:pt x="596" y="137"/>
                    </a:lnTo>
                    <a:lnTo>
                      <a:pt x="598" y="137"/>
                    </a:lnTo>
                    <a:lnTo>
                      <a:pt x="596" y="137"/>
                    </a:lnTo>
                    <a:lnTo>
                      <a:pt x="598" y="137"/>
                    </a:lnTo>
                    <a:lnTo>
                      <a:pt x="598" y="139"/>
                    </a:lnTo>
                    <a:lnTo>
                      <a:pt x="600" y="139"/>
                    </a:lnTo>
                    <a:lnTo>
                      <a:pt x="600" y="141"/>
                    </a:lnTo>
                    <a:lnTo>
                      <a:pt x="598" y="141"/>
                    </a:lnTo>
                    <a:lnTo>
                      <a:pt x="600" y="141"/>
                    </a:lnTo>
                    <a:lnTo>
                      <a:pt x="602" y="141"/>
                    </a:lnTo>
                    <a:lnTo>
                      <a:pt x="600" y="141"/>
                    </a:lnTo>
                    <a:lnTo>
                      <a:pt x="602" y="141"/>
                    </a:lnTo>
                    <a:lnTo>
                      <a:pt x="604" y="141"/>
                    </a:lnTo>
                    <a:lnTo>
                      <a:pt x="602" y="141"/>
                    </a:lnTo>
                    <a:lnTo>
                      <a:pt x="604" y="141"/>
                    </a:lnTo>
                    <a:lnTo>
                      <a:pt x="602" y="141"/>
                    </a:lnTo>
                    <a:lnTo>
                      <a:pt x="604" y="141"/>
                    </a:lnTo>
                    <a:lnTo>
                      <a:pt x="602" y="141"/>
                    </a:lnTo>
                    <a:lnTo>
                      <a:pt x="604" y="141"/>
                    </a:lnTo>
                    <a:lnTo>
                      <a:pt x="604" y="142"/>
                    </a:lnTo>
                    <a:lnTo>
                      <a:pt x="602" y="142"/>
                    </a:lnTo>
                    <a:lnTo>
                      <a:pt x="604" y="142"/>
                    </a:lnTo>
                    <a:lnTo>
                      <a:pt x="602" y="142"/>
                    </a:lnTo>
                    <a:lnTo>
                      <a:pt x="600" y="142"/>
                    </a:lnTo>
                    <a:lnTo>
                      <a:pt x="598" y="142"/>
                    </a:lnTo>
                    <a:lnTo>
                      <a:pt x="596" y="142"/>
                    </a:lnTo>
                    <a:lnTo>
                      <a:pt x="594" y="142"/>
                    </a:lnTo>
                    <a:lnTo>
                      <a:pt x="596" y="142"/>
                    </a:lnTo>
                    <a:lnTo>
                      <a:pt x="594" y="142"/>
                    </a:lnTo>
                    <a:lnTo>
                      <a:pt x="592" y="142"/>
                    </a:lnTo>
                    <a:lnTo>
                      <a:pt x="592" y="144"/>
                    </a:lnTo>
                    <a:lnTo>
                      <a:pt x="590" y="144"/>
                    </a:lnTo>
                    <a:lnTo>
                      <a:pt x="588" y="144"/>
                    </a:lnTo>
                    <a:lnTo>
                      <a:pt x="586" y="144"/>
                    </a:lnTo>
                    <a:lnTo>
                      <a:pt x="584" y="144"/>
                    </a:lnTo>
                    <a:lnTo>
                      <a:pt x="584" y="146"/>
                    </a:lnTo>
                    <a:lnTo>
                      <a:pt x="584" y="144"/>
                    </a:lnTo>
                    <a:lnTo>
                      <a:pt x="584" y="146"/>
                    </a:lnTo>
                    <a:lnTo>
                      <a:pt x="582" y="146"/>
                    </a:lnTo>
                    <a:lnTo>
                      <a:pt x="584" y="146"/>
                    </a:lnTo>
                    <a:lnTo>
                      <a:pt x="582" y="146"/>
                    </a:lnTo>
                    <a:lnTo>
                      <a:pt x="584" y="146"/>
                    </a:lnTo>
                    <a:lnTo>
                      <a:pt x="586" y="144"/>
                    </a:lnTo>
                    <a:lnTo>
                      <a:pt x="588" y="144"/>
                    </a:lnTo>
                    <a:lnTo>
                      <a:pt x="590" y="144"/>
                    </a:lnTo>
                    <a:lnTo>
                      <a:pt x="592" y="144"/>
                    </a:lnTo>
                    <a:lnTo>
                      <a:pt x="592" y="142"/>
                    </a:lnTo>
                    <a:lnTo>
                      <a:pt x="594" y="142"/>
                    </a:lnTo>
                    <a:lnTo>
                      <a:pt x="596" y="142"/>
                    </a:lnTo>
                    <a:lnTo>
                      <a:pt x="594" y="142"/>
                    </a:lnTo>
                    <a:lnTo>
                      <a:pt x="596" y="142"/>
                    </a:lnTo>
                    <a:lnTo>
                      <a:pt x="594" y="142"/>
                    </a:lnTo>
                    <a:lnTo>
                      <a:pt x="596" y="142"/>
                    </a:lnTo>
                    <a:lnTo>
                      <a:pt x="594" y="144"/>
                    </a:lnTo>
                    <a:lnTo>
                      <a:pt x="592" y="146"/>
                    </a:lnTo>
                    <a:lnTo>
                      <a:pt x="590" y="146"/>
                    </a:lnTo>
                    <a:lnTo>
                      <a:pt x="590" y="148"/>
                    </a:lnTo>
                    <a:lnTo>
                      <a:pt x="590" y="146"/>
                    </a:lnTo>
                    <a:lnTo>
                      <a:pt x="590" y="148"/>
                    </a:lnTo>
                    <a:lnTo>
                      <a:pt x="592" y="148"/>
                    </a:lnTo>
                    <a:lnTo>
                      <a:pt x="590" y="148"/>
                    </a:lnTo>
                    <a:lnTo>
                      <a:pt x="588" y="148"/>
                    </a:lnTo>
                    <a:lnTo>
                      <a:pt x="588" y="150"/>
                    </a:lnTo>
                    <a:lnTo>
                      <a:pt x="588" y="148"/>
                    </a:lnTo>
                    <a:lnTo>
                      <a:pt x="588" y="150"/>
                    </a:lnTo>
                    <a:lnTo>
                      <a:pt x="586" y="150"/>
                    </a:lnTo>
                    <a:lnTo>
                      <a:pt x="588" y="150"/>
                    </a:lnTo>
                    <a:lnTo>
                      <a:pt x="586" y="150"/>
                    </a:lnTo>
                    <a:lnTo>
                      <a:pt x="586" y="152"/>
                    </a:lnTo>
                    <a:lnTo>
                      <a:pt x="584" y="152"/>
                    </a:lnTo>
                    <a:lnTo>
                      <a:pt x="582" y="152"/>
                    </a:lnTo>
                    <a:lnTo>
                      <a:pt x="580" y="152"/>
                    </a:lnTo>
                    <a:lnTo>
                      <a:pt x="579" y="154"/>
                    </a:lnTo>
                    <a:lnTo>
                      <a:pt x="577" y="154"/>
                    </a:lnTo>
                    <a:lnTo>
                      <a:pt x="575" y="154"/>
                    </a:lnTo>
                    <a:lnTo>
                      <a:pt x="573" y="154"/>
                    </a:lnTo>
                    <a:lnTo>
                      <a:pt x="573" y="156"/>
                    </a:lnTo>
                    <a:lnTo>
                      <a:pt x="571" y="156"/>
                    </a:lnTo>
                    <a:lnTo>
                      <a:pt x="573" y="156"/>
                    </a:lnTo>
                    <a:lnTo>
                      <a:pt x="571" y="156"/>
                    </a:lnTo>
                    <a:lnTo>
                      <a:pt x="569" y="156"/>
                    </a:lnTo>
                    <a:lnTo>
                      <a:pt x="567" y="156"/>
                    </a:lnTo>
                    <a:lnTo>
                      <a:pt x="565" y="156"/>
                    </a:lnTo>
                    <a:lnTo>
                      <a:pt x="565" y="158"/>
                    </a:lnTo>
                    <a:lnTo>
                      <a:pt x="563" y="158"/>
                    </a:lnTo>
                    <a:lnTo>
                      <a:pt x="563" y="156"/>
                    </a:lnTo>
                    <a:lnTo>
                      <a:pt x="563" y="158"/>
                    </a:lnTo>
                    <a:lnTo>
                      <a:pt x="565" y="158"/>
                    </a:lnTo>
                    <a:lnTo>
                      <a:pt x="563" y="158"/>
                    </a:lnTo>
                    <a:lnTo>
                      <a:pt x="565" y="158"/>
                    </a:lnTo>
                    <a:lnTo>
                      <a:pt x="563" y="158"/>
                    </a:lnTo>
                    <a:lnTo>
                      <a:pt x="563" y="160"/>
                    </a:lnTo>
                    <a:lnTo>
                      <a:pt x="561" y="160"/>
                    </a:lnTo>
                    <a:lnTo>
                      <a:pt x="561" y="162"/>
                    </a:lnTo>
                    <a:lnTo>
                      <a:pt x="563" y="162"/>
                    </a:lnTo>
                    <a:lnTo>
                      <a:pt x="561" y="162"/>
                    </a:lnTo>
                    <a:lnTo>
                      <a:pt x="563" y="162"/>
                    </a:lnTo>
                    <a:lnTo>
                      <a:pt x="565" y="164"/>
                    </a:lnTo>
                    <a:lnTo>
                      <a:pt x="567" y="164"/>
                    </a:lnTo>
                    <a:lnTo>
                      <a:pt x="565" y="164"/>
                    </a:lnTo>
                    <a:lnTo>
                      <a:pt x="565" y="166"/>
                    </a:lnTo>
                    <a:lnTo>
                      <a:pt x="567" y="166"/>
                    </a:lnTo>
                    <a:lnTo>
                      <a:pt x="565" y="166"/>
                    </a:lnTo>
                    <a:lnTo>
                      <a:pt x="567" y="166"/>
                    </a:lnTo>
                    <a:lnTo>
                      <a:pt x="565" y="166"/>
                    </a:lnTo>
                    <a:lnTo>
                      <a:pt x="567" y="166"/>
                    </a:lnTo>
                    <a:lnTo>
                      <a:pt x="569" y="166"/>
                    </a:lnTo>
                    <a:lnTo>
                      <a:pt x="571" y="166"/>
                    </a:lnTo>
                    <a:lnTo>
                      <a:pt x="571" y="167"/>
                    </a:lnTo>
                    <a:lnTo>
                      <a:pt x="573" y="167"/>
                    </a:lnTo>
                    <a:lnTo>
                      <a:pt x="573" y="169"/>
                    </a:lnTo>
                    <a:lnTo>
                      <a:pt x="571" y="169"/>
                    </a:lnTo>
                    <a:lnTo>
                      <a:pt x="571" y="171"/>
                    </a:lnTo>
                    <a:lnTo>
                      <a:pt x="573" y="171"/>
                    </a:lnTo>
                    <a:lnTo>
                      <a:pt x="571" y="171"/>
                    </a:lnTo>
                    <a:lnTo>
                      <a:pt x="573" y="171"/>
                    </a:lnTo>
                    <a:lnTo>
                      <a:pt x="571" y="171"/>
                    </a:lnTo>
                    <a:lnTo>
                      <a:pt x="573" y="169"/>
                    </a:lnTo>
                    <a:lnTo>
                      <a:pt x="573" y="167"/>
                    </a:lnTo>
                    <a:lnTo>
                      <a:pt x="571" y="167"/>
                    </a:lnTo>
                    <a:lnTo>
                      <a:pt x="571" y="166"/>
                    </a:lnTo>
                    <a:lnTo>
                      <a:pt x="571" y="167"/>
                    </a:lnTo>
                    <a:lnTo>
                      <a:pt x="571" y="166"/>
                    </a:lnTo>
                    <a:lnTo>
                      <a:pt x="569" y="166"/>
                    </a:lnTo>
                    <a:lnTo>
                      <a:pt x="567" y="166"/>
                    </a:lnTo>
                    <a:lnTo>
                      <a:pt x="565" y="164"/>
                    </a:lnTo>
                    <a:lnTo>
                      <a:pt x="567" y="164"/>
                    </a:lnTo>
                    <a:lnTo>
                      <a:pt x="565" y="164"/>
                    </a:lnTo>
                    <a:lnTo>
                      <a:pt x="565" y="162"/>
                    </a:lnTo>
                    <a:lnTo>
                      <a:pt x="563" y="162"/>
                    </a:lnTo>
                    <a:lnTo>
                      <a:pt x="561" y="162"/>
                    </a:lnTo>
                    <a:lnTo>
                      <a:pt x="561" y="160"/>
                    </a:lnTo>
                    <a:lnTo>
                      <a:pt x="563" y="160"/>
                    </a:lnTo>
                    <a:lnTo>
                      <a:pt x="561" y="160"/>
                    </a:lnTo>
                    <a:lnTo>
                      <a:pt x="563" y="160"/>
                    </a:lnTo>
                    <a:lnTo>
                      <a:pt x="561" y="160"/>
                    </a:lnTo>
                    <a:lnTo>
                      <a:pt x="563" y="160"/>
                    </a:lnTo>
                    <a:lnTo>
                      <a:pt x="561" y="160"/>
                    </a:lnTo>
                    <a:lnTo>
                      <a:pt x="563" y="160"/>
                    </a:lnTo>
                    <a:lnTo>
                      <a:pt x="563" y="158"/>
                    </a:lnTo>
                    <a:lnTo>
                      <a:pt x="565" y="158"/>
                    </a:lnTo>
                    <a:lnTo>
                      <a:pt x="567" y="158"/>
                    </a:lnTo>
                    <a:lnTo>
                      <a:pt x="569" y="158"/>
                    </a:lnTo>
                    <a:lnTo>
                      <a:pt x="571" y="158"/>
                    </a:lnTo>
                    <a:lnTo>
                      <a:pt x="573" y="158"/>
                    </a:lnTo>
                    <a:lnTo>
                      <a:pt x="571" y="158"/>
                    </a:lnTo>
                    <a:lnTo>
                      <a:pt x="573" y="158"/>
                    </a:lnTo>
                    <a:lnTo>
                      <a:pt x="575" y="158"/>
                    </a:lnTo>
                    <a:lnTo>
                      <a:pt x="575" y="156"/>
                    </a:lnTo>
                    <a:lnTo>
                      <a:pt x="577" y="156"/>
                    </a:lnTo>
                    <a:lnTo>
                      <a:pt x="575" y="156"/>
                    </a:lnTo>
                    <a:lnTo>
                      <a:pt x="577" y="156"/>
                    </a:lnTo>
                    <a:lnTo>
                      <a:pt x="575" y="156"/>
                    </a:lnTo>
                    <a:lnTo>
                      <a:pt x="577" y="156"/>
                    </a:lnTo>
                    <a:lnTo>
                      <a:pt x="577" y="158"/>
                    </a:lnTo>
                    <a:lnTo>
                      <a:pt x="577" y="156"/>
                    </a:lnTo>
                    <a:lnTo>
                      <a:pt x="577" y="158"/>
                    </a:lnTo>
                    <a:lnTo>
                      <a:pt x="579" y="158"/>
                    </a:lnTo>
                    <a:lnTo>
                      <a:pt x="580" y="158"/>
                    </a:lnTo>
                    <a:lnTo>
                      <a:pt x="582" y="158"/>
                    </a:lnTo>
                    <a:lnTo>
                      <a:pt x="584" y="156"/>
                    </a:lnTo>
                    <a:lnTo>
                      <a:pt x="586" y="156"/>
                    </a:lnTo>
                    <a:lnTo>
                      <a:pt x="588" y="156"/>
                    </a:lnTo>
                    <a:lnTo>
                      <a:pt x="590" y="156"/>
                    </a:lnTo>
                    <a:lnTo>
                      <a:pt x="592" y="156"/>
                    </a:lnTo>
                    <a:lnTo>
                      <a:pt x="592" y="154"/>
                    </a:lnTo>
                    <a:lnTo>
                      <a:pt x="594" y="154"/>
                    </a:lnTo>
                    <a:lnTo>
                      <a:pt x="596" y="154"/>
                    </a:lnTo>
                    <a:lnTo>
                      <a:pt x="598" y="154"/>
                    </a:lnTo>
                    <a:lnTo>
                      <a:pt x="598" y="152"/>
                    </a:lnTo>
                    <a:lnTo>
                      <a:pt x="600" y="152"/>
                    </a:lnTo>
                    <a:lnTo>
                      <a:pt x="598" y="152"/>
                    </a:lnTo>
                    <a:lnTo>
                      <a:pt x="598" y="154"/>
                    </a:lnTo>
                    <a:lnTo>
                      <a:pt x="598" y="156"/>
                    </a:lnTo>
                    <a:lnTo>
                      <a:pt x="596" y="156"/>
                    </a:lnTo>
                    <a:lnTo>
                      <a:pt x="596" y="158"/>
                    </a:lnTo>
                    <a:lnTo>
                      <a:pt x="594" y="158"/>
                    </a:lnTo>
                    <a:lnTo>
                      <a:pt x="592" y="158"/>
                    </a:lnTo>
                    <a:lnTo>
                      <a:pt x="590" y="158"/>
                    </a:lnTo>
                    <a:lnTo>
                      <a:pt x="592" y="158"/>
                    </a:lnTo>
                    <a:lnTo>
                      <a:pt x="590" y="158"/>
                    </a:lnTo>
                    <a:lnTo>
                      <a:pt x="590" y="160"/>
                    </a:lnTo>
                    <a:lnTo>
                      <a:pt x="588" y="160"/>
                    </a:lnTo>
                    <a:lnTo>
                      <a:pt x="590" y="160"/>
                    </a:lnTo>
                    <a:lnTo>
                      <a:pt x="590" y="162"/>
                    </a:lnTo>
                    <a:lnTo>
                      <a:pt x="592" y="162"/>
                    </a:lnTo>
                    <a:lnTo>
                      <a:pt x="590" y="162"/>
                    </a:lnTo>
                    <a:lnTo>
                      <a:pt x="592" y="162"/>
                    </a:lnTo>
                    <a:lnTo>
                      <a:pt x="590" y="162"/>
                    </a:lnTo>
                    <a:lnTo>
                      <a:pt x="590" y="160"/>
                    </a:lnTo>
                    <a:lnTo>
                      <a:pt x="592" y="160"/>
                    </a:lnTo>
                    <a:lnTo>
                      <a:pt x="590" y="160"/>
                    </a:lnTo>
                    <a:lnTo>
                      <a:pt x="592" y="160"/>
                    </a:lnTo>
                    <a:lnTo>
                      <a:pt x="594" y="160"/>
                    </a:lnTo>
                    <a:lnTo>
                      <a:pt x="596" y="160"/>
                    </a:lnTo>
                    <a:lnTo>
                      <a:pt x="598" y="160"/>
                    </a:lnTo>
                    <a:lnTo>
                      <a:pt x="598" y="158"/>
                    </a:lnTo>
                    <a:lnTo>
                      <a:pt x="600" y="160"/>
                    </a:lnTo>
                    <a:lnTo>
                      <a:pt x="600" y="158"/>
                    </a:lnTo>
                    <a:lnTo>
                      <a:pt x="602" y="158"/>
                    </a:lnTo>
                    <a:lnTo>
                      <a:pt x="600" y="158"/>
                    </a:lnTo>
                    <a:lnTo>
                      <a:pt x="602" y="158"/>
                    </a:lnTo>
                    <a:lnTo>
                      <a:pt x="602" y="156"/>
                    </a:lnTo>
                    <a:lnTo>
                      <a:pt x="604" y="156"/>
                    </a:lnTo>
                    <a:lnTo>
                      <a:pt x="602" y="156"/>
                    </a:lnTo>
                    <a:lnTo>
                      <a:pt x="604" y="156"/>
                    </a:lnTo>
                    <a:lnTo>
                      <a:pt x="605" y="156"/>
                    </a:lnTo>
                    <a:lnTo>
                      <a:pt x="607" y="156"/>
                    </a:lnTo>
                    <a:lnTo>
                      <a:pt x="609" y="156"/>
                    </a:lnTo>
                    <a:lnTo>
                      <a:pt x="607" y="156"/>
                    </a:lnTo>
                    <a:lnTo>
                      <a:pt x="609" y="156"/>
                    </a:lnTo>
                    <a:lnTo>
                      <a:pt x="609" y="158"/>
                    </a:lnTo>
                    <a:lnTo>
                      <a:pt x="609" y="156"/>
                    </a:lnTo>
                    <a:lnTo>
                      <a:pt x="611" y="156"/>
                    </a:lnTo>
                    <a:lnTo>
                      <a:pt x="611" y="158"/>
                    </a:lnTo>
                    <a:lnTo>
                      <a:pt x="611" y="156"/>
                    </a:lnTo>
                    <a:lnTo>
                      <a:pt x="613" y="156"/>
                    </a:lnTo>
                    <a:lnTo>
                      <a:pt x="611" y="156"/>
                    </a:lnTo>
                    <a:lnTo>
                      <a:pt x="613" y="156"/>
                    </a:lnTo>
                    <a:lnTo>
                      <a:pt x="613" y="158"/>
                    </a:lnTo>
                    <a:lnTo>
                      <a:pt x="613" y="156"/>
                    </a:lnTo>
                    <a:lnTo>
                      <a:pt x="613" y="158"/>
                    </a:lnTo>
                    <a:lnTo>
                      <a:pt x="611" y="158"/>
                    </a:lnTo>
                    <a:lnTo>
                      <a:pt x="609" y="158"/>
                    </a:lnTo>
                    <a:lnTo>
                      <a:pt x="611" y="158"/>
                    </a:lnTo>
                    <a:lnTo>
                      <a:pt x="609" y="158"/>
                    </a:lnTo>
                    <a:lnTo>
                      <a:pt x="611" y="158"/>
                    </a:lnTo>
                    <a:lnTo>
                      <a:pt x="613" y="158"/>
                    </a:lnTo>
                    <a:lnTo>
                      <a:pt x="613" y="156"/>
                    </a:lnTo>
                    <a:lnTo>
                      <a:pt x="613" y="158"/>
                    </a:lnTo>
                    <a:lnTo>
                      <a:pt x="613" y="156"/>
                    </a:lnTo>
                    <a:lnTo>
                      <a:pt x="615" y="156"/>
                    </a:lnTo>
                    <a:lnTo>
                      <a:pt x="617" y="156"/>
                    </a:lnTo>
                    <a:lnTo>
                      <a:pt x="615" y="156"/>
                    </a:lnTo>
                    <a:lnTo>
                      <a:pt x="617" y="156"/>
                    </a:lnTo>
                    <a:lnTo>
                      <a:pt x="615" y="156"/>
                    </a:lnTo>
                    <a:lnTo>
                      <a:pt x="613" y="156"/>
                    </a:lnTo>
                    <a:lnTo>
                      <a:pt x="615" y="156"/>
                    </a:lnTo>
                    <a:lnTo>
                      <a:pt x="613" y="156"/>
                    </a:lnTo>
                    <a:lnTo>
                      <a:pt x="615" y="156"/>
                    </a:lnTo>
                    <a:lnTo>
                      <a:pt x="617" y="156"/>
                    </a:lnTo>
                    <a:lnTo>
                      <a:pt x="615" y="156"/>
                    </a:lnTo>
                    <a:lnTo>
                      <a:pt x="617" y="156"/>
                    </a:lnTo>
                    <a:lnTo>
                      <a:pt x="615" y="156"/>
                    </a:lnTo>
                    <a:lnTo>
                      <a:pt x="615" y="154"/>
                    </a:lnTo>
                    <a:lnTo>
                      <a:pt x="617" y="154"/>
                    </a:lnTo>
                    <a:lnTo>
                      <a:pt x="619" y="154"/>
                    </a:lnTo>
                    <a:lnTo>
                      <a:pt x="617" y="154"/>
                    </a:lnTo>
                    <a:lnTo>
                      <a:pt x="619" y="154"/>
                    </a:lnTo>
                    <a:lnTo>
                      <a:pt x="617" y="154"/>
                    </a:lnTo>
                    <a:lnTo>
                      <a:pt x="619" y="154"/>
                    </a:lnTo>
                    <a:lnTo>
                      <a:pt x="619" y="156"/>
                    </a:lnTo>
                    <a:lnTo>
                      <a:pt x="621" y="156"/>
                    </a:lnTo>
                    <a:lnTo>
                      <a:pt x="619" y="156"/>
                    </a:lnTo>
                    <a:lnTo>
                      <a:pt x="621" y="156"/>
                    </a:lnTo>
                    <a:lnTo>
                      <a:pt x="621" y="154"/>
                    </a:lnTo>
                    <a:lnTo>
                      <a:pt x="621" y="156"/>
                    </a:lnTo>
                    <a:lnTo>
                      <a:pt x="619" y="156"/>
                    </a:lnTo>
                    <a:lnTo>
                      <a:pt x="621" y="156"/>
                    </a:lnTo>
                    <a:lnTo>
                      <a:pt x="623" y="156"/>
                    </a:lnTo>
                    <a:lnTo>
                      <a:pt x="625" y="156"/>
                    </a:lnTo>
                    <a:lnTo>
                      <a:pt x="627" y="156"/>
                    </a:lnTo>
                    <a:lnTo>
                      <a:pt x="627" y="158"/>
                    </a:lnTo>
                    <a:lnTo>
                      <a:pt x="628" y="158"/>
                    </a:lnTo>
                    <a:lnTo>
                      <a:pt x="630" y="158"/>
                    </a:lnTo>
                    <a:lnTo>
                      <a:pt x="628" y="158"/>
                    </a:lnTo>
                    <a:lnTo>
                      <a:pt x="630" y="158"/>
                    </a:lnTo>
                    <a:lnTo>
                      <a:pt x="630" y="160"/>
                    </a:lnTo>
                    <a:lnTo>
                      <a:pt x="630" y="158"/>
                    </a:lnTo>
                    <a:lnTo>
                      <a:pt x="630" y="160"/>
                    </a:lnTo>
                    <a:lnTo>
                      <a:pt x="628" y="160"/>
                    </a:lnTo>
                    <a:lnTo>
                      <a:pt x="627" y="160"/>
                    </a:lnTo>
                    <a:lnTo>
                      <a:pt x="625" y="160"/>
                    </a:lnTo>
                    <a:lnTo>
                      <a:pt x="625" y="162"/>
                    </a:lnTo>
                    <a:lnTo>
                      <a:pt x="625" y="160"/>
                    </a:lnTo>
                    <a:lnTo>
                      <a:pt x="625" y="162"/>
                    </a:lnTo>
                    <a:lnTo>
                      <a:pt x="625" y="160"/>
                    </a:lnTo>
                    <a:lnTo>
                      <a:pt x="625" y="162"/>
                    </a:lnTo>
                    <a:lnTo>
                      <a:pt x="627" y="162"/>
                    </a:lnTo>
                    <a:lnTo>
                      <a:pt x="627" y="160"/>
                    </a:lnTo>
                    <a:lnTo>
                      <a:pt x="627" y="162"/>
                    </a:lnTo>
                    <a:lnTo>
                      <a:pt x="627" y="160"/>
                    </a:lnTo>
                    <a:lnTo>
                      <a:pt x="627" y="162"/>
                    </a:lnTo>
                    <a:lnTo>
                      <a:pt x="627" y="160"/>
                    </a:lnTo>
                    <a:lnTo>
                      <a:pt x="627" y="162"/>
                    </a:lnTo>
                    <a:lnTo>
                      <a:pt x="628" y="160"/>
                    </a:lnTo>
                    <a:lnTo>
                      <a:pt x="628" y="162"/>
                    </a:lnTo>
                    <a:lnTo>
                      <a:pt x="628" y="160"/>
                    </a:lnTo>
                    <a:lnTo>
                      <a:pt x="628" y="162"/>
                    </a:lnTo>
                    <a:lnTo>
                      <a:pt x="627" y="162"/>
                    </a:lnTo>
                    <a:lnTo>
                      <a:pt x="625" y="162"/>
                    </a:lnTo>
                    <a:lnTo>
                      <a:pt x="625" y="164"/>
                    </a:lnTo>
                    <a:lnTo>
                      <a:pt x="627" y="164"/>
                    </a:lnTo>
                    <a:lnTo>
                      <a:pt x="627" y="162"/>
                    </a:lnTo>
                    <a:lnTo>
                      <a:pt x="627" y="164"/>
                    </a:lnTo>
                    <a:lnTo>
                      <a:pt x="627" y="162"/>
                    </a:lnTo>
                    <a:lnTo>
                      <a:pt x="627" y="164"/>
                    </a:lnTo>
                    <a:lnTo>
                      <a:pt x="625" y="164"/>
                    </a:lnTo>
                    <a:lnTo>
                      <a:pt x="623" y="166"/>
                    </a:lnTo>
                    <a:lnTo>
                      <a:pt x="623" y="164"/>
                    </a:lnTo>
                    <a:lnTo>
                      <a:pt x="623" y="166"/>
                    </a:lnTo>
                    <a:lnTo>
                      <a:pt x="623" y="167"/>
                    </a:lnTo>
                    <a:lnTo>
                      <a:pt x="621" y="167"/>
                    </a:lnTo>
                    <a:lnTo>
                      <a:pt x="621" y="169"/>
                    </a:lnTo>
                    <a:lnTo>
                      <a:pt x="619" y="169"/>
                    </a:lnTo>
                    <a:lnTo>
                      <a:pt x="617" y="169"/>
                    </a:lnTo>
                    <a:lnTo>
                      <a:pt x="617" y="171"/>
                    </a:lnTo>
                    <a:lnTo>
                      <a:pt x="619" y="171"/>
                    </a:lnTo>
                    <a:lnTo>
                      <a:pt x="617" y="171"/>
                    </a:lnTo>
                    <a:lnTo>
                      <a:pt x="617" y="173"/>
                    </a:lnTo>
                    <a:lnTo>
                      <a:pt x="617" y="171"/>
                    </a:lnTo>
                    <a:lnTo>
                      <a:pt x="617" y="173"/>
                    </a:lnTo>
                    <a:lnTo>
                      <a:pt x="619" y="173"/>
                    </a:lnTo>
                    <a:lnTo>
                      <a:pt x="617" y="173"/>
                    </a:lnTo>
                    <a:lnTo>
                      <a:pt x="619" y="173"/>
                    </a:lnTo>
                    <a:lnTo>
                      <a:pt x="617" y="173"/>
                    </a:lnTo>
                    <a:lnTo>
                      <a:pt x="617" y="175"/>
                    </a:lnTo>
                    <a:lnTo>
                      <a:pt x="617" y="177"/>
                    </a:lnTo>
                    <a:lnTo>
                      <a:pt x="615" y="177"/>
                    </a:lnTo>
                    <a:lnTo>
                      <a:pt x="613" y="175"/>
                    </a:lnTo>
                    <a:lnTo>
                      <a:pt x="615" y="175"/>
                    </a:lnTo>
                    <a:lnTo>
                      <a:pt x="613" y="175"/>
                    </a:lnTo>
                    <a:lnTo>
                      <a:pt x="611" y="175"/>
                    </a:lnTo>
                    <a:lnTo>
                      <a:pt x="613" y="175"/>
                    </a:lnTo>
                    <a:lnTo>
                      <a:pt x="611" y="175"/>
                    </a:lnTo>
                    <a:lnTo>
                      <a:pt x="613" y="175"/>
                    </a:lnTo>
                    <a:lnTo>
                      <a:pt x="611" y="175"/>
                    </a:lnTo>
                    <a:lnTo>
                      <a:pt x="611" y="177"/>
                    </a:lnTo>
                    <a:lnTo>
                      <a:pt x="611" y="175"/>
                    </a:lnTo>
                    <a:lnTo>
                      <a:pt x="611" y="177"/>
                    </a:lnTo>
                    <a:lnTo>
                      <a:pt x="611" y="179"/>
                    </a:lnTo>
                    <a:lnTo>
                      <a:pt x="613" y="179"/>
                    </a:lnTo>
                    <a:lnTo>
                      <a:pt x="613" y="181"/>
                    </a:lnTo>
                    <a:lnTo>
                      <a:pt x="613" y="179"/>
                    </a:lnTo>
                    <a:lnTo>
                      <a:pt x="615" y="179"/>
                    </a:lnTo>
                    <a:lnTo>
                      <a:pt x="615" y="181"/>
                    </a:lnTo>
                    <a:lnTo>
                      <a:pt x="617" y="179"/>
                    </a:lnTo>
                    <a:lnTo>
                      <a:pt x="619" y="179"/>
                    </a:lnTo>
                    <a:lnTo>
                      <a:pt x="619" y="181"/>
                    </a:lnTo>
                    <a:lnTo>
                      <a:pt x="621" y="181"/>
                    </a:lnTo>
                    <a:lnTo>
                      <a:pt x="621" y="179"/>
                    </a:lnTo>
                    <a:lnTo>
                      <a:pt x="623" y="179"/>
                    </a:lnTo>
                    <a:lnTo>
                      <a:pt x="625" y="179"/>
                    </a:lnTo>
                    <a:lnTo>
                      <a:pt x="627" y="179"/>
                    </a:lnTo>
                    <a:lnTo>
                      <a:pt x="625" y="177"/>
                    </a:lnTo>
                    <a:lnTo>
                      <a:pt x="627" y="177"/>
                    </a:lnTo>
                    <a:lnTo>
                      <a:pt x="627" y="179"/>
                    </a:lnTo>
                    <a:lnTo>
                      <a:pt x="627" y="177"/>
                    </a:lnTo>
                    <a:lnTo>
                      <a:pt x="628" y="177"/>
                    </a:lnTo>
                    <a:lnTo>
                      <a:pt x="630" y="177"/>
                    </a:lnTo>
                    <a:lnTo>
                      <a:pt x="632" y="177"/>
                    </a:lnTo>
                    <a:lnTo>
                      <a:pt x="634" y="177"/>
                    </a:lnTo>
                    <a:lnTo>
                      <a:pt x="636" y="177"/>
                    </a:lnTo>
                    <a:lnTo>
                      <a:pt x="638" y="177"/>
                    </a:lnTo>
                    <a:lnTo>
                      <a:pt x="638" y="175"/>
                    </a:lnTo>
                    <a:lnTo>
                      <a:pt x="640" y="175"/>
                    </a:lnTo>
                    <a:lnTo>
                      <a:pt x="642" y="175"/>
                    </a:lnTo>
                    <a:lnTo>
                      <a:pt x="642" y="173"/>
                    </a:lnTo>
                    <a:lnTo>
                      <a:pt x="642" y="171"/>
                    </a:lnTo>
                    <a:lnTo>
                      <a:pt x="642" y="169"/>
                    </a:lnTo>
                    <a:lnTo>
                      <a:pt x="644" y="169"/>
                    </a:lnTo>
                    <a:lnTo>
                      <a:pt x="644" y="167"/>
                    </a:lnTo>
                    <a:lnTo>
                      <a:pt x="646" y="167"/>
                    </a:lnTo>
                    <a:lnTo>
                      <a:pt x="646" y="169"/>
                    </a:lnTo>
                    <a:lnTo>
                      <a:pt x="646" y="167"/>
                    </a:lnTo>
                    <a:lnTo>
                      <a:pt x="644" y="167"/>
                    </a:lnTo>
                    <a:lnTo>
                      <a:pt x="644" y="169"/>
                    </a:lnTo>
                    <a:lnTo>
                      <a:pt x="642" y="169"/>
                    </a:lnTo>
                    <a:lnTo>
                      <a:pt x="642" y="167"/>
                    </a:lnTo>
                    <a:lnTo>
                      <a:pt x="640" y="167"/>
                    </a:lnTo>
                    <a:lnTo>
                      <a:pt x="640" y="166"/>
                    </a:lnTo>
                    <a:lnTo>
                      <a:pt x="642" y="166"/>
                    </a:lnTo>
                    <a:lnTo>
                      <a:pt x="640" y="166"/>
                    </a:lnTo>
                    <a:lnTo>
                      <a:pt x="642" y="166"/>
                    </a:lnTo>
                    <a:lnTo>
                      <a:pt x="640" y="166"/>
                    </a:lnTo>
                    <a:lnTo>
                      <a:pt x="642" y="166"/>
                    </a:lnTo>
                    <a:lnTo>
                      <a:pt x="644" y="166"/>
                    </a:lnTo>
                    <a:lnTo>
                      <a:pt x="646" y="166"/>
                    </a:lnTo>
                    <a:lnTo>
                      <a:pt x="648" y="166"/>
                    </a:lnTo>
                    <a:lnTo>
                      <a:pt x="648" y="164"/>
                    </a:lnTo>
                    <a:lnTo>
                      <a:pt x="646" y="164"/>
                    </a:lnTo>
                    <a:lnTo>
                      <a:pt x="648" y="164"/>
                    </a:lnTo>
                    <a:lnTo>
                      <a:pt x="648" y="166"/>
                    </a:lnTo>
                    <a:lnTo>
                      <a:pt x="646" y="166"/>
                    </a:lnTo>
                    <a:lnTo>
                      <a:pt x="646" y="167"/>
                    </a:lnTo>
                    <a:lnTo>
                      <a:pt x="648" y="167"/>
                    </a:lnTo>
                    <a:lnTo>
                      <a:pt x="646" y="167"/>
                    </a:lnTo>
                    <a:lnTo>
                      <a:pt x="648" y="167"/>
                    </a:lnTo>
                    <a:lnTo>
                      <a:pt x="650" y="167"/>
                    </a:lnTo>
                    <a:lnTo>
                      <a:pt x="650" y="169"/>
                    </a:lnTo>
                    <a:lnTo>
                      <a:pt x="652" y="169"/>
                    </a:lnTo>
                    <a:lnTo>
                      <a:pt x="652" y="171"/>
                    </a:lnTo>
                    <a:lnTo>
                      <a:pt x="653" y="171"/>
                    </a:lnTo>
                    <a:lnTo>
                      <a:pt x="652" y="171"/>
                    </a:lnTo>
                    <a:lnTo>
                      <a:pt x="652" y="173"/>
                    </a:lnTo>
                    <a:lnTo>
                      <a:pt x="652" y="171"/>
                    </a:lnTo>
                    <a:lnTo>
                      <a:pt x="653" y="171"/>
                    </a:lnTo>
                    <a:lnTo>
                      <a:pt x="652" y="171"/>
                    </a:lnTo>
                    <a:lnTo>
                      <a:pt x="653" y="171"/>
                    </a:lnTo>
                    <a:lnTo>
                      <a:pt x="652" y="171"/>
                    </a:lnTo>
                    <a:lnTo>
                      <a:pt x="653" y="171"/>
                    </a:lnTo>
                    <a:lnTo>
                      <a:pt x="652" y="171"/>
                    </a:lnTo>
                    <a:lnTo>
                      <a:pt x="652" y="169"/>
                    </a:lnTo>
                    <a:lnTo>
                      <a:pt x="653" y="169"/>
                    </a:lnTo>
                    <a:lnTo>
                      <a:pt x="652" y="169"/>
                    </a:lnTo>
                    <a:lnTo>
                      <a:pt x="652" y="167"/>
                    </a:lnTo>
                    <a:lnTo>
                      <a:pt x="650" y="167"/>
                    </a:lnTo>
                    <a:lnTo>
                      <a:pt x="648" y="167"/>
                    </a:lnTo>
                    <a:lnTo>
                      <a:pt x="648" y="166"/>
                    </a:lnTo>
                    <a:lnTo>
                      <a:pt x="648" y="167"/>
                    </a:lnTo>
                    <a:lnTo>
                      <a:pt x="648" y="166"/>
                    </a:lnTo>
                    <a:lnTo>
                      <a:pt x="650" y="166"/>
                    </a:lnTo>
                    <a:lnTo>
                      <a:pt x="652" y="166"/>
                    </a:lnTo>
                    <a:lnTo>
                      <a:pt x="650" y="166"/>
                    </a:lnTo>
                    <a:lnTo>
                      <a:pt x="652" y="166"/>
                    </a:lnTo>
                    <a:lnTo>
                      <a:pt x="653" y="166"/>
                    </a:lnTo>
                    <a:lnTo>
                      <a:pt x="655" y="166"/>
                    </a:lnTo>
                    <a:lnTo>
                      <a:pt x="657" y="166"/>
                    </a:lnTo>
                    <a:lnTo>
                      <a:pt x="657" y="164"/>
                    </a:lnTo>
                    <a:lnTo>
                      <a:pt x="657" y="166"/>
                    </a:lnTo>
                    <a:lnTo>
                      <a:pt x="657" y="164"/>
                    </a:lnTo>
                    <a:lnTo>
                      <a:pt x="659" y="164"/>
                    </a:lnTo>
                    <a:lnTo>
                      <a:pt x="661" y="164"/>
                    </a:lnTo>
                    <a:lnTo>
                      <a:pt x="659" y="164"/>
                    </a:lnTo>
                    <a:lnTo>
                      <a:pt x="661" y="164"/>
                    </a:lnTo>
                    <a:lnTo>
                      <a:pt x="663" y="164"/>
                    </a:lnTo>
                    <a:lnTo>
                      <a:pt x="665" y="164"/>
                    </a:lnTo>
                    <a:lnTo>
                      <a:pt x="667" y="162"/>
                    </a:lnTo>
                    <a:lnTo>
                      <a:pt x="669" y="162"/>
                    </a:lnTo>
                    <a:lnTo>
                      <a:pt x="669" y="160"/>
                    </a:lnTo>
                    <a:lnTo>
                      <a:pt x="671" y="162"/>
                    </a:lnTo>
                    <a:lnTo>
                      <a:pt x="669" y="162"/>
                    </a:lnTo>
                    <a:lnTo>
                      <a:pt x="671" y="162"/>
                    </a:lnTo>
                    <a:lnTo>
                      <a:pt x="669" y="162"/>
                    </a:lnTo>
                    <a:lnTo>
                      <a:pt x="671" y="162"/>
                    </a:lnTo>
                    <a:lnTo>
                      <a:pt x="673" y="162"/>
                    </a:lnTo>
                    <a:lnTo>
                      <a:pt x="675" y="162"/>
                    </a:lnTo>
                    <a:lnTo>
                      <a:pt x="677" y="162"/>
                    </a:lnTo>
                    <a:lnTo>
                      <a:pt x="678" y="162"/>
                    </a:lnTo>
                    <a:lnTo>
                      <a:pt x="677" y="162"/>
                    </a:lnTo>
                    <a:lnTo>
                      <a:pt x="678" y="162"/>
                    </a:lnTo>
                    <a:lnTo>
                      <a:pt x="680" y="162"/>
                    </a:lnTo>
                    <a:lnTo>
                      <a:pt x="682" y="162"/>
                    </a:lnTo>
                    <a:lnTo>
                      <a:pt x="682" y="164"/>
                    </a:lnTo>
                    <a:lnTo>
                      <a:pt x="682" y="162"/>
                    </a:lnTo>
                    <a:lnTo>
                      <a:pt x="684" y="164"/>
                    </a:lnTo>
                    <a:lnTo>
                      <a:pt x="684" y="162"/>
                    </a:lnTo>
                    <a:lnTo>
                      <a:pt x="682" y="162"/>
                    </a:lnTo>
                    <a:lnTo>
                      <a:pt x="684" y="162"/>
                    </a:lnTo>
                    <a:lnTo>
                      <a:pt x="682" y="162"/>
                    </a:lnTo>
                    <a:lnTo>
                      <a:pt x="684" y="162"/>
                    </a:lnTo>
                    <a:lnTo>
                      <a:pt x="682" y="162"/>
                    </a:lnTo>
                    <a:lnTo>
                      <a:pt x="684" y="162"/>
                    </a:lnTo>
                    <a:lnTo>
                      <a:pt x="684" y="160"/>
                    </a:lnTo>
                    <a:lnTo>
                      <a:pt x="686" y="160"/>
                    </a:lnTo>
                    <a:lnTo>
                      <a:pt x="688" y="160"/>
                    </a:lnTo>
                    <a:lnTo>
                      <a:pt x="688" y="158"/>
                    </a:lnTo>
                    <a:lnTo>
                      <a:pt x="690" y="158"/>
                    </a:lnTo>
                    <a:lnTo>
                      <a:pt x="692" y="158"/>
                    </a:lnTo>
                    <a:lnTo>
                      <a:pt x="694" y="158"/>
                    </a:lnTo>
                    <a:lnTo>
                      <a:pt x="694" y="156"/>
                    </a:lnTo>
                    <a:lnTo>
                      <a:pt x="696" y="156"/>
                    </a:lnTo>
                    <a:lnTo>
                      <a:pt x="694" y="156"/>
                    </a:lnTo>
                    <a:lnTo>
                      <a:pt x="694" y="158"/>
                    </a:lnTo>
                    <a:lnTo>
                      <a:pt x="696" y="158"/>
                    </a:lnTo>
                    <a:lnTo>
                      <a:pt x="698" y="158"/>
                    </a:lnTo>
                    <a:lnTo>
                      <a:pt x="700" y="158"/>
                    </a:lnTo>
                    <a:lnTo>
                      <a:pt x="701" y="158"/>
                    </a:lnTo>
                    <a:lnTo>
                      <a:pt x="701" y="156"/>
                    </a:lnTo>
                    <a:lnTo>
                      <a:pt x="700" y="156"/>
                    </a:lnTo>
                    <a:lnTo>
                      <a:pt x="701" y="156"/>
                    </a:lnTo>
                    <a:lnTo>
                      <a:pt x="703" y="156"/>
                    </a:lnTo>
                    <a:lnTo>
                      <a:pt x="701" y="156"/>
                    </a:lnTo>
                    <a:lnTo>
                      <a:pt x="703" y="156"/>
                    </a:lnTo>
                    <a:lnTo>
                      <a:pt x="701" y="156"/>
                    </a:lnTo>
                    <a:lnTo>
                      <a:pt x="703" y="156"/>
                    </a:lnTo>
                    <a:lnTo>
                      <a:pt x="705" y="156"/>
                    </a:lnTo>
                    <a:lnTo>
                      <a:pt x="703" y="156"/>
                    </a:lnTo>
                    <a:lnTo>
                      <a:pt x="705" y="156"/>
                    </a:lnTo>
                    <a:lnTo>
                      <a:pt x="703" y="156"/>
                    </a:lnTo>
                    <a:lnTo>
                      <a:pt x="703" y="158"/>
                    </a:lnTo>
                    <a:lnTo>
                      <a:pt x="705" y="158"/>
                    </a:lnTo>
                    <a:lnTo>
                      <a:pt x="703" y="158"/>
                    </a:lnTo>
                    <a:lnTo>
                      <a:pt x="705" y="158"/>
                    </a:lnTo>
                    <a:lnTo>
                      <a:pt x="705" y="160"/>
                    </a:lnTo>
                    <a:lnTo>
                      <a:pt x="703" y="160"/>
                    </a:lnTo>
                    <a:lnTo>
                      <a:pt x="703" y="162"/>
                    </a:lnTo>
                    <a:lnTo>
                      <a:pt x="701" y="162"/>
                    </a:lnTo>
                    <a:lnTo>
                      <a:pt x="700" y="162"/>
                    </a:lnTo>
                    <a:lnTo>
                      <a:pt x="700" y="164"/>
                    </a:lnTo>
                    <a:lnTo>
                      <a:pt x="700" y="162"/>
                    </a:lnTo>
                    <a:lnTo>
                      <a:pt x="700" y="164"/>
                    </a:lnTo>
                    <a:lnTo>
                      <a:pt x="698" y="164"/>
                    </a:lnTo>
                    <a:lnTo>
                      <a:pt x="700" y="164"/>
                    </a:lnTo>
                    <a:lnTo>
                      <a:pt x="698" y="164"/>
                    </a:lnTo>
                    <a:lnTo>
                      <a:pt x="696" y="164"/>
                    </a:lnTo>
                    <a:lnTo>
                      <a:pt x="696" y="166"/>
                    </a:lnTo>
                    <a:lnTo>
                      <a:pt x="696" y="167"/>
                    </a:lnTo>
                    <a:lnTo>
                      <a:pt x="696" y="166"/>
                    </a:lnTo>
                    <a:lnTo>
                      <a:pt x="696" y="167"/>
                    </a:lnTo>
                    <a:lnTo>
                      <a:pt x="694" y="167"/>
                    </a:lnTo>
                    <a:lnTo>
                      <a:pt x="694" y="169"/>
                    </a:lnTo>
                    <a:lnTo>
                      <a:pt x="694" y="171"/>
                    </a:lnTo>
                    <a:lnTo>
                      <a:pt x="692" y="171"/>
                    </a:lnTo>
                    <a:lnTo>
                      <a:pt x="692" y="173"/>
                    </a:lnTo>
                    <a:lnTo>
                      <a:pt x="690" y="173"/>
                    </a:lnTo>
                    <a:lnTo>
                      <a:pt x="692" y="173"/>
                    </a:lnTo>
                    <a:lnTo>
                      <a:pt x="692" y="171"/>
                    </a:lnTo>
                    <a:lnTo>
                      <a:pt x="694" y="171"/>
                    </a:lnTo>
                    <a:lnTo>
                      <a:pt x="694" y="169"/>
                    </a:lnTo>
                    <a:lnTo>
                      <a:pt x="694" y="167"/>
                    </a:lnTo>
                    <a:lnTo>
                      <a:pt x="696" y="167"/>
                    </a:lnTo>
                    <a:lnTo>
                      <a:pt x="696" y="166"/>
                    </a:lnTo>
                    <a:lnTo>
                      <a:pt x="696" y="164"/>
                    </a:lnTo>
                    <a:lnTo>
                      <a:pt x="698" y="164"/>
                    </a:lnTo>
                    <a:lnTo>
                      <a:pt x="700" y="164"/>
                    </a:lnTo>
                    <a:lnTo>
                      <a:pt x="700" y="162"/>
                    </a:lnTo>
                    <a:lnTo>
                      <a:pt x="701" y="162"/>
                    </a:lnTo>
                    <a:lnTo>
                      <a:pt x="703" y="162"/>
                    </a:lnTo>
                    <a:lnTo>
                      <a:pt x="703" y="160"/>
                    </a:lnTo>
                    <a:lnTo>
                      <a:pt x="705" y="160"/>
                    </a:lnTo>
                    <a:lnTo>
                      <a:pt x="705" y="158"/>
                    </a:lnTo>
                    <a:lnTo>
                      <a:pt x="707" y="158"/>
                    </a:lnTo>
                    <a:lnTo>
                      <a:pt x="709" y="158"/>
                    </a:lnTo>
                    <a:lnTo>
                      <a:pt x="711" y="158"/>
                    </a:lnTo>
                    <a:lnTo>
                      <a:pt x="713" y="158"/>
                    </a:lnTo>
                    <a:lnTo>
                      <a:pt x="715" y="158"/>
                    </a:lnTo>
                    <a:lnTo>
                      <a:pt x="713" y="158"/>
                    </a:lnTo>
                    <a:lnTo>
                      <a:pt x="711" y="160"/>
                    </a:lnTo>
                    <a:lnTo>
                      <a:pt x="711" y="158"/>
                    </a:lnTo>
                    <a:lnTo>
                      <a:pt x="713" y="158"/>
                    </a:lnTo>
                    <a:lnTo>
                      <a:pt x="713" y="160"/>
                    </a:lnTo>
                    <a:lnTo>
                      <a:pt x="711" y="160"/>
                    </a:lnTo>
                    <a:lnTo>
                      <a:pt x="711" y="162"/>
                    </a:lnTo>
                    <a:lnTo>
                      <a:pt x="711" y="164"/>
                    </a:lnTo>
                    <a:lnTo>
                      <a:pt x="711" y="166"/>
                    </a:lnTo>
                    <a:lnTo>
                      <a:pt x="711" y="164"/>
                    </a:lnTo>
                    <a:lnTo>
                      <a:pt x="711" y="162"/>
                    </a:lnTo>
                    <a:lnTo>
                      <a:pt x="713" y="160"/>
                    </a:lnTo>
                    <a:lnTo>
                      <a:pt x="715" y="160"/>
                    </a:lnTo>
                    <a:lnTo>
                      <a:pt x="713" y="160"/>
                    </a:lnTo>
                    <a:lnTo>
                      <a:pt x="713" y="162"/>
                    </a:lnTo>
                    <a:lnTo>
                      <a:pt x="715" y="162"/>
                    </a:lnTo>
                    <a:lnTo>
                      <a:pt x="715" y="160"/>
                    </a:lnTo>
                    <a:lnTo>
                      <a:pt x="715" y="162"/>
                    </a:lnTo>
                    <a:lnTo>
                      <a:pt x="715" y="160"/>
                    </a:lnTo>
                    <a:lnTo>
                      <a:pt x="717" y="160"/>
                    </a:lnTo>
                    <a:lnTo>
                      <a:pt x="719" y="160"/>
                    </a:lnTo>
                    <a:lnTo>
                      <a:pt x="721" y="162"/>
                    </a:lnTo>
                    <a:lnTo>
                      <a:pt x="723" y="162"/>
                    </a:lnTo>
                    <a:lnTo>
                      <a:pt x="723" y="164"/>
                    </a:lnTo>
                    <a:lnTo>
                      <a:pt x="725" y="164"/>
                    </a:lnTo>
                    <a:lnTo>
                      <a:pt x="726" y="164"/>
                    </a:lnTo>
                    <a:lnTo>
                      <a:pt x="728" y="166"/>
                    </a:lnTo>
                    <a:lnTo>
                      <a:pt x="726" y="166"/>
                    </a:lnTo>
                    <a:lnTo>
                      <a:pt x="726" y="167"/>
                    </a:lnTo>
                    <a:lnTo>
                      <a:pt x="725" y="167"/>
                    </a:lnTo>
                    <a:lnTo>
                      <a:pt x="726" y="167"/>
                    </a:lnTo>
                    <a:lnTo>
                      <a:pt x="725" y="167"/>
                    </a:lnTo>
                    <a:lnTo>
                      <a:pt x="725" y="169"/>
                    </a:lnTo>
                    <a:lnTo>
                      <a:pt x="723" y="169"/>
                    </a:lnTo>
                    <a:lnTo>
                      <a:pt x="723" y="171"/>
                    </a:lnTo>
                    <a:lnTo>
                      <a:pt x="723" y="173"/>
                    </a:lnTo>
                    <a:lnTo>
                      <a:pt x="723" y="175"/>
                    </a:lnTo>
                    <a:lnTo>
                      <a:pt x="725" y="175"/>
                    </a:lnTo>
                    <a:lnTo>
                      <a:pt x="725" y="177"/>
                    </a:lnTo>
                    <a:lnTo>
                      <a:pt x="725" y="175"/>
                    </a:lnTo>
                    <a:lnTo>
                      <a:pt x="723" y="175"/>
                    </a:lnTo>
                    <a:lnTo>
                      <a:pt x="723" y="173"/>
                    </a:lnTo>
                    <a:lnTo>
                      <a:pt x="725" y="173"/>
                    </a:lnTo>
                    <a:lnTo>
                      <a:pt x="723" y="173"/>
                    </a:lnTo>
                    <a:lnTo>
                      <a:pt x="723" y="171"/>
                    </a:lnTo>
                    <a:lnTo>
                      <a:pt x="725" y="171"/>
                    </a:lnTo>
                    <a:lnTo>
                      <a:pt x="725" y="169"/>
                    </a:lnTo>
                    <a:lnTo>
                      <a:pt x="726" y="169"/>
                    </a:lnTo>
                    <a:lnTo>
                      <a:pt x="726" y="167"/>
                    </a:lnTo>
                    <a:lnTo>
                      <a:pt x="728" y="167"/>
                    </a:lnTo>
                    <a:lnTo>
                      <a:pt x="728" y="166"/>
                    </a:lnTo>
                    <a:lnTo>
                      <a:pt x="730" y="166"/>
                    </a:lnTo>
                    <a:lnTo>
                      <a:pt x="732" y="166"/>
                    </a:lnTo>
                    <a:lnTo>
                      <a:pt x="732" y="167"/>
                    </a:lnTo>
                    <a:lnTo>
                      <a:pt x="734" y="167"/>
                    </a:lnTo>
                    <a:lnTo>
                      <a:pt x="732" y="167"/>
                    </a:lnTo>
                    <a:lnTo>
                      <a:pt x="734" y="167"/>
                    </a:lnTo>
                    <a:lnTo>
                      <a:pt x="736" y="167"/>
                    </a:lnTo>
                    <a:lnTo>
                      <a:pt x="738" y="169"/>
                    </a:lnTo>
                    <a:lnTo>
                      <a:pt x="740" y="169"/>
                    </a:lnTo>
                    <a:lnTo>
                      <a:pt x="740" y="171"/>
                    </a:lnTo>
                    <a:lnTo>
                      <a:pt x="738" y="171"/>
                    </a:lnTo>
                    <a:lnTo>
                      <a:pt x="740" y="171"/>
                    </a:lnTo>
                    <a:lnTo>
                      <a:pt x="740" y="173"/>
                    </a:lnTo>
                    <a:lnTo>
                      <a:pt x="738" y="173"/>
                    </a:lnTo>
                    <a:lnTo>
                      <a:pt x="740" y="173"/>
                    </a:lnTo>
                    <a:lnTo>
                      <a:pt x="740" y="175"/>
                    </a:lnTo>
                    <a:lnTo>
                      <a:pt x="738" y="175"/>
                    </a:lnTo>
                    <a:lnTo>
                      <a:pt x="736" y="175"/>
                    </a:lnTo>
                    <a:lnTo>
                      <a:pt x="736" y="173"/>
                    </a:lnTo>
                    <a:lnTo>
                      <a:pt x="734" y="175"/>
                    </a:lnTo>
                    <a:lnTo>
                      <a:pt x="736" y="175"/>
                    </a:lnTo>
                    <a:lnTo>
                      <a:pt x="738" y="175"/>
                    </a:lnTo>
                    <a:lnTo>
                      <a:pt x="736" y="175"/>
                    </a:lnTo>
                    <a:lnTo>
                      <a:pt x="736" y="177"/>
                    </a:lnTo>
                    <a:lnTo>
                      <a:pt x="738" y="175"/>
                    </a:lnTo>
                    <a:lnTo>
                      <a:pt x="738" y="177"/>
                    </a:lnTo>
                    <a:lnTo>
                      <a:pt x="740" y="177"/>
                    </a:lnTo>
                    <a:lnTo>
                      <a:pt x="740" y="175"/>
                    </a:lnTo>
                    <a:lnTo>
                      <a:pt x="740" y="177"/>
                    </a:lnTo>
                    <a:lnTo>
                      <a:pt x="742" y="177"/>
                    </a:lnTo>
                    <a:lnTo>
                      <a:pt x="744" y="177"/>
                    </a:lnTo>
                    <a:lnTo>
                      <a:pt x="744" y="179"/>
                    </a:lnTo>
                    <a:lnTo>
                      <a:pt x="742" y="179"/>
                    </a:lnTo>
                    <a:lnTo>
                      <a:pt x="744" y="179"/>
                    </a:lnTo>
                    <a:lnTo>
                      <a:pt x="742" y="179"/>
                    </a:lnTo>
                    <a:lnTo>
                      <a:pt x="744" y="179"/>
                    </a:lnTo>
                    <a:lnTo>
                      <a:pt x="742" y="179"/>
                    </a:lnTo>
                    <a:lnTo>
                      <a:pt x="742" y="181"/>
                    </a:lnTo>
                    <a:lnTo>
                      <a:pt x="740" y="181"/>
                    </a:lnTo>
                    <a:lnTo>
                      <a:pt x="740" y="183"/>
                    </a:lnTo>
                    <a:lnTo>
                      <a:pt x="742" y="183"/>
                    </a:lnTo>
                    <a:lnTo>
                      <a:pt x="742" y="181"/>
                    </a:lnTo>
                    <a:lnTo>
                      <a:pt x="744" y="181"/>
                    </a:lnTo>
                    <a:lnTo>
                      <a:pt x="746" y="181"/>
                    </a:lnTo>
                    <a:lnTo>
                      <a:pt x="746" y="179"/>
                    </a:lnTo>
                    <a:lnTo>
                      <a:pt x="748" y="179"/>
                    </a:lnTo>
                    <a:lnTo>
                      <a:pt x="748" y="177"/>
                    </a:lnTo>
                    <a:lnTo>
                      <a:pt x="746" y="177"/>
                    </a:lnTo>
                    <a:lnTo>
                      <a:pt x="748" y="177"/>
                    </a:lnTo>
                    <a:lnTo>
                      <a:pt x="748" y="175"/>
                    </a:lnTo>
                    <a:lnTo>
                      <a:pt x="750" y="175"/>
                    </a:lnTo>
                    <a:lnTo>
                      <a:pt x="750" y="177"/>
                    </a:lnTo>
                    <a:lnTo>
                      <a:pt x="750" y="175"/>
                    </a:lnTo>
                    <a:lnTo>
                      <a:pt x="751" y="175"/>
                    </a:lnTo>
                    <a:lnTo>
                      <a:pt x="751" y="177"/>
                    </a:lnTo>
                    <a:lnTo>
                      <a:pt x="753" y="177"/>
                    </a:lnTo>
                    <a:lnTo>
                      <a:pt x="753" y="175"/>
                    </a:lnTo>
                    <a:lnTo>
                      <a:pt x="751" y="175"/>
                    </a:lnTo>
                    <a:lnTo>
                      <a:pt x="750" y="175"/>
                    </a:lnTo>
                    <a:lnTo>
                      <a:pt x="748" y="173"/>
                    </a:lnTo>
                    <a:lnTo>
                      <a:pt x="748" y="175"/>
                    </a:lnTo>
                    <a:lnTo>
                      <a:pt x="746" y="175"/>
                    </a:lnTo>
                    <a:lnTo>
                      <a:pt x="746" y="173"/>
                    </a:lnTo>
                    <a:lnTo>
                      <a:pt x="744" y="173"/>
                    </a:lnTo>
                    <a:lnTo>
                      <a:pt x="744" y="171"/>
                    </a:lnTo>
                    <a:lnTo>
                      <a:pt x="746" y="171"/>
                    </a:lnTo>
                    <a:lnTo>
                      <a:pt x="746" y="173"/>
                    </a:lnTo>
                    <a:lnTo>
                      <a:pt x="746" y="171"/>
                    </a:lnTo>
                    <a:lnTo>
                      <a:pt x="748" y="171"/>
                    </a:lnTo>
                    <a:lnTo>
                      <a:pt x="748" y="173"/>
                    </a:lnTo>
                    <a:lnTo>
                      <a:pt x="748" y="171"/>
                    </a:lnTo>
                    <a:lnTo>
                      <a:pt x="750" y="171"/>
                    </a:lnTo>
                    <a:lnTo>
                      <a:pt x="748" y="171"/>
                    </a:lnTo>
                    <a:lnTo>
                      <a:pt x="750" y="171"/>
                    </a:lnTo>
                    <a:lnTo>
                      <a:pt x="750" y="169"/>
                    </a:lnTo>
                    <a:lnTo>
                      <a:pt x="750" y="171"/>
                    </a:lnTo>
                    <a:lnTo>
                      <a:pt x="750" y="169"/>
                    </a:lnTo>
                    <a:lnTo>
                      <a:pt x="751" y="171"/>
                    </a:lnTo>
                    <a:lnTo>
                      <a:pt x="753" y="171"/>
                    </a:lnTo>
                    <a:lnTo>
                      <a:pt x="751" y="171"/>
                    </a:lnTo>
                    <a:lnTo>
                      <a:pt x="750" y="171"/>
                    </a:lnTo>
                    <a:lnTo>
                      <a:pt x="751" y="173"/>
                    </a:lnTo>
                    <a:lnTo>
                      <a:pt x="751" y="171"/>
                    </a:lnTo>
                    <a:lnTo>
                      <a:pt x="751" y="173"/>
                    </a:lnTo>
                    <a:lnTo>
                      <a:pt x="753" y="173"/>
                    </a:lnTo>
                    <a:lnTo>
                      <a:pt x="753" y="171"/>
                    </a:lnTo>
                    <a:lnTo>
                      <a:pt x="753" y="173"/>
                    </a:lnTo>
                    <a:lnTo>
                      <a:pt x="755" y="175"/>
                    </a:lnTo>
                    <a:lnTo>
                      <a:pt x="755" y="177"/>
                    </a:lnTo>
                    <a:lnTo>
                      <a:pt x="755" y="179"/>
                    </a:lnTo>
                    <a:lnTo>
                      <a:pt x="757" y="179"/>
                    </a:lnTo>
                    <a:lnTo>
                      <a:pt x="755" y="179"/>
                    </a:lnTo>
                    <a:lnTo>
                      <a:pt x="757" y="179"/>
                    </a:lnTo>
                    <a:lnTo>
                      <a:pt x="757" y="181"/>
                    </a:lnTo>
                    <a:lnTo>
                      <a:pt x="757" y="183"/>
                    </a:lnTo>
                    <a:lnTo>
                      <a:pt x="759" y="183"/>
                    </a:lnTo>
                    <a:lnTo>
                      <a:pt x="759" y="185"/>
                    </a:lnTo>
                    <a:lnTo>
                      <a:pt x="757" y="185"/>
                    </a:lnTo>
                    <a:lnTo>
                      <a:pt x="755" y="185"/>
                    </a:lnTo>
                    <a:lnTo>
                      <a:pt x="757" y="185"/>
                    </a:lnTo>
                    <a:lnTo>
                      <a:pt x="759" y="185"/>
                    </a:lnTo>
                    <a:lnTo>
                      <a:pt x="759" y="187"/>
                    </a:lnTo>
                    <a:lnTo>
                      <a:pt x="761" y="187"/>
                    </a:lnTo>
                    <a:lnTo>
                      <a:pt x="759" y="189"/>
                    </a:lnTo>
                    <a:lnTo>
                      <a:pt x="757" y="189"/>
                    </a:lnTo>
                    <a:lnTo>
                      <a:pt x="759" y="189"/>
                    </a:lnTo>
                    <a:lnTo>
                      <a:pt x="761" y="189"/>
                    </a:lnTo>
                    <a:lnTo>
                      <a:pt x="761" y="187"/>
                    </a:lnTo>
                    <a:lnTo>
                      <a:pt x="759" y="187"/>
                    </a:lnTo>
                    <a:lnTo>
                      <a:pt x="761" y="187"/>
                    </a:lnTo>
                    <a:lnTo>
                      <a:pt x="759" y="185"/>
                    </a:lnTo>
                    <a:lnTo>
                      <a:pt x="761" y="185"/>
                    </a:lnTo>
                    <a:lnTo>
                      <a:pt x="763" y="185"/>
                    </a:lnTo>
                    <a:lnTo>
                      <a:pt x="763" y="183"/>
                    </a:lnTo>
                    <a:lnTo>
                      <a:pt x="765" y="183"/>
                    </a:lnTo>
                    <a:lnTo>
                      <a:pt x="767" y="185"/>
                    </a:lnTo>
                    <a:lnTo>
                      <a:pt x="765" y="185"/>
                    </a:lnTo>
                    <a:lnTo>
                      <a:pt x="765" y="187"/>
                    </a:lnTo>
                    <a:lnTo>
                      <a:pt x="767" y="187"/>
                    </a:lnTo>
                    <a:lnTo>
                      <a:pt x="767" y="191"/>
                    </a:lnTo>
                    <a:lnTo>
                      <a:pt x="767" y="192"/>
                    </a:lnTo>
                    <a:lnTo>
                      <a:pt x="765" y="192"/>
                    </a:lnTo>
                    <a:lnTo>
                      <a:pt x="767" y="192"/>
                    </a:lnTo>
                    <a:lnTo>
                      <a:pt x="765" y="192"/>
                    </a:lnTo>
                    <a:lnTo>
                      <a:pt x="765" y="194"/>
                    </a:lnTo>
                    <a:lnTo>
                      <a:pt x="765" y="198"/>
                    </a:lnTo>
                    <a:lnTo>
                      <a:pt x="763" y="200"/>
                    </a:lnTo>
                    <a:lnTo>
                      <a:pt x="763" y="202"/>
                    </a:lnTo>
                    <a:lnTo>
                      <a:pt x="763" y="204"/>
                    </a:lnTo>
                    <a:lnTo>
                      <a:pt x="761" y="202"/>
                    </a:lnTo>
                    <a:lnTo>
                      <a:pt x="761" y="204"/>
                    </a:lnTo>
                    <a:lnTo>
                      <a:pt x="759" y="204"/>
                    </a:lnTo>
                    <a:lnTo>
                      <a:pt x="759" y="202"/>
                    </a:lnTo>
                    <a:lnTo>
                      <a:pt x="761" y="202"/>
                    </a:lnTo>
                    <a:lnTo>
                      <a:pt x="763" y="200"/>
                    </a:lnTo>
                    <a:lnTo>
                      <a:pt x="763" y="198"/>
                    </a:lnTo>
                    <a:lnTo>
                      <a:pt x="761" y="198"/>
                    </a:lnTo>
                    <a:lnTo>
                      <a:pt x="759" y="198"/>
                    </a:lnTo>
                    <a:lnTo>
                      <a:pt x="757" y="196"/>
                    </a:lnTo>
                    <a:lnTo>
                      <a:pt x="755" y="196"/>
                    </a:lnTo>
                    <a:lnTo>
                      <a:pt x="755" y="198"/>
                    </a:lnTo>
                    <a:lnTo>
                      <a:pt x="753" y="198"/>
                    </a:lnTo>
                    <a:lnTo>
                      <a:pt x="751" y="198"/>
                    </a:lnTo>
                    <a:lnTo>
                      <a:pt x="753" y="196"/>
                    </a:lnTo>
                    <a:lnTo>
                      <a:pt x="751" y="196"/>
                    </a:lnTo>
                    <a:lnTo>
                      <a:pt x="750" y="196"/>
                    </a:lnTo>
                    <a:lnTo>
                      <a:pt x="748" y="196"/>
                    </a:lnTo>
                    <a:lnTo>
                      <a:pt x="748" y="194"/>
                    </a:lnTo>
                    <a:lnTo>
                      <a:pt x="746" y="194"/>
                    </a:lnTo>
                    <a:lnTo>
                      <a:pt x="744" y="194"/>
                    </a:lnTo>
                    <a:lnTo>
                      <a:pt x="742" y="192"/>
                    </a:lnTo>
                    <a:lnTo>
                      <a:pt x="740" y="192"/>
                    </a:lnTo>
                    <a:lnTo>
                      <a:pt x="738" y="192"/>
                    </a:lnTo>
                    <a:lnTo>
                      <a:pt x="736" y="192"/>
                    </a:lnTo>
                    <a:lnTo>
                      <a:pt x="734" y="192"/>
                    </a:lnTo>
                    <a:lnTo>
                      <a:pt x="732" y="192"/>
                    </a:lnTo>
                    <a:lnTo>
                      <a:pt x="732" y="191"/>
                    </a:lnTo>
                    <a:lnTo>
                      <a:pt x="730" y="191"/>
                    </a:lnTo>
                    <a:lnTo>
                      <a:pt x="728" y="191"/>
                    </a:lnTo>
                    <a:lnTo>
                      <a:pt x="730" y="191"/>
                    </a:lnTo>
                    <a:lnTo>
                      <a:pt x="732" y="191"/>
                    </a:lnTo>
                    <a:lnTo>
                      <a:pt x="732" y="192"/>
                    </a:lnTo>
                    <a:lnTo>
                      <a:pt x="734" y="192"/>
                    </a:lnTo>
                    <a:lnTo>
                      <a:pt x="732" y="192"/>
                    </a:lnTo>
                    <a:lnTo>
                      <a:pt x="734" y="192"/>
                    </a:lnTo>
                    <a:lnTo>
                      <a:pt x="732" y="192"/>
                    </a:lnTo>
                    <a:lnTo>
                      <a:pt x="734" y="192"/>
                    </a:lnTo>
                    <a:lnTo>
                      <a:pt x="732" y="192"/>
                    </a:lnTo>
                    <a:lnTo>
                      <a:pt x="734" y="192"/>
                    </a:lnTo>
                    <a:lnTo>
                      <a:pt x="736" y="192"/>
                    </a:lnTo>
                    <a:lnTo>
                      <a:pt x="738" y="192"/>
                    </a:lnTo>
                    <a:lnTo>
                      <a:pt x="738" y="194"/>
                    </a:lnTo>
                    <a:lnTo>
                      <a:pt x="738" y="192"/>
                    </a:lnTo>
                    <a:lnTo>
                      <a:pt x="738" y="194"/>
                    </a:lnTo>
                    <a:lnTo>
                      <a:pt x="738" y="196"/>
                    </a:lnTo>
                    <a:lnTo>
                      <a:pt x="740" y="196"/>
                    </a:lnTo>
                    <a:lnTo>
                      <a:pt x="742" y="194"/>
                    </a:lnTo>
                    <a:lnTo>
                      <a:pt x="742" y="196"/>
                    </a:lnTo>
                    <a:lnTo>
                      <a:pt x="744" y="196"/>
                    </a:lnTo>
                    <a:lnTo>
                      <a:pt x="746" y="196"/>
                    </a:lnTo>
                    <a:lnTo>
                      <a:pt x="748" y="196"/>
                    </a:lnTo>
                    <a:lnTo>
                      <a:pt x="748" y="198"/>
                    </a:lnTo>
                    <a:lnTo>
                      <a:pt x="746" y="198"/>
                    </a:lnTo>
                    <a:lnTo>
                      <a:pt x="744" y="198"/>
                    </a:lnTo>
                    <a:lnTo>
                      <a:pt x="744" y="200"/>
                    </a:lnTo>
                    <a:lnTo>
                      <a:pt x="744" y="198"/>
                    </a:lnTo>
                    <a:lnTo>
                      <a:pt x="746" y="200"/>
                    </a:lnTo>
                    <a:lnTo>
                      <a:pt x="748" y="200"/>
                    </a:lnTo>
                    <a:lnTo>
                      <a:pt x="748" y="202"/>
                    </a:lnTo>
                    <a:lnTo>
                      <a:pt x="746" y="202"/>
                    </a:lnTo>
                    <a:lnTo>
                      <a:pt x="746" y="204"/>
                    </a:lnTo>
                    <a:lnTo>
                      <a:pt x="746" y="206"/>
                    </a:lnTo>
                    <a:lnTo>
                      <a:pt x="748" y="206"/>
                    </a:lnTo>
                    <a:lnTo>
                      <a:pt x="750" y="206"/>
                    </a:lnTo>
                    <a:lnTo>
                      <a:pt x="748" y="206"/>
                    </a:lnTo>
                    <a:lnTo>
                      <a:pt x="750" y="206"/>
                    </a:lnTo>
                    <a:lnTo>
                      <a:pt x="751" y="204"/>
                    </a:lnTo>
                    <a:lnTo>
                      <a:pt x="750" y="202"/>
                    </a:lnTo>
                    <a:lnTo>
                      <a:pt x="751" y="200"/>
                    </a:lnTo>
                    <a:lnTo>
                      <a:pt x="753" y="198"/>
                    </a:lnTo>
                    <a:lnTo>
                      <a:pt x="755" y="198"/>
                    </a:lnTo>
                    <a:lnTo>
                      <a:pt x="757" y="198"/>
                    </a:lnTo>
                    <a:lnTo>
                      <a:pt x="757" y="200"/>
                    </a:lnTo>
                    <a:lnTo>
                      <a:pt x="755" y="200"/>
                    </a:lnTo>
                    <a:lnTo>
                      <a:pt x="757" y="200"/>
                    </a:lnTo>
                    <a:lnTo>
                      <a:pt x="757" y="202"/>
                    </a:lnTo>
                    <a:lnTo>
                      <a:pt x="755" y="202"/>
                    </a:lnTo>
                    <a:lnTo>
                      <a:pt x="757" y="202"/>
                    </a:lnTo>
                    <a:lnTo>
                      <a:pt x="757" y="204"/>
                    </a:lnTo>
                    <a:lnTo>
                      <a:pt x="759" y="204"/>
                    </a:lnTo>
                    <a:lnTo>
                      <a:pt x="761" y="204"/>
                    </a:lnTo>
                    <a:lnTo>
                      <a:pt x="763" y="204"/>
                    </a:lnTo>
                    <a:lnTo>
                      <a:pt x="765" y="204"/>
                    </a:lnTo>
                    <a:lnTo>
                      <a:pt x="767" y="204"/>
                    </a:lnTo>
                    <a:lnTo>
                      <a:pt x="767" y="206"/>
                    </a:lnTo>
                    <a:lnTo>
                      <a:pt x="767" y="208"/>
                    </a:lnTo>
                    <a:lnTo>
                      <a:pt x="767" y="206"/>
                    </a:lnTo>
                    <a:lnTo>
                      <a:pt x="767" y="208"/>
                    </a:lnTo>
                    <a:lnTo>
                      <a:pt x="765" y="208"/>
                    </a:lnTo>
                    <a:lnTo>
                      <a:pt x="765" y="210"/>
                    </a:lnTo>
                    <a:lnTo>
                      <a:pt x="763" y="210"/>
                    </a:lnTo>
                    <a:lnTo>
                      <a:pt x="763" y="212"/>
                    </a:lnTo>
                    <a:lnTo>
                      <a:pt x="761" y="212"/>
                    </a:lnTo>
                    <a:lnTo>
                      <a:pt x="759" y="212"/>
                    </a:lnTo>
                    <a:lnTo>
                      <a:pt x="757" y="212"/>
                    </a:lnTo>
                    <a:lnTo>
                      <a:pt x="757" y="214"/>
                    </a:lnTo>
                    <a:lnTo>
                      <a:pt x="755" y="214"/>
                    </a:lnTo>
                    <a:lnTo>
                      <a:pt x="753" y="214"/>
                    </a:lnTo>
                    <a:lnTo>
                      <a:pt x="753" y="216"/>
                    </a:lnTo>
                    <a:lnTo>
                      <a:pt x="751" y="216"/>
                    </a:lnTo>
                    <a:lnTo>
                      <a:pt x="750" y="216"/>
                    </a:lnTo>
                    <a:lnTo>
                      <a:pt x="751" y="216"/>
                    </a:lnTo>
                    <a:lnTo>
                      <a:pt x="750" y="216"/>
                    </a:lnTo>
                    <a:lnTo>
                      <a:pt x="748" y="216"/>
                    </a:lnTo>
                    <a:lnTo>
                      <a:pt x="746" y="216"/>
                    </a:lnTo>
                    <a:lnTo>
                      <a:pt x="746" y="217"/>
                    </a:lnTo>
                    <a:lnTo>
                      <a:pt x="744" y="217"/>
                    </a:lnTo>
                    <a:lnTo>
                      <a:pt x="742" y="217"/>
                    </a:lnTo>
                    <a:lnTo>
                      <a:pt x="742" y="219"/>
                    </a:lnTo>
                    <a:lnTo>
                      <a:pt x="740" y="219"/>
                    </a:lnTo>
                    <a:lnTo>
                      <a:pt x="742" y="219"/>
                    </a:lnTo>
                    <a:lnTo>
                      <a:pt x="742" y="217"/>
                    </a:lnTo>
                    <a:lnTo>
                      <a:pt x="744" y="217"/>
                    </a:lnTo>
                    <a:lnTo>
                      <a:pt x="746" y="217"/>
                    </a:lnTo>
                    <a:lnTo>
                      <a:pt x="746" y="216"/>
                    </a:lnTo>
                    <a:lnTo>
                      <a:pt x="748" y="216"/>
                    </a:lnTo>
                    <a:lnTo>
                      <a:pt x="750" y="216"/>
                    </a:lnTo>
                    <a:lnTo>
                      <a:pt x="751" y="216"/>
                    </a:lnTo>
                    <a:lnTo>
                      <a:pt x="750" y="216"/>
                    </a:lnTo>
                    <a:lnTo>
                      <a:pt x="751" y="216"/>
                    </a:lnTo>
                    <a:lnTo>
                      <a:pt x="753" y="216"/>
                    </a:lnTo>
                    <a:lnTo>
                      <a:pt x="753" y="214"/>
                    </a:lnTo>
                    <a:lnTo>
                      <a:pt x="755" y="214"/>
                    </a:lnTo>
                    <a:lnTo>
                      <a:pt x="757" y="212"/>
                    </a:lnTo>
                    <a:lnTo>
                      <a:pt x="759" y="212"/>
                    </a:lnTo>
                    <a:lnTo>
                      <a:pt x="761" y="212"/>
                    </a:lnTo>
                    <a:lnTo>
                      <a:pt x="763" y="212"/>
                    </a:lnTo>
                    <a:lnTo>
                      <a:pt x="763" y="210"/>
                    </a:lnTo>
                    <a:lnTo>
                      <a:pt x="763" y="212"/>
                    </a:lnTo>
                    <a:lnTo>
                      <a:pt x="763" y="210"/>
                    </a:lnTo>
                    <a:lnTo>
                      <a:pt x="765" y="210"/>
                    </a:lnTo>
                    <a:lnTo>
                      <a:pt x="767" y="210"/>
                    </a:lnTo>
                    <a:lnTo>
                      <a:pt x="767" y="212"/>
                    </a:lnTo>
                    <a:lnTo>
                      <a:pt x="767" y="214"/>
                    </a:lnTo>
                    <a:lnTo>
                      <a:pt x="767" y="216"/>
                    </a:lnTo>
                    <a:lnTo>
                      <a:pt x="765" y="216"/>
                    </a:lnTo>
                    <a:lnTo>
                      <a:pt x="765" y="217"/>
                    </a:lnTo>
                    <a:lnTo>
                      <a:pt x="765" y="216"/>
                    </a:lnTo>
                    <a:lnTo>
                      <a:pt x="765" y="217"/>
                    </a:lnTo>
                    <a:lnTo>
                      <a:pt x="765" y="219"/>
                    </a:lnTo>
                    <a:lnTo>
                      <a:pt x="763" y="219"/>
                    </a:lnTo>
                    <a:lnTo>
                      <a:pt x="761" y="221"/>
                    </a:lnTo>
                    <a:lnTo>
                      <a:pt x="761" y="223"/>
                    </a:lnTo>
                    <a:lnTo>
                      <a:pt x="759" y="223"/>
                    </a:lnTo>
                    <a:lnTo>
                      <a:pt x="759" y="225"/>
                    </a:lnTo>
                    <a:lnTo>
                      <a:pt x="757" y="227"/>
                    </a:lnTo>
                    <a:lnTo>
                      <a:pt x="755" y="227"/>
                    </a:lnTo>
                    <a:lnTo>
                      <a:pt x="753" y="229"/>
                    </a:lnTo>
                    <a:lnTo>
                      <a:pt x="755" y="229"/>
                    </a:lnTo>
                    <a:lnTo>
                      <a:pt x="753" y="229"/>
                    </a:lnTo>
                    <a:lnTo>
                      <a:pt x="755" y="229"/>
                    </a:lnTo>
                    <a:lnTo>
                      <a:pt x="757" y="229"/>
                    </a:lnTo>
                    <a:lnTo>
                      <a:pt x="755" y="229"/>
                    </a:lnTo>
                    <a:lnTo>
                      <a:pt x="753" y="231"/>
                    </a:lnTo>
                    <a:lnTo>
                      <a:pt x="753" y="233"/>
                    </a:lnTo>
                    <a:lnTo>
                      <a:pt x="751" y="235"/>
                    </a:lnTo>
                    <a:lnTo>
                      <a:pt x="750" y="235"/>
                    </a:lnTo>
                    <a:lnTo>
                      <a:pt x="750" y="237"/>
                    </a:lnTo>
                    <a:lnTo>
                      <a:pt x="748" y="237"/>
                    </a:lnTo>
                    <a:lnTo>
                      <a:pt x="746" y="237"/>
                    </a:lnTo>
                    <a:lnTo>
                      <a:pt x="746" y="239"/>
                    </a:lnTo>
                    <a:lnTo>
                      <a:pt x="744" y="239"/>
                    </a:lnTo>
                    <a:lnTo>
                      <a:pt x="742" y="239"/>
                    </a:lnTo>
                    <a:lnTo>
                      <a:pt x="742" y="240"/>
                    </a:lnTo>
                    <a:lnTo>
                      <a:pt x="740" y="240"/>
                    </a:lnTo>
                    <a:lnTo>
                      <a:pt x="738" y="240"/>
                    </a:lnTo>
                    <a:lnTo>
                      <a:pt x="738" y="242"/>
                    </a:lnTo>
                    <a:lnTo>
                      <a:pt x="740" y="240"/>
                    </a:lnTo>
                    <a:lnTo>
                      <a:pt x="740" y="242"/>
                    </a:lnTo>
                    <a:lnTo>
                      <a:pt x="738" y="244"/>
                    </a:lnTo>
                    <a:lnTo>
                      <a:pt x="736" y="244"/>
                    </a:lnTo>
                    <a:lnTo>
                      <a:pt x="736" y="246"/>
                    </a:lnTo>
                    <a:lnTo>
                      <a:pt x="738" y="246"/>
                    </a:lnTo>
                    <a:lnTo>
                      <a:pt x="736" y="246"/>
                    </a:lnTo>
                    <a:lnTo>
                      <a:pt x="738" y="246"/>
                    </a:lnTo>
                    <a:lnTo>
                      <a:pt x="736" y="246"/>
                    </a:lnTo>
                    <a:lnTo>
                      <a:pt x="736" y="248"/>
                    </a:lnTo>
                    <a:lnTo>
                      <a:pt x="736" y="246"/>
                    </a:lnTo>
                    <a:lnTo>
                      <a:pt x="736" y="248"/>
                    </a:lnTo>
                    <a:lnTo>
                      <a:pt x="736" y="246"/>
                    </a:lnTo>
                    <a:lnTo>
                      <a:pt x="736" y="248"/>
                    </a:lnTo>
                    <a:lnTo>
                      <a:pt x="738" y="248"/>
                    </a:lnTo>
                    <a:lnTo>
                      <a:pt x="736" y="248"/>
                    </a:lnTo>
                    <a:lnTo>
                      <a:pt x="736" y="250"/>
                    </a:lnTo>
                    <a:lnTo>
                      <a:pt x="734" y="250"/>
                    </a:lnTo>
                    <a:lnTo>
                      <a:pt x="734" y="252"/>
                    </a:lnTo>
                    <a:lnTo>
                      <a:pt x="732" y="252"/>
                    </a:lnTo>
                    <a:lnTo>
                      <a:pt x="730" y="252"/>
                    </a:lnTo>
                    <a:lnTo>
                      <a:pt x="732" y="252"/>
                    </a:lnTo>
                    <a:lnTo>
                      <a:pt x="730" y="252"/>
                    </a:lnTo>
                    <a:lnTo>
                      <a:pt x="728" y="252"/>
                    </a:lnTo>
                    <a:lnTo>
                      <a:pt x="726" y="252"/>
                    </a:lnTo>
                    <a:lnTo>
                      <a:pt x="725" y="252"/>
                    </a:lnTo>
                    <a:lnTo>
                      <a:pt x="725" y="254"/>
                    </a:lnTo>
                    <a:lnTo>
                      <a:pt x="723" y="254"/>
                    </a:lnTo>
                    <a:lnTo>
                      <a:pt x="723" y="256"/>
                    </a:lnTo>
                    <a:lnTo>
                      <a:pt x="721" y="256"/>
                    </a:lnTo>
                    <a:lnTo>
                      <a:pt x="721" y="258"/>
                    </a:lnTo>
                    <a:lnTo>
                      <a:pt x="719" y="258"/>
                    </a:lnTo>
                    <a:lnTo>
                      <a:pt x="719" y="256"/>
                    </a:lnTo>
                    <a:lnTo>
                      <a:pt x="717" y="256"/>
                    </a:lnTo>
                    <a:lnTo>
                      <a:pt x="715" y="256"/>
                    </a:lnTo>
                    <a:lnTo>
                      <a:pt x="715" y="254"/>
                    </a:lnTo>
                    <a:lnTo>
                      <a:pt x="715" y="256"/>
                    </a:lnTo>
                    <a:lnTo>
                      <a:pt x="713" y="256"/>
                    </a:lnTo>
                    <a:lnTo>
                      <a:pt x="713" y="254"/>
                    </a:lnTo>
                    <a:lnTo>
                      <a:pt x="713" y="256"/>
                    </a:lnTo>
                    <a:lnTo>
                      <a:pt x="711" y="254"/>
                    </a:lnTo>
                    <a:lnTo>
                      <a:pt x="709" y="254"/>
                    </a:lnTo>
                    <a:lnTo>
                      <a:pt x="711" y="254"/>
                    </a:lnTo>
                    <a:lnTo>
                      <a:pt x="713" y="256"/>
                    </a:lnTo>
                    <a:lnTo>
                      <a:pt x="713" y="254"/>
                    </a:lnTo>
                    <a:lnTo>
                      <a:pt x="713" y="256"/>
                    </a:lnTo>
                    <a:lnTo>
                      <a:pt x="715" y="256"/>
                    </a:lnTo>
                    <a:lnTo>
                      <a:pt x="715" y="254"/>
                    </a:lnTo>
                    <a:lnTo>
                      <a:pt x="715" y="256"/>
                    </a:lnTo>
                    <a:lnTo>
                      <a:pt x="715" y="254"/>
                    </a:lnTo>
                    <a:lnTo>
                      <a:pt x="715" y="256"/>
                    </a:lnTo>
                    <a:lnTo>
                      <a:pt x="717" y="256"/>
                    </a:lnTo>
                    <a:lnTo>
                      <a:pt x="719" y="256"/>
                    </a:lnTo>
                    <a:lnTo>
                      <a:pt x="719" y="258"/>
                    </a:lnTo>
                    <a:lnTo>
                      <a:pt x="717" y="258"/>
                    </a:lnTo>
                    <a:lnTo>
                      <a:pt x="719" y="258"/>
                    </a:lnTo>
                    <a:lnTo>
                      <a:pt x="721" y="258"/>
                    </a:lnTo>
                    <a:lnTo>
                      <a:pt x="721" y="260"/>
                    </a:lnTo>
                    <a:lnTo>
                      <a:pt x="719" y="260"/>
                    </a:lnTo>
                    <a:lnTo>
                      <a:pt x="719" y="262"/>
                    </a:lnTo>
                    <a:lnTo>
                      <a:pt x="717" y="262"/>
                    </a:lnTo>
                    <a:lnTo>
                      <a:pt x="719" y="262"/>
                    </a:lnTo>
                    <a:lnTo>
                      <a:pt x="719" y="260"/>
                    </a:lnTo>
                    <a:lnTo>
                      <a:pt x="719" y="262"/>
                    </a:lnTo>
                    <a:lnTo>
                      <a:pt x="719" y="260"/>
                    </a:lnTo>
                    <a:lnTo>
                      <a:pt x="717" y="260"/>
                    </a:lnTo>
                    <a:lnTo>
                      <a:pt x="719" y="260"/>
                    </a:lnTo>
                    <a:lnTo>
                      <a:pt x="717" y="260"/>
                    </a:lnTo>
                    <a:lnTo>
                      <a:pt x="717" y="262"/>
                    </a:lnTo>
                    <a:lnTo>
                      <a:pt x="717" y="260"/>
                    </a:lnTo>
                    <a:lnTo>
                      <a:pt x="717" y="262"/>
                    </a:lnTo>
                    <a:lnTo>
                      <a:pt x="719" y="262"/>
                    </a:lnTo>
                    <a:lnTo>
                      <a:pt x="717" y="262"/>
                    </a:lnTo>
                    <a:lnTo>
                      <a:pt x="715" y="262"/>
                    </a:lnTo>
                    <a:lnTo>
                      <a:pt x="713" y="264"/>
                    </a:lnTo>
                    <a:lnTo>
                      <a:pt x="711" y="265"/>
                    </a:lnTo>
                    <a:lnTo>
                      <a:pt x="709" y="265"/>
                    </a:lnTo>
                    <a:lnTo>
                      <a:pt x="707" y="265"/>
                    </a:lnTo>
                    <a:lnTo>
                      <a:pt x="705" y="265"/>
                    </a:lnTo>
                    <a:lnTo>
                      <a:pt x="703" y="265"/>
                    </a:lnTo>
                    <a:lnTo>
                      <a:pt x="701" y="265"/>
                    </a:lnTo>
                    <a:lnTo>
                      <a:pt x="700" y="265"/>
                    </a:lnTo>
                    <a:lnTo>
                      <a:pt x="698" y="265"/>
                    </a:lnTo>
                    <a:lnTo>
                      <a:pt x="696" y="265"/>
                    </a:lnTo>
                    <a:lnTo>
                      <a:pt x="694" y="265"/>
                    </a:lnTo>
                    <a:lnTo>
                      <a:pt x="692" y="265"/>
                    </a:lnTo>
                    <a:lnTo>
                      <a:pt x="692" y="264"/>
                    </a:lnTo>
                    <a:lnTo>
                      <a:pt x="690" y="264"/>
                    </a:lnTo>
                    <a:lnTo>
                      <a:pt x="688" y="264"/>
                    </a:lnTo>
                    <a:lnTo>
                      <a:pt x="688" y="262"/>
                    </a:lnTo>
                    <a:lnTo>
                      <a:pt x="688" y="264"/>
                    </a:lnTo>
                    <a:lnTo>
                      <a:pt x="688" y="262"/>
                    </a:lnTo>
                    <a:lnTo>
                      <a:pt x="688" y="264"/>
                    </a:lnTo>
                    <a:lnTo>
                      <a:pt x="688" y="262"/>
                    </a:lnTo>
                    <a:lnTo>
                      <a:pt x="686" y="262"/>
                    </a:lnTo>
                    <a:lnTo>
                      <a:pt x="684" y="262"/>
                    </a:lnTo>
                    <a:lnTo>
                      <a:pt x="684" y="260"/>
                    </a:lnTo>
                    <a:lnTo>
                      <a:pt x="686" y="260"/>
                    </a:lnTo>
                    <a:lnTo>
                      <a:pt x="684" y="260"/>
                    </a:lnTo>
                    <a:lnTo>
                      <a:pt x="684" y="258"/>
                    </a:lnTo>
                    <a:lnTo>
                      <a:pt x="684" y="256"/>
                    </a:lnTo>
                    <a:lnTo>
                      <a:pt x="682" y="256"/>
                    </a:lnTo>
                    <a:lnTo>
                      <a:pt x="682" y="254"/>
                    </a:lnTo>
                    <a:lnTo>
                      <a:pt x="680" y="254"/>
                    </a:lnTo>
                    <a:lnTo>
                      <a:pt x="682" y="254"/>
                    </a:lnTo>
                    <a:lnTo>
                      <a:pt x="682" y="252"/>
                    </a:lnTo>
                    <a:lnTo>
                      <a:pt x="682" y="250"/>
                    </a:lnTo>
                    <a:lnTo>
                      <a:pt x="682" y="248"/>
                    </a:lnTo>
                    <a:lnTo>
                      <a:pt x="680" y="248"/>
                    </a:lnTo>
                    <a:lnTo>
                      <a:pt x="680" y="246"/>
                    </a:lnTo>
                    <a:lnTo>
                      <a:pt x="680" y="248"/>
                    </a:lnTo>
                    <a:lnTo>
                      <a:pt x="680" y="246"/>
                    </a:lnTo>
                    <a:lnTo>
                      <a:pt x="678" y="246"/>
                    </a:lnTo>
                    <a:lnTo>
                      <a:pt x="678" y="244"/>
                    </a:lnTo>
                    <a:lnTo>
                      <a:pt x="678" y="242"/>
                    </a:lnTo>
                    <a:lnTo>
                      <a:pt x="678" y="240"/>
                    </a:lnTo>
                    <a:lnTo>
                      <a:pt x="678" y="239"/>
                    </a:lnTo>
                    <a:lnTo>
                      <a:pt x="680" y="239"/>
                    </a:lnTo>
                    <a:lnTo>
                      <a:pt x="678" y="239"/>
                    </a:lnTo>
                    <a:lnTo>
                      <a:pt x="680" y="239"/>
                    </a:lnTo>
                    <a:lnTo>
                      <a:pt x="680" y="237"/>
                    </a:lnTo>
                    <a:lnTo>
                      <a:pt x="682" y="237"/>
                    </a:lnTo>
                    <a:lnTo>
                      <a:pt x="682" y="235"/>
                    </a:lnTo>
                    <a:lnTo>
                      <a:pt x="684" y="235"/>
                    </a:lnTo>
                    <a:lnTo>
                      <a:pt x="686" y="235"/>
                    </a:lnTo>
                    <a:lnTo>
                      <a:pt x="686" y="233"/>
                    </a:lnTo>
                    <a:lnTo>
                      <a:pt x="688" y="233"/>
                    </a:lnTo>
                    <a:lnTo>
                      <a:pt x="688" y="231"/>
                    </a:lnTo>
                    <a:lnTo>
                      <a:pt x="688" y="233"/>
                    </a:lnTo>
                    <a:lnTo>
                      <a:pt x="686" y="233"/>
                    </a:lnTo>
                    <a:lnTo>
                      <a:pt x="686" y="235"/>
                    </a:lnTo>
                    <a:lnTo>
                      <a:pt x="684" y="235"/>
                    </a:lnTo>
                    <a:lnTo>
                      <a:pt x="682" y="235"/>
                    </a:lnTo>
                    <a:lnTo>
                      <a:pt x="682" y="237"/>
                    </a:lnTo>
                    <a:lnTo>
                      <a:pt x="680" y="237"/>
                    </a:lnTo>
                    <a:lnTo>
                      <a:pt x="680" y="239"/>
                    </a:lnTo>
                    <a:lnTo>
                      <a:pt x="678" y="239"/>
                    </a:lnTo>
                    <a:lnTo>
                      <a:pt x="678" y="240"/>
                    </a:lnTo>
                    <a:lnTo>
                      <a:pt x="678" y="242"/>
                    </a:lnTo>
                    <a:lnTo>
                      <a:pt x="678" y="244"/>
                    </a:lnTo>
                    <a:lnTo>
                      <a:pt x="678" y="246"/>
                    </a:lnTo>
                    <a:lnTo>
                      <a:pt x="680" y="246"/>
                    </a:lnTo>
                    <a:lnTo>
                      <a:pt x="680" y="248"/>
                    </a:lnTo>
                    <a:lnTo>
                      <a:pt x="682" y="248"/>
                    </a:lnTo>
                    <a:lnTo>
                      <a:pt x="682" y="250"/>
                    </a:lnTo>
                    <a:lnTo>
                      <a:pt x="682" y="252"/>
                    </a:lnTo>
                    <a:lnTo>
                      <a:pt x="682" y="250"/>
                    </a:lnTo>
                    <a:lnTo>
                      <a:pt x="682" y="252"/>
                    </a:lnTo>
                    <a:lnTo>
                      <a:pt x="680" y="252"/>
                    </a:lnTo>
                    <a:lnTo>
                      <a:pt x="680" y="254"/>
                    </a:lnTo>
                    <a:lnTo>
                      <a:pt x="682" y="254"/>
                    </a:lnTo>
                    <a:lnTo>
                      <a:pt x="682" y="256"/>
                    </a:lnTo>
                    <a:lnTo>
                      <a:pt x="684" y="256"/>
                    </a:lnTo>
                    <a:lnTo>
                      <a:pt x="682" y="256"/>
                    </a:lnTo>
                    <a:lnTo>
                      <a:pt x="684" y="256"/>
                    </a:lnTo>
                    <a:lnTo>
                      <a:pt x="684" y="258"/>
                    </a:lnTo>
                    <a:lnTo>
                      <a:pt x="682" y="258"/>
                    </a:lnTo>
                    <a:lnTo>
                      <a:pt x="684" y="258"/>
                    </a:lnTo>
                    <a:lnTo>
                      <a:pt x="684" y="260"/>
                    </a:lnTo>
                    <a:lnTo>
                      <a:pt x="684" y="262"/>
                    </a:lnTo>
                    <a:lnTo>
                      <a:pt x="686" y="262"/>
                    </a:lnTo>
                    <a:lnTo>
                      <a:pt x="688" y="262"/>
                    </a:lnTo>
                    <a:lnTo>
                      <a:pt x="688" y="264"/>
                    </a:lnTo>
                    <a:lnTo>
                      <a:pt x="690" y="264"/>
                    </a:lnTo>
                    <a:lnTo>
                      <a:pt x="692" y="265"/>
                    </a:lnTo>
                    <a:lnTo>
                      <a:pt x="694" y="265"/>
                    </a:lnTo>
                    <a:lnTo>
                      <a:pt x="696" y="265"/>
                    </a:lnTo>
                    <a:lnTo>
                      <a:pt x="698" y="265"/>
                    </a:lnTo>
                    <a:lnTo>
                      <a:pt x="700" y="265"/>
                    </a:lnTo>
                    <a:lnTo>
                      <a:pt x="701" y="265"/>
                    </a:lnTo>
                    <a:lnTo>
                      <a:pt x="703" y="265"/>
                    </a:lnTo>
                    <a:lnTo>
                      <a:pt x="705" y="265"/>
                    </a:lnTo>
                    <a:lnTo>
                      <a:pt x="705" y="267"/>
                    </a:lnTo>
                    <a:lnTo>
                      <a:pt x="707" y="267"/>
                    </a:lnTo>
                    <a:lnTo>
                      <a:pt x="707" y="269"/>
                    </a:lnTo>
                    <a:lnTo>
                      <a:pt x="705" y="269"/>
                    </a:lnTo>
                    <a:lnTo>
                      <a:pt x="703" y="271"/>
                    </a:lnTo>
                    <a:lnTo>
                      <a:pt x="701" y="271"/>
                    </a:lnTo>
                    <a:lnTo>
                      <a:pt x="700" y="271"/>
                    </a:lnTo>
                    <a:lnTo>
                      <a:pt x="700" y="273"/>
                    </a:lnTo>
                    <a:lnTo>
                      <a:pt x="698" y="273"/>
                    </a:lnTo>
                    <a:lnTo>
                      <a:pt x="698" y="275"/>
                    </a:lnTo>
                    <a:lnTo>
                      <a:pt x="696" y="275"/>
                    </a:lnTo>
                    <a:lnTo>
                      <a:pt x="694" y="275"/>
                    </a:lnTo>
                    <a:lnTo>
                      <a:pt x="696" y="277"/>
                    </a:lnTo>
                    <a:lnTo>
                      <a:pt x="694" y="277"/>
                    </a:lnTo>
                    <a:lnTo>
                      <a:pt x="694" y="275"/>
                    </a:lnTo>
                    <a:lnTo>
                      <a:pt x="692" y="275"/>
                    </a:lnTo>
                    <a:lnTo>
                      <a:pt x="692" y="277"/>
                    </a:lnTo>
                    <a:lnTo>
                      <a:pt x="690" y="277"/>
                    </a:lnTo>
                    <a:lnTo>
                      <a:pt x="690" y="275"/>
                    </a:lnTo>
                    <a:lnTo>
                      <a:pt x="690" y="277"/>
                    </a:lnTo>
                    <a:lnTo>
                      <a:pt x="688" y="277"/>
                    </a:lnTo>
                    <a:lnTo>
                      <a:pt x="688" y="279"/>
                    </a:lnTo>
                    <a:lnTo>
                      <a:pt x="686" y="279"/>
                    </a:lnTo>
                    <a:lnTo>
                      <a:pt x="684" y="279"/>
                    </a:lnTo>
                    <a:lnTo>
                      <a:pt x="684" y="281"/>
                    </a:lnTo>
                    <a:lnTo>
                      <a:pt x="684" y="279"/>
                    </a:lnTo>
                    <a:lnTo>
                      <a:pt x="684" y="281"/>
                    </a:lnTo>
                    <a:lnTo>
                      <a:pt x="682" y="281"/>
                    </a:lnTo>
                    <a:lnTo>
                      <a:pt x="682" y="279"/>
                    </a:lnTo>
                    <a:lnTo>
                      <a:pt x="682" y="281"/>
                    </a:lnTo>
                    <a:lnTo>
                      <a:pt x="680" y="281"/>
                    </a:lnTo>
                    <a:lnTo>
                      <a:pt x="678" y="281"/>
                    </a:lnTo>
                    <a:lnTo>
                      <a:pt x="677" y="281"/>
                    </a:lnTo>
                    <a:lnTo>
                      <a:pt x="675" y="281"/>
                    </a:lnTo>
                    <a:lnTo>
                      <a:pt x="677" y="281"/>
                    </a:lnTo>
                    <a:lnTo>
                      <a:pt x="677" y="279"/>
                    </a:lnTo>
                    <a:lnTo>
                      <a:pt x="675" y="279"/>
                    </a:lnTo>
                    <a:lnTo>
                      <a:pt x="675" y="281"/>
                    </a:lnTo>
                    <a:lnTo>
                      <a:pt x="675" y="279"/>
                    </a:lnTo>
                    <a:lnTo>
                      <a:pt x="673" y="279"/>
                    </a:lnTo>
                    <a:lnTo>
                      <a:pt x="675" y="279"/>
                    </a:lnTo>
                    <a:lnTo>
                      <a:pt x="673" y="279"/>
                    </a:lnTo>
                    <a:lnTo>
                      <a:pt x="671" y="279"/>
                    </a:lnTo>
                    <a:lnTo>
                      <a:pt x="671" y="277"/>
                    </a:lnTo>
                    <a:lnTo>
                      <a:pt x="669" y="277"/>
                    </a:lnTo>
                    <a:lnTo>
                      <a:pt x="669" y="275"/>
                    </a:lnTo>
                    <a:lnTo>
                      <a:pt x="669" y="277"/>
                    </a:lnTo>
                    <a:lnTo>
                      <a:pt x="671" y="277"/>
                    </a:lnTo>
                    <a:lnTo>
                      <a:pt x="671" y="279"/>
                    </a:lnTo>
                    <a:lnTo>
                      <a:pt x="673" y="279"/>
                    </a:lnTo>
                    <a:lnTo>
                      <a:pt x="675" y="279"/>
                    </a:lnTo>
                    <a:lnTo>
                      <a:pt x="673" y="279"/>
                    </a:lnTo>
                    <a:lnTo>
                      <a:pt x="675" y="279"/>
                    </a:lnTo>
                    <a:lnTo>
                      <a:pt x="675" y="281"/>
                    </a:lnTo>
                    <a:lnTo>
                      <a:pt x="675" y="279"/>
                    </a:lnTo>
                    <a:lnTo>
                      <a:pt x="677" y="279"/>
                    </a:lnTo>
                    <a:lnTo>
                      <a:pt x="675" y="281"/>
                    </a:lnTo>
                    <a:lnTo>
                      <a:pt x="677" y="281"/>
                    </a:lnTo>
                    <a:lnTo>
                      <a:pt x="678" y="281"/>
                    </a:lnTo>
                    <a:lnTo>
                      <a:pt x="680" y="281"/>
                    </a:lnTo>
                    <a:lnTo>
                      <a:pt x="682" y="281"/>
                    </a:lnTo>
                    <a:lnTo>
                      <a:pt x="684" y="281"/>
                    </a:lnTo>
                    <a:lnTo>
                      <a:pt x="684" y="279"/>
                    </a:lnTo>
                    <a:lnTo>
                      <a:pt x="684" y="281"/>
                    </a:lnTo>
                    <a:lnTo>
                      <a:pt x="684" y="279"/>
                    </a:lnTo>
                    <a:lnTo>
                      <a:pt x="684" y="281"/>
                    </a:lnTo>
                    <a:lnTo>
                      <a:pt x="686" y="279"/>
                    </a:lnTo>
                    <a:lnTo>
                      <a:pt x="686" y="281"/>
                    </a:lnTo>
                    <a:lnTo>
                      <a:pt x="686" y="279"/>
                    </a:lnTo>
                    <a:lnTo>
                      <a:pt x="688" y="279"/>
                    </a:lnTo>
                    <a:lnTo>
                      <a:pt x="688" y="277"/>
                    </a:lnTo>
                    <a:lnTo>
                      <a:pt x="690" y="277"/>
                    </a:lnTo>
                    <a:lnTo>
                      <a:pt x="692" y="277"/>
                    </a:lnTo>
                    <a:lnTo>
                      <a:pt x="690" y="277"/>
                    </a:lnTo>
                    <a:lnTo>
                      <a:pt x="692" y="277"/>
                    </a:lnTo>
                    <a:lnTo>
                      <a:pt x="692" y="279"/>
                    </a:lnTo>
                    <a:lnTo>
                      <a:pt x="694" y="279"/>
                    </a:lnTo>
                    <a:lnTo>
                      <a:pt x="694" y="277"/>
                    </a:lnTo>
                    <a:lnTo>
                      <a:pt x="696" y="277"/>
                    </a:lnTo>
                    <a:lnTo>
                      <a:pt x="698" y="277"/>
                    </a:lnTo>
                    <a:lnTo>
                      <a:pt x="698" y="275"/>
                    </a:lnTo>
                    <a:lnTo>
                      <a:pt x="698" y="277"/>
                    </a:lnTo>
                    <a:lnTo>
                      <a:pt x="698" y="279"/>
                    </a:lnTo>
                    <a:lnTo>
                      <a:pt x="698" y="281"/>
                    </a:lnTo>
                    <a:lnTo>
                      <a:pt x="698" y="283"/>
                    </a:lnTo>
                    <a:lnTo>
                      <a:pt x="696" y="285"/>
                    </a:lnTo>
                    <a:lnTo>
                      <a:pt x="694" y="285"/>
                    </a:lnTo>
                    <a:lnTo>
                      <a:pt x="694" y="287"/>
                    </a:lnTo>
                    <a:lnTo>
                      <a:pt x="692" y="287"/>
                    </a:lnTo>
                    <a:lnTo>
                      <a:pt x="692" y="289"/>
                    </a:lnTo>
                    <a:lnTo>
                      <a:pt x="690" y="289"/>
                    </a:lnTo>
                    <a:lnTo>
                      <a:pt x="688" y="289"/>
                    </a:lnTo>
                    <a:lnTo>
                      <a:pt x="688" y="290"/>
                    </a:lnTo>
                    <a:lnTo>
                      <a:pt x="686" y="290"/>
                    </a:lnTo>
                    <a:lnTo>
                      <a:pt x="688" y="290"/>
                    </a:lnTo>
                    <a:lnTo>
                      <a:pt x="686" y="290"/>
                    </a:lnTo>
                    <a:lnTo>
                      <a:pt x="686" y="289"/>
                    </a:lnTo>
                    <a:lnTo>
                      <a:pt x="686" y="290"/>
                    </a:lnTo>
                    <a:lnTo>
                      <a:pt x="684" y="290"/>
                    </a:lnTo>
                    <a:lnTo>
                      <a:pt x="682" y="292"/>
                    </a:lnTo>
                    <a:lnTo>
                      <a:pt x="680" y="292"/>
                    </a:lnTo>
                    <a:lnTo>
                      <a:pt x="680" y="294"/>
                    </a:lnTo>
                    <a:lnTo>
                      <a:pt x="678" y="294"/>
                    </a:lnTo>
                    <a:lnTo>
                      <a:pt x="678" y="296"/>
                    </a:lnTo>
                    <a:lnTo>
                      <a:pt x="678" y="294"/>
                    </a:lnTo>
                    <a:lnTo>
                      <a:pt x="678" y="296"/>
                    </a:lnTo>
                    <a:lnTo>
                      <a:pt x="677" y="298"/>
                    </a:lnTo>
                    <a:lnTo>
                      <a:pt x="678" y="296"/>
                    </a:lnTo>
                    <a:lnTo>
                      <a:pt x="677" y="296"/>
                    </a:lnTo>
                    <a:lnTo>
                      <a:pt x="678" y="296"/>
                    </a:lnTo>
                    <a:lnTo>
                      <a:pt x="677" y="296"/>
                    </a:lnTo>
                    <a:lnTo>
                      <a:pt x="678" y="296"/>
                    </a:lnTo>
                    <a:lnTo>
                      <a:pt x="677" y="298"/>
                    </a:lnTo>
                    <a:lnTo>
                      <a:pt x="675" y="300"/>
                    </a:lnTo>
                    <a:lnTo>
                      <a:pt x="675" y="302"/>
                    </a:lnTo>
                    <a:lnTo>
                      <a:pt x="675" y="304"/>
                    </a:lnTo>
                    <a:lnTo>
                      <a:pt x="673" y="304"/>
                    </a:lnTo>
                    <a:lnTo>
                      <a:pt x="675" y="304"/>
                    </a:lnTo>
                    <a:lnTo>
                      <a:pt x="673" y="304"/>
                    </a:lnTo>
                    <a:lnTo>
                      <a:pt x="673" y="306"/>
                    </a:lnTo>
                    <a:lnTo>
                      <a:pt x="673" y="304"/>
                    </a:lnTo>
                    <a:lnTo>
                      <a:pt x="673" y="306"/>
                    </a:lnTo>
                    <a:lnTo>
                      <a:pt x="673" y="304"/>
                    </a:lnTo>
                    <a:lnTo>
                      <a:pt x="673" y="306"/>
                    </a:lnTo>
                    <a:lnTo>
                      <a:pt x="671" y="308"/>
                    </a:lnTo>
                    <a:lnTo>
                      <a:pt x="669" y="308"/>
                    </a:lnTo>
                    <a:lnTo>
                      <a:pt x="669" y="306"/>
                    </a:lnTo>
                    <a:lnTo>
                      <a:pt x="669" y="308"/>
                    </a:lnTo>
                    <a:lnTo>
                      <a:pt x="671" y="308"/>
                    </a:lnTo>
                    <a:lnTo>
                      <a:pt x="671" y="310"/>
                    </a:lnTo>
                    <a:lnTo>
                      <a:pt x="671" y="308"/>
                    </a:lnTo>
                    <a:lnTo>
                      <a:pt x="671" y="310"/>
                    </a:lnTo>
                    <a:lnTo>
                      <a:pt x="669" y="310"/>
                    </a:lnTo>
                    <a:lnTo>
                      <a:pt x="669" y="312"/>
                    </a:lnTo>
                    <a:lnTo>
                      <a:pt x="667" y="312"/>
                    </a:lnTo>
                    <a:lnTo>
                      <a:pt x="667" y="314"/>
                    </a:lnTo>
                    <a:lnTo>
                      <a:pt x="665" y="314"/>
                    </a:lnTo>
                    <a:lnTo>
                      <a:pt x="665" y="315"/>
                    </a:lnTo>
                    <a:lnTo>
                      <a:pt x="665" y="314"/>
                    </a:lnTo>
                    <a:lnTo>
                      <a:pt x="665" y="315"/>
                    </a:lnTo>
                    <a:lnTo>
                      <a:pt x="663" y="314"/>
                    </a:lnTo>
                    <a:lnTo>
                      <a:pt x="663" y="315"/>
                    </a:lnTo>
                    <a:lnTo>
                      <a:pt x="661" y="315"/>
                    </a:lnTo>
                    <a:lnTo>
                      <a:pt x="659" y="315"/>
                    </a:lnTo>
                    <a:lnTo>
                      <a:pt x="659" y="317"/>
                    </a:lnTo>
                    <a:lnTo>
                      <a:pt x="657" y="317"/>
                    </a:lnTo>
                    <a:lnTo>
                      <a:pt x="655" y="317"/>
                    </a:lnTo>
                    <a:lnTo>
                      <a:pt x="653" y="317"/>
                    </a:lnTo>
                    <a:lnTo>
                      <a:pt x="652" y="319"/>
                    </a:lnTo>
                    <a:lnTo>
                      <a:pt x="650" y="319"/>
                    </a:lnTo>
                    <a:lnTo>
                      <a:pt x="648" y="319"/>
                    </a:lnTo>
                    <a:lnTo>
                      <a:pt x="650" y="319"/>
                    </a:lnTo>
                    <a:lnTo>
                      <a:pt x="648" y="319"/>
                    </a:lnTo>
                    <a:lnTo>
                      <a:pt x="646" y="319"/>
                    </a:lnTo>
                    <a:lnTo>
                      <a:pt x="644" y="319"/>
                    </a:lnTo>
                    <a:lnTo>
                      <a:pt x="642" y="319"/>
                    </a:lnTo>
                    <a:lnTo>
                      <a:pt x="640" y="319"/>
                    </a:lnTo>
                    <a:lnTo>
                      <a:pt x="638" y="317"/>
                    </a:lnTo>
                    <a:lnTo>
                      <a:pt x="640" y="317"/>
                    </a:lnTo>
                    <a:lnTo>
                      <a:pt x="640" y="315"/>
                    </a:lnTo>
                    <a:lnTo>
                      <a:pt x="638" y="315"/>
                    </a:lnTo>
                    <a:lnTo>
                      <a:pt x="636" y="315"/>
                    </a:lnTo>
                    <a:lnTo>
                      <a:pt x="634" y="314"/>
                    </a:lnTo>
                    <a:lnTo>
                      <a:pt x="632" y="314"/>
                    </a:lnTo>
                    <a:lnTo>
                      <a:pt x="630" y="314"/>
                    </a:lnTo>
                    <a:lnTo>
                      <a:pt x="628" y="314"/>
                    </a:lnTo>
                    <a:lnTo>
                      <a:pt x="627" y="314"/>
                    </a:lnTo>
                    <a:lnTo>
                      <a:pt x="625" y="314"/>
                    </a:lnTo>
                    <a:lnTo>
                      <a:pt x="625" y="312"/>
                    </a:lnTo>
                    <a:lnTo>
                      <a:pt x="623" y="312"/>
                    </a:lnTo>
                    <a:lnTo>
                      <a:pt x="625" y="312"/>
                    </a:lnTo>
                    <a:lnTo>
                      <a:pt x="623" y="312"/>
                    </a:lnTo>
                    <a:lnTo>
                      <a:pt x="623" y="310"/>
                    </a:lnTo>
                    <a:lnTo>
                      <a:pt x="623" y="312"/>
                    </a:lnTo>
                    <a:lnTo>
                      <a:pt x="621" y="312"/>
                    </a:lnTo>
                    <a:lnTo>
                      <a:pt x="623" y="312"/>
                    </a:lnTo>
                    <a:lnTo>
                      <a:pt x="623" y="310"/>
                    </a:lnTo>
                    <a:lnTo>
                      <a:pt x="621" y="310"/>
                    </a:lnTo>
                    <a:lnTo>
                      <a:pt x="623" y="310"/>
                    </a:lnTo>
                    <a:lnTo>
                      <a:pt x="621" y="308"/>
                    </a:lnTo>
                    <a:lnTo>
                      <a:pt x="621" y="310"/>
                    </a:lnTo>
                    <a:lnTo>
                      <a:pt x="621" y="308"/>
                    </a:lnTo>
                    <a:lnTo>
                      <a:pt x="621" y="310"/>
                    </a:lnTo>
                    <a:lnTo>
                      <a:pt x="621" y="308"/>
                    </a:lnTo>
                    <a:lnTo>
                      <a:pt x="621" y="310"/>
                    </a:lnTo>
                    <a:lnTo>
                      <a:pt x="623" y="310"/>
                    </a:lnTo>
                    <a:lnTo>
                      <a:pt x="621" y="310"/>
                    </a:lnTo>
                    <a:lnTo>
                      <a:pt x="623" y="310"/>
                    </a:lnTo>
                    <a:lnTo>
                      <a:pt x="621" y="312"/>
                    </a:lnTo>
                    <a:lnTo>
                      <a:pt x="623" y="312"/>
                    </a:lnTo>
                    <a:lnTo>
                      <a:pt x="623" y="310"/>
                    </a:lnTo>
                    <a:lnTo>
                      <a:pt x="623" y="312"/>
                    </a:lnTo>
                    <a:lnTo>
                      <a:pt x="625" y="312"/>
                    </a:lnTo>
                    <a:lnTo>
                      <a:pt x="623" y="312"/>
                    </a:lnTo>
                    <a:lnTo>
                      <a:pt x="625" y="312"/>
                    </a:lnTo>
                    <a:lnTo>
                      <a:pt x="625" y="314"/>
                    </a:lnTo>
                    <a:lnTo>
                      <a:pt x="623" y="314"/>
                    </a:lnTo>
                    <a:lnTo>
                      <a:pt x="621" y="314"/>
                    </a:lnTo>
                    <a:lnTo>
                      <a:pt x="623" y="314"/>
                    </a:lnTo>
                    <a:lnTo>
                      <a:pt x="621" y="314"/>
                    </a:lnTo>
                    <a:lnTo>
                      <a:pt x="623" y="314"/>
                    </a:lnTo>
                    <a:lnTo>
                      <a:pt x="623" y="312"/>
                    </a:lnTo>
                    <a:lnTo>
                      <a:pt x="621" y="312"/>
                    </a:lnTo>
                    <a:lnTo>
                      <a:pt x="621" y="314"/>
                    </a:lnTo>
                    <a:lnTo>
                      <a:pt x="621" y="312"/>
                    </a:lnTo>
                    <a:lnTo>
                      <a:pt x="619" y="314"/>
                    </a:lnTo>
                    <a:lnTo>
                      <a:pt x="619" y="312"/>
                    </a:lnTo>
                    <a:lnTo>
                      <a:pt x="619" y="314"/>
                    </a:lnTo>
                    <a:lnTo>
                      <a:pt x="617" y="314"/>
                    </a:lnTo>
                    <a:lnTo>
                      <a:pt x="615" y="314"/>
                    </a:lnTo>
                    <a:lnTo>
                      <a:pt x="613" y="314"/>
                    </a:lnTo>
                    <a:lnTo>
                      <a:pt x="615" y="314"/>
                    </a:lnTo>
                    <a:lnTo>
                      <a:pt x="613" y="312"/>
                    </a:lnTo>
                    <a:lnTo>
                      <a:pt x="613" y="314"/>
                    </a:lnTo>
                    <a:lnTo>
                      <a:pt x="613" y="312"/>
                    </a:lnTo>
                    <a:lnTo>
                      <a:pt x="615" y="314"/>
                    </a:lnTo>
                    <a:lnTo>
                      <a:pt x="613" y="314"/>
                    </a:lnTo>
                    <a:lnTo>
                      <a:pt x="615" y="314"/>
                    </a:lnTo>
                    <a:lnTo>
                      <a:pt x="617" y="314"/>
                    </a:lnTo>
                    <a:lnTo>
                      <a:pt x="619" y="314"/>
                    </a:lnTo>
                    <a:lnTo>
                      <a:pt x="619" y="312"/>
                    </a:lnTo>
                    <a:lnTo>
                      <a:pt x="619" y="314"/>
                    </a:lnTo>
                    <a:lnTo>
                      <a:pt x="621" y="314"/>
                    </a:lnTo>
                    <a:lnTo>
                      <a:pt x="623" y="312"/>
                    </a:lnTo>
                    <a:lnTo>
                      <a:pt x="623" y="314"/>
                    </a:lnTo>
                    <a:lnTo>
                      <a:pt x="621" y="314"/>
                    </a:lnTo>
                    <a:lnTo>
                      <a:pt x="621" y="315"/>
                    </a:lnTo>
                    <a:lnTo>
                      <a:pt x="621" y="314"/>
                    </a:lnTo>
                    <a:lnTo>
                      <a:pt x="623" y="314"/>
                    </a:lnTo>
                    <a:lnTo>
                      <a:pt x="625" y="314"/>
                    </a:lnTo>
                    <a:lnTo>
                      <a:pt x="627" y="314"/>
                    </a:lnTo>
                    <a:lnTo>
                      <a:pt x="628" y="314"/>
                    </a:lnTo>
                    <a:lnTo>
                      <a:pt x="630" y="314"/>
                    </a:lnTo>
                    <a:lnTo>
                      <a:pt x="632" y="314"/>
                    </a:lnTo>
                    <a:lnTo>
                      <a:pt x="634" y="314"/>
                    </a:lnTo>
                    <a:lnTo>
                      <a:pt x="634" y="315"/>
                    </a:lnTo>
                    <a:lnTo>
                      <a:pt x="636" y="315"/>
                    </a:lnTo>
                    <a:lnTo>
                      <a:pt x="638" y="315"/>
                    </a:lnTo>
                    <a:lnTo>
                      <a:pt x="640" y="315"/>
                    </a:lnTo>
                    <a:lnTo>
                      <a:pt x="640" y="317"/>
                    </a:lnTo>
                    <a:lnTo>
                      <a:pt x="638" y="317"/>
                    </a:lnTo>
                    <a:lnTo>
                      <a:pt x="638" y="319"/>
                    </a:lnTo>
                    <a:lnTo>
                      <a:pt x="640" y="319"/>
                    </a:lnTo>
                    <a:lnTo>
                      <a:pt x="638" y="319"/>
                    </a:lnTo>
                    <a:lnTo>
                      <a:pt x="638" y="321"/>
                    </a:lnTo>
                    <a:lnTo>
                      <a:pt x="636" y="321"/>
                    </a:lnTo>
                    <a:lnTo>
                      <a:pt x="634" y="321"/>
                    </a:lnTo>
                    <a:lnTo>
                      <a:pt x="634" y="319"/>
                    </a:lnTo>
                    <a:lnTo>
                      <a:pt x="632" y="319"/>
                    </a:lnTo>
                    <a:lnTo>
                      <a:pt x="630" y="321"/>
                    </a:lnTo>
                    <a:lnTo>
                      <a:pt x="628" y="321"/>
                    </a:lnTo>
                    <a:lnTo>
                      <a:pt x="627" y="321"/>
                    </a:lnTo>
                    <a:lnTo>
                      <a:pt x="625" y="321"/>
                    </a:lnTo>
                    <a:lnTo>
                      <a:pt x="623" y="321"/>
                    </a:lnTo>
                    <a:lnTo>
                      <a:pt x="621" y="321"/>
                    </a:lnTo>
                    <a:lnTo>
                      <a:pt x="619" y="321"/>
                    </a:lnTo>
                    <a:lnTo>
                      <a:pt x="617" y="321"/>
                    </a:lnTo>
                    <a:lnTo>
                      <a:pt x="615" y="321"/>
                    </a:lnTo>
                    <a:lnTo>
                      <a:pt x="613" y="321"/>
                    </a:lnTo>
                    <a:lnTo>
                      <a:pt x="611" y="321"/>
                    </a:lnTo>
                    <a:lnTo>
                      <a:pt x="609" y="321"/>
                    </a:lnTo>
                    <a:lnTo>
                      <a:pt x="609" y="323"/>
                    </a:lnTo>
                    <a:lnTo>
                      <a:pt x="607" y="323"/>
                    </a:lnTo>
                    <a:lnTo>
                      <a:pt x="605" y="325"/>
                    </a:lnTo>
                    <a:lnTo>
                      <a:pt x="604" y="325"/>
                    </a:lnTo>
                    <a:lnTo>
                      <a:pt x="602" y="327"/>
                    </a:lnTo>
                    <a:lnTo>
                      <a:pt x="604" y="327"/>
                    </a:lnTo>
                    <a:lnTo>
                      <a:pt x="602" y="329"/>
                    </a:lnTo>
                    <a:lnTo>
                      <a:pt x="600" y="329"/>
                    </a:lnTo>
                    <a:lnTo>
                      <a:pt x="598" y="329"/>
                    </a:lnTo>
                    <a:lnTo>
                      <a:pt x="598" y="331"/>
                    </a:lnTo>
                    <a:lnTo>
                      <a:pt x="600" y="331"/>
                    </a:lnTo>
                    <a:lnTo>
                      <a:pt x="598" y="331"/>
                    </a:lnTo>
                    <a:lnTo>
                      <a:pt x="596" y="331"/>
                    </a:lnTo>
                    <a:lnTo>
                      <a:pt x="594" y="333"/>
                    </a:lnTo>
                    <a:lnTo>
                      <a:pt x="592" y="331"/>
                    </a:lnTo>
                    <a:lnTo>
                      <a:pt x="590" y="331"/>
                    </a:lnTo>
                    <a:lnTo>
                      <a:pt x="588" y="331"/>
                    </a:lnTo>
                    <a:lnTo>
                      <a:pt x="588" y="333"/>
                    </a:lnTo>
                    <a:lnTo>
                      <a:pt x="586" y="333"/>
                    </a:lnTo>
                    <a:lnTo>
                      <a:pt x="584" y="333"/>
                    </a:lnTo>
                    <a:lnTo>
                      <a:pt x="582" y="333"/>
                    </a:lnTo>
                    <a:lnTo>
                      <a:pt x="582" y="335"/>
                    </a:lnTo>
                    <a:lnTo>
                      <a:pt x="584" y="335"/>
                    </a:lnTo>
                    <a:lnTo>
                      <a:pt x="584" y="337"/>
                    </a:lnTo>
                    <a:lnTo>
                      <a:pt x="582" y="337"/>
                    </a:lnTo>
                    <a:lnTo>
                      <a:pt x="582" y="335"/>
                    </a:lnTo>
                    <a:lnTo>
                      <a:pt x="580" y="335"/>
                    </a:lnTo>
                    <a:lnTo>
                      <a:pt x="582" y="335"/>
                    </a:lnTo>
                    <a:lnTo>
                      <a:pt x="582" y="333"/>
                    </a:lnTo>
                    <a:lnTo>
                      <a:pt x="580" y="333"/>
                    </a:lnTo>
                    <a:lnTo>
                      <a:pt x="580" y="335"/>
                    </a:lnTo>
                    <a:lnTo>
                      <a:pt x="579" y="335"/>
                    </a:lnTo>
                    <a:lnTo>
                      <a:pt x="580" y="335"/>
                    </a:lnTo>
                    <a:lnTo>
                      <a:pt x="579" y="335"/>
                    </a:lnTo>
                    <a:lnTo>
                      <a:pt x="579" y="333"/>
                    </a:lnTo>
                    <a:lnTo>
                      <a:pt x="579" y="335"/>
                    </a:lnTo>
                    <a:lnTo>
                      <a:pt x="577" y="333"/>
                    </a:lnTo>
                    <a:lnTo>
                      <a:pt x="575" y="333"/>
                    </a:lnTo>
                    <a:lnTo>
                      <a:pt x="577" y="333"/>
                    </a:lnTo>
                    <a:lnTo>
                      <a:pt x="575" y="333"/>
                    </a:lnTo>
                    <a:lnTo>
                      <a:pt x="573" y="333"/>
                    </a:lnTo>
                    <a:lnTo>
                      <a:pt x="571" y="333"/>
                    </a:lnTo>
                    <a:lnTo>
                      <a:pt x="571" y="331"/>
                    </a:lnTo>
                    <a:lnTo>
                      <a:pt x="571" y="333"/>
                    </a:lnTo>
                    <a:lnTo>
                      <a:pt x="571" y="331"/>
                    </a:lnTo>
                    <a:lnTo>
                      <a:pt x="569" y="331"/>
                    </a:lnTo>
                    <a:lnTo>
                      <a:pt x="569" y="333"/>
                    </a:lnTo>
                    <a:lnTo>
                      <a:pt x="567" y="333"/>
                    </a:lnTo>
                    <a:lnTo>
                      <a:pt x="567" y="331"/>
                    </a:lnTo>
                    <a:lnTo>
                      <a:pt x="567" y="333"/>
                    </a:lnTo>
                    <a:lnTo>
                      <a:pt x="565" y="333"/>
                    </a:lnTo>
                    <a:lnTo>
                      <a:pt x="565" y="335"/>
                    </a:lnTo>
                    <a:lnTo>
                      <a:pt x="563" y="335"/>
                    </a:lnTo>
                    <a:lnTo>
                      <a:pt x="563" y="337"/>
                    </a:lnTo>
                    <a:lnTo>
                      <a:pt x="565" y="337"/>
                    </a:lnTo>
                    <a:lnTo>
                      <a:pt x="563" y="339"/>
                    </a:lnTo>
                    <a:lnTo>
                      <a:pt x="563" y="337"/>
                    </a:lnTo>
                    <a:lnTo>
                      <a:pt x="561" y="337"/>
                    </a:lnTo>
                    <a:lnTo>
                      <a:pt x="559" y="337"/>
                    </a:lnTo>
                    <a:lnTo>
                      <a:pt x="559" y="335"/>
                    </a:lnTo>
                    <a:lnTo>
                      <a:pt x="557" y="335"/>
                    </a:lnTo>
                    <a:lnTo>
                      <a:pt x="557" y="333"/>
                    </a:lnTo>
                    <a:lnTo>
                      <a:pt x="555" y="333"/>
                    </a:lnTo>
                    <a:lnTo>
                      <a:pt x="555" y="331"/>
                    </a:lnTo>
                    <a:lnTo>
                      <a:pt x="554" y="331"/>
                    </a:lnTo>
                    <a:lnTo>
                      <a:pt x="552" y="331"/>
                    </a:lnTo>
                    <a:lnTo>
                      <a:pt x="550" y="331"/>
                    </a:lnTo>
                    <a:lnTo>
                      <a:pt x="552" y="329"/>
                    </a:lnTo>
                    <a:lnTo>
                      <a:pt x="550" y="329"/>
                    </a:lnTo>
                    <a:lnTo>
                      <a:pt x="548" y="329"/>
                    </a:lnTo>
                    <a:lnTo>
                      <a:pt x="546" y="329"/>
                    </a:lnTo>
                    <a:lnTo>
                      <a:pt x="544" y="329"/>
                    </a:lnTo>
                    <a:lnTo>
                      <a:pt x="544" y="331"/>
                    </a:lnTo>
                    <a:lnTo>
                      <a:pt x="542" y="331"/>
                    </a:lnTo>
                    <a:lnTo>
                      <a:pt x="540" y="333"/>
                    </a:lnTo>
                    <a:lnTo>
                      <a:pt x="540" y="331"/>
                    </a:lnTo>
                    <a:lnTo>
                      <a:pt x="542" y="331"/>
                    </a:lnTo>
                    <a:lnTo>
                      <a:pt x="540" y="331"/>
                    </a:lnTo>
                    <a:lnTo>
                      <a:pt x="540" y="329"/>
                    </a:lnTo>
                    <a:lnTo>
                      <a:pt x="540" y="331"/>
                    </a:lnTo>
                    <a:lnTo>
                      <a:pt x="540" y="333"/>
                    </a:lnTo>
                    <a:lnTo>
                      <a:pt x="542" y="331"/>
                    </a:lnTo>
                    <a:lnTo>
                      <a:pt x="544" y="331"/>
                    </a:lnTo>
                    <a:lnTo>
                      <a:pt x="544" y="329"/>
                    </a:lnTo>
                    <a:lnTo>
                      <a:pt x="546" y="329"/>
                    </a:lnTo>
                    <a:lnTo>
                      <a:pt x="548" y="329"/>
                    </a:lnTo>
                    <a:lnTo>
                      <a:pt x="550" y="329"/>
                    </a:lnTo>
                    <a:lnTo>
                      <a:pt x="552" y="329"/>
                    </a:lnTo>
                    <a:lnTo>
                      <a:pt x="550" y="331"/>
                    </a:lnTo>
                    <a:lnTo>
                      <a:pt x="552" y="331"/>
                    </a:lnTo>
                    <a:lnTo>
                      <a:pt x="554" y="331"/>
                    </a:lnTo>
                    <a:lnTo>
                      <a:pt x="555" y="331"/>
                    </a:lnTo>
                    <a:lnTo>
                      <a:pt x="555" y="333"/>
                    </a:lnTo>
                    <a:lnTo>
                      <a:pt x="557" y="333"/>
                    </a:lnTo>
                    <a:lnTo>
                      <a:pt x="557" y="335"/>
                    </a:lnTo>
                    <a:lnTo>
                      <a:pt x="559" y="335"/>
                    </a:lnTo>
                    <a:lnTo>
                      <a:pt x="559" y="337"/>
                    </a:lnTo>
                    <a:lnTo>
                      <a:pt x="561" y="337"/>
                    </a:lnTo>
                    <a:lnTo>
                      <a:pt x="563" y="337"/>
                    </a:lnTo>
                    <a:lnTo>
                      <a:pt x="563" y="339"/>
                    </a:lnTo>
                    <a:lnTo>
                      <a:pt x="565" y="337"/>
                    </a:lnTo>
                    <a:lnTo>
                      <a:pt x="563" y="337"/>
                    </a:lnTo>
                    <a:lnTo>
                      <a:pt x="565" y="337"/>
                    </a:lnTo>
                    <a:lnTo>
                      <a:pt x="565" y="335"/>
                    </a:lnTo>
                    <a:lnTo>
                      <a:pt x="565" y="333"/>
                    </a:lnTo>
                    <a:lnTo>
                      <a:pt x="567" y="333"/>
                    </a:lnTo>
                    <a:lnTo>
                      <a:pt x="569" y="333"/>
                    </a:lnTo>
                    <a:lnTo>
                      <a:pt x="569" y="331"/>
                    </a:lnTo>
                    <a:lnTo>
                      <a:pt x="571" y="333"/>
                    </a:lnTo>
                    <a:lnTo>
                      <a:pt x="571" y="331"/>
                    </a:lnTo>
                    <a:lnTo>
                      <a:pt x="571" y="333"/>
                    </a:lnTo>
                    <a:lnTo>
                      <a:pt x="573" y="333"/>
                    </a:lnTo>
                    <a:lnTo>
                      <a:pt x="575" y="333"/>
                    </a:lnTo>
                    <a:lnTo>
                      <a:pt x="577" y="333"/>
                    </a:lnTo>
                    <a:lnTo>
                      <a:pt x="575" y="333"/>
                    </a:lnTo>
                    <a:lnTo>
                      <a:pt x="577" y="333"/>
                    </a:lnTo>
                    <a:lnTo>
                      <a:pt x="579" y="335"/>
                    </a:lnTo>
                    <a:lnTo>
                      <a:pt x="579" y="333"/>
                    </a:lnTo>
                    <a:lnTo>
                      <a:pt x="579" y="335"/>
                    </a:lnTo>
                    <a:lnTo>
                      <a:pt x="580" y="335"/>
                    </a:lnTo>
                    <a:lnTo>
                      <a:pt x="579" y="335"/>
                    </a:lnTo>
                    <a:lnTo>
                      <a:pt x="580" y="335"/>
                    </a:lnTo>
                    <a:lnTo>
                      <a:pt x="580" y="333"/>
                    </a:lnTo>
                    <a:lnTo>
                      <a:pt x="582" y="333"/>
                    </a:lnTo>
                    <a:lnTo>
                      <a:pt x="582" y="335"/>
                    </a:lnTo>
                    <a:lnTo>
                      <a:pt x="580" y="335"/>
                    </a:lnTo>
                    <a:lnTo>
                      <a:pt x="582" y="335"/>
                    </a:lnTo>
                    <a:lnTo>
                      <a:pt x="582" y="337"/>
                    </a:lnTo>
                    <a:lnTo>
                      <a:pt x="584" y="337"/>
                    </a:lnTo>
                    <a:lnTo>
                      <a:pt x="584" y="335"/>
                    </a:lnTo>
                    <a:lnTo>
                      <a:pt x="582" y="333"/>
                    </a:lnTo>
                    <a:lnTo>
                      <a:pt x="582" y="335"/>
                    </a:lnTo>
                    <a:lnTo>
                      <a:pt x="582" y="333"/>
                    </a:lnTo>
                    <a:lnTo>
                      <a:pt x="584" y="333"/>
                    </a:lnTo>
                    <a:lnTo>
                      <a:pt x="586" y="333"/>
                    </a:lnTo>
                    <a:lnTo>
                      <a:pt x="584" y="333"/>
                    </a:lnTo>
                    <a:lnTo>
                      <a:pt x="586" y="333"/>
                    </a:lnTo>
                    <a:lnTo>
                      <a:pt x="588" y="333"/>
                    </a:lnTo>
                    <a:lnTo>
                      <a:pt x="588" y="331"/>
                    </a:lnTo>
                    <a:lnTo>
                      <a:pt x="590" y="331"/>
                    </a:lnTo>
                    <a:lnTo>
                      <a:pt x="592" y="331"/>
                    </a:lnTo>
                    <a:lnTo>
                      <a:pt x="594" y="333"/>
                    </a:lnTo>
                    <a:lnTo>
                      <a:pt x="596" y="331"/>
                    </a:lnTo>
                    <a:lnTo>
                      <a:pt x="598" y="331"/>
                    </a:lnTo>
                    <a:lnTo>
                      <a:pt x="600" y="331"/>
                    </a:lnTo>
                    <a:lnTo>
                      <a:pt x="598" y="331"/>
                    </a:lnTo>
                    <a:lnTo>
                      <a:pt x="600" y="329"/>
                    </a:lnTo>
                    <a:lnTo>
                      <a:pt x="600" y="331"/>
                    </a:lnTo>
                    <a:lnTo>
                      <a:pt x="600" y="329"/>
                    </a:lnTo>
                    <a:lnTo>
                      <a:pt x="602" y="329"/>
                    </a:lnTo>
                    <a:lnTo>
                      <a:pt x="604" y="329"/>
                    </a:lnTo>
                    <a:lnTo>
                      <a:pt x="604" y="327"/>
                    </a:lnTo>
                    <a:lnTo>
                      <a:pt x="604" y="325"/>
                    </a:lnTo>
                    <a:lnTo>
                      <a:pt x="605" y="325"/>
                    </a:lnTo>
                    <a:lnTo>
                      <a:pt x="607" y="323"/>
                    </a:lnTo>
                    <a:lnTo>
                      <a:pt x="609" y="323"/>
                    </a:lnTo>
                    <a:lnTo>
                      <a:pt x="611" y="321"/>
                    </a:lnTo>
                    <a:lnTo>
                      <a:pt x="609" y="321"/>
                    </a:lnTo>
                    <a:lnTo>
                      <a:pt x="611" y="321"/>
                    </a:lnTo>
                    <a:lnTo>
                      <a:pt x="613" y="321"/>
                    </a:lnTo>
                    <a:lnTo>
                      <a:pt x="611" y="321"/>
                    </a:lnTo>
                    <a:lnTo>
                      <a:pt x="613" y="321"/>
                    </a:lnTo>
                    <a:lnTo>
                      <a:pt x="615" y="321"/>
                    </a:lnTo>
                    <a:lnTo>
                      <a:pt x="617" y="321"/>
                    </a:lnTo>
                    <a:lnTo>
                      <a:pt x="619" y="321"/>
                    </a:lnTo>
                    <a:lnTo>
                      <a:pt x="621" y="321"/>
                    </a:lnTo>
                    <a:lnTo>
                      <a:pt x="623" y="321"/>
                    </a:lnTo>
                    <a:lnTo>
                      <a:pt x="625" y="321"/>
                    </a:lnTo>
                    <a:lnTo>
                      <a:pt x="625" y="323"/>
                    </a:lnTo>
                    <a:lnTo>
                      <a:pt x="627" y="321"/>
                    </a:lnTo>
                    <a:lnTo>
                      <a:pt x="628" y="321"/>
                    </a:lnTo>
                    <a:lnTo>
                      <a:pt x="630" y="321"/>
                    </a:lnTo>
                    <a:lnTo>
                      <a:pt x="632" y="321"/>
                    </a:lnTo>
                    <a:lnTo>
                      <a:pt x="632" y="319"/>
                    </a:lnTo>
                    <a:lnTo>
                      <a:pt x="634" y="319"/>
                    </a:lnTo>
                    <a:lnTo>
                      <a:pt x="634" y="321"/>
                    </a:lnTo>
                    <a:lnTo>
                      <a:pt x="636" y="321"/>
                    </a:lnTo>
                    <a:lnTo>
                      <a:pt x="638" y="321"/>
                    </a:lnTo>
                    <a:lnTo>
                      <a:pt x="638" y="323"/>
                    </a:lnTo>
                    <a:lnTo>
                      <a:pt x="640" y="323"/>
                    </a:lnTo>
                    <a:lnTo>
                      <a:pt x="642" y="323"/>
                    </a:lnTo>
                    <a:lnTo>
                      <a:pt x="644" y="323"/>
                    </a:lnTo>
                    <a:lnTo>
                      <a:pt x="646" y="323"/>
                    </a:lnTo>
                    <a:lnTo>
                      <a:pt x="644" y="325"/>
                    </a:lnTo>
                    <a:lnTo>
                      <a:pt x="642" y="327"/>
                    </a:lnTo>
                    <a:lnTo>
                      <a:pt x="640" y="329"/>
                    </a:lnTo>
                    <a:lnTo>
                      <a:pt x="640" y="331"/>
                    </a:lnTo>
                    <a:lnTo>
                      <a:pt x="638" y="331"/>
                    </a:lnTo>
                    <a:lnTo>
                      <a:pt x="640" y="331"/>
                    </a:lnTo>
                    <a:lnTo>
                      <a:pt x="638" y="331"/>
                    </a:lnTo>
                    <a:lnTo>
                      <a:pt x="638" y="333"/>
                    </a:lnTo>
                    <a:lnTo>
                      <a:pt x="638" y="335"/>
                    </a:lnTo>
                    <a:lnTo>
                      <a:pt x="638" y="337"/>
                    </a:lnTo>
                    <a:lnTo>
                      <a:pt x="636" y="337"/>
                    </a:lnTo>
                    <a:lnTo>
                      <a:pt x="634" y="337"/>
                    </a:lnTo>
                    <a:lnTo>
                      <a:pt x="634" y="339"/>
                    </a:lnTo>
                    <a:lnTo>
                      <a:pt x="632" y="337"/>
                    </a:lnTo>
                    <a:lnTo>
                      <a:pt x="632" y="339"/>
                    </a:lnTo>
                    <a:lnTo>
                      <a:pt x="630" y="339"/>
                    </a:lnTo>
                    <a:lnTo>
                      <a:pt x="630" y="337"/>
                    </a:lnTo>
                    <a:lnTo>
                      <a:pt x="630" y="339"/>
                    </a:lnTo>
                    <a:lnTo>
                      <a:pt x="630" y="337"/>
                    </a:lnTo>
                    <a:lnTo>
                      <a:pt x="628" y="337"/>
                    </a:lnTo>
                    <a:lnTo>
                      <a:pt x="628" y="339"/>
                    </a:lnTo>
                    <a:lnTo>
                      <a:pt x="627" y="337"/>
                    </a:lnTo>
                    <a:lnTo>
                      <a:pt x="627" y="339"/>
                    </a:lnTo>
                    <a:lnTo>
                      <a:pt x="627" y="337"/>
                    </a:lnTo>
                    <a:lnTo>
                      <a:pt x="627" y="339"/>
                    </a:lnTo>
                    <a:lnTo>
                      <a:pt x="625" y="339"/>
                    </a:lnTo>
                    <a:lnTo>
                      <a:pt x="625" y="340"/>
                    </a:lnTo>
                    <a:lnTo>
                      <a:pt x="623" y="340"/>
                    </a:lnTo>
                    <a:lnTo>
                      <a:pt x="623" y="342"/>
                    </a:lnTo>
                    <a:lnTo>
                      <a:pt x="623" y="344"/>
                    </a:lnTo>
                    <a:lnTo>
                      <a:pt x="623" y="346"/>
                    </a:lnTo>
                    <a:lnTo>
                      <a:pt x="623" y="348"/>
                    </a:lnTo>
                    <a:lnTo>
                      <a:pt x="621" y="348"/>
                    </a:lnTo>
                    <a:lnTo>
                      <a:pt x="621" y="350"/>
                    </a:lnTo>
                    <a:lnTo>
                      <a:pt x="619" y="350"/>
                    </a:lnTo>
                    <a:lnTo>
                      <a:pt x="619" y="352"/>
                    </a:lnTo>
                    <a:lnTo>
                      <a:pt x="621" y="352"/>
                    </a:lnTo>
                    <a:lnTo>
                      <a:pt x="619" y="352"/>
                    </a:lnTo>
                    <a:lnTo>
                      <a:pt x="621" y="354"/>
                    </a:lnTo>
                    <a:lnTo>
                      <a:pt x="621" y="356"/>
                    </a:lnTo>
                    <a:lnTo>
                      <a:pt x="619" y="356"/>
                    </a:lnTo>
                    <a:lnTo>
                      <a:pt x="619" y="358"/>
                    </a:lnTo>
                    <a:lnTo>
                      <a:pt x="617" y="358"/>
                    </a:lnTo>
                    <a:lnTo>
                      <a:pt x="617" y="360"/>
                    </a:lnTo>
                    <a:lnTo>
                      <a:pt x="617" y="362"/>
                    </a:lnTo>
                    <a:lnTo>
                      <a:pt x="615" y="362"/>
                    </a:lnTo>
                    <a:lnTo>
                      <a:pt x="617" y="362"/>
                    </a:lnTo>
                    <a:lnTo>
                      <a:pt x="615" y="364"/>
                    </a:lnTo>
                    <a:lnTo>
                      <a:pt x="613" y="364"/>
                    </a:lnTo>
                    <a:lnTo>
                      <a:pt x="613" y="365"/>
                    </a:lnTo>
                    <a:lnTo>
                      <a:pt x="611" y="365"/>
                    </a:lnTo>
                    <a:lnTo>
                      <a:pt x="611" y="367"/>
                    </a:lnTo>
                    <a:lnTo>
                      <a:pt x="611" y="365"/>
                    </a:lnTo>
                    <a:lnTo>
                      <a:pt x="611" y="367"/>
                    </a:lnTo>
                    <a:lnTo>
                      <a:pt x="609" y="367"/>
                    </a:lnTo>
                    <a:lnTo>
                      <a:pt x="607" y="367"/>
                    </a:lnTo>
                    <a:lnTo>
                      <a:pt x="607" y="369"/>
                    </a:lnTo>
                    <a:lnTo>
                      <a:pt x="605" y="369"/>
                    </a:lnTo>
                    <a:lnTo>
                      <a:pt x="605" y="367"/>
                    </a:lnTo>
                    <a:lnTo>
                      <a:pt x="605" y="365"/>
                    </a:lnTo>
                    <a:lnTo>
                      <a:pt x="605" y="367"/>
                    </a:lnTo>
                    <a:lnTo>
                      <a:pt x="607" y="365"/>
                    </a:lnTo>
                    <a:lnTo>
                      <a:pt x="605" y="365"/>
                    </a:lnTo>
                    <a:lnTo>
                      <a:pt x="604" y="365"/>
                    </a:lnTo>
                    <a:lnTo>
                      <a:pt x="605" y="365"/>
                    </a:lnTo>
                    <a:lnTo>
                      <a:pt x="604" y="365"/>
                    </a:lnTo>
                    <a:lnTo>
                      <a:pt x="605" y="365"/>
                    </a:lnTo>
                    <a:lnTo>
                      <a:pt x="604" y="365"/>
                    </a:lnTo>
                    <a:lnTo>
                      <a:pt x="605" y="365"/>
                    </a:lnTo>
                    <a:lnTo>
                      <a:pt x="607" y="365"/>
                    </a:lnTo>
                    <a:lnTo>
                      <a:pt x="605" y="365"/>
                    </a:lnTo>
                    <a:lnTo>
                      <a:pt x="607" y="365"/>
                    </a:lnTo>
                    <a:lnTo>
                      <a:pt x="605" y="365"/>
                    </a:lnTo>
                    <a:lnTo>
                      <a:pt x="605" y="367"/>
                    </a:lnTo>
                    <a:lnTo>
                      <a:pt x="605" y="365"/>
                    </a:lnTo>
                    <a:lnTo>
                      <a:pt x="605" y="367"/>
                    </a:lnTo>
                    <a:lnTo>
                      <a:pt x="604" y="369"/>
                    </a:lnTo>
                    <a:lnTo>
                      <a:pt x="604" y="367"/>
                    </a:lnTo>
                    <a:lnTo>
                      <a:pt x="602" y="367"/>
                    </a:lnTo>
                    <a:lnTo>
                      <a:pt x="602" y="369"/>
                    </a:lnTo>
                    <a:lnTo>
                      <a:pt x="600" y="369"/>
                    </a:lnTo>
                    <a:lnTo>
                      <a:pt x="600" y="371"/>
                    </a:lnTo>
                    <a:lnTo>
                      <a:pt x="598" y="371"/>
                    </a:lnTo>
                    <a:lnTo>
                      <a:pt x="596" y="371"/>
                    </a:lnTo>
                    <a:lnTo>
                      <a:pt x="596" y="373"/>
                    </a:lnTo>
                    <a:lnTo>
                      <a:pt x="598" y="373"/>
                    </a:lnTo>
                    <a:lnTo>
                      <a:pt x="596" y="373"/>
                    </a:lnTo>
                    <a:lnTo>
                      <a:pt x="596" y="375"/>
                    </a:lnTo>
                    <a:lnTo>
                      <a:pt x="594" y="375"/>
                    </a:lnTo>
                    <a:lnTo>
                      <a:pt x="592" y="377"/>
                    </a:lnTo>
                    <a:lnTo>
                      <a:pt x="590" y="379"/>
                    </a:lnTo>
                    <a:lnTo>
                      <a:pt x="588" y="379"/>
                    </a:lnTo>
                    <a:lnTo>
                      <a:pt x="590" y="379"/>
                    </a:lnTo>
                    <a:lnTo>
                      <a:pt x="590" y="381"/>
                    </a:lnTo>
                    <a:lnTo>
                      <a:pt x="588" y="381"/>
                    </a:lnTo>
                    <a:lnTo>
                      <a:pt x="586" y="381"/>
                    </a:lnTo>
                    <a:lnTo>
                      <a:pt x="584" y="381"/>
                    </a:lnTo>
                    <a:lnTo>
                      <a:pt x="582" y="383"/>
                    </a:lnTo>
                    <a:lnTo>
                      <a:pt x="580" y="385"/>
                    </a:lnTo>
                    <a:lnTo>
                      <a:pt x="579" y="385"/>
                    </a:lnTo>
                    <a:lnTo>
                      <a:pt x="579" y="387"/>
                    </a:lnTo>
                    <a:lnTo>
                      <a:pt x="577" y="387"/>
                    </a:lnTo>
                    <a:lnTo>
                      <a:pt x="575" y="387"/>
                    </a:lnTo>
                    <a:lnTo>
                      <a:pt x="573" y="389"/>
                    </a:lnTo>
                    <a:lnTo>
                      <a:pt x="571" y="389"/>
                    </a:lnTo>
                    <a:lnTo>
                      <a:pt x="569" y="389"/>
                    </a:lnTo>
                    <a:lnTo>
                      <a:pt x="569" y="390"/>
                    </a:lnTo>
                    <a:lnTo>
                      <a:pt x="567" y="390"/>
                    </a:lnTo>
                    <a:lnTo>
                      <a:pt x="569" y="390"/>
                    </a:lnTo>
                    <a:lnTo>
                      <a:pt x="567" y="390"/>
                    </a:lnTo>
                    <a:lnTo>
                      <a:pt x="567" y="392"/>
                    </a:lnTo>
                    <a:lnTo>
                      <a:pt x="565" y="392"/>
                    </a:lnTo>
                    <a:lnTo>
                      <a:pt x="563" y="392"/>
                    </a:lnTo>
                    <a:lnTo>
                      <a:pt x="563" y="394"/>
                    </a:lnTo>
                    <a:lnTo>
                      <a:pt x="561" y="394"/>
                    </a:lnTo>
                    <a:lnTo>
                      <a:pt x="561" y="396"/>
                    </a:lnTo>
                    <a:lnTo>
                      <a:pt x="559" y="396"/>
                    </a:lnTo>
                    <a:lnTo>
                      <a:pt x="557" y="396"/>
                    </a:lnTo>
                    <a:lnTo>
                      <a:pt x="555" y="396"/>
                    </a:lnTo>
                    <a:lnTo>
                      <a:pt x="557" y="396"/>
                    </a:lnTo>
                    <a:lnTo>
                      <a:pt x="555" y="396"/>
                    </a:lnTo>
                    <a:lnTo>
                      <a:pt x="555" y="394"/>
                    </a:lnTo>
                    <a:lnTo>
                      <a:pt x="555" y="396"/>
                    </a:lnTo>
                    <a:lnTo>
                      <a:pt x="554" y="396"/>
                    </a:lnTo>
                    <a:lnTo>
                      <a:pt x="552" y="396"/>
                    </a:lnTo>
                    <a:lnTo>
                      <a:pt x="552" y="394"/>
                    </a:lnTo>
                    <a:lnTo>
                      <a:pt x="550" y="394"/>
                    </a:lnTo>
                    <a:lnTo>
                      <a:pt x="550" y="392"/>
                    </a:lnTo>
                    <a:lnTo>
                      <a:pt x="550" y="390"/>
                    </a:lnTo>
                    <a:lnTo>
                      <a:pt x="548" y="390"/>
                    </a:lnTo>
                    <a:lnTo>
                      <a:pt x="546" y="390"/>
                    </a:lnTo>
                    <a:lnTo>
                      <a:pt x="544" y="390"/>
                    </a:lnTo>
                    <a:lnTo>
                      <a:pt x="542" y="390"/>
                    </a:lnTo>
                    <a:lnTo>
                      <a:pt x="540" y="390"/>
                    </a:lnTo>
                    <a:lnTo>
                      <a:pt x="540" y="392"/>
                    </a:lnTo>
                    <a:lnTo>
                      <a:pt x="538" y="392"/>
                    </a:lnTo>
                    <a:lnTo>
                      <a:pt x="536" y="392"/>
                    </a:lnTo>
                    <a:lnTo>
                      <a:pt x="534" y="392"/>
                    </a:lnTo>
                    <a:lnTo>
                      <a:pt x="532" y="392"/>
                    </a:lnTo>
                    <a:lnTo>
                      <a:pt x="531" y="392"/>
                    </a:lnTo>
                    <a:lnTo>
                      <a:pt x="531" y="390"/>
                    </a:lnTo>
                    <a:lnTo>
                      <a:pt x="529" y="390"/>
                    </a:lnTo>
                    <a:lnTo>
                      <a:pt x="529" y="389"/>
                    </a:lnTo>
                    <a:lnTo>
                      <a:pt x="529" y="390"/>
                    </a:lnTo>
                    <a:lnTo>
                      <a:pt x="527" y="390"/>
                    </a:lnTo>
                    <a:lnTo>
                      <a:pt x="527" y="389"/>
                    </a:lnTo>
                    <a:lnTo>
                      <a:pt x="525" y="389"/>
                    </a:lnTo>
                    <a:lnTo>
                      <a:pt x="525" y="387"/>
                    </a:lnTo>
                    <a:lnTo>
                      <a:pt x="523" y="387"/>
                    </a:lnTo>
                    <a:lnTo>
                      <a:pt x="523" y="385"/>
                    </a:lnTo>
                    <a:lnTo>
                      <a:pt x="521" y="385"/>
                    </a:lnTo>
                    <a:lnTo>
                      <a:pt x="519" y="385"/>
                    </a:lnTo>
                    <a:lnTo>
                      <a:pt x="519" y="383"/>
                    </a:lnTo>
                    <a:lnTo>
                      <a:pt x="517" y="383"/>
                    </a:lnTo>
                    <a:lnTo>
                      <a:pt x="519" y="383"/>
                    </a:lnTo>
                    <a:lnTo>
                      <a:pt x="517" y="383"/>
                    </a:lnTo>
                    <a:lnTo>
                      <a:pt x="519" y="383"/>
                    </a:lnTo>
                    <a:lnTo>
                      <a:pt x="517" y="383"/>
                    </a:lnTo>
                    <a:lnTo>
                      <a:pt x="517" y="385"/>
                    </a:lnTo>
                    <a:lnTo>
                      <a:pt x="515" y="385"/>
                    </a:lnTo>
                    <a:lnTo>
                      <a:pt x="517" y="385"/>
                    </a:lnTo>
                    <a:lnTo>
                      <a:pt x="515" y="385"/>
                    </a:lnTo>
                    <a:lnTo>
                      <a:pt x="517" y="385"/>
                    </a:lnTo>
                    <a:lnTo>
                      <a:pt x="517" y="383"/>
                    </a:lnTo>
                    <a:lnTo>
                      <a:pt x="519" y="383"/>
                    </a:lnTo>
                    <a:lnTo>
                      <a:pt x="519" y="385"/>
                    </a:lnTo>
                    <a:lnTo>
                      <a:pt x="521" y="385"/>
                    </a:lnTo>
                    <a:lnTo>
                      <a:pt x="523" y="385"/>
                    </a:lnTo>
                    <a:lnTo>
                      <a:pt x="523" y="387"/>
                    </a:lnTo>
                    <a:lnTo>
                      <a:pt x="525" y="387"/>
                    </a:lnTo>
                    <a:lnTo>
                      <a:pt x="525" y="389"/>
                    </a:lnTo>
                    <a:lnTo>
                      <a:pt x="527" y="389"/>
                    </a:lnTo>
                    <a:lnTo>
                      <a:pt x="527" y="390"/>
                    </a:lnTo>
                    <a:lnTo>
                      <a:pt x="529" y="390"/>
                    </a:lnTo>
                    <a:lnTo>
                      <a:pt x="529" y="389"/>
                    </a:lnTo>
                    <a:lnTo>
                      <a:pt x="529" y="390"/>
                    </a:lnTo>
                    <a:lnTo>
                      <a:pt x="531" y="390"/>
                    </a:lnTo>
                    <a:lnTo>
                      <a:pt x="531" y="392"/>
                    </a:lnTo>
                    <a:lnTo>
                      <a:pt x="532" y="392"/>
                    </a:lnTo>
                    <a:lnTo>
                      <a:pt x="534" y="392"/>
                    </a:lnTo>
                    <a:lnTo>
                      <a:pt x="536" y="392"/>
                    </a:lnTo>
                    <a:lnTo>
                      <a:pt x="538" y="392"/>
                    </a:lnTo>
                    <a:lnTo>
                      <a:pt x="540" y="392"/>
                    </a:lnTo>
                    <a:lnTo>
                      <a:pt x="540" y="390"/>
                    </a:lnTo>
                    <a:lnTo>
                      <a:pt x="542" y="390"/>
                    </a:lnTo>
                    <a:lnTo>
                      <a:pt x="544" y="390"/>
                    </a:lnTo>
                    <a:lnTo>
                      <a:pt x="546" y="390"/>
                    </a:lnTo>
                    <a:lnTo>
                      <a:pt x="548" y="390"/>
                    </a:lnTo>
                    <a:lnTo>
                      <a:pt x="550" y="390"/>
                    </a:lnTo>
                    <a:lnTo>
                      <a:pt x="550" y="392"/>
                    </a:lnTo>
                    <a:lnTo>
                      <a:pt x="550" y="394"/>
                    </a:lnTo>
                    <a:lnTo>
                      <a:pt x="552" y="394"/>
                    </a:lnTo>
                    <a:lnTo>
                      <a:pt x="552" y="396"/>
                    </a:lnTo>
                    <a:lnTo>
                      <a:pt x="554" y="396"/>
                    </a:lnTo>
                    <a:lnTo>
                      <a:pt x="555" y="396"/>
                    </a:lnTo>
                    <a:lnTo>
                      <a:pt x="557" y="396"/>
                    </a:lnTo>
                    <a:lnTo>
                      <a:pt x="559" y="396"/>
                    </a:lnTo>
                    <a:lnTo>
                      <a:pt x="559" y="398"/>
                    </a:lnTo>
                    <a:lnTo>
                      <a:pt x="559" y="396"/>
                    </a:lnTo>
                    <a:lnTo>
                      <a:pt x="561" y="396"/>
                    </a:lnTo>
                    <a:lnTo>
                      <a:pt x="561" y="398"/>
                    </a:lnTo>
                    <a:lnTo>
                      <a:pt x="559" y="398"/>
                    </a:lnTo>
                    <a:lnTo>
                      <a:pt x="559" y="400"/>
                    </a:lnTo>
                    <a:lnTo>
                      <a:pt x="557" y="400"/>
                    </a:lnTo>
                    <a:lnTo>
                      <a:pt x="555" y="402"/>
                    </a:lnTo>
                    <a:lnTo>
                      <a:pt x="557" y="402"/>
                    </a:lnTo>
                    <a:lnTo>
                      <a:pt x="555" y="402"/>
                    </a:lnTo>
                    <a:lnTo>
                      <a:pt x="555" y="404"/>
                    </a:lnTo>
                    <a:lnTo>
                      <a:pt x="555" y="402"/>
                    </a:lnTo>
                    <a:lnTo>
                      <a:pt x="557" y="402"/>
                    </a:lnTo>
                    <a:lnTo>
                      <a:pt x="555" y="402"/>
                    </a:lnTo>
                    <a:lnTo>
                      <a:pt x="557" y="402"/>
                    </a:lnTo>
                    <a:lnTo>
                      <a:pt x="557" y="400"/>
                    </a:lnTo>
                    <a:lnTo>
                      <a:pt x="559" y="400"/>
                    </a:lnTo>
                    <a:lnTo>
                      <a:pt x="561" y="398"/>
                    </a:lnTo>
                    <a:lnTo>
                      <a:pt x="561" y="400"/>
                    </a:lnTo>
                    <a:lnTo>
                      <a:pt x="561" y="402"/>
                    </a:lnTo>
                    <a:lnTo>
                      <a:pt x="559" y="402"/>
                    </a:lnTo>
                    <a:lnTo>
                      <a:pt x="557" y="402"/>
                    </a:lnTo>
                    <a:lnTo>
                      <a:pt x="557" y="404"/>
                    </a:lnTo>
                    <a:lnTo>
                      <a:pt x="557" y="406"/>
                    </a:lnTo>
                    <a:lnTo>
                      <a:pt x="555" y="408"/>
                    </a:lnTo>
                    <a:lnTo>
                      <a:pt x="554" y="408"/>
                    </a:lnTo>
                    <a:lnTo>
                      <a:pt x="554" y="410"/>
                    </a:lnTo>
                    <a:lnTo>
                      <a:pt x="552" y="410"/>
                    </a:lnTo>
                    <a:lnTo>
                      <a:pt x="552" y="408"/>
                    </a:lnTo>
                    <a:lnTo>
                      <a:pt x="552" y="410"/>
                    </a:lnTo>
                    <a:lnTo>
                      <a:pt x="554" y="410"/>
                    </a:lnTo>
                    <a:lnTo>
                      <a:pt x="554" y="412"/>
                    </a:lnTo>
                    <a:lnTo>
                      <a:pt x="552" y="414"/>
                    </a:lnTo>
                    <a:lnTo>
                      <a:pt x="552" y="415"/>
                    </a:lnTo>
                    <a:lnTo>
                      <a:pt x="550" y="415"/>
                    </a:lnTo>
                    <a:lnTo>
                      <a:pt x="550" y="417"/>
                    </a:lnTo>
                    <a:lnTo>
                      <a:pt x="548" y="417"/>
                    </a:lnTo>
                    <a:lnTo>
                      <a:pt x="546" y="417"/>
                    </a:lnTo>
                    <a:lnTo>
                      <a:pt x="546" y="415"/>
                    </a:lnTo>
                    <a:lnTo>
                      <a:pt x="548" y="415"/>
                    </a:lnTo>
                    <a:lnTo>
                      <a:pt x="546" y="415"/>
                    </a:lnTo>
                    <a:lnTo>
                      <a:pt x="546" y="417"/>
                    </a:lnTo>
                    <a:lnTo>
                      <a:pt x="546" y="415"/>
                    </a:lnTo>
                    <a:lnTo>
                      <a:pt x="544" y="415"/>
                    </a:lnTo>
                    <a:lnTo>
                      <a:pt x="544" y="417"/>
                    </a:lnTo>
                    <a:lnTo>
                      <a:pt x="542" y="417"/>
                    </a:lnTo>
                    <a:lnTo>
                      <a:pt x="540" y="417"/>
                    </a:lnTo>
                    <a:lnTo>
                      <a:pt x="538" y="417"/>
                    </a:lnTo>
                    <a:lnTo>
                      <a:pt x="538" y="419"/>
                    </a:lnTo>
                    <a:lnTo>
                      <a:pt x="538" y="421"/>
                    </a:lnTo>
                    <a:lnTo>
                      <a:pt x="536" y="423"/>
                    </a:lnTo>
                    <a:lnTo>
                      <a:pt x="538" y="423"/>
                    </a:lnTo>
                    <a:lnTo>
                      <a:pt x="538" y="425"/>
                    </a:lnTo>
                    <a:lnTo>
                      <a:pt x="536" y="425"/>
                    </a:lnTo>
                    <a:lnTo>
                      <a:pt x="534" y="425"/>
                    </a:lnTo>
                    <a:lnTo>
                      <a:pt x="534" y="427"/>
                    </a:lnTo>
                    <a:lnTo>
                      <a:pt x="532" y="427"/>
                    </a:lnTo>
                    <a:lnTo>
                      <a:pt x="531" y="427"/>
                    </a:lnTo>
                    <a:lnTo>
                      <a:pt x="529" y="427"/>
                    </a:lnTo>
                    <a:lnTo>
                      <a:pt x="527" y="427"/>
                    </a:lnTo>
                    <a:lnTo>
                      <a:pt x="529" y="427"/>
                    </a:lnTo>
                    <a:lnTo>
                      <a:pt x="527" y="429"/>
                    </a:lnTo>
                    <a:lnTo>
                      <a:pt x="527" y="427"/>
                    </a:lnTo>
                    <a:lnTo>
                      <a:pt x="525" y="427"/>
                    </a:lnTo>
                    <a:lnTo>
                      <a:pt x="523" y="427"/>
                    </a:lnTo>
                    <a:lnTo>
                      <a:pt x="523" y="429"/>
                    </a:lnTo>
                    <a:lnTo>
                      <a:pt x="525" y="429"/>
                    </a:lnTo>
                    <a:lnTo>
                      <a:pt x="523" y="429"/>
                    </a:lnTo>
                    <a:lnTo>
                      <a:pt x="521" y="429"/>
                    </a:lnTo>
                    <a:lnTo>
                      <a:pt x="519" y="429"/>
                    </a:lnTo>
                    <a:lnTo>
                      <a:pt x="517" y="429"/>
                    </a:lnTo>
                    <a:lnTo>
                      <a:pt x="515" y="429"/>
                    </a:lnTo>
                    <a:lnTo>
                      <a:pt x="513" y="429"/>
                    </a:lnTo>
                    <a:lnTo>
                      <a:pt x="513" y="431"/>
                    </a:lnTo>
                    <a:lnTo>
                      <a:pt x="511" y="433"/>
                    </a:lnTo>
                    <a:lnTo>
                      <a:pt x="511" y="431"/>
                    </a:lnTo>
                    <a:lnTo>
                      <a:pt x="509" y="431"/>
                    </a:lnTo>
                    <a:lnTo>
                      <a:pt x="509" y="433"/>
                    </a:lnTo>
                    <a:lnTo>
                      <a:pt x="507" y="433"/>
                    </a:lnTo>
                    <a:lnTo>
                      <a:pt x="507" y="435"/>
                    </a:lnTo>
                    <a:lnTo>
                      <a:pt x="506" y="435"/>
                    </a:lnTo>
                    <a:lnTo>
                      <a:pt x="504" y="437"/>
                    </a:lnTo>
                    <a:lnTo>
                      <a:pt x="502" y="437"/>
                    </a:lnTo>
                    <a:lnTo>
                      <a:pt x="500" y="437"/>
                    </a:lnTo>
                    <a:lnTo>
                      <a:pt x="498" y="437"/>
                    </a:lnTo>
                    <a:lnTo>
                      <a:pt x="496" y="437"/>
                    </a:lnTo>
                    <a:lnTo>
                      <a:pt x="496" y="439"/>
                    </a:lnTo>
                    <a:lnTo>
                      <a:pt x="494" y="439"/>
                    </a:lnTo>
                    <a:lnTo>
                      <a:pt x="492" y="440"/>
                    </a:lnTo>
                    <a:lnTo>
                      <a:pt x="490" y="440"/>
                    </a:lnTo>
                    <a:lnTo>
                      <a:pt x="490" y="442"/>
                    </a:lnTo>
                    <a:lnTo>
                      <a:pt x="488" y="442"/>
                    </a:lnTo>
                    <a:lnTo>
                      <a:pt x="486" y="442"/>
                    </a:lnTo>
                    <a:lnTo>
                      <a:pt x="486" y="444"/>
                    </a:lnTo>
                    <a:lnTo>
                      <a:pt x="484" y="442"/>
                    </a:lnTo>
                    <a:lnTo>
                      <a:pt x="484" y="444"/>
                    </a:lnTo>
                    <a:lnTo>
                      <a:pt x="482" y="444"/>
                    </a:lnTo>
                    <a:lnTo>
                      <a:pt x="482" y="446"/>
                    </a:lnTo>
                    <a:lnTo>
                      <a:pt x="482" y="448"/>
                    </a:lnTo>
                    <a:lnTo>
                      <a:pt x="484" y="450"/>
                    </a:lnTo>
                    <a:lnTo>
                      <a:pt x="484" y="452"/>
                    </a:lnTo>
                    <a:lnTo>
                      <a:pt x="484" y="454"/>
                    </a:lnTo>
                    <a:lnTo>
                      <a:pt x="484" y="456"/>
                    </a:lnTo>
                    <a:lnTo>
                      <a:pt x="484" y="458"/>
                    </a:lnTo>
                    <a:lnTo>
                      <a:pt x="482" y="458"/>
                    </a:lnTo>
                    <a:lnTo>
                      <a:pt x="482" y="460"/>
                    </a:lnTo>
                    <a:lnTo>
                      <a:pt x="481" y="462"/>
                    </a:lnTo>
                    <a:lnTo>
                      <a:pt x="481" y="464"/>
                    </a:lnTo>
                    <a:lnTo>
                      <a:pt x="481" y="462"/>
                    </a:lnTo>
                    <a:lnTo>
                      <a:pt x="479" y="464"/>
                    </a:lnTo>
                    <a:lnTo>
                      <a:pt x="481" y="464"/>
                    </a:lnTo>
                    <a:lnTo>
                      <a:pt x="479" y="464"/>
                    </a:lnTo>
                    <a:lnTo>
                      <a:pt x="479" y="465"/>
                    </a:lnTo>
                    <a:lnTo>
                      <a:pt x="477" y="465"/>
                    </a:lnTo>
                    <a:lnTo>
                      <a:pt x="477" y="467"/>
                    </a:lnTo>
                    <a:lnTo>
                      <a:pt x="475" y="467"/>
                    </a:lnTo>
                    <a:lnTo>
                      <a:pt x="477" y="467"/>
                    </a:lnTo>
                    <a:lnTo>
                      <a:pt x="475" y="467"/>
                    </a:lnTo>
                    <a:lnTo>
                      <a:pt x="473" y="467"/>
                    </a:lnTo>
                    <a:lnTo>
                      <a:pt x="471" y="467"/>
                    </a:lnTo>
                    <a:lnTo>
                      <a:pt x="473" y="467"/>
                    </a:lnTo>
                    <a:lnTo>
                      <a:pt x="471" y="467"/>
                    </a:lnTo>
                    <a:lnTo>
                      <a:pt x="471" y="469"/>
                    </a:lnTo>
                    <a:lnTo>
                      <a:pt x="469" y="469"/>
                    </a:lnTo>
                    <a:lnTo>
                      <a:pt x="469" y="467"/>
                    </a:lnTo>
                    <a:lnTo>
                      <a:pt x="467" y="467"/>
                    </a:lnTo>
                    <a:lnTo>
                      <a:pt x="469" y="467"/>
                    </a:lnTo>
                    <a:lnTo>
                      <a:pt x="467" y="467"/>
                    </a:lnTo>
                    <a:lnTo>
                      <a:pt x="465" y="467"/>
                    </a:lnTo>
                    <a:lnTo>
                      <a:pt x="463" y="467"/>
                    </a:lnTo>
                    <a:lnTo>
                      <a:pt x="461" y="467"/>
                    </a:lnTo>
                    <a:lnTo>
                      <a:pt x="459" y="467"/>
                    </a:lnTo>
                    <a:lnTo>
                      <a:pt x="458" y="467"/>
                    </a:lnTo>
                    <a:lnTo>
                      <a:pt x="456" y="467"/>
                    </a:lnTo>
                    <a:lnTo>
                      <a:pt x="458" y="467"/>
                    </a:lnTo>
                    <a:lnTo>
                      <a:pt x="456" y="467"/>
                    </a:lnTo>
                    <a:lnTo>
                      <a:pt x="454" y="467"/>
                    </a:lnTo>
                    <a:lnTo>
                      <a:pt x="454" y="465"/>
                    </a:lnTo>
                    <a:lnTo>
                      <a:pt x="452" y="467"/>
                    </a:lnTo>
                    <a:lnTo>
                      <a:pt x="450" y="467"/>
                    </a:lnTo>
                    <a:lnTo>
                      <a:pt x="452" y="469"/>
                    </a:lnTo>
                    <a:lnTo>
                      <a:pt x="452" y="471"/>
                    </a:lnTo>
                    <a:lnTo>
                      <a:pt x="450" y="471"/>
                    </a:lnTo>
                    <a:lnTo>
                      <a:pt x="450" y="473"/>
                    </a:lnTo>
                    <a:lnTo>
                      <a:pt x="452" y="473"/>
                    </a:lnTo>
                    <a:lnTo>
                      <a:pt x="454" y="473"/>
                    </a:lnTo>
                    <a:lnTo>
                      <a:pt x="454" y="475"/>
                    </a:lnTo>
                    <a:lnTo>
                      <a:pt x="454" y="477"/>
                    </a:lnTo>
                    <a:lnTo>
                      <a:pt x="452" y="477"/>
                    </a:lnTo>
                    <a:lnTo>
                      <a:pt x="454" y="477"/>
                    </a:lnTo>
                    <a:lnTo>
                      <a:pt x="452" y="477"/>
                    </a:lnTo>
                    <a:lnTo>
                      <a:pt x="452" y="479"/>
                    </a:lnTo>
                    <a:lnTo>
                      <a:pt x="454" y="481"/>
                    </a:lnTo>
                    <a:lnTo>
                      <a:pt x="452" y="483"/>
                    </a:lnTo>
                    <a:lnTo>
                      <a:pt x="450" y="483"/>
                    </a:lnTo>
                    <a:lnTo>
                      <a:pt x="448" y="483"/>
                    </a:lnTo>
                    <a:lnTo>
                      <a:pt x="446" y="485"/>
                    </a:lnTo>
                    <a:lnTo>
                      <a:pt x="446" y="487"/>
                    </a:lnTo>
                    <a:lnTo>
                      <a:pt x="448" y="487"/>
                    </a:lnTo>
                    <a:lnTo>
                      <a:pt x="448" y="488"/>
                    </a:lnTo>
                    <a:lnTo>
                      <a:pt x="446" y="488"/>
                    </a:lnTo>
                    <a:lnTo>
                      <a:pt x="444" y="488"/>
                    </a:lnTo>
                    <a:lnTo>
                      <a:pt x="442" y="488"/>
                    </a:lnTo>
                    <a:lnTo>
                      <a:pt x="440" y="488"/>
                    </a:lnTo>
                    <a:lnTo>
                      <a:pt x="438" y="488"/>
                    </a:lnTo>
                    <a:lnTo>
                      <a:pt x="436" y="488"/>
                    </a:lnTo>
                    <a:lnTo>
                      <a:pt x="438" y="488"/>
                    </a:lnTo>
                    <a:lnTo>
                      <a:pt x="436" y="488"/>
                    </a:lnTo>
                    <a:lnTo>
                      <a:pt x="434" y="487"/>
                    </a:lnTo>
                    <a:lnTo>
                      <a:pt x="433" y="487"/>
                    </a:lnTo>
                    <a:lnTo>
                      <a:pt x="431" y="487"/>
                    </a:lnTo>
                    <a:lnTo>
                      <a:pt x="429" y="487"/>
                    </a:lnTo>
                    <a:lnTo>
                      <a:pt x="427" y="487"/>
                    </a:lnTo>
                    <a:lnTo>
                      <a:pt x="425" y="487"/>
                    </a:lnTo>
                    <a:lnTo>
                      <a:pt x="423" y="487"/>
                    </a:lnTo>
                    <a:lnTo>
                      <a:pt x="421" y="487"/>
                    </a:lnTo>
                    <a:lnTo>
                      <a:pt x="419" y="487"/>
                    </a:lnTo>
                    <a:lnTo>
                      <a:pt x="417" y="487"/>
                    </a:lnTo>
                    <a:lnTo>
                      <a:pt x="415" y="487"/>
                    </a:lnTo>
                    <a:lnTo>
                      <a:pt x="413" y="487"/>
                    </a:lnTo>
                    <a:lnTo>
                      <a:pt x="411" y="488"/>
                    </a:lnTo>
                    <a:lnTo>
                      <a:pt x="409" y="488"/>
                    </a:lnTo>
                    <a:lnTo>
                      <a:pt x="408" y="488"/>
                    </a:lnTo>
                    <a:lnTo>
                      <a:pt x="406" y="488"/>
                    </a:lnTo>
                    <a:lnTo>
                      <a:pt x="404" y="487"/>
                    </a:lnTo>
                    <a:lnTo>
                      <a:pt x="404" y="488"/>
                    </a:lnTo>
                    <a:lnTo>
                      <a:pt x="404" y="487"/>
                    </a:lnTo>
                    <a:lnTo>
                      <a:pt x="402" y="488"/>
                    </a:lnTo>
                    <a:lnTo>
                      <a:pt x="402" y="487"/>
                    </a:lnTo>
                    <a:lnTo>
                      <a:pt x="400" y="488"/>
                    </a:lnTo>
                    <a:lnTo>
                      <a:pt x="398" y="488"/>
                    </a:lnTo>
                    <a:lnTo>
                      <a:pt x="396" y="487"/>
                    </a:lnTo>
                    <a:lnTo>
                      <a:pt x="394" y="487"/>
                    </a:lnTo>
                    <a:lnTo>
                      <a:pt x="392" y="487"/>
                    </a:lnTo>
                    <a:lnTo>
                      <a:pt x="390" y="487"/>
                    </a:lnTo>
                    <a:lnTo>
                      <a:pt x="390" y="485"/>
                    </a:lnTo>
                    <a:lnTo>
                      <a:pt x="388" y="485"/>
                    </a:lnTo>
                    <a:lnTo>
                      <a:pt x="390" y="483"/>
                    </a:lnTo>
                    <a:lnTo>
                      <a:pt x="390" y="481"/>
                    </a:lnTo>
                    <a:lnTo>
                      <a:pt x="390" y="479"/>
                    </a:lnTo>
                    <a:lnTo>
                      <a:pt x="392" y="479"/>
                    </a:lnTo>
                    <a:lnTo>
                      <a:pt x="394" y="479"/>
                    </a:lnTo>
                    <a:lnTo>
                      <a:pt x="394" y="477"/>
                    </a:lnTo>
                    <a:lnTo>
                      <a:pt x="396" y="477"/>
                    </a:lnTo>
                    <a:lnTo>
                      <a:pt x="396" y="479"/>
                    </a:lnTo>
                    <a:lnTo>
                      <a:pt x="396" y="477"/>
                    </a:lnTo>
                    <a:lnTo>
                      <a:pt x="396" y="479"/>
                    </a:lnTo>
                    <a:lnTo>
                      <a:pt x="398" y="477"/>
                    </a:lnTo>
                    <a:lnTo>
                      <a:pt x="400" y="477"/>
                    </a:lnTo>
                    <a:lnTo>
                      <a:pt x="400" y="475"/>
                    </a:lnTo>
                    <a:lnTo>
                      <a:pt x="402" y="475"/>
                    </a:lnTo>
                    <a:lnTo>
                      <a:pt x="404" y="475"/>
                    </a:lnTo>
                    <a:lnTo>
                      <a:pt x="406" y="475"/>
                    </a:lnTo>
                    <a:lnTo>
                      <a:pt x="408" y="475"/>
                    </a:lnTo>
                    <a:lnTo>
                      <a:pt x="409" y="475"/>
                    </a:lnTo>
                    <a:lnTo>
                      <a:pt x="408" y="475"/>
                    </a:lnTo>
                    <a:lnTo>
                      <a:pt x="409" y="475"/>
                    </a:lnTo>
                    <a:lnTo>
                      <a:pt x="411" y="475"/>
                    </a:lnTo>
                    <a:lnTo>
                      <a:pt x="409" y="473"/>
                    </a:lnTo>
                    <a:lnTo>
                      <a:pt x="411" y="473"/>
                    </a:lnTo>
                    <a:lnTo>
                      <a:pt x="413" y="473"/>
                    </a:lnTo>
                    <a:lnTo>
                      <a:pt x="413" y="471"/>
                    </a:lnTo>
                    <a:lnTo>
                      <a:pt x="415" y="471"/>
                    </a:lnTo>
                    <a:lnTo>
                      <a:pt x="417" y="471"/>
                    </a:lnTo>
                    <a:lnTo>
                      <a:pt x="417" y="469"/>
                    </a:lnTo>
                    <a:lnTo>
                      <a:pt x="417" y="467"/>
                    </a:lnTo>
                    <a:lnTo>
                      <a:pt x="419" y="467"/>
                    </a:lnTo>
                    <a:lnTo>
                      <a:pt x="417" y="467"/>
                    </a:lnTo>
                    <a:lnTo>
                      <a:pt x="417" y="465"/>
                    </a:lnTo>
                    <a:lnTo>
                      <a:pt x="419" y="465"/>
                    </a:lnTo>
                    <a:lnTo>
                      <a:pt x="417" y="465"/>
                    </a:lnTo>
                    <a:lnTo>
                      <a:pt x="417" y="467"/>
                    </a:lnTo>
                    <a:lnTo>
                      <a:pt x="419" y="467"/>
                    </a:lnTo>
                    <a:lnTo>
                      <a:pt x="417" y="467"/>
                    </a:lnTo>
                    <a:lnTo>
                      <a:pt x="417" y="469"/>
                    </a:lnTo>
                    <a:lnTo>
                      <a:pt x="417" y="471"/>
                    </a:lnTo>
                    <a:lnTo>
                      <a:pt x="415" y="471"/>
                    </a:lnTo>
                    <a:lnTo>
                      <a:pt x="413" y="471"/>
                    </a:lnTo>
                    <a:lnTo>
                      <a:pt x="411" y="473"/>
                    </a:lnTo>
                    <a:lnTo>
                      <a:pt x="413" y="473"/>
                    </a:lnTo>
                    <a:lnTo>
                      <a:pt x="411" y="473"/>
                    </a:lnTo>
                    <a:lnTo>
                      <a:pt x="409" y="473"/>
                    </a:lnTo>
                    <a:lnTo>
                      <a:pt x="409" y="475"/>
                    </a:lnTo>
                    <a:lnTo>
                      <a:pt x="408" y="475"/>
                    </a:lnTo>
                    <a:lnTo>
                      <a:pt x="406" y="475"/>
                    </a:lnTo>
                    <a:lnTo>
                      <a:pt x="404" y="475"/>
                    </a:lnTo>
                    <a:lnTo>
                      <a:pt x="402" y="475"/>
                    </a:lnTo>
                    <a:lnTo>
                      <a:pt x="400" y="475"/>
                    </a:lnTo>
                    <a:lnTo>
                      <a:pt x="400" y="477"/>
                    </a:lnTo>
                    <a:lnTo>
                      <a:pt x="398" y="477"/>
                    </a:lnTo>
                    <a:lnTo>
                      <a:pt x="400" y="477"/>
                    </a:lnTo>
                    <a:lnTo>
                      <a:pt x="398" y="477"/>
                    </a:lnTo>
                    <a:lnTo>
                      <a:pt x="396" y="477"/>
                    </a:lnTo>
                    <a:lnTo>
                      <a:pt x="396" y="479"/>
                    </a:lnTo>
                    <a:lnTo>
                      <a:pt x="396" y="477"/>
                    </a:lnTo>
                    <a:lnTo>
                      <a:pt x="396" y="479"/>
                    </a:lnTo>
                    <a:lnTo>
                      <a:pt x="396" y="477"/>
                    </a:lnTo>
                    <a:lnTo>
                      <a:pt x="394" y="477"/>
                    </a:lnTo>
                    <a:lnTo>
                      <a:pt x="394" y="479"/>
                    </a:lnTo>
                    <a:lnTo>
                      <a:pt x="392" y="479"/>
                    </a:lnTo>
                    <a:lnTo>
                      <a:pt x="390" y="479"/>
                    </a:lnTo>
                    <a:lnTo>
                      <a:pt x="390" y="481"/>
                    </a:lnTo>
                    <a:lnTo>
                      <a:pt x="390" y="483"/>
                    </a:lnTo>
                    <a:lnTo>
                      <a:pt x="390" y="485"/>
                    </a:lnTo>
                    <a:lnTo>
                      <a:pt x="388" y="485"/>
                    </a:lnTo>
                    <a:lnTo>
                      <a:pt x="390" y="483"/>
                    </a:lnTo>
                    <a:lnTo>
                      <a:pt x="388" y="485"/>
                    </a:lnTo>
                    <a:lnTo>
                      <a:pt x="386" y="485"/>
                    </a:lnTo>
                    <a:lnTo>
                      <a:pt x="384" y="485"/>
                    </a:lnTo>
                    <a:lnTo>
                      <a:pt x="384" y="483"/>
                    </a:lnTo>
                    <a:lnTo>
                      <a:pt x="383" y="483"/>
                    </a:lnTo>
                    <a:lnTo>
                      <a:pt x="381" y="483"/>
                    </a:lnTo>
                    <a:lnTo>
                      <a:pt x="379" y="483"/>
                    </a:lnTo>
                    <a:lnTo>
                      <a:pt x="377" y="483"/>
                    </a:lnTo>
                    <a:lnTo>
                      <a:pt x="377" y="481"/>
                    </a:lnTo>
                    <a:lnTo>
                      <a:pt x="375" y="481"/>
                    </a:lnTo>
                    <a:lnTo>
                      <a:pt x="373" y="481"/>
                    </a:lnTo>
                    <a:lnTo>
                      <a:pt x="371" y="481"/>
                    </a:lnTo>
                    <a:lnTo>
                      <a:pt x="369" y="481"/>
                    </a:lnTo>
                    <a:lnTo>
                      <a:pt x="367" y="481"/>
                    </a:lnTo>
                    <a:lnTo>
                      <a:pt x="367" y="483"/>
                    </a:lnTo>
                    <a:lnTo>
                      <a:pt x="365" y="483"/>
                    </a:lnTo>
                    <a:lnTo>
                      <a:pt x="363" y="483"/>
                    </a:lnTo>
                    <a:lnTo>
                      <a:pt x="365" y="483"/>
                    </a:lnTo>
                    <a:lnTo>
                      <a:pt x="363" y="483"/>
                    </a:lnTo>
                    <a:lnTo>
                      <a:pt x="365" y="483"/>
                    </a:lnTo>
                    <a:lnTo>
                      <a:pt x="367" y="483"/>
                    </a:lnTo>
                    <a:lnTo>
                      <a:pt x="367" y="481"/>
                    </a:lnTo>
                    <a:lnTo>
                      <a:pt x="367" y="483"/>
                    </a:lnTo>
                    <a:lnTo>
                      <a:pt x="367" y="485"/>
                    </a:lnTo>
                    <a:lnTo>
                      <a:pt x="365" y="485"/>
                    </a:lnTo>
                    <a:lnTo>
                      <a:pt x="367" y="485"/>
                    </a:lnTo>
                    <a:lnTo>
                      <a:pt x="365" y="485"/>
                    </a:lnTo>
                    <a:lnTo>
                      <a:pt x="363" y="485"/>
                    </a:lnTo>
                    <a:lnTo>
                      <a:pt x="363" y="487"/>
                    </a:lnTo>
                    <a:lnTo>
                      <a:pt x="361" y="487"/>
                    </a:lnTo>
                    <a:lnTo>
                      <a:pt x="361" y="488"/>
                    </a:lnTo>
                    <a:lnTo>
                      <a:pt x="360" y="490"/>
                    </a:lnTo>
                    <a:lnTo>
                      <a:pt x="360" y="492"/>
                    </a:lnTo>
                    <a:lnTo>
                      <a:pt x="360" y="494"/>
                    </a:lnTo>
                    <a:lnTo>
                      <a:pt x="361" y="494"/>
                    </a:lnTo>
                    <a:lnTo>
                      <a:pt x="363" y="494"/>
                    </a:lnTo>
                    <a:lnTo>
                      <a:pt x="365" y="494"/>
                    </a:lnTo>
                    <a:lnTo>
                      <a:pt x="367" y="496"/>
                    </a:lnTo>
                    <a:lnTo>
                      <a:pt x="367" y="498"/>
                    </a:lnTo>
                    <a:lnTo>
                      <a:pt x="369" y="498"/>
                    </a:lnTo>
                    <a:lnTo>
                      <a:pt x="371" y="500"/>
                    </a:lnTo>
                    <a:lnTo>
                      <a:pt x="373" y="500"/>
                    </a:lnTo>
                    <a:lnTo>
                      <a:pt x="375" y="500"/>
                    </a:lnTo>
                    <a:lnTo>
                      <a:pt x="377" y="500"/>
                    </a:lnTo>
                    <a:lnTo>
                      <a:pt x="379" y="500"/>
                    </a:lnTo>
                    <a:lnTo>
                      <a:pt x="381" y="500"/>
                    </a:lnTo>
                    <a:lnTo>
                      <a:pt x="381" y="498"/>
                    </a:lnTo>
                    <a:lnTo>
                      <a:pt x="381" y="500"/>
                    </a:lnTo>
                    <a:lnTo>
                      <a:pt x="383" y="500"/>
                    </a:lnTo>
                    <a:lnTo>
                      <a:pt x="384" y="500"/>
                    </a:lnTo>
                    <a:lnTo>
                      <a:pt x="386" y="500"/>
                    </a:lnTo>
                    <a:lnTo>
                      <a:pt x="386" y="498"/>
                    </a:lnTo>
                    <a:lnTo>
                      <a:pt x="388" y="498"/>
                    </a:lnTo>
                    <a:lnTo>
                      <a:pt x="388" y="500"/>
                    </a:lnTo>
                    <a:lnTo>
                      <a:pt x="390" y="500"/>
                    </a:lnTo>
                    <a:lnTo>
                      <a:pt x="392" y="500"/>
                    </a:lnTo>
                    <a:lnTo>
                      <a:pt x="390" y="500"/>
                    </a:lnTo>
                    <a:lnTo>
                      <a:pt x="390" y="502"/>
                    </a:lnTo>
                    <a:lnTo>
                      <a:pt x="388" y="502"/>
                    </a:lnTo>
                    <a:lnTo>
                      <a:pt x="388" y="504"/>
                    </a:lnTo>
                    <a:lnTo>
                      <a:pt x="390" y="504"/>
                    </a:lnTo>
                    <a:lnTo>
                      <a:pt x="390" y="506"/>
                    </a:lnTo>
                    <a:lnTo>
                      <a:pt x="392" y="506"/>
                    </a:lnTo>
                    <a:lnTo>
                      <a:pt x="394" y="506"/>
                    </a:lnTo>
                    <a:lnTo>
                      <a:pt x="392" y="504"/>
                    </a:lnTo>
                    <a:lnTo>
                      <a:pt x="394" y="504"/>
                    </a:lnTo>
                    <a:lnTo>
                      <a:pt x="394" y="506"/>
                    </a:lnTo>
                    <a:lnTo>
                      <a:pt x="396" y="506"/>
                    </a:lnTo>
                    <a:lnTo>
                      <a:pt x="398" y="506"/>
                    </a:lnTo>
                    <a:lnTo>
                      <a:pt x="398" y="504"/>
                    </a:lnTo>
                    <a:lnTo>
                      <a:pt x="400" y="504"/>
                    </a:lnTo>
                    <a:lnTo>
                      <a:pt x="402" y="504"/>
                    </a:lnTo>
                    <a:lnTo>
                      <a:pt x="402" y="506"/>
                    </a:lnTo>
                    <a:lnTo>
                      <a:pt x="402" y="508"/>
                    </a:lnTo>
                    <a:lnTo>
                      <a:pt x="400" y="508"/>
                    </a:lnTo>
                    <a:lnTo>
                      <a:pt x="400" y="510"/>
                    </a:lnTo>
                    <a:lnTo>
                      <a:pt x="400" y="512"/>
                    </a:lnTo>
                    <a:lnTo>
                      <a:pt x="400" y="513"/>
                    </a:lnTo>
                    <a:lnTo>
                      <a:pt x="400" y="515"/>
                    </a:lnTo>
                    <a:lnTo>
                      <a:pt x="400" y="513"/>
                    </a:lnTo>
                    <a:lnTo>
                      <a:pt x="402" y="515"/>
                    </a:lnTo>
                    <a:lnTo>
                      <a:pt x="400" y="515"/>
                    </a:lnTo>
                    <a:lnTo>
                      <a:pt x="402" y="515"/>
                    </a:lnTo>
                    <a:lnTo>
                      <a:pt x="402" y="517"/>
                    </a:lnTo>
                    <a:lnTo>
                      <a:pt x="404" y="517"/>
                    </a:lnTo>
                    <a:lnTo>
                      <a:pt x="402" y="519"/>
                    </a:lnTo>
                    <a:lnTo>
                      <a:pt x="402" y="521"/>
                    </a:lnTo>
                    <a:lnTo>
                      <a:pt x="402" y="519"/>
                    </a:lnTo>
                    <a:lnTo>
                      <a:pt x="402" y="521"/>
                    </a:lnTo>
                    <a:lnTo>
                      <a:pt x="400" y="521"/>
                    </a:lnTo>
                    <a:lnTo>
                      <a:pt x="400" y="523"/>
                    </a:lnTo>
                    <a:lnTo>
                      <a:pt x="400" y="525"/>
                    </a:lnTo>
                    <a:lnTo>
                      <a:pt x="400" y="527"/>
                    </a:lnTo>
                    <a:lnTo>
                      <a:pt x="400" y="525"/>
                    </a:lnTo>
                    <a:lnTo>
                      <a:pt x="398" y="525"/>
                    </a:lnTo>
                    <a:lnTo>
                      <a:pt x="398" y="527"/>
                    </a:lnTo>
                    <a:lnTo>
                      <a:pt x="400" y="527"/>
                    </a:lnTo>
                    <a:lnTo>
                      <a:pt x="398" y="527"/>
                    </a:lnTo>
                    <a:lnTo>
                      <a:pt x="398" y="529"/>
                    </a:lnTo>
                    <a:lnTo>
                      <a:pt x="396" y="529"/>
                    </a:lnTo>
                    <a:lnTo>
                      <a:pt x="396" y="531"/>
                    </a:lnTo>
                    <a:lnTo>
                      <a:pt x="394" y="531"/>
                    </a:lnTo>
                    <a:lnTo>
                      <a:pt x="392" y="531"/>
                    </a:lnTo>
                    <a:lnTo>
                      <a:pt x="392" y="529"/>
                    </a:lnTo>
                    <a:lnTo>
                      <a:pt x="390" y="529"/>
                    </a:lnTo>
                    <a:lnTo>
                      <a:pt x="388" y="529"/>
                    </a:lnTo>
                    <a:lnTo>
                      <a:pt x="388" y="531"/>
                    </a:lnTo>
                    <a:lnTo>
                      <a:pt x="388" y="529"/>
                    </a:lnTo>
                    <a:lnTo>
                      <a:pt x="388" y="531"/>
                    </a:lnTo>
                    <a:lnTo>
                      <a:pt x="388" y="533"/>
                    </a:lnTo>
                    <a:lnTo>
                      <a:pt x="386" y="533"/>
                    </a:lnTo>
                    <a:lnTo>
                      <a:pt x="386" y="535"/>
                    </a:lnTo>
                    <a:lnTo>
                      <a:pt x="384" y="535"/>
                    </a:lnTo>
                    <a:lnTo>
                      <a:pt x="384" y="537"/>
                    </a:lnTo>
                    <a:lnTo>
                      <a:pt x="383" y="537"/>
                    </a:lnTo>
                    <a:lnTo>
                      <a:pt x="383" y="538"/>
                    </a:lnTo>
                    <a:lnTo>
                      <a:pt x="381" y="538"/>
                    </a:lnTo>
                    <a:lnTo>
                      <a:pt x="379" y="540"/>
                    </a:lnTo>
                    <a:lnTo>
                      <a:pt x="377" y="540"/>
                    </a:lnTo>
                    <a:lnTo>
                      <a:pt x="375" y="540"/>
                    </a:lnTo>
                    <a:lnTo>
                      <a:pt x="375" y="542"/>
                    </a:lnTo>
                    <a:lnTo>
                      <a:pt x="375" y="544"/>
                    </a:lnTo>
                    <a:lnTo>
                      <a:pt x="373" y="544"/>
                    </a:lnTo>
                    <a:lnTo>
                      <a:pt x="371" y="544"/>
                    </a:lnTo>
                    <a:lnTo>
                      <a:pt x="371" y="546"/>
                    </a:lnTo>
                    <a:lnTo>
                      <a:pt x="369" y="546"/>
                    </a:lnTo>
                    <a:lnTo>
                      <a:pt x="367" y="546"/>
                    </a:lnTo>
                    <a:lnTo>
                      <a:pt x="365" y="546"/>
                    </a:lnTo>
                    <a:lnTo>
                      <a:pt x="363" y="546"/>
                    </a:lnTo>
                    <a:lnTo>
                      <a:pt x="361" y="546"/>
                    </a:lnTo>
                    <a:lnTo>
                      <a:pt x="361" y="548"/>
                    </a:lnTo>
                    <a:lnTo>
                      <a:pt x="361" y="546"/>
                    </a:lnTo>
                    <a:lnTo>
                      <a:pt x="360" y="546"/>
                    </a:lnTo>
                    <a:lnTo>
                      <a:pt x="358" y="546"/>
                    </a:lnTo>
                    <a:lnTo>
                      <a:pt x="356" y="546"/>
                    </a:lnTo>
                    <a:lnTo>
                      <a:pt x="354" y="546"/>
                    </a:lnTo>
                    <a:lnTo>
                      <a:pt x="356" y="546"/>
                    </a:lnTo>
                    <a:lnTo>
                      <a:pt x="354" y="546"/>
                    </a:lnTo>
                    <a:lnTo>
                      <a:pt x="354" y="548"/>
                    </a:lnTo>
                    <a:lnTo>
                      <a:pt x="352" y="546"/>
                    </a:lnTo>
                    <a:lnTo>
                      <a:pt x="350" y="546"/>
                    </a:lnTo>
                    <a:lnTo>
                      <a:pt x="350" y="548"/>
                    </a:lnTo>
                    <a:lnTo>
                      <a:pt x="350" y="546"/>
                    </a:lnTo>
                    <a:lnTo>
                      <a:pt x="352" y="546"/>
                    </a:lnTo>
                    <a:lnTo>
                      <a:pt x="352" y="548"/>
                    </a:lnTo>
                    <a:lnTo>
                      <a:pt x="354" y="548"/>
                    </a:lnTo>
                    <a:lnTo>
                      <a:pt x="354" y="546"/>
                    </a:lnTo>
                    <a:lnTo>
                      <a:pt x="356" y="546"/>
                    </a:lnTo>
                    <a:lnTo>
                      <a:pt x="358" y="546"/>
                    </a:lnTo>
                    <a:lnTo>
                      <a:pt x="360" y="546"/>
                    </a:lnTo>
                    <a:lnTo>
                      <a:pt x="361" y="546"/>
                    </a:lnTo>
                    <a:lnTo>
                      <a:pt x="361" y="548"/>
                    </a:lnTo>
                    <a:lnTo>
                      <a:pt x="361" y="546"/>
                    </a:lnTo>
                    <a:lnTo>
                      <a:pt x="363" y="546"/>
                    </a:lnTo>
                    <a:lnTo>
                      <a:pt x="365" y="546"/>
                    </a:lnTo>
                    <a:lnTo>
                      <a:pt x="365" y="548"/>
                    </a:lnTo>
                    <a:lnTo>
                      <a:pt x="365" y="546"/>
                    </a:lnTo>
                    <a:lnTo>
                      <a:pt x="365" y="548"/>
                    </a:lnTo>
                    <a:lnTo>
                      <a:pt x="363" y="548"/>
                    </a:lnTo>
                    <a:lnTo>
                      <a:pt x="361" y="548"/>
                    </a:lnTo>
                    <a:lnTo>
                      <a:pt x="363" y="548"/>
                    </a:lnTo>
                    <a:lnTo>
                      <a:pt x="361" y="548"/>
                    </a:lnTo>
                    <a:lnTo>
                      <a:pt x="361" y="550"/>
                    </a:lnTo>
                    <a:lnTo>
                      <a:pt x="361" y="548"/>
                    </a:lnTo>
                    <a:lnTo>
                      <a:pt x="363" y="548"/>
                    </a:lnTo>
                    <a:lnTo>
                      <a:pt x="365" y="548"/>
                    </a:lnTo>
                    <a:lnTo>
                      <a:pt x="365" y="546"/>
                    </a:lnTo>
                    <a:lnTo>
                      <a:pt x="367" y="546"/>
                    </a:lnTo>
                    <a:lnTo>
                      <a:pt x="369" y="546"/>
                    </a:lnTo>
                    <a:lnTo>
                      <a:pt x="371" y="546"/>
                    </a:lnTo>
                    <a:lnTo>
                      <a:pt x="373" y="546"/>
                    </a:lnTo>
                    <a:lnTo>
                      <a:pt x="373" y="544"/>
                    </a:lnTo>
                    <a:lnTo>
                      <a:pt x="373" y="546"/>
                    </a:lnTo>
                    <a:lnTo>
                      <a:pt x="373" y="544"/>
                    </a:lnTo>
                    <a:lnTo>
                      <a:pt x="375" y="544"/>
                    </a:lnTo>
                    <a:lnTo>
                      <a:pt x="373" y="544"/>
                    </a:lnTo>
                    <a:lnTo>
                      <a:pt x="375" y="544"/>
                    </a:lnTo>
                    <a:lnTo>
                      <a:pt x="375" y="542"/>
                    </a:lnTo>
                    <a:lnTo>
                      <a:pt x="377" y="542"/>
                    </a:lnTo>
                    <a:lnTo>
                      <a:pt x="377" y="540"/>
                    </a:lnTo>
                    <a:lnTo>
                      <a:pt x="379" y="540"/>
                    </a:lnTo>
                    <a:lnTo>
                      <a:pt x="381" y="540"/>
                    </a:lnTo>
                    <a:lnTo>
                      <a:pt x="381" y="538"/>
                    </a:lnTo>
                    <a:lnTo>
                      <a:pt x="383" y="538"/>
                    </a:lnTo>
                    <a:lnTo>
                      <a:pt x="381" y="538"/>
                    </a:lnTo>
                    <a:lnTo>
                      <a:pt x="383" y="538"/>
                    </a:lnTo>
                    <a:lnTo>
                      <a:pt x="383" y="537"/>
                    </a:lnTo>
                    <a:lnTo>
                      <a:pt x="384" y="537"/>
                    </a:lnTo>
                    <a:lnTo>
                      <a:pt x="384" y="535"/>
                    </a:lnTo>
                    <a:lnTo>
                      <a:pt x="384" y="537"/>
                    </a:lnTo>
                    <a:lnTo>
                      <a:pt x="384" y="535"/>
                    </a:lnTo>
                    <a:lnTo>
                      <a:pt x="386" y="535"/>
                    </a:lnTo>
                    <a:lnTo>
                      <a:pt x="386" y="533"/>
                    </a:lnTo>
                    <a:lnTo>
                      <a:pt x="388" y="533"/>
                    </a:lnTo>
                    <a:lnTo>
                      <a:pt x="388" y="531"/>
                    </a:lnTo>
                    <a:lnTo>
                      <a:pt x="390" y="529"/>
                    </a:lnTo>
                    <a:lnTo>
                      <a:pt x="392" y="529"/>
                    </a:lnTo>
                    <a:lnTo>
                      <a:pt x="392" y="531"/>
                    </a:lnTo>
                    <a:lnTo>
                      <a:pt x="394" y="531"/>
                    </a:lnTo>
                    <a:lnTo>
                      <a:pt x="396" y="531"/>
                    </a:lnTo>
                    <a:lnTo>
                      <a:pt x="396" y="529"/>
                    </a:lnTo>
                    <a:lnTo>
                      <a:pt x="398" y="529"/>
                    </a:lnTo>
                    <a:lnTo>
                      <a:pt x="400" y="527"/>
                    </a:lnTo>
                    <a:lnTo>
                      <a:pt x="398" y="527"/>
                    </a:lnTo>
                    <a:lnTo>
                      <a:pt x="400" y="527"/>
                    </a:lnTo>
                    <a:lnTo>
                      <a:pt x="400" y="529"/>
                    </a:lnTo>
                    <a:lnTo>
                      <a:pt x="402" y="529"/>
                    </a:lnTo>
                    <a:lnTo>
                      <a:pt x="404" y="529"/>
                    </a:lnTo>
                    <a:lnTo>
                      <a:pt x="404" y="531"/>
                    </a:lnTo>
                    <a:lnTo>
                      <a:pt x="406" y="531"/>
                    </a:lnTo>
                    <a:lnTo>
                      <a:pt x="404" y="531"/>
                    </a:lnTo>
                    <a:lnTo>
                      <a:pt x="406" y="531"/>
                    </a:lnTo>
                    <a:lnTo>
                      <a:pt x="406" y="533"/>
                    </a:lnTo>
                    <a:lnTo>
                      <a:pt x="408" y="533"/>
                    </a:lnTo>
                    <a:lnTo>
                      <a:pt x="408" y="535"/>
                    </a:lnTo>
                    <a:lnTo>
                      <a:pt x="408" y="533"/>
                    </a:lnTo>
                    <a:lnTo>
                      <a:pt x="408" y="535"/>
                    </a:lnTo>
                    <a:lnTo>
                      <a:pt x="408" y="537"/>
                    </a:lnTo>
                    <a:lnTo>
                      <a:pt x="409" y="537"/>
                    </a:lnTo>
                    <a:lnTo>
                      <a:pt x="409" y="538"/>
                    </a:lnTo>
                    <a:lnTo>
                      <a:pt x="409" y="540"/>
                    </a:lnTo>
                    <a:lnTo>
                      <a:pt x="408" y="540"/>
                    </a:lnTo>
                    <a:lnTo>
                      <a:pt x="408" y="542"/>
                    </a:lnTo>
                    <a:lnTo>
                      <a:pt x="406" y="542"/>
                    </a:lnTo>
                    <a:lnTo>
                      <a:pt x="408" y="542"/>
                    </a:lnTo>
                    <a:lnTo>
                      <a:pt x="406" y="544"/>
                    </a:lnTo>
                    <a:lnTo>
                      <a:pt x="404" y="544"/>
                    </a:lnTo>
                    <a:lnTo>
                      <a:pt x="404" y="546"/>
                    </a:lnTo>
                    <a:lnTo>
                      <a:pt x="404" y="548"/>
                    </a:lnTo>
                    <a:lnTo>
                      <a:pt x="406" y="548"/>
                    </a:lnTo>
                    <a:lnTo>
                      <a:pt x="404" y="548"/>
                    </a:lnTo>
                    <a:lnTo>
                      <a:pt x="406" y="548"/>
                    </a:lnTo>
                    <a:lnTo>
                      <a:pt x="404" y="548"/>
                    </a:lnTo>
                    <a:lnTo>
                      <a:pt x="404" y="546"/>
                    </a:lnTo>
                    <a:lnTo>
                      <a:pt x="404" y="544"/>
                    </a:lnTo>
                    <a:lnTo>
                      <a:pt x="406" y="544"/>
                    </a:lnTo>
                    <a:lnTo>
                      <a:pt x="408" y="542"/>
                    </a:lnTo>
                    <a:lnTo>
                      <a:pt x="406" y="542"/>
                    </a:lnTo>
                    <a:lnTo>
                      <a:pt x="408" y="542"/>
                    </a:lnTo>
                    <a:lnTo>
                      <a:pt x="408" y="540"/>
                    </a:lnTo>
                    <a:lnTo>
                      <a:pt x="409" y="540"/>
                    </a:lnTo>
                    <a:lnTo>
                      <a:pt x="409" y="538"/>
                    </a:lnTo>
                    <a:lnTo>
                      <a:pt x="411" y="538"/>
                    </a:lnTo>
                    <a:lnTo>
                      <a:pt x="411" y="540"/>
                    </a:lnTo>
                    <a:lnTo>
                      <a:pt x="413" y="540"/>
                    </a:lnTo>
                    <a:lnTo>
                      <a:pt x="413" y="542"/>
                    </a:lnTo>
                    <a:lnTo>
                      <a:pt x="413" y="540"/>
                    </a:lnTo>
                    <a:lnTo>
                      <a:pt x="415" y="542"/>
                    </a:lnTo>
                    <a:lnTo>
                      <a:pt x="415" y="540"/>
                    </a:lnTo>
                    <a:lnTo>
                      <a:pt x="415" y="542"/>
                    </a:lnTo>
                    <a:lnTo>
                      <a:pt x="415" y="540"/>
                    </a:lnTo>
                    <a:lnTo>
                      <a:pt x="415" y="542"/>
                    </a:lnTo>
                    <a:lnTo>
                      <a:pt x="417" y="540"/>
                    </a:lnTo>
                    <a:lnTo>
                      <a:pt x="417" y="542"/>
                    </a:lnTo>
                    <a:lnTo>
                      <a:pt x="419" y="542"/>
                    </a:lnTo>
                    <a:lnTo>
                      <a:pt x="421" y="542"/>
                    </a:lnTo>
                    <a:lnTo>
                      <a:pt x="421" y="544"/>
                    </a:lnTo>
                    <a:lnTo>
                      <a:pt x="423" y="544"/>
                    </a:lnTo>
                    <a:lnTo>
                      <a:pt x="423" y="546"/>
                    </a:lnTo>
                    <a:lnTo>
                      <a:pt x="425" y="546"/>
                    </a:lnTo>
                    <a:lnTo>
                      <a:pt x="425" y="548"/>
                    </a:lnTo>
                    <a:lnTo>
                      <a:pt x="427" y="548"/>
                    </a:lnTo>
                    <a:lnTo>
                      <a:pt x="429" y="548"/>
                    </a:lnTo>
                    <a:lnTo>
                      <a:pt x="429" y="550"/>
                    </a:lnTo>
                    <a:lnTo>
                      <a:pt x="431" y="550"/>
                    </a:lnTo>
                    <a:lnTo>
                      <a:pt x="431" y="552"/>
                    </a:lnTo>
                    <a:lnTo>
                      <a:pt x="433" y="552"/>
                    </a:lnTo>
                    <a:lnTo>
                      <a:pt x="433" y="554"/>
                    </a:lnTo>
                    <a:lnTo>
                      <a:pt x="433" y="556"/>
                    </a:lnTo>
                    <a:lnTo>
                      <a:pt x="433" y="554"/>
                    </a:lnTo>
                    <a:lnTo>
                      <a:pt x="433" y="552"/>
                    </a:lnTo>
                    <a:lnTo>
                      <a:pt x="431" y="552"/>
                    </a:lnTo>
                    <a:lnTo>
                      <a:pt x="431" y="550"/>
                    </a:lnTo>
                    <a:lnTo>
                      <a:pt x="429" y="550"/>
                    </a:lnTo>
                    <a:lnTo>
                      <a:pt x="429" y="548"/>
                    </a:lnTo>
                    <a:lnTo>
                      <a:pt x="427" y="548"/>
                    </a:lnTo>
                    <a:lnTo>
                      <a:pt x="425" y="548"/>
                    </a:lnTo>
                    <a:lnTo>
                      <a:pt x="425" y="546"/>
                    </a:lnTo>
                    <a:lnTo>
                      <a:pt x="423" y="546"/>
                    </a:lnTo>
                    <a:lnTo>
                      <a:pt x="421" y="544"/>
                    </a:lnTo>
                    <a:lnTo>
                      <a:pt x="421" y="542"/>
                    </a:lnTo>
                    <a:lnTo>
                      <a:pt x="419" y="542"/>
                    </a:lnTo>
                    <a:lnTo>
                      <a:pt x="417" y="542"/>
                    </a:lnTo>
                    <a:lnTo>
                      <a:pt x="417" y="540"/>
                    </a:lnTo>
                    <a:lnTo>
                      <a:pt x="415" y="540"/>
                    </a:lnTo>
                    <a:lnTo>
                      <a:pt x="415" y="542"/>
                    </a:lnTo>
                    <a:lnTo>
                      <a:pt x="415" y="540"/>
                    </a:lnTo>
                    <a:lnTo>
                      <a:pt x="415" y="542"/>
                    </a:lnTo>
                    <a:lnTo>
                      <a:pt x="413" y="540"/>
                    </a:lnTo>
                    <a:lnTo>
                      <a:pt x="411" y="540"/>
                    </a:lnTo>
                    <a:lnTo>
                      <a:pt x="411" y="538"/>
                    </a:lnTo>
                    <a:lnTo>
                      <a:pt x="411" y="540"/>
                    </a:lnTo>
                    <a:lnTo>
                      <a:pt x="411" y="538"/>
                    </a:lnTo>
                    <a:lnTo>
                      <a:pt x="409" y="538"/>
                    </a:lnTo>
                    <a:lnTo>
                      <a:pt x="409" y="537"/>
                    </a:lnTo>
                    <a:lnTo>
                      <a:pt x="409" y="535"/>
                    </a:lnTo>
                    <a:lnTo>
                      <a:pt x="408" y="535"/>
                    </a:lnTo>
                    <a:lnTo>
                      <a:pt x="408" y="533"/>
                    </a:lnTo>
                    <a:lnTo>
                      <a:pt x="406" y="533"/>
                    </a:lnTo>
                    <a:lnTo>
                      <a:pt x="406" y="531"/>
                    </a:lnTo>
                    <a:lnTo>
                      <a:pt x="404" y="529"/>
                    </a:lnTo>
                    <a:lnTo>
                      <a:pt x="402" y="529"/>
                    </a:lnTo>
                    <a:lnTo>
                      <a:pt x="400" y="529"/>
                    </a:lnTo>
                    <a:lnTo>
                      <a:pt x="402" y="527"/>
                    </a:lnTo>
                    <a:lnTo>
                      <a:pt x="400" y="527"/>
                    </a:lnTo>
                    <a:lnTo>
                      <a:pt x="400" y="525"/>
                    </a:lnTo>
                    <a:lnTo>
                      <a:pt x="400" y="523"/>
                    </a:lnTo>
                    <a:lnTo>
                      <a:pt x="402" y="521"/>
                    </a:lnTo>
                    <a:lnTo>
                      <a:pt x="402" y="519"/>
                    </a:lnTo>
                    <a:lnTo>
                      <a:pt x="404" y="519"/>
                    </a:lnTo>
                    <a:lnTo>
                      <a:pt x="404" y="517"/>
                    </a:lnTo>
                    <a:lnTo>
                      <a:pt x="402" y="515"/>
                    </a:lnTo>
                    <a:lnTo>
                      <a:pt x="402" y="513"/>
                    </a:lnTo>
                    <a:lnTo>
                      <a:pt x="400" y="513"/>
                    </a:lnTo>
                    <a:lnTo>
                      <a:pt x="400" y="512"/>
                    </a:lnTo>
                    <a:lnTo>
                      <a:pt x="402" y="512"/>
                    </a:lnTo>
                    <a:lnTo>
                      <a:pt x="400" y="510"/>
                    </a:lnTo>
                    <a:lnTo>
                      <a:pt x="402" y="510"/>
                    </a:lnTo>
                    <a:lnTo>
                      <a:pt x="400" y="510"/>
                    </a:lnTo>
                    <a:lnTo>
                      <a:pt x="402" y="510"/>
                    </a:lnTo>
                    <a:lnTo>
                      <a:pt x="400" y="510"/>
                    </a:lnTo>
                    <a:lnTo>
                      <a:pt x="402" y="508"/>
                    </a:lnTo>
                    <a:lnTo>
                      <a:pt x="402" y="506"/>
                    </a:lnTo>
                    <a:lnTo>
                      <a:pt x="402" y="504"/>
                    </a:lnTo>
                    <a:lnTo>
                      <a:pt x="400" y="504"/>
                    </a:lnTo>
                    <a:lnTo>
                      <a:pt x="398" y="504"/>
                    </a:lnTo>
                    <a:lnTo>
                      <a:pt x="398" y="506"/>
                    </a:lnTo>
                    <a:lnTo>
                      <a:pt x="396" y="506"/>
                    </a:lnTo>
                    <a:lnTo>
                      <a:pt x="394" y="506"/>
                    </a:lnTo>
                    <a:lnTo>
                      <a:pt x="394" y="504"/>
                    </a:lnTo>
                    <a:lnTo>
                      <a:pt x="392" y="504"/>
                    </a:lnTo>
                    <a:lnTo>
                      <a:pt x="392" y="506"/>
                    </a:lnTo>
                    <a:lnTo>
                      <a:pt x="390" y="504"/>
                    </a:lnTo>
                    <a:lnTo>
                      <a:pt x="388" y="504"/>
                    </a:lnTo>
                    <a:lnTo>
                      <a:pt x="388" y="502"/>
                    </a:lnTo>
                    <a:lnTo>
                      <a:pt x="390" y="502"/>
                    </a:lnTo>
                    <a:lnTo>
                      <a:pt x="390" y="500"/>
                    </a:lnTo>
                    <a:lnTo>
                      <a:pt x="392" y="500"/>
                    </a:lnTo>
                    <a:lnTo>
                      <a:pt x="390" y="500"/>
                    </a:lnTo>
                    <a:lnTo>
                      <a:pt x="388" y="500"/>
                    </a:lnTo>
                    <a:lnTo>
                      <a:pt x="388" y="498"/>
                    </a:lnTo>
                    <a:lnTo>
                      <a:pt x="386" y="498"/>
                    </a:lnTo>
                    <a:lnTo>
                      <a:pt x="384" y="500"/>
                    </a:lnTo>
                    <a:lnTo>
                      <a:pt x="383" y="500"/>
                    </a:lnTo>
                    <a:lnTo>
                      <a:pt x="381" y="500"/>
                    </a:lnTo>
                    <a:lnTo>
                      <a:pt x="381" y="498"/>
                    </a:lnTo>
                    <a:lnTo>
                      <a:pt x="379" y="498"/>
                    </a:lnTo>
                    <a:lnTo>
                      <a:pt x="379" y="500"/>
                    </a:lnTo>
                    <a:lnTo>
                      <a:pt x="377" y="500"/>
                    </a:lnTo>
                    <a:lnTo>
                      <a:pt x="375" y="500"/>
                    </a:lnTo>
                    <a:lnTo>
                      <a:pt x="375" y="498"/>
                    </a:lnTo>
                    <a:lnTo>
                      <a:pt x="373" y="498"/>
                    </a:lnTo>
                    <a:lnTo>
                      <a:pt x="373" y="500"/>
                    </a:lnTo>
                    <a:lnTo>
                      <a:pt x="371" y="500"/>
                    </a:lnTo>
                    <a:lnTo>
                      <a:pt x="371" y="498"/>
                    </a:lnTo>
                    <a:lnTo>
                      <a:pt x="369" y="496"/>
                    </a:lnTo>
                    <a:lnTo>
                      <a:pt x="367" y="496"/>
                    </a:lnTo>
                    <a:lnTo>
                      <a:pt x="367" y="494"/>
                    </a:lnTo>
                    <a:lnTo>
                      <a:pt x="365" y="494"/>
                    </a:lnTo>
                    <a:lnTo>
                      <a:pt x="363" y="494"/>
                    </a:lnTo>
                    <a:lnTo>
                      <a:pt x="361" y="494"/>
                    </a:lnTo>
                    <a:lnTo>
                      <a:pt x="360" y="494"/>
                    </a:lnTo>
                    <a:lnTo>
                      <a:pt x="360" y="492"/>
                    </a:lnTo>
                    <a:lnTo>
                      <a:pt x="360" y="490"/>
                    </a:lnTo>
                    <a:lnTo>
                      <a:pt x="361" y="490"/>
                    </a:lnTo>
                    <a:lnTo>
                      <a:pt x="361" y="488"/>
                    </a:lnTo>
                    <a:lnTo>
                      <a:pt x="363" y="488"/>
                    </a:lnTo>
                    <a:lnTo>
                      <a:pt x="363" y="487"/>
                    </a:lnTo>
                    <a:lnTo>
                      <a:pt x="365" y="487"/>
                    </a:lnTo>
                    <a:lnTo>
                      <a:pt x="363" y="487"/>
                    </a:lnTo>
                    <a:lnTo>
                      <a:pt x="365" y="487"/>
                    </a:lnTo>
                    <a:lnTo>
                      <a:pt x="365" y="485"/>
                    </a:lnTo>
                    <a:lnTo>
                      <a:pt x="367" y="485"/>
                    </a:lnTo>
                    <a:lnTo>
                      <a:pt x="365" y="487"/>
                    </a:lnTo>
                    <a:lnTo>
                      <a:pt x="367" y="485"/>
                    </a:lnTo>
                    <a:lnTo>
                      <a:pt x="369" y="485"/>
                    </a:lnTo>
                    <a:lnTo>
                      <a:pt x="369" y="483"/>
                    </a:lnTo>
                    <a:lnTo>
                      <a:pt x="369" y="481"/>
                    </a:lnTo>
                    <a:lnTo>
                      <a:pt x="371" y="481"/>
                    </a:lnTo>
                    <a:lnTo>
                      <a:pt x="373" y="483"/>
                    </a:lnTo>
                    <a:lnTo>
                      <a:pt x="375" y="481"/>
                    </a:lnTo>
                    <a:lnTo>
                      <a:pt x="377" y="481"/>
                    </a:lnTo>
                    <a:lnTo>
                      <a:pt x="377" y="483"/>
                    </a:lnTo>
                    <a:lnTo>
                      <a:pt x="379" y="483"/>
                    </a:lnTo>
                    <a:lnTo>
                      <a:pt x="381" y="483"/>
                    </a:lnTo>
                    <a:lnTo>
                      <a:pt x="383" y="483"/>
                    </a:lnTo>
                    <a:lnTo>
                      <a:pt x="384" y="483"/>
                    </a:lnTo>
                    <a:lnTo>
                      <a:pt x="384" y="485"/>
                    </a:lnTo>
                    <a:lnTo>
                      <a:pt x="386" y="485"/>
                    </a:lnTo>
                    <a:lnTo>
                      <a:pt x="388" y="485"/>
                    </a:lnTo>
                    <a:lnTo>
                      <a:pt x="388" y="487"/>
                    </a:lnTo>
                    <a:lnTo>
                      <a:pt x="390" y="487"/>
                    </a:lnTo>
                    <a:lnTo>
                      <a:pt x="392" y="487"/>
                    </a:lnTo>
                    <a:lnTo>
                      <a:pt x="394" y="487"/>
                    </a:lnTo>
                    <a:lnTo>
                      <a:pt x="396" y="487"/>
                    </a:lnTo>
                    <a:lnTo>
                      <a:pt x="396" y="488"/>
                    </a:lnTo>
                    <a:lnTo>
                      <a:pt x="398" y="488"/>
                    </a:lnTo>
                    <a:lnTo>
                      <a:pt x="400" y="488"/>
                    </a:lnTo>
                    <a:lnTo>
                      <a:pt x="402" y="488"/>
                    </a:lnTo>
                    <a:lnTo>
                      <a:pt x="404" y="488"/>
                    </a:lnTo>
                    <a:lnTo>
                      <a:pt x="406" y="488"/>
                    </a:lnTo>
                    <a:lnTo>
                      <a:pt x="408" y="488"/>
                    </a:lnTo>
                    <a:lnTo>
                      <a:pt x="409" y="488"/>
                    </a:lnTo>
                    <a:lnTo>
                      <a:pt x="411" y="488"/>
                    </a:lnTo>
                    <a:lnTo>
                      <a:pt x="413" y="488"/>
                    </a:lnTo>
                    <a:lnTo>
                      <a:pt x="411" y="488"/>
                    </a:lnTo>
                    <a:lnTo>
                      <a:pt x="413" y="488"/>
                    </a:lnTo>
                    <a:lnTo>
                      <a:pt x="413" y="490"/>
                    </a:lnTo>
                    <a:lnTo>
                      <a:pt x="413" y="488"/>
                    </a:lnTo>
                    <a:lnTo>
                      <a:pt x="415" y="487"/>
                    </a:lnTo>
                    <a:lnTo>
                      <a:pt x="417" y="487"/>
                    </a:lnTo>
                    <a:lnTo>
                      <a:pt x="419" y="487"/>
                    </a:lnTo>
                    <a:lnTo>
                      <a:pt x="421" y="487"/>
                    </a:lnTo>
                    <a:lnTo>
                      <a:pt x="423" y="487"/>
                    </a:lnTo>
                    <a:lnTo>
                      <a:pt x="421" y="487"/>
                    </a:lnTo>
                    <a:lnTo>
                      <a:pt x="423" y="487"/>
                    </a:lnTo>
                    <a:lnTo>
                      <a:pt x="425" y="487"/>
                    </a:lnTo>
                    <a:lnTo>
                      <a:pt x="427" y="487"/>
                    </a:lnTo>
                    <a:lnTo>
                      <a:pt x="429" y="487"/>
                    </a:lnTo>
                    <a:lnTo>
                      <a:pt x="431" y="487"/>
                    </a:lnTo>
                    <a:lnTo>
                      <a:pt x="433" y="487"/>
                    </a:lnTo>
                    <a:lnTo>
                      <a:pt x="434" y="487"/>
                    </a:lnTo>
                    <a:lnTo>
                      <a:pt x="434" y="488"/>
                    </a:lnTo>
                    <a:lnTo>
                      <a:pt x="436" y="488"/>
                    </a:lnTo>
                    <a:lnTo>
                      <a:pt x="438" y="488"/>
                    </a:lnTo>
                    <a:lnTo>
                      <a:pt x="438" y="490"/>
                    </a:lnTo>
                    <a:lnTo>
                      <a:pt x="440" y="490"/>
                    </a:lnTo>
                    <a:lnTo>
                      <a:pt x="442" y="490"/>
                    </a:lnTo>
                    <a:lnTo>
                      <a:pt x="442" y="492"/>
                    </a:lnTo>
                    <a:lnTo>
                      <a:pt x="440" y="492"/>
                    </a:lnTo>
                    <a:lnTo>
                      <a:pt x="440" y="490"/>
                    </a:lnTo>
                    <a:lnTo>
                      <a:pt x="438" y="490"/>
                    </a:lnTo>
                    <a:lnTo>
                      <a:pt x="438" y="492"/>
                    </a:lnTo>
                    <a:lnTo>
                      <a:pt x="440" y="492"/>
                    </a:lnTo>
                    <a:lnTo>
                      <a:pt x="440" y="494"/>
                    </a:lnTo>
                    <a:lnTo>
                      <a:pt x="440" y="496"/>
                    </a:lnTo>
                    <a:lnTo>
                      <a:pt x="440" y="498"/>
                    </a:lnTo>
                    <a:lnTo>
                      <a:pt x="438" y="498"/>
                    </a:lnTo>
                    <a:lnTo>
                      <a:pt x="440" y="498"/>
                    </a:lnTo>
                    <a:lnTo>
                      <a:pt x="440" y="500"/>
                    </a:lnTo>
                    <a:lnTo>
                      <a:pt x="438" y="500"/>
                    </a:lnTo>
                    <a:lnTo>
                      <a:pt x="438" y="498"/>
                    </a:lnTo>
                    <a:lnTo>
                      <a:pt x="438" y="500"/>
                    </a:lnTo>
                    <a:lnTo>
                      <a:pt x="436" y="500"/>
                    </a:lnTo>
                    <a:lnTo>
                      <a:pt x="436" y="502"/>
                    </a:lnTo>
                    <a:lnTo>
                      <a:pt x="438" y="502"/>
                    </a:lnTo>
                    <a:lnTo>
                      <a:pt x="436" y="502"/>
                    </a:lnTo>
                    <a:lnTo>
                      <a:pt x="436" y="500"/>
                    </a:lnTo>
                    <a:lnTo>
                      <a:pt x="438" y="500"/>
                    </a:lnTo>
                    <a:lnTo>
                      <a:pt x="440" y="500"/>
                    </a:lnTo>
                    <a:lnTo>
                      <a:pt x="440" y="498"/>
                    </a:lnTo>
                    <a:lnTo>
                      <a:pt x="438" y="498"/>
                    </a:lnTo>
                    <a:lnTo>
                      <a:pt x="440" y="498"/>
                    </a:lnTo>
                    <a:lnTo>
                      <a:pt x="440" y="496"/>
                    </a:lnTo>
                    <a:lnTo>
                      <a:pt x="440" y="494"/>
                    </a:lnTo>
                    <a:lnTo>
                      <a:pt x="442" y="492"/>
                    </a:lnTo>
                    <a:lnTo>
                      <a:pt x="440" y="492"/>
                    </a:lnTo>
                    <a:lnTo>
                      <a:pt x="438" y="492"/>
                    </a:lnTo>
                    <a:lnTo>
                      <a:pt x="438" y="490"/>
                    </a:lnTo>
                    <a:lnTo>
                      <a:pt x="440" y="490"/>
                    </a:lnTo>
                    <a:lnTo>
                      <a:pt x="440" y="492"/>
                    </a:lnTo>
                    <a:lnTo>
                      <a:pt x="442" y="492"/>
                    </a:lnTo>
                    <a:lnTo>
                      <a:pt x="444" y="492"/>
                    </a:lnTo>
                    <a:lnTo>
                      <a:pt x="444" y="490"/>
                    </a:lnTo>
                    <a:lnTo>
                      <a:pt x="442" y="490"/>
                    </a:lnTo>
                    <a:lnTo>
                      <a:pt x="444" y="490"/>
                    </a:lnTo>
                    <a:lnTo>
                      <a:pt x="446" y="490"/>
                    </a:lnTo>
                    <a:lnTo>
                      <a:pt x="446" y="488"/>
                    </a:lnTo>
                    <a:lnTo>
                      <a:pt x="446" y="490"/>
                    </a:lnTo>
                    <a:lnTo>
                      <a:pt x="446" y="488"/>
                    </a:lnTo>
                    <a:lnTo>
                      <a:pt x="448" y="488"/>
                    </a:lnTo>
                    <a:lnTo>
                      <a:pt x="448" y="487"/>
                    </a:lnTo>
                    <a:lnTo>
                      <a:pt x="448" y="485"/>
                    </a:lnTo>
                    <a:lnTo>
                      <a:pt x="448" y="483"/>
                    </a:lnTo>
                    <a:lnTo>
                      <a:pt x="448" y="485"/>
                    </a:lnTo>
                    <a:lnTo>
                      <a:pt x="450" y="483"/>
                    </a:lnTo>
                    <a:lnTo>
                      <a:pt x="452" y="483"/>
                    </a:lnTo>
                    <a:lnTo>
                      <a:pt x="454" y="483"/>
                    </a:lnTo>
                    <a:lnTo>
                      <a:pt x="454" y="481"/>
                    </a:lnTo>
                    <a:lnTo>
                      <a:pt x="454" y="483"/>
                    </a:lnTo>
                    <a:lnTo>
                      <a:pt x="454" y="481"/>
                    </a:lnTo>
                    <a:lnTo>
                      <a:pt x="454" y="479"/>
                    </a:lnTo>
                    <a:lnTo>
                      <a:pt x="454" y="477"/>
                    </a:lnTo>
                    <a:lnTo>
                      <a:pt x="454" y="475"/>
                    </a:lnTo>
                    <a:lnTo>
                      <a:pt x="454" y="473"/>
                    </a:lnTo>
                    <a:lnTo>
                      <a:pt x="454" y="475"/>
                    </a:lnTo>
                    <a:lnTo>
                      <a:pt x="454" y="473"/>
                    </a:lnTo>
                    <a:lnTo>
                      <a:pt x="452" y="473"/>
                    </a:lnTo>
                    <a:lnTo>
                      <a:pt x="452" y="471"/>
                    </a:lnTo>
                    <a:lnTo>
                      <a:pt x="454" y="471"/>
                    </a:lnTo>
                    <a:lnTo>
                      <a:pt x="456" y="471"/>
                    </a:lnTo>
                    <a:lnTo>
                      <a:pt x="456" y="473"/>
                    </a:lnTo>
                    <a:lnTo>
                      <a:pt x="458" y="473"/>
                    </a:lnTo>
                    <a:lnTo>
                      <a:pt x="456" y="471"/>
                    </a:lnTo>
                    <a:lnTo>
                      <a:pt x="458" y="471"/>
                    </a:lnTo>
                    <a:lnTo>
                      <a:pt x="456" y="471"/>
                    </a:lnTo>
                    <a:lnTo>
                      <a:pt x="454" y="471"/>
                    </a:lnTo>
                    <a:lnTo>
                      <a:pt x="452" y="471"/>
                    </a:lnTo>
                    <a:lnTo>
                      <a:pt x="454" y="471"/>
                    </a:lnTo>
                    <a:lnTo>
                      <a:pt x="452" y="469"/>
                    </a:lnTo>
                    <a:lnTo>
                      <a:pt x="452" y="467"/>
                    </a:lnTo>
                    <a:lnTo>
                      <a:pt x="454" y="467"/>
                    </a:lnTo>
                    <a:lnTo>
                      <a:pt x="456" y="467"/>
                    </a:lnTo>
                    <a:lnTo>
                      <a:pt x="458" y="467"/>
                    </a:lnTo>
                    <a:lnTo>
                      <a:pt x="459" y="467"/>
                    </a:lnTo>
                    <a:lnTo>
                      <a:pt x="461" y="467"/>
                    </a:lnTo>
                    <a:lnTo>
                      <a:pt x="463" y="467"/>
                    </a:lnTo>
                    <a:lnTo>
                      <a:pt x="465" y="467"/>
                    </a:lnTo>
                    <a:lnTo>
                      <a:pt x="467" y="467"/>
                    </a:lnTo>
                    <a:lnTo>
                      <a:pt x="467" y="469"/>
                    </a:lnTo>
                    <a:lnTo>
                      <a:pt x="467" y="467"/>
                    </a:lnTo>
                    <a:lnTo>
                      <a:pt x="467" y="469"/>
                    </a:lnTo>
                    <a:lnTo>
                      <a:pt x="469" y="469"/>
                    </a:lnTo>
                    <a:lnTo>
                      <a:pt x="471" y="469"/>
                    </a:lnTo>
                    <a:lnTo>
                      <a:pt x="473" y="467"/>
                    </a:lnTo>
                    <a:lnTo>
                      <a:pt x="475" y="467"/>
                    </a:lnTo>
                    <a:lnTo>
                      <a:pt x="477" y="467"/>
                    </a:lnTo>
                    <a:lnTo>
                      <a:pt x="479" y="465"/>
                    </a:lnTo>
                    <a:lnTo>
                      <a:pt x="479" y="464"/>
                    </a:lnTo>
                    <a:lnTo>
                      <a:pt x="481" y="464"/>
                    </a:lnTo>
                    <a:lnTo>
                      <a:pt x="481" y="462"/>
                    </a:lnTo>
                    <a:lnTo>
                      <a:pt x="482" y="462"/>
                    </a:lnTo>
                    <a:lnTo>
                      <a:pt x="482" y="460"/>
                    </a:lnTo>
                    <a:lnTo>
                      <a:pt x="484" y="460"/>
                    </a:lnTo>
                    <a:lnTo>
                      <a:pt x="486" y="460"/>
                    </a:lnTo>
                    <a:lnTo>
                      <a:pt x="486" y="462"/>
                    </a:lnTo>
                    <a:lnTo>
                      <a:pt x="488" y="462"/>
                    </a:lnTo>
                    <a:lnTo>
                      <a:pt x="488" y="460"/>
                    </a:lnTo>
                    <a:lnTo>
                      <a:pt x="490" y="462"/>
                    </a:lnTo>
                    <a:lnTo>
                      <a:pt x="490" y="464"/>
                    </a:lnTo>
                    <a:lnTo>
                      <a:pt x="490" y="462"/>
                    </a:lnTo>
                    <a:lnTo>
                      <a:pt x="490" y="464"/>
                    </a:lnTo>
                    <a:lnTo>
                      <a:pt x="492" y="464"/>
                    </a:lnTo>
                    <a:lnTo>
                      <a:pt x="492" y="465"/>
                    </a:lnTo>
                    <a:lnTo>
                      <a:pt x="494" y="465"/>
                    </a:lnTo>
                    <a:lnTo>
                      <a:pt x="496" y="465"/>
                    </a:lnTo>
                    <a:lnTo>
                      <a:pt x="496" y="467"/>
                    </a:lnTo>
                    <a:lnTo>
                      <a:pt x="496" y="465"/>
                    </a:lnTo>
                    <a:lnTo>
                      <a:pt x="494" y="464"/>
                    </a:lnTo>
                    <a:lnTo>
                      <a:pt x="492" y="462"/>
                    </a:lnTo>
                    <a:lnTo>
                      <a:pt x="490" y="462"/>
                    </a:lnTo>
                    <a:lnTo>
                      <a:pt x="490" y="460"/>
                    </a:lnTo>
                    <a:lnTo>
                      <a:pt x="490" y="462"/>
                    </a:lnTo>
                    <a:lnTo>
                      <a:pt x="490" y="460"/>
                    </a:lnTo>
                    <a:lnTo>
                      <a:pt x="488" y="460"/>
                    </a:lnTo>
                    <a:lnTo>
                      <a:pt x="488" y="462"/>
                    </a:lnTo>
                    <a:lnTo>
                      <a:pt x="486" y="462"/>
                    </a:lnTo>
                    <a:lnTo>
                      <a:pt x="486" y="460"/>
                    </a:lnTo>
                    <a:lnTo>
                      <a:pt x="484" y="460"/>
                    </a:lnTo>
                    <a:lnTo>
                      <a:pt x="484" y="458"/>
                    </a:lnTo>
                    <a:lnTo>
                      <a:pt x="484" y="456"/>
                    </a:lnTo>
                    <a:lnTo>
                      <a:pt x="484" y="454"/>
                    </a:lnTo>
                    <a:lnTo>
                      <a:pt x="486" y="454"/>
                    </a:lnTo>
                    <a:lnTo>
                      <a:pt x="486" y="452"/>
                    </a:lnTo>
                    <a:lnTo>
                      <a:pt x="484" y="454"/>
                    </a:lnTo>
                    <a:lnTo>
                      <a:pt x="486" y="454"/>
                    </a:lnTo>
                    <a:lnTo>
                      <a:pt x="484" y="454"/>
                    </a:lnTo>
                    <a:lnTo>
                      <a:pt x="484" y="452"/>
                    </a:lnTo>
                    <a:lnTo>
                      <a:pt x="486" y="450"/>
                    </a:lnTo>
                    <a:lnTo>
                      <a:pt x="486" y="452"/>
                    </a:lnTo>
                    <a:lnTo>
                      <a:pt x="486" y="450"/>
                    </a:lnTo>
                    <a:lnTo>
                      <a:pt x="484" y="450"/>
                    </a:lnTo>
                    <a:lnTo>
                      <a:pt x="484" y="448"/>
                    </a:lnTo>
                    <a:lnTo>
                      <a:pt x="482" y="448"/>
                    </a:lnTo>
                    <a:lnTo>
                      <a:pt x="482" y="446"/>
                    </a:lnTo>
                    <a:lnTo>
                      <a:pt x="484" y="446"/>
                    </a:lnTo>
                    <a:lnTo>
                      <a:pt x="484" y="444"/>
                    </a:lnTo>
                    <a:lnTo>
                      <a:pt x="486" y="444"/>
                    </a:lnTo>
                    <a:lnTo>
                      <a:pt x="488" y="444"/>
                    </a:lnTo>
                    <a:lnTo>
                      <a:pt x="490" y="442"/>
                    </a:lnTo>
                    <a:lnTo>
                      <a:pt x="492" y="440"/>
                    </a:lnTo>
                    <a:lnTo>
                      <a:pt x="494" y="440"/>
                    </a:lnTo>
                    <a:lnTo>
                      <a:pt x="496" y="439"/>
                    </a:lnTo>
                    <a:lnTo>
                      <a:pt x="498" y="439"/>
                    </a:lnTo>
                    <a:lnTo>
                      <a:pt x="500" y="439"/>
                    </a:lnTo>
                    <a:lnTo>
                      <a:pt x="498" y="439"/>
                    </a:lnTo>
                    <a:lnTo>
                      <a:pt x="496" y="439"/>
                    </a:lnTo>
                    <a:lnTo>
                      <a:pt x="494" y="440"/>
                    </a:lnTo>
                    <a:lnTo>
                      <a:pt x="496" y="439"/>
                    </a:lnTo>
                    <a:lnTo>
                      <a:pt x="498" y="439"/>
                    </a:lnTo>
                    <a:lnTo>
                      <a:pt x="498" y="437"/>
                    </a:lnTo>
                    <a:lnTo>
                      <a:pt x="498" y="439"/>
                    </a:lnTo>
                    <a:lnTo>
                      <a:pt x="500" y="439"/>
                    </a:lnTo>
                    <a:lnTo>
                      <a:pt x="502" y="437"/>
                    </a:lnTo>
                    <a:lnTo>
                      <a:pt x="504" y="437"/>
                    </a:lnTo>
                    <a:lnTo>
                      <a:pt x="506" y="437"/>
                    </a:lnTo>
                    <a:lnTo>
                      <a:pt x="507" y="437"/>
                    </a:lnTo>
                    <a:lnTo>
                      <a:pt x="509" y="435"/>
                    </a:lnTo>
                    <a:lnTo>
                      <a:pt x="511" y="435"/>
                    </a:lnTo>
                    <a:lnTo>
                      <a:pt x="511" y="433"/>
                    </a:lnTo>
                    <a:lnTo>
                      <a:pt x="513" y="433"/>
                    </a:lnTo>
                    <a:lnTo>
                      <a:pt x="511" y="433"/>
                    </a:lnTo>
                    <a:lnTo>
                      <a:pt x="513" y="433"/>
                    </a:lnTo>
                    <a:lnTo>
                      <a:pt x="515" y="433"/>
                    </a:lnTo>
                    <a:lnTo>
                      <a:pt x="517" y="433"/>
                    </a:lnTo>
                    <a:lnTo>
                      <a:pt x="519" y="433"/>
                    </a:lnTo>
                    <a:lnTo>
                      <a:pt x="521" y="433"/>
                    </a:lnTo>
                    <a:lnTo>
                      <a:pt x="523" y="433"/>
                    </a:lnTo>
                    <a:lnTo>
                      <a:pt x="525" y="433"/>
                    </a:lnTo>
                    <a:lnTo>
                      <a:pt x="525" y="431"/>
                    </a:lnTo>
                    <a:lnTo>
                      <a:pt x="527" y="431"/>
                    </a:lnTo>
                    <a:lnTo>
                      <a:pt x="529" y="431"/>
                    </a:lnTo>
                    <a:lnTo>
                      <a:pt x="531" y="431"/>
                    </a:lnTo>
                    <a:lnTo>
                      <a:pt x="532" y="431"/>
                    </a:lnTo>
                    <a:lnTo>
                      <a:pt x="532" y="429"/>
                    </a:lnTo>
                    <a:lnTo>
                      <a:pt x="532" y="427"/>
                    </a:lnTo>
                    <a:lnTo>
                      <a:pt x="534" y="427"/>
                    </a:lnTo>
                    <a:lnTo>
                      <a:pt x="534" y="425"/>
                    </a:lnTo>
                    <a:lnTo>
                      <a:pt x="536" y="425"/>
                    </a:lnTo>
                    <a:lnTo>
                      <a:pt x="538" y="425"/>
                    </a:lnTo>
                    <a:lnTo>
                      <a:pt x="538" y="423"/>
                    </a:lnTo>
                    <a:lnTo>
                      <a:pt x="538" y="425"/>
                    </a:lnTo>
                    <a:lnTo>
                      <a:pt x="540" y="425"/>
                    </a:lnTo>
                    <a:lnTo>
                      <a:pt x="540" y="427"/>
                    </a:lnTo>
                    <a:lnTo>
                      <a:pt x="540" y="425"/>
                    </a:lnTo>
                    <a:lnTo>
                      <a:pt x="540" y="427"/>
                    </a:lnTo>
                    <a:lnTo>
                      <a:pt x="542" y="427"/>
                    </a:lnTo>
                    <a:lnTo>
                      <a:pt x="544" y="427"/>
                    </a:lnTo>
                    <a:lnTo>
                      <a:pt x="542" y="429"/>
                    </a:lnTo>
                    <a:lnTo>
                      <a:pt x="544" y="427"/>
                    </a:lnTo>
                    <a:lnTo>
                      <a:pt x="544" y="429"/>
                    </a:lnTo>
                    <a:lnTo>
                      <a:pt x="542" y="429"/>
                    </a:lnTo>
                    <a:lnTo>
                      <a:pt x="542" y="431"/>
                    </a:lnTo>
                    <a:lnTo>
                      <a:pt x="540" y="431"/>
                    </a:lnTo>
                    <a:lnTo>
                      <a:pt x="542" y="431"/>
                    </a:lnTo>
                    <a:lnTo>
                      <a:pt x="542" y="429"/>
                    </a:lnTo>
                    <a:lnTo>
                      <a:pt x="544" y="429"/>
                    </a:lnTo>
                    <a:lnTo>
                      <a:pt x="546" y="429"/>
                    </a:lnTo>
                    <a:lnTo>
                      <a:pt x="548" y="429"/>
                    </a:lnTo>
                    <a:lnTo>
                      <a:pt x="548" y="431"/>
                    </a:lnTo>
                    <a:lnTo>
                      <a:pt x="548" y="433"/>
                    </a:lnTo>
                    <a:lnTo>
                      <a:pt x="550" y="433"/>
                    </a:lnTo>
                    <a:lnTo>
                      <a:pt x="550" y="435"/>
                    </a:lnTo>
                    <a:lnTo>
                      <a:pt x="550" y="437"/>
                    </a:lnTo>
                    <a:lnTo>
                      <a:pt x="552" y="437"/>
                    </a:lnTo>
                    <a:lnTo>
                      <a:pt x="554" y="439"/>
                    </a:lnTo>
                    <a:lnTo>
                      <a:pt x="555" y="439"/>
                    </a:lnTo>
                    <a:lnTo>
                      <a:pt x="557" y="439"/>
                    </a:lnTo>
                    <a:lnTo>
                      <a:pt x="559" y="440"/>
                    </a:lnTo>
                    <a:lnTo>
                      <a:pt x="561" y="440"/>
                    </a:lnTo>
                    <a:lnTo>
                      <a:pt x="563" y="440"/>
                    </a:lnTo>
                    <a:lnTo>
                      <a:pt x="563" y="442"/>
                    </a:lnTo>
                    <a:lnTo>
                      <a:pt x="565" y="442"/>
                    </a:lnTo>
                    <a:lnTo>
                      <a:pt x="565" y="444"/>
                    </a:lnTo>
                    <a:lnTo>
                      <a:pt x="567" y="444"/>
                    </a:lnTo>
                    <a:lnTo>
                      <a:pt x="567" y="442"/>
                    </a:lnTo>
                    <a:lnTo>
                      <a:pt x="569" y="442"/>
                    </a:lnTo>
                    <a:lnTo>
                      <a:pt x="569" y="444"/>
                    </a:lnTo>
                    <a:lnTo>
                      <a:pt x="569" y="446"/>
                    </a:lnTo>
                    <a:lnTo>
                      <a:pt x="569" y="448"/>
                    </a:lnTo>
                    <a:lnTo>
                      <a:pt x="567" y="448"/>
                    </a:lnTo>
                    <a:lnTo>
                      <a:pt x="565" y="448"/>
                    </a:lnTo>
                    <a:lnTo>
                      <a:pt x="563" y="448"/>
                    </a:lnTo>
                    <a:lnTo>
                      <a:pt x="563" y="450"/>
                    </a:lnTo>
                    <a:lnTo>
                      <a:pt x="565" y="450"/>
                    </a:lnTo>
                    <a:lnTo>
                      <a:pt x="567" y="452"/>
                    </a:lnTo>
                    <a:lnTo>
                      <a:pt x="565" y="452"/>
                    </a:lnTo>
                    <a:lnTo>
                      <a:pt x="565" y="454"/>
                    </a:lnTo>
                    <a:lnTo>
                      <a:pt x="563" y="454"/>
                    </a:lnTo>
                    <a:lnTo>
                      <a:pt x="563" y="456"/>
                    </a:lnTo>
                    <a:lnTo>
                      <a:pt x="563" y="458"/>
                    </a:lnTo>
                    <a:lnTo>
                      <a:pt x="561" y="458"/>
                    </a:lnTo>
                    <a:lnTo>
                      <a:pt x="561" y="460"/>
                    </a:lnTo>
                    <a:lnTo>
                      <a:pt x="559" y="460"/>
                    </a:lnTo>
                    <a:lnTo>
                      <a:pt x="557" y="460"/>
                    </a:lnTo>
                    <a:lnTo>
                      <a:pt x="555" y="462"/>
                    </a:lnTo>
                    <a:lnTo>
                      <a:pt x="557" y="464"/>
                    </a:lnTo>
                    <a:lnTo>
                      <a:pt x="557" y="465"/>
                    </a:lnTo>
                    <a:lnTo>
                      <a:pt x="555" y="465"/>
                    </a:lnTo>
                    <a:lnTo>
                      <a:pt x="554" y="465"/>
                    </a:lnTo>
                    <a:lnTo>
                      <a:pt x="552" y="465"/>
                    </a:lnTo>
                    <a:lnTo>
                      <a:pt x="550" y="467"/>
                    </a:lnTo>
                    <a:lnTo>
                      <a:pt x="550" y="469"/>
                    </a:lnTo>
                    <a:lnTo>
                      <a:pt x="552" y="469"/>
                    </a:lnTo>
                    <a:lnTo>
                      <a:pt x="552" y="471"/>
                    </a:lnTo>
                    <a:lnTo>
                      <a:pt x="554" y="471"/>
                    </a:lnTo>
                    <a:lnTo>
                      <a:pt x="555" y="473"/>
                    </a:lnTo>
                    <a:lnTo>
                      <a:pt x="557" y="471"/>
                    </a:lnTo>
                    <a:lnTo>
                      <a:pt x="559" y="471"/>
                    </a:lnTo>
                    <a:lnTo>
                      <a:pt x="559" y="473"/>
                    </a:lnTo>
                    <a:lnTo>
                      <a:pt x="559" y="475"/>
                    </a:lnTo>
                    <a:lnTo>
                      <a:pt x="561" y="475"/>
                    </a:lnTo>
                    <a:lnTo>
                      <a:pt x="563" y="475"/>
                    </a:lnTo>
                    <a:lnTo>
                      <a:pt x="563" y="477"/>
                    </a:lnTo>
                    <a:lnTo>
                      <a:pt x="563" y="479"/>
                    </a:lnTo>
                    <a:lnTo>
                      <a:pt x="565" y="479"/>
                    </a:lnTo>
                    <a:lnTo>
                      <a:pt x="565" y="481"/>
                    </a:lnTo>
                    <a:lnTo>
                      <a:pt x="567" y="481"/>
                    </a:lnTo>
                    <a:lnTo>
                      <a:pt x="567" y="483"/>
                    </a:lnTo>
                    <a:lnTo>
                      <a:pt x="569" y="483"/>
                    </a:lnTo>
                    <a:lnTo>
                      <a:pt x="569" y="485"/>
                    </a:lnTo>
                    <a:lnTo>
                      <a:pt x="569" y="487"/>
                    </a:lnTo>
                    <a:lnTo>
                      <a:pt x="567" y="487"/>
                    </a:lnTo>
                    <a:lnTo>
                      <a:pt x="567" y="488"/>
                    </a:lnTo>
                    <a:lnTo>
                      <a:pt x="569" y="488"/>
                    </a:lnTo>
                    <a:lnTo>
                      <a:pt x="569" y="490"/>
                    </a:lnTo>
                    <a:lnTo>
                      <a:pt x="571" y="490"/>
                    </a:lnTo>
                    <a:lnTo>
                      <a:pt x="573" y="490"/>
                    </a:lnTo>
                    <a:lnTo>
                      <a:pt x="575" y="490"/>
                    </a:lnTo>
                    <a:lnTo>
                      <a:pt x="577" y="490"/>
                    </a:lnTo>
                    <a:lnTo>
                      <a:pt x="579" y="492"/>
                    </a:lnTo>
                    <a:lnTo>
                      <a:pt x="577" y="492"/>
                    </a:lnTo>
                    <a:lnTo>
                      <a:pt x="579" y="492"/>
                    </a:lnTo>
                    <a:lnTo>
                      <a:pt x="579" y="494"/>
                    </a:lnTo>
                    <a:lnTo>
                      <a:pt x="577" y="494"/>
                    </a:lnTo>
                    <a:lnTo>
                      <a:pt x="577" y="496"/>
                    </a:lnTo>
                    <a:lnTo>
                      <a:pt x="575" y="498"/>
                    </a:lnTo>
                    <a:lnTo>
                      <a:pt x="575" y="500"/>
                    </a:lnTo>
                    <a:lnTo>
                      <a:pt x="577" y="500"/>
                    </a:lnTo>
                    <a:lnTo>
                      <a:pt x="577" y="502"/>
                    </a:lnTo>
                    <a:lnTo>
                      <a:pt x="579" y="502"/>
                    </a:lnTo>
                    <a:lnTo>
                      <a:pt x="580" y="502"/>
                    </a:lnTo>
                    <a:lnTo>
                      <a:pt x="579" y="502"/>
                    </a:lnTo>
                    <a:lnTo>
                      <a:pt x="577" y="504"/>
                    </a:lnTo>
                    <a:lnTo>
                      <a:pt x="575" y="504"/>
                    </a:lnTo>
                    <a:lnTo>
                      <a:pt x="575" y="506"/>
                    </a:lnTo>
                    <a:lnTo>
                      <a:pt x="577" y="506"/>
                    </a:lnTo>
                    <a:lnTo>
                      <a:pt x="579" y="506"/>
                    </a:lnTo>
                    <a:lnTo>
                      <a:pt x="579" y="504"/>
                    </a:lnTo>
                    <a:lnTo>
                      <a:pt x="580" y="504"/>
                    </a:lnTo>
                    <a:lnTo>
                      <a:pt x="580" y="506"/>
                    </a:lnTo>
                    <a:lnTo>
                      <a:pt x="580" y="508"/>
                    </a:lnTo>
                    <a:lnTo>
                      <a:pt x="580" y="510"/>
                    </a:lnTo>
                    <a:lnTo>
                      <a:pt x="582" y="510"/>
                    </a:lnTo>
                    <a:lnTo>
                      <a:pt x="582" y="512"/>
                    </a:lnTo>
                    <a:lnTo>
                      <a:pt x="584" y="513"/>
                    </a:lnTo>
                    <a:lnTo>
                      <a:pt x="584" y="512"/>
                    </a:lnTo>
                    <a:lnTo>
                      <a:pt x="586" y="512"/>
                    </a:lnTo>
                    <a:lnTo>
                      <a:pt x="586" y="513"/>
                    </a:lnTo>
                    <a:lnTo>
                      <a:pt x="584" y="513"/>
                    </a:lnTo>
                    <a:lnTo>
                      <a:pt x="584" y="515"/>
                    </a:lnTo>
                    <a:lnTo>
                      <a:pt x="586" y="515"/>
                    </a:lnTo>
                    <a:lnTo>
                      <a:pt x="584" y="515"/>
                    </a:lnTo>
                    <a:lnTo>
                      <a:pt x="584" y="517"/>
                    </a:lnTo>
                    <a:lnTo>
                      <a:pt x="584" y="515"/>
                    </a:lnTo>
                    <a:lnTo>
                      <a:pt x="582" y="515"/>
                    </a:lnTo>
                    <a:lnTo>
                      <a:pt x="580" y="515"/>
                    </a:lnTo>
                    <a:lnTo>
                      <a:pt x="580" y="517"/>
                    </a:lnTo>
                    <a:lnTo>
                      <a:pt x="582" y="517"/>
                    </a:lnTo>
                    <a:lnTo>
                      <a:pt x="580" y="517"/>
                    </a:lnTo>
                    <a:lnTo>
                      <a:pt x="580" y="519"/>
                    </a:lnTo>
                    <a:lnTo>
                      <a:pt x="579" y="517"/>
                    </a:lnTo>
                    <a:lnTo>
                      <a:pt x="579" y="519"/>
                    </a:lnTo>
                    <a:lnTo>
                      <a:pt x="579" y="521"/>
                    </a:lnTo>
                    <a:lnTo>
                      <a:pt x="579" y="519"/>
                    </a:lnTo>
                    <a:lnTo>
                      <a:pt x="577" y="519"/>
                    </a:lnTo>
                    <a:lnTo>
                      <a:pt x="577" y="521"/>
                    </a:lnTo>
                    <a:lnTo>
                      <a:pt x="575" y="521"/>
                    </a:lnTo>
                    <a:lnTo>
                      <a:pt x="575" y="523"/>
                    </a:lnTo>
                    <a:lnTo>
                      <a:pt x="575" y="525"/>
                    </a:lnTo>
                    <a:lnTo>
                      <a:pt x="573" y="525"/>
                    </a:lnTo>
                    <a:lnTo>
                      <a:pt x="571" y="525"/>
                    </a:lnTo>
                    <a:lnTo>
                      <a:pt x="571" y="527"/>
                    </a:lnTo>
                    <a:lnTo>
                      <a:pt x="573" y="529"/>
                    </a:lnTo>
                    <a:lnTo>
                      <a:pt x="571" y="529"/>
                    </a:lnTo>
                    <a:lnTo>
                      <a:pt x="571" y="531"/>
                    </a:lnTo>
                    <a:lnTo>
                      <a:pt x="571" y="533"/>
                    </a:lnTo>
                    <a:lnTo>
                      <a:pt x="573" y="533"/>
                    </a:lnTo>
                    <a:lnTo>
                      <a:pt x="573" y="535"/>
                    </a:lnTo>
                    <a:lnTo>
                      <a:pt x="571" y="535"/>
                    </a:lnTo>
                    <a:lnTo>
                      <a:pt x="571" y="537"/>
                    </a:lnTo>
                    <a:lnTo>
                      <a:pt x="571" y="538"/>
                    </a:lnTo>
                    <a:lnTo>
                      <a:pt x="569" y="538"/>
                    </a:lnTo>
                    <a:lnTo>
                      <a:pt x="569" y="537"/>
                    </a:lnTo>
                    <a:lnTo>
                      <a:pt x="569" y="538"/>
                    </a:lnTo>
                    <a:lnTo>
                      <a:pt x="567" y="538"/>
                    </a:lnTo>
                    <a:lnTo>
                      <a:pt x="569" y="538"/>
                    </a:lnTo>
                    <a:lnTo>
                      <a:pt x="569" y="540"/>
                    </a:lnTo>
                    <a:lnTo>
                      <a:pt x="567" y="540"/>
                    </a:lnTo>
                    <a:lnTo>
                      <a:pt x="569" y="540"/>
                    </a:lnTo>
                    <a:lnTo>
                      <a:pt x="569" y="542"/>
                    </a:lnTo>
                    <a:lnTo>
                      <a:pt x="571" y="542"/>
                    </a:lnTo>
                    <a:lnTo>
                      <a:pt x="571" y="544"/>
                    </a:lnTo>
                    <a:lnTo>
                      <a:pt x="573" y="544"/>
                    </a:lnTo>
                    <a:lnTo>
                      <a:pt x="575" y="544"/>
                    </a:lnTo>
                    <a:lnTo>
                      <a:pt x="573" y="546"/>
                    </a:lnTo>
                    <a:lnTo>
                      <a:pt x="573" y="544"/>
                    </a:lnTo>
                    <a:lnTo>
                      <a:pt x="571" y="544"/>
                    </a:lnTo>
                    <a:lnTo>
                      <a:pt x="571" y="546"/>
                    </a:lnTo>
                    <a:lnTo>
                      <a:pt x="573" y="546"/>
                    </a:lnTo>
                    <a:lnTo>
                      <a:pt x="573" y="548"/>
                    </a:lnTo>
                    <a:lnTo>
                      <a:pt x="573" y="550"/>
                    </a:lnTo>
                    <a:lnTo>
                      <a:pt x="575" y="550"/>
                    </a:lnTo>
                    <a:lnTo>
                      <a:pt x="575" y="552"/>
                    </a:lnTo>
                    <a:lnTo>
                      <a:pt x="577" y="552"/>
                    </a:lnTo>
                    <a:lnTo>
                      <a:pt x="579" y="552"/>
                    </a:lnTo>
                    <a:lnTo>
                      <a:pt x="577" y="552"/>
                    </a:lnTo>
                    <a:lnTo>
                      <a:pt x="579" y="552"/>
                    </a:lnTo>
                    <a:lnTo>
                      <a:pt x="579" y="554"/>
                    </a:lnTo>
                    <a:lnTo>
                      <a:pt x="580" y="554"/>
                    </a:lnTo>
                    <a:lnTo>
                      <a:pt x="580" y="552"/>
                    </a:lnTo>
                    <a:lnTo>
                      <a:pt x="582" y="552"/>
                    </a:lnTo>
                    <a:lnTo>
                      <a:pt x="582" y="554"/>
                    </a:lnTo>
                    <a:lnTo>
                      <a:pt x="582" y="556"/>
                    </a:lnTo>
                    <a:lnTo>
                      <a:pt x="584" y="556"/>
                    </a:lnTo>
                    <a:lnTo>
                      <a:pt x="586" y="556"/>
                    </a:lnTo>
                    <a:lnTo>
                      <a:pt x="586" y="558"/>
                    </a:lnTo>
                    <a:lnTo>
                      <a:pt x="584" y="558"/>
                    </a:lnTo>
                    <a:lnTo>
                      <a:pt x="582" y="558"/>
                    </a:lnTo>
                    <a:lnTo>
                      <a:pt x="582" y="560"/>
                    </a:lnTo>
                    <a:lnTo>
                      <a:pt x="584" y="560"/>
                    </a:lnTo>
                    <a:lnTo>
                      <a:pt x="584" y="562"/>
                    </a:lnTo>
                    <a:lnTo>
                      <a:pt x="586" y="562"/>
                    </a:lnTo>
                    <a:lnTo>
                      <a:pt x="586" y="563"/>
                    </a:lnTo>
                    <a:lnTo>
                      <a:pt x="586" y="565"/>
                    </a:lnTo>
                    <a:lnTo>
                      <a:pt x="588" y="565"/>
                    </a:lnTo>
                    <a:lnTo>
                      <a:pt x="590" y="567"/>
                    </a:lnTo>
                    <a:lnTo>
                      <a:pt x="588" y="565"/>
                    </a:lnTo>
                    <a:lnTo>
                      <a:pt x="586" y="565"/>
                    </a:lnTo>
                    <a:lnTo>
                      <a:pt x="586" y="563"/>
                    </a:lnTo>
                    <a:lnTo>
                      <a:pt x="586" y="562"/>
                    </a:lnTo>
                    <a:lnTo>
                      <a:pt x="584" y="562"/>
                    </a:lnTo>
                    <a:lnTo>
                      <a:pt x="584" y="560"/>
                    </a:lnTo>
                    <a:lnTo>
                      <a:pt x="582" y="560"/>
                    </a:lnTo>
                    <a:lnTo>
                      <a:pt x="582" y="558"/>
                    </a:lnTo>
                    <a:lnTo>
                      <a:pt x="584" y="558"/>
                    </a:lnTo>
                    <a:lnTo>
                      <a:pt x="586" y="558"/>
                    </a:lnTo>
                    <a:lnTo>
                      <a:pt x="586" y="556"/>
                    </a:lnTo>
                    <a:lnTo>
                      <a:pt x="584" y="556"/>
                    </a:lnTo>
                    <a:lnTo>
                      <a:pt x="582" y="556"/>
                    </a:lnTo>
                    <a:lnTo>
                      <a:pt x="582" y="554"/>
                    </a:lnTo>
                    <a:lnTo>
                      <a:pt x="582" y="552"/>
                    </a:lnTo>
                    <a:lnTo>
                      <a:pt x="580" y="552"/>
                    </a:lnTo>
                    <a:lnTo>
                      <a:pt x="580" y="554"/>
                    </a:lnTo>
                    <a:lnTo>
                      <a:pt x="579" y="554"/>
                    </a:lnTo>
                    <a:lnTo>
                      <a:pt x="579" y="552"/>
                    </a:lnTo>
                    <a:lnTo>
                      <a:pt x="577" y="552"/>
                    </a:lnTo>
                    <a:lnTo>
                      <a:pt x="575" y="552"/>
                    </a:lnTo>
                    <a:lnTo>
                      <a:pt x="575" y="550"/>
                    </a:lnTo>
                    <a:lnTo>
                      <a:pt x="573" y="550"/>
                    </a:lnTo>
                    <a:lnTo>
                      <a:pt x="573" y="548"/>
                    </a:lnTo>
                    <a:lnTo>
                      <a:pt x="573" y="546"/>
                    </a:lnTo>
                    <a:lnTo>
                      <a:pt x="571" y="546"/>
                    </a:lnTo>
                    <a:lnTo>
                      <a:pt x="571" y="544"/>
                    </a:lnTo>
                    <a:lnTo>
                      <a:pt x="573" y="544"/>
                    </a:lnTo>
                    <a:lnTo>
                      <a:pt x="573" y="546"/>
                    </a:lnTo>
                    <a:lnTo>
                      <a:pt x="575" y="546"/>
                    </a:lnTo>
                    <a:lnTo>
                      <a:pt x="575" y="544"/>
                    </a:lnTo>
                    <a:lnTo>
                      <a:pt x="573" y="544"/>
                    </a:lnTo>
                    <a:lnTo>
                      <a:pt x="571" y="544"/>
                    </a:lnTo>
                    <a:lnTo>
                      <a:pt x="573" y="544"/>
                    </a:lnTo>
                    <a:lnTo>
                      <a:pt x="571" y="544"/>
                    </a:lnTo>
                    <a:lnTo>
                      <a:pt x="571" y="542"/>
                    </a:lnTo>
                    <a:lnTo>
                      <a:pt x="569" y="542"/>
                    </a:lnTo>
                    <a:lnTo>
                      <a:pt x="569" y="540"/>
                    </a:lnTo>
                    <a:lnTo>
                      <a:pt x="569" y="538"/>
                    </a:lnTo>
                    <a:lnTo>
                      <a:pt x="567" y="538"/>
                    </a:lnTo>
                    <a:lnTo>
                      <a:pt x="569" y="538"/>
                    </a:lnTo>
                    <a:lnTo>
                      <a:pt x="571" y="538"/>
                    </a:lnTo>
                    <a:lnTo>
                      <a:pt x="571" y="537"/>
                    </a:lnTo>
                    <a:lnTo>
                      <a:pt x="571" y="535"/>
                    </a:lnTo>
                    <a:lnTo>
                      <a:pt x="573" y="535"/>
                    </a:lnTo>
                    <a:lnTo>
                      <a:pt x="573" y="533"/>
                    </a:lnTo>
                    <a:lnTo>
                      <a:pt x="571" y="533"/>
                    </a:lnTo>
                    <a:lnTo>
                      <a:pt x="571" y="531"/>
                    </a:lnTo>
                    <a:lnTo>
                      <a:pt x="571" y="529"/>
                    </a:lnTo>
                    <a:lnTo>
                      <a:pt x="573" y="529"/>
                    </a:lnTo>
                    <a:lnTo>
                      <a:pt x="573" y="527"/>
                    </a:lnTo>
                    <a:lnTo>
                      <a:pt x="571" y="527"/>
                    </a:lnTo>
                    <a:lnTo>
                      <a:pt x="571" y="525"/>
                    </a:lnTo>
                    <a:lnTo>
                      <a:pt x="573" y="525"/>
                    </a:lnTo>
                    <a:lnTo>
                      <a:pt x="575" y="525"/>
                    </a:lnTo>
                    <a:lnTo>
                      <a:pt x="575" y="523"/>
                    </a:lnTo>
                    <a:lnTo>
                      <a:pt x="575" y="521"/>
                    </a:lnTo>
                    <a:lnTo>
                      <a:pt x="577" y="521"/>
                    </a:lnTo>
                    <a:lnTo>
                      <a:pt x="577" y="519"/>
                    </a:lnTo>
                    <a:lnTo>
                      <a:pt x="579" y="519"/>
                    </a:lnTo>
                    <a:lnTo>
                      <a:pt x="579" y="521"/>
                    </a:lnTo>
                    <a:lnTo>
                      <a:pt x="579" y="519"/>
                    </a:lnTo>
                    <a:lnTo>
                      <a:pt x="579" y="517"/>
                    </a:lnTo>
                    <a:lnTo>
                      <a:pt x="579" y="519"/>
                    </a:lnTo>
                    <a:lnTo>
                      <a:pt x="580" y="519"/>
                    </a:lnTo>
                    <a:lnTo>
                      <a:pt x="582" y="517"/>
                    </a:lnTo>
                    <a:lnTo>
                      <a:pt x="582" y="515"/>
                    </a:lnTo>
                    <a:lnTo>
                      <a:pt x="584" y="515"/>
                    </a:lnTo>
                    <a:lnTo>
                      <a:pt x="584" y="517"/>
                    </a:lnTo>
                    <a:lnTo>
                      <a:pt x="586" y="515"/>
                    </a:lnTo>
                    <a:lnTo>
                      <a:pt x="584" y="515"/>
                    </a:lnTo>
                    <a:lnTo>
                      <a:pt x="584" y="513"/>
                    </a:lnTo>
                    <a:lnTo>
                      <a:pt x="586" y="513"/>
                    </a:lnTo>
                    <a:lnTo>
                      <a:pt x="586" y="512"/>
                    </a:lnTo>
                    <a:lnTo>
                      <a:pt x="584" y="512"/>
                    </a:lnTo>
                    <a:lnTo>
                      <a:pt x="584" y="513"/>
                    </a:lnTo>
                    <a:lnTo>
                      <a:pt x="584" y="512"/>
                    </a:lnTo>
                    <a:lnTo>
                      <a:pt x="582" y="512"/>
                    </a:lnTo>
                    <a:lnTo>
                      <a:pt x="582" y="510"/>
                    </a:lnTo>
                    <a:lnTo>
                      <a:pt x="580" y="510"/>
                    </a:lnTo>
                    <a:lnTo>
                      <a:pt x="582" y="510"/>
                    </a:lnTo>
                    <a:lnTo>
                      <a:pt x="582" y="508"/>
                    </a:lnTo>
                    <a:lnTo>
                      <a:pt x="580" y="508"/>
                    </a:lnTo>
                    <a:lnTo>
                      <a:pt x="580" y="506"/>
                    </a:lnTo>
                    <a:lnTo>
                      <a:pt x="580" y="504"/>
                    </a:lnTo>
                    <a:lnTo>
                      <a:pt x="579" y="504"/>
                    </a:lnTo>
                    <a:lnTo>
                      <a:pt x="579" y="506"/>
                    </a:lnTo>
                    <a:lnTo>
                      <a:pt x="577" y="506"/>
                    </a:lnTo>
                    <a:lnTo>
                      <a:pt x="575" y="504"/>
                    </a:lnTo>
                    <a:lnTo>
                      <a:pt x="577" y="504"/>
                    </a:lnTo>
                    <a:lnTo>
                      <a:pt x="579" y="504"/>
                    </a:lnTo>
                    <a:lnTo>
                      <a:pt x="579" y="502"/>
                    </a:lnTo>
                    <a:lnTo>
                      <a:pt x="580" y="502"/>
                    </a:lnTo>
                    <a:lnTo>
                      <a:pt x="579" y="502"/>
                    </a:lnTo>
                    <a:lnTo>
                      <a:pt x="577" y="502"/>
                    </a:lnTo>
                    <a:lnTo>
                      <a:pt x="577" y="500"/>
                    </a:lnTo>
                    <a:lnTo>
                      <a:pt x="575" y="500"/>
                    </a:lnTo>
                    <a:lnTo>
                      <a:pt x="575" y="498"/>
                    </a:lnTo>
                    <a:lnTo>
                      <a:pt x="577" y="498"/>
                    </a:lnTo>
                    <a:lnTo>
                      <a:pt x="577" y="496"/>
                    </a:lnTo>
                    <a:lnTo>
                      <a:pt x="577" y="494"/>
                    </a:lnTo>
                    <a:lnTo>
                      <a:pt x="579" y="494"/>
                    </a:lnTo>
                    <a:lnTo>
                      <a:pt x="579" y="492"/>
                    </a:lnTo>
                    <a:lnTo>
                      <a:pt x="580" y="492"/>
                    </a:lnTo>
                    <a:lnTo>
                      <a:pt x="580" y="494"/>
                    </a:lnTo>
                    <a:lnTo>
                      <a:pt x="582" y="494"/>
                    </a:lnTo>
                    <a:lnTo>
                      <a:pt x="584" y="494"/>
                    </a:lnTo>
                    <a:lnTo>
                      <a:pt x="586" y="492"/>
                    </a:lnTo>
                    <a:lnTo>
                      <a:pt x="586" y="494"/>
                    </a:lnTo>
                    <a:lnTo>
                      <a:pt x="588" y="494"/>
                    </a:lnTo>
                    <a:lnTo>
                      <a:pt x="586" y="494"/>
                    </a:lnTo>
                    <a:lnTo>
                      <a:pt x="586" y="492"/>
                    </a:lnTo>
                    <a:lnTo>
                      <a:pt x="584" y="492"/>
                    </a:lnTo>
                    <a:lnTo>
                      <a:pt x="584" y="494"/>
                    </a:lnTo>
                    <a:lnTo>
                      <a:pt x="582" y="494"/>
                    </a:lnTo>
                    <a:lnTo>
                      <a:pt x="580" y="494"/>
                    </a:lnTo>
                    <a:lnTo>
                      <a:pt x="580" y="492"/>
                    </a:lnTo>
                    <a:lnTo>
                      <a:pt x="579" y="492"/>
                    </a:lnTo>
                    <a:lnTo>
                      <a:pt x="579" y="490"/>
                    </a:lnTo>
                    <a:lnTo>
                      <a:pt x="577" y="490"/>
                    </a:lnTo>
                    <a:lnTo>
                      <a:pt x="575" y="490"/>
                    </a:lnTo>
                    <a:lnTo>
                      <a:pt x="573" y="490"/>
                    </a:lnTo>
                    <a:lnTo>
                      <a:pt x="571" y="490"/>
                    </a:lnTo>
                    <a:lnTo>
                      <a:pt x="569" y="490"/>
                    </a:lnTo>
                    <a:lnTo>
                      <a:pt x="569" y="488"/>
                    </a:lnTo>
                    <a:lnTo>
                      <a:pt x="567" y="488"/>
                    </a:lnTo>
                    <a:lnTo>
                      <a:pt x="567" y="487"/>
                    </a:lnTo>
                    <a:lnTo>
                      <a:pt x="567" y="488"/>
                    </a:lnTo>
                    <a:lnTo>
                      <a:pt x="567" y="487"/>
                    </a:lnTo>
                    <a:lnTo>
                      <a:pt x="569" y="487"/>
                    </a:lnTo>
                    <a:lnTo>
                      <a:pt x="569" y="485"/>
                    </a:lnTo>
                    <a:lnTo>
                      <a:pt x="569" y="483"/>
                    </a:lnTo>
                    <a:lnTo>
                      <a:pt x="567" y="481"/>
                    </a:lnTo>
                    <a:lnTo>
                      <a:pt x="565" y="479"/>
                    </a:lnTo>
                    <a:lnTo>
                      <a:pt x="563" y="479"/>
                    </a:lnTo>
                    <a:lnTo>
                      <a:pt x="563" y="477"/>
                    </a:lnTo>
                    <a:lnTo>
                      <a:pt x="565" y="477"/>
                    </a:lnTo>
                    <a:lnTo>
                      <a:pt x="563" y="477"/>
                    </a:lnTo>
                    <a:lnTo>
                      <a:pt x="563" y="475"/>
                    </a:lnTo>
                    <a:lnTo>
                      <a:pt x="561" y="475"/>
                    </a:lnTo>
                    <a:lnTo>
                      <a:pt x="559" y="473"/>
                    </a:lnTo>
                    <a:lnTo>
                      <a:pt x="559" y="471"/>
                    </a:lnTo>
                    <a:lnTo>
                      <a:pt x="557" y="471"/>
                    </a:lnTo>
                    <a:lnTo>
                      <a:pt x="555" y="473"/>
                    </a:lnTo>
                    <a:lnTo>
                      <a:pt x="554" y="471"/>
                    </a:lnTo>
                    <a:lnTo>
                      <a:pt x="552" y="471"/>
                    </a:lnTo>
                    <a:lnTo>
                      <a:pt x="552" y="469"/>
                    </a:lnTo>
                    <a:lnTo>
                      <a:pt x="550" y="469"/>
                    </a:lnTo>
                    <a:lnTo>
                      <a:pt x="550" y="467"/>
                    </a:lnTo>
                    <a:lnTo>
                      <a:pt x="552" y="467"/>
                    </a:lnTo>
                    <a:lnTo>
                      <a:pt x="552" y="465"/>
                    </a:lnTo>
                    <a:lnTo>
                      <a:pt x="554" y="465"/>
                    </a:lnTo>
                    <a:lnTo>
                      <a:pt x="555" y="465"/>
                    </a:lnTo>
                    <a:lnTo>
                      <a:pt x="557" y="465"/>
                    </a:lnTo>
                    <a:lnTo>
                      <a:pt x="557" y="464"/>
                    </a:lnTo>
                    <a:lnTo>
                      <a:pt x="555" y="462"/>
                    </a:lnTo>
                    <a:lnTo>
                      <a:pt x="557" y="460"/>
                    </a:lnTo>
                    <a:lnTo>
                      <a:pt x="559" y="460"/>
                    </a:lnTo>
                    <a:lnTo>
                      <a:pt x="561" y="460"/>
                    </a:lnTo>
                    <a:lnTo>
                      <a:pt x="561" y="458"/>
                    </a:lnTo>
                    <a:lnTo>
                      <a:pt x="563" y="458"/>
                    </a:lnTo>
                    <a:lnTo>
                      <a:pt x="563" y="456"/>
                    </a:lnTo>
                    <a:lnTo>
                      <a:pt x="565" y="456"/>
                    </a:lnTo>
                    <a:lnTo>
                      <a:pt x="565" y="454"/>
                    </a:lnTo>
                    <a:lnTo>
                      <a:pt x="567" y="452"/>
                    </a:lnTo>
                    <a:lnTo>
                      <a:pt x="565" y="450"/>
                    </a:lnTo>
                    <a:lnTo>
                      <a:pt x="563" y="450"/>
                    </a:lnTo>
                    <a:lnTo>
                      <a:pt x="563" y="448"/>
                    </a:lnTo>
                    <a:lnTo>
                      <a:pt x="565" y="448"/>
                    </a:lnTo>
                    <a:lnTo>
                      <a:pt x="567" y="450"/>
                    </a:lnTo>
                    <a:lnTo>
                      <a:pt x="567" y="448"/>
                    </a:lnTo>
                    <a:lnTo>
                      <a:pt x="569" y="448"/>
                    </a:lnTo>
                    <a:lnTo>
                      <a:pt x="569" y="446"/>
                    </a:lnTo>
                    <a:lnTo>
                      <a:pt x="569" y="444"/>
                    </a:lnTo>
                    <a:lnTo>
                      <a:pt x="569" y="442"/>
                    </a:lnTo>
                    <a:lnTo>
                      <a:pt x="567" y="442"/>
                    </a:lnTo>
                    <a:lnTo>
                      <a:pt x="567" y="444"/>
                    </a:lnTo>
                    <a:lnTo>
                      <a:pt x="565" y="444"/>
                    </a:lnTo>
                    <a:lnTo>
                      <a:pt x="565" y="442"/>
                    </a:lnTo>
                    <a:lnTo>
                      <a:pt x="563" y="442"/>
                    </a:lnTo>
                    <a:lnTo>
                      <a:pt x="563" y="440"/>
                    </a:lnTo>
                    <a:lnTo>
                      <a:pt x="561" y="440"/>
                    </a:lnTo>
                    <a:lnTo>
                      <a:pt x="559" y="440"/>
                    </a:lnTo>
                    <a:lnTo>
                      <a:pt x="557" y="439"/>
                    </a:lnTo>
                    <a:lnTo>
                      <a:pt x="555" y="439"/>
                    </a:lnTo>
                    <a:lnTo>
                      <a:pt x="554" y="437"/>
                    </a:lnTo>
                    <a:lnTo>
                      <a:pt x="554" y="435"/>
                    </a:lnTo>
                    <a:lnTo>
                      <a:pt x="552" y="435"/>
                    </a:lnTo>
                    <a:lnTo>
                      <a:pt x="552" y="433"/>
                    </a:lnTo>
                    <a:lnTo>
                      <a:pt x="554" y="433"/>
                    </a:lnTo>
                    <a:lnTo>
                      <a:pt x="554" y="431"/>
                    </a:lnTo>
                    <a:lnTo>
                      <a:pt x="552" y="431"/>
                    </a:lnTo>
                    <a:lnTo>
                      <a:pt x="552" y="429"/>
                    </a:lnTo>
                    <a:lnTo>
                      <a:pt x="550" y="429"/>
                    </a:lnTo>
                    <a:lnTo>
                      <a:pt x="548" y="429"/>
                    </a:lnTo>
                    <a:lnTo>
                      <a:pt x="546" y="429"/>
                    </a:lnTo>
                    <a:lnTo>
                      <a:pt x="544" y="429"/>
                    </a:lnTo>
                    <a:lnTo>
                      <a:pt x="544" y="427"/>
                    </a:lnTo>
                    <a:lnTo>
                      <a:pt x="544" y="425"/>
                    </a:lnTo>
                    <a:lnTo>
                      <a:pt x="542" y="423"/>
                    </a:lnTo>
                    <a:lnTo>
                      <a:pt x="542" y="421"/>
                    </a:lnTo>
                    <a:lnTo>
                      <a:pt x="544" y="419"/>
                    </a:lnTo>
                    <a:lnTo>
                      <a:pt x="546" y="419"/>
                    </a:lnTo>
                    <a:lnTo>
                      <a:pt x="548" y="419"/>
                    </a:lnTo>
                    <a:lnTo>
                      <a:pt x="548" y="417"/>
                    </a:lnTo>
                    <a:lnTo>
                      <a:pt x="550" y="417"/>
                    </a:lnTo>
                    <a:lnTo>
                      <a:pt x="552" y="417"/>
                    </a:lnTo>
                    <a:lnTo>
                      <a:pt x="552" y="415"/>
                    </a:lnTo>
                    <a:lnTo>
                      <a:pt x="552" y="414"/>
                    </a:lnTo>
                    <a:lnTo>
                      <a:pt x="554" y="412"/>
                    </a:lnTo>
                    <a:lnTo>
                      <a:pt x="554" y="410"/>
                    </a:lnTo>
                    <a:lnTo>
                      <a:pt x="555" y="410"/>
                    </a:lnTo>
                    <a:lnTo>
                      <a:pt x="555" y="408"/>
                    </a:lnTo>
                    <a:lnTo>
                      <a:pt x="557" y="408"/>
                    </a:lnTo>
                    <a:lnTo>
                      <a:pt x="557" y="406"/>
                    </a:lnTo>
                    <a:lnTo>
                      <a:pt x="557" y="408"/>
                    </a:lnTo>
                    <a:lnTo>
                      <a:pt x="557" y="410"/>
                    </a:lnTo>
                    <a:lnTo>
                      <a:pt x="557" y="408"/>
                    </a:lnTo>
                    <a:lnTo>
                      <a:pt x="559" y="408"/>
                    </a:lnTo>
                    <a:lnTo>
                      <a:pt x="557" y="408"/>
                    </a:lnTo>
                    <a:lnTo>
                      <a:pt x="557" y="406"/>
                    </a:lnTo>
                    <a:lnTo>
                      <a:pt x="559" y="404"/>
                    </a:lnTo>
                    <a:lnTo>
                      <a:pt x="559" y="406"/>
                    </a:lnTo>
                    <a:lnTo>
                      <a:pt x="559" y="404"/>
                    </a:lnTo>
                    <a:lnTo>
                      <a:pt x="561" y="404"/>
                    </a:lnTo>
                    <a:lnTo>
                      <a:pt x="563" y="402"/>
                    </a:lnTo>
                    <a:lnTo>
                      <a:pt x="563" y="400"/>
                    </a:lnTo>
                    <a:lnTo>
                      <a:pt x="563" y="398"/>
                    </a:lnTo>
                    <a:lnTo>
                      <a:pt x="565" y="400"/>
                    </a:lnTo>
                    <a:lnTo>
                      <a:pt x="565" y="398"/>
                    </a:lnTo>
                    <a:lnTo>
                      <a:pt x="563" y="398"/>
                    </a:lnTo>
                    <a:lnTo>
                      <a:pt x="563" y="396"/>
                    </a:lnTo>
                    <a:lnTo>
                      <a:pt x="565" y="396"/>
                    </a:lnTo>
                    <a:lnTo>
                      <a:pt x="567" y="394"/>
                    </a:lnTo>
                    <a:lnTo>
                      <a:pt x="567" y="392"/>
                    </a:lnTo>
                    <a:lnTo>
                      <a:pt x="569" y="392"/>
                    </a:lnTo>
                    <a:lnTo>
                      <a:pt x="571" y="392"/>
                    </a:lnTo>
                    <a:lnTo>
                      <a:pt x="573" y="392"/>
                    </a:lnTo>
                    <a:lnTo>
                      <a:pt x="575" y="392"/>
                    </a:lnTo>
                    <a:lnTo>
                      <a:pt x="577" y="392"/>
                    </a:lnTo>
                    <a:lnTo>
                      <a:pt x="577" y="390"/>
                    </a:lnTo>
                    <a:lnTo>
                      <a:pt x="579" y="390"/>
                    </a:lnTo>
                    <a:lnTo>
                      <a:pt x="579" y="392"/>
                    </a:lnTo>
                    <a:lnTo>
                      <a:pt x="580" y="392"/>
                    </a:lnTo>
                    <a:lnTo>
                      <a:pt x="580" y="394"/>
                    </a:lnTo>
                    <a:lnTo>
                      <a:pt x="582" y="394"/>
                    </a:lnTo>
                    <a:lnTo>
                      <a:pt x="582" y="396"/>
                    </a:lnTo>
                    <a:lnTo>
                      <a:pt x="584" y="396"/>
                    </a:lnTo>
                    <a:lnTo>
                      <a:pt x="584" y="394"/>
                    </a:lnTo>
                    <a:lnTo>
                      <a:pt x="584" y="396"/>
                    </a:lnTo>
                    <a:lnTo>
                      <a:pt x="586" y="396"/>
                    </a:lnTo>
                    <a:lnTo>
                      <a:pt x="588" y="396"/>
                    </a:lnTo>
                    <a:lnTo>
                      <a:pt x="590" y="396"/>
                    </a:lnTo>
                    <a:lnTo>
                      <a:pt x="588" y="396"/>
                    </a:lnTo>
                    <a:lnTo>
                      <a:pt x="586" y="396"/>
                    </a:lnTo>
                    <a:lnTo>
                      <a:pt x="584" y="396"/>
                    </a:lnTo>
                    <a:lnTo>
                      <a:pt x="584" y="394"/>
                    </a:lnTo>
                    <a:lnTo>
                      <a:pt x="584" y="396"/>
                    </a:lnTo>
                    <a:lnTo>
                      <a:pt x="582" y="396"/>
                    </a:lnTo>
                    <a:lnTo>
                      <a:pt x="582" y="394"/>
                    </a:lnTo>
                    <a:lnTo>
                      <a:pt x="580" y="394"/>
                    </a:lnTo>
                    <a:lnTo>
                      <a:pt x="582" y="392"/>
                    </a:lnTo>
                    <a:lnTo>
                      <a:pt x="580" y="394"/>
                    </a:lnTo>
                    <a:lnTo>
                      <a:pt x="580" y="392"/>
                    </a:lnTo>
                    <a:lnTo>
                      <a:pt x="579" y="392"/>
                    </a:lnTo>
                    <a:lnTo>
                      <a:pt x="580" y="392"/>
                    </a:lnTo>
                    <a:lnTo>
                      <a:pt x="580" y="390"/>
                    </a:lnTo>
                    <a:lnTo>
                      <a:pt x="582" y="390"/>
                    </a:lnTo>
                    <a:lnTo>
                      <a:pt x="582" y="389"/>
                    </a:lnTo>
                    <a:lnTo>
                      <a:pt x="584" y="389"/>
                    </a:lnTo>
                    <a:lnTo>
                      <a:pt x="586" y="389"/>
                    </a:lnTo>
                    <a:lnTo>
                      <a:pt x="586" y="387"/>
                    </a:lnTo>
                    <a:lnTo>
                      <a:pt x="588" y="387"/>
                    </a:lnTo>
                    <a:lnTo>
                      <a:pt x="586" y="387"/>
                    </a:lnTo>
                    <a:lnTo>
                      <a:pt x="588" y="387"/>
                    </a:lnTo>
                    <a:lnTo>
                      <a:pt x="586" y="387"/>
                    </a:lnTo>
                    <a:lnTo>
                      <a:pt x="588" y="387"/>
                    </a:lnTo>
                    <a:lnTo>
                      <a:pt x="590" y="387"/>
                    </a:lnTo>
                    <a:lnTo>
                      <a:pt x="592" y="385"/>
                    </a:lnTo>
                    <a:lnTo>
                      <a:pt x="594" y="385"/>
                    </a:lnTo>
                    <a:lnTo>
                      <a:pt x="594" y="387"/>
                    </a:lnTo>
                    <a:lnTo>
                      <a:pt x="592" y="387"/>
                    </a:lnTo>
                    <a:lnTo>
                      <a:pt x="594" y="387"/>
                    </a:lnTo>
                    <a:lnTo>
                      <a:pt x="594" y="385"/>
                    </a:lnTo>
                    <a:lnTo>
                      <a:pt x="596" y="385"/>
                    </a:lnTo>
                    <a:lnTo>
                      <a:pt x="598" y="385"/>
                    </a:lnTo>
                    <a:lnTo>
                      <a:pt x="598" y="383"/>
                    </a:lnTo>
                    <a:lnTo>
                      <a:pt x="598" y="381"/>
                    </a:lnTo>
                    <a:lnTo>
                      <a:pt x="598" y="379"/>
                    </a:lnTo>
                    <a:lnTo>
                      <a:pt x="598" y="381"/>
                    </a:lnTo>
                    <a:lnTo>
                      <a:pt x="598" y="379"/>
                    </a:lnTo>
                    <a:lnTo>
                      <a:pt x="598" y="377"/>
                    </a:lnTo>
                    <a:lnTo>
                      <a:pt x="600" y="377"/>
                    </a:lnTo>
                    <a:lnTo>
                      <a:pt x="602" y="375"/>
                    </a:lnTo>
                    <a:lnTo>
                      <a:pt x="604" y="375"/>
                    </a:lnTo>
                    <a:lnTo>
                      <a:pt x="604" y="373"/>
                    </a:lnTo>
                    <a:lnTo>
                      <a:pt x="605" y="373"/>
                    </a:lnTo>
                    <a:lnTo>
                      <a:pt x="604" y="373"/>
                    </a:lnTo>
                    <a:lnTo>
                      <a:pt x="605" y="373"/>
                    </a:lnTo>
                    <a:lnTo>
                      <a:pt x="605" y="375"/>
                    </a:lnTo>
                    <a:lnTo>
                      <a:pt x="605" y="373"/>
                    </a:lnTo>
                    <a:lnTo>
                      <a:pt x="607" y="373"/>
                    </a:lnTo>
                    <a:lnTo>
                      <a:pt x="605" y="373"/>
                    </a:lnTo>
                    <a:lnTo>
                      <a:pt x="607" y="373"/>
                    </a:lnTo>
                    <a:lnTo>
                      <a:pt x="605" y="373"/>
                    </a:lnTo>
                    <a:lnTo>
                      <a:pt x="607" y="373"/>
                    </a:lnTo>
                    <a:lnTo>
                      <a:pt x="605" y="373"/>
                    </a:lnTo>
                    <a:lnTo>
                      <a:pt x="605" y="371"/>
                    </a:lnTo>
                    <a:lnTo>
                      <a:pt x="607" y="371"/>
                    </a:lnTo>
                    <a:lnTo>
                      <a:pt x="605" y="371"/>
                    </a:lnTo>
                    <a:lnTo>
                      <a:pt x="607" y="371"/>
                    </a:lnTo>
                    <a:lnTo>
                      <a:pt x="605" y="371"/>
                    </a:lnTo>
                    <a:lnTo>
                      <a:pt x="605" y="369"/>
                    </a:lnTo>
                    <a:lnTo>
                      <a:pt x="607" y="369"/>
                    </a:lnTo>
                    <a:lnTo>
                      <a:pt x="609" y="369"/>
                    </a:lnTo>
                    <a:lnTo>
                      <a:pt x="611" y="369"/>
                    </a:lnTo>
                    <a:lnTo>
                      <a:pt x="613" y="369"/>
                    </a:lnTo>
                    <a:lnTo>
                      <a:pt x="615" y="369"/>
                    </a:lnTo>
                    <a:lnTo>
                      <a:pt x="615" y="367"/>
                    </a:lnTo>
                    <a:lnTo>
                      <a:pt x="617" y="367"/>
                    </a:lnTo>
                    <a:lnTo>
                      <a:pt x="617" y="365"/>
                    </a:lnTo>
                    <a:lnTo>
                      <a:pt x="619" y="365"/>
                    </a:lnTo>
                    <a:lnTo>
                      <a:pt x="619" y="364"/>
                    </a:lnTo>
                    <a:lnTo>
                      <a:pt x="621" y="364"/>
                    </a:lnTo>
                    <a:lnTo>
                      <a:pt x="621" y="362"/>
                    </a:lnTo>
                    <a:lnTo>
                      <a:pt x="621" y="364"/>
                    </a:lnTo>
                    <a:lnTo>
                      <a:pt x="623" y="364"/>
                    </a:lnTo>
                    <a:lnTo>
                      <a:pt x="625" y="364"/>
                    </a:lnTo>
                    <a:lnTo>
                      <a:pt x="627" y="364"/>
                    </a:lnTo>
                    <a:lnTo>
                      <a:pt x="627" y="365"/>
                    </a:lnTo>
                    <a:lnTo>
                      <a:pt x="627" y="367"/>
                    </a:lnTo>
                    <a:lnTo>
                      <a:pt x="628" y="367"/>
                    </a:lnTo>
                    <a:lnTo>
                      <a:pt x="627" y="367"/>
                    </a:lnTo>
                    <a:lnTo>
                      <a:pt x="628" y="367"/>
                    </a:lnTo>
                    <a:lnTo>
                      <a:pt x="628" y="369"/>
                    </a:lnTo>
                    <a:lnTo>
                      <a:pt x="630" y="369"/>
                    </a:lnTo>
                    <a:lnTo>
                      <a:pt x="628" y="369"/>
                    </a:lnTo>
                    <a:lnTo>
                      <a:pt x="630" y="369"/>
                    </a:lnTo>
                    <a:lnTo>
                      <a:pt x="628" y="369"/>
                    </a:lnTo>
                    <a:lnTo>
                      <a:pt x="628" y="367"/>
                    </a:lnTo>
                    <a:lnTo>
                      <a:pt x="627" y="367"/>
                    </a:lnTo>
                    <a:lnTo>
                      <a:pt x="628" y="367"/>
                    </a:lnTo>
                    <a:lnTo>
                      <a:pt x="627" y="367"/>
                    </a:lnTo>
                    <a:lnTo>
                      <a:pt x="627" y="365"/>
                    </a:lnTo>
                    <a:lnTo>
                      <a:pt x="627" y="364"/>
                    </a:lnTo>
                    <a:lnTo>
                      <a:pt x="625" y="364"/>
                    </a:lnTo>
                    <a:lnTo>
                      <a:pt x="623" y="364"/>
                    </a:lnTo>
                    <a:lnTo>
                      <a:pt x="621" y="364"/>
                    </a:lnTo>
                    <a:lnTo>
                      <a:pt x="621" y="362"/>
                    </a:lnTo>
                    <a:lnTo>
                      <a:pt x="623" y="362"/>
                    </a:lnTo>
                    <a:lnTo>
                      <a:pt x="623" y="360"/>
                    </a:lnTo>
                    <a:lnTo>
                      <a:pt x="623" y="358"/>
                    </a:lnTo>
                    <a:lnTo>
                      <a:pt x="625" y="358"/>
                    </a:lnTo>
                    <a:lnTo>
                      <a:pt x="627" y="360"/>
                    </a:lnTo>
                    <a:lnTo>
                      <a:pt x="628" y="360"/>
                    </a:lnTo>
                    <a:lnTo>
                      <a:pt x="630" y="360"/>
                    </a:lnTo>
                    <a:lnTo>
                      <a:pt x="632" y="360"/>
                    </a:lnTo>
                    <a:lnTo>
                      <a:pt x="632" y="362"/>
                    </a:lnTo>
                    <a:lnTo>
                      <a:pt x="632" y="360"/>
                    </a:lnTo>
                    <a:lnTo>
                      <a:pt x="634" y="360"/>
                    </a:lnTo>
                    <a:lnTo>
                      <a:pt x="636" y="360"/>
                    </a:lnTo>
                    <a:lnTo>
                      <a:pt x="636" y="362"/>
                    </a:lnTo>
                    <a:lnTo>
                      <a:pt x="638" y="362"/>
                    </a:lnTo>
                    <a:lnTo>
                      <a:pt x="640" y="362"/>
                    </a:lnTo>
                    <a:lnTo>
                      <a:pt x="642" y="362"/>
                    </a:lnTo>
                    <a:lnTo>
                      <a:pt x="644" y="362"/>
                    </a:lnTo>
                    <a:lnTo>
                      <a:pt x="646" y="362"/>
                    </a:lnTo>
                    <a:lnTo>
                      <a:pt x="648" y="362"/>
                    </a:lnTo>
                    <a:lnTo>
                      <a:pt x="650" y="362"/>
                    </a:lnTo>
                    <a:lnTo>
                      <a:pt x="650" y="360"/>
                    </a:lnTo>
                    <a:lnTo>
                      <a:pt x="652" y="360"/>
                    </a:lnTo>
                    <a:lnTo>
                      <a:pt x="653" y="360"/>
                    </a:lnTo>
                    <a:lnTo>
                      <a:pt x="655" y="360"/>
                    </a:lnTo>
                    <a:lnTo>
                      <a:pt x="657" y="360"/>
                    </a:lnTo>
                    <a:lnTo>
                      <a:pt x="657" y="362"/>
                    </a:lnTo>
                    <a:lnTo>
                      <a:pt x="659" y="362"/>
                    </a:lnTo>
                    <a:lnTo>
                      <a:pt x="661" y="362"/>
                    </a:lnTo>
                    <a:lnTo>
                      <a:pt x="661" y="364"/>
                    </a:lnTo>
                    <a:lnTo>
                      <a:pt x="663" y="364"/>
                    </a:lnTo>
                    <a:lnTo>
                      <a:pt x="665" y="364"/>
                    </a:lnTo>
                    <a:lnTo>
                      <a:pt x="667" y="362"/>
                    </a:lnTo>
                    <a:lnTo>
                      <a:pt x="667" y="364"/>
                    </a:lnTo>
                    <a:lnTo>
                      <a:pt x="669" y="364"/>
                    </a:lnTo>
                    <a:lnTo>
                      <a:pt x="669" y="365"/>
                    </a:lnTo>
                    <a:lnTo>
                      <a:pt x="669" y="364"/>
                    </a:lnTo>
                    <a:lnTo>
                      <a:pt x="671" y="364"/>
                    </a:lnTo>
                    <a:lnTo>
                      <a:pt x="671" y="365"/>
                    </a:lnTo>
                    <a:lnTo>
                      <a:pt x="673" y="365"/>
                    </a:lnTo>
                    <a:lnTo>
                      <a:pt x="671" y="365"/>
                    </a:lnTo>
                    <a:lnTo>
                      <a:pt x="673" y="365"/>
                    </a:lnTo>
                    <a:lnTo>
                      <a:pt x="673" y="367"/>
                    </a:lnTo>
                    <a:lnTo>
                      <a:pt x="673" y="365"/>
                    </a:lnTo>
                    <a:lnTo>
                      <a:pt x="673" y="367"/>
                    </a:lnTo>
                    <a:lnTo>
                      <a:pt x="673" y="365"/>
                    </a:lnTo>
                    <a:lnTo>
                      <a:pt x="673" y="367"/>
                    </a:lnTo>
                    <a:lnTo>
                      <a:pt x="673" y="365"/>
                    </a:lnTo>
                    <a:lnTo>
                      <a:pt x="673" y="364"/>
                    </a:lnTo>
                    <a:lnTo>
                      <a:pt x="671" y="364"/>
                    </a:lnTo>
                    <a:lnTo>
                      <a:pt x="669" y="364"/>
                    </a:lnTo>
                    <a:lnTo>
                      <a:pt x="669" y="362"/>
                    </a:lnTo>
                    <a:lnTo>
                      <a:pt x="667" y="362"/>
                    </a:lnTo>
                    <a:lnTo>
                      <a:pt x="665" y="362"/>
                    </a:lnTo>
                    <a:lnTo>
                      <a:pt x="665" y="364"/>
                    </a:lnTo>
                    <a:lnTo>
                      <a:pt x="663" y="364"/>
                    </a:lnTo>
                    <a:lnTo>
                      <a:pt x="663" y="362"/>
                    </a:lnTo>
                    <a:lnTo>
                      <a:pt x="661" y="362"/>
                    </a:lnTo>
                    <a:lnTo>
                      <a:pt x="659" y="360"/>
                    </a:lnTo>
                    <a:lnTo>
                      <a:pt x="659" y="362"/>
                    </a:lnTo>
                    <a:lnTo>
                      <a:pt x="657" y="362"/>
                    </a:lnTo>
                    <a:lnTo>
                      <a:pt x="657" y="360"/>
                    </a:lnTo>
                    <a:lnTo>
                      <a:pt x="655" y="360"/>
                    </a:lnTo>
                    <a:lnTo>
                      <a:pt x="653" y="360"/>
                    </a:lnTo>
                    <a:lnTo>
                      <a:pt x="653" y="358"/>
                    </a:lnTo>
                    <a:lnTo>
                      <a:pt x="652" y="358"/>
                    </a:lnTo>
                    <a:lnTo>
                      <a:pt x="650" y="360"/>
                    </a:lnTo>
                    <a:lnTo>
                      <a:pt x="650" y="362"/>
                    </a:lnTo>
                    <a:lnTo>
                      <a:pt x="648" y="362"/>
                    </a:lnTo>
                    <a:lnTo>
                      <a:pt x="646" y="362"/>
                    </a:lnTo>
                    <a:lnTo>
                      <a:pt x="648" y="362"/>
                    </a:lnTo>
                    <a:lnTo>
                      <a:pt x="646" y="362"/>
                    </a:lnTo>
                    <a:lnTo>
                      <a:pt x="646" y="360"/>
                    </a:lnTo>
                    <a:lnTo>
                      <a:pt x="648" y="360"/>
                    </a:lnTo>
                    <a:lnTo>
                      <a:pt x="648" y="362"/>
                    </a:lnTo>
                    <a:lnTo>
                      <a:pt x="648" y="360"/>
                    </a:lnTo>
                    <a:lnTo>
                      <a:pt x="648" y="362"/>
                    </a:lnTo>
                    <a:lnTo>
                      <a:pt x="648" y="360"/>
                    </a:lnTo>
                    <a:lnTo>
                      <a:pt x="646" y="360"/>
                    </a:lnTo>
                    <a:lnTo>
                      <a:pt x="644" y="360"/>
                    </a:lnTo>
                    <a:lnTo>
                      <a:pt x="644" y="358"/>
                    </a:lnTo>
                    <a:lnTo>
                      <a:pt x="646" y="358"/>
                    </a:lnTo>
                    <a:lnTo>
                      <a:pt x="646" y="360"/>
                    </a:lnTo>
                    <a:lnTo>
                      <a:pt x="646" y="358"/>
                    </a:lnTo>
                    <a:lnTo>
                      <a:pt x="644" y="358"/>
                    </a:lnTo>
                    <a:lnTo>
                      <a:pt x="642" y="360"/>
                    </a:lnTo>
                    <a:lnTo>
                      <a:pt x="640" y="360"/>
                    </a:lnTo>
                    <a:lnTo>
                      <a:pt x="638" y="360"/>
                    </a:lnTo>
                    <a:lnTo>
                      <a:pt x="638" y="358"/>
                    </a:lnTo>
                    <a:lnTo>
                      <a:pt x="640" y="358"/>
                    </a:lnTo>
                    <a:lnTo>
                      <a:pt x="638" y="358"/>
                    </a:lnTo>
                    <a:lnTo>
                      <a:pt x="638" y="360"/>
                    </a:lnTo>
                    <a:lnTo>
                      <a:pt x="636" y="360"/>
                    </a:lnTo>
                    <a:lnTo>
                      <a:pt x="636" y="358"/>
                    </a:lnTo>
                    <a:lnTo>
                      <a:pt x="634" y="358"/>
                    </a:lnTo>
                    <a:lnTo>
                      <a:pt x="632" y="358"/>
                    </a:lnTo>
                    <a:lnTo>
                      <a:pt x="630" y="358"/>
                    </a:lnTo>
                    <a:lnTo>
                      <a:pt x="630" y="356"/>
                    </a:lnTo>
                    <a:lnTo>
                      <a:pt x="630" y="358"/>
                    </a:lnTo>
                    <a:lnTo>
                      <a:pt x="628" y="356"/>
                    </a:lnTo>
                    <a:lnTo>
                      <a:pt x="627" y="356"/>
                    </a:lnTo>
                    <a:lnTo>
                      <a:pt x="628" y="356"/>
                    </a:lnTo>
                    <a:lnTo>
                      <a:pt x="627" y="356"/>
                    </a:lnTo>
                    <a:lnTo>
                      <a:pt x="627" y="354"/>
                    </a:lnTo>
                    <a:lnTo>
                      <a:pt x="627" y="352"/>
                    </a:lnTo>
                    <a:lnTo>
                      <a:pt x="627" y="350"/>
                    </a:lnTo>
                    <a:lnTo>
                      <a:pt x="627" y="348"/>
                    </a:lnTo>
                    <a:lnTo>
                      <a:pt x="628" y="348"/>
                    </a:lnTo>
                    <a:lnTo>
                      <a:pt x="628" y="346"/>
                    </a:lnTo>
                    <a:lnTo>
                      <a:pt x="628" y="344"/>
                    </a:lnTo>
                    <a:lnTo>
                      <a:pt x="630" y="344"/>
                    </a:lnTo>
                    <a:lnTo>
                      <a:pt x="632" y="344"/>
                    </a:lnTo>
                    <a:lnTo>
                      <a:pt x="634" y="344"/>
                    </a:lnTo>
                    <a:lnTo>
                      <a:pt x="636" y="346"/>
                    </a:lnTo>
                    <a:lnTo>
                      <a:pt x="638" y="346"/>
                    </a:lnTo>
                    <a:lnTo>
                      <a:pt x="640" y="346"/>
                    </a:lnTo>
                    <a:lnTo>
                      <a:pt x="642" y="346"/>
                    </a:lnTo>
                    <a:lnTo>
                      <a:pt x="642" y="344"/>
                    </a:lnTo>
                    <a:lnTo>
                      <a:pt x="644" y="344"/>
                    </a:lnTo>
                    <a:lnTo>
                      <a:pt x="646" y="344"/>
                    </a:lnTo>
                    <a:lnTo>
                      <a:pt x="648" y="344"/>
                    </a:lnTo>
                    <a:lnTo>
                      <a:pt x="650" y="344"/>
                    </a:lnTo>
                    <a:lnTo>
                      <a:pt x="652" y="344"/>
                    </a:lnTo>
                    <a:lnTo>
                      <a:pt x="653" y="342"/>
                    </a:lnTo>
                    <a:lnTo>
                      <a:pt x="655" y="342"/>
                    </a:lnTo>
                    <a:lnTo>
                      <a:pt x="657" y="342"/>
                    </a:lnTo>
                    <a:lnTo>
                      <a:pt x="659" y="342"/>
                    </a:lnTo>
                    <a:lnTo>
                      <a:pt x="661" y="342"/>
                    </a:lnTo>
                    <a:lnTo>
                      <a:pt x="661" y="340"/>
                    </a:lnTo>
                    <a:lnTo>
                      <a:pt x="663" y="339"/>
                    </a:lnTo>
                    <a:lnTo>
                      <a:pt x="665" y="339"/>
                    </a:lnTo>
                    <a:lnTo>
                      <a:pt x="667" y="337"/>
                    </a:lnTo>
                    <a:lnTo>
                      <a:pt x="669" y="337"/>
                    </a:lnTo>
                    <a:lnTo>
                      <a:pt x="669" y="339"/>
                    </a:lnTo>
                    <a:lnTo>
                      <a:pt x="669" y="337"/>
                    </a:lnTo>
                    <a:lnTo>
                      <a:pt x="669" y="339"/>
                    </a:lnTo>
                    <a:lnTo>
                      <a:pt x="669" y="337"/>
                    </a:lnTo>
                    <a:lnTo>
                      <a:pt x="669" y="339"/>
                    </a:lnTo>
                    <a:lnTo>
                      <a:pt x="671" y="339"/>
                    </a:lnTo>
                    <a:lnTo>
                      <a:pt x="671" y="337"/>
                    </a:lnTo>
                    <a:lnTo>
                      <a:pt x="673" y="337"/>
                    </a:lnTo>
                    <a:lnTo>
                      <a:pt x="673" y="339"/>
                    </a:lnTo>
                    <a:lnTo>
                      <a:pt x="673" y="337"/>
                    </a:lnTo>
                    <a:lnTo>
                      <a:pt x="673" y="335"/>
                    </a:lnTo>
                    <a:lnTo>
                      <a:pt x="671" y="335"/>
                    </a:lnTo>
                    <a:lnTo>
                      <a:pt x="669" y="335"/>
                    </a:lnTo>
                    <a:lnTo>
                      <a:pt x="669" y="337"/>
                    </a:lnTo>
                    <a:lnTo>
                      <a:pt x="669" y="335"/>
                    </a:lnTo>
                    <a:lnTo>
                      <a:pt x="669" y="333"/>
                    </a:lnTo>
                    <a:lnTo>
                      <a:pt x="671" y="333"/>
                    </a:lnTo>
                    <a:lnTo>
                      <a:pt x="673" y="333"/>
                    </a:lnTo>
                    <a:lnTo>
                      <a:pt x="675" y="333"/>
                    </a:lnTo>
                    <a:lnTo>
                      <a:pt x="677" y="333"/>
                    </a:lnTo>
                    <a:lnTo>
                      <a:pt x="677" y="331"/>
                    </a:lnTo>
                    <a:lnTo>
                      <a:pt x="678" y="331"/>
                    </a:lnTo>
                    <a:lnTo>
                      <a:pt x="682" y="329"/>
                    </a:lnTo>
                    <a:lnTo>
                      <a:pt x="684" y="329"/>
                    </a:lnTo>
                    <a:lnTo>
                      <a:pt x="684" y="327"/>
                    </a:lnTo>
                    <a:lnTo>
                      <a:pt x="684" y="329"/>
                    </a:lnTo>
                    <a:lnTo>
                      <a:pt x="686" y="327"/>
                    </a:lnTo>
                    <a:lnTo>
                      <a:pt x="688" y="327"/>
                    </a:lnTo>
                    <a:lnTo>
                      <a:pt x="690" y="327"/>
                    </a:lnTo>
                    <a:lnTo>
                      <a:pt x="690" y="325"/>
                    </a:lnTo>
                    <a:lnTo>
                      <a:pt x="692" y="325"/>
                    </a:lnTo>
                    <a:lnTo>
                      <a:pt x="690" y="325"/>
                    </a:lnTo>
                    <a:lnTo>
                      <a:pt x="692" y="325"/>
                    </a:lnTo>
                    <a:lnTo>
                      <a:pt x="690" y="325"/>
                    </a:lnTo>
                    <a:lnTo>
                      <a:pt x="690" y="323"/>
                    </a:lnTo>
                    <a:lnTo>
                      <a:pt x="690" y="321"/>
                    </a:lnTo>
                    <a:lnTo>
                      <a:pt x="688" y="321"/>
                    </a:lnTo>
                    <a:lnTo>
                      <a:pt x="688" y="323"/>
                    </a:lnTo>
                    <a:lnTo>
                      <a:pt x="688" y="321"/>
                    </a:lnTo>
                    <a:lnTo>
                      <a:pt x="690" y="321"/>
                    </a:lnTo>
                    <a:lnTo>
                      <a:pt x="688" y="321"/>
                    </a:lnTo>
                    <a:lnTo>
                      <a:pt x="690" y="321"/>
                    </a:lnTo>
                    <a:lnTo>
                      <a:pt x="692" y="323"/>
                    </a:lnTo>
                    <a:lnTo>
                      <a:pt x="694" y="323"/>
                    </a:lnTo>
                    <a:lnTo>
                      <a:pt x="692" y="323"/>
                    </a:lnTo>
                    <a:lnTo>
                      <a:pt x="694" y="323"/>
                    </a:lnTo>
                    <a:lnTo>
                      <a:pt x="694" y="325"/>
                    </a:lnTo>
                    <a:lnTo>
                      <a:pt x="694" y="323"/>
                    </a:lnTo>
                    <a:lnTo>
                      <a:pt x="694" y="325"/>
                    </a:lnTo>
                    <a:lnTo>
                      <a:pt x="694" y="323"/>
                    </a:lnTo>
                    <a:lnTo>
                      <a:pt x="694" y="321"/>
                    </a:lnTo>
                    <a:lnTo>
                      <a:pt x="694" y="323"/>
                    </a:lnTo>
                    <a:lnTo>
                      <a:pt x="694" y="321"/>
                    </a:lnTo>
                    <a:lnTo>
                      <a:pt x="692" y="321"/>
                    </a:lnTo>
                    <a:lnTo>
                      <a:pt x="692" y="319"/>
                    </a:lnTo>
                    <a:lnTo>
                      <a:pt x="690" y="319"/>
                    </a:lnTo>
                    <a:lnTo>
                      <a:pt x="688" y="319"/>
                    </a:lnTo>
                    <a:lnTo>
                      <a:pt x="688" y="321"/>
                    </a:lnTo>
                    <a:lnTo>
                      <a:pt x="688" y="319"/>
                    </a:lnTo>
                    <a:lnTo>
                      <a:pt x="688" y="317"/>
                    </a:lnTo>
                    <a:lnTo>
                      <a:pt x="690" y="317"/>
                    </a:lnTo>
                    <a:lnTo>
                      <a:pt x="692" y="319"/>
                    </a:lnTo>
                    <a:lnTo>
                      <a:pt x="694" y="321"/>
                    </a:lnTo>
                    <a:lnTo>
                      <a:pt x="696" y="321"/>
                    </a:lnTo>
                    <a:lnTo>
                      <a:pt x="698" y="321"/>
                    </a:lnTo>
                    <a:lnTo>
                      <a:pt x="700" y="321"/>
                    </a:lnTo>
                    <a:lnTo>
                      <a:pt x="701" y="321"/>
                    </a:lnTo>
                    <a:lnTo>
                      <a:pt x="703" y="321"/>
                    </a:lnTo>
                    <a:lnTo>
                      <a:pt x="703" y="319"/>
                    </a:lnTo>
                    <a:lnTo>
                      <a:pt x="703" y="321"/>
                    </a:lnTo>
                    <a:lnTo>
                      <a:pt x="705" y="321"/>
                    </a:lnTo>
                    <a:lnTo>
                      <a:pt x="703" y="321"/>
                    </a:lnTo>
                    <a:lnTo>
                      <a:pt x="703" y="319"/>
                    </a:lnTo>
                    <a:lnTo>
                      <a:pt x="705" y="319"/>
                    </a:lnTo>
                    <a:lnTo>
                      <a:pt x="703" y="319"/>
                    </a:lnTo>
                    <a:lnTo>
                      <a:pt x="705" y="319"/>
                    </a:lnTo>
                    <a:lnTo>
                      <a:pt x="705" y="317"/>
                    </a:lnTo>
                    <a:lnTo>
                      <a:pt x="707" y="317"/>
                    </a:lnTo>
                    <a:lnTo>
                      <a:pt x="709" y="317"/>
                    </a:lnTo>
                    <a:lnTo>
                      <a:pt x="707" y="317"/>
                    </a:lnTo>
                    <a:lnTo>
                      <a:pt x="709" y="317"/>
                    </a:lnTo>
                    <a:lnTo>
                      <a:pt x="707" y="315"/>
                    </a:lnTo>
                    <a:lnTo>
                      <a:pt x="709" y="315"/>
                    </a:lnTo>
                    <a:lnTo>
                      <a:pt x="707" y="315"/>
                    </a:lnTo>
                    <a:lnTo>
                      <a:pt x="709" y="315"/>
                    </a:lnTo>
                    <a:lnTo>
                      <a:pt x="707" y="315"/>
                    </a:lnTo>
                    <a:lnTo>
                      <a:pt x="709" y="315"/>
                    </a:lnTo>
                    <a:lnTo>
                      <a:pt x="707" y="315"/>
                    </a:lnTo>
                    <a:lnTo>
                      <a:pt x="709" y="315"/>
                    </a:lnTo>
                    <a:lnTo>
                      <a:pt x="707" y="315"/>
                    </a:lnTo>
                    <a:lnTo>
                      <a:pt x="707" y="314"/>
                    </a:lnTo>
                    <a:lnTo>
                      <a:pt x="707" y="315"/>
                    </a:lnTo>
                    <a:lnTo>
                      <a:pt x="707" y="314"/>
                    </a:lnTo>
                    <a:lnTo>
                      <a:pt x="709" y="314"/>
                    </a:lnTo>
                    <a:lnTo>
                      <a:pt x="711" y="314"/>
                    </a:lnTo>
                    <a:lnTo>
                      <a:pt x="711" y="312"/>
                    </a:lnTo>
                    <a:lnTo>
                      <a:pt x="713" y="312"/>
                    </a:lnTo>
                    <a:lnTo>
                      <a:pt x="713" y="310"/>
                    </a:lnTo>
                    <a:lnTo>
                      <a:pt x="715" y="308"/>
                    </a:lnTo>
                    <a:lnTo>
                      <a:pt x="717" y="308"/>
                    </a:lnTo>
                    <a:lnTo>
                      <a:pt x="719" y="308"/>
                    </a:lnTo>
                    <a:lnTo>
                      <a:pt x="717" y="308"/>
                    </a:lnTo>
                    <a:lnTo>
                      <a:pt x="719" y="308"/>
                    </a:lnTo>
                    <a:lnTo>
                      <a:pt x="721" y="306"/>
                    </a:lnTo>
                    <a:lnTo>
                      <a:pt x="723" y="306"/>
                    </a:lnTo>
                    <a:lnTo>
                      <a:pt x="721" y="306"/>
                    </a:lnTo>
                    <a:lnTo>
                      <a:pt x="723" y="306"/>
                    </a:lnTo>
                    <a:lnTo>
                      <a:pt x="723" y="304"/>
                    </a:lnTo>
                    <a:lnTo>
                      <a:pt x="725" y="304"/>
                    </a:lnTo>
                    <a:lnTo>
                      <a:pt x="726" y="304"/>
                    </a:lnTo>
                    <a:lnTo>
                      <a:pt x="728" y="304"/>
                    </a:lnTo>
                    <a:lnTo>
                      <a:pt x="728" y="306"/>
                    </a:lnTo>
                    <a:lnTo>
                      <a:pt x="728" y="304"/>
                    </a:lnTo>
                    <a:lnTo>
                      <a:pt x="730" y="304"/>
                    </a:lnTo>
                    <a:lnTo>
                      <a:pt x="730" y="306"/>
                    </a:lnTo>
                    <a:lnTo>
                      <a:pt x="728" y="306"/>
                    </a:lnTo>
                    <a:lnTo>
                      <a:pt x="730" y="306"/>
                    </a:lnTo>
                    <a:lnTo>
                      <a:pt x="730" y="308"/>
                    </a:lnTo>
                    <a:lnTo>
                      <a:pt x="730" y="306"/>
                    </a:lnTo>
                    <a:lnTo>
                      <a:pt x="730" y="308"/>
                    </a:lnTo>
                    <a:lnTo>
                      <a:pt x="732" y="306"/>
                    </a:lnTo>
                    <a:lnTo>
                      <a:pt x="732" y="308"/>
                    </a:lnTo>
                    <a:lnTo>
                      <a:pt x="730" y="308"/>
                    </a:lnTo>
                    <a:lnTo>
                      <a:pt x="730" y="310"/>
                    </a:lnTo>
                    <a:lnTo>
                      <a:pt x="728" y="310"/>
                    </a:lnTo>
                    <a:lnTo>
                      <a:pt x="726" y="310"/>
                    </a:lnTo>
                    <a:lnTo>
                      <a:pt x="726" y="312"/>
                    </a:lnTo>
                    <a:lnTo>
                      <a:pt x="725" y="312"/>
                    </a:lnTo>
                    <a:lnTo>
                      <a:pt x="723" y="312"/>
                    </a:lnTo>
                    <a:lnTo>
                      <a:pt x="723" y="314"/>
                    </a:lnTo>
                    <a:lnTo>
                      <a:pt x="721" y="315"/>
                    </a:lnTo>
                    <a:lnTo>
                      <a:pt x="721" y="317"/>
                    </a:lnTo>
                    <a:lnTo>
                      <a:pt x="721" y="319"/>
                    </a:lnTo>
                    <a:lnTo>
                      <a:pt x="719" y="319"/>
                    </a:lnTo>
                    <a:lnTo>
                      <a:pt x="719" y="321"/>
                    </a:lnTo>
                    <a:lnTo>
                      <a:pt x="717" y="321"/>
                    </a:lnTo>
                    <a:lnTo>
                      <a:pt x="715" y="321"/>
                    </a:lnTo>
                    <a:lnTo>
                      <a:pt x="713" y="321"/>
                    </a:lnTo>
                    <a:lnTo>
                      <a:pt x="711" y="321"/>
                    </a:lnTo>
                    <a:lnTo>
                      <a:pt x="709" y="321"/>
                    </a:lnTo>
                    <a:lnTo>
                      <a:pt x="709" y="323"/>
                    </a:lnTo>
                    <a:lnTo>
                      <a:pt x="711" y="323"/>
                    </a:lnTo>
                    <a:lnTo>
                      <a:pt x="713" y="323"/>
                    </a:lnTo>
                    <a:lnTo>
                      <a:pt x="713" y="325"/>
                    </a:lnTo>
                    <a:lnTo>
                      <a:pt x="715" y="323"/>
                    </a:lnTo>
                    <a:lnTo>
                      <a:pt x="715" y="325"/>
                    </a:lnTo>
                    <a:lnTo>
                      <a:pt x="715" y="323"/>
                    </a:lnTo>
                    <a:lnTo>
                      <a:pt x="715" y="325"/>
                    </a:lnTo>
                    <a:lnTo>
                      <a:pt x="717" y="325"/>
                    </a:lnTo>
                    <a:lnTo>
                      <a:pt x="717" y="323"/>
                    </a:lnTo>
                    <a:lnTo>
                      <a:pt x="717" y="325"/>
                    </a:lnTo>
                    <a:lnTo>
                      <a:pt x="719" y="325"/>
                    </a:lnTo>
                    <a:lnTo>
                      <a:pt x="719" y="327"/>
                    </a:lnTo>
                    <a:lnTo>
                      <a:pt x="721" y="327"/>
                    </a:lnTo>
                    <a:lnTo>
                      <a:pt x="721" y="329"/>
                    </a:lnTo>
                    <a:lnTo>
                      <a:pt x="719" y="329"/>
                    </a:lnTo>
                    <a:lnTo>
                      <a:pt x="719" y="331"/>
                    </a:lnTo>
                    <a:lnTo>
                      <a:pt x="719" y="329"/>
                    </a:lnTo>
                    <a:lnTo>
                      <a:pt x="719" y="331"/>
                    </a:lnTo>
                    <a:lnTo>
                      <a:pt x="717" y="331"/>
                    </a:lnTo>
                    <a:lnTo>
                      <a:pt x="715" y="331"/>
                    </a:lnTo>
                    <a:lnTo>
                      <a:pt x="715" y="333"/>
                    </a:lnTo>
                    <a:lnTo>
                      <a:pt x="715" y="335"/>
                    </a:lnTo>
                    <a:lnTo>
                      <a:pt x="717" y="335"/>
                    </a:lnTo>
                    <a:lnTo>
                      <a:pt x="719" y="335"/>
                    </a:lnTo>
                    <a:lnTo>
                      <a:pt x="721" y="335"/>
                    </a:lnTo>
                    <a:lnTo>
                      <a:pt x="721" y="333"/>
                    </a:lnTo>
                    <a:lnTo>
                      <a:pt x="723" y="333"/>
                    </a:lnTo>
                    <a:lnTo>
                      <a:pt x="725" y="333"/>
                    </a:lnTo>
                    <a:lnTo>
                      <a:pt x="726" y="333"/>
                    </a:lnTo>
                    <a:lnTo>
                      <a:pt x="726" y="335"/>
                    </a:lnTo>
                    <a:lnTo>
                      <a:pt x="725" y="335"/>
                    </a:lnTo>
                    <a:lnTo>
                      <a:pt x="725" y="337"/>
                    </a:lnTo>
                    <a:lnTo>
                      <a:pt x="726" y="337"/>
                    </a:lnTo>
                    <a:lnTo>
                      <a:pt x="728" y="339"/>
                    </a:lnTo>
                    <a:lnTo>
                      <a:pt x="726" y="339"/>
                    </a:lnTo>
                    <a:lnTo>
                      <a:pt x="726" y="340"/>
                    </a:lnTo>
                    <a:lnTo>
                      <a:pt x="725" y="340"/>
                    </a:lnTo>
                    <a:lnTo>
                      <a:pt x="725" y="342"/>
                    </a:lnTo>
                    <a:lnTo>
                      <a:pt x="726" y="344"/>
                    </a:lnTo>
                    <a:lnTo>
                      <a:pt x="726" y="342"/>
                    </a:lnTo>
                    <a:lnTo>
                      <a:pt x="726" y="344"/>
                    </a:lnTo>
                    <a:lnTo>
                      <a:pt x="726" y="342"/>
                    </a:lnTo>
                    <a:lnTo>
                      <a:pt x="728" y="342"/>
                    </a:lnTo>
                    <a:lnTo>
                      <a:pt x="728" y="344"/>
                    </a:lnTo>
                    <a:lnTo>
                      <a:pt x="728" y="342"/>
                    </a:lnTo>
                    <a:lnTo>
                      <a:pt x="730" y="344"/>
                    </a:lnTo>
                    <a:lnTo>
                      <a:pt x="728" y="344"/>
                    </a:lnTo>
                    <a:lnTo>
                      <a:pt x="726" y="344"/>
                    </a:lnTo>
                    <a:lnTo>
                      <a:pt x="728" y="344"/>
                    </a:lnTo>
                    <a:lnTo>
                      <a:pt x="728" y="346"/>
                    </a:lnTo>
                    <a:lnTo>
                      <a:pt x="726" y="346"/>
                    </a:lnTo>
                    <a:lnTo>
                      <a:pt x="725" y="346"/>
                    </a:lnTo>
                    <a:lnTo>
                      <a:pt x="725" y="348"/>
                    </a:lnTo>
                    <a:lnTo>
                      <a:pt x="725" y="350"/>
                    </a:lnTo>
                    <a:lnTo>
                      <a:pt x="726" y="350"/>
                    </a:lnTo>
                    <a:lnTo>
                      <a:pt x="726" y="352"/>
                    </a:lnTo>
                    <a:lnTo>
                      <a:pt x="726" y="350"/>
                    </a:lnTo>
                    <a:lnTo>
                      <a:pt x="726" y="352"/>
                    </a:lnTo>
                    <a:lnTo>
                      <a:pt x="725" y="352"/>
                    </a:lnTo>
                    <a:lnTo>
                      <a:pt x="726" y="352"/>
                    </a:lnTo>
                    <a:lnTo>
                      <a:pt x="725" y="352"/>
                    </a:lnTo>
                    <a:lnTo>
                      <a:pt x="726" y="352"/>
                    </a:lnTo>
                    <a:lnTo>
                      <a:pt x="726" y="354"/>
                    </a:lnTo>
                    <a:lnTo>
                      <a:pt x="726" y="356"/>
                    </a:lnTo>
                    <a:lnTo>
                      <a:pt x="726" y="358"/>
                    </a:lnTo>
                    <a:lnTo>
                      <a:pt x="728" y="358"/>
                    </a:lnTo>
                    <a:lnTo>
                      <a:pt x="728" y="360"/>
                    </a:lnTo>
                    <a:lnTo>
                      <a:pt x="730" y="360"/>
                    </a:lnTo>
                    <a:lnTo>
                      <a:pt x="732" y="360"/>
                    </a:lnTo>
                    <a:lnTo>
                      <a:pt x="732" y="362"/>
                    </a:lnTo>
                    <a:lnTo>
                      <a:pt x="732" y="364"/>
                    </a:lnTo>
                    <a:lnTo>
                      <a:pt x="734" y="364"/>
                    </a:lnTo>
                    <a:lnTo>
                      <a:pt x="734" y="362"/>
                    </a:lnTo>
                    <a:lnTo>
                      <a:pt x="734" y="364"/>
                    </a:lnTo>
                    <a:lnTo>
                      <a:pt x="736" y="364"/>
                    </a:lnTo>
                    <a:lnTo>
                      <a:pt x="738" y="364"/>
                    </a:lnTo>
                    <a:lnTo>
                      <a:pt x="740" y="364"/>
                    </a:lnTo>
                    <a:lnTo>
                      <a:pt x="742" y="364"/>
                    </a:lnTo>
                    <a:lnTo>
                      <a:pt x="742" y="365"/>
                    </a:lnTo>
                    <a:lnTo>
                      <a:pt x="742" y="367"/>
                    </a:lnTo>
                    <a:lnTo>
                      <a:pt x="740" y="367"/>
                    </a:lnTo>
                    <a:lnTo>
                      <a:pt x="740" y="369"/>
                    </a:lnTo>
                    <a:lnTo>
                      <a:pt x="738" y="369"/>
                    </a:lnTo>
                    <a:lnTo>
                      <a:pt x="736" y="369"/>
                    </a:lnTo>
                    <a:lnTo>
                      <a:pt x="736" y="371"/>
                    </a:lnTo>
                    <a:lnTo>
                      <a:pt x="738" y="371"/>
                    </a:lnTo>
                    <a:lnTo>
                      <a:pt x="736" y="373"/>
                    </a:lnTo>
                    <a:lnTo>
                      <a:pt x="738" y="373"/>
                    </a:lnTo>
                    <a:lnTo>
                      <a:pt x="740" y="373"/>
                    </a:lnTo>
                    <a:lnTo>
                      <a:pt x="742" y="373"/>
                    </a:lnTo>
                    <a:lnTo>
                      <a:pt x="742" y="375"/>
                    </a:lnTo>
                    <a:lnTo>
                      <a:pt x="744" y="375"/>
                    </a:lnTo>
                    <a:lnTo>
                      <a:pt x="746" y="375"/>
                    </a:lnTo>
                    <a:lnTo>
                      <a:pt x="748" y="375"/>
                    </a:lnTo>
                    <a:lnTo>
                      <a:pt x="750" y="375"/>
                    </a:lnTo>
                    <a:lnTo>
                      <a:pt x="751" y="375"/>
                    </a:lnTo>
                    <a:lnTo>
                      <a:pt x="751" y="377"/>
                    </a:lnTo>
                    <a:lnTo>
                      <a:pt x="751" y="379"/>
                    </a:lnTo>
                    <a:lnTo>
                      <a:pt x="751" y="381"/>
                    </a:lnTo>
                    <a:lnTo>
                      <a:pt x="753" y="379"/>
                    </a:lnTo>
                    <a:lnTo>
                      <a:pt x="753" y="381"/>
                    </a:lnTo>
                    <a:lnTo>
                      <a:pt x="753" y="383"/>
                    </a:lnTo>
                    <a:lnTo>
                      <a:pt x="755" y="383"/>
                    </a:lnTo>
                    <a:lnTo>
                      <a:pt x="757" y="383"/>
                    </a:lnTo>
                    <a:lnTo>
                      <a:pt x="759" y="383"/>
                    </a:lnTo>
                    <a:lnTo>
                      <a:pt x="761" y="383"/>
                    </a:lnTo>
                    <a:lnTo>
                      <a:pt x="761" y="385"/>
                    </a:lnTo>
                    <a:lnTo>
                      <a:pt x="761" y="387"/>
                    </a:lnTo>
                    <a:lnTo>
                      <a:pt x="763" y="398"/>
                    </a:lnTo>
                    <a:lnTo>
                      <a:pt x="765" y="410"/>
                    </a:lnTo>
                    <a:lnTo>
                      <a:pt x="767" y="417"/>
                    </a:lnTo>
                    <a:lnTo>
                      <a:pt x="767" y="423"/>
                    </a:lnTo>
                    <a:lnTo>
                      <a:pt x="769" y="423"/>
                    </a:lnTo>
                    <a:lnTo>
                      <a:pt x="771" y="423"/>
                    </a:lnTo>
                    <a:lnTo>
                      <a:pt x="773" y="423"/>
                    </a:lnTo>
                    <a:lnTo>
                      <a:pt x="774" y="423"/>
                    </a:lnTo>
                    <a:lnTo>
                      <a:pt x="776" y="425"/>
                    </a:lnTo>
                    <a:lnTo>
                      <a:pt x="778" y="427"/>
                    </a:lnTo>
                    <a:lnTo>
                      <a:pt x="780" y="427"/>
                    </a:lnTo>
                    <a:lnTo>
                      <a:pt x="782" y="427"/>
                    </a:lnTo>
                    <a:lnTo>
                      <a:pt x="782" y="425"/>
                    </a:lnTo>
                    <a:lnTo>
                      <a:pt x="784" y="427"/>
                    </a:lnTo>
                    <a:lnTo>
                      <a:pt x="786" y="429"/>
                    </a:lnTo>
                    <a:lnTo>
                      <a:pt x="786" y="431"/>
                    </a:lnTo>
                    <a:lnTo>
                      <a:pt x="784" y="431"/>
                    </a:lnTo>
                    <a:lnTo>
                      <a:pt x="782" y="433"/>
                    </a:lnTo>
                    <a:lnTo>
                      <a:pt x="782" y="435"/>
                    </a:lnTo>
                    <a:lnTo>
                      <a:pt x="784" y="437"/>
                    </a:lnTo>
                    <a:lnTo>
                      <a:pt x="782" y="437"/>
                    </a:lnTo>
                    <a:lnTo>
                      <a:pt x="782" y="439"/>
                    </a:lnTo>
                    <a:lnTo>
                      <a:pt x="780" y="439"/>
                    </a:lnTo>
                    <a:lnTo>
                      <a:pt x="780" y="440"/>
                    </a:lnTo>
                    <a:lnTo>
                      <a:pt x="778" y="440"/>
                    </a:lnTo>
                    <a:lnTo>
                      <a:pt x="778" y="444"/>
                    </a:lnTo>
                    <a:lnTo>
                      <a:pt x="776" y="444"/>
                    </a:lnTo>
                    <a:lnTo>
                      <a:pt x="776" y="442"/>
                    </a:lnTo>
                    <a:lnTo>
                      <a:pt x="774" y="440"/>
                    </a:lnTo>
                    <a:lnTo>
                      <a:pt x="773" y="440"/>
                    </a:lnTo>
                    <a:lnTo>
                      <a:pt x="773" y="442"/>
                    </a:lnTo>
                    <a:lnTo>
                      <a:pt x="773" y="444"/>
                    </a:lnTo>
                    <a:lnTo>
                      <a:pt x="773" y="446"/>
                    </a:lnTo>
                    <a:lnTo>
                      <a:pt x="771" y="446"/>
                    </a:lnTo>
                    <a:lnTo>
                      <a:pt x="767" y="448"/>
                    </a:lnTo>
                    <a:lnTo>
                      <a:pt x="765" y="448"/>
                    </a:lnTo>
                    <a:lnTo>
                      <a:pt x="763" y="448"/>
                    </a:lnTo>
                    <a:lnTo>
                      <a:pt x="763" y="450"/>
                    </a:lnTo>
                    <a:lnTo>
                      <a:pt x="761" y="450"/>
                    </a:lnTo>
                    <a:lnTo>
                      <a:pt x="761" y="452"/>
                    </a:lnTo>
                    <a:lnTo>
                      <a:pt x="759" y="452"/>
                    </a:lnTo>
                    <a:lnTo>
                      <a:pt x="759" y="454"/>
                    </a:lnTo>
                    <a:lnTo>
                      <a:pt x="759" y="456"/>
                    </a:lnTo>
                    <a:lnTo>
                      <a:pt x="757" y="456"/>
                    </a:lnTo>
                    <a:lnTo>
                      <a:pt x="753" y="456"/>
                    </a:lnTo>
                    <a:lnTo>
                      <a:pt x="753" y="458"/>
                    </a:lnTo>
                    <a:lnTo>
                      <a:pt x="751" y="458"/>
                    </a:lnTo>
                    <a:lnTo>
                      <a:pt x="750" y="458"/>
                    </a:lnTo>
                    <a:lnTo>
                      <a:pt x="750" y="460"/>
                    </a:lnTo>
                    <a:lnTo>
                      <a:pt x="748" y="460"/>
                    </a:lnTo>
                    <a:lnTo>
                      <a:pt x="748" y="462"/>
                    </a:lnTo>
                    <a:lnTo>
                      <a:pt x="746" y="462"/>
                    </a:lnTo>
                    <a:lnTo>
                      <a:pt x="746" y="460"/>
                    </a:lnTo>
                    <a:lnTo>
                      <a:pt x="746" y="462"/>
                    </a:lnTo>
                    <a:lnTo>
                      <a:pt x="744" y="462"/>
                    </a:lnTo>
                    <a:lnTo>
                      <a:pt x="742" y="462"/>
                    </a:lnTo>
                    <a:lnTo>
                      <a:pt x="742" y="464"/>
                    </a:lnTo>
                    <a:lnTo>
                      <a:pt x="740" y="464"/>
                    </a:lnTo>
                    <a:lnTo>
                      <a:pt x="740" y="465"/>
                    </a:lnTo>
                    <a:lnTo>
                      <a:pt x="740" y="467"/>
                    </a:lnTo>
                    <a:lnTo>
                      <a:pt x="738" y="467"/>
                    </a:lnTo>
                    <a:lnTo>
                      <a:pt x="736" y="467"/>
                    </a:lnTo>
                    <a:lnTo>
                      <a:pt x="736" y="469"/>
                    </a:lnTo>
                    <a:lnTo>
                      <a:pt x="734" y="469"/>
                    </a:lnTo>
                    <a:lnTo>
                      <a:pt x="734" y="471"/>
                    </a:lnTo>
                    <a:lnTo>
                      <a:pt x="732" y="471"/>
                    </a:lnTo>
                    <a:lnTo>
                      <a:pt x="732" y="473"/>
                    </a:lnTo>
                    <a:lnTo>
                      <a:pt x="732" y="475"/>
                    </a:lnTo>
                    <a:lnTo>
                      <a:pt x="732" y="477"/>
                    </a:lnTo>
                    <a:lnTo>
                      <a:pt x="734" y="477"/>
                    </a:lnTo>
                    <a:lnTo>
                      <a:pt x="732" y="479"/>
                    </a:lnTo>
                    <a:lnTo>
                      <a:pt x="732" y="481"/>
                    </a:lnTo>
                    <a:lnTo>
                      <a:pt x="734" y="483"/>
                    </a:lnTo>
                    <a:lnTo>
                      <a:pt x="736" y="483"/>
                    </a:lnTo>
                    <a:lnTo>
                      <a:pt x="738" y="483"/>
                    </a:lnTo>
                    <a:lnTo>
                      <a:pt x="738" y="485"/>
                    </a:lnTo>
                    <a:lnTo>
                      <a:pt x="736" y="485"/>
                    </a:lnTo>
                    <a:lnTo>
                      <a:pt x="734" y="485"/>
                    </a:lnTo>
                    <a:lnTo>
                      <a:pt x="732" y="485"/>
                    </a:lnTo>
                    <a:lnTo>
                      <a:pt x="730" y="487"/>
                    </a:lnTo>
                    <a:lnTo>
                      <a:pt x="728" y="487"/>
                    </a:lnTo>
                    <a:lnTo>
                      <a:pt x="726" y="488"/>
                    </a:lnTo>
                    <a:lnTo>
                      <a:pt x="725" y="488"/>
                    </a:lnTo>
                    <a:lnTo>
                      <a:pt x="723" y="488"/>
                    </a:lnTo>
                    <a:lnTo>
                      <a:pt x="723" y="490"/>
                    </a:lnTo>
                    <a:lnTo>
                      <a:pt x="721" y="490"/>
                    </a:lnTo>
                    <a:lnTo>
                      <a:pt x="723" y="490"/>
                    </a:lnTo>
                    <a:lnTo>
                      <a:pt x="723" y="492"/>
                    </a:lnTo>
                    <a:lnTo>
                      <a:pt x="723" y="494"/>
                    </a:lnTo>
                    <a:lnTo>
                      <a:pt x="723" y="496"/>
                    </a:lnTo>
                    <a:lnTo>
                      <a:pt x="721" y="496"/>
                    </a:lnTo>
                    <a:lnTo>
                      <a:pt x="721" y="498"/>
                    </a:lnTo>
                    <a:lnTo>
                      <a:pt x="717" y="498"/>
                    </a:lnTo>
                    <a:lnTo>
                      <a:pt x="717" y="500"/>
                    </a:lnTo>
                    <a:lnTo>
                      <a:pt x="717" y="502"/>
                    </a:lnTo>
                    <a:lnTo>
                      <a:pt x="719" y="504"/>
                    </a:lnTo>
                    <a:lnTo>
                      <a:pt x="719" y="506"/>
                    </a:lnTo>
                    <a:lnTo>
                      <a:pt x="721" y="508"/>
                    </a:lnTo>
                    <a:lnTo>
                      <a:pt x="723" y="508"/>
                    </a:lnTo>
                    <a:lnTo>
                      <a:pt x="725" y="508"/>
                    </a:lnTo>
                    <a:lnTo>
                      <a:pt x="725" y="510"/>
                    </a:lnTo>
                    <a:lnTo>
                      <a:pt x="723" y="510"/>
                    </a:lnTo>
                    <a:lnTo>
                      <a:pt x="723" y="512"/>
                    </a:lnTo>
                    <a:lnTo>
                      <a:pt x="721" y="513"/>
                    </a:lnTo>
                    <a:lnTo>
                      <a:pt x="723" y="513"/>
                    </a:lnTo>
                    <a:lnTo>
                      <a:pt x="721" y="515"/>
                    </a:lnTo>
                    <a:lnTo>
                      <a:pt x="723" y="517"/>
                    </a:lnTo>
                    <a:lnTo>
                      <a:pt x="723" y="519"/>
                    </a:lnTo>
                    <a:lnTo>
                      <a:pt x="723" y="521"/>
                    </a:lnTo>
                    <a:lnTo>
                      <a:pt x="721" y="521"/>
                    </a:lnTo>
                    <a:lnTo>
                      <a:pt x="721" y="523"/>
                    </a:lnTo>
                    <a:lnTo>
                      <a:pt x="721" y="525"/>
                    </a:lnTo>
                    <a:lnTo>
                      <a:pt x="719" y="525"/>
                    </a:lnTo>
                    <a:lnTo>
                      <a:pt x="717" y="525"/>
                    </a:lnTo>
                    <a:lnTo>
                      <a:pt x="715" y="525"/>
                    </a:lnTo>
                    <a:lnTo>
                      <a:pt x="713" y="525"/>
                    </a:lnTo>
                    <a:lnTo>
                      <a:pt x="711" y="525"/>
                    </a:lnTo>
                    <a:lnTo>
                      <a:pt x="711" y="523"/>
                    </a:lnTo>
                    <a:lnTo>
                      <a:pt x="711" y="521"/>
                    </a:lnTo>
                    <a:lnTo>
                      <a:pt x="709" y="523"/>
                    </a:lnTo>
                    <a:lnTo>
                      <a:pt x="707" y="523"/>
                    </a:lnTo>
                    <a:lnTo>
                      <a:pt x="705" y="523"/>
                    </a:lnTo>
                    <a:lnTo>
                      <a:pt x="703" y="523"/>
                    </a:lnTo>
                    <a:lnTo>
                      <a:pt x="701" y="523"/>
                    </a:lnTo>
                    <a:lnTo>
                      <a:pt x="700" y="523"/>
                    </a:lnTo>
                    <a:lnTo>
                      <a:pt x="698" y="523"/>
                    </a:lnTo>
                    <a:lnTo>
                      <a:pt x="696" y="523"/>
                    </a:lnTo>
                    <a:lnTo>
                      <a:pt x="694" y="523"/>
                    </a:lnTo>
                    <a:lnTo>
                      <a:pt x="694" y="525"/>
                    </a:lnTo>
                    <a:lnTo>
                      <a:pt x="694" y="527"/>
                    </a:lnTo>
                    <a:lnTo>
                      <a:pt x="692" y="527"/>
                    </a:lnTo>
                    <a:lnTo>
                      <a:pt x="690" y="527"/>
                    </a:lnTo>
                    <a:lnTo>
                      <a:pt x="690" y="529"/>
                    </a:lnTo>
                    <a:lnTo>
                      <a:pt x="690" y="531"/>
                    </a:lnTo>
                    <a:lnTo>
                      <a:pt x="690" y="533"/>
                    </a:lnTo>
                    <a:lnTo>
                      <a:pt x="688" y="535"/>
                    </a:lnTo>
                    <a:lnTo>
                      <a:pt x="684" y="535"/>
                    </a:lnTo>
                    <a:lnTo>
                      <a:pt x="678" y="538"/>
                    </a:lnTo>
                    <a:lnTo>
                      <a:pt x="677" y="538"/>
                    </a:lnTo>
                    <a:lnTo>
                      <a:pt x="673" y="542"/>
                    </a:lnTo>
                    <a:lnTo>
                      <a:pt x="669" y="544"/>
                    </a:lnTo>
                    <a:lnTo>
                      <a:pt x="667" y="544"/>
                    </a:lnTo>
                    <a:lnTo>
                      <a:pt x="665" y="546"/>
                    </a:lnTo>
                    <a:lnTo>
                      <a:pt x="663" y="548"/>
                    </a:lnTo>
                    <a:lnTo>
                      <a:pt x="663" y="546"/>
                    </a:lnTo>
                    <a:lnTo>
                      <a:pt x="661" y="546"/>
                    </a:lnTo>
                    <a:lnTo>
                      <a:pt x="659" y="546"/>
                    </a:lnTo>
                    <a:lnTo>
                      <a:pt x="657" y="544"/>
                    </a:lnTo>
                    <a:lnTo>
                      <a:pt x="655" y="544"/>
                    </a:lnTo>
                    <a:lnTo>
                      <a:pt x="653" y="544"/>
                    </a:lnTo>
                    <a:lnTo>
                      <a:pt x="653" y="546"/>
                    </a:lnTo>
                    <a:lnTo>
                      <a:pt x="653" y="548"/>
                    </a:lnTo>
                    <a:lnTo>
                      <a:pt x="653" y="550"/>
                    </a:lnTo>
                    <a:lnTo>
                      <a:pt x="652" y="550"/>
                    </a:lnTo>
                    <a:lnTo>
                      <a:pt x="652" y="552"/>
                    </a:lnTo>
                    <a:lnTo>
                      <a:pt x="650" y="552"/>
                    </a:lnTo>
                    <a:lnTo>
                      <a:pt x="648" y="554"/>
                    </a:lnTo>
                    <a:lnTo>
                      <a:pt x="648" y="556"/>
                    </a:lnTo>
                    <a:lnTo>
                      <a:pt x="650" y="558"/>
                    </a:lnTo>
                    <a:lnTo>
                      <a:pt x="652" y="560"/>
                    </a:lnTo>
                    <a:lnTo>
                      <a:pt x="671" y="585"/>
                    </a:lnTo>
                    <a:lnTo>
                      <a:pt x="673" y="600"/>
                    </a:lnTo>
                    <a:lnTo>
                      <a:pt x="675" y="613"/>
                    </a:lnTo>
                    <a:lnTo>
                      <a:pt x="675" y="617"/>
                    </a:lnTo>
                    <a:lnTo>
                      <a:pt x="675" y="623"/>
                    </a:lnTo>
                    <a:lnTo>
                      <a:pt x="677" y="637"/>
                    </a:lnTo>
                    <a:lnTo>
                      <a:pt x="677" y="652"/>
                    </a:lnTo>
                    <a:lnTo>
                      <a:pt x="678" y="665"/>
                    </a:lnTo>
                    <a:lnTo>
                      <a:pt x="678" y="677"/>
                    </a:lnTo>
                    <a:lnTo>
                      <a:pt x="678" y="679"/>
                    </a:lnTo>
                    <a:lnTo>
                      <a:pt x="677" y="681"/>
                    </a:lnTo>
                    <a:lnTo>
                      <a:pt x="675" y="681"/>
                    </a:lnTo>
                    <a:lnTo>
                      <a:pt x="673" y="681"/>
                    </a:lnTo>
                    <a:lnTo>
                      <a:pt x="671" y="681"/>
                    </a:lnTo>
                    <a:lnTo>
                      <a:pt x="669" y="683"/>
                    </a:lnTo>
                    <a:lnTo>
                      <a:pt x="669" y="685"/>
                    </a:lnTo>
                    <a:lnTo>
                      <a:pt x="669" y="687"/>
                    </a:lnTo>
                    <a:lnTo>
                      <a:pt x="667" y="688"/>
                    </a:lnTo>
                    <a:lnTo>
                      <a:pt x="665" y="688"/>
                    </a:lnTo>
                    <a:lnTo>
                      <a:pt x="663" y="688"/>
                    </a:lnTo>
                    <a:lnTo>
                      <a:pt x="663" y="690"/>
                    </a:lnTo>
                    <a:lnTo>
                      <a:pt x="663" y="692"/>
                    </a:lnTo>
                    <a:lnTo>
                      <a:pt x="663" y="694"/>
                    </a:lnTo>
                    <a:lnTo>
                      <a:pt x="661" y="694"/>
                    </a:lnTo>
                    <a:lnTo>
                      <a:pt x="661" y="696"/>
                    </a:lnTo>
                    <a:lnTo>
                      <a:pt x="659" y="698"/>
                    </a:lnTo>
                    <a:lnTo>
                      <a:pt x="655" y="698"/>
                    </a:lnTo>
                    <a:lnTo>
                      <a:pt x="653" y="700"/>
                    </a:lnTo>
                    <a:lnTo>
                      <a:pt x="652" y="698"/>
                    </a:lnTo>
                    <a:lnTo>
                      <a:pt x="650" y="698"/>
                    </a:lnTo>
                    <a:lnTo>
                      <a:pt x="650" y="700"/>
                    </a:lnTo>
                    <a:lnTo>
                      <a:pt x="650" y="702"/>
                    </a:lnTo>
                    <a:lnTo>
                      <a:pt x="652" y="702"/>
                    </a:lnTo>
                    <a:lnTo>
                      <a:pt x="652" y="704"/>
                    </a:lnTo>
                    <a:lnTo>
                      <a:pt x="653" y="704"/>
                    </a:lnTo>
                    <a:lnTo>
                      <a:pt x="655" y="704"/>
                    </a:lnTo>
                    <a:lnTo>
                      <a:pt x="657" y="702"/>
                    </a:lnTo>
                    <a:lnTo>
                      <a:pt x="657" y="704"/>
                    </a:lnTo>
                    <a:lnTo>
                      <a:pt x="659" y="706"/>
                    </a:lnTo>
                    <a:lnTo>
                      <a:pt x="663" y="706"/>
                    </a:lnTo>
                    <a:lnTo>
                      <a:pt x="663" y="708"/>
                    </a:lnTo>
                    <a:lnTo>
                      <a:pt x="663" y="712"/>
                    </a:lnTo>
                    <a:lnTo>
                      <a:pt x="661" y="712"/>
                    </a:lnTo>
                    <a:lnTo>
                      <a:pt x="663" y="712"/>
                    </a:lnTo>
                    <a:lnTo>
                      <a:pt x="663" y="713"/>
                    </a:lnTo>
                    <a:lnTo>
                      <a:pt x="665" y="713"/>
                    </a:lnTo>
                    <a:lnTo>
                      <a:pt x="665" y="712"/>
                    </a:lnTo>
                    <a:lnTo>
                      <a:pt x="667" y="712"/>
                    </a:lnTo>
                    <a:lnTo>
                      <a:pt x="667" y="713"/>
                    </a:lnTo>
                    <a:lnTo>
                      <a:pt x="667" y="715"/>
                    </a:lnTo>
                    <a:lnTo>
                      <a:pt x="667" y="717"/>
                    </a:lnTo>
                    <a:lnTo>
                      <a:pt x="669" y="717"/>
                    </a:lnTo>
                    <a:lnTo>
                      <a:pt x="671" y="717"/>
                    </a:lnTo>
                    <a:lnTo>
                      <a:pt x="669" y="717"/>
                    </a:lnTo>
                    <a:lnTo>
                      <a:pt x="669" y="719"/>
                    </a:lnTo>
                    <a:lnTo>
                      <a:pt x="669" y="721"/>
                    </a:lnTo>
                    <a:lnTo>
                      <a:pt x="671" y="723"/>
                    </a:lnTo>
                    <a:lnTo>
                      <a:pt x="671" y="725"/>
                    </a:lnTo>
                    <a:lnTo>
                      <a:pt x="671" y="727"/>
                    </a:lnTo>
                    <a:lnTo>
                      <a:pt x="673" y="727"/>
                    </a:lnTo>
                    <a:lnTo>
                      <a:pt x="673" y="729"/>
                    </a:lnTo>
                    <a:lnTo>
                      <a:pt x="673" y="731"/>
                    </a:lnTo>
                    <a:lnTo>
                      <a:pt x="673" y="733"/>
                    </a:lnTo>
                    <a:lnTo>
                      <a:pt x="671" y="733"/>
                    </a:lnTo>
                    <a:lnTo>
                      <a:pt x="671" y="735"/>
                    </a:lnTo>
                    <a:lnTo>
                      <a:pt x="669" y="735"/>
                    </a:lnTo>
                    <a:lnTo>
                      <a:pt x="669" y="736"/>
                    </a:lnTo>
                    <a:lnTo>
                      <a:pt x="669" y="738"/>
                    </a:lnTo>
                    <a:lnTo>
                      <a:pt x="669" y="740"/>
                    </a:lnTo>
                    <a:lnTo>
                      <a:pt x="669" y="742"/>
                    </a:lnTo>
                    <a:lnTo>
                      <a:pt x="669" y="744"/>
                    </a:lnTo>
                    <a:lnTo>
                      <a:pt x="669" y="746"/>
                    </a:lnTo>
                    <a:lnTo>
                      <a:pt x="669" y="748"/>
                    </a:lnTo>
                    <a:lnTo>
                      <a:pt x="669" y="750"/>
                    </a:lnTo>
                    <a:lnTo>
                      <a:pt x="671" y="750"/>
                    </a:lnTo>
                    <a:lnTo>
                      <a:pt x="673" y="752"/>
                    </a:lnTo>
                    <a:lnTo>
                      <a:pt x="675" y="752"/>
                    </a:lnTo>
                    <a:lnTo>
                      <a:pt x="675" y="750"/>
                    </a:lnTo>
                    <a:lnTo>
                      <a:pt x="675" y="752"/>
                    </a:lnTo>
                    <a:lnTo>
                      <a:pt x="675" y="750"/>
                    </a:lnTo>
                    <a:lnTo>
                      <a:pt x="677" y="750"/>
                    </a:lnTo>
                    <a:lnTo>
                      <a:pt x="677" y="752"/>
                    </a:lnTo>
                    <a:lnTo>
                      <a:pt x="677" y="754"/>
                    </a:lnTo>
                    <a:lnTo>
                      <a:pt x="678" y="754"/>
                    </a:lnTo>
                    <a:lnTo>
                      <a:pt x="678" y="756"/>
                    </a:lnTo>
                    <a:lnTo>
                      <a:pt x="678" y="758"/>
                    </a:lnTo>
                    <a:lnTo>
                      <a:pt x="680" y="758"/>
                    </a:lnTo>
                    <a:lnTo>
                      <a:pt x="680" y="760"/>
                    </a:lnTo>
                    <a:lnTo>
                      <a:pt x="682" y="760"/>
                    </a:lnTo>
                    <a:lnTo>
                      <a:pt x="680" y="760"/>
                    </a:lnTo>
                    <a:lnTo>
                      <a:pt x="680" y="761"/>
                    </a:lnTo>
                    <a:lnTo>
                      <a:pt x="680" y="763"/>
                    </a:lnTo>
                    <a:lnTo>
                      <a:pt x="680" y="765"/>
                    </a:lnTo>
                    <a:lnTo>
                      <a:pt x="680" y="767"/>
                    </a:lnTo>
                    <a:lnTo>
                      <a:pt x="682" y="767"/>
                    </a:lnTo>
                    <a:lnTo>
                      <a:pt x="680" y="767"/>
                    </a:lnTo>
                    <a:lnTo>
                      <a:pt x="680" y="769"/>
                    </a:lnTo>
                    <a:lnTo>
                      <a:pt x="682" y="769"/>
                    </a:lnTo>
                    <a:lnTo>
                      <a:pt x="680" y="769"/>
                    </a:lnTo>
                    <a:lnTo>
                      <a:pt x="682" y="771"/>
                    </a:lnTo>
                    <a:lnTo>
                      <a:pt x="680" y="771"/>
                    </a:lnTo>
                    <a:lnTo>
                      <a:pt x="682" y="771"/>
                    </a:lnTo>
                    <a:lnTo>
                      <a:pt x="682" y="773"/>
                    </a:lnTo>
                    <a:lnTo>
                      <a:pt x="680" y="773"/>
                    </a:lnTo>
                    <a:lnTo>
                      <a:pt x="680" y="775"/>
                    </a:lnTo>
                    <a:lnTo>
                      <a:pt x="682" y="775"/>
                    </a:lnTo>
                    <a:lnTo>
                      <a:pt x="680" y="775"/>
                    </a:lnTo>
                    <a:lnTo>
                      <a:pt x="680" y="777"/>
                    </a:lnTo>
                    <a:lnTo>
                      <a:pt x="682" y="777"/>
                    </a:lnTo>
                    <a:lnTo>
                      <a:pt x="680" y="777"/>
                    </a:lnTo>
                    <a:lnTo>
                      <a:pt x="682" y="777"/>
                    </a:lnTo>
                    <a:lnTo>
                      <a:pt x="682" y="779"/>
                    </a:lnTo>
                    <a:lnTo>
                      <a:pt x="680" y="779"/>
                    </a:lnTo>
                    <a:lnTo>
                      <a:pt x="680" y="777"/>
                    </a:lnTo>
                    <a:lnTo>
                      <a:pt x="680" y="779"/>
                    </a:lnTo>
                    <a:lnTo>
                      <a:pt x="682" y="779"/>
                    </a:lnTo>
                    <a:lnTo>
                      <a:pt x="680" y="781"/>
                    </a:lnTo>
                    <a:lnTo>
                      <a:pt x="682" y="781"/>
                    </a:lnTo>
                    <a:lnTo>
                      <a:pt x="684" y="781"/>
                    </a:lnTo>
                    <a:lnTo>
                      <a:pt x="684" y="783"/>
                    </a:lnTo>
                    <a:lnTo>
                      <a:pt x="686" y="783"/>
                    </a:lnTo>
                    <a:lnTo>
                      <a:pt x="688" y="783"/>
                    </a:lnTo>
                    <a:lnTo>
                      <a:pt x="686" y="783"/>
                    </a:lnTo>
                    <a:lnTo>
                      <a:pt x="686" y="785"/>
                    </a:lnTo>
                    <a:lnTo>
                      <a:pt x="688" y="785"/>
                    </a:lnTo>
                    <a:lnTo>
                      <a:pt x="690" y="785"/>
                    </a:lnTo>
                    <a:lnTo>
                      <a:pt x="690" y="786"/>
                    </a:lnTo>
                    <a:lnTo>
                      <a:pt x="690" y="788"/>
                    </a:lnTo>
                    <a:lnTo>
                      <a:pt x="692" y="788"/>
                    </a:lnTo>
                    <a:lnTo>
                      <a:pt x="694" y="788"/>
                    </a:lnTo>
                    <a:lnTo>
                      <a:pt x="696" y="788"/>
                    </a:lnTo>
                    <a:lnTo>
                      <a:pt x="698" y="790"/>
                    </a:lnTo>
                    <a:lnTo>
                      <a:pt x="696" y="790"/>
                    </a:lnTo>
                    <a:lnTo>
                      <a:pt x="696" y="794"/>
                    </a:lnTo>
                    <a:lnTo>
                      <a:pt x="694" y="794"/>
                    </a:lnTo>
                    <a:lnTo>
                      <a:pt x="694" y="796"/>
                    </a:lnTo>
                    <a:lnTo>
                      <a:pt x="694" y="798"/>
                    </a:lnTo>
                    <a:lnTo>
                      <a:pt x="692" y="798"/>
                    </a:lnTo>
                    <a:lnTo>
                      <a:pt x="690" y="798"/>
                    </a:lnTo>
                    <a:lnTo>
                      <a:pt x="690" y="796"/>
                    </a:lnTo>
                    <a:lnTo>
                      <a:pt x="688" y="796"/>
                    </a:lnTo>
                    <a:lnTo>
                      <a:pt x="688" y="798"/>
                    </a:lnTo>
                    <a:lnTo>
                      <a:pt x="686" y="798"/>
                    </a:lnTo>
                    <a:lnTo>
                      <a:pt x="686" y="800"/>
                    </a:lnTo>
                    <a:lnTo>
                      <a:pt x="686" y="802"/>
                    </a:lnTo>
                    <a:lnTo>
                      <a:pt x="684" y="802"/>
                    </a:lnTo>
                    <a:lnTo>
                      <a:pt x="684" y="804"/>
                    </a:lnTo>
                    <a:lnTo>
                      <a:pt x="684" y="808"/>
                    </a:lnTo>
                    <a:lnTo>
                      <a:pt x="686" y="808"/>
                    </a:lnTo>
                    <a:lnTo>
                      <a:pt x="686" y="810"/>
                    </a:lnTo>
                    <a:lnTo>
                      <a:pt x="684" y="808"/>
                    </a:lnTo>
                    <a:lnTo>
                      <a:pt x="682" y="811"/>
                    </a:lnTo>
                    <a:lnTo>
                      <a:pt x="682" y="813"/>
                    </a:lnTo>
                    <a:lnTo>
                      <a:pt x="680" y="813"/>
                    </a:lnTo>
                    <a:lnTo>
                      <a:pt x="680" y="815"/>
                    </a:lnTo>
                    <a:lnTo>
                      <a:pt x="678" y="815"/>
                    </a:lnTo>
                    <a:lnTo>
                      <a:pt x="678" y="817"/>
                    </a:lnTo>
                    <a:lnTo>
                      <a:pt x="677" y="819"/>
                    </a:lnTo>
                    <a:lnTo>
                      <a:pt x="675" y="819"/>
                    </a:lnTo>
                    <a:lnTo>
                      <a:pt x="675" y="821"/>
                    </a:lnTo>
                    <a:lnTo>
                      <a:pt x="673" y="823"/>
                    </a:lnTo>
                    <a:lnTo>
                      <a:pt x="675" y="823"/>
                    </a:lnTo>
                    <a:lnTo>
                      <a:pt x="677" y="825"/>
                    </a:lnTo>
                    <a:lnTo>
                      <a:pt x="677" y="827"/>
                    </a:lnTo>
                    <a:lnTo>
                      <a:pt x="678" y="827"/>
                    </a:lnTo>
                    <a:lnTo>
                      <a:pt x="678" y="829"/>
                    </a:lnTo>
                    <a:lnTo>
                      <a:pt x="678" y="831"/>
                    </a:lnTo>
                    <a:lnTo>
                      <a:pt x="680" y="831"/>
                    </a:lnTo>
                    <a:lnTo>
                      <a:pt x="682" y="831"/>
                    </a:lnTo>
                    <a:lnTo>
                      <a:pt x="680" y="831"/>
                    </a:lnTo>
                    <a:lnTo>
                      <a:pt x="678" y="831"/>
                    </a:lnTo>
                    <a:lnTo>
                      <a:pt x="677" y="831"/>
                    </a:lnTo>
                    <a:lnTo>
                      <a:pt x="677" y="829"/>
                    </a:lnTo>
                    <a:lnTo>
                      <a:pt x="675" y="829"/>
                    </a:lnTo>
                    <a:lnTo>
                      <a:pt x="675" y="831"/>
                    </a:lnTo>
                    <a:lnTo>
                      <a:pt x="675" y="833"/>
                    </a:lnTo>
                    <a:lnTo>
                      <a:pt x="677" y="835"/>
                    </a:lnTo>
                    <a:lnTo>
                      <a:pt x="675" y="835"/>
                    </a:lnTo>
                    <a:lnTo>
                      <a:pt x="673" y="835"/>
                    </a:lnTo>
                    <a:lnTo>
                      <a:pt x="673" y="836"/>
                    </a:lnTo>
                    <a:lnTo>
                      <a:pt x="673" y="838"/>
                    </a:lnTo>
                    <a:lnTo>
                      <a:pt x="671" y="838"/>
                    </a:lnTo>
                    <a:lnTo>
                      <a:pt x="671" y="840"/>
                    </a:lnTo>
                    <a:lnTo>
                      <a:pt x="673" y="842"/>
                    </a:lnTo>
                    <a:lnTo>
                      <a:pt x="673" y="844"/>
                    </a:lnTo>
                    <a:lnTo>
                      <a:pt x="675" y="844"/>
                    </a:lnTo>
                    <a:lnTo>
                      <a:pt x="673" y="844"/>
                    </a:lnTo>
                    <a:lnTo>
                      <a:pt x="673" y="846"/>
                    </a:lnTo>
                    <a:lnTo>
                      <a:pt x="671" y="846"/>
                    </a:lnTo>
                    <a:lnTo>
                      <a:pt x="671" y="844"/>
                    </a:lnTo>
                    <a:lnTo>
                      <a:pt x="669" y="844"/>
                    </a:lnTo>
                    <a:lnTo>
                      <a:pt x="669" y="846"/>
                    </a:lnTo>
                    <a:lnTo>
                      <a:pt x="671" y="846"/>
                    </a:lnTo>
                    <a:lnTo>
                      <a:pt x="671" y="848"/>
                    </a:lnTo>
                    <a:lnTo>
                      <a:pt x="671" y="850"/>
                    </a:lnTo>
                    <a:lnTo>
                      <a:pt x="671" y="852"/>
                    </a:lnTo>
                    <a:lnTo>
                      <a:pt x="673" y="854"/>
                    </a:lnTo>
                    <a:lnTo>
                      <a:pt x="673" y="856"/>
                    </a:lnTo>
                    <a:lnTo>
                      <a:pt x="671" y="856"/>
                    </a:lnTo>
                    <a:lnTo>
                      <a:pt x="673" y="856"/>
                    </a:lnTo>
                    <a:lnTo>
                      <a:pt x="673" y="858"/>
                    </a:lnTo>
                    <a:lnTo>
                      <a:pt x="675" y="856"/>
                    </a:lnTo>
                    <a:lnTo>
                      <a:pt x="677" y="856"/>
                    </a:lnTo>
                    <a:lnTo>
                      <a:pt x="677" y="854"/>
                    </a:lnTo>
                    <a:lnTo>
                      <a:pt x="678" y="854"/>
                    </a:lnTo>
                    <a:lnTo>
                      <a:pt x="680" y="854"/>
                    </a:lnTo>
                    <a:lnTo>
                      <a:pt x="680" y="856"/>
                    </a:lnTo>
                    <a:lnTo>
                      <a:pt x="682" y="856"/>
                    </a:lnTo>
                    <a:lnTo>
                      <a:pt x="682" y="858"/>
                    </a:lnTo>
                    <a:lnTo>
                      <a:pt x="680" y="860"/>
                    </a:lnTo>
                    <a:lnTo>
                      <a:pt x="684" y="860"/>
                    </a:lnTo>
                    <a:lnTo>
                      <a:pt x="686" y="858"/>
                    </a:lnTo>
                    <a:lnTo>
                      <a:pt x="688" y="858"/>
                    </a:lnTo>
                    <a:lnTo>
                      <a:pt x="690" y="856"/>
                    </a:lnTo>
                    <a:lnTo>
                      <a:pt x="692" y="856"/>
                    </a:lnTo>
                    <a:lnTo>
                      <a:pt x="696" y="856"/>
                    </a:lnTo>
                    <a:lnTo>
                      <a:pt x="694" y="852"/>
                    </a:lnTo>
                    <a:lnTo>
                      <a:pt x="694" y="850"/>
                    </a:lnTo>
                    <a:lnTo>
                      <a:pt x="696" y="852"/>
                    </a:lnTo>
                    <a:lnTo>
                      <a:pt x="698" y="854"/>
                    </a:lnTo>
                    <a:lnTo>
                      <a:pt x="698" y="856"/>
                    </a:lnTo>
                    <a:lnTo>
                      <a:pt x="700" y="858"/>
                    </a:lnTo>
                    <a:lnTo>
                      <a:pt x="701" y="858"/>
                    </a:lnTo>
                    <a:lnTo>
                      <a:pt x="703" y="858"/>
                    </a:lnTo>
                    <a:lnTo>
                      <a:pt x="705" y="860"/>
                    </a:lnTo>
                    <a:lnTo>
                      <a:pt x="707" y="860"/>
                    </a:lnTo>
                    <a:lnTo>
                      <a:pt x="709" y="861"/>
                    </a:lnTo>
                    <a:lnTo>
                      <a:pt x="713" y="861"/>
                    </a:lnTo>
                    <a:lnTo>
                      <a:pt x="713" y="863"/>
                    </a:lnTo>
                    <a:lnTo>
                      <a:pt x="715" y="865"/>
                    </a:lnTo>
                    <a:lnTo>
                      <a:pt x="715" y="867"/>
                    </a:lnTo>
                    <a:lnTo>
                      <a:pt x="717" y="865"/>
                    </a:lnTo>
                    <a:lnTo>
                      <a:pt x="719" y="865"/>
                    </a:lnTo>
                    <a:lnTo>
                      <a:pt x="721" y="865"/>
                    </a:lnTo>
                    <a:lnTo>
                      <a:pt x="721" y="863"/>
                    </a:lnTo>
                    <a:lnTo>
                      <a:pt x="723" y="863"/>
                    </a:lnTo>
                    <a:lnTo>
                      <a:pt x="725" y="863"/>
                    </a:lnTo>
                    <a:lnTo>
                      <a:pt x="726" y="863"/>
                    </a:lnTo>
                    <a:lnTo>
                      <a:pt x="726" y="865"/>
                    </a:lnTo>
                    <a:lnTo>
                      <a:pt x="728" y="865"/>
                    </a:lnTo>
                    <a:lnTo>
                      <a:pt x="730" y="867"/>
                    </a:lnTo>
                    <a:lnTo>
                      <a:pt x="732" y="869"/>
                    </a:lnTo>
                    <a:lnTo>
                      <a:pt x="732" y="867"/>
                    </a:lnTo>
                    <a:lnTo>
                      <a:pt x="734" y="869"/>
                    </a:lnTo>
                    <a:lnTo>
                      <a:pt x="736" y="869"/>
                    </a:lnTo>
                    <a:lnTo>
                      <a:pt x="734" y="867"/>
                    </a:lnTo>
                    <a:lnTo>
                      <a:pt x="736" y="867"/>
                    </a:lnTo>
                    <a:lnTo>
                      <a:pt x="736" y="865"/>
                    </a:lnTo>
                    <a:lnTo>
                      <a:pt x="738" y="863"/>
                    </a:lnTo>
                    <a:lnTo>
                      <a:pt x="740" y="863"/>
                    </a:lnTo>
                    <a:lnTo>
                      <a:pt x="742" y="863"/>
                    </a:lnTo>
                    <a:lnTo>
                      <a:pt x="742" y="865"/>
                    </a:lnTo>
                    <a:lnTo>
                      <a:pt x="742" y="867"/>
                    </a:lnTo>
                    <a:lnTo>
                      <a:pt x="744" y="867"/>
                    </a:lnTo>
                    <a:lnTo>
                      <a:pt x="744" y="869"/>
                    </a:lnTo>
                    <a:lnTo>
                      <a:pt x="744" y="871"/>
                    </a:lnTo>
                    <a:lnTo>
                      <a:pt x="746" y="871"/>
                    </a:lnTo>
                    <a:lnTo>
                      <a:pt x="746" y="873"/>
                    </a:lnTo>
                    <a:lnTo>
                      <a:pt x="746" y="875"/>
                    </a:lnTo>
                    <a:lnTo>
                      <a:pt x="746" y="877"/>
                    </a:lnTo>
                    <a:lnTo>
                      <a:pt x="746" y="879"/>
                    </a:lnTo>
                    <a:lnTo>
                      <a:pt x="744" y="879"/>
                    </a:lnTo>
                    <a:lnTo>
                      <a:pt x="742" y="879"/>
                    </a:lnTo>
                    <a:lnTo>
                      <a:pt x="740" y="879"/>
                    </a:lnTo>
                    <a:lnTo>
                      <a:pt x="738" y="879"/>
                    </a:lnTo>
                    <a:lnTo>
                      <a:pt x="738" y="881"/>
                    </a:lnTo>
                    <a:lnTo>
                      <a:pt x="736" y="879"/>
                    </a:lnTo>
                    <a:lnTo>
                      <a:pt x="734" y="881"/>
                    </a:lnTo>
                    <a:lnTo>
                      <a:pt x="732" y="881"/>
                    </a:lnTo>
                    <a:lnTo>
                      <a:pt x="732" y="879"/>
                    </a:lnTo>
                    <a:lnTo>
                      <a:pt x="732" y="881"/>
                    </a:lnTo>
                    <a:lnTo>
                      <a:pt x="730" y="881"/>
                    </a:lnTo>
                    <a:lnTo>
                      <a:pt x="728" y="881"/>
                    </a:lnTo>
                    <a:lnTo>
                      <a:pt x="728" y="883"/>
                    </a:lnTo>
                    <a:lnTo>
                      <a:pt x="726" y="883"/>
                    </a:lnTo>
                    <a:lnTo>
                      <a:pt x="726" y="885"/>
                    </a:lnTo>
                    <a:lnTo>
                      <a:pt x="726" y="886"/>
                    </a:lnTo>
                    <a:lnTo>
                      <a:pt x="726" y="888"/>
                    </a:lnTo>
                    <a:lnTo>
                      <a:pt x="725" y="888"/>
                    </a:lnTo>
                    <a:lnTo>
                      <a:pt x="723" y="886"/>
                    </a:lnTo>
                    <a:lnTo>
                      <a:pt x="725" y="886"/>
                    </a:lnTo>
                    <a:lnTo>
                      <a:pt x="723" y="886"/>
                    </a:lnTo>
                    <a:lnTo>
                      <a:pt x="723" y="888"/>
                    </a:lnTo>
                    <a:lnTo>
                      <a:pt x="721" y="888"/>
                    </a:lnTo>
                    <a:lnTo>
                      <a:pt x="719" y="888"/>
                    </a:lnTo>
                    <a:lnTo>
                      <a:pt x="721" y="888"/>
                    </a:lnTo>
                    <a:lnTo>
                      <a:pt x="721" y="886"/>
                    </a:lnTo>
                    <a:lnTo>
                      <a:pt x="719" y="886"/>
                    </a:lnTo>
                    <a:lnTo>
                      <a:pt x="719" y="885"/>
                    </a:lnTo>
                    <a:lnTo>
                      <a:pt x="717" y="885"/>
                    </a:lnTo>
                    <a:lnTo>
                      <a:pt x="715" y="885"/>
                    </a:lnTo>
                    <a:lnTo>
                      <a:pt x="715" y="886"/>
                    </a:lnTo>
                    <a:lnTo>
                      <a:pt x="713" y="886"/>
                    </a:lnTo>
                    <a:lnTo>
                      <a:pt x="715" y="886"/>
                    </a:lnTo>
                    <a:lnTo>
                      <a:pt x="713" y="886"/>
                    </a:lnTo>
                    <a:lnTo>
                      <a:pt x="713" y="888"/>
                    </a:lnTo>
                    <a:lnTo>
                      <a:pt x="711" y="888"/>
                    </a:lnTo>
                    <a:lnTo>
                      <a:pt x="711" y="886"/>
                    </a:lnTo>
                    <a:lnTo>
                      <a:pt x="709" y="888"/>
                    </a:lnTo>
                    <a:lnTo>
                      <a:pt x="709" y="886"/>
                    </a:lnTo>
                    <a:lnTo>
                      <a:pt x="707" y="886"/>
                    </a:lnTo>
                    <a:lnTo>
                      <a:pt x="707" y="885"/>
                    </a:lnTo>
                    <a:lnTo>
                      <a:pt x="707" y="886"/>
                    </a:lnTo>
                    <a:lnTo>
                      <a:pt x="705" y="885"/>
                    </a:lnTo>
                    <a:lnTo>
                      <a:pt x="705" y="886"/>
                    </a:lnTo>
                    <a:lnTo>
                      <a:pt x="703" y="886"/>
                    </a:lnTo>
                    <a:lnTo>
                      <a:pt x="703" y="885"/>
                    </a:lnTo>
                    <a:lnTo>
                      <a:pt x="703" y="883"/>
                    </a:lnTo>
                    <a:lnTo>
                      <a:pt x="703" y="885"/>
                    </a:lnTo>
                    <a:lnTo>
                      <a:pt x="701" y="885"/>
                    </a:lnTo>
                    <a:lnTo>
                      <a:pt x="701" y="883"/>
                    </a:lnTo>
                    <a:lnTo>
                      <a:pt x="700" y="883"/>
                    </a:lnTo>
                    <a:lnTo>
                      <a:pt x="700" y="885"/>
                    </a:lnTo>
                    <a:lnTo>
                      <a:pt x="701" y="888"/>
                    </a:lnTo>
                    <a:lnTo>
                      <a:pt x="703" y="888"/>
                    </a:lnTo>
                    <a:lnTo>
                      <a:pt x="703" y="890"/>
                    </a:lnTo>
                    <a:lnTo>
                      <a:pt x="705" y="892"/>
                    </a:lnTo>
                    <a:lnTo>
                      <a:pt x="703" y="894"/>
                    </a:lnTo>
                    <a:lnTo>
                      <a:pt x="703" y="896"/>
                    </a:lnTo>
                    <a:lnTo>
                      <a:pt x="701" y="896"/>
                    </a:lnTo>
                    <a:lnTo>
                      <a:pt x="701" y="898"/>
                    </a:lnTo>
                    <a:lnTo>
                      <a:pt x="701" y="900"/>
                    </a:lnTo>
                    <a:lnTo>
                      <a:pt x="701" y="902"/>
                    </a:lnTo>
                    <a:lnTo>
                      <a:pt x="701" y="904"/>
                    </a:lnTo>
                    <a:lnTo>
                      <a:pt x="701" y="906"/>
                    </a:lnTo>
                    <a:lnTo>
                      <a:pt x="703" y="906"/>
                    </a:lnTo>
                    <a:lnTo>
                      <a:pt x="703" y="908"/>
                    </a:lnTo>
                    <a:lnTo>
                      <a:pt x="703" y="910"/>
                    </a:lnTo>
                    <a:lnTo>
                      <a:pt x="701" y="910"/>
                    </a:lnTo>
                    <a:lnTo>
                      <a:pt x="701" y="911"/>
                    </a:lnTo>
                    <a:lnTo>
                      <a:pt x="701" y="913"/>
                    </a:lnTo>
                    <a:lnTo>
                      <a:pt x="700" y="913"/>
                    </a:lnTo>
                    <a:lnTo>
                      <a:pt x="698" y="915"/>
                    </a:lnTo>
                    <a:lnTo>
                      <a:pt x="700" y="915"/>
                    </a:lnTo>
                    <a:lnTo>
                      <a:pt x="701" y="917"/>
                    </a:lnTo>
                    <a:lnTo>
                      <a:pt x="701" y="919"/>
                    </a:lnTo>
                    <a:lnTo>
                      <a:pt x="703" y="921"/>
                    </a:lnTo>
                    <a:lnTo>
                      <a:pt x="705" y="921"/>
                    </a:lnTo>
                    <a:lnTo>
                      <a:pt x="705" y="923"/>
                    </a:lnTo>
                    <a:lnTo>
                      <a:pt x="707" y="923"/>
                    </a:lnTo>
                    <a:lnTo>
                      <a:pt x="705" y="925"/>
                    </a:lnTo>
                    <a:lnTo>
                      <a:pt x="707" y="925"/>
                    </a:lnTo>
                    <a:lnTo>
                      <a:pt x="705" y="925"/>
                    </a:lnTo>
                    <a:lnTo>
                      <a:pt x="705" y="927"/>
                    </a:lnTo>
                    <a:lnTo>
                      <a:pt x="705" y="929"/>
                    </a:lnTo>
                    <a:lnTo>
                      <a:pt x="703" y="929"/>
                    </a:lnTo>
                    <a:lnTo>
                      <a:pt x="701" y="929"/>
                    </a:lnTo>
                    <a:lnTo>
                      <a:pt x="701" y="927"/>
                    </a:lnTo>
                    <a:lnTo>
                      <a:pt x="700" y="927"/>
                    </a:lnTo>
                    <a:lnTo>
                      <a:pt x="698" y="927"/>
                    </a:lnTo>
                    <a:lnTo>
                      <a:pt x="698" y="929"/>
                    </a:lnTo>
                    <a:lnTo>
                      <a:pt x="698" y="931"/>
                    </a:lnTo>
                    <a:lnTo>
                      <a:pt x="698" y="933"/>
                    </a:lnTo>
                    <a:lnTo>
                      <a:pt x="698" y="935"/>
                    </a:lnTo>
                    <a:lnTo>
                      <a:pt x="700" y="935"/>
                    </a:lnTo>
                    <a:lnTo>
                      <a:pt x="700" y="936"/>
                    </a:lnTo>
                    <a:lnTo>
                      <a:pt x="700" y="938"/>
                    </a:lnTo>
                    <a:lnTo>
                      <a:pt x="700" y="940"/>
                    </a:lnTo>
                    <a:lnTo>
                      <a:pt x="700" y="942"/>
                    </a:lnTo>
                    <a:lnTo>
                      <a:pt x="698" y="942"/>
                    </a:lnTo>
                    <a:lnTo>
                      <a:pt x="698" y="944"/>
                    </a:lnTo>
                    <a:lnTo>
                      <a:pt x="696" y="944"/>
                    </a:lnTo>
                    <a:lnTo>
                      <a:pt x="694" y="944"/>
                    </a:lnTo>
                    <a:lnTo>
                      <a:pt x="692" y="946"/>
                    </a:lnTo>
                    <a:lnTo>
                      <a:pt x="692" y="948"/>
                    </a:lnTo>
                    <a:lnTo>
                      <a:pt x="694" y="950"/>
                    </a:lnTo>
                    <a:lnTo>
                      <a:pt x="694" y="952"/>
                    </a:lnTo>
                    <a:lnTo>
                      <a:pt x="694" y="954"/>
                    </a:lnTo>
                    <a:lnTo>
                      <a:pt x="696" y="954"/>
                    </a:lnTo>
                    <a:lnTo>
                      <a:pt x="696" y="956"/>
                    </a:lnTo>
                    <a:lnTo>
                      <a:pt x="698" y="956"/>
                    </a:lnTo>
                    <a:lnTo>
                      <a:pt x="700" y="958"/>
                    </a:lnTo>
                    <a:lnTo>
                      <a:pt x="701" y="958"/>
                    </a:lnTo>
                    <a:lnTo>
                      <a:pt x="703" y="960"/>
                    </a:lnTo>
                    <a:lnTo>
                      <a:pt x="703" y="961"/>
                    </a:lnTo>
                    <a:lnTo>
                      <a:pt x="703" y="963"/>
                    </a:lnTo>
                    <a:lnTo>
                      <a:pt x="705" y="965"/>
                    </a:lnTo>
                    <a:lnTo>
                      <a:pt x="705" y="967"/>
                    </a:lnTo>
                    <a:lnTo>
                      <a:pt x="703" y="969"/>
                    </a:lnTo>
                    <a:lnTo>
                      <a:pt x="705" y="969"/>
                    </a:lnTo>
                    <a:lnTo>
                      <a:pt x="707" y="969"/>
                    </a:lnTo>
                    <a:lnTo>
                      <a:pt x="709" y="971"/>
                    </a:lnTo>
                    <a:lnTo>
                      <a:pt x="711" y="971"/>
                    </a:lnTo>
                    <a:lnTo>
                      <a:pt x="713" y="971"/>
                    </a:lnTo>
                    <a:lnTo>
                      <a:pt x="715" y="973"/>
                    </a:lnTo>
                    <a:lnTo>
                      <a:pt x="715" y="975"/>
                    </a:lnTo>
                    <a:lnTo>
                      <a:pt x="713" y="975"/>
                    </a:lnTo>
                    <a:lnTo>
                      <a:pt x="711" y="977"/>
                    </a:lnTo>
                    <a:lnTo>
                      <a:pt x="713" y="977"/>
                    </a:lnTo>
                    <a:lnTo>
                      <a:pt x="713" y="979"/>
                    </a:lnTo>
                    <a:lnTo>
                      <a:pt x="713" y="981"/>
                    </a:lnTo>
                    <a:lnTo>
                      <a:pt x="715" y="981"/>
                    </a:lnTo>
                    <a:lnTo>
                      <a:pt x="715" y="983"/>
                    </a:lnTo>
                    <a:lnTo>
                      <a:pt x="711" y="983"/>
                    </a:lnTo>
                    <a:lnTo>
                      <a:pt x="711" y="984"/>
                    </a:lnTo>
                    <a:lnTo>
                      <a:pt x="709" y="986"/>
                    </a:lnTo>
                    <a:lnTo>
                      <a:pt x="709" y="988"/>
                    </a:lnTo>
                    <a:lnTo>
                      <a:pt x="707" y="988"/>
                    </a:lnTo>
                    <a:lnTo>
                      <a:pt x="705" y="988"/>
                    </a:lnTo>
                    <a:lnTo>
                      <a:pt x="705" y="990"/>
                    </a:lnTo>
                    <a:lnTo>
                      <a:pt x="707" y="990"/>
                    </a:lnTo>
                    <a:lnTo>
                      <a:pt x="707" y="992"/>
                    </a:lnTo>
                    <a:lnTo>
                      <a:pt x="705" y="994"/>
                    </a:lnTo>
                    <a:lnTo>
                      <a:pt x="705" y="996"/>
                    </a:lnTo>
                    <a:lnTo>
                      <a:pt x="703" y="996"/>
                    </a:lnTo>
                    <a:lnTo>
                      <a:pt x="705" y="996"/>
                    </a:lnTo>
                    <a:lnTo>
                      <a:pt x="705" y="998"/>
                    </a:lnTo>
                    <a:lnTo>
                      <a:pt x="707" y="998"/>
                    </a:lnTo>
                    <a:lnTo>
                      <a:pt x="707" y="1000"/>
                    </a:lnTo>
                    <a:lnTo>
                      <a:pt x="707" y="1002"/>
                    </a:lnTo>
                    <a:lnTo>
                      <a:pt x="707" y="1004"/>
                    </a:lnTo>
                    <a:lnTo>
                      <a:pt x="707" y="1006"/>
                    </a:lnTo>
                    <a:lnTo>
                      <a:pt x="707" y="1008"/>
                    </a:lnTo>
                    <a:lnTo>
                      <a:pt x="707" y="1009"/>
                    </a:lnTo>
                    <a:lnTo>
                      <a:pt x="707" y="1011"/>
                    </a:lnTo>
                    <a:lnTo>
                      <a:pt x="705" y="1011"/>
                    </a:lnTo>
                    <a:lnTo>
                      <a:pt x="705" y="1013"/>
                    </a:lnTo>
                    <a:lnTo>
                      <a:pt x="705" y="1011"/>
                    </a:lnTo>
                    <a:lnTo>
                      <a:pt x="705" y="1013"/>
                    </a:lnTo>
                    <a:lnTo>
                      <a:pt x="703" y="1013"/>
                    </a:lnTo>
                    <a:lnTo>
                      <a:pt x="703" y="1015"/>
                    </a:lnTo>
                    <a:lnTo>
                      <a:pt x="703" y="1017"/>
                    </a:lnTo>
                    <a:lnTo>
                      <a:pt x="701" y="1017"/>
                    </a:lnTo>
                    <a:lnTo>
                      <a:pt x="700" y="1017"/>
                    </a:lnTo>
                    <a:lnTo>
                      <a:pt x="700" y="1019"/>
                    </a:lnTo>
                    <a:lnTo>
                      <a:pt x="698" y="1021"/>
                    </a:lnTo>
                    <a:lnTo>
                      <a:pt x="698" y="1023"/>
                    </a:lnTo>
                    <a:lnTo>
                      <a:pt x="696" y="1023"/>
                    </a:lnTo>
                    <a:lnTo>
                      <a:pt x="696" y="1025"/>
                    </a:lnTo>
                    <a:lnTo>
                      <a:pt x="696" y="1027"/>
                    </a:lnTo>
                    <a:lnTo>
                      <a:pt x="694" y="1027"/>
                    </a:lnTo>
                    <a:lnTo>
                      <a:pt x="696" y="1029"/>
                    </a:lnTo>
                    <a:lnTo>
                      <a:pt x="696" y="1031"/>
                    </a:lnTo>
                    <a:lnTo>
                      <a:pt x="698" y="1033"/>
                    </a:lnTo>
                    <a:lnTo>
                      <a:pt x="698" y="1034"/>
                    </a:lnTo>
                    <a:lnTo>
                      <a:pt x="698" y="1036"/>
                    </a:lnTo>
                    <a:lnTo>
                      <a:pt x="696" y="1036"/>
                    </a:lnTo>
                    <a:lnTo>
                      <a:pt x="694" y="1038"/>
                    </a:lnTo>
                    <a:lnTo>
                      <a:pt x="694" y="1040"/>
                    </a:lnTo>
                    <a:lnTo>
                      <a:pt x="692" y="1038"/>
                    </a:lnTo>
                    <a:lnTo>
                      <a:pt x="690" y="1038"/>
                    </a:lnTo>
                    <a:lnTo>
                      <a:pt x="688" y="1040"/>
                    </a:lnTo>
                    <a:lnTo>
                      <a:pt x="688" y="1042"/>
                    </a:lnTo>
                    <a:lnTo>
                      <a:pt x="688" y="1044"/>
                    </a:lnTo>
                    <a:lnTo>
                      <a:pt x="686" y="1044"/>
                    </a:lnTo>
                    <a:lnTo>
                      <a:pt x="684" y="1046"/>
                    </a:lnTo>
                    <a:lnTo>
                      <a:pt x="682" y="1046"/>
                    </a:lnTo>
                    <a:lnTo>
                      <a:pt x="682" y="1048"/>
                    </a:lnTo>
                    <a:lnTo>
                      <a:pt x="680" y="1048"/>
                    </a:lnTo>
                    <a:lnTo>
                      <a:pt x="680" y="1050"/>
                    </a:lnTo>
                    <a:lnTo>
                      <a:pt x="680" y="1052"/>
                    </a:lnTo>
                    <a:lnTo>
                      <a:pt x="678" y="1054"/>
                    </a:lnTo>
                    <a:lnTo>
                      <a:pt x="680" y="1054"/>
                    </a:lnTo>
                    <a:lnTo>
                      <a:pt x="680" y="1056"/>
                    </a:lnTo>
                    <a:lnTo>
                      <a:pt x="678" y="1056"/>
                    </a:lnTo>
                    <a:lnTo>
                      <a:pt x="677" y="1056"/>
                    </a:lnTo>
                    <a:lnTo>
                      <a:pt x="675" y="1058"/>
                    </a:lnTo>
                    <a:lnTo>
                      <a:pt x="673" y="1058"/>
                    </a:lnTo>
                    <a:lnTo>
                      <a:pt x="671" y="1058"/>
                    </a:lnTo>
                    <a:lnTo>
                      <a:pt x="669" y="1059"/>
                    </a:lnTo>
                    <a:lnTo>
                      <a:pt x="669" y="1061"/>
                    </a:lnTo>
                    <a:lnTo>
                      <a:pt x="667" y="1061"/>
                    </a:lnTo>
                    <a:lnTo>
                      <a:pt x="665" y="1061"/>
                    </a:lnTo>
                    <a:lnTo>
                      <a:pt x="667" y="1063"/>
                    </a:lnTo>
                    <a:lnTo>
                      <a:pt x="669" y="1063"/>
                    </a:lnTo>
                    <a:lnTo>
                      <a:pt x="671" y="1063"/>
                    </a:lnTo>
                    <a:lnTo>
                      <a:pt x="671" y="1065"/>
                    </a:lnTo>
                    <a:lnTo>
                      <a:pt x="673" y="1067"/>
                    </a:lnTo>
                    <a:lnTo>
                      <a:pt x="673" y="1069"/>
                    </a:lnTo>
                    <a:lnTo>
                      <a:pt x="675" y="1069"/>
                    </a:lnTo>
                    <a:lnTo>
                      <a:pt x="675" y="1071"/>
                    </a:lnTo>
                    <a:lnTo>
                      <a:pt x="675" y="1073"/>
                    </a:lnTo>
                    <a:lnTo>
                      <a:pt x="673" y="1071"/>
                    </a:lnTo>
                    <a:lnTo>
                      <a:pt x="673" y="1073"/>
                    </a:lnTo>
                    <a:lnTo>
                      <a:pt x="671" y="1071"/>
                    </a:lnTo>
                    <a:lnTo>
                      <a:pt x="671" y="1073"/>
                    </a:lnTo>
                    <a:lnTo>
                      <a:pt x="671" y="1071"/>
                    </a:lnTo>
                    <a:lnTo>
                      <a:pt x="669" y="1073"/>
                    </a:lnTo>
                    <a:lnTo>
                      <a:pt x="669" y="1075"/>
                    </a:lnTo>
                    <a:lnTo>
                      <a:pt x="667" y="1075"/>
                    </a:lnTo>
                    <a:lnTo>
                      <a:pt x="667" y="1077"/>
                    </a:lnTo>
                    <a:lnTo>
                      <a:pt x="665" y="1077"/>
                    </a:lnTo>
                    <a:lnTo>
                      <a:pt x="665" y="1079"/>
                    </a:lnTo>
                    <a:lnTo>
                      <a:pt x="663" y="1081"/>
                    </a:lnTo>
                    <a:lnTo>
                      <a:pt x="663" y="1083"/>
                    </a:lnTo>
                    <a:lnTo>
                      <a:pt x="663" y="1084"/>
                    </a:lnTo>
                    <a:lnTo>
                      <a:pt x="663" y="1086"/>
                    </a:lnTo>
                    <a:lnTo>
                      <a:pt x="663" y="1088"/>
                    </a:lnTo>
                    <a:lnTo>
                      <a:pt x="663" y="1090"/>
                    </a:lnTo>
                    <a:lnTo>
                      <a:pt x="665" y="1090"/>
                    </a:lnTo>
                    <a:lnTo>
                      <a:pt x="665" y="1092"/>
                    </a:lnTo>
                    <a:lnTo>
                      <a:pt x="665" y="1094"/>
                    </a:lnTo>
                    <a:lnTo>
                      <a:pt x="663" y="1094"/>
                    </a:lnTo>
                    <a:lnTo>
                      <a:pt x="661" y="1094"/>
                    </a:lnTo>
                    <a:lnTo>
                      <a:pt x="659" y="1096"/>
                    </a:lnTo>
                    <a:lnTo>
                      <a:pt x="659" y="1098"/>
                    </a:lnTo>
                    <a:lnTo>
                      <a:pt x="661" y="1098"/>
                    </a:lnTo>
                    <a:lnTo>
                      <a:pt x="661" y="1100"/>
                    </a:lnTo>
                    <a:lnTo>
                      <a:pt x="663" y="1100"/>
                    </a:lnTo>
                    <a:lnTo>
                      <a:pt x="663" y="1102"/>
                    </a:lnTo>
                    <a:lnTo>
                      <a:pt x="665" y="1102"/>
                    </a:lnTo>
                    <a:lnTo>
                      <a:pt x="665" y="1104"/>
                    </a:lnTo>
                    <a:lnTo>
                      <a:pt x="665" y="1106"/>
                    </a:lnTo>
                    <a:lnTo>
                      <a:pt x="663" y="1106"/>
                    </a:lnTo>
                    <a:lnTo>
                      <a:pt x="663" y="1108"/>
                    </a:lnTo>
                    <a:lnTo>
                      <a:pt x="663" y="1109"/>
                    </a:lnTo>
                    <a:lnTo>
                      <a:pt x="663" y="1111"/>
                    </a:lnTo>
                    <a:lnTo>
                      <a:pt x="663" y="1113"/>
                    </a:lnTo>
                    <a:lnTo>
                      <a:pt x="665" y="1113"/>
                    </a:lnTo>
                    <a:lnTo>
                      <a:pt x="665" y="1115"/>
                    </a:lnTo>
                    <a:lnTo>
                      <a:pt x="667" y="1115"/>
                    </a:lnTo>
                    <a:lnTo>
                      <a:pt x="667" y="1117"/>
                    </a:lnTo>
                    <a:lnTo>
                      <a:pt x="667" y="1119"/>
                    </a:lnTo>
                    <a:lnTo>
                      <a:pt x="667" y="1121"/>
                    </a:lnTo>
                    <a:lnTo>
                      <a:pt x="669" y="1121"/>
                    </a:lnTo>
                    <a:lnTo>
                      <a:pt x="669" y="1123"/>
                    </a:lnTo>
                    <a:lnTo>
                      <a:pt x="667" y="1123"/>
                    </a:lnTo>
                    <a:lnTo>
                      <a:pt x="669" y="1123"/>
                    </a:lnTo>
                    <a:lnTo>
                      <a:pt x="667" y="1123"/>
                    </a:lnTo>
                    <a:lnTo>
                      <a:pt x="669" y="1123"/>
                    </a:lnTo>
                    <a:lnTo>
                      <a:pt x="669" y="1125"/>
                    </a:lnTo>
                    <a:lnTo>
                      <a:pt x="671" y="1125"/>
                    </a:lnTo>
                    <a:lnTo>
                      <a:pt x="673" y="1125"/>
                    </a:lnTo>
                    <a:lnTo>
                      <a:pt x="673" y="1127"/>
                    </a:lnTo>
                    <a:lnTo>
                      <a:pt x="675" y="1127"/>
                    </a:lnTo>
                    <a:lnTo>
                      <a:pt x="673" y="1127"/>
                    </a:lnTo>
                    <a:lnTo>
                      <a:pt x="675" y="1127"/>
                    </a:lnTo>
                    <a:lnTo>
                      <a:pt x="675" y="1129"/>
                    </a:lnTo>
                    <a:lnTo>
                      <a:pt x="675" y="1127"/>
                    </a:lnTo>
                    <a:lnTo>
                      <a:pt x="675" y="1129"/>
                    </a:lnTo>
                    <a:lnTo>
                      <a:pt x="675" y="1131"/>
                    </a:lnTo>
                    <a:lnTo>
                      <a:pt x="677" y="1131"/>
                    </a:lnTo>
                    <a:lnTo>
                      <a:pt x="678" y="1131"/>
                    </a:lnTo>
                    <a:lnTo>
                      <a:pt x="680" y="1131"/>
                    </a:lnTo>
                    <a:lnTo>
                      <a:pt x="682" y="1131"/>
                    </a:lnTo>
                    <a:lnTo>
                      <a:pt x="684" y="1131"/>
                    </a:lnTo>
                    <a:lnTo>
                      <a:pt x="686" y="1131"/>
                    </a:lnTo>
                    <a:lnTo>
                      <a:pt x="688" y="1131"/>
                    </a:lnTo>
                    <a:lnTo>
                      <a:pt x="690" y="1129"/>
                    </a:lnTo>
                    <a:lnTo>
                      <a:pt x="690" y="1131"/>
                    </a:lnTo>
                    <a:lnTo>
                      <a:pt x="690" y="1133"/>
                    </a:lnTo>
                    <a:lnTo>
                      <a:pt x="692" y="1133"/>
                    </a:lnTo>
                    <a:lnTo>
                      <a:pt x="690" y="1133"/>
                    </a:lnTo>
                    <a:lnTo>
                      <a:pt x="690" y="1131"/>
                    </a:lnTo>
                    <a:lnTo>
                      <a:pt x="692" y="1131"/>
                    </a:lnTo>
                    <a:lnTo>
                      <a:pt x="692" y="1133"/>
                    </a:lnTo>
                    <a:lnTo>
                      <a:pt x="694" y="1133"/>
                    </a:lnTo>
                    <a:lnTo>
                      <a:pt x="694" y="1134"/>
                    </a:lnTo>
                    <a:lnTo>
                      <a:pt x="696" y="1134"/>
                    </a:lnTo>
                    <a:lnTo>
                      <a:pt x="694" y="1134"/>
                    </a:lnTo>
                    <a:lnTo>
                      <a:pt x="694" y="1136"/>
                    </a:lnTo>
                    <a:lnTo>
                      <a:pt x="694" y="1138"/>
                    </a:lnTo>
                    <a:lnTo>
                      <a:pt x="694" y="1140"/>
                    </a:lnTo>
                    <a:lnTo>
                      <a:pt x="694" y="1142"/>
                    </a:lnTo>
                    <a:lnTo>
                      <a:pt x="694" y="1144"/>
                    </a:lnTo>
                    <a:lnTo>
                      <a:pt x="696" y="1144"/>
                    </a:lnTo>
                    <a:lnTo>
                      <a:pt x="696" y="1146"/>
                    </a:lnTo>
                    <a:lnTo>
                      <a:pt x="696" y="1148"/>
                    </a:lnTo>
                    <a:lnTo>
                      <a:pt x="696" y="1150"/>
                    </a:lnTo>
                    <a:lnTo>
                      <a:pt x="694" y="1150"/>
                    </a:lnTo>
                    <a:lnTo>
                      <a:pt x="694" y="1152"/>
                    </a:lnTo>
                    <a:lnTo>
                      <a:pt x="694" y="1154"/>
                    </a:lnTo>
                    <a:lnTo>
                      <a:pt x="696" y="1154"/>
                    </a:lnTo>
                    <a:lnTo>
                      <a:pt x="694" y="1154"/>
                    </a:lnTo>
                    <a:lnTo>
                      <a:pt x="696" y="1156"/>
                    </a:lnTo>
                    <a:lnTo>
                      <a:pt x="696" y="1158"/>
                    </a:lnTo>
                    <a:lnTo>
                      <a:pt x="698" y="1158"/>
                    </a:lnTo>
                    <a:lnTo>
                      <a:pt x="696" y="1158"/>
                    </a:lnTo>
                    <a:lnTo>
                      <a:pt x="698" y="1158"/>
                    </a:lnTo>
                    <a:lnTo>
                      <a:pt x="698" y="1159"/>
                    </a:lnTo>
                    <a:lnTo>
                      <a:pt x="696" y="1159"/>
                    </a:lnTo>
                    <a:lnTo>
                      <a:pt x="698" y="1159"/>
                    </a:lnTo>
                    <a:lnTo>
                      <a:pt x="696" y="1159"/>
                    </a:lnTo>
                    <a:lnTo>
                      <a:pt x="696" y="1158"/>
                    </a:lnTo>
                    <a:lnTo>
                      <a:pt x="696" y="1159"/>
                    </a:lnTo>
                    <a:lnTo>
                      <a:pt x="696" y="1158"/>
                    </a:lnTo>
                    <a:lnTo>
                      <a:pt x="694" y="1159"/>
                    </a:lnTo>
                    <a:lnTo>
                      <a:pt x="692" y="1159"/>
                    </a:lnTo>
                    <a:lnTo>
                      <a:pt x="690" y="1159"/>
                    </a:lnTo>
                    <a:lnTo>
                      <a:pt x="690" y="1158"/>
                    </a:lnTo>
                    <a:lnTo>
                      <a:pt x="688" y="1159"/>
                    </a:lnTo>
                    <a:lnTo>
                      <a:pt x="688" y="1158"/>
                    </a:lnTo>
                    <a:lnTo>
                      <a:pt x="686" y="1158"/>
                    </a:lnTo>
                    <a:lnTo>
                      <a:pt x="688" y="1158"/>
                    </a:lnTo>
                    <a:lnTo>
                      <a:pt x="686" y="1158"/>
                    </a:lnTo>
                    <a:lnTo>
                      <a:pt x="686" y="1159"/>
                    </a:lnTo>
                    <a:lnTo>
                      <a:pt x="684" y="1159"/>
                    </a:lnTo>
                    <a:lnTo>
                      <a:pt x="684" y="1158"/>
                    </a:lnTo>
                    <a:lnTo>
                      <a:pt x="684" y="1159"/>
                    </a:lnTo>
                    <a:lnTo>
                      <a:pt x="682" y="1161"/>
                    </a:lnTo>
                    <a:lnTo>
                      <a:pt x="682" y="1159"/>
                    </a:lnTo>
                    <a:lnTo>
                      <a:pt x="682" y="1161"/>
                    </a:lnTo>
                    <a:lnTo>
                      <a:pt x="684" y="1163"/>
                    </a:lnTo>
                    <a:lnTo>
                      <a:pt x="682" y="1163"/>
                    </a:lnTo>
                    <a:lnTo>
                      <a:pt x="684" y="1163"/>
                    </a:lnTo>
                    <a:lnTo>
                      <a:pt x="684" y="1165"/>
                    </a:lnTo>
                    <a:lnTo>
                      <a:pt x="682" y="1165"/>
                    </a:lnTo>
                    <a:lnTo>
                      <a:pt x="680" y="1165"/>
                    </a:lnTo>
                    <a:lnTo>
                      <a:pt x="678" y="1167"/>
                    </a:lnTo>
                    <a:lnTo>
                      <a:pt x="680" y="1167"/>
                    </a:lnTo>
                    <a:lnTo>
                      <a:pt x="678" y="1167"/>
                    </a:lnTo>
                    <a:lnTo>
                      <a:pt x="678" y="1169"/>
                    </a:lnTo>
                    <a:lnTo>
                      <a:pt x="678" y="1171"/>
                    </a:lnTo>
                    <a:lnTo>
                      <a:pt x="677" y="1171"/>
                    </a:lnTo>
                    <a:lnTo>
                      <a:pt x="677" y="1173"/>
                    </a:lnTo>
                    <a:lnTo>
                      <a:pt x="678" y="1173"/>
                    </a:lnTo>
                    <a:lnTo>
                      <a:pt x="677" y="1175"/>
                    </a:lnTo>
                    <a:lnTo>
                      <a:pt x="678" y="1175"/>
                    </a:lnTo>
                    <a:lnTo>
                      <a:pt x="678" y="1177"/>
                    </a:lnTo>
                    <a:lnTo>
                      <a:pt x="680" y="1177"/>
                    </a:lnTo>
                    <a:lnTo>
                      <a:pt x="680" y="1179"/>
                    </a:lnTo>
                    <a:lnTo>
                      <a:pt x="680" y="1181"/>
                    </a:lnTo>
                    <a:lnTo>
                      <a:pt x="682" y="1183"/>
                    </a:lnTo>
                    <a:lnTo>
                      <a:pt x="684" y="1184"/>
                    </a:lnTo>
                    <a:lnTo>
                      <a:pt x="684" y="1186"/>
                    </a:lnTo>
                    <a:lnTo>
                      <a:pt x="686" y="1186"/>
                    </a:lnTo>
                    <a:lnTo>
                      <a:pt x="688" y="1184"/>
                    </a:lnTo>
                    <a:lnTo>
                      <a:pt x="690" y="1184"/>
                    </a:lnTo>
                    <a:lnTo>
                      <a:pt x="690" y="1186"/>
                    </a:lnTo>
                    <a:lnTo>
                      <a:pt x="692" y="1186"/>
                    </a:lnTo>
                    <a:lnTo>
                      <a:pt x="692" y="1188"/>
                    </a:lnTo>
                    <a:lnTo>
                      <a:pt x="692" y="1190"/>
                    </a:lnTo>
                    <a:lnTo>
                      <a:pt x="694" y="1192"/>
                    </a:lnTo>
                    <a:lnTo>
                      <a:pt x="692" y="1194"/>
                    </a:lnTo>
                    <a:lnTo>
                      <a:pt x="692" y="1196"/>
                    </a:lnTo>
                    <a:lnTo>
                      <a:pt x="692" y="1198"/>
                    </a:lnTo>
                    <a:lnTo>
                      <a:pt x="694" y="1198"/>
                    </a:lnTo>
                    <a:lnTo>
                      <a:pt x="696" y="1198"/>
                    </a:lnTo>
                    <a:lnTo>
                      <a:pt x="696" y="1200"/>
                    </a:lnTo>
                    <a:lnTo>
                      <a:pt x="696" y="1202"/>
                    </a:lnTo>
                    <a:lnTo>
                      <a:pt x="698" y="1202"/>
                    </a:lnTo>
                    <a:lnTo>
                      <a:pt x="698" y="1204"/>
                    </a:lnTo>
                    <a:lnTo>
                      <a:pt x="696" y="1204"/>
                    </a:lnTo>
                    <a:lnTo>
                      <a:pt x="696" y="1206"/>
                    </a:lnTo>
                    <a:lnTo>
                      <a:pt x="698" y="1206"/>
                    </a:lnTo>
                    <a:lnTo>
                      <a:pt x="698" y="1208"/>
                    </a:lnTo>
                    <a:lnTo>
                      <a:pt x="698" y="1209"/>
                    </a:lnTo>
                    <a:lnTo>
                      <a:pt x="698" y="1211"/>
                    </a:lnTo>
                    <a:lnTo>
                      <a:pt x="696" y="1211"/>
                    </a:lnTo>
                    <a:lnTo>
                      <a:pt x="694" y="1213"/>
                    </a:lnTo>
                    <a:lnTo>
                      <a:pt x="692" y="1213"/>
                    </a:lnTo>
                    <a:lnTo>
                      <a:pt x="692" y="1215"/>
                    </a:lnTo>
                    <a:lnTo>
                      <a:pt x="690" y="1215"/>
                    </a:lnTo>
                    <a:lnTo>
                      <a:pt x="690" y="1217"/>
                    </a:lnTo>
                    <a:lnTo>
                      <a:pt x="688" y="1219"/>
                    </a:lnTo>
                    <a:lnTo>
                      <a:pt x="686" y="1219"/>
                    </a:lnTo>
                    <a:lnTo>
                      <a:pt x="686" y="1221"/>
                    </a:lnTo>
                    <a:lnTo>
                      <a:pt x="686" y="1223"/>
                    </a:lnTo>
                    <a:lnTo>
                      <a:pt x="684" y="1225"/>
                    </a:lnTo>
                    <a:lnTo>
                      <a:pt x="682" y="1227"/>
                    </a:lnTo>
                    <a:lnTo>
                      <a:pt x="682" y="1229"/>
                    </a:lnTo>
                    <a:lnTo>
                      <a:pt x="682" y="1231"/>
                    </a:lnTo>
                    <a:lnTo>
                      <a:pt x="684" y="1232"/>
                    </a:lnTo>
                    <a:lnTo>
                      <a:pt x="684" y="1234"/>
                    </a:lnTo>
                    <a:lnTo>
                      <a:pt x="686" y="1234"/>
                    </a:lnTo>
                    <a:lnTo>
                      <a:pt x="686" y="1236"/>
                    </a:lnTo>
                    <a:lnTo>
                      <a:pt x="686" y="1238"/>
                    </a:lnTo>
                    <a:lnTo>
                      <a:pt x="684" y="1238"/>
                    </a:lnTo>
                    <a:lnTo>
                      <a:pt x="682" y="1238"/>
                    </a:lnTo>
                    <a:lnTo>
                      <a:pt x="682" y="1240"/>
                    </a:lnTo>
                    <a:lnTo>
                      <a:pt x="680" y="1240"/>
                    </a:lnTo>
                    <a:lnTo>
                      <a:pt x="680" y="1242"/>
                    </a:lnTo>
                    <a:lnTo>
                      <a:pt x="678" y="1242"/>
                    </a:lnTo>
                    <a:lnTo>
                      <a:pt x="678" y="1240"/>
                    </a:lnTo>
                    <a:lnTo>
                      <a:pt x="678" y="1242"/>
                    </a:lnTo>
                    <a:lnTo>
                      <a:pt x="677" y="1242"/>
                    </a:lnTo>
                    <a:lnTo>
                      <a:pt x="675" y="1244"/>
                    </a:lnTo>
                    <a:lnTo>
                      <a:pt x="673" y="1244"/>
                    </a:lnTo>
                    <a:lnTo>
                      <a:pt x="673" y="1242"/>
                    </a:lnTo>
                    <a:lnTo>
                      <a:pt x="671" y="1240"/>
                    </a:lnTo>
                    <a:lnTo>
                      <a:pt x="671" y="1238"/>
                    </a:lnTo>
                    <a:lnTo>
                      <a:pt x="671" y="1236"/>
                    </a:lnTo>
                    <a:lnTo>
                      <a:pt x="669" y="1236"/>
                    </a:lnTo>
                    <a:lnTo>
                      <a:pt x="669" y="1238"/>
                    </a:lnTo>
                    <a:lnTo>
                      <a:pt x="667" y="1238"/>
                    </a:lnTo>
                    <a:lnTo>
                      <a:pt x="667" y="1236"/>
                    </a:lnTo>
                    <a:lnTo>
                      <a:pt x="665" y="1236"/>
                    </a:lnTo>
                    <a:lnTo>
                      <a:pt x="665" y="1234"/>
                    </a:lnTo>
                    <a:lnTo>
                      <a:pt x="665" y="1232"/>
                    </a:lnTo>
                    <a:lnTo>
                      <a:pt x="665" y="1234"/>
                    </a:lnTo>
                    <a:lnTo>
                      <a:pt x="663" y="1234"/>
                    </a:lnTo>
                    <a:lnTo>
                      <a:pt x="661" y="1234"/>
                    </a:lnTo>
                    <a:lnTo>
                      <a:pt x="659" y="1234"/>
                    </a:lnTo>
                    <a:lnTo>
                      <a:pt x="659" y="1236"/>
                    </a:lnTo>
                    <a:lnTo>
                      <a:pt x="659" y="1238"/>
                    </a:lnTo>
                    <a:lnTo>
                      <a:pt x="657" y="1238"/>
                    </a:lnTo>
                    <a:lnTo>
                      <a:pt x="657" y="1236"/>
                    </a:lnTo>
                    <a:lnTo>
                      <a:pt x="657" y="1234"/>
                    </a:lnTo>
                    <a:lnTo>
                      <a:pt x="657" y="1232"/>
                    </a:lnTo>
                    <a:lnTo>
                      <a:pt x="657" y="1231"/>
                    </a:lnTo>
                    <a:lnTo>
                      <a:pt x="655" y="1229"/>
                    </a:lnTo>
                    <a:lnTo>
                      <a:pt x="657" y="1229"/>
                    </a:lnTo>
                    <a:lnTo>
                      <a:pt x="657" y="1227"/>
                    </a:lnTo>
                    <a:lnTo>
                      <a:pt x="655" y="1227"/>
                    </a:lnTo>
                    <a:lnTo>
                      <a:pt x="655" y="1225"/>
                    </a:lnTo>
                    <a:lnTo>
                      <a:pt x="653" y="1225"/>
                    </a:lnTo>
                    <a:lnTo>
                      <a:pt x="653" y="1227"/>
                    </a:lnTo>
                    <a:lnTo>
                      <a:pt x="652" y="1227"/>
                    </a:lnTo>
                    <a:lnTo>
                      <a:pt x="650" y="1227"/>
                    </a:lnTo>
                    <a:lnTo>
                      <a:pt x="650" y="1225"/>
                    </a:lnTo>
                    <a:lnTo>
                      <a:pt x="648" y="1225"/>
                    </a:lnTo>
                    <a:lnTo>
                      <a:pt x="646" y="1227"/>
                    </a:lnTo>
                    <a:lnTo>
                      <a:pt x="646" y="1225"/>
                    </a:lnTo>
                    <a:lnTo>
                      <a:pt x="646" y="1227"/>
                    </a:lnTo>
                    <a:lnTo>
                      <a:pt x="646" y="1225"/>
                    </a:lnTo>
                    <a:lnTo>
                      <a:pt x="646" y="1223"/>
                    </a:lnTo>
                    <a:lnTo>
                      <a:pt x="646" y="1221"/>
                    </a:lnTo>
                    <a:lnTo>
                      <a:pt x="644" y="1223"/>
                    </a:lnTo>
                    <a:lnTo>
                      <a:pt x="644" y="1221"/>
                    </a:lnTo>
                    <a:lnTo>
                      <a:pt x="644" y="1223"/>
                    </a:lnTo>
                    <a:lnTo>
                      <a:pt x="644" y="1221"/>
                    </a:lnTo>
                    <a:lnTo>
                      <a:pt x="642" y="1221"/>
                    </a:lnTo>
                    <a:lnTo>
                      <a:pt x="640" y="1221"/>
                    </a:lnTo>
                    <a:lnTo>
                      <a:pt x="640" y="1219"/>
                    </a:lnTo>
                    <a:lnTo>
                      <a:pt x="638" y="1219"/>
                    </a:lnTo>
                    <a:lnTo>
                      <a:pt x="638" y="1217"/>
                    </a:lnTo>
                    <a:lnTo>
                      <a:pt x="638" y="1215"/>
                    </a:lnTo>
                    <a:lnTo>
                      <a:pt x="636" y="1215"/>
                    </a:lnTo>
                    <a:lnTo>
                      <a:pt x="636" y="1213"/>
                    </a:lnTo>
                    <a:lnTo>
                      <a:pt x="636" y="1211"/>
                    </a:lnTo>
                    <a:lnTo>
                      <a:pt x="634" y="1211"/>
                    </a:lnTo>
                    <a:lnTo>
                      <a:pt x="634" y="1209"/>
                    </a:lnTo>
                    <a:lnTo>
                      <a:pt x="632" y="1208"/>
                    </a:lnTo>
                    <a:lnTo>
                      <a:pt x="632" y="1206"/>
                    </a:lnTo>
                    <a:lnTo>
                      <a:pt x="634" y="1206"/>
                    </a:lnTo>
                    <a:lnTo>
                      <a:pt x="636" y="1206"/>
                    </a:lnTo>
                    <a:lnTo>
                      <a:pt x="636" y="1204"/>
                    </a:lnTo>
                    <a:lnTo>
                      <a:pt x="634" y="1204"/>
                    </a:lnTo>
                    <a:lnTo>
                      <a:pt x="632" y="1202"/>
                    </a:lnTo>
                    <a:lnTo>
                      <a:pt x="630" y="1204"/>
                    </a:lnTo>
                    <a:lnTo>
                      <a:pt x="630" y="1206"/>
                    </a:lnTo>
                    <a:lnTo>
                      <a:pt x="627" y="1204"/>
                    </a:lnTo>
                    <a:lnTo>
                      <a:pt x="627" y="1202"/>
                    </a:lnTo>
                    <a:lnTo>
                      <a:pt x="625" y="1204"/>
                    </a:lnTo>
                    <a:lnTo>
                      <a:pt x="623" y="1204"/>
                    </a:lnTo>
                    <a:lnTo>
                      <a:pt x="621" y="1206"/>
                    </a:lnTo>
                    <a:lnTo>
                      <a:pt x="621" y="1208"/>
                    </a:lnTo>
                    <a:lnTo>
                      <a:pt x="621" y="1209"/>
                    </a:lnTo>
                    <a:lnTo>
                      <a:pt x="619" y="1209"/>
                    </a:lnTo>
                    <a:lnTo>
                      <a:pt x="617" y="1209"/>
                    </a:lnTo>
                    <a:lnTo>
                      <a:pt x="615" y="1209"/>
                    </a:lnTo>
                    <a:lnTo>
                      <a:pt x="613" y="1209"/>
                    </a:lnTo>
                    <a:lnTo>
                      <a:pt x="611" y="1211"/>
                    </a:lnTo>
                    <a:lnTo>
                      <a:pt x="609" y="1213"/>
                    </a:lnTo>
                    <a:lnTo>
                      <a:pt x="609" y="1215"/>
                    </a:lnTo>
                    <a:lnTo>
                      <a:pt x="607" y="1217"/>
                    </a:lnTo>
                    <a:lnTo>
                      <a:pt x="607" y="1219"/>
                    </a:lnTo>
                    <a:lnTo>
                      <a:pt x="609" y="1221"/>
                    </a:lnTo>
                    <a:lnTo>
                      <a:pt x="609" y="1223"/>
                    </a:lnTo>
                    <a:lnTo>
                      <a:pt x="609" y="1225"/>
                    </a:lnTo>
                    <a:lnTo>
                      <a:pt x="609" y="1227"/>
                    </a:lnTo>
                    <a:lnTo>
                      <a:pt x="611" y="1227"/>
                    </a:lnTo>
                    <a:lnTo>
                      <a:pt x="611" y="1229"/>
                    </a:lnTo>
                    <a:lnTo>
                      <a:pt x="613" y="1231"/>
                    </a:lnTo>
                    <a:lnTo>
                      <a:pt x="613" y="1232"/>
                    </a:lnTo>
                    <a:lnTo>
                      <a:pt x="613" y="1234"/>
                    </a:lnTo>
                    <a:lnTo>
                      <a:pt x="615" y="1236"/>
                    </a:lnTo>
                    <a:lnTo>
                      <a:pt x="615" y="1238"/>
                    </a:lnTo>
                    <a:lnTo>
                      <a:pt x="615" y="1240"/>
                    </a:lnTo>
                    <a:lnTo>
                      <a:pt x="615" y="1242"/>
                    </a:lnTo>
                    <a:lnTo>
                      <a:pt x="613" y="1242"/>
                    </a:lnTo>
                    <a:lnTo>
                      <a:pt x="613" y="1244"/>
                    </a:lnTo>
                    <a:lnTo>
                      <a:pt x="613" y="1242"/>
                    </a:lnTo>
                    <a:lnTo>
                      <a:pt x="613" y="1244"/>
                    </a:lnTo>
                    <a:lnTo>
                      <a:pt x="611" y="1244"/>
                    </a:lnTo>
                    <a:lnTo>
                      <a:pt x="611" y="1246"/>
                    </a:lnTo>
                    <a:lnTo>
                      <a:pt x="609" y="1246"/>
                    </a:lnTo>
                    <a:lnTo>
                      <a:pt x="609" y="1248"/>
                    </a:lnTo>
                    <a:lnTo>
                      <a:pt x="607" y="1248"/>
                    </a:lnTo>
                    <a:lnTo>
                      <a:pt x="607" y="1250"/>
                    </a:lnTo>
                    <a:lnTo>
                      <a:pt x="607" y="1252"/>
                    </a:lnTo>
                    <a:lnTo>
                      <a:pt x="607" y="1254"/>
                    </a:lnTo>
                    <a:lnTo>
                      <a:pt x="605" y="1254"/>
                    </a:lnTo>
                    <a:lnTo>
                      <a:pt x="605" y="1256"/>
                    </a:lnTo>
                    <a:lnTo>
                      <a:pt x="604" y="1256"/>
                    </a:lnTo>
                    <a:lnTo>
                      <a:pt x="604" y="1257"/>
                    </a:lnTo>
                    <a:lnTo>
                      <a:pt x="602" y="1257"/>
                    </a:lnTo>
                    <a:lnTo>
                      <a:pt x="602" y="1259"/>
                    </a:lnTo>
                    <a:lnTo>
                      <a:pt x="600" y="1259"/>
                    </a:lnTo>
                    <a:lnTo>
                      <a:pt x="598" y="1259"/>
                    </a:lnTo>
                    <a:lnTo>
                      <a:pt x="596" y="1259"/>
                    </a:lnTo>
                    <a:lnTo>
                      <a:pt x="596" y="1261"/>
                    </a:lnTo>
                    <a:lnTo>
                      <a:pt x="594" y="1261"/>
                    </a:lnTo>
                    <a:lnTo>
                      <a:pt x="592" y="1261"/>
                    </a:lnTo>
                    <a:lnTo>
                      <a:pt x="592" y="1263"/>
                    </a:lnTo>
                    <a:lnTo>
                      <a:pt x="590" y="1263"/>
                    </a:lnTo>
                    <a:lnTo>
                      <a:pt x="590" y="1265"/>
                    </a:lnTo>
                    <a:lnTo>
                      <a:pt x="588" y="1265"/>
                    </a:lnTo>
                    <a:lnTo>
                      <a:pt x="588" y="1267"/>
                    </a:lnTo>
                    <a:lnTo>
                      <a:pt x="590" y="1267"/>
                    </a:lnTo>
                    <a:lnTo>
                      <a:pt x="588" y="1267"/>
                    </a:lnTo>
                    <a:lnTo>
                      <a:pt x="590" y="1267"/>
                    </a:lnTo>
                    <a:lnTo>
                      <a:pt x="590" y="1269"/>
                    </a:lnTo>
                    <a:lnTo>
                      <a:pt x="588" y="1269"/>
                    </a:lnTo>
                    <a:lnTo>
                      <a:pt x="588" y="1271"/>
                    </a:lnTo>
                    <a:lnTo>
                      <a:pt x="586" y="1273"/>
                    </a:lnTo>
                    <a:lnTo>
                      <a:pt x="586" y="1275"/>
                    </a:lnTo>
                    <a:lnTo>
                      <a:pt x="586" y="1277"/>
                    </a:lnTo>
                    <a:lnTo>
                      <a:pt x="584" y="1277"/>
                    </a:lnTo>
                    <a:lnTo>
                      <a:pt x="582" y="1277"/>
                    </a:lnTo>
                    <a:lnTo>
                      <a:pt x="580" y="1277"/>
                    </a:lnTo>
                    <a:lnTo>
                      <a:pt x="580" y="1279"/>
                    </a:lnTo>
                    <a:lnTo>
                      <a:pt x="579" y="1279"/>
                    </a:lnTo>
                    <a:lnTo>
                      <a:pt x="579" y="1281"/>
                    </a:lnTo>
                    <a:lnTo>
                      <a:pt x="577" y="1281"/>
                    </a:lnTo>
                    <a:lnTo>
                      <a:pt x="577" y="1282"/>
                    </a:lnTo>
                    <a:lnTo>
                      <a:pt x="575" y="1284"/>
                    </a:lnTo>
                    <a:lnTo>
                      <a:pt x="573" y="1286"/>
                    </a:lnTo>
                    <a:lnTo>
                      <a:pt x="573" y="1288"/>
                    </a:lnTo>
                    <a:lnTo>
                      <a:pt x="575" y="1290"/>
                    </a:lnTo>
                    <a:lnTo>
                      <a:pt x="575" y="1292"/>
                    </a:lnTo>
                    <a:lnTo>
                      <a:pt x="575" y="1294"/>
                    </a:lnTo>
                    <a:lnTo>
                      <a:pt x="575" y="1296"/>
                    </a:lnTo>
                    <a:lnTo>
                      <a:pt x="573" y="1298"/>
                    </a:lnTo>
                    <a:lnTo>
                      <a:pt x="571" y="1298"/>
                    </a:lnTo>
                    <a:lnTo>
                      <a:pt x="571" y="1300"/>
                    </a:lnTo>
                    <a:lnTo>
                      <a:pt x="571" y="1302"/>
                    </a:lnTo>
                    <a:lnTo>
                      <a:pt x="569" y="1304"/>
                    </a:lnTo>
                    <a:lnTo>
                      <a:pt x="567" y="1302"/>
                    </a:lnTo>
                    <a:lnTo>
                      <a:pt x="565" y="1302"/>
                    </a:lnTo>
                    <a:lnTo>
                      <a:pt x="565" y="1304"/>
                    </a:lnTo>
                    <a:lnTo>
                      <a:pt x="565" y="1306"/>
                    </a:lnTo>
                    <a:lnTo>
                      <a:pt x="567" y="1306"/>
                    </a:lnTo>
                    <a:lnTo>
                      <a:pt x="565" y="1307"/>
                    </a:lnTo>
                    <a:lnTo>
                      <a:pt x="567" y="1307"/>
                    </a:lnTo>
                    <a:lnTo>
                      <a:pt x="567" y="1309"/>
                    </a:lnTo>
                    <a:lnTo>
                      <a:pt x="567" y="1311"/>
                    </a:lnTo>
                    <a:lnTo>
                      <a:pt x="567" y="1313"/>
                    </a:lnTo>
                    <a:lnTo>
                      <a:pt x="565" y="1313"/>
                    </a:lnTo>
                    <a:lnTo>
                      <a:pt x="567" y="1315"/>
                    </a:lnTo>
                    <a:lnTo>
                      <a:pt x="565" y="1315"/>
                    </a:lnTo>
                    <a:lnTo>
                      <a:pt x="567" y="1315"/>
                    </a:lnTo>
                    <a:lnTo>
                      <a:pt x="565" y="1315"/>
                    </a:lnTo>
                    <a:lnTo>
                      <a:pt x="565" y="1317"/>
                    </a:lnTo>
                    <a:lnTo>
                      <a:pt x="567" y="1317"/>
                    </a:lnTo>
                    <a:lnTo>
                      <a:pt x="565" y="1319"/>
                    </a:lnTo>
                    <a:lnTo>
                      <a:pt x="567" y="1321"/>
                    </a:lnTo>
                    <a:lnTo>
                      <a:pt x="569" y="1321"/>
                    </a:lnTo>
                    <a:lnTo>
                      <a:pt x="569" y="1323"/>
                    </a:lnTo>
                    <a:lnTo>
                      <a:pt x="571" y="1323"/>
                    </a:lnTo>
                    <a:lnTo>
                      <a:pt x="569" y="1323"/>
                    </a:lnTo>
                    <a:lnTo>
                      <a:pt x="571" y="1323"/>
                    </a:lnTo>
                    <a:lnTo>
                      <a:pt x="571" y="1325"/>
                    </a:lnTo>
                    <a:lnTo>
                      <a:pt x="569" y="1325"/>
                    </a:lnTo>
                    <a:lnTo>
                      <a:pt x="571" y="1325"/>
                    </a:lnTo>
                    <a:lnTo>
                      <a:pt x="569" y="1325"/>
                    </a:lnTo>
                    <a:lnTo>
                      <a:pt x="571" y="1327"/>
                    </a:lnTo>
                    <a:lnTo>
                      <a:pt x="569" y="1327"/>
                    </a:lnTo>
                    <a:lnTo>
                      <a:pt x="571" y="1327"/>
                    </a:lnTo>
                    <a:lnTo>
                      <a:pt x="569" y="1327"/>
                    </a:lnTo>
                    <a:lnTo>
                      <a:pt x="571" y="1329"/>
                    </a:lnTo>
                    <a:lnTo>
                      <a:pt x="571" y="1331"/>
                    </a:lnTo>
                    <a:lnTo>
                      <a:pt x="569" y="1331"/>
                    </a:lnTo>
                    <a:lnTo>
                      <a:pt x="571" y="1331"/>
                    </a:lnTo>
                    <a:lnTo>
                      <a:pt x="569" y="1331"/>
                    </a:lnTo>
                    <a:lnTo>
                      <a:pt x="569" y="1332"/>
                    </a:lnTo>
                    <a:lnTo>
                      <a:pt x="569" y="1331"/>
                    </a:lnTo>
                    <a:lnTo>
                      <a:pt x="567" y="1331"/>
                    </a:lnTo>
                    <a:lnTo>
                      <a:pt x="567" y="1332"/>
                    </a:lnTo>
                    <a:lnTo>
                      <a:pt x="565" y="1332"/>
                    </a:lnTo>
                    <a:lnTo>
                      <a:pt x="565" y="1334"/>
                    </a:lnTo>
                    <a:lnTo>
                      <a:pt x="563" y="1334"/>
                    </a:lnTo>
                    <a:lnTo>
                      <a:pt x="563" y="1332"/>
                    </a:lnTo>
                    <a:lnTo>
                      <a:pt x="561" y="1331"/>
                    </a:lnTo>
                    <a:lnTo>
                      <a:pt x="559" y="1331"/>
                    </a:lnTo>
                    <a:lnTo>
                      <a:pt x="559" y="1329"/>
                    </a:lnTo>
                    <a:lnTo>
                      <a:pt x="557" y="1329"/>
                    </a:lnTo>
                    <a:lnTo>
                      <a:pt x="555" y="1327"/>
                    </a:lnTo>
                    <a:lnTo>
                      <a:pt x="554" y="1327"/>
                    </a:lnTo>
                    <a:lnTo>
                      <a:pt x="554" y="1325"/>
                    </a:lnTo>
                    <a:lnTo>
                      <a:pt x="554" y="1323"/>
                    </a:lnTo>
                    <a:lnTo>
                      <a:pt x="552" y="1323"/>
                    </a:lnTo>
                    <a:lnTo>
                      <a:pt x="552" y="1321"/>
                    </a:lnTo>
                    <a:lnTo>
                      <a:pt x="550" y="1319"/>
                    </a:lnTo>
                    <a:lnTo>
                      <a:pt x="552" y="1317"/>
                    </a:lnTo>
                    <a:lnTo>
                      <a:pt x="550" y="1317"/>
                    </a:lnTo>
                    <a:lnTo>
                      <a:pt x="550" y="1315"/>
                    </a:lnTo>
                    <a:lnTo>
                      <a:pt x="550" y="1313"/>
                    </a:lnTo>
                    <a:lnTo>
                      <a:pt x="552" y="1313"/>
                    </a:lnTo>
                    <a:lnTo>
                      <a:pt x="550" y="1313"/>
                    </a:lnTo>
                    <a:lnTo>
                      <a:pt x="550" y="1311"/>
                    </a:lnTo>
                    <a:lnTo>
                      <a:pt x="548" y="1311"/>
                    </a:lnTo>
                    <a:lnTo>
                      <a:pt x="548" y="1309"/>
                    </a:lnTo>
                    <a:lnTo>
                      <a:pt x="550" y="1309"/>
                    </a:lnTo>
                    <a:lnTo>
                      <a:pt x="548" y="1307"/>
                    </a:lnTo>
                    <a:lnTo>
                      <a:pt x="546" y="1307"/>
                    </a:lnTo>
                    <a:lnTo>
                      <a:pt x="546" y="1306"/>
                    </a:lnTo>
                    <a:lnTo>
                      <a:pt x="544" y="1306"/>
                    </a:lnTo>
                    <a:lnTo>
                      <a:pt x="542" y="1306"/>
                    </a:lnTo>
                    <a:lnTo>
                      <a:pt x="544" y="1304"/>
                    </a:lnTo>
                    <a:lnTo>
                      <a:pt x="542" y="1304"/>
                    </a:lnTo>
                    <a:lnTo>
                      <a:pt x="542" y="1302"/>
                    </a:lnTo>
                    <a:lnTo>
                      <a:pt x="542" y="1300"/>
                    </a:lnTo>
                    <a:lnTo>
                      <a:pt x="540" y="1300"/>
                    </a:lnTo>
                    <a:lnTo>
                      <a:pt x="540" y="1298"/>
                    </a:lnTo>
                    <a:lnTo>
                      <a:pt x="540" y="1296"/>
                    </a:lnTo>
                    <a:lnTo>
                      <a:pt x="540" y="1294"/>
                    </a:lnTo>
                    <a:lnTo>
                      <a:pt x="540" y="1292"/>
                    </a:lnTo>
                    <a:lnTo>
                      <a:pt x="540" y="1290"/>
                    </a:lnTo>
                    <a:lnTo>
                      <a:pt x="538" y="1290"/>
                    </a:lnTo>
                    <a:lnTo>
                      <a:pt x="536" y="1290"/>
                    </a:lnTo>
                    <a:lnTo>
                      <a:pt x="534" y="1290"/>
                    </a:lnTo>
                    <a:lnTo>
                      <a:pt x="532" y="1292"/>
                    </a:lnTo>
                    <a:lnTo>
                      <a:pt x="531" y="1292"/>
                    </a:lnTo>
                    <a:lnTo>
                      <a:pt x="531" y="1290"/>
                    </a:lnTo>
                    <a:lnTo>
                      <a:pt x="529" y="1290"/>
                    </a:lnTo>
                    <a:lnTo>
                      <a:pt x="527" y="1292"/>
                    </a:lnTo>
                    <a:lnTo>
                      <a:pt x="527" y="1294"/>
                    </a:lnTo>
                    <a:lnTo>
                      <a:pt x="527" y="1296"/>
                    </a:lnTo>
                    <a:lnTo>
                      <a:pt x="525" y="1298"/>
                    </a:lnTo>
                    <a:lnTo>
                      <a:pt x="525" y="1300"/>
                    </a:lnTo>
                    <a:lnTo>
                      <a:pt x="523" y="1302"/>
                    </a:lnTo>
                    <a:lnTo>
                      <a:pt x="523" y="1304"/>
                    </a:lnTo>
                    <a:lnTo>
                      <a:pt x="523" y="1306"/>
                    </a:lnTo>
                    <a:lnTo>
                      <a:pt x="523" y="1307"/>
                    </a:lnTo>
                    <a:lnTo>
                      <a:pt x="521" y="1307"/>
                    </a:lnTo>
                    <a:lnTo>
                      <a:pt x="521" y="1309"/>
                    </a:lnTo>
                    <a:lnTo>
                      <a:pt x="521" y="1311"/>
                    </a:lnTo>
                    <a:lnTo>
                      <a:pt x="519" y="1311"/>
                    </a:lnTo>
                    <a:lnTo>
                      <a:pt x="519" y="1309"/>
                    </a:lnTo>
                    <a:lnTo>
                      <a:pt x="517" y="1311"/>
                    </a:lnTo>
                    <a:lnTo>
                      <a:pt x="515" y="1311"/>
                    </a:lnTo>
                    <a:lnTo>
                      <a:pt x="513" y="1313"/>
                    </a:lnTo>
                    <a:lnTo>
                      <a:pt x="511" y="1311"/>
                    </a:lnTo>
                    <a:lnTo>
                      <a:pt x="509" y="1311"/>
                    </a:lnTo>
                    <a:lnTo>
                      <a:pt x="509" y="1313"/>
                    </a:lnTo>
                    <a:lnTo>
                      <a:pt x="507" y="1315"/>
                    </a:lnTo>
                    <a:lnTo>
                      <a:pt x="506" y="1315"/>
                    </a:lnTo>
                    <a:lnTo>
                      <a:pt x="506" y="1317"/>
                    </a:lnTo>
                    <a:lnTo>
                      <a:pt x="504" y="1317"/>
                    </a:lnTo>
                    <a:lnTo>
                      <a:pt x="504" y="1315"/>
                    </a:lnTo>
                    <a:lnTo>
                      <a:pt x="502" y="1315"/>
                    </a:lnTo>
                    <a:lnTo>
                      <a:pt x="502" y="1313"/>
                    </a:lnTo>
                    <a:lnTo>
                      <a:pt x="500" y="1311"/>
                    </a:lnTo>
                    <a:lnTo>
                      <a:pt x="498" y="1311"/>
                    </a:lnTo>
                    <a:lnTo>
                      <a:pt x="498" y="1313"/>
                    </a:lnTo>
                    <a:lnTo>
                      <a:pt x="496" y="1313"/>
                    </a:lnTo>
                    <a:lnTo>
                      <a:pt x="494" y="1313"/>
                    </a:lnTo>
                    <a:lnTo>
                      <a:pt x="494" y="1311"/>
                    </a:lnTo>
                    <a:lnTo>
                      <a:pt x="492" y="1311"/>
                    </a:lnTo>
                    <a:lnTo>
                      <a:pt x="490" y="1311"/>
                    </a:lnTo>
                    <a:lnTo>
                      <a:pt x="488" y="1311"/>
                    </a:lnTo>
                    <a:lnTo>
                      <a:pt x="486" y="1311"/>
                    </a:lnTo>
                    <a:lnTo>
                      <a:pt x="484" y="1311"/>
                    </a:lnTo>
                    <a:lnTo>
                      <a:pt x="482" y="1311"/>
                    </a:lnTo>
                    <a:lnTo>
                      <a:pt x="481" y="1309"/>
                    </a:lnTo>
                    <a:lnTo>
                      <a:pt x="481" y="1311"/>
                    </a:lnTo>
                    <a:lnTo>
                      <a:pt x="481" y="1309"/>
                    </a:lnTo>
                    <a:lnTo>
                      <a:pt x="481" y="1311"/>
                    </a:lnTo>
                    <a:lnTo>
                      <a:pt x="481" y="1309"/>
                    </a:lnTo>
                    <a:lnTo>
                      <a:pt x="479" y="1309"/>
                    </a:lnTo>
                    <a:lnTo>
                      <a:pt x="477" y="1309"/>
                    </a:lnTo>
                    <a:lnTo>
                      <a:pt x="475" y="1309"/>
                    </a:lnTo>
                    <a:lnTo>
                      <a:pt x="473" y="1313"/>
                    </a:lnTo>
                    <a:lnTo>
                      <a:pt x="473" y="1315"/>
                    </a:lnTo>
                    <a:lnTo>
                      <a:pt x="471" y="1317"/>
                    </a:lnTo>
                    <a:lnTo>
                      <a:pt x="471" y="1319"/>
                    </a:lnTo>
                    <a:lnTo>
                      <a:pt x="471" y="1321"/>
                    </a:lnTo>
                    <a:lnTo>
                      <a:pt x="469" y="1327"/>
                    </a:lnTo>
                    <a:lnTo>
                      <a:pt x="467" y="1331"/>
                    </a:lnTo>
                    <a:lnTo>
                      <a:pt x="465" y="1336"/>
                    </a:lnTo>
                    <a:lnTo>
                      <a:pt x="465" y="1338"/>
                    </a:lnTo>
                    <a:lnTo>
                      <a:pt x="463" y="1342"/>
                    </a:lnTo>
                    <a:lnTo>
                      <a:pt x="461" y="1350"/>
                    </a:lnTo>
                    <a:lnTo>
                      <a:pt x="459" y="1354"/>
                    </a:lnTo>
                    <a:lnTo>
                      <a:pt x="459" y="1356"/>
                    </a:lnTo>
                    <a:lnTo>
                      <a:pt x="458" y="1363"/>
                    </a:lnTo>
                    <a:lnTo>
                      <a:pt x="456" y="1365"/>
                    </a:lnTo>
                    <a:lnTo>
                      <a:pt x="458" y="1365"/>
                    </a:lnTo>
                    <a:lnTo>
                      <a:pt x="459" y="1365"/>
                    </a:lnTo>
                    <a:lnTo>
                      <a:pt x="459" y="1367"/>
                    </a:lnTo>
                    <a:lnTo>
                      <a:pt x="459" y="1369"/>
                    </a:lnTo>
                    <a:lnTo>
                      <a:pt x="461" y="1369"/>
                    </a:lnTo>
                    <a:lnTo>
                      <a:pt x="461" y="1367"/>
                    </a:lnTo>
                    <a:lnTo>
                      <a:pt x="463" y="1369"/>
                    </a:lnTo>
                    <a:lnTo>
                      <a:pt x="463" y="1367"/>
                    </a:lnTo>
                    <a:lnTo>
                      <a:pt x="465" y="1367"/>
                    </a:lnTo>
                    <a:lnTo>
                      <a:pt x="465" y="1369"/>
                    </a:lnTo>
                    <a:lnTo>
                      <a:pt x="467" y="1367"/>
                    </a:lnTo>
                    <a:lnTo>
                      <a:pt x="467" y="1369"/>
                    </a:lnTo>
                    <a:lnTo>
                      <a:pt x="465" y="1371"/>
                    </a:lnTo>
                    <a:lnTo>
                      <a:pt x="463" y="1373"/>
                    </a:lnTo>
                    <a:lnTo>
                      <a:pt x="461" y="1375"/>
                    </a:lnTo>
                    <a:lnTo>
                      <a:pt x="461" y="1377"/>
                    </a:lnTo>
                    <a:lnTo>
                      <a:pt x="461" y="1379"/>
                    </a:lnTo>
                    <a:lnTo>
                      <a:pt x="463" y="1381"/>
                    </a:lnTo>
                    <a:lnTo>
                      <a:pt x="465" y="1381"/>
                    </a:lnTo>
                    <a:lnTo>
                      <a:pt x="467" y="1379"/>
                    </a:lnTo>
                    <a:lnTo>
                      <a:pt x="469" y="1379"/>
                    </a:lnTo>
                    <a:lnTo>
                      <a:pt x="471" y="1381"/>
                    </a:lnTo>
                    <a:lnTo>
                      <a:pt x="471" y="1382"/>
                    </a:lnTo>
                    <a:lnTo>
                      <a:pt x="471" y="1384"/>
                    </a:lnTo>
                    <a:lnTo>
                      <a:pt x="469" y="1384"/>
                    </a:lnTo>
                    <a:lnTo>
                      <a:pt x="471" y="1384"/>
                    </a:lnTo>
                    <a:lnTo>
                      <a:pt x="471" y="1386"/>
                    </a:lnTo>
                    <a:lnTo>
                      <a:pt x="471" y="1388"/>
                    </a:lnTo>
                    <a:lnTo>
                      <a:pt x="471" y="1390"/>
                    </a:lnTo>
                    <a:lnTo>
                      <a:pt x="469" y="1390"/>
                    </a:lnTo>
                    <a:lnTo>
                      <a:pt x="469" y="1392"/>
                    </a:lnTo>
                    <a:lnTo>
                      <a:pt x="471" y="1392"/>
                    </a:lnTo>
                    <a:lnTo>
                      <a:pt x="471" y="1394"/>
                    </a:lnTo>
                    <a:lnTo>
                      <a:pt x="471" y="1396"/>
                    </a:lnTo>
                    <a:lnTo>
                      <a:pt x="475" y="1396"/>
                    </a:lnTo>
                    <a:lnTo>
                      <a:pt x="475" y="1407"/>
                    </a:lnTo>
                    <a:lnTo>
                      <a:pt x="471" y="1407"/>
                    </a:lnTo>
                    <a:lnTo>
                      <a:pt x="463" y="1407"/>
                    </a:lnTo>
                    <a:lnTo>
                      <a:pt x="463" y="1411"/>
                    </a:lnTo>
                    <a:lnTo>
                      <a:pt x="463" y="1415"/>
                    </a:lnTo>
                    <a:lnTo>
                      <a:pt x="465" y="1415"/>
                    </a:lnTo>
                    <a:lnTo>
                      <a:pt x="465" y="1419"/>
                    </a:lnTo>
                    <a:lnTo>
                      <a:pt x="465" y="1421"/>
                    </a:lnTo>
                    <a:lnTo>
                      <a:pt x="463" y="1421"/>
                    </a:lnTo>
                    <a:lnTo>
                      <a:pt x="461" y="1421"/>
                    </a:lnTo>
                    <a:lnTo>
                      <a:pt x="461" y="1423"/>
                    </a:lnTo>
                    <a:lnTo>
                      <a:pt x="459" y="1423"/>
                    </a:lnTo>
                    <a:lnTo>
                      <a:pt x="459" y="1425"/>
                    </a:lnTo>
                    <a:lnTo>
                      <a:pt x="461" y="1425"/>
                    </a:lnTo>
                    <a:lnTo>
                      <a:pt x="461" y="1429"/>
                    </a:lnTo>
                    <a:lnTo>
                      <a:pt x="459" y="1431"/>
                    </a:lnTo>
                    <a:lnTo>
                      <a:pt x="459" y="1432"/>
                    </a:lnTo>
                    <a:lnTo>
                      <a:pt x="458" y="1432"/>
                    </a:lnTo>
                    <a:lnTo>
                      <a:pt x="458" y="1431"/>
                    </a:lnTo>
                    <a:lnTo>
                      <a:pt x="456" y="1429"/>
                    </a:lnTo>
                    <a:lnTo>
                      <a:pt x="452" y="1427"/>
                    </a:lnTo>
                    <a:lnTo>
                      <a:pt x="450" y="1429"/>
                    </a:lnTo>
                    <a:lnTo>
                      <a:pt x="448" y="1434"/>
                    </a:lnTo>
                    <a:lnTo>
                      <a:pt x="446" y="1434"/>
                    </a:lnTo>
                    <a:lnTo>
                      <a:pt x="446" y="1440"/>
                    </a:lnTo>
                    <a:lnTo>
                      <a:pt x="446" y="1444"/>
                    </a:lnTo>
                    <a:lnTo>
                      <a:pt x="444" y="1444"/>
                    </a:lnTo>
                    <a:lnTo>
                      <a:pt x="444" y="1446"/>
                    </a:lnTo>
                    <a:lnTo>
                      <a:pt x="442" y="1448"/>
                    </a:lnTo>
                    <a:lnTo>
                      <a:pt x="440" y="1450"/>
                    </a:lnTo>
                    <a:lnTo>
                      <a:pt x="438" y="1452"/>
                    </a:lnTo>
                    <a:lnTo>
                      <a:pt x="438" y="1454"/>
                    </a:lnTo>
                    <a:lnTo>
                      <a:pt x="440" y="1454"/>
                    </a:lnTo>
                    <a:lnTo>
                      <a:pt x="440" y="1456"/>
                    </a:lnTo>
                    <a:lnTo>
                      <a:pt x="442" y="1456"/>
                    </a:lnTo>
                    <a:lnTo>
                      <a:pt x="440" y="1457"/>
                    </a:lnTo>
                    <a:lnTo>
                      <a:pt x="438" y="1459"/>
                    </a:lnTo>
                    <a:lnTo>
                      <a:pt x="440" y="1459"/>
                    </a:lnTo>
                    <a:lnTo>
                      <a:pt x="442" y="1461"/>
                    </a:lnTo>
                    <a:lnTo>
                      <a:pt x="442" y="1463"/>
                    </a:lnTo>
                    <a:lnTo>
                      <a:pt x="442" y="1465"/>
                    </a:lnTo>
                    <a:lnTo>
                      <a:pt x="440" y="1465"/>
                    </a:lnTo>
                    <a:lnTo>
                      <a:pt x="442" y="1467"/>
                    </a:lnTo>
                    <a:lnTo>
                      <a:pt x="442" y="1469"/>
                    </a:lnTo>
                    <a:lnTo>
                      <a:pt x="442" y="1471"/>
                    </a:lnTo>
                    <a:lnTo>
                      <a:pt x="442" y="1473"/>
                    </a:lnTo>
                    <a:lnTo>
                      <a:pt x="442" y="1475"/>
                    </a:lnTo>
                    <a:lnTo>
                      <a:pt x="444" y="1475"/>
                    </a:lnTo>
                    <a:lnTo>
                      <a:pt x="444" y="1479"/>
                    </a:lnTo>
                    <a:lnTo>
                      <a:pt x="446" y="1480"/>
                    </a:lnTo>
                    <a:lnTo>
                      <a:pt x="446" y="1482"/>
                    </a:lnTo>
                    <a:lnTo>
                      <a:pt x="444" y="1482"/>
                    </a:lnTo>
                    <a:lnTo>
                      <a:pt x="440" y="1484"/>
                    </a:lnTo>
                    <a:lnTo>
                      <a:pt x="438" y="1484"/>
                    </a:lnTo>
                    <a:lnTo>
                      <a:pt x="438" y="1486"/>
                    </a:lnTo>
                    <a:lnTo>
                      <a:pt x="438" y="1488"/>
                    </a:lnTo>
                    <a:lnTo>
                      <a:pt x="438" y="1490"/>
                    </a:lnTo>
                    <a:lnTo>
                      <a:pt x="438" y="1492"/>
                    </a:lnTo>
                    <a:lnTo>
                      <a:pt x="436" y="1492"/>
                    </a:lnTo>
                    <a:lnTo>
                      <a:pt x="436" y="1494"/>
                    </a:lnTo>
                    <a:lnTo>
                      <a:pt x="436" y="1496"/>
                    </a:lnTo>
                    <a:lnTo>
                      <a:pt x="438" y="1498"/>
                    </a:lnTo>
                    <a:lnTo>
                      <a:pt x="436" y="1498"/>
                    </a:lnTo>
                    <a:lnTo>
                      <a:pt x="436" y="1500"/>
                    </a:lnTo>
                    <a:lnTo>
                      <a:pt x="434" y="1502"/>
                    </a:lnTo>
                    <a:lnTo>
                      <a:pt x="434" y="1504"/>
                    </a:lnTo>
                    <a:lnTo>
                      <a:pt x="436" y="1505"/>
                    </a:lnTo>
                    <a:lnTo>
                      <a:pt x="438" y="1507"/>
                    </a:lnTo>
                    <a:lnTo>
                      <a:pt x="438" y="1509"/>
                    </a:lnTo>
                    <a:lnTo>
                      <a:pt x="438" y="1511"/>
                    </a:lnTo>
                    <a:lnTo>
                      <a:pt x="438" y="1513"/>
                    </a:lnTo>
                    <a:lnTo>
                      <a:pt x="438" y="1515"/>
                    </a:lnTo>
                    <a:lnTo>
                      <a:pt x="438" y="1517"/>
                    </a:lnTo>
                    <a:lnTo>
                      <a:pt x="436" y="1519"/>
                    </a:lnTo>
                    <a:lnTo>
                      <a:pt x="436" y="1521"/>
                    </a:lnTo>
                    <a:lnTo>
                      <a:pt x="434" y="1525"/>
                    </a:lnTo>
                    <a:lnTo>
                      <a:pt x="434" y="1527"/>
                    </a:lnTo>
                    <a:lnTo>
                      <a:pt x="434" y="1530"/>
                    </a:lnTo>
                    <a:lnTo>
                      <a:pt x="434" y="1532"/>
                    </a:lnTo>
                    <a:lnTo>
                      <a:pt x="433" y="1532"/>
                    </a:lnTo>
                    <a:lnTo>
                      <a:pt x="433" y="1534"/>
                    </a:lnTo>
                    <a:lnTo>
                      <a:pt x="434" y="1534"/>
                    </a:lnTo>
                    <a:lnTo>
                      <a:pt x="434" y="1536"/>
                    </a:lnTo>
                    <a:lnTo>
                      <a:pt x="433" y="1536"/>
                    </a:lnTo>
                    <a:lnTo>
                      <a:pt x="431" y="1536"/>
                    </a:lnTo>
                    <a:lnTo>
                      <a:pt x="427" y="1534"/>
                    </a:lnTo>
                    <a:lnTo>
                      <a:pt x="425" y="1534"/>
                    </a:lnTo>
                    <a:lnTo>
                      <a:pt x="423" y="1534"/>
                    </a:lnTo>
                    <a:lnTo>
                      <a:pt x="421" y="1534"/>
                    </a:lnTo>
                    <a:lnTo>
                      <a:pt x="421" y="1536"/>
                    </a:lnTo>
                    <a:lnTo>
                      <a:pt x="421" y="1534"/>
                    </a:lnTo>
                    <a:lnTo>
                      <a:pt x="419" y="1534"/>
                    </a:lnTo>
                    <a:lnTo>
                      <a:pt x="417" y="1534"/>
                    </a:lnTo>
                    <a:lnTo>
                      <a:pt x="417" y="1532"/>
                    </a:lnTo>
                    <a:lnTo>
                      <a:pt x="415" y="1534"/>
                    </a:lnTo>
                    <a:lnTo>
                      <a:pt x="417" y="1536"/>
                    </a:lnTo>
                    <a:lnTo>
                      <a:pt x="415" y="1536"/>
                    </a:lnTo>
                    <a:lnTo>
                      <a:pt x="415" y="1538"/>
                    </a:lnTo>
                    <a:lnTo>
                      <a:pt x="413" y="1538"/>
                    </a:lnTo>
                    <a:lnTo>
                      <a:pt x="415" y="1538"/>
                    </a:lnTo>
                    <a:lnTo>
                      <a:pt x="413" y="1538"/>
                    </a:lnTo>
                    <a:lnTo>
                      <a:pt x="415" y="1538"/>
                    </a:lnTo>
                    <a:lnTo>
                      <a:pt x="413" y="1538"/>
                    </a:lnTo>
                    <a:lnTo>
                      <a:pt x="413" y="1540"/>
                    </a:lnTo>
                    <a:lnTo>
                      <a:pt x="413" y="1542"/>
                    </a:lnTo>
                    <a:lnTo>
                      <a:pt x="415" y="1542"/>
                    </a:lnTo>
                    <a:lnTo>
                      <a:pt x="413" y="1542"/>
                    </a:lnTo>
                    <a:lnTo>
                      <a:pt x="413" y="1544"/>
                    </a:lnTo>
                    <a:lnTo>
                      <a:pt x="411" y="1544"/>
                    </a:lnTo>
                    <a:lnTo>
                      <a:pt x="413" y="1544"/>
                    </a:lnTo>
                    <a:lnTo>
                      <a:pt x="411" y="1546"/>
                    </a:lnTo>
                    <a:lnTo>
                      <a:pt x="409" y="1546"/>
                    </a:lnTo>
                    <a:lnTo>
                      <a:pt x="409" y="1544"/>
                    </a:lnTo>
                    <a:lnTo>
                      <a:pt x="408" y="1544"/>
                    </a:lnTo>
                    <a:lnTo>
                      <a:pt x="406" y="1544"/>
                    </a:lnTo>
                    <a:lnTo>
                      <a:pt x="404" y="1546"/>
                    </a:lnTo>
                    <a:lnTo>
                      <a:pt x="406" y="1546"/>
                    </a:lnTo>
                    <a:lnTo>
                      <a:pt x="404" y="1548"/>
                    </a:lnTo>
                    <a:lnTo>
                      <a:pt x="404" y="1550"/>
                    </a:lnTo>
                    <a:lnTo>
                      <a:pt x="404" y="1552"/>
                    </a:lnTo>
                    <a:lnTo>
                      <a:pt x="404" y="1554"/>
                    </a:lnTo>
                    <a:lnTo>
                      <a:pt x="404" y="1555"/>
                    </a:lnTo>
                    <a:lnTo>
                      <a:pt x="406" y="1555"/>
                    </a:lnTo>
                    <a:lnTo>
                      <a:pt x="406" y="1557"/>
                    </a:lnTo>
                    <a:lnTo>
                      <a:pt x="408" y="1557"/>
                    </a:lnTo>
                    <a:lnTo>
                      <a:pt x="409" y="1557"/>
                    </a:lnTo>
                    <a:lnTo>
                      <a:pt x="409" y="1559"/>
                    </a:lnTo>
                    <a:lnTo>
                      <a:pt x="411" y="1559"/>
                    </a:lnTo>
                    <a:lnTo>
                      <a:pt x="409" y="1559"/>
                    </a:lnTo>
                    <a:lnTo>
                      <a:pt x="411" y="1561"/>
                    </a:lnTo>
                    <a:lnTo>
                      <a:pt x="411" y="1563"/>
                    </a:lnTo>
                    <a:lnTo>
                      <a:pt x="411" y="1565"/>
                    </a:lnTo>
                    <a:lnTo>
                      <a:pt x="413" y="1565"/>
                    </a:lnTo>
                    <a:lnTo>
                      <a:pt x="415" y="1565"/>
                    </a:lnTo>
                    <a:lnTo>
                      <a:pt x="415" y="1567"/>
                    </a:lnTo>
                    <a:lnTo>
                      <a:pt x="417" y="1567"/>
                    </a:lnTo>
                    <a:lnTo>
                      <a:pt x="417" y="1569"/>
                    </a:lnTo>
                    <a:lnTo>
                      <a:pt x="417" y="1571"/>
                    </a:lnTo>
                    <a:lnTo>
                      <a:pt x="419" y="1571"/>
                    </a:lnTo>
                    <a:lnTo>
                      <a:pt x="417" y="1573"/>
                    </a:lnTo>
                    <a:lnTo>
                      <a:pt x="419" y="1573"/>
                    </a:lnTo>
                    <a:lnTo>
                      <a:pt x="419" y="1575"/>
                    </a:lnTo>
                    <a:lnTo>
                      <a:pt x="421" y="1575"/>
                    </a:lnTo>
                    <a:lnTo>
                      <a:pt x="421" y="1577"/>
                    </a:lnTo>
                    <a:lnTo>
                      <a:pt x="421" y="1579"/>
                    </a:lnTo>
                    <a:lnTo>
                      <a:pt x="423" y="1579"/>
                    </a:lnTo>
                    <a:lnTo>
                      <a:pt x="423" y="1580"/>
                    </a:lnTo>
                    <a:lnTo>
                      <a:pt x="425" y="1580"/>
                    </a:lnTo>
                    <a:lnTo>
                      <a:pt x="425" y="1582"/>
                    </a:lnTo>
                    <a:lnTo>
                      <a:pt x="427" y="1582"/>
                    </a:lnTo>
                    <a:lnTo>
                      <a:pt x="427" y="1584"/>
                    </a:lnTo>
                    <a:lnTo>
                      <a:pt x="429" y="1586"/>
                    </a:lnTo>
                    <a:lnTo>
                      <a:pt x="429" y="1588"/>
                    </a:lnTo>
                    <a:lnTo>
                      <a:pt x="431" y="1588"/>
                    </a:lnTo>
                    <a:lnTo>
                      <a:pt x="433" y="1590"/>
                    </a:lnTo>
                    <a:lnTo>
                      <a:pt x="433" y="1592"/>
                    </a:lnTo>
                    <a:lnTo>
                      <a:pt x="433" y="1594"/>
                    </a:lnTo>
                    <a:lnTo>
                      <a:pt x="434" y="1594"/>
                    </a:lnTo>
                    <a:lnTo>
                      <a:pt x="434" y="1596"/>
                    </a:lnTo>
                    <a:lnTo>
                      <a:pt x="436" y="1596"/>
                    </a:lnTo>
                    <a:lnTo>
                      <a:pt x="436" y="1594"/>
                    </a:lnTo>
                    <a:lnTo>
                      <a:pt x="438" y="1594"/>
                    </a:lnTo>
                    <a:lnTo>
                      <a:pt x="438" y="1596"/>
                    </a:lnTo>
                    <a:lnTo>
                      <a:pt x="440" y="1596"/>
                    </a:lnTo>
                    <a:lnTo>
                      <a:pt x="438" y="1598"/>
                    </a:lnTo>
                    <a:lnTo>
                      <a:pt x="440" y="1598"/>
                    </a:lnTo>
                    <a:lnTo>
                      <a:pt x="438" y="1600"/>
                    </a:lnTo>
                    <a:lnTo>
                      <a:pt x="438" y="1602"/>
                    </a:lnTo>
                    <a:lnTo>
                      <a:pt x="436" y="1602"/>
                    </a:lnTo>
                    <a:lnTo>
                      <a:pt x="434" y="1602"/>
                    </a:lnTo>
                    <a:lnTo>
                      <a:pt x="434" y="1604"/>
                    </a:lnTo>
                    <a:lnTo>
                      <a:pt x="433" y="1604"/>
                    </a:lnTo>
                    <a:lnTo>
                      <a:pt x="433" y="1605"/>
                    </a:lnTo>
                    <a:lnTo>
                      <a:pt x="431" y="1605"/>
                    </a:lnTo>
                    <a:lnTo>
                      <a:pt x="431" y="1604"/>
                    </a:lnTo>
                    <a:lnTo>
                      <a:pt x="429" y="1604"/>
                    </a:lnTo>
                    <a:lnTo>
                      <a:pt x="429" y="1602"/>
                    </a:lnTo>
                    <a:lnTo>
                      <a:pt x="427" y="1602"/>
                    </a:lnTo>
                    <a:lnTo>
                      <a:pt x="429" y="1600"/>
                    </a:lnTo>
                    <a:lnTo>
                      <a:pt x="427" y="1600"/>
                    </a:lnTo>
                    <a:lnTo>
                      <a:pt x="425" y="1600"/>
                    </a:lnTo>
                    <a:lnTo>
                      <a:pt x="425" y="1598"/>
                    </a:lnTo>
                    <a:lnTo>
                      <a:pt x="423" y="1598"/>
                    </a:lnTo>
                    <a:lnTo>
                      <a:pt x="423" y="1600"/>
                    </a:lnTo>
                    <a:lnTo>
                      <a:pt x="423" y="1602"/>
                    </a:lnTo>
                    <a:lnTo>
                      <a:pt x="425" y="1604"/>
                    </a:lnTo>
                    <a:lnTo>
                      <a:pt x="423" y="1605"/>
                    </a:lnTo>
                    <a:lnTo>
                      <a:pt x="421" y="1605"/>
                    </a:lnTo>
                    <a:lnTo>
                      <a:pt x="419" y="1605"/>
                    </a:lnTo>
                    <a:lnTo>
                      <a:pt x="419" y="1607"/>
                    </a:lnTo>
                    <a:lnTo>
                      <a:pt x="419" y="1609"/>
                    </a:lnTo>
                    <a:lnTo>
                      <a:pt x="417" y="1609"/>
                    </a:lnTo>
                    <a:lnTo>
                      <a:pt x="415" y="1607"/>
                    </a:lnTo>
                    <a:lnTo>
                      <a:pt x="413" y="1607"/>
                    </a:lnTo>
                    <a:lnTo>
                      <a:pt x="411" y="1607"/>
                    </a:lnTo>
                    <a:lnTo>
                      <a:pt x="409" y="1607"/>
                    </a:lnTo>
                    <a:lnTo>
                      <a:pt x="408" y="1607"/>
                    </a:lnTo>
                    <a:lnTo>
                      <a:pt x="408" y="1605"/>
                    </a:lnTo>
                    <a:lnTo>
                      <a:pt x="406" y="1605"/>
                    </a:lnTo>
                    <a:lnTo>
                      <a:pt x="404" y="1607"/>
                    </a:lnTo>
                    <a:lnTo>
                      <a:pt x="404" y="1609"/>
                    </a:lnTo>
                    <a:lnTo>
                      <a:pt x="402" y="1609"/>
                    </a:lnTo>
                    <a:lnTo>
                      <a:pt x="402" y="1611"/>
                    </a:lnTo>
                    <a:lnTo>
                      <a:pt x="400" y="1611"/>
                    </a:lnTo>
                    <a:lnTo>
                      <a:pt x="398" y="1611"/>
                    </a:lnTo>
                    <a:lnTo>
                      <a:pt x="398" y="1613"/>
                    </a:lnTo>
                    <a:lnTo>
                      <a:pt x="396" y="1613"/>
                    </a:lnTo>
                    <a:lnTo>
                      <a:pt x="396" y="1615"/>
                    </a:lnTo>
                    <a:lnTo>
                      <a:pt x="394" y="1615"/>
                    </a:lnTo>
                    <a:lnTo>
                      <a:pt x="392" y="1615"/>
                    </a:lnTo>
                    <a:lnTo>
                      <a:pt x="392" y="1613"/>
                    </a:lnTo>
                    <a:lnTo>
                      <a:pt x="390" y="1613"/>
                    </a:lnTo>
                    <a:lnTo>
                      <a:pt x="392" y="1613"/>
                    </a:lnTo>
                    <a:lnTo>
                      <a:pt x="392" y="1611"/>
                    </a:lnTo>
                    <a:lnTo>
                      <a:pt x="390" y="1611"/>
                    </a:lnTo>
                    <a:lnTo>
                      <a:pt x="390" y="1609"/>
                    </a:lnTo>
                    <a:lnTo>
                      <a:pt x="388" y="1609"/>
                    </a:lnTo>
                    <a:lnTo>
                      <a:pt x="386" y="1609"/>
                    </a:lnTo>
                    <a:lnTo>
                      <a:pt x="386" y="1611"/>
                    </a:lnTo>
                    <a:lnTo>
                      <a:pt x="386" y="1613"/>
                    </a:lnTo>
                    <a:lnTo>
                      <a:pt x="384" y="1613"/>
                    </a:lnTo>
                    <a:lnTo>
                      <a:pt x="383" y="1613"/>
                    </a:lnTo>
                    <a:lnTo>
                      <a:pt x="383" y="1615"/>
                    </a:lnTo>
                    <a:lnTo>
                      <a:pt x="381" y="1615"/>
                    </a:lnTo>
                    <a:lnTo>
                      <a:pt x="381" y="1613"/>
                    </a:lnTo>
                    <a:lnTo>
                      <a:pt x="379" y="1613"/>
                    </a:lnTo>
                    <a:lnTo>
                      <a:pt x="379" y="1615"/>
                    </a:lnTo>
                    <a:lnTo>
                      <a:pt x="379" y="1613"/>
                    </a:lnTo>
                    <a:lnTo>
                      <a:pt x="377" y="1613"/>
                    </a:lnTo>
                    <a:lnTo>
                      <a:pt x="375" y="1615"/>
                    </a:lnTo>
                    <a:lnTo>
                      <a:pt x="373" y="1615"/>
                    </a:lnTo>
                    <a:lnTo>
                      <a:pt x="371" y="1615"/>
                    </a:lnTo>
                    <a:lnTo>
                      <a:pt x="371" y="1617"/>
                    </a:lnTo>
                    <a:lnTo>
                      <a:pt x="369" y="1617"/>
                    </a:lnTo>
                    <a:lnTo>
                      <a:pt x="367" y="1619"/>
                    </a:lnTo>
                    <a:lnTo>
                      <a:pt x="367" y="1621"/>
                    </a:lnTo>
                    <a:lnTo>
                      <a:pt x="369" y="1621"/>
                    </a:lnTo>
                    <a:lnTo>
                      <a:pt x="371" y="1623"/>
                    </a:lnTo>
                    <a:lnTo>
                      <a:pt x="371" y="1625"/>
                    </a:lnTo>
                    <a:lnTo>
                      <a:pt x="371" y="1627"/>
                    </a:lnTo>
                    <a:lnTo>
                      <a:pt x="369" y="1627"/>
                    </a:lnTo>
                    <a:lnTo>
                      <a:pt x="369" y="1629"/>
                    </a:lnTo>
                    <a:lnTo>
                      <a:pt x="367" y="1629"/>
                    </a:lnTo>
                    <a:lnTo>
                      <a:pt x="367" y="1630"/>
                    </a:lnTo>
                    <a:lnTo>
                      <a:pt x="367" y="1632"/>
                    </a:lnTo>
                    <a:lnTo>
                      <a:pt x="367" y="1634"/>
                    </a:lnTo>
                    <a:lnTo>
                      <a:pt x="367" y="1636"/>
                    </a:lnTo>
                    <a:lnTo>
                      <a:pt x="367" y="1638"/>
                    </a:lnTo>
                    <a:lnTo>
                      <a:pt x="367" y="1640"/>
                    </a:lnTo>
                    <a:lnTo>
                      <a:pt x="365" y="1640"/>
                    </a:lnTo>
                    <a:lnTo>
                      <a:pt x="367" y="1640"/>
                    </a:lnTo>
                    <a:lnTo>
                      <a:pt x="365" y="1642"/>
                    </a:lnTo>
                    <a:lnTo>
                      <a:pt x="367" y="1642"/>
                    </a:lnTo>
                    <a:lnTo>
                      <a:pt x="365" y="1642"/>
                    </a:lnTo>
                    <a:lnTo>
                      <a:pt x="365" y="1644"/>
                    </a:lnTo>
                    <a:lnTo>
                      <a:pt x="363" y="1646"/>
                    </a:lnTo>
                    <a:lnTo>
                      <a:pt x="365" y="1648"/>
                    </a:lnTo>
                    <a:lnTo>
                      <a:pt x="363" y="1648"/>
                    </a:lnTo>
                    <a:lnTo>
                      <a:pt x="361" y="1648"/>
                    </a:lnTo>
                    <a:lnTo>
                      <a:pt x="360" y="1648"/>
                    </a:lnTo>
                    <a:lnTo>
                      <a:pt x="358" y="1648"/>
                    </a:lnTo>
                    <a:lnTo>
                      <a:pt x="356" y="1648"/>
                    </a:lnTo>
                    <a:lnTo>
                      <a:pt x="356" y="1650"/>
                    </a:lnTo>
                    <a:lnTo>
                      <a:pt x="354" y="1650"/>
                    </a:lnTo>
                    <a:lnTo>
                      <a:pt x="352" y="1652"/>
                    </a:lnTo>
                    <a:lnTo>
                      <a:pt x="352" y="1654"/>
                    </a:lnTo>
                    <a:lnTo>
                      <a:pt x="352" y="1655"/>
                    </a:lnTo>
                    <a:lnTo>
                      <a:pt x="350" y="1655"/>
                    </a:lnTo>
                    <a:lnTo>
                      <a:pt x="352" y="1657"/>
                    </a:lnTo>
                    <a:lnTo>
                      <a:pt x="350" y="1657"/>
                    </a:lnTo>
                    <a:lnTo>
                      <a:pt x="350" y="1659"/>
                    </a:lnTo>
                    <a:lnTo>
                      <a:pt x="350" y="1661"/>
                    </a:lnTo>
                    <a:lnTo>
                      <a:pt x="350" y="1663"/>
                    </a:lnTo>
                    <a:lnTo>
                      <a:pt x="348" y="1663"/>
                    </a:lnTo>
                    <a:lnTo>
                      <a:pt x="348" y="1665"/>
                    </a:lnTo>
                    <a:lnTo>
                      <a:pt x="346" y="1667"/>
                    </a:lnTo>
                    <a:lnTo>
                      <a:pt x="344" y="1667"/>
                    </a:lnTo>
                    <a:lnTo>
                      <a:pt x="344" y="1669"/>
                    </a:lnTo>
                    <a:lnTo>
                      <a:pt x="344" y="1671"/>
                    </a:lnTo>
                    <a:lnTo>
                      <a:pt x="342" y="1673"/>
                    </a:lnTo>
                    <a:lnTo>
                      <a:pt x="342" y="1675"/>
                    </a:lnTo>
                    <a:lnTo>
                      <a:pt x="340" y="1675"/>
                    </a:lnTo>
                    <a:lnTo>
                      <a:pt x="340" y="1677"/>
                    </a:lnTo>
                    <a:lnTo>
                      <a:pt x="338" y="1679"/>
                    </a:lnTo>
                    <a:lnTo>
                      <a:pt x="336" y="1680"/>
                    </a:lnTo>
                    <a:lnTo>
                      <a:pt x="336" y="1682"/>
                    </a:lnTo>
                    <a:lnTo>
                      <a:pt x="336" y="1684"/>
                    </a:lnTo>
                    <a:lnTo>
                      <a:pt x="336" y="1686"/>
                    </a:lnTo>
                    <a:lnTo>
                      <a:pt x="335" y="1688"/>
                    </a:lnTo>
                    <a:lnTo>
                      <a:pt x="335" y="1690"/>
                    </a:lnTo>
                    <a:lnTo>
                      <a:pt x="335" y="1692"/>
                    </a:lnTo>
                    <a:lnTo>
                      <a:pt x="333" y="1692"/>
                    </a:lnTo>
                    <a:lnTo>
                      <a:pt x="333" y="1694"/>
                    </a:lnTo>
                    <a:lnTo>
                      <a:pt x="335" y="1694"/>
                    </a:lnTo>
                    <a:lnTo>
                      <a:pt x="335" y="1696"/>
                    </a:lnTo>
                    <a:lnTo>
                      <a:pt x="333" y="1696"/>
                    </a:lnTo>
                    <a:lnTo>
                      <a:pt x="331" y="1698"/>
                    </a:lnTo>
                    <a:lnTo>
                      <a:pt x="329" y="1698"/>
                    </a:lnTo>
                    <a:lnTo>
                      <a:pt x="327" y="1698"/>
                    </a:lnTo>
                    <a:lnTo>
                      <a:pt x="325" y="1700"/>
                    </a:lnTo>
                    <a:lnTo>
                      <a:pt x="323" y="1700"/>
                    </a:lnTo>
                    <a:lnTo>
                      <a:pt x="323" y="1702"/>
                    </a:lnTo>
                    <a:lnTo>
                      <a:pt x="321" y="1704"/>
                    </a:lnTo>
                    <a:lnTo>
                      <a:pt x="319" y="1704"/>
                    </a:lnTo>
                    <a:lnTo>
                      <a:pt x="319" y="1707"/>
                    </a:lnTo>
                    <a:lnTo>
                      <a:pt x="317" y="1707"/>
                    </a:lnTo>
                    <a:lnTo>
                      <a:pt x="315" y="1707"/>
                    </a:lnTo>
                    <a:lnTo>
                      <a:pt x="315" y="1709"/>
                    </a:lnTo>
                    <a:lnTo>
                      <a:pt x="315" y="1711"/>
                    </a:lnTo>
                    <a:lnTo>
                      <a:pt x="313" y="1711"/>
                    </a:lnTo>
                    <a:lnTo>
                      <a:pt x="313" y="1713"/>
                    </a:lnTo>
                    <a:lnTo>
                      <a:pt x="311" y="1713"/>
                    </a:lnTo>
                    <a:lnTo>
                      <a:pt x="311" y="1715"/>
                    </a:lnTo>
                    <a:lnTo>
                      <a:pt x="310" y="1715"/>
                    </a:lnTo>
                    <a:lnTo>
                      <a:pt x="308" y="1715"/>
                    </a:lnTo>
                    <a:lnTo>
                      <a:pt x="306" y="1717"/>
                    </a:lnTo>
                    <a:lnTo>
                      <a:pt x="306" y="1719"/>
                    </a:lnTo>
                    <a:lnTo>
                      <a:pt x="306" y="1721"/>
                    </a:lnTo>
                    <a:lnTo>
                      <a:pt x="304" y="1721"/>
                    </a:lnTo>
                    <a:lnTo>
                      <a:pt x="302" y="1719"/>
                    </a:lnTo>
                    <a:lnTo>
                      <a:pt x="300" y="1719"/>
                    </a:lnTo>
                    <a:lnTo>
                      <a:pt x="298" y="1719"/>
                    </a:lnTo>
                    <a:lnTo>
                      <a:pt x="298" y="1721"/>
                    </a:lnTo>
                    <a:lnTo>
                      <a:pt x="296" y="1723"/>
                    </a:lnTo>
                    <a:lnTo>
                      <a:pt x="294" y="1723"/>
                    </a:lnTo>
                    <a:lnTo>
                      <a:pt x="292" y="1723"/>
                    </a:lnTo>
                    <a:lnTo>
                      <a:pt x="290" y="1723"/>
                    </a:lnTo>
                    <a:lnTo>
                      <a:pt x="288" y="1723"/>
                    </a:lnTo>
                    <a:lnTo>
                      <a:pt x="287" y="1721"/>
                    </a:lnTo>
                    <a:lnTo>
                      <a:pt x="285" y="1721"/>
                    </a:lnTo>
                    <a:lnTo>
                      <a:pt x="285" y="1723"/>
                    </a:lnTo>
                    <a:lnTo>
                      <a:pt x="285" y="1721"/>
                    </a:lnTo>
                    <a:lnTo>
                      <a:pt x="283" y="1721"/>
                    </a:lnTo>
                    <a:lnTo>
                      <a:pt x="281" y="1723"/>
                    </a:lnTo>
                    <a:lnTo>
                      <a:pt x="279" y="1723"/>
                    </a:lnTo>
                    <a:lnTo>
                      <a:pt x="277" y="1723"/>
                    </a:lnTo>
                    <a:lnTo>
                      <a:pt x="277" y="1725"/>
                    </a:lnTo>
                    <a:lnTo>
                      <a:pt x="275" y="1723"/>
                    </a:lnTo>
                    <a:lnTo>
                      <a:pt x="273" y="1723"/>
                    </a:lnTo>
                    <a:lnTo>
                      <a:pt x="273" y="1721"/>
                    </a:lnTo>
                    <a:lnTo>
                      <a:pt x="271" y="1721"/>
                    </a:lnTo>
                    <a:lnTo>
                      <a:pt x="271" y="1719"/>
                    </a:lnTo>
                    <a:lnTo>
                      <a:pt x="269" y="1717"/>
                    </a:lnTo>
                    <a:lnTo>
                      <a:pt x="267" y="1717"/>
                    </a:lnTo>
                    <a:lnTo>
                      <a:pt x="265" y="1717"/>
                    </a:lnTo>
                    <a:lnTo>
                      <a:pt x="263" y="1717"/>
                    </a:lnTo>
                    <a:lnTo>
                      <a:pt x="262" y="1717"/>
                    </a:lnTo>
                    <a:lnTo>
                      <a:pt x="260" y="1715"/>
                    </a:lnTo>
                    <a:lnTo>
                      <a:pt x="258" y="1715"/>
                    </a:lnTo>
                    <a:lnTo>
                      <a:pt x="256" y="1715"/>
                    </a:lnTo>
                    <a:lnTo>
                      <a:pt x="254" y="1715"/>
                    </a:lnTo>
                    <a:lnTo>
                      <a:pt x="252" y="1715"/>
                    </a:lnTo>
                    <a:lnTo>
                      <a:pt x="250" y="1715"/>
                    </a:lnTo>
                    <a:lnTo>
                      <a:pt x="248" y="1715"/>
                    </a:lnTo>
                    <a:lnTo>
                      <a:pt x="248" y="1717"/>
                    </a:lnTo>
                    <a:lnTo>
                      <a:pt x="248" y="1715"/>
                    </a:lnTo>
                    <a:lnTo>
                      <a:pt x="246" y="1715"/>
                    </a:lnTo>
                    <a:lnTo>
                      <a:pt x="244" y="1715"/>
                    </a:lnTo>
                    <a:lnTo>
                      <a:pt x="244" y="1713"/>
                    </a:lnTo>
                    <a:lnTo>
                      <a:pt x="242" y="1711"/>
                    </a:lnTo>
                    <a:lnTo>
                      <a:pt x="240" y="1711"/>
                    </a:lnTo>
                    <a:lnTo>
                      <a:pt x="238" y="1711"/>
                    </a:lnTo>
                    <a:lnTo>
                      <a:pt x="237" y="1711"/>
                    </a:lnTo>
                    <a:lnTo>
                      <a:pt x="237" y="1713"/>
                    </a:lnTo>
                    <a:lnTo>
                      <a:pt x="235" y="1713"/>
                    </a:lnTo>
                    <a:lnTo>
                      <a:pt x="233" y="1713"/>
                    </a:lnTo>
                    <a:lnTo>
                      <a:pt x="233" y="1709"/>
                    </a:lnTo>
                    <a:lnTo>
                      <a:pt x="231" y="1709"/>
                    </a:lnTo>
                    <a:lnTo>
                      <a:pt x="231" y="1707"/>
                    </a:lnTo>
                    <a:lnTo>
                      <a:pt x="231" y="1705"/>
                    </a:lnTo>
                    <a:lnTo>
                      <a:pt x="231" y="1704"/>
                    </a:lnTo>
                    <a:lnTo>
                      <a:pt x="231" y="1702"/>
                    </a:lnTo>
                    <a:lnTo>
                      <a:pt x="229" y="1702"/>
                    </a:lnTo>
                    <a:lnTo>
                      <a:pt x="227" y="1700"/>
                    </a:lnTo>
                    <a:lnTo>
                      <a:pt x="225" y="1700"/>
                    </a:lnTo>
                    <a:lnTo>
                      <a:pt x="225" y="1698"/>
                    </a:lnTo>
                    <a:lnTo>
                      <a:pt x="223" y="1698"/>
                    </a:lnTo>
                    <a:lnTo>
                      <a:pt x="223" y="1696"/>
                    </a:lnTo>
                    <a:lnTo>
                      <a:pt x="221" y="1694"/>
                    </a:lnTo>
                    <a:lnTo>
                      <a:pt x="221" y="1692"/>
                    </a:lnTo>
                    <a:lnTo>
                      <a:pt x="223" y="1690"/>
                    </a:lnTo>
                    <a:lnTo>
                      <a:pt x="223" y="1688"/>
                    </a:lnTo>
                    <a:lnTo>
                      <a:pt x="225" y="1686"/>
                    </a:lnTo>
                    <a:lnTo>
                      <a:pt x="227" y="1684"/>
                    </a:lnTo>
                    <a:lnTo>
                      <a:pt x="229" y="1682"/>
                    </a:lnTo>
                    <a:lnTo>
                      <a:pt x="229" y="1680"/>
                    </a:lnTo>
                    <a:lnTo>
                      <a:pt x="229" y="1679"/>
                    </a:lnTo>
                    <a:lnTo>
                      <a:pt x="231" y="1675"/>
                    </a:lnTo>
                    <a:lnTo>
                      <a:pt x="235" y="1669"/>
                    </a:lnTo>
                    <a:lnTo>
                      <a:pt x="237" y="1665"/>
                    </a:lnTo>
                    <a:lnTo>
                      <a:pt x="238" y="1665"/>
                    </a:lnTo>
                    <a:lnTo>
                      <a:pt x="240" y="1665"/>
                    </a:lnTo>
                    <a:lnTo>
                      <a:pt x="242" y="1665"/>
                    </a:lnTo>
                    <a:lnTo>
                      <a:pt x="244" y="1663"/>
                    </a:lnTo>
                    <a:lnTo>
                      <a:pt x="246" y="1663"/>
                    </a:lnTo>
                    <a:lnTo>
                      <a:pt x="246" y="1665"/>
                    </a:lnTo>
                    <a:lnTo>
                      <a:pt x="248" y="1663"/>
                    </a:lnTo>
                    <a:lnTo>
                      <a:pt x="248" y="1665"/>
                    </a:lnTo>
                    <a:lnTo>
                      <a:pt x="248" y="1663"/>
                    </a:lnTo>
                    <a:lnTo>
                      <a:pt x="250" y="1663"/>
                    </a:lnTo>
                    <a:lnTo>
                      <a:pt x="250" y="1661"/>
                    </a:lnTo>
                    <a:lnTo>
                      <a:pt x="250" y="1659"/>
                    </a:lnTo>
                    <a:lnTo>
                      <a:pt x="250" y="1657"/>
                    </a:lnTo>
                    <a:lnTo>
                      <a:pt x="252" y="1657"/>
                    </a:lnTo>
                    <a:lnTo>
                      <a:pt x="252" y="1655"/>
                    </a:lnTo>
                    <a:lnTo>
                      <a:pt x="252" y="1654"/>
                    </a:lnTo>
                    <a:lnTo>
                      <a:pt x="254" y="1652"/>
                    </a:lnTo>
                    <a:lnTo>
                      <a:pt x="254" y="1650"/>
                    </a:lnTo>
                    <a:lnTo>
                      <a:pt x="256" y="1650"/>
                    </a:lnTo>
                    <a:lnTo>
                      <a:pt x="256" y="1648"/>
                    </a:lnTo>
                    <a:lnTo>
                      <a:pt x="256" y="1646"/>
                    </a:lnTo>
                    <a:lnTo>
                      <a:pt x="258" y="1646"/>
                    </a:lnTo>
                    <a:lnTo>
                      <a:pt x="258" y="1644"/>
                    </a:lnTo>
                    <a:lnTo>
                      <a:pt x="258" y="1642"/>
                    </a:lnTo>
                    <a:lnTo>
                      <a:pt x="260" y="1640"/>
                    </a:lnTo>
                    <a:lnTo>
                      <a:pt x="260" y="1638"/>
                    </a:lnTo>
                    <a:lnTo>
                      <a:pt x="258" y="1638"/>
                    </a:lnTo>
                    <a:lnTo>
                      <a:pt x="258" y="1636"/>
                    </a:lnTo>
                    <a:lnTo>
                      <a:pt x="258" y="1634"/>
                    </a:lnTo>
                    <a:lnTo>
                      <a:pt x="258" y="1632"/>
                    </a:lnTo>
                    <a:lnTo>
                      <a:pt x="258" y="1630"/>
                    </a:lnTo>
                    <a:lnTo>
                      <a:pt x="258" y="1629"/>
                    </a:lnTo>
                    <a:lnTo>
                      <a:pt x="260" y="1629"/>
                    </a:lnTo>
                    <a:lnTo>
                      <a:pt x="262" y="1629"/>
                    </a:lnTo>
                    <a:lnTo>
                      <a:pt x="263" y="1629"/>
                    </a:lnTo>
                    <a:lnTo>
                      <a:pt x="265" y="1629"/>
                    </a:lnTo>
                    <a:lnTo>
                      <a:pt x="265" y="1627"/>
                    </a:lnTo>
                    <a:lnTo>
                      <a:pt x="267" y="1627"/>
                    </a:lnTo>
                    <a:lnTo>
                      <a:pt x="269" y="1625"/>
                    </a:lnTo>
                    <a:lnTo>
                      <a:pt x="269" y="1623"/>
                    </a:lnTo>
                    <a:lnTo>
                      <a:pt x="271" y="1623"/>
                    </a:lnTo>
                    <a:lnTo>
                      <a:pt x="271" y="1621"/>
                    </a:lnTo>
                    <a:lnTo>
                      <a:pt x="271" y="1619"/>
                    </a:lnTo>
                    <a:lnTo>
                      <a:pt x="273" y="1617"/>
                    </a:lnTo>
                    <a:lnTo>
                      <a:pt x="275" y="1615"/>
                    </a:lnTo>
                    <a:lnTo>
                      <a:pt x="275" y="1613"/>
                    </a:lnTo>
                    <a:lnTo>
                      <a:pt x="275" y="1611"/>
                    </a:lnTo>
                    <a:lnTo>
                      <a:pt x="273" y="1611"/>
                    </a:lnTo>
                    <a:lnTo>
                      <a:pt x="275" y="1611"/>
                    </a:lnTo>
                    <a:lnTo>
                      <a:pt x="273" y="1611"/>
                    </a:lnTo>
                    <a:lnTo>
                      <a:pt x="275" y="1609"/>
                    </a:lnTo>
                    <a:lnTo>
                      <a:pt x="275" y="1607"/>
                    </a:lnTo>
                    <a:lnTo>
                      <a:pt x="273" y="1607"/>
                    </a:lnTo>
                    <a:lnTo>
                      <a:pt x="271" y="1607"/>
                    </a:lnTo>
                    <a:lnTo>
                      <a:pt x="271" y="1605"/>
                    </a:lnTo>
                    <a:lnTo>
                      <a:pt x="269" y="1605"/>
                    </a:lnTo>
                    <a:lnTo>
                      <a:pt x="269" y="1604"/>
                    </a:lnTo>
                    <a:lnTo>
                      <a:pt x="269" y="1602"/>
                    </a:lnTo>
                    <a:lnTo>
                      <a:pt x="267" y="1602"/>
                    </a:lnTo>
                    <a:lnTo>
                      <a:pt x="267" y="1604"/>
                    </a:lnTo>
                    <a:lnTo>
                      <a:pt x="265" y="1602"/>
                    </a:lnTo>
                    <a:lnTo>
                      <a:pt x="265" y="1600"/>
                    </a:lnTo>
                    <a:lnTo>
                      <a:pt x="265" y="1598"/>
                    </a:lnTo>
                    <a:lnTo>
                      <a:pt x="263" y="1598"/>
                    </a:lnTo>
                    <a:lnTo>
                      <a:pt x="263" y="1596"/>
                    </a:lnTo>
                    <a:lnTo>
                      <a:pt x="262" y="1596"/>
                    </a:lnTo>
                    <a:lnTo>
                      <a:pt x="262" y="1594"/>
                    </a:lnTo>
                    <a:lnTo>
                      <a:pt x="263" y="1594"/>
                    </a:lnTo>
                    <a:lnTo>
                      <a:pt x="263" y="1592"/>
                    </a:lnTo>
                    <a:lnTo>
                      <a:pt x="263" y="1590"/>
                    </a:lnTo>
                    <a:lnTo>
                      <a:pt x="263" y="1588"/>
                    </a:lnTo>
                    <a:lnTo>
                      <a:pt x="262" y="1588"/>
                    </a:lnTo>
                    <a:lnTo>
                      <a:pt x="260" y="1588"/>
                    </a:lnTo>
                    <a:lnTo>
                      <a:pt x="260" y="1586"/>
                    </a:lnTo>
                    <a:lnTo>
                      <a:pt x="260" y="1584"/>
                    </a:lnTo>
                    <a:lnTo>
                      <a:pt x="260" y="1582"/>
                    </a:lnTo>
                    <a:lnTo>
                      <a:pt x="260" y="1580"/>
                    </a:lnTo>
                    <a:lnTo>
                      <a:pt x="258" y="1580"/>
                    </a:lnTo>
                    <a:lnTo>
                      <a:pt x="258" y="1579"/>
                    </a:lnTo>
                    <a:lnTo>
                      <a:pt x="260" y="1579"/>
                    </a:lnTo>
                    <a:lnTo>
                      <a:pt x="258" y="1577"/>
                    </a:lnTo>
                    <a:lnTo>
                      <a:pt x="260" y="1577"/>
                    </a:lnTo>
                    <a:lnTo>
                      <a:pt x="262" y="1577"/>
                    </a:lnTo>
                    <a:lnTo>
                      <a:pt x="262" y="1575"/>
                    </a:lnTo>
                    <a:lnTo>
                      <a:pt x="260" y="1575"/>
                    </a:lnTo>
                    <a:lnTo>
                      <a:pt x="262" y="1575"/>
                    </a:lnTo>
                    <a:lnTo>
                      <a:pt x="262" y="1573"/>
                    </a:lnTo>
                    <a:lnTo>
                      <a:pt x="263" y="1573"/>
                    </a:lnTo>
                    <a:lnTo>
                      <a:pt x="263" y="1569"/>
                    </a:lnTo>
                    <a:lnTo>
                      <a:pt x="263" y="1567"/>
                    </a:lnTo>
                    <a:lnTo>
                      <a:pt x="263" y="1565"/>
                    </a:lnTo>
                    <a:lnTo>
                      <a:pt x="263" y="1563"/>
                    </a:lnTo>
                    <a:lnTo>
                      <a:pt x="262" y="1561"/>
                    </a:lnTo>
                    <a:lnTo>
                      <a:pt x="262" y="1559"/>
                    </a:lnTo>
                    <a:lnTo>
                      <a:pt x="260" y="1555"/>
                    </a:lnTo>
                    <a:lnTo>
                      <a:pt x="260" y="1554"/>
                    </a:lnTo>
                    <a:lnTo>
                      <a:pt x="260" y="1552"/>
                    </a:lnTo>
                    <a:lnTo>
                      <a:pt x="258" y="1550"/>
                    </a:lnTo>
                    <a:lnTo>
                      <a:pt x="258" y="1548"/>
                    </a:lnTo>
                    <a:lnTo>
                      <a:pt x="256" y="1546"/>
                    </a:lnTo>
                    <a:lnTo>
                      <a:pt x="256" y="1544"/>
                    </a:lnTo>
                    <a:lnTo>
                      <a:pt x="254" y="1544"/>
                    </a:lnTo>
                    <a:lnTo>
                      <a:pt x="254" y="1540"/>
                    </a:lnTo>
                    <a:lnTo>
                      <a:pt x="254" y="1538"/>
                    </a:lnTo>
                    <a:lnTo>
                      <a:pt x="254" y="1536"/>
                    </a:lnTo>
                    <a:lnTo>
                      <a:pt x="254" y="1534"/>
                    </a:lnTo>
                    <a:lnTo>
                      <a:pt x="252" y="1532"/>
                    </a:lnTo>
                    <a:lnTo>
                      <a:pt x="250" y="1530"/>
                    </a:lnTo>
                    <a:lnTo>
                      <a:pt x="248" y="1529"/>
                    </a:lnTo>
                    <a:lnTo>
                      <a:pt x="246" y="1527"/>
                    </a:lnTo>
                    <a:lnTo>
                      <a:pt x="244" y="1525"/>
                    </a:lnTo>
                    <a:lnTo>
                      <a:pt x="244" y="1523"/>
                    </a:lnTo>
                    <a:lnTo>
                      <a:pt x="244" y="1521"/>
                    </a:lnTo>
                    <a:lnTo>
                      <a:pt x="244" y="1519"/>
                    </a:lnTo>
                    <a:lnTo>
                      <a:pt x="244" y="1515"/>
                    </a:lnTo>
                    <a:lnTo>
                      <a:pt x="244" y="1511"/>
                    </a:lnTo>
                    <a:lnTo>
                      <a:pt x="242" y="1511"/>
                    </a:lnTo>
                    <a:lnTo>
                      <a:pt x="240" y="1509"/>
                    </a:lnTo>
                    <a:lnTo>
                      <a:pt x="238" y="1509"/>
                    </a:lnTo>
                    <a:lnTo>
                      <a:pt x="238" y="1505"/>
                    </a:lnTo>
                    <a:lnTo>
                      <a:pt x="237" y="1505"/>
                    </a:lnTo>
                    <a:lnTo>
                      <a:pt x="235" y="1507"/>
                    </a:lnTo>
                    <a:lnTo>
                      <a:pt x="231" y="1507"/>
                    </a:lnTo>
                    <a:lnTo>
                      <a:pt x="231" y="1505"/>
                    </a:lnTo>
                    <a:lnTo>
                      <a:pt x="231" y="1504"/>
                    </a:lnTo>
                    <a:lnTo>
                      <a:pt x="231" y="1500"/>
                    </a:lnTo>
                    <a:lnTo>
                      <a:pt x="233" y="1500"/>
                    </a:lnTo>
                    <a:lnTo>
                      <a:pt x="231" y="1498"/>
                    </a:lnTo>
                    <a:lnTo>
                      <a:pt x="231" y="1496"/>
                    </a:lnTo>
                    <a:lnTo>
                      <a:pt x="229" y="1496"/>
                    </a:lnTo>
                    <a:lnTo>
                      <a:pt x="227" y="1496"/>
                    </a:lnTo>
                    <a:lnTo>
                      <a:pt x="227" y="1494"/>
                    </a:lnTo>
                    <a:lnTo>
                      <a:pt x="225" y="1496"/>
                    </a:lnTo>
                    <a:lnTo>
                      <a:pt x="225" y="1494"/>
                    </a:lnTo>
                    <a:lnTo>
                      <a:pt x="225" y="1496"/>
                    </a:lnTo>
                    <a:lnTo>
                      <a:pt x="225" y="1494"/>
                    </a:lnTo>
                    <a:lnTo>
                      <a:pt x="223" y="1494"/>
                    </a:lnTo>
                    <a:lnTo>
                      <a:pt x="223" y="1496"/>
                    </a:lnTo>
                    <a:lnTo>
                      <a:pt x="223" y="1494"/>
                    </a:lnTo>
                    <a:lnTo>
                      <a:pt x="221" y="1494"/>
                    </a:lnTo>
                    <a:lnTo>
                      <a:pt x="219" y="1494"/>
                    </a:lnTo>
                    <a:lnTo>
                      <a:pt x="219" y="1492"/>
                    </a:lnTo>
                    <a:lnTo>
                      <a:pt x="217" y="1492"/>
                    </a:lnTo>
                    <a:lnTo>
                      <a:pt x="215" y="1492"/>
                    </a:lnTo>
                    <a:lnTo>
                      <a:pt x="215" y="1490"/>
                    </a:lnTo>
                    <a:lnTo>
                      <a:pt x="215" y="1492"/>
                    </a:lnTo>
                    <a:lnTo>
                      <a:pt x="214" y="1492"/>
                    </a:lnTo>
                    <a:lnTo>
                      <a:pt x="212" y="1492"/>
                    </a:lnTo>
                    <a:lnTo>
                      <a:pt x="210" y="1492"/>
                    </a:lnTo>
                    <a:lnTo>
                      <a:pt x="210" y="1494"/>
                    </a:lnTo>
                    <a:lnTo>
                      <a:pt x="208" y="1494"/>
                    </a:lnTo>
                    <a:lnTo>
                      <a:pt x="206" y="1494"/>
                    </a:lnTo>
                    <a:lnTo>
                      <a:pt x="206" y="1496"/>
                    </a:lnTo>
                    <a:lnTo>
                      <a:pt x="204" y="1496"/>
                    </a:lnTo>
                    <a:lnTo>
                      <a:pt x="206" y="1498"/>
                    </a:lnTo>
                    <a:lnTo>
                      <a:pt x="206" y="1500"/>
                    </a:lnTo>
                    <a:lnTo>
                      <a:pt x="204" y="1500"/>
                    </a:lnTo>
                    <a:lnTo>
                      <a:pt x="202" y="1496"/>
                    </a:lnTo>
                    <a:lnTo>
                      <a:pt x="202" y="1494"/>
                    </a:lnTo>
                    <a:lnTo>
                      <a:pt x="200" y="1494"/>
                    </a:lnTo>
                    <a:lnTo>
                      <a:pt x="198" y="1494"/>
                    </a:lnTo>
                    <a:lnTo>
                      <a:pt x="194" y="1494"/>
                    </a:lnTo>
                    <a:lnTo>
                      <a:pt x="194" y="1496"/>
                    </a:lnTo>
                    <a:lnTo>
                      <a:pt x="194" y="1498"/>
                    </a:lnTo>
                    <a:lnTo>
                      <a:pt x="192" y="1498"/>
                    </a:lnTo>
                    <a:lnTo>
                      <a:pt x="192" y="1496"/>
                    </a:lnTo>
                    <a:lnTo>
                      <a:pt x="190" y="1496"/>
                    </a:lnTo>
                    <a:lnTo>
                      <a:pt x="190" y="1494"/>
                    </a:lnTo>
                    <a:lnTo>
                      <a:pt x="190" y="1492"/>
                    </a:lnTo>
                    <a:lnTo>
                      <a:pt x="190" y="1490"/>
                    </a:lnTo>
                    <a:lnTo>
                      <a:pt x="189" y="1490"/>
                    </a:lnTo>
                    <a:lnTo>
                      <a:pt x="187" y="1490"/>
                    </a:lnTo>
                    <a:lnTo>
                      <a:pt x="185" y="1490"/>
                    </a:lnTo>
                    <a:lnTo>
                      <a:pt x="183" y="1490"/>
                    </a:lnTo>
                    <a:lnTo>
                      <a:pt x="183" y="1488"/>
                    </a:lnTo>
                    <a:lnTo>
                      <a:pt x="185" y="1486"/>
                    </a:lnTo>
                    <a:lnTo>
                      <a:pt x="183" y="1484"/>
                    </a:lnTo>
                    <a:lnTo>
                      <a:pt x="181" y="1482"/>
                    </a:lnTo>
                    <a:lnTo>
                      <a:pt x="183" y="1477"/>
                    </a:lnTo>
                    <a:lnTo>
                      <a:pt x="183" y="1475"/>
                    </a:lnTo>
                    <a:lnTo>
                      <a:pt x="181" y="1475"/>
                    </a:lnTo>
                    <a:lnTo>
                      <a:pt x="179" y="1475"/>
                    </a:lnTo>
                    <a:lnTo>
                      <a:pt x="177" y="1473"/>
                    </a:lnTo>
                    <a:lnTo>
                      <a:pt x="177" y="1471"/>
                    </a:lnTo>
                    <a:lnTo>
                      <a:pt x="175" y="1471"/>
                    </a:lnTo>
                    <a:lnTo>
                      <a:pt x="173" y="1471"/>
                    </a:lnTo>
                    <a:lnTo>
                      <a:pt x="173" y="1469"/>
                    </a:lnTo>
                    <a:lnTo>
                      <a:pt x="173" y="1467"/>
                    </a:lnTo>
                    <a:lnTo>
                      <a:pt x="171" y="1467"/>
                    </a:lnTo>
                    <a:lnTo>
                      <a:pt x="169" y="1467"/>
                    </a:lnTo>
                    <a:lnTo>
                      <a:pt x="169" y="1465"/>
                    </a:lnTo>
                    <a:lnTo>
                      <a:pt x="171" y="1465"/>
                    </a:lnTo>
                    <a:lnTo>
                      <a:pt x="171" y="1463"/>
                    </a:lnTo>
                    <a:lnTo>
                      <a:pt x="171" y="1461"/>
                    </a:lnTo>
                    <a:lnTo>
                      <a:pt x="171" y="1463"/>
                    </a:lnTo>
                    <a:lnTo>
                      <a:pt x="171" y="1461"/>
                    </a:lnTo>
                    <a:lnTo>
                      <a:pt x="173" y="1461"/>
                    </a:lnTo>
                    <a:lnTo>
                      <a:pt x="173" y="1459"/>
                    </a:lnTo>
                    <a:lnTo>
                      <a:pt x="175" y="1459"/>
                    </a:lnTo>
                    <a:lnTo>
                      <a:pt x="175" y="1457"/>
                    </a:lnTo>
                    <a:lnTo>
                      <a:pt x="177" y="1457"/>
                    </a:lnTo>
                    <a:lnTo>
                      <a:pt x="177" y="1456"/>
                    </a:lnTo>
                    <a:lnTo>
                      <a:pt x="179" y="1456"/>
                    </a:lnTo>
                    <a:lnTo>
                      <a:pt x="179" y="1454"/>
                    </a:lnTo>
                    <a:lnTo>
                      <a:pt x="181" y="1454"/>
                    </a:lnTo>
                    <a:lnTo>
                      <a:pt x="179" y="1454"/>
                    </a:lnTo>
                    <a:lnTo>
                      <a:pt x="181" y="1454"/>
                    </a:lnTo>
                    <a:lnTo>
                      <a:pt x="181" y="1452"/>
                    </a:lnTo>
                    <a:lnTo>
                      <a:pt x="183" y="1452"/>
                    </a:lnTo>
                    <a:lnTo>
                      <a:pt x="185" y="1452"/>
                    </a:lnTo>
                    <a:lnTo>
                      <a:pt x="185" y="1450"/>
                    </a:lnTo>
                    <a:lnTo>
                      <a:pt x="187" y="1450"/>
                    </a:lnTo>
                    <a:lnTo>
                      <a:pt x="189" y="1450"/>
                    </a:lnTo>
                    <a:lnTo>
                      <a:pt x="189" y="1448"/>
                    </a:lnTo>
                    <a:lnTo>
                      <a:pt x="190" y="1448"/>
                    </a:lnTo>
                    <a:lnTo>
                      <a:pt x="190" y="1446"/>
                    </a:lnTo>
                    <a:lnTo>
                      <a:pt x="190" y="1448"/>
                    </a:lnTo>
                    <a:lnTo>
                      <a:pt x="190" y="1446"/>
                    </a:lnTo>
                    <a:lnTo>
                      <a:pt x="192" y="1446"/>
                    </a:lnTo>
                    <a:lnTo>
                      <a:pt x="194" y="1446"/>
                    </a:lnTo>
                    <a:lnTo>
                      <a:pt x="196" y="1446"/>
                    </a:lnTo>
                    <a:lnTo>
                      <a:pt x="196" y="1444"/>
                    </a:lnTo>
                    <a:lnTo>
                      <a:pt x="196" y="1442"/>
                    </a:lnTo>
                    <a:lnTo>
                      <a:pt x="194" y="1442"/>
                    </a:lnTo>
                    <a:lnTo>
                      <a:pt x="196" y="1442"/>
                    </a:lnTo>
                    <a:lnTo>
                      <a:pt x="196" y="1440"/>
                    </a:lnTo>
                    <a:lnTo>
                      <a:pt x="196" y="1438"/>
                    </a:lnTo>
                    <a:lnTo>
                      <a:pt x="194" y="1438"/>
                    </a:lnTo>
                    <a:lnTo>
                      <a:pt x="194" y="1436"/>
                    </a:lnTo>
                    <a:lnTo>
                      <a:pt x="194" y="1438"/>
                    </a:lnTo>
                    <a:lnTo>
                      <a:pt x="194" y="1436"/>
                    </a:lnTo>
                    <a:lnTo>
                      <a:pt x="194" y="1438"/>
                    </a:lnTo>
                    <a:lnTo>
                      <a:pt x="194" y="1436"/>
                    </a:lnTo>
                    <a:lnTo>
                      <a:pt x="194" y="1438"/>
                    </a:lnTo>
                    <a:lnTo>
                      <a:pt x="192" y="1438"/>
                    </a:lnTo>
                    <a:lnTo>
                      <a:pt x="192" y="1436"/>
                    </a:lnTo>
                    <a:lnTo>
                      <a:pt x="194" y="1436"/>
                    </a:lnTo>
                    <a:lnTo>
                      <a:pt x="192" y="1434"/>
                    </a:lnTo>
                    <a:lnTo>
                      <a:pt x="192" y="1432"/>
                    </a:lnTo>
                    <a:lnTo>
                      <a:pt x="192" y="1431"/>
                    </a:lnTo>
                    <a:lnTo>
                      <a:pt x="192" y="1429"/>
                    </a:lnTo>
                    <a:lnTo>
                      <a:pt x="192" y="1427"/>
                    </a:lnTo>
                    <a:lnTo>
                      <a:pt x="192" y="1429"/>
                    </a:lnTo>
                    <a:lnTo>
                      <a:pt x="192" y="1427"/>
                    </a:lnTo>
                    <a:lnTo>
                      <a:pt x="194" y="1427"/>
                    </a:lnTo>
                    <a:lnTo>
                      <a:pt x="194" y="1425"/>
                    </a:lnTo>
                    <a:lnTo>
                      <a:pt x="192" y="1425"/>
                    </a:lnTo>
                    <a:lnTo>
                      <a:pt x="192" y="1423"/>
                    </a:lnTo>
                    <a:lnTo>
                      <a:pt x="192" y="1421"/>
                    </a:lnTo>
                    <a:lnTo>
                      <a:pt x="190" y="1421"/>
                    </a:lnTo>
                    <a:lnTo>
                      <a:pt x="190" y="1419"/>
                    </a:lnTo>
                    <a:lnTo>
                      <a:pt x="189" y="1419"/>
                    </a:lnTo>
                    <a:lnTo>
                      <a:pt x="189" y="1417"/>
                    </a:lnTo>
                    <a:lnTo>
                      <a:pt x="189" y="1415"/>
                    </a:lnTo>
                    <a:lnTo>
                      <a:pt x="187" y="1415"/>
                    </a:lnTo>
                    <a:lnTo>
                      <a:pt x="187" y="1409"/>
                    </a:lnTo>
                    <a:lnTo>
                      <a:pt x="183" y="1409"/>
                    </a:lnTo>
                    <a:lnTo>
                      <a:pt x="183" y="1407"/>
                    </a:lnTo>
                    <a:lnTo>
                      <a:pt x="183" y="1406"/>
                    </a:lnTo>
                    <a:lnTo>
                      <a:pt x="181" y="1406"/>
                    </a:lnTo>
                    <a:lnTo>
                      <a:pt x="181" y="1404"/>
                    </a:lnTo>
                    <a:lnTo>
                      <a:pt x="179" y="1404"/>
                    </a:lnTo>
                    <a:lnTo>
                      <a:pt x="177" y="1404"/>
                    </a:lnTo>
                    <a:lnTo>
                      <a:pt x="177" y="1400"/>
                    </a:lnTo>
                    <a:lnTo>
                      <a:pt x="173" y="1400"/>
                    </a:lnTo>
                    <a:lnTo>
                      <a:pt x="173" y="1396"/>
                    </a:lnTo>
                    <a:lnTo>
                      <a:pt x="173" y="1392"/>
                    </a:lnTo>
                    <a:lnTo>
                      <a:pt x="171" y="1392"/>
                    </a:lnTo>
                    <a:lnTo>
                      <a:pt x="171" y="1388"/>
                    </a:lnTo>
                    <a:lnTo>
                      <a:pt x="171" y="1386"/>
                    </a:lnTo>
                    <a:lnTo>
                      <a:pt x="177" y="1386"/>
                    </a:lnTo>
                    <a:lnTo>
                      <a:pt x="177" y="1382"/>
                    </a:lnTo>
                    <a:lnTo>
                      <a:pt x="179" y="1381"/>
                    </a:lnTo>
                    <a:lnTo>
                      <a:pt x="175" y="1379"/>
                    </a:lnTo>
                    <a:lnTo>
                      <a:pt x="177" y="1373"/>
                    </a:lnTo>
                    <a:lnTo>
                      <a:pt x="175" y="1375"/>
                    </a:lnTo>
                    <a:lnTo>
                      <a:pt x="177" y="1367"/>
                    </a:lnTo>
                    <a:lnTo>
                      <a:pt x="179" y="1359"/>
                    </a:lnTo>
                    <a:lnTo>
                      <a:pt x="181" y="1356"/>
                    </a:lnTo>
                    <a:lnTo>
                      <a:pt x="179" y="1356"/>
                    </a:lnTo>
                    <a:lnTo>
                      <a:pt x="177" y="1356"/>
                    </a:lnTo>
                    <a:lnTo>
                      <a:pt x="175" y="1354"/>
                    </a:lnTo>
                    <a:lnTo>
                      <a:pt x="173" y="1354"/>
                    </a:lnTo>
                    <a:lnTo>
                      <a:pt x="173" y="1352"/>
                    </a:lnTo>
                    <a:lnTo>
                      <a:pt x="175" y="1350"/>
                    </a:lnTo>
                    <a:lnTo>
                      <a:pt x="177" y="1346"/>
                    </a:lnTo>
                    <a:lnTo>
                      <a:pt x="181" y="1346"/>
                    </a:lnTo>
                    <a:lnTo>
                      <a:pt x="183" y="1338"/>
                    </a:lnTo>
                    <a:lnTo>
                      <a:pt x="185" y="1334"/>
                    </a:lnTo>
                    <a:lnTo>
                      <a:pt x="187" y="1329"/>
                    </a:lnTo>
                    <a:lnTo>
                      <a:pt x="187" y="1331"/>
                    </a:lnTo>
                    <a:lnTo>
                      <a:pt x="187" y="1332"/>
                    </a:lnTo>
                    <a:lnTo>
                      <a:pt x="189" y="1332"/>
                    </a:lnTo>
                    <a:lnTo>
                      <a:pt x="189" y="1331"/>
                    </a:lnTo>
                    <a:lnTo>
                      <a:pt x="190" y="1329"/>
                    </a:lnTo>
                    <a:lnTo>
                      <a:pt x="190" y="1327"/>
                    </a:lnTo>
                    <a:lnTo>
                      <a:pt x="192" y="1327"/>
                    </a:lnTo>
                    <a:lnTo>
                      <a:pt x="192" y="1329"/>
                    </a:lnTo>
                    <a:lnTo>
                      <a:pt x="190" y="1329"/>
                    </a:lnTo>
                    <a:lnTo>
                      <a:pt x="192" y="1331"/>
                    </a:lnTo>
                    <a:lnTo>
                      <a:pt x="192" y="1329"/>
                    </a:lnTo>
                    <a:lnTo>
                      <a:pt x="194" y="1327"/>
                    </a:lnTo>
                    <a:lnTo>
                      <a:pt x="194" y="1329"/>
                    </a:lnTo>
                    <a:lnTo>
                      <a:pt x="192" y="1329"/>
                    </a:lnTo>
                    <a:lnTo>
                      <a:pt x="194" y="1329"/>
                    </a:lnTo>
                    <a:lnTo>
                      <a:pt x="196" y="1329"/>
                    </a:lnTo>
                    <a:lnTo>
                      <a:pt x="194" y="1329"/>
                    </a:lnTo>
                    <a:lnTo>
                      <a:pt x="194" y="1327"/>
                    </a:lnTo>
                    <a:lnTo>
                      <a:pt x="194" y="1325"/>
                    </a:lnTo>
                    <a:lnTo>
                      <a:pt x="194" y="1323"/>
                    </a:lnTo>
                    <a:lnTo>
                      <a:pt x="194" y="1321"/>
                    </a:lnTo>
                    <a:lnTo>
                      <a:pt x="198" y="1321"/>
                    </a:lnTo>
                    <a:lnTo>
                      <a:pt x="202" y="1321"/>
                    </a:lnTo>
                    <a:lnTo>
                      <a:pt x="202" y="1319"/>
                    </a:lnTo>
                    <a:lnTo>
                      <a:pt x="204" y="1317"/>
                    </a:lnTo>
                    <a:lnTo>
                      <a:pt x="202" y="1317"/>
                    </a:lnTo>
                    <a:lnTo>
                      <a:pt x="204" y="1317"/>
                    </a:lnTo>
                    <a:lnTo>
                      <a:pt x="202" y="1315"/>
                    </a:lnTo>
                    <a:lnTo>
                      <a:pt x="202" y="1313"/>
                    </a:lnTo>
                    <a:lnTo>
                      <a:pt x="202" y="1311"/>
                    </a:lnTo>
                    <a:lnTo>
                      <a:pt x="204" y="1311"/>
                    </a:lnTo>
                    <a:lnTo>
                      <a:pt x="202" y="1311"/>
                    </a:lnTo>
                    <a:lnTo>
                      <a:pt x="204" y="1309"/>
                    </a:lnTo>
                    <a:lnTo>
                      <a:pt x="202" y="1309"/>
                    </a:lnTo>
                    <a:lnTo>
                      <a:pt x="202" y="1307"/>
                    </a:lnTo>
                    <a:lnTo>
                      <a:pt x="204" y="1307"/>
                    </a:lnTo>
                    <a:lnTo>
                      <a:pt x="202" y="1307"/>
                    </a:lnTo>
                    <a:lnTo>
                      <a:pt x="204" y="1307"/>
                    </a:lnTo>
                    <a:lnTo>
                      <a:pt x="202" y="1307"/>
                    </a:lnTo>
                    <a:lnTo>
                      <a:pt x="202" y="1306"/>
                    </a:lnTo>
                    <a:lnTo>
                      <a:pt x="204" y="1306"/>
                    </a:lnTo>
                    <a:lnTo>
                      <a:pt x="202" y="1306"/>
                    </a:lnTo>
                    <a:lnTo>
                      <a:pt x="204" y="1306"/>
                    </a:lnTo>
                    <a:lnTo>
                      <a:pt x="204" y="1304"/>
                    </a:lnTo>
                    <a:lnTo>
                      <a:pt x="204" y="1302"/>
                    </a:lnTo>
                    <a:lnTo>
                      <a:pt x="204" y="1300"/>
                    </a:lnTo>
                    <a:lnTo>
                      <a:pt x="202" y="1300"/>
                    </a:lnTo>
                    <a:lnTo>
                      <a:pt x="202" y="1298"/>
                    </a:lnTo>
                    <a:lnTo>
                      <a:pt x="200" y="1298"/>
                    </a:lnTo>
                    <a:lnTo>
                      <a:pt x="196" y="1298"/>
                    </a:lnTo>
                    <a:lnTo>
                      <a:pt x="194" y="1298"/>
                    </a:lnTo>
                    <a:lnTo>
                      <a:pt x="192" y="1296"/>
                    </a:lnTo>
                    <a:lnTo>
                      <a:pt x="190" y="1298"/>
                    </a:lnTo>
                    <a:lnTo>
                      <a:pt x="189" y="1296"/>
                    </a:lnTo>
                    <a:lnTo>
                      <a:pt x="187" y="1296"/>
                    </a:lnTo>
                    <a:lnTo>
                      <a:pt x="187" y="1294"/>
                    </a:lnTo>
                    <a:lnTo>
                      <a:pt x="183" y="1290"/>
                    </a:lnTo>
                    <a:lnTo>
                      <a:pt x="179" y="1290"/>
                    </a:lnTo>
                    <a:lnTo>
                      <a:pt x="173" y="1288"/>
                    </a:lnTo>
                    <a:lnTo>
                      <a:pt x="169" y="1286"/>
                    </a:lnTo>
                    <a:lnTo>
                      <a:pt x="165" y="1284"/>
                    </a:lnTo>
                    <a:lnTo>
                      <a:pt x="165" y="1282"/>
                    </a:lnTo>
                    <a:lnTo>
                      <a:pt x="164" y="1279"/>
                    </a:lnTo>
                    <a:lnTo>
                      <a:pt x="164" y="1277"/>
                    </a:lnTo>
                    <a:lnTo>
                      <a:pt x="164" y="1275"/>
                    </a:lnTo>
                    <a:lnTo>
                      <a:pt x="162" y="1269"/>
                    </a:lnTo>
                    <a:lnTo>
                      <a:pt x="162" y="1261"/>
                    </a:lnTo>
                    <a:lnTo>
                      <a:pt x="162" y="1257"/>
                    </a:lnTo>
                    <a:lnTo>
                      <a:pt x="162" y="1256"/>
                    </a:lnTo>
                    <a:lnTo>
                      <a:pt x="164" y="1254"/>
                    </a:lnTo>
                    <a:lnTo>
                      <a:pt x="165" y="1252"/>
                    </a:lnTo>
                    <a:lnTo>
                      <a:pt x="165" y="1250"/>
                    </a:lnTo>
                    <a:lnTo>
                      <a:pt x="167" y="1250"/>
                    </a:lnTo>
                    <a:lnTo>
                      <a:pt x="171" y="1242"/>
                    </a:lnTo>
                    <a:lnTo>
                      <a:pt x="173" y="1238"/>
                    </a:lnTo>
                    <a:lnTo>
                      <a:pt x="175" y="1234"/>
                    </a:lnTo>
                    <a:lnTo>
                      <a:pt x="177" y="1232"/>
                    </a:lnTo>
                    <a:lnTo>
                      <a:pt x="179" y="1232"/>
                    </a:lnTo>
                    <a:lnTo>
                      <a:pt x="183" y="1229"/>
                    </a:lnTo>
                    <a:lnTo>
                      <a:pt x="189" y="1227"/>
                    </a:lnTo>
                    <a:lnTo>
                      <a:pt x="190" y="1225"/>
                    </a:lnTo>
                    <a:lnTo>
                      <a:pt x="185" y="1211"/>
                    </a:lnTo>
                    <a:lnTo>
                      <a:pt x="187" y="1206"/>
                    </a:lnTo>
                    <a:lnTo>
                      <a:pt x="185" y="1206"/>
                    </a:lnTo>
                    <a:lnTo>
                      <a:pt x="181" y="1206"/>
                    </a:lnTo>
                    <a:lnTo>
                      <a:pt x="175" y="1208"/>
                    </a:lnTo>
                    <a:lnTo>
                      <a:pt x="169" y="1208"/>
                    </a:lnTo>
                    <a:lnTo>
                      <a:pt x="165" y="1208"/>
                    </a:lnTo>
                    <a:lnTo>
                      <a:pt x="164" y="1208"/>
                    </a:lnTo>
                    <a:lnTo>
                      <a:pt x="164" y="1204"/>
                    </a:lnTo>
                    <a:lnTo>
                      <a:pt x="160" y="1196"/>
                    </a:lnTo>
                    <a:lnTo>
                      <a:pt x="160" y="1194"/>
                    </a:lnTo>
                    <a:lnTo>
                      <a:pt x="158" y="1192"/>
                    </a:lnTo>
                    <a:lnTo>
                      <a:pt x="158" y="1188"/>
                    </a:lnTo>
                    <a:lnTo>
                      <a:pt x="156" y="1186"/>
                    </a:lnTo>
                    <a:lnTo>
                      <a:pt x="156" y="1184"/>
                    </a:lnTo>
                    <a:lnTo>
                      <a:pt x="156" y="1183"/>
                    </a:lnTo>
                    <a:lnTo>
                      <a:pt x="154" y="1181"/>
                    </a:lnTo>
                    <a:lnTo>
                      <a:pt x="154" y="1179"/>
                    </a:lnTo>
                    <a:lnTo>
                      <a:pt x="152" y="1179"/>
                    </a:lnTo>
                    <a:lnTo>
                      <a:pt x="144" y="1177"/>
                    </a:lnTo>
                    <a:lnTo>
                      <a:pt x="142" y="1171"/>
                    </a:lnTo>
                    <a:lnTo>
                      <a:pt x="142" y="1163"/>
                    </a:lnTo>
                    <a:lnTo>
                      <a:pt x="141" y="1163"/>
                    </a:lnTo>
                    <a:lnTo>
                      <a:pt x="137" y="1161"/>
                    </a:lnTo>
                    <a:lnTo>
                      <a:pt x="131" y="1159"/>
                    </a:lnTo>
                    <a:lnTo>
                      <a:pt x="129" y="1158"/>
                    </a:lnTo>
                    <a:lnTo>
                      <a:pt x="112" y="1156"/>
                    </a:lnTo>
                    <a:lnTo>
                      <a:pt x="110" y="1156"/>
                    </a:lnTo>
                    <a:lnTo>
                      <a:pt x="110" y="1158"/>
                    </a:lnTo>
                    <a:lnTo>
                      <a:pt x="108" y="1158"/>
                    </a:lnTo>
                    <a:lnTo>
                      <a:pt x="106" y="1158"/>
                    </a:lnTo>
                    <a:lnTo>
                      <a:pt x="96" y="1159"/>
                    </a:lnTo>
                    <a:lnTo>
                      <a:pt x="94" y="1159"/>
                    </a:lnTo>
                    <a:lnTo>
                      <a:pt x="92" y="1159"/>
                    </a:lnTo>
                    <a:lnTo>
                      <a:pt x="87" y="1158"/>
                    </a:lnTo>
                    <a:lnTo>
                      <a:pt x="83" y="1158"/>
                    </a:lnTo>
                    <a:lnTo>
                      <a:pt x="77" y="1158"/>
                    </a:lnTo>
                    <a:lnTo>
                      <a:pt x="73" y="1158"/>
                    </a:lnTo>
                    <a:lnTo>
                      <a:pt x="71" y="1156"/>
                    </a:lnTo>
                    <a:lnTo>
                      <a:pt x="69" y="1152"/>
                    </a:lnTo>
                    <a:lnTo>
                      <a:pt x="68" y="1152"/>
                    </a:lnTo>
                    <a:lnTo>
                      <a:pt x="68" y="1150"/>
                    </a:lnTo>
                    <a:lnTo>
                      <a:pt x="68" y="1148"/>
                    </a:lnTo>
                    <a:lnTo>
                      <a:pt x="69" y="1148"/>
                    </a:lnTo>
                    <a:lnTo>
                      <a:pt x="69" y="1146"/>
                    </a:lnTo>
                    <a:lnTo>
                      <a:pt x="69" y="1142"/>
                    </a:lnTo>
                    <a:lnTo>
                      <a:pt x="71" y="1140"/>
                    </a:lnTo>
                    <a:lnTo>
                      <a:pt x="71" y="1138"/>
                    </a:lnTo>
                    <a:lnTo>
                      <a:pt x="71" y="1136"/>
                    </a:lnTo>
                    <a:lnTo>
                      <a:pt x="73" y="1136"/>
                    </a:lnTo>
                    <a:lnTo>
                      <a:pt x="73" y="1134"/>
                    </a:lnTo>
                    <a:lnTo>
                      <a:pt x="73" y="1133"/>
                    </a:lnTo>
                    <a:lnTo>
                      <a:pt x="75" y="1133"/>
                    </a:lnTo>
                    <a:lnTo>
                      <a:pt x="75" y="1131"/>
                    </a:lnTo>
                    <a:lnTo>
                      <a:pt x="75" y="1129"/>
                    </a:lnTo>
                    <a:lnTo>
                      <a:pt x="75" y="1127"/>
                    </a:lnTo>
                    <a:lnTo>
                      <a:pt x="77" y="1129"/>
                    </a:lnTo>
                    <a:lnTo>
                      <a:pt x="77" y="1127"/>
                    </a:lnTo>
                    <a:lnTo>
                      <a:pt x="77" y="1125"/>
                    </a:lnTo>
                    <a:lnTo>
                      <a:pt x="77" y="1123"/>
                    </a:lnTo>
                    <a:lnTo>
                      <a:pt x="75" y="1121"/>
                    </a:lnTo>
                    <a:lnTo>
                      <a:pt x="75" y="1119"/>
                    </a:lnTo>
                    <a:lnTo>
                      <a:pt x="75" y="1117"/>
                    </a:lnTo>
                    <a:lnTo>
                      <a:pt x="73" y="1115"/>
                    </a:lnTo>
                    <a:lnTo>
                      <a:pt x="73" y="1113"/>
                    </a:lnTo>
                    <a:lnTo>
                      <a:pt x="71" y="1109"/>
                    </a:lnTo>
                    <a:lnTo>
                      <a:pt x="71" y="1106"/>
                    </a:lnTo>
                    <a:lnTo>
                      <a:pt x="69" y="1100"/>
                    </a:lnTo>
                    <a:lnTo>
                      <a:pt x="68" y="1096"/>
                    </a:lnTo>
                    <a:lnTo>
                      <a:pt x="66" y="1096"/>
                    </a:lnTo>
                    <a:lnTo>
                      <a:pt x="66" y="1094"/>
                    </a:lnTo>
                    <a:lnTo>
                      <a:pt x="66" y="1092"/>
                    </a:lnTo>
                    <a:lnTo>
                      <a:pt x="69" y="1088"/>
                    </a:lnTo>
                    <a:lnTo>
                      <a:pt x="73" y="1086"/>
                    </a:lnTo>
                    <a:lnTo>
                      <a:pt x="75" y="1084"/>
                    </a:lnTo>
                    <a:lnTo>
                      <a:pt x="77" y="1083"/>
                    </a:lnTo>
                    <a:lnTo>
                      <a:pt x="110" y="1067"/>
                    </a:lnTo>
                    <a:lnTo>
                      <a:pt x="110" y="1063"/>
                    </a:lnTo>
                    <a:lnTo>
                      <a:pt x="108" y="1063"/>
                    </a:lnTo>
                    <a:lnTo>
                      <a:pt x="108" y="1061"/>
                    </a:lnTo>
                    <a:lnTo>
                      <a:pt x="110" y="1059"/>
                    </a:lnTo>
                    <a:lnTo>
                      <a:pt x="112" y="1058"/>
                    </a:lnTo>
                    <a:lnTo>
                      <a:pt x="114" y="1058"/>
                    </a:lnTo>
                    <a:lnTo>
                      <a:pt x="116" y="1058"/>
                    </a:lnTo>
                    <a:lnTo>
                      <a:pt x="117" y="1058"/>
                    </a:lnTo>
                    <a:lnTo>
                      <a:pt x="119" y="1056"/>
                    </a:lnTo>
                    <a:lnTo>
                      <a:pt x="119" y="1052"/>
                    </a:lnTo>
                    <a:lnTo>
                      <a:pt x="116" y="1048"/>
                    </a:lnTo>
                    <a:lnTo>
                      <a:pt x="114" y="1048"/>
                    </a:lnTo>
                    <a:lnTo>
                      <a:pt x="112" y="1048"/>
                    </a:lnTo>
                    <a:lnTo>
                      <a:pt x="108" y="1046"/>
                    </a:lnTo>
                    <a:lnTo>
                      <a:pt x="106" y="1044"/>
                    </a:lnTo>
                    <a:lnTo>
                      <a:pt x="104" y="1040"/>
                    </a:lnTo>
                    <a:lnTo>
                      <a:pt x="102" y="1040"/>
                    </a:lnTo>
                    <a:lnTo>
                      <a:pt x="100" y="1040"/>
                    </a:lnTo>
                    <a:lnTo>
                      <a:pt x="98" y="1040"/>
                    </a:lnTo>
                    <a:lnTo>
                      <a:pt x="96" y="1038"/>
                    </a:lnTo>
                    <a:lnTo>
                      <a:pt x="96" y="1036"/>
                    </a:lnTo>
                    <a:lnTo>
                      <a:pt x="94" y="1034"/>
                    </a:lnTo>
                    <a:lnTo>
                      <a:pt x="92" y="1033"/>
                    </a:lnTo>
                    <a:lnTo>
                      <a:pt x="91" y="1033"/>
                    </a:lnTo>
                    <a:lnTo>
                      <a:pt x="89" y="1033"/>
                    </a:lnTo>
                    <a:lnTo>
                      <a:pt x="87" y="1033"/>
                    </a:lnTo>
                    <a:lnTo>
                      <a:pt x="85" y="1033"/>
                    </a:lnTo>
                    <a:lnTo>
                      <a:pt x="83" y="1031"/>
                    </a:lnTo>
                    <a:lnTo>
                      <a:pt x="83" y="1029"/>
                    </a:lnTo>
                    <a:lnTo>
                      <a:pt x="83" y="1027"/>
                    </a:lnTo>
                    <a:lnTo>
                      <a:pt x="81" y="1025"/>
                    </a:lnTo>
                    <a:lnTo>
                      <a:pt x="81" y="1023"/>
                    </a:lnTo>
                    <a:lnTo>
                      <a:pt x="79" y="1021"/>
                    </a:lnTo>
                    <a:lnTo>
                      <a:pt x="81" y="1019"/>
                    </a:lnTo>
                    <a:lnTo>
                      <a:pt x="81" y="1017"/>
                    </a:lnTo>
                    <a:lnTo>
                      <a:pt x="81" y="1015"/>
                    </a:lnTo>
                    <a:lnTo>
                      <a:pt x="81" y="1011"/>
                    </a:lnTo>
                    <a:lnTo>
                      <a:pt x="81" y="1009"/>
                    </a:lnTo>
                    <a:lnTo>
                      <a:pt x="79" y="1006"/>
                    </a:lnTo>
                    <a:lnTo>
                      <a:pt x="79" y="1004"/>
                    </a:lnTo>
                    <a:lnTo>
                      <a:pt x="81" y="1004"/>
                    </a:lnTo>
                    <a:lnTo>
                      <a:pt x="83" y="1002"/>
                    </a:lnTo>
                    <a:lnTo>
                      <a:pt x="83" y="1000"/>
                    </a:lnTo>
                    <a:lnTo>
                      <a:pt x="87" y="996"/>
                    </a:lnTo>
                    <a:lnTo>
                      <a:pt x="89" y="994"/>
                    </a:lnTo>
                    <a:lnTo>
                      <a:pt x="89" y="992"/>
                    </a:lnTo>
                    <a:lnTo>
                      <a:pt x="91" y="992"/>
                    </a:lnTo>
                    <a:lnTo>
                      <a:pt x="92" y="990"/>
                    </a:lnTo>
                    <a:lnTo>
                      <a:pt x="94" y="988"/>
                    </a:lnTo>
                    <a:lnTo>
                      <a:pt x="94" y="986"/>
                    </a:lnTo>
                    <a:lnTo>
                      <a:pt x="96" y="986"/>
                    </a:lnTo>
                    <a:lnTo>
                      <a:pt x="96" y="984"/>
                    </a:lnTo>
                    <a:lnTo>
                      <a:pt x="94" y="984"/>
                    </a:lnTo>
                    <a:lnTo>
                      <a:pt x="96" y="984"/>
                    </a:lnTo>
                    <a:lnTo>
                      <a:pt x="96" y="983"/>
                    </a:lnTo>
                    <a:lnTo>
                      <a:pt x="94" y="983"/>
                    </a:lnTo>
                    <a:lnTo>
                      <a:pt x="96" y="983"/>
                    </a:lnTo>
                    <a:lnTo>
                      <a:pt x="96" y="981"/>
                    </a:lnTo>
                    <a:lnTo>
                      <a:pt x="98" y="981"/>
                    </a:lnTo>
                    <a:lnTo>
                      <a:pt x="98" y="979"/>
                    </a:lnTo>
                    <a:lnTo>
                      <a:pt x="100" y="979"/>
                    </a:lnTo>
                    <a:lnTo>
                      <a:pt x="102" y="979"/>
                    </a:lnTo>
                    <a:lnTo>
                      <a:pt x="100" y="979"/>
                    </a:lnTo>
                    <a:lnTo>
                      <a:pt x="102" y="979"/>
                    </a:lnTo>
                    <a:lnTo>
                      <a:pt x="102" y="977"/>
                    </a:lnTo>
                    <a:lnTo>
                      <a:pt x="100" y="977"/>
                    </a:lnTo>
                    <a:lnTo>
                      <a:pt x="100" y="975"/>
                    </a:lnTo>
                    <a:lnTo>
                      <a:pt x="102" y="975"/>
                    </a:lnTo>
                    <a:lnTo>
                      <a:pt x="102" y="973"/>
                    </a:lnTo>
                    <a:lnTo>
                      <a:pt x="104" y="973"/>
                    </a:lnTo>
                    <a:lnTo>
                      <a:pt x="104" y="971"/>
                    </a:lnTo>
                    <a:lnTo>
                      <a:pt x="104" y="969"/>
                    </a:lnTo>
                    <a:lnTo>
                      <a:pt x="106" y="969"/>
                    </a:lnTo>
                    <a:lnTo>
                      <a:pt x="106" y="967"/>
                    </a:lnTo>
                    <a:lnTo>
                      <a:pt x="108" y="967"/>
                    </a:lnTo>
                    <a:lnTo>
                      <a:pt x="108" y="965"/>
                    </a:lnTo>
                    <a:lnTo>
                      <a:pt x="110" y="963"/>
                    </a:lnTo>
                    <a:lnTo>
                      <a:pt x="112" y="963"/>
                    </a:lnTo>
                    <a:lnTo>
                      <a:pt x="114" y="963"/>
                    </a:lnTo>
                    <a:lnTo>
                      <a:pt x="114" y="961"/>
                    </a:lnTo>
                    <a:lnTo>
                      <a:pt x="116" y="961"/>
                    </a:lnTo>
                    <a:lnTo>
                      <a:pt x="116" y="960"/>
                    </a:lnTo>
                    <a:lnTo>
                      <a:pt x="116" y="958"/>
                    </a:lnTo>
                    <a:lnTo>
                      <a:pt x="116" y="956"/>
                    </a:lnTo>
                    <a:lnTo>
                      <a:pt x="117" y="956"/>
                    </a:lnTo>
                    <a:lnTo>
                      <a:pt x="117" y="954"/>
                    </a:lnTo>
                    <a:lnTo>
                      <a:pt x="119" y="954"/>
                    </a:lnTo>
                    <a:lnTo>
                      <a:pt x="117" y="954"/>
                    </a:lnTo>
                    <a:lnTo>
                      <a:pt x="119" y="954"/>
                    </a:lnTo>
                    <a:lnTo>
                      <a:pt x="117" y="954"/>
                    </a:lnTo>
                    <a:lnTo>
                      <a:pt x="117" y="952"/>
                    </a:lnTo>
                    <a:lnTo>
                      <a:pt x="117" y="950"/>
                    </a:lnTo>
                    <a:lnTo>
                      <a:pt x="116" y="948"/>
                    </a:lnTo>
                    <a:lnTo>
                      <a:pt x="117" y="948"/>
                    </a:lnTo>
                    <a:lnTo>
                      <a:pt x="116" y="948"/>
                    </a:lnTo>
                    <a:lnTo>
                      <a:pt x="117" y="948"/>
                    </a:lnTo>
                    <a:lnTo>
                      <a:pt x="116" y="948"/>
                    </a:lnTo>
                    <a:lnTo>
                      <a:pt x="117" y="948"/>
                    </a:lnTo>
                    <a:lnTo>
                      <a:pt x="116" y="948"/>
                    </a:lnTo>
                    <a:lnTo>
                      <a:pt x="116" y="946"/>
                    </a:lnTo>
                    <a:lnTo>
                      <a:pt x="116" y="948"/>
                    </a:lnTo>
                    <a:lnTo>
                      <a:pt x="116" y="946"/>
                    </a:lnTo>
                    <a:lnTo>
                      <a:pt x="116" y="944"/>
                    </a:lnTo>
                    <a:lnTo>
                      <a:pt x="117" y="944"/>
                    </a:lnTo>
                    <a:lnTo>
                      <a:pt x="116" y="944"/>
                    </a:lnTo>
                    <a:lnTo>
                      <a:pt x="117" y="944"/>
                    </a:lnTo>
                    <a:lnTo>
                      <a:pt x="117" y="942"/>
                    </a:lnTo>
                    <a:lnTo>
                      <a:pt x="117" y="940"/>
                    </a:lnTo>
                    <a:lnTo>
                      <a:pt x="119" y="938"/>
                    </a:lnTo>
                    <a:lnTo>
                      <a:pt x="119" y="940"/>
                    </a:lnTo>
                    <a:lnTo>
                      <a:pt x="119" y="938"/>
                    </a:lnTo>
                    <a:lnTo>
                      <a:pt x="117" y="938"/>
                    </a:lnTo>
                    <a:lnTo>
                      <a:pt x="119" y="938"/>
                    </a:lnTo>
                    <a:lnTo>
                      <a:pt x="119" y="936"/>
                    </a:lnTo>
                    <a:lnTo>
                      <a:pt x="121" y="936"/>
                    </a:lnTo>
                    <a:lnTo>
                      <a:pt x="119" y="936"/>
                    </a:lnTo>
                    <a:lnTo>
                      <a:pt x="121" y="936"/>
                    </a:lnTo>
                    <a:lnTo>
                      <a:pt x="121" y="935"/>
                    </a:lnTo>
                    <a:lnTo>
                      <a:pt x="123" y="935"/>
                    </a:lnTo>
                    <a:lnTo>
                      <a:pt x="123" y="933"/>
                    </a:lnTo>
                    <a:lnTo>
                      <a:pt x="121" y="933"/>
                    </a:lnTo>
                    <a:lnTo>
                      <a:pt x="123" y="933"/>
                    </a:lnTo>
                    <a:lnTo>
                      <a:pt x="121" y="933"/>
                    </a:lnTo>
                    <a:lnTo>
                      <a:pt x="121" y="931"/>
                    </a:lnTo>
                    <a:lnTo>
                      <a:pt x="119" y="931"/>
                    </a:lnTo>
                    <a:lnTo>
                      <a:pt x="117" y="931"/>
                    </a:lnTo>
                    <a:lnTo>
                      <a:pt x="117" y="933"/>
                    </a:lnTo>
                    <a:lnTo>
                      <a:pt x="117" y="931"/>
                    </a:lnTo>
                    <a:lnTo>
                      <a:pt x="117" y="933"/>
                    </a:lnTo>
                    <a:lnTo>
                      <a:pt x="116" y="933"/>
                    </a:lnTo>
                    <a:lnTo>
                      <a:pt x="116" y="931"/>
                    </a:lnTo>
                    <a:lnTo>
                      <a:pt x="114" y="931"/>
                    </a:lnTo>
                    <a:lnTo>
                      <a:pt x="116" y="931"/>
                    </a:lnTo>
                    <a:lnTo>
                      <a:pt x="114" y="931"/>
                    </a:lnTo>
                    <a:lnTo>
                      <a:pt x="114" y="929"/>
                    </a:lnTo>
                    <a:lnTo>
                      <a:pt x="114" y="931"/>
                    </a:lnTo>
                    <a:lnTo>
                      <a:pt x="114" y="929"/>
                    </a:lnTo>
                    <a:lnTo>
                      <a:pt x="116" y="929"/>
                    </a:lnTo>
                    <a:lnTo>
                      <a:pt x="114" y="929"/>
                    </a:lnTo>
                    <a:lnTo>
                      <a:pt x="116" y="929"/>
                    </a:lnTo>
                    <a:lnTo>
                      <a:pt x="114" y="929"/>
                    </a:lnTo>
                    <a:lnTo>
                      <a:pt x="116" y="929"/>
                    </a:lnTo>
                    <a:lnTo>
                      <a:pt x="116" y="927"/>
                    </a:lnTo>
                    <a:lnTo>
                      <a:pt x="114" y="927"/>
                    </a:lnTo>
                    <a:lnTo>
                      <a:pt x="114" y="925"/>
                    </a:lnTo>
                    <a:lnTo>
                      <a:pt x="116" y="925"/>
                    </a:lnTo>
                    <a:lnTo>
                      <a:pt x="114" y="925"/>
                    </a:lnTo>
                    <a:lnTo>
                      <a:pt x="116" y="925"/>
                    </a:lnTo>
                    <a:lnTo>
                      <a:pt x="114" y="925"/>
                    </a:lnTo>
                    <a:lnTo>
                      <a:pt x="114" y="923"/>
                    </a:lnTo>
                    <a:lnTo>
                      <a:pt x="112" y="921"/>
                    </a:lnTo>
                    <a:lnTo>
                      <a:pt x="114" y="921"/>
                    </a:lnTo>
                    <a:lnTo>
                      <a:pt x="112" y="921"/>
                    </a:lnTo>
                    <a:lnTo>
                      <a:pt x="112" y="923"/>
                    </a:lnTo>
                    <a:lnTo>
                      <a:pt x="110" y="923"/>
                    </a:lnTo>
                    <a:lnTo>
                      <a:pt x="110" y="921"/>
                    </a:lnTo>
                    <a:lnTo>
                      <a:pt x="108" y="921"/>
                    </a:lnTo>
                    <a:lnTo>
                      <a:pt x="108" y="919"/>
                    </a:lnTo>
                    <a:lnTo>
                      <a:pt x="108" y="921"/>
                    </a:lnTo>
                    <a:lnTo>
                      <a:pt x="106" y="921"/>
                    </a:lnTo>
                    <a:lnTo>
                      <a:pt x="106" y="919"/>
                    </a:lnTo>
                    <a:lnTo>
                      <a:pt x="108" y="919"/>
                    </a:lnTo>
                    <a:lnTo>
                      <a:pt x="106" y="919"/>
                    </a:lnTo>
                    <a:lnTo>
                      <a:pt x="106" y="917"/>
                    </a:lnTo>
                    <a:lnTo>
                      <a:pt x="108" y="917"/>
                    </a:lnTo>
                    <a:lnTo>
                      <a:pt x="106" y="917"/>
                    </a:lnTo>
                    <a:lnTo>
                      <a:pt x="106" y="915"/>
                    </a:lnTo>
                    <a:lnTo>
                      <a:pt x="106" y="917"/>
                    </a:lnTo>
                    <a:lnTo>
                      <a:pt x="106" y="915"/>
                    </a:lnTo>
                    <a:lnTo>
                      <a:pt x="106" y="917"/>
                    </a:lnTo>
                    <a:lnTo>
                      <a:pt x="108" y="917"/>
                    </a:lnTo>
                    <a:lnTo>
                      <a:pt x="106" y="917"/>
                    </a:lnTo>
                    <a:lnTo>
                      <a:pt x="108" y="917"/>
                    </a:lnTo>
                    <a:lnTo>
                      <a:pt x="108" y="919"/>
                    </a:lnTo>
                    <a:lnTo>
                      <a:pt x="110" y="917"/>
                    </a:lnTo>
                    <a:lnTo>
                      <a:pt x="108" y="917"/>
                    </a:lnTo>
                    <a:lnTo>
                      <a:pt x="110" y="917"/>
                    </a:lnTo>
                    <a:lnTo>
                      <a:pt x="110" y="915"/>
                    </a:lnTo>
                    <a:lnTo>
                      <a:pt x="112" y="915"/>
                    </a:lnTo>
                    <a:lnTo>
                      <a:pt x="110" y="915"/>
                    </a:lnTo>
                    <a:lnTo>
                      <a:pt x="112" y="915"/>
                    </a:lnTo>
                    <a:lnTo>
                      <a:pt x="112" y="913"/>
                    </a:lnTo>
                    <a:lnTo>
                      <a:pt x="114" y="913"/>
                    </a:lnTo>
                    <a:lnTo>
                      <a:pt x="114" y="911"/>
                    </a:lnTo>
                    <a:lnTo>
                      <a:pt x="114" y="910"/>
                    </a:lnTo>
                    <a:lnTo>
                      <a:pt x="116" y="910"/>
                    </a:lnTo>
                    <a:lnTo>
                      <a:pt x="114" y="910"/>
                    </a:lnTo>
                    <a:lnTo>
                      <a:pt x="116" y="910"/>
                    </a:lnTo>
                    <a:lnTo>
                      <a:pt x="114" y="910"/>
                    </a:lnTo>
                    <a:lnTo>
                      <a:pt x="114" y="908"/>
                    </a:lnTo>
                    <a:lnTo>
                      <a:pt x="116" y="908"/>
                    </a:lnTo>
                    <a:lnTo>
                      <a:pt x="114" y="908"/>
                    </a:lnTo>
                    <a:lnTo>
                      <a:pt x="116" y="908"/>
                    </a:lnTo>
                    <a:lnTo>
                      <a:pt x="116" y="906"/>
                    </a:lnTo>
                    <a:lnTo>
                      <a:pt x="117" y="906"/>
                    </a:lnTo>
                    <a:lnTo>
                      <a:pt x="116" y="906"/>
                    </a:lnTo>
                    <a:lnTo>
                      <a:pt x="116" y="904"/>
                    </a:lnTo>
                    <a:lnTo>
                      <a:pt x="116" y="902"/>
                    </a:lnTo>
                    <a:lnTo>
                      <a:pt x="117" y="902"/>
                    </a:lnTo>
                    <a:lnTo>
                      <a:pt x="116" y="900"/>
                    </a:lnTo>
                    <a:lnTo>
                      <a:pt x="117" y="900"/>
                    </a:lnTo>
                    <a:lnTo>
                      <a:pt x="116" y="900"/>
                    </a:lnTo>
                    <a:lnTo>
                      <a:pt x="117" y="900"/>
                    </a:lnTo>
                    <a:lnTo>
                      <a:pt x="119" y="900"/>
                    </a:lnTo>
                    <a:lnTo>
                      <a:pt x="119" y="898"/>
                    </a:lnTo>
                    <a:lnTo>
                      <a:pt x="121" y="898"/>
                    </a:lnTo>
                    <a:lnTo>
                      <a:pt x="119" y="898"/>
                    </a:lnTo>
                    <a:lnTo>
                      <a:pt x="119" y="896"/>
                    </a:lnTo>
                    <a:lnTo>
                      <a:pt x="121" y="896"/>
                    </a:lnTo>
                    <a:lnTo>
                      <a:pt x="123" y="896"/>
                    </a:lnTo>
                    <a:lnTo>
                      <a:pt x="123" y="894"/>
                    </a:lnTo>
                    <a:lnTo>
                      <a:pt x="125" y="894"/>
                    </a:lnTo>
                    <a:lnTo>
                      <a:pt x="125" y="892"/>
                    </a:lnTo>
                    <a:lnTo>
                      <a:pt x="127" y="892"/>
                    </a:lnTo>
                    <a:lnTo>
                      <a:pt x="129" y="892"/>
                    </a:lnTo>
                    <a:lnTo>
                      <a:pt x="133" y="890"/>
                    </a:lnTo>
                    <a:lnTo>
                      <a:pt x="135" y="890"/>
                    </a:lnTo>
                    <a:lnTo>
                      <a:pt x="135" y="888"/>
                    </a:lnTo>
                    <a:lnTo>
                      <a:pt x="135" y="886"/>
                    </a:lnTo>
                    <a:lnTo>
                      <a:pt x="135" y="885"/>
                    </a:lnTo>
                    <a:lnTo>
                      <a:pt x="133" y="885"/>
                    </a:lnTo>
                    <a:lnTo>
                      <a:pt x="135" y="885"/>
                    </a:lnTo>
                    <a:lnTo>
                      <a:pt x="135" y="883"/>
                    </a:lnTo>
                    <a:lnTo>
                      <a:pt x="135" y="881"/>
                    </a:lnTo>
                    <a:lnTo>
                      <a:pt x="135" y="879"/>
                    </a:lnTo>
                    <a:lnTo>
                      <a:pt x="137" y="879"/>
                    </a:lnTo>
                    <a:lnTo>
                      <a:pt x="137" y="875"/>
                    </a:lnTo>
                    <a:lnTo>
                      <a:pt x="137" y="873"/>
                    </a:lnTo>
                    <a:lnTo>
                      <a:pt x="135" y="871"/>
                    </a:lnTo>
                    <a:lnTo>
                      <a:pt x="135" y="869"/>
                    </a:lnTo>
                    <a:lnTo>
                      <a:pt x="135" y="867"/>
                    </a:lnTo>
                    <a:lnTo>
                      <a:pt x="135" y="865"/>
                    </a:lnTo>
                    <a:lnTo>
                      <a:pt x="135" y="863"/>
                    </a:lnTo>
                    <a:lnTo>
                      <a:pt x="133" y="863"/>
                    </a:lnTo>
                    <a:lnTo>
                      <a:pt x="133" y="861"/>
                    </a:lnTo>
                    <a:lnTo>
                      <a:pt x="133" y="860"/>
                    </a:lnTo>
                    <a:lnTo>
                      <a:pt x="137" y="856"/>
                    </a:lnTo>
                    <a:lnTo>
                      <a:pt x="137" y="854"/>
                    </a:lnTo>
                    <a:lnTo>
                      <a:pt x="135" y="850"/>
                    </a:lnTo>
                    <a:lnTo>
                      <a:pt x="135" y="848"/>
                    </a:lnTo>
                    <a:lnTo>
                      <a:pt x="135" y="846"/>
                    </a:lnTo>
                    <a:lnTo>
                      <a:pt x="135" y="842"/>
                    </a:lnTo>
                    <a:lnTo>
                      <a:pt x="133" y="840"/>
                    </a:lnTo>
                    <a:lnTo>
                      <a:pt x="131" y="838"/>
                    </a:lnTo>
                    <a:lnTo>
                      <a:pt x="129" y="838"/>
                    </a:lnTo>
                    <a:lnTo>
                      <a:pt x="127" y="836"/>
                    </a:lnTo>
                    <a:lnTo>
                      <a:pt x="127" y="838"/>
                    </a:lnTo>
                    <a:lnTo>
                      <a:pt x="125" y="838"/>
                    </a:lnTo>
                    <a:lnTo>
                      <a:pt x="123" y="838"/>
                    </a:lnTo>
                    <a:lnTo>
                      <a:pt x="123" y="840"/>
                    </a:lnTo>
                    <a:lnTo>
                      <a:pt x="121" y="840"/>
                    </a:lnTo>
                    <a:lnTo>
                      <a:pt x="119" y="840"/>
                    </a:lnTo>
                    <a:lnTo>
                      <a:pt x="121" y="840"/>
                    </a:lnTo>
                    <a:lnTo>
                      <a:pt x="119" y="840"/>
                    </a:lnTo>
                    <a:lnTo>
                      <a:pt x="117" y="840"/>
                    </a:lnTo>
                    <a:lnTo>
                      <a:pt x="117" y="842"/>
                    </a:lnTo>
                    <a:lnTo>
                      <a:pt x="117" y="840"/>
                    </a:lnTo>
                    <a:lnTo>
                      <a:pt x="117" y="842"/>
                    </a:lnTo>
                    <a:lnTo>
                      <a:pt x="116" y="842"/>
                    </a:lnTo>
                    <a:lnTo>
                      <a:pt x="116" y="840"/>
                    </a:lnTo>
                    <a:lnTo>
                      <a:pt x="116" y="838"/>
                    </a:lnTo>
                    <a:lnTo>
                      <a:pt x="114" y="838"/>
                    </a:lnTo>
                    <a:lnTo>
                      <a:pt x="114" y="836"/>
                    </a:lnTo>
                    <a:lnTo>
                      <a:pt x="112" y="836"/>
                    </a:lnTo>
                    <a:lnTo>
                      <a:pt x="114" y="836"/>
                    </a:lnTo>
                    <a:lnTo>
                      <a:pt x="112" y="836"/>
                    </a:lnTo>
                    <a:lnTo>
                      <a:pt x="112" y="835"/>
                    </a:lnTo>
                    <a:lnTo>
                      <a:pt x="114" y="835"/>
                    </a:lnTo>
                    <a:lnTo>
                      <a:pt x="114" y="833"/>
                    </a:lnTo>
                    <a:lnTo>
                      <a:pt x="114" y="831"/>
                    </a:lnTo>
                    <a:lnTo>
                      <a:pt x="112" y="831"/>
                    </a:lnTo>
                    <a:lnTo>
                      <a:pt x="112" y="829"/>
                    </a:lnTo>
                    <a:lnTo>
                      <a:pt x="112" y="831"/>
                    </a:lnTo>
                    <a:lnTo>
                      <a:pt x="110" y="831"/>
                    </a:lnTo>
                    <a:lnTo>
                      <a:pt x="110" y="829"/>
                    </a:lnTo>
                    <a:lnTo>
                      <a:pt x="110" y="831"/>
                    </a:lnTo>
                    <a:lnTo>
                      <a:pt x="110" y="829"/>
                    </a:lnTo>
                    <a:lnTo>
                      <a:pt x="108" y="831"/>
                    </a:lnTo>
                    <a:lnTo>
                      <a:pt x="108" y="829"/>
                    </a:lnTo>
                    <a:lnTo>
                      <a:pt x="108" y="831"/>
                    </a:lnTo>
                    <a:lnTo>
                      <a:pt x="106" y="831"/>
                    </a:lnTo>
                    <a:lnTo>
                      <a:pt x="104" y="831"/>
                    </a:lnTo>
                    <a:lnTo>
                      <a:pt x="102" y="831"/>
                    </a:lnTo>
                    <a:lnTo>
                      <a:pt x="100" y="831"/>
                    </a:lnTo>
                    <a:lnTo>
                      <a:pt x="98" y="831"/>
                    </a:lnTo>
                    <a:lnTo>
                      <a:pt x="98" y="829"/>
                    </a:lnTo>
                    <a:lnTo>
                      <a:pt x="98" y="831"/>
                    </a:lnTo>
                    <a:lnTo>
                      <a:pt x="96" y="831"/>
                    </a:lnTo>
                    <a:lnTo>
                      <a:pt x="94" y="831"/>
                    </a:lnTo>
                    <a:lnTo>
                      <a:pt x="96" y="831"/>
                    </a:lnTo>
                    <a:lnTo>
                      <a:pt x="94" y="829"/>
                    </a:lnTo>
                    <a:lnTo>
                      <a:pt x="94" y="827"/>
                    </a:lnTo>
                    <a:lnTo>
                      <a:pt x="94" y="829"/>
                    </a:lnTo>
                    <a:lnTo>
                      <a:pt x="94" y="827"/>
                    </a:lnTo>
                    <a:lnTo>
                      <a:pt x="96" y="827"/>
                    </a:lnTo>
                    <a:lnTo>
                      <a:pt x="96" y="825"/>
                    </a:lnTo>
                    <a:lnTo>
                      <a:pt x="98" y="825"/>
                    </a:lnTo>
                    <a:lnTo>
                      <a:pt x="98" y="823"/>
                    </a:lnTo>
                    <a:lnTo>
                      <a:pt x="96" y="823"/>
                    </a:lnTo>
                    <a:lnTo>
                      <a:pt x="98" y="823"/>
                    </a:lnTo>
                    <a:lnTo>
                      <a:pt x="98" y="821"/>
                    </a:lnTo>
                    <a:lnTo>
                      <a:pt x="96" y="821"/>
                    </a:lnTo>
                    <a:lnTo>
                      <a:pt x="98" y="819"/>
                    </a:lnTo>
                    <a:lnTo>
                      <a:pt x="96" y="819"/>
                    </a:lnTo>
                    <a:lnTo>
                      <a:pt x="96" y="821"/>
                    </a:lnTo>
                    <a:lnTo>
                      <a:pt x="96" y="819"/>
                    </a:lnTo>
                    <a:lnTo>
                      <a:pt x="96" y="817"/>
                    </a:lnTo>
                    <a:lnTo>
                      <a:pt x="98" y="813"/>
                    </a:lnTo>
                    <a:lnTo>
                      <a:pt x="100" y="811"/>
                    </a:lnTo>
                    <a:lnTo>
                      <a:pt x="102" y="811"/>
                    </a:lnTo>
                    <a:lnTo>
                      <a:pt x="102" y="810"/>
                    </a:lnTo>
                    <a:lnTo>
                      <a:pt x="104" y="810"/>
                    </a:lnTo>
                    <a:lnTo>
                      <a:pt x="104" y="808"/>
                    </a:lnTo>
                    <a:lnTo>
                      <a:pt x="104" y="806"/>
                    </a:lnTo>
                    <a:lnTo>
                      <a:pt x="104" y="804"/>
                    </a:lnTo>
                    <a:lnTo>
                      <a:pt x="104" y="802"/>
                    </a:lnTo>
                    <a:lnTo>
                      <a:pt x="104" y="800"/>
                    </a:lnTo>
                    <a:lnTo>
                      <a:pt x="102" y="800"/>
                    </a:lnTo>
                    <a:lnTo>
                      <a:pt x="104" y="798"/>
                    </a:lnTo>
                    <a:lnTo>
                      <a:pt x="104" y="796"/>
                    </a:lnTo>
                    <a:lnTo>
                      <a:pt x="104" y="794"/>
                    </a:lnTo>
                    <a:lnTo>
                      <a:pt x="102" y="794"/>
                    </a:lnTo>
                    <a:lnTo>
                      <a:pt x="102" y="792"/>
                    </a:lnTo>
                    <a:lnTo>
                      <a:pt x="102" y="790"/>
                    </a:lnTo>
                    <a:lnTo>
                      <a:pt x="100" y="790"/>
                    </a:lnTo>
                    <a:lnTo>
                      <a:pt x="98" y="788"/>
                    </a:lnTo>
                    <a:lnTo>
                      <a:pt x="96" y="788"/>
                    </a:lnTo>
                    <a:lnTo>
                      <a:pt x="96" y="786"/>
                    </a:lnTo>
                    <a:lnTo>
                      <a:pt x="98" y="786"/>
                    </a:lnTo>
                    <a:lnTo>
                      <a:pt x="98" y="785"/>
                    </a:lnTo>
                    <a:lnTo>
                      <a:pt x="100" y="785"/>
                    </a:lnTo>
                    <a:lnTo>
                      <a:pt x="100" y="783"/>
                    </a:lnTo>
                    <a:lnTo>
                      <a:pt x="100" y="781"/>
                    </a:lnTo>
                    <a:lnTo>
                      <a:pt x="98" y="783"/>
                    </a:lnTo>
                    <a:lnTo>
                      <a:pt x="98" y="781"/>
                    </a:lnTo>
                    <a:lnTo>
                      <a:pt x="96" y="781"/>
                    </a:lnTo>
                    <a:lnTo>
                      <a:pt x="96" y="779"/>
                    </a:lnTo>
                    <a:lnTo>
                      <a:pt x="94" y="779"/>
                    </a:lnTo>
                    <a:lnTo>
                      <a:pt x="94" y="777"/>
                    </a:lnTo>
                    <a:lnTo>
                      <a:pt x="92" y="773"/>
                    </a:lnTo>
                    <a:lnTo>
                      <a:pt x="89" y="773"/>
                    </a:lnTo>
                    <a:lnTo>
                      <a:pt x="85" y="773"/>
                    </a:lnTo>
                    <a:lnTo>
                      <a:pt x="83" y="773"/>
                    </a:lnTo>
                    <a:lnTo>
                      <a:pt x="83" y="775"/>
                    </a:lnTo>
                    <a:lnTo>
                      <a:pt x="81" y="775"/>
                    </a:lnTo>
                    <a:lnTo>
                      <a:pt x="79" y="771"/>
                    </a:lnTo>
                    <a:lnTo>
                      <a:pt x="81" y="769"/>
                    </a:lnTo>
                    <a:lnTo>
                      <a:pt x="81" y="767"/>
                    </a:lnTo>
                    <a:lnTo>
                      <a:pt x="81" y="765"/>
                    </a:lnTo>
                    <a:lnTo>
                      <a:pt x="81" y="763"/>
                    </a:lnTo>
                    <a:lnTo>
                      <a:pt x="79" y="763"/>
                    </a:lnTo>
                    <a:lnTo>
                      <a:pt x="79" y="761"/>
                    </a:lnTo>
                    <a:lnTo>
                      <a:pt x="77" y="761"/>
                    </a:lnTo>
                    <a:lnTo>
                      <a:pt x="77" y="760"/>
                    </a:lnTo>
                    <a:lnTo>
                      <a:pt x="75" y="760"/>
                    </a:lnTo>
                    <a:lnTo>
                      <a:pt x="77" y="760"/>
                    </a:lnTo>
                    <a:lnTo>
                      <a:pt x="77" y="758"/>
                    </a:lnTo>
                    <a:lnTo>
                      <a:pt x="77" y="756"/>
                    </a:lnTo>
                    <a:lnTo>
                      <a:pt x="75" y="756"/>
                    </a:lnTo>
                    <a:lnTo>
                      <a:pt x="75" y="758"/>
                    </a:lnTo>
                    <a:lnTo>
                      <a:pt x="75" y="756"/>
                    </a:lnTo>
                    <a:lnTo>
                      <a:pt x="77" y="756"/>
                    </a:lnTo>
                    <a:lnTo>
                      <a:pt x="77" y="754"/>
                    </a:lnTo>
                    <a:lnTo>
                      <a:pt x="79" y="754"/>
                    </a:lnTo>
                    <a:lnTo>
                      <a:pt x="79" y="752"/>
                    </a:lnTo>
                    <a:lnTo>
                      <a:pt x="81" y="752"/>
                    </a:lnTo>
                    <a:lnTo>
                      <a:pt x="81" y="750"/>
                    </a:lnTo>
                    <a:lnTo>
                      <a:pt x="83" y="750"/>
                    </a:lnTo>
                    <a:lnTo>
                      <a:pt x="83" y="748"/>
                    </a:lnTo>
                    <a:lnTo>
                      <a:pt x="83" y="746"/>
                    </a:lnTo>
                    <a:lnTo>
                      <a:pt x="81" y="744"/>
                    </a:lnTo>
                    <a:lnTo>
                      <a:pt x="81" y="742"/>
                    </a:lnTo>
                    <a:lnTo>
                      <a:pt x="81" y="740"/>
                    </a:lnTo>
                    <a:lnTo>
                      <a:pt x="79" y="740"/>
                    </a:lnTo>
                    <a:lnTo>
                      <a:pt x="79" y="738"/>
                    </a:lnTo>
                    <a:lnTo>
                      <a:pt x="79" y="736"/>
                    </a:lnTo>
                    <a:lnTo>
                      <a:pt x="77" y="736"/>
                    </a:lnTo>
                    <a:lnTo>
                      <a:pt x="77" y="735"/>
                    </a:lnTo>
                    <a:lnTo>
                      <a:pt x="75" y="735"/>
                    </a:lnTo>
                    <a:lnTo>
                      <a:pt x="75" y="733"/>
                    </a:lnTo>
                    <a:lnTo>
                      <a:pt x="73" y="731"/>
                    </a:lnTo>
                    <a:lnTo>
                      <a:pt x="73" y="729"/>
                    </a:lnTo>
                    <a:lnTo>
                      <a:pt x="75" y="727"/>
                    </a:lnTo>
                    <a:lnTo>
                      <a:pt x="75" y="725"/>
                    </a:lnTo>
                    <a:lnTo>
                      <a:pt x="75" y="723"/>
                    </a:lnTo>
                    <a:lnTo>
                      <a:pt x="75" y="721"/>
                    </a:lnTo>
                    <a:lnTo>
                      <a:pt x="77" y="721"/>
                    </a:lnTo>
                    <a:lnTo>
                      <a:pt x="79" y="721"/>
                    </a:lnTo>
                    <a:lnTo>
                      <a:pt x="79" y="719"/>
                    </a:lnTo>
                    <a:lnTo>
                      <a:pt x="81" y="719"/>
                    </a:lnTo>
                    <a:lnTo>
                      <a:pt x="81" y="717"/>
                    </a:lnTo>
                    <a:lnTo>
                      <a:pt x="81" y="715"/>
                    </a:lnTo>
                    <a:lnTo>
                      <a:pt x="79" y="715"/>
                    </a:lnTo>
                    <a:lnTo>
                      <a:pt x="79" y="713"/>
                    </a:lnTo>
                    <a:lnTo>
                      <a:pt x="81" y="713"/>
                    </a:lnTo>
                    <a:lnTo>
                      <a:pt x="79" y="712"/>
                    </a:lnTo>
                    <a:lnTo>
                      <a:pt x="79" y="710"/>
                    </a:lnTo>
                    <a:lnTo>
                      <a:pt x="79" y="708"/>
                    </a:lnTo>
                    <a:lnTo>
                      <a:pt x="77" y="706"/>
                    </a:lnTo>
                    <a:lnTo>
                      <a:pt x="75" y="706"/>
                    </a:lnTo>
                    <a:lnTo>
                      <a:pt x="77" y="704"/>
                    </a:lnTo>
                    <a:lnTo>
                      <a:pt x="75" y="704"/>
                    </a:lnTo>
                    <a:lnTo>
                      <a:pt x="66" y="690"/>
                    </a:lnTo>
                    <a:lnTo>
                      <a:pt x="62" y="688"/>
                    </a:lnTo>
                    <a:lnTo>
                      <a:pt x="58" y="683"/>
                    </a:lnTo>
                    <a:lnTo>
                      <a:pt x="58" y="681"/>
                    </a:lnTo>
                    <a:lnTo>
                      <a:pt x="56" y="681"/>
                    </a:lnTo>
                    <a:lnTo>
                      <a:pt x="56" y="679"/>
                    </a:lnTo>
                    <a:lnTo>
                      <a:pt x="58" y="679"/>
                    </a:lnTo>
                    <a:lnTo>
                      <a:pt x="58" y="677"/>
                    </a:lnTo>
                    <a:lnTo>
                      <a:pt x="60" y="677"/>
                    </a:lnTo>
                    <a:lnTo>
                      <a:pt x="58" y="677"/>
                    </a:lnTo>
                    <a:lnTo>
                      <a:pt x="58" y="675"/>
                    </a:lnTo>
                    <a:lnTo>
                      <a:pt x="60" y="677"/>
                    </a:lnTo>
                    <a:lnTo>
                      <a:pt x="60" y="675"/>
                    </a:lnTo>
                    <a:lnTo>
                      <a:pt x="62" y="675"/>
                    </a:lnTo>
                    <a:lnTo>
                      <a:pt x="62" y="673"/>
                    </a:lnTo>
                    <a:lnTo>
                      <a:pt x="62" y="675"/>
                    </a:lnTo>
                    <a:lnTo>
                      <a:pt x="62" y="673"/>
                    </a:lnTo>
                    <a:lnTo>
                      <a:pt x="60" y="673"/>
                    </a:lnTo>
                    <a:lnTo>
                      <a:pt x="62" y="673"/>
                    </a:lnTo>
                    <a:lnTo>
                      <a:pt x="60" y="673"/>
                    </a:lnTo>
                    <a:lnTo>
                      <a:pt x="62" y="673"/>
                    </a:lnTo>
                    <a:lnTo>
                      <a:pt x="62" y="671"/>
                    </a:lnTo>
                    <a:lnTo>
                      <a:pt x="60" y="671"/>
                    </a:lnTo>
                    <a:lnTo>
                      <a:pt x="62" y="671"/>
                    </a:lnTo>
                    <a:lnTo>
                      <a:pt x="60" y="671"/>
                    </a:lnTo>
                    <a:lnTo>
                      <a:pt x="60" y="669"/>
                    </a:lnTo>
                    <a:lnTo>
                      <a:pt x="62" y="669"/>
                    </a:lnTo>
                    <a:lnTo>
                      <a:pt x="62" y="667"/>
                    </a:lnTo>
                    <a:lnTo>
                      <a:pt x="60" y="667"/>
                    </a:lnTo>
                    <a:lnTo>
                      <a:pt x="62" y="667"/>
                    </a:lnTo>
                    <a:lnTo>
                      <a:pt x="64" y="667"/>
                    </a:lnTo>
                    <a:lnTo>
                      <a:pt x="64" y="665"/>
                    </a:lnTo>
                    <a:lnTo>
                      <a:pt x="64" y="667"/>
                    </a:lnTo>
                    <a:lnTo>
                      <a:pt x="64" y="665"/>
                    </a:lnTo>
                    <a:lnTo>
                      <a:pt x="64" y="663"/>
                    </a:lnTo>
                    <a:lnTo>
                      <a:pt x="66" y="663"/>
                    </a:lnTo>
                    <a:lnTo>
                      <a:pt x="64" y="663"/>
                    </a:lnTo>
                    <a:lnTo>
                      <a:pt x="66" y="663"/>
                    </a:lnTo>
                    <a:lnTo>
                      <a:pt x="64" y="663"/>
                    </a:lnTo>
                    <a:lnTo>
                      <a:pt x="64" y="662"/>
                    </a:lnTo>
                    <a:lnTo>
                      <a:pt x="66" y="662"/>
                    </a:lnTo>
                    <a:lnTo>
                      <a:pt x="64" y="662"/>
                    </a:lnTo>
                    <a:lnTo>
                      <a:pt x="62" y="662"/>
                    </a:lnTo>
                    <a:lnTo>
                      <a:pt x="62" y="660"/>
                    </a:lnTo>
                    <a:lnTo>
                      <a:pt x="60" y="660"/>
                    </a:lnTo>
                    <a:lnTo>
                      <a:pt x="60" y="658"/>
                    </a:lnTo>
                    <a:lnTo>
                      <a:pt x="60" y="660"/>
                    </a:lnTo>
                    <a:lnTo>
                      <a:pt x="60" y="658"/>
                    </a:lnTo>
                    <a:lnTo>
                      <a:pt x="58" y="658"/>
                    </a:lnTo>
                    <a:lnTo>
                      <a:pt x="58" y="656"/>
                    </a:lnTo>
                    <a:lnTo>
                      <a:pt x="58" y="654"/>
                    </a:lnTo>
                    <a:lnTo>
                      <a:pt x="56" y="654"/>
                    </a:lnTo>
                    <a:lnTo>
                      <a:pt x="58" y="654"/>
                    </a:lnTo>
                    <a:lnTo>
                      <a:pt x="58" y="652"/>
                    </a:lnTo>
                    <a:lnTo>
                      <a:pt x="58" y="654"/>
                    </a:lnTo>
                    <a:lnTo>
                      <a:pt x="58" y="652"/>
                    </a:lnTo>
                    <a:lnTo>
                      <a:pt x="60" y="652"/>
                    </a:lnTo>
                    <a:lnTo>
                      <a:pt x="58" y="652"/>
                    </a:lnTo>
                    <a:lnTo>
                      <a:pt x="58" y="650"/>
                    </a:lnTo>
                    <a:lnTo>
                      <a:pt x="60" y="650"/>
                    </a:lnTo>
                    <a:lnTo>
                      <a:pt x="58" y="650"/>
                    </a:lnTo>
                    <a:lnTo>
                      <a:pt x="58" y="648"/>
                    </a:lnTo>
                    <a:lnTo>
                      <a:pt x="58" y="650"/>
                    </a:lnTo>
                    <a:lnTo>
                      <a:pt x="58" y="648"/>
                    </a:lnTo>
                    <a:lnTo>
                      <a:pt x="56" y="648"/>
                    </a:lnTo>
                    <a:lnTo>
                      <a:pt x="56" y="646"/>
                    </a:lnTo>
                    <a:lnTo>
                      <a:pt x="54" y="646"/>
                    </a:lnTo>
                    <a:lnTo>
                      <a:pt x="54" y="644"/>
                    </a:lnTo>
                    <a:lnTo>
                      <a:pt x="54" y="642"/>
                    </a:lnTo>
                    <a:lnTo>
                      <a:pt x="52" y="642"/>
                    </a:lnTo>
                    <a:lnTo>
                      <a:pt x="52" y="640"/>
                    </a:lnTo>
                    <a:lnTo>
                      <a:pt x="52" y="638"/>
                    </a:lnTo>
                    <a:lnTo>
                      <a:pt x="50" y="638"/>
                    </a:lnTo>
                    <a:lnTo>
                      <a:pt x="52" y="637"/>
                    </a:lnTo>
                    <a:lnTo>
                      <a:pt x="52" y="635"/>
                    </a:lnTo>
                    <a:lnTo>
                      <a:pt x="52" y="637"/>
                    </a:lnTo>
                    <a:lnTo>
                      <a:pt x="54" y="637"/>
                    </a:lnTo>
                    <a:lnTo>
                      <a:pt x="56" y="637"/>
                    </a:lnTo>
                    <a:lnTo>
                      <a:pt x="58" y="635"/>
                    </a:lnTo>
                    <a:lnTo>
                      <a:pt x="60" y="637"/>
                    </a:lnTo>
                    <a:lnTo>
                      <a:pt x="62" y="637"/>
                    </a:lnTo>
                    <a:lnTo>
                      <a:pt x="64" y="637"/>
                    </a:lnTo>
                    <a:lnTo>
                      <a:pt x="64" y="638"/>
                    </a:lnTo>
                    <a:lnTo>
                      <a:pt x="66" y="638"/>
                    </a:lnTo>
                    <a:lnTo>
                      <a:pt x="68" y="638"/>
                    </a:lnTo>
                    <a:lnTo>
                      <a:pt x="68" y="637"/>
                    </a:lnTo>
                    <a:lnTo>
                      <a:pt x="68" y="635"/>
                    </a:lnTo>
                    <a:lnTo>
                      <a:pt x="68" y="631"/>
                    </a:lnTo>
                    <a:lnTo>
                      <a:pt x="69" y="631"/>
                    </a:lnTo>
                    <a:lnTo>
                      <a:pt x="68" y="629"/>
                    </a:lnTo>
                    <a:lnTo>
                      <a:pt x="68" y="627"/>
                    </a:lnTo>
                    <a:lnTo>
                      <a:pt x="69" y="627"/>
                    </a:lnTo>
                    <a:lnTo>
                      <a:pt x="71" y="625"/>
                    </a:lnTo>
                    <a:lnTo>
                      <a:pt x="73" y="625"/>
                    </a:lnTo>
                    <a:lnTo>
                      <a:pt x="73" y="623"/>
                    </a:lnTo>
                    <a:lnTo>
                      <a:pt x="73" y="621"/>
                    </a:lnTo>
                    <a:lnTo>
                      <a:pt x="75" y="619"/>
                    </a:lnTo>
                    <a:lnTo>
                      <a:pt x="77" y="619"/>
                    </a:lnTo>
                    <a:lnTo>
                      <a:pt x="79" y="617"/>
                    </a:lnTo>
                    <a:lnTo>
                      <a:pt x="79" y="615"/>
                    </a:lnTo>
                    <a:lnTo>
                      <a:pt x="79" y="612"/>
                    </a:lnTo>
                    <a:lnTo>
                      <a:pt x="79" y="610"/>
                    </a:lnTo>
                    <a:lnTo>
                      <a:pt x="79" y="606"/>
                    </a:lnTo>
                    <a:lnTo>
                      <a:pt x="79" y="604"/>
                    </a:lnTo>
                    <a:lnTo>
                      <a:pt x="79" y="602"/>
                    </a:lnTo>
                    <a:lnTo>
                      <a:pt x="79" y="600"/>
                    </a:lnTo>
                    <a:lnTo>
                      <a:pt x="79" y="598"/>
                    </a:lnTo>
                    <a:lnTo>
                      <a:pt x="83" y="598"/>
                    </a:lnTo>
                    <a:lnTo>
                      <a:pt x="85" y="596"/>
                    </a:lnTo>
                    <a:lnTo>
                      <a:pt x="85" y="594"/>
                    </a:lnTo>
                    <a:lnTo>
                      <a:pt x="85" y="592"/>
                    </a:lnTo>
                    <a:lnTo>
                      <a:pt x="85" y="590"/>
                    </a:lnTo>
                    <a:lnTo>
                      <a:pt x="83" y="588"/>
                    </a:lnTo>
                    <a:lnTo>
                      <a:pt x="81" y="588"/>
                    </a:lnTo>
                    <a:lnTo>
                      <a:pt x="79" y="587"/>
                    </a:lnTo>
                    <a:lnTo>
                      <a:pt x="79" y="583"/>
                    </a:lnTo>
                    <a:lnTo>
                      <a:pt x="79" y="581"/>
                    </a:lnTo>
                    <a:lnTo>
                      <a:pt x="79" y="579"/>
                    </a:lnTo>
                    <a:lnTo>
                      <a:pt x="79" y="577"/>
                    </a:lnTo>
                    <a:lnTo>
                      <a:pt x="77" y="577"/>
                    </a:lnTo>
                    <a:lnTo>
                      <a:pt x="77" y="575"/>
                    </a:lnTo>
                    <a:lnTo>
                      <a:pt x="77" y="573"/>
                    </a:lnTo>
                    <a:lnTo>
                      <a:pt x="75" y="573"/>
                    </a:lnTo>
                    <a:lnTo>
                      <a:pt x="75" y="571"/>
                    </a:lnTo>
                    <a:lnTo>
                      <a:pt x="77" y="571"/>
                    </a:lnTo>
                    <a:lnTo>
                      <a:pt x="79" y="571"/>
                    </a:lnTo>
                    <a:lnTo>
                      <a:pt x="79" y="569"/>
                    </a:lnTo>
                    <a:lnTo>
                      <a:pt x="79" y="567"/>
                    </a:lnTo>
                    <a:lnTo>
                      <a:pt x="79" y="565"/>
                    </a:lnTo>
                    <a:lnTo>
                      <a:pt x="77" y="565"/>
                    </a:lnTo>
                    <a:lnTo>
                      <a:pt x="75" y="565"/>
                    </a:lnTo>
                    <a:lnTo>
                      <a:pt x="73" y="565"/>
                    </a:lnTo>
                    <a:lnTo>
                      <a:pt x="71" y="565"/>
                    </a:lnTo>
                    <a:lnTo>
                      <a:pt x="71" y="563"/>
                    </a:lnTo>
                    <a:lnTo>
                      <a:pt x="69" y="563"/>
                    </a:lnTo>
                    <a:lnTo>
                      <a:pt x="68" y="562"/>
                    </a:lnTo>
                    <a:lnTo>
                      <a:pt x="66" y="562"/>
                    </a:lnTo>
                    <a:lnTo>
                      <a:pt x="64" y="562"/>
                    </a:lnTo>
                    <a:lnTo>
                      <a:pt x="64" y="560"/>
                    </a:lnTo>
                    <a:lnTo>
                      <a:pt x="66" y="558"/>
                    </a:lnTo>
                    <a:lnTo>
                      <a:pt x="66" y="556"/>
                    </a:lnTo>
                    <a:lnTo>
                      <a:pt x="68" y="554"/>
                    </a:lnTo>
                    <a:lnTo>
                      <a:pt x="68" y="552"/>
                    </a:lnTo>
                    <a:lnTo>
                      <a:pt x="68" y="550"/>
                    </a:lnTo>
                    <a:lnTo>
                      <a:pt x="66" y="548"/>
                    </a:lnTo>
                    <a:lnTo>
                      <a:pt x="64" y="548"/>
                    </a:lnTo>
                    <a:lnTo>
                      <a:pt x="64" y="546"/>
                    </a:lnTo>
                    <a:lnTo>
                      <a:pt x="62" y="548"/>
                    </a:lnTo>
                    <a:lnTo>
                      <a:pt x="60" y="552"/>
                    </a:lnTo>
                    <a:lnTo>
                      <a:pt x="60" y="554"/>
                    </a:lnTo>
                    <a:lnTo>
                      <a:pt x="62" y="554"/>
                    </a:lnTo>
                    <a:lnTo>
                      <a:pt x="60" y="556"/>
                    </a:lnTo>
                    <a:lnTo>
                      <a:pt x="58" y="556"/>
                    </a:lnTo>
                    <a:lnTo>
                      <a:pt x="58" y="558"/>
                    </a:lnTo>
                    <a:lnTo>
                      <a:pt x="56" y="558"/>
                    </a:lnTo>
                    <a:lnTo>
                      <a:pt x="54" y="558"/>
                    </a:lnTo>
                    <a:lnTo>
                      <a:pt x="54" y="556"/>
                    </a:lnTo>
                    <a:lnTo>
                      <a:pt x="52" y="556"/>
                    </a:lnTo>
                    <a:lnTo>
                      <a:pt x="50" y="556"/>
                    </a:lnTo>
                    <a:lnTo>
                      <a:pt x="50" y="558"/>
                    </a:lnTo>
                    <a:lnTo>
                      <a:pt x="48" y="558"/>
                    </a:lnTo>
                    <a:lnTo>
                      <a:pt x="46" y="558"/>
                    </a:lnTo>
                    <a:lnTo>
                      <a:pt x="44" y="558"/>
                    </a:lnTo>
                    <a:lnTo>
                      <a:pt x="43" y="558"/>
                    </a:lnTo>
                    <a:lnTo>
                      <a:pt x="43" y="556"/>
                    </a:lnTo>
                    <a:lnTo>
                      <a:pt x="41" y="556"/>
                    </a:lnTo>
                    <a:lnTo>
                      <a:pt x="43" y="556"/>
                    </a:lnTo>
                    <a:lnTo>
                      <a:pt x="41" y="556"/>
                    </a:lnTo>
                    <a:lnTo>
                      <a:pt x="41" y="554"/>
                    </a:lnTo>
                    <a:lnTo>
                      <a:pt x="39" y="554"/>
                    </a:lnTo>
                    <a:lnTo>
                      <a:pt x="39" y="552"/>
                    </a:lnTo>
                    <a:lnTo>
                      <a:pt x="41" y="552"/>
                    </a:lnTo>
                    <a:lnTo>
                      <a:pt x="39" y="552"/>
                    </a:lnTo>
                    <a:lnTo>
                      <a:pt x="39" y="550"/>
                    </a:lnTo>
                    <a:lnTo>
                      <a:pt x="37" y="550"/>
                    </a:lnTo>
                    <a:lnTo>
                      <a:pt x="37" y="552"/>
                    </a:lnTo>
                    <a:lnTo>
                      <a:pt x="37" y="550"/>
                    </a:lnTo>
                    <a:lnTo>
                      <a:pt x="35" y="550"/>
                    </a:lnTo>
                    <a:lnTo>
                      <a:pt x="33" y="550"/>
                    </a:lnTo>
                    <a:lnTo>
                      <a:pt x="31" y="550"/>
                    </a:lnTo>
                    <a:lnTo>
                      <a:pt x="31" y="548"/>
                    </a:lnTo>
                    <a:lnTo>
                      <a:pt x="31" y="550"/>
                    </a:lnTo>
                    <a:lnTo>
                      <a:pt x="31" y="548"/>
                    </a:lnTo>
                    <a:lnTo>
                      <a:pt x="31" y="550"/>
                    </a:lnTo>
                    <a:lnTo>
                      <a:pt x="29" y="550"/>
                    </a:lnTo>
                    <a:lnTo>
                      <a:pt x="29" y="548"/>
                    </a:lnTo>
                    <a:lnTo>
                      <a:pt x="27" y="548"/>
                    </a:lnTo>
                    <a:lnTo>
                      <a:pt x="27" y="546"/>
                    </a:lnTo>
                    <a:lnTo>
                      <a:pt x="25" y="546"/>
                    </a:lnTo>
                    <a:lnTo>
                      <a:pt x="23" y="546"/>
                    </a:lnTo>
                    <a:lnTo>
                      <a:pt x="21" y="546"/>
                    </a:lnTo>
                    <a:lnTo>
                      <a:pt x="19" y="546"/>
                    </a:lnTo>
                    <a:lnTo>
                      <a:pt x="18" y="546"/>
                    </a:lnTo>
                    <a:lnTo>
                      <a:pt x="18" y="544"/>
                    </a:lnTo>
                    <a:lnTo>
                      <a:pt x="19" y="544"/>
                    </a:lnTo>
                    <a:lnTo>
                      <a:pt x="18" y="544"/>
                    </a:lnTo>
                    <a:lnTo>
                      <a:pt x="18" y="542"/>
                    </a:lnTo>
                    <a:lnTo>
                      <a:pt x="16" y="542"/>
                    </a:lnTo>
                    <a:lnTo>
                      <a:pt x="18" y="542"/>
                    </a:lnTo>
                    <a:lnTo>
                      <a:pt x="18" y="540"/>
                    </a:lnTo>
                    <a:lnTo>
                      <a:pt x="16" y="540"/>
                    </a:lnTo>
                    <a:lnTo>
                      <a:pt x="16" y="542"/>
                    </a:lnTo>
                    <a:lnTo>
                      <a:pt x="16" y="540"/>
                    </a:lnTo>
                    <a:lnTo>
                      <a:pt x="14" y="540"/>
                    </a:lnTo>
                    <a:lnTo>
                      <a:pt x="16" y="540"/>
                    </a:lnTo>
                    <a:lnTo>
                      <a:pt x="14" y="538"/>
                    </a:lnTo>
                    <a:lnTo>
                      <a:pt x="14" y="537"/>
                    </a:lnTo>
                    <a:lnTo>
                      <a:pt x="14" y="535"/>
                    </a:lnTo>
                    <a:lnTo>
                      <a:pt x="14" y="533"/>
                    </a:lnTo>
                    <a:lnTo>
                      <a:pt x="14" y="531"/>
                    </a:lnTo>
                    <a:lnTo>
                      <a:pt x="12" y="531"/>
                    </a:lnTo>
                    <a:lnTo>
                      <a:pt x="12" y="529"/>
                    </a:lnTo>
                    <a:lnTo>
                      <a:pt x="12" y="527"/>
                    </a:lnTo>
                    <a:lnTo>
                      <a:pt x="12" y="529"/>
                    </a:lnTo>
                    <a:lnTo>
                      <a:pt x="12" y="527"/>
                    </a:lnTo>
                    <a:lnTo>
                      <a:pt x="10" y="527"/>
                    </a:lnTo>
                    <a:lnTo>
                      <a:pt x="10" y="525"/>
                    </a:lnTo>
                    <a:lnTo>
                      <a:pt x="10" y="527"/>
                    </a:lnTo>
                    <a:lnTo>
                      <a:pt x="8" y="527"/>
                    </a:lnTo>
                    <a:lnTo>
                      <a:pt x="8" y="525"/>
                    </a:lnTo>
                    <a:lnTo>
                      <a:pt x="6" y="525"/>
                    </a:lnTo>
                    <a:lnTo>
                      <a:pt x="6" y="523"/>
                    </a:lnTo>
                    <a:lnTo>
                      <a:pt x="4" y="523"/>
                    </a:lnTo>
                    <a:lnTo>
                      <a:pt x="2" y="523"/>
                    </a:lnTo>
                    <a:lnTo>
                      <a:pt x="2" y="521"/>
                    </a:lnTo>
                    <a:lnTo>
                      <a:pt x="4" y="521"/>
                    </a:lnTo>
                    <a:lnTo>
                      <a:pt x="6" y="521"/>
                    </a:lnTo>
                    <a:lnTo>
                      <a:pt x="6" y="519"/>
                    </a:lnTo>
                    <a:lnTo>
                      <a:pt x="4" y="519"/>
                    </a:lnTo>
                    <a:lnTo>
                      <a:pt x="4" y="517"/>
                    </a:lnTo>
                    <a:lnTo>
                      <a:pt x="2" y="517"/>
                    </a:lnTo>
                    <a:lnTo>
                      <a:pt x="2" y="515"/>
                    </a:lnTo>
                    <a:lnTo>
                      <a:pt x="4" y="515"/>
                    </a:lnTo>
                    <a:lnTo>
                      <a:pt x="2" y="513"/>
                    </a:lnTo>
                    <a:lnTo>
                      <a:pt x="0" y="513"/>
                    </a:lnTo>
                    <a:lnTo>
                      <a:pt x="0" y="512"/>
                    </a:lnTo>
                    <a:lnTo>
                      <a:pt x="2" y="512"/>
                    </a:lnTo>
                    <a:lnTo>
                      <a:pt x="4" y="512"/>
                    </a:lnTo>
                    <a:lnTo>
                      <a:pt x="4" y="510"/>
                    </a:lnTo>
                    <a:lnTo>
                      <a:pt x="6" y="510"/>
                    </a:lnTo>
                    <a:lnTo>
                      <a:pt x="8" y="508"/>
                    </a:lnTo>
                    <a:lnTo>
                      <a:pt x="6" y="508"/>
                    </a:lnTo>
                    <a:lnTo>
                      <a:pt x="8" y="508"/>
                    </a:lnTo>
                    <a:lnTo>
                      <a:pt x="8" y="506"/>
                    </a:lnTo>
                    <a:lnTo>
                      <a:pt x="6" y="506"/>
                    </a:lnTo>
                    <a:lnTo>
                      <a:pt x="8" y="506"/>
                    </a:lnTo>
                    <a:lnTo>
                      <a:pt x="8" y="504"/>
                    </a:lnTo>
                    <a:lnTo>
                      <a:pt x="10" y="506"/>
                    </a:lnTo>
                    <a:lnTo>
                      <a:pt x="10" y="504"/>
                    </a:lnTo>
                    <a:lnTo>
                      <a:pt x="10" y="502"/>
                    </a:lnTo>
                    <a:lnTo>
                      <a:pt x="12" y="504"/>
                    </a:lnTo>
                    <a:lnTo>
                      <a:pt x="12" y="502"/>
                    </a:lnTo>
                    <a:lnTo>
                      <a:pt x="12" y="504"/>
                    </a:lnTo>
                    <a:lnTo>
                      <a:pt x="14" y="504"/>
                    </a:lnTo>
                    <a:lnTo>
                      <a:pt x="14" y="502"/>
                    </a:lnTo>
                    <a:lnTo>
                      <a:pt x="12" y="502"/>
                    </a:lnTo>
                    <a:lnTo>
                      <a:pt x="14" y="500"/>
                    </a:lnTo>
                    <a:lnTo>
                      <a:pt x="14" y="498"/>
                    </a:lnTo>
                    <a:lnTo>
                      <a:pt x="16" y="498"/>
                    </a:lnTo>
                    <a:lnTo>
                      <a:pt x="14" y="500"/>
                    </a:lnTo>
                    <a:lnTo>
                      <a:pt x="16" y="500"/>
                    </a:lnTo>
                    <a:lnTo>
                      <a:pt x="18" y="500"/>
                    </a:lnTo>
                    <a:lnTo>
                      <a:pt x="19" y="498"/>
                    </a:lnTo>
                    <a:lnTo>
                      <a:pt x="21" y="498"/>
                    </a:lnTo>
                    <a:lnTo>
                      <a:pt x="21" y="496"/>
                    </a:lnTo>
                    <a:lnTo>
                      <a:pt x="21" y="494"/>
                    </a:lnTo>
                    <a:lnTo>
                      <a:pt x="23" y="494"/>
                    </a:lnTo>
                    <a:lnTo>
                      <a:pt x="25" y="494"/>
                    </a:lnTo>
                    <a:lnTo>
                      <a:pt x="23" y="494"/>
                    </a:lnTo>
                    <a:lnTo>
                      <a:pt x="23" y="492"/>
                    </a:lnTo>
                    <a:lnTo>
                      <a:pt x="25" y="492"/>
                    </a:lnTo>
                    <a:lnTo>
                      <a:pt x="27" y="492"/>
                    </a:lnTo>
                    <a:lnTo>
                      <a:pt x="29" y="492"/>
                    </a:lnTo>
                    <a:lnTo>
                      <a:pt x="29" y="490"/>
                    </a:lnTo>
                    <a:lnTo>
                      <a:pt x="31" y="490"/>
                    </a:lnTo>
                    <a:lnTo>
                      <a:pt x="33" y="490"/>
                    </a:lnTo>
                    <a:lnTo>
                      <a:pt x="35" y="488"/>
                    </a:lnTo>
                    <a:lnTo>
                      <a:pt x="33" y="488"/>
                    </a:lnTo>
                    <a:lnTo>
                      <a:pt x="33" y="487"/>
                    </a:lnTo>
                    <a:lnTo>
                      <a:pt x="35" y="487"/>
                    </a:lnTo>
                    <a:lnTo>
                      <a:pt x="35" y="488"/>
                    </a:lnTo>
                    <a:lnTo>
                      <a:pt x="37" y="487"/>
                    </a:lnTo>
                    <a:lnTo>
                      <a:pt x="37" y="485"/>
                    </a:lnTo>
                    <a:lnTo>
                      <a:pt x="39" y="487"/>
                    </a:lnTo>
                    <a:lnTo>
                      <a:pt x="41" y="485"/>
                    </a:lnTo>
                    <a:lnTo>
                      <a:pt x="43" y="485"/>
                    </a:lnTo>
                    <a:lnTo>
                      <a:pt x="44" y="485"/>
                    </a:lnTo>
                    <a:lnTo>
                      <a:pt x="46" y="485"/>
                    </a:lnTo>
                    <a:lnTo>
                      <a:pt x="46" y="487"/>
                    </a:lnTo>
                    <a:lnTo>
                      <a:pt x="46" y="488"/>
                    </a:lnTo>
                    <a:lnTo>
                      <a:pt x="46" y="487"/>
                    </a:lnTo>
                    <a:lnTo>
                      <a:pt x="46" y="488"/>
                    </a:lnTo>
                    <a:lnTo>
                      <a:pt x="48" y="488"/>
                    </a:lnTo>
                    <a:lnTo>
                      <a:pt x="48" y="490"/>
                    </a:lnTo>
                    <a:lnTo>
                      <a:pt x="46" y="490"/>
                    </a:lnTo>
                    <a:lnTo>
                      <a:pt x="48" y="490"/>
                    </a:lnTo>
                    <a:lnTo>
                      <a:pt x="48" y="492"/>
                    </a:lnTo>
                    <a:lnTo>
                      <a:pt x="46" y="492"/>
                    </a:lnTo>
                    <a:lnTo>
                      <a:pt x="48" y="492"/>
                    </a:lnTo>
                    <a:lnTo>
                      <a:pt x="50" y="494"/>
                    </a:lnTo>
                    <a:lnTo>
                      <a:pt x="50" y="492"/>
                    </a:lnTo>
                    <a:lnTo>
                      <a:pt x="52" y="492"/>
                    </a:lnTo>
                    <a:lnTo>
                      <a:pt x="52" y="494"/>
                    </a:lnTo>
                    <a:lnTo>
                      <a:pt x="54" y="492"/>
                    </a:lnTo>
                    <a:lnTo>
                      <a:pt x="54" y="494"/>
                    </a:lnTo>
                    <a:lnTo>
                      <a:pt x="56" y="494"/>
                    </a:lnTo>
                    <a:lnTo>
                      <a:pt x="54" y="494"/>
                    </a:lnTo>
                    <a:lnTo>
                      <a:pt x="56" y="494"/>
                    </a:lnTo>
                    <a:lnTo>
                      <a:pt x="58" y="494"/>
                    </a:lnTo>
                    <a:lnTo>
                      <a:pt x="58" y="496"/>
                    </a:lnTo>
                    <a:lnTo>
                      <a:pt x="58" y="494"/>
                    </a:lnTo>
                    <a:lnTo>
                      <a:pt x="58" y="496"/>
                    </a:lnTo>
                    <a:lnTo>
                      <a:pt x="60" y="496"/>
                    </a:lnTo>
                    <a:lnTo>
                      <a:pt x="62" y="496"/>
                    </a:lnTo>
                    <a:lnTo>
                      <a:pt x="62" y="498"/>
                    </a:lnTo>
                    <a:lnTo>
                      <a:pt x="62" y="500"/>
                    </a:lnTo>
                    <a:lnTo>
                      <a:pt x="64" y="500"/>
                    </a:lnTo>
                    <a:lnTo>
                      <a:pt x="66" y="500"/>
                    </a:lnTo>
                    <a:lnTo>
                      <a:pt x="66" y="502"/>
                    </a:lnTo>
                    <a:lnTo>
                      <a:pt x="64" y="502"/>
                    </a:lnTo>
                    <a:lnTo>
                      <a:pt x="66" y="502"/>
                    </a:lnTo>
                    <a:lnTo>
                      <a:pt x="68" y="502"/>
                    </a:lnTo>
                    <a:lnTo>
                      <a:pt x="69" y="504"/>
                    </a:lnTo>
                    <a:lnTo>
                      <a:pt x="66" y="504"/>
                    </a:lnTo>
                    <a:lnTo>
                      <a:pt x="64" y="504"/>
                    </a:lnTo>
                    <a:lnTo>
                      <a:pt x="64" y="502"/>
                    </a:lnTo>
                    <a:lnTo>
                      <a:pt x="66" y="502"/>
                    </a:lnTo>
                    <a:lnTo>
                      <a:pt x="64" y="502"/>
                    </a:lnTo>
                    <a:lnTo>
                      <a:pt x="64" y="504"/>
                    </a:lnTo>
                    <a:lnTo>
                      <a:pt x="64" y="502"/>
                    </a:lnTo>
                    <a:lnTo>
                      <a:pt x="62" y="502"/>
                    </a:lnTo>
                    <a:lnTo>
                      <a:pt x="60" y="502"/>
                    </a:lnTo>
                    <a:lnTo>
                      <a:pt x="60" y="504"/>
                    </a:lnTo>
                    <a:lnTo>
                      <a:pt x="60" y="502"/>
                    </a:lnTo>
                    <a:lnTo>
                      <a:pt x="62" y="502"/>
                    </a:lnTo>
                    <a:lnTo>
                      <a:pt x="62" y="504"/>
                    </a:lnTo>
                    <a:lnTo>
                      <a:pt x="62" y="502"/>
                    </a:lnTo>
                    <a:lnTo>
                      <a:pt x="62" y="504"/>
                    </a:lnTo>
                    <a:lnTo>
                      <a:pt x="64" y="504"/>
                    </a:lnTo>
                    <a:lnTo>
                      <a:pt x="64" y="502"/>
                    </a:lnTo>
                    <a:lnTo>
                      <a:pt x="64" y="504"/>
                    </a:lnTo>
                    <a:lnTo>
                      <a:pt x="64" y="502"/>
                    </a:lnTo>
                    <a:lnTo>
                      <a:pt x="64" y="504"/>
                    </a:lnTo>
                    <a:lnTo>
                      <a:pt x="64" y="502"/>
                    </a:lnTo>
                    <a:lnTo>
                      <a:pt x="64" y="504"/>
                    </a:lnTo>
                    <a:lnTo>
                      <a:pt x="64" y="506"/>
                    </a:lnTo>
                    <a:lnTo>
                      <a:pt x="62" y="504"/>
                    </a:lnTo>
                    <a:lnTo>
                      <a:pt x="60" y="504"/>
                    </a:lnTo>
                    <a:lnTo>
                      <a:pt x="58" y="504"/>
                    </a:lnTo>
                    <a:lnTo>
                      <a:pt x="58" y="502"/>
                    </a:lnTo>
                    <a:lnTo>
                      <a:pt x="58" y="504"/>
                    </a:lnTo>
                    <a:lnTo>
                      <a:pt x="58" y="502"/>
                    </a:lnTo>
                    <a:lnTo>
                      <a:pt x="58" y="504"/>
                    </a:lnTo>
                    <a:lnTo>
                      <a:pt x="60" y="504"/>
                    </a:lnTo>
                    <a:lnTo>
                      <a:pt x="60" y="506"/>
                    </a:lnTo>
                    <a:lnTo>
                      <a:pt x="58" y="506"/>
                    </a:lnTo>
                    <a:lnTo>
                      <a:pt x="58" y="504"/>
                    </a:lnTo>
                    <a:lnTo>
                      <a:pt x="56" y="504"/>
                    </a:lnTo>
                    <a:lnTo>
                      <a:pt x="56" y="506"/>
                    </a:lnTo>
                    <a:lnTo>
                      <a:pt x="54" y="504"/>
                    </a:lnTo>
                    <a:lnTo>
                      <a:pt x="54" y="506"/>
                    </a:lnTo>
                    <a:lnTo>
                      <a:pt x="56" y="506"/>
                    </a:lnTo>
                    <a:lnTo>
                      <a:pt x="54" y="506"/>
                    </a:lnTo>
                    <a:lnTo>
                      <a:pt x="56" y="508"/>
                    </a:lnTo>
                    <a:lnTo>
                      <a:pt x="54" y="508"/>
                    </a:lnTo>
                    <a:lnTo>
                      <a:pt x="54" y="510"/>
                    </a:lnTo>
                    <a:lnTo>
                      <a:pt x="54" y="508"/>
                    </a:lnTo>
                    <a:lnTo>
                      <a:pt x="56" y="508"/>
                    </a:lnTo>
                    <a:lnTo>
                      <a:pt x="54" y="506"/>
                    </a:lnTo>
                    <a:lnTo>
                      <a:pt x="56" y="506"/>
                    </a:lnTo>
                    <a:lnTo>
                      <a:pt x="54" y="506"/>
                    </a:lnTo>
                    <a:lnTo>
                      <a:pt x="54" y="504"/>
                    </a:lnTo>
                    <a:lnTo>
                      <a:pt x="56" y="506"/>
                    </a:lnTo>
                    <a:lnTo>
                      <a:pt x="56" y="504"/>
                    </a:lnTo>
                    <a:lnTo>
                      <a:pt x="58" y="506"/>
                    </a:lnTo>
                    <a:lnTo>
                      <a:pt x="56" y="506"/>
                    </a:lnTo>
                    <a:lnTo>
                      <a:pt x="58" y="506"/>
                    </a:lnTo>
                    <a:lnTo>
                      <a:pt x="60" y="506"/>
                    </a:lnTo>
                    <a:lnTo>
                      <a:pt x="60" y="504"/>
                    </a:lnTo>
                    <a:lnTo>
                      <a:pt x="62" y="506"/>
                    </a:lnTo>
                    <a:lnTo>
                      <a:pt x="64" y="506"/>
                    </a:lnTo>
                    <a:lnTo>
                      <a:pt x="64" y="504"/>
                    </a:lnTo>
                    <a:lnTo>
                      <a:pt x="66" y="504"/>
                    </a:lnTo>
                    <a:lnTo>
                      <a:pt x="68" y="504"/>
                    </a:lnTo>
                    <a:lnTo>
                      <a:pt x="69" y="504"/>
                    </a:lnTo>
                    <a:lnTo>
                      <a:pt x="71" y="504"/>
                    </a:lnTo>
                    <a:lnTo>
                      <a:pt x="73" y="502"/>
                    </a:lnTo>
                    <a:lnTo>
                      <a:pt x="71" y="504"/>
                    </a:lnTo>
                    <a:lnTo>
                      <a:pt x="73" y="504"/>
                    </a:lnTo>
                    <a:lnTo>
                      <a:pt x="73" y="502"/>
                    </a:lnTo>
                    <a:lnTo>
                      <a:pt x="75" y="502"/>
                    </a:lnTo>
                    <a:lnTo>
                      <a:pt x="75" y="500"/>
                    </a:lnTo>
                    <a:lnTo>
                      <a:pt x="77" y="500"/>
                    </a:lnTo>
                    <a:lnTo>
                      <a:pt x="79" y="500"/>
                    </a:lnTo>
                    <a:lnTo>
                      <a:pt x="81" y="500"/>
                    </a:lnTo>
                    <a:lnTo>
                      <a:pt x="81" y="502"/>
                    </a:lnTo>
                    <a:lnTo>
                      <a:pt x="83" y="502"/>
                    </a:lnTo>
                    <a:lnTo>
                      <a:pt x="83" y="504"/>
                    </a:lnTo>
                    <a:lnTo>
                      <a:pt x="83" y="506"/>
                    </a:lnTo>
                    <a:lnTo>
                      <a:pt x="85" y="508"/>
                    </a:lnTo>
                    <a:lnTo>
                      <a:pt x="83" y="508"/>
                    </a:lnTo>
                    <a:lnTo>
                      <a:pt x="81" y="508"/>
                    </a:lnTo>
                    <a:lnTo>
                      <a:pt x="81" y="510"/>
                    </a:lnTo>
                    <a:lnTo>
                      <a:pt x="79" y="510"/>
                    </a:lnTo>
                    <a:lnTo>
                      <a:pt x="79" y="512"/>
                    </a:lnTo>
                    <a:lnTo>
                      <a:pt x="79" y="513"/>
                    </a:lnTo>
                    <a:lnTo>
                      <a:pt x="77" y="513"/>
                    </a:lnTo>
                    <a:lnTo>
                      <a:pt x="75" y="513"/>
                    </a:lnTo>
                    <a:lnTo>
                      <a:pt x="73" y="513"/>
                    </a:lnTo>
                    <a:lnTo>
                      <a:pt x="71" y="513"/>
                    </a:lnTo>
                    <a:lnTo>
                      <a:pt x="71" y="515"/>
                    </a:lnTo>
                    <a:lnTo>
                      <a:pt x="69" y="515"/>
                    </a:lnTo>
                    <a:lnTo>
                      <a:pt x="69" y="517"/>
                    </a:lnTo>
                    <a:lnTo>
                      <a:pt x="68" y="517"/>
                    </a:lnTo>
                    <a:lnTo>
                      <a:pt x="69" y="517"/>
                    </a:lnTo>
                    <a:lnTo>
                      <a:pt x="69" y="515"/>
                    </a:lnTo>
                    <a:lnTo>
                      <a:pt x="71" y="515"/>
                    </a:lnTo>
                    <a:lnTo>
                      <a:pt x="71" y="513"/>
                    </a:lnTo>
                    <a:lnTo>
                      <a:pt x="73" y="513"/>
                    </a:lnTo>
                    <a:lnTo>
                      <a:pt x="75" y="513"/>
                    </a:lnTo>
                    <a:lnTo>
                      <a:pt x="77" y="513"/>
                    </a:lnTo>
                    <a:lnTo>
                      <a:pt x="77" y="515"/>
                    </a:lnTo>
                    <a:lnTo>
                      <a:pt x="77" y="513"/>
                    </a:lnTo>
                    <a:lnTo>
                      <a:pt x="79" y="513"/>
                    </a:lnTo>
                    <a:lnTo>
                      <a:pt x="81" y="513"/>
                    </a:lnTo>
                    <a:lnTo>
                      <a:pt x="81" y="515"/>
                    </a:lnTo>
                    <a:lnTo>
                      <a:pt x="81" y="517"/>
                    </a:lnTo>
                    <a:lnTo>
                      <a:pt x="81" y="519"/>
                    </a:lnTo>
                    <a:lnTo>
                      <a:pt x="83" y="519"/>
                    </a:lnTo>
                    <a:lnTo>
                      <a:pt x="85" y="519"/>
                    </a:lnTo>
                    <a:lnTo>
                      <a:pt x="85" y="521"/>
                    </a:lnTo>
                    <a:lnTo>
                      <a:pt x="87" y="521"/>
                    </a:lnTo>
                    <a:lnTo>
                      <a:pt x="87" y="523"/>
                    </a:lnTo>
                    <a:lnTo>
                      <a:pt x="89" y="523"/>
                    </a:lnTo>
                    <a:lnTo>
                      <a:pt x="91" y="523"/>
                    </a:lnTo>
                    <a:lnTo>
                      <a:pt x="91" y="525"/>
                    </a:lnTo>
                    <a:lnTo>
                      <a:pt x="92" y="525"/>
                    </a:lnTo>
                    <a:lnTo>
                      <a:pt x="94" y="525"/>
                    </a:lnTo>
                    <a:lnTo>
                      <a:pt x="94" y="527"/>
                    </a:lnTo>
                    <a:lnTo>
                      <a:pt x="96" y="527"/>
                    </a:lnTo>
                    <a:lnTo>
                      <a:pt x="98" y="527"/>
                    </a:lnTo>
                    <a:lnTo>
                      <a:pt x="100" y="529"/>
                    </a:lnTo>
                    <a:lnTo>
                      <a:pt x="100" y="527"/>
                    </a:lnTo>
                    <a:lnTo>
                      <a:pt x="102" y="527"/>
                    </a:lnTo>
                    <a:lnTo>
                      <a:pt x="100" y="529"/>
                    </a:lnTo>
                    <a:lnTo>
                      <a:pt x="102" y="529"/>
                    </a:lnTo>
                    <a:lnTo>
                      <a:pt x="104" y="531"/>
                    </a:lnTo>
                    <a:lnTo>
                      <a:pt x="106" y="531"/>
                    </a:lnTo>
                    <a:lnTo>
                      <a:pt x="106" y="533"/>
                    </a:lnTo>
                    <a:lnTo>
                      <a:pt x="108" y="533"/>
                    </a:lnTo>
                    <a:lnTo>
                      <a:pt x="108" y="535"/>
                    </a:lnTo>
                    <a:lnTo>
                      <a:pt x="108" y="537"/>
                    </a:lnTo>
                    <a:lnTo>
                      <a:pt x="108" y="538"/>
                    </a:lnTo>
                    <a:lnTo>
                      <a:pt x="110" y="540"/>
                    </a:lnTo>
                    <a:lnTo>
                      <a:pt x="112" y="540"/>
                    </a:lnTo>
                    <a:lnTo>
                      <a:pt x="112" y="542"/>
                    </a:lnTo>
                    <a:lnTo>
                      <a:pt x="114" y="542"/>
                    </a:lnTo>
                    <a:lnTo>
                      <a:pt x="116" y="544"/>
                    </a:lnTo>
                    <a:lnTo>
                      <a:pt x="117" y="548"/>
                    </a:lnTo>
                    <a:lnTo>
                      <a:pt x="117" y="550"/>
                    </a:lnTo>
                    <a:lnTo>
                      <a:pt x="119" y="550"/>
                    </a:lnTo>
                    <a:lnTo>
                      <a:pt x="121" y="550"/>
                    </a:lnTo>
                    <a:lnTo>
                      <a:pt x="121" y="552"/>
                    </a:lnTo>
                    <a:lnTo>
                      <a:pt x="119" y="552"/>
                    </a:lnTo>
                    <a:lnTo>
                      <a:pt x="119" y="554"/>
                    </a:lnTo>
                    <a:lnTo>
                      <a:pt x="117" y="554"/>
                    </a:lnTo>
                    <a:lnTo>
                      <a:pt x="119" y="554"/>
                    </a:lnTo>
                    <a:lnTo>
                      <a:pt x="119" y="552"/>
                    </a:lnTo>
                    <a:lnTo>
                      <a:pt x="121" y="552"/>
                    </a:lnTo>
                    <a:lnTo>
                      <a:pt x="123" y="552"/>
                    </a:lnTo>
                    <a:lnTo>
                      <a:pt x="121" y="550"/>
                    </a:lnTo>
                    <a:lnTo>
                      <a:pt x="123" y="550"/>
                    </a:lnTo>
                    <a:lnTo>
                      <a:pt x="123" y="548"/>
                    </a:lnTo>
                    <a:lnTo>
                      <a:pt x="125" y="548"/>
                    </a:lnTo>
                    <a:lnTo>
                      <a:pt x="125" y="550"/>
                    </a:lnTo>
                    <a:lnTo>
                      <a:pt x="125" y="552"/>
                    </a:lnTo>
                    <a:lnTo>
                      <a:pt x="125" y="554"/>
                    </a:lnTo>
                    <a:lnTo>
                      <a:pt x="125" y="556"/>
                    </a:lnTo>
                    <a:lnTo>
                      <a:pt x="127" y="556"/>
                    </a:lnTo>
                    <a:lnTo>
                      <a:pt x="127" y="558"/>
                    </a:lnTo>
                    <a:lnTo>
                      <a:pt x="129" y="558"/>
                    </a:lnTo>
                    <a:lnTo>
                      <a:pt x="127" y="558"/>
                    </a:lnTo>
                    <a:lnTo>
                      <a:pt x="125" y="558"/>
                    </a:lnTo>
                    <a:lnTo>
                      <a:pt x="125" y="560"/>
                    </a:lnTo>
                    <a:lnTo>
                      <a:pt x="127" y="560"/>
                    </a:lnTo>
                    <a:lnTo>
                      <a:pt x="127" y="562"/>
                    </a:lnTo>
                    <a:lnTo>
                      <a:pt x="125" y="563"/>
                    </a:lnTo>
                    <a:lnTo>
                      <a:pt x="123" y="563"/>
                    </a:lnTo>
                    <a:lnTo>
                      <a:pt x="121" y="563"/>
                    </a:lnTo>
                    <a:lnTo>
                      <a:pt x="121" y="565"/>
                    </a:lnTo>
                    <a:lnTo>
                      <a:pt x="119" y="565"/>
                    </a:lnTo>
                    <a:lnTo>
                      <a:pt x="119" y="567"/>
                    </a:lnTo>
                    <a:lnTo>
                      <a:pt x="119" y="569"/>
                    </a:lnTo>
                    <a:lnTo>
                      <a:pt x="117" y="569"/>
                    </a:lnTo>
                    <a:lnTo>
                      <a:pt x="117" y="571"/>
                    </a:lnTo>
                    <a:lnTo>
                      <a:pt x="116" y="571"/>
                    </a:lnTo>
                    <a:lnTo>
                      <a:pt x="114" y="571"/>
                    </a:lnTo>
                    <a:lnTo>
                      <a:pt x="112" y="571"/>
                    </a:lnTo>
                    <a:lnTo>
                      <a:pt x="112" y="573"/>
                    </a:lnTo>
                    <a:lnTo>
                      <a:pt x="112" y="575"/>
                    </a:lnTo>
                    <a:lnTo>
                      <a:pt x="110" y="575"/>
                    </a:lnTo>
                    <a:lnTo>
                      <a:pt x="110" y="577"/>
                    </a:lnTo>
                    <a:lnTo>
                      <a:pt x="110" y="579"/>
                    </a:lnTo>
                    <a:lnTo>
                      <a:pt x="110" y="581"/>
                    </a:lnTo>
                    <a:lnTo>
                      <a:pt x="110" y="583"/>
                    </a:lnTo>
                    <a:lnTo>
                      <a:pt x="112" y="583"/>
                    </a:lnTo>
                    <a:lnTo>
                      <a:pt x="112" y="585"/>
                    </a:lnTo>
                    <a:lnTo>
                      <a:pt x="110" y="585"/>
                    </a:lnTo>
                    <a:lnTo>
                      <a:pt x="110" y="587"/>
                    </a:lnTo>
                    <a:lnTo>
                      <a:pt x="112" y="587"/>
                    </a:lnTo>
                    <a:lnTo>
                      <a:pt x="112" y="588"/>
                    </a:lnTo>
                    <a:lnTo>
                      <a:pt x="112" y="587"/>
                    </a:lnTo>
                    <a:lnTo>
                      <a:pt x="112" y="588"/>
                    </a:lnTo>
                    <a:lnTo>
                      <a:pt x="114" y="588"/>
                    </a:lnTo>
                    <a:lnTo>
                      <a:pt x="114" y="590"/>
                    </a:lnTo>
                    <a:lnTo>
                      <a:pt x="112" y="590"/>
                    </a:lnTo>
                    <a:lnTo>
                      <a:pt x="110" y="592"/>
                    </a:lnTo>
                    <a:lnTo>
                      <a:pt x="112" y="592"/>
                    </a:lnTo>
                    <a:lnTo>
                      <a:pt x="112" y="594"/>
                    </a:lnTo>
                    <a:lnTo>
                      <a:pt x="110" y="594"/>
                    </a:lnTo>
                    <a:lnTo>
                      <a:pt x="110" y="596"/>
                    </a:lnTo>
                    <a:lnTo>
                      <a:pt x="110" y="598"/>
                    </a:lnTo>
                    <a:lnTo>
                      <a:pt x="110" y="600"/>
                    </a:lnTo>
                    <a:lnTo>
                      <a:pt x="110" y="602"/>
                    </a:lnTo>
                    <a:lnTo>
                      <a:pt x="108" y="602"/>
                    </a:lnTo>
                    <a:lnTo>
                      <a:pt x="106" y="602"/>
                    </a:lnTo>
                    <a:lnTo>
                      <a:pt x="106" y="604"/>
                    </a:lnTo>
                    <a:lnTo>
                      <a:pt x="106" y="606"/>
                    </a:lnTo>
                    <a:lnTo>
                      <a:pt x="108" y="608"/>
                    </a:lnTo>
                    <a:lnTo>
                      <a:pt x="108" y="606"/>
                    </a:lnTo>
                    <a:lnTo>
                      <a:pt x="110" y="606"/>
                    </a:lnTo>
                    <a:lnTo>
                      <a:pt x="110" y="608"/>
                    </a:lnTo>
                    <a:lnTo>
                      <a:pt x="108" y="610"/>
                    </a:lnTo>
                    <a:lnTo>
                      <a:pt x="106" y="610"/>
                    </a:lnTo>
                    <a:lnTo>
                      <a:pt x="104" y="610"/>
                    </a:lnTo>
                    <a:lnTo>
                      <a:pt x="102" y="610"/>
                    </a:lnTo>
                    <a:lnTo>
                      <a:pt x="100" y="610"/>
                    </a:lnTo>
                    <a:lnTo>
                      <a:pt x="100" y="608"/>
                    </a:lnTo>
                    <a:lnTo>
                      <a:pt x="100" y="606"/>
                    </a:lnTo>
                    <a:lnTo>
                      <a:pt x="100" y="608"/>
                    </a:lnTo>
                    <a:lnTo>
                      <a:pt x="98" y="606"/>
                    </a:lnTo>
                    <a:lnTo>
                      <a:pt x="96" y="606"/>
                    </a:lnTo>
                    <a:lnTo>
                      <a:pt x="96" y="604"/>
                    </a:lnTo>
                    <a:lnTo>
                      <a:pt x="94" y="604"/>
                    </a:lnTo>
                    <a:lnTo>
                      <a:pt x="92" y="606"/>
                    </a:lnTo>
                    <a:lnTo>
                      <a:pt x="92" y="604"/>
                    </a:lnTo>
                    <a:lnTo>
                      <a:pt x="91" y="604"/>
                    </a:lnTo>
                    <a:lnTo>
                      <a:pt x="91" y="606"/>
                    </a:lnTo>
                    <a:lnTo>
                      <a:pt x="91" y="604"/>
                    </a:lnTo>
                    <a:lnTo>
                      <a:pt x="89" y="604"/>
                    </a:lnTo>
                    <a:lnTo>
                      <a:pt x="87" y="604"/>
                    </a:lnTo>
                    <a:lnTo>
                      <a:pt x="87" y="606"/>
                    </a:lnTo>
                    <a:lnTo>
                      <a:pt x="89" y="606"/>
                    </a:lnTo>
                    <a:lnTo>
                      <a:pt x="89" y="608"/>
                    </a:lnTo>
                    <a:lnTo>
                      <a:pt x="91" y="610"/>
                    </a:lnTo>
                    <a:lnTo>
                      <a:pt x="89" y="610"/>
                    </a:lnTo>
                    <a:lnTo>
                      <a:pt x="89" y="612"/>
                    </a:lnTo>
                    <a:lnTo>
                      <a:pt x="91" y="612"/>
                    </a:lnTo>
                    <a:lnTo>
                      <a:pt x="91" y="613"/>
                    </a:lnTo>
                    <a:lnTo>
                      <a:pt x="89" y="613"/>
                    </a:lnTo>
                    <a:lnTo>
                      <a:pt x="89" y="615"/>
                    </a:lnTo>
                    <a:lnTo>
                      <a:pt x="89" y="617"/>
                    </a:lnTo>
                    <a:lnTo>
                      <a:pt x="89" y="619"/>
                    </a:lnTo>
                    <a:lnTo>
                      <a:pt x="89" y="621"/>
                    </a:lnTo>
                    <a:lnTo>
                      <a:pt x="91" y="623"/>
                    </a:lnTo>
                    <a:lnTo>
                      <a:pt x="89" y="623"/>
                    </a:lnTo>
                    <a:lnTo>
                      <a:pt x="89" y="625"/>
                    </a:lnTo>
                    <a:lnTo>
                      <a:pt x="91" y="625"/>
                    </a:lnTo>
                    <a:lnTo>
                      <a:pt x="91" y="627"/>
                    </a:lnTo>
                    <a:lnTo>
                      <a:pt x="92" y="627"/>
                    </a:lnTo>
                    <a:lnTo>
                      <a:pt x="92" y="629"/>
                    </a:lnTo>
                    <a:lnTo>
                      <a:pt x="92" y="631"/>
                    </a:lnTo>
                    <a:lnTo>
                      <a:pt x="94" y="631"/>
                    </a:lnTo>
                    <a:lnTo>
                      <a:pt x="94" y="629"/>
                    </a:lnTo>
                    <a:lnTo>
                      <a:pt x="94" y="631"/>
                    </a:lnTo>
                    <a:lnTo>
                      <a:pt x="92" y="629"/>
                    </a:lnTo>
                    <a:lnTo>
                      <a:pt x="92" y="627"/>
                    </a:lnTo>
                    <a:lnTo>
                      <a:pt x="91" y="625"/>
                    </a:lnTo>
                    <a:lnTo>
                      <a:pt x="89" y="625"/>
                    </a:lnTo>
                    <a:lnTo>
                      <a:pt x="89" y="623"/>
                    </a:lnTo>
                    <a:lnTo>
                      <a:pt x="89" y="625"/>
                    </a:lnTo>
                    <a:lnTo>
                      <a:pt x="89" y="623"/>
                    </a:lnTo>
                    <a:lnTo>
                      <a:pt x="91" y="623"/>
                    </a:lnTo>
                    <a:lnTo>
                      <a:pt x="89" y="621"/>
                    </a:lnTo>
                    <a:lnTo>
                      <a:pt x="91" y="621"/>
                    </a:lnTo>
                    <a:lnTo>
                      <a:pt x="89" y="621"/>
                    </a:lnTo>
                    <a:lnTo>
                      <a:pt x="89" y="619"/>
                    </a:lnTo>
                    <a:lnTo>
                      <a:pt x="91" y="619"/>
                    </a:lnTo>
                    <a:lnTo>
                      <a:pt x="91" y="617"/>
                    </a:lnTo>
                    <a:lnTo>
                      <a:pt x="89" y="617"/>
                    </a:lnTo>
                    <a:lnTo>
                      <a:pt x="89" y="615"/>
                    </a:lnTo>
                    <a:lnTo>
                      <a:pt x="89" y="613"/>
                    </a:lnTo>
                    <a:lnTo>
                      <a:pt x="91" y="613"/>
                    </a:lnTo>
                    <a:lnTo>
                      <a:pt x="91" y="612"/>
                    </a:lnTo>
                    <a:lnTo>
                      <a:pt x="89" y="610"/>
                    </a:lnTo>
                    <a:lnTo>
                      <a:pt x="91" y="610"/>
                    </a:lnTo>
                    <a:lnTo>
                      <a:pt x="91" y="608"/>
                    </a:lnTo>
                    <a:lnTo>
                      <a:pt x="89" y="608"/>
                    </a:lnTo>
                    <a:lnTo>
                      <a:pt x="89" y="606"/>
                    </a:lnTo>
                    <a:lnTo>
                      <a:pt x="87" y="606"/>
                    </a:lnTo>
                    <a:lnTo>
                      <a:pt x="89" y="604"/>
                    </a:lnTo>
                    <a:lnTo>
                      <a:pt x="91" y="604"/>
                    </a:lnTo>
                    <a:lnTo>
                      <a:pt x="91" y="606"/>
                    </a:lnTo>
                    <a:lnTo>
                      <a:pt x="91" y="604"/>
                    </a:lnTo>
                    <a:lnTo>
                      <a:pt x="92" y="604"/>
                    </a:lnTo>
                    <a:lnTo>
                      <a:pt x="92" y="606"/>
                    </a:lnTo>
                    <a:lnTo>
                      <a:pt x="91" y="606"/>
                    </a:lnTo>
                    <a:lnTo>
                      <a:pt x="92" y="606"/>
                    </a:lnTo>
                    <a:lnTo>
                      <a:pt x="94" y="604"/>
                    </a:lnTo>
                    <a:lnTo>
                      <a:pt x="96" y="604"/>
                    </a:lnTo>
                    <a:lnTo>
                      <a:pt x="94" y="604"/>
                    </a:lnTo>
                    <a:lnTo>
                      <a:pt x="96" y="604"/>
                    </a:lnTo>
                    <a:lnTo>
                      <a:pt x="96" y="606"/>
                    </a:lnTo>
                    <a:lnTo>
                      <a:pt x="98" y="606"/>
                    </a:lnTo>
                    <a:lnTo>
                      <a:pt x="100" y="608"/>
                    </a:lnTo>
                    <a:lnTo>
                      <a:pt x="100" y="610"/>
                    </a:lnTo>
                    <a:lnTo>
                      <a:pt x="102" y="610"/>
                    </a:lnTo>
                    <a:lnTo>
                      <a:pt x="104" y="610"/>
                    </a:lnTo>
                    <a:lnTo>
                      <a:pt x="106" y="610"/>
                    </a:lnTo>
                    <a:lnTo>
                      <a:pt x="108" y="610"/>
                    </a:lnTo>
                    <a:lnTo>
                      <a:pt x="110" y="608"/>
                    </a:lnTo>
                    <a:lnTo>
                      <a:pt x="110" y="606"/>
                    </a:lnTo>
                    <a:lnTo>
                      <a:pt x="108" y="606"/>
                    </a:lnTo>
                    <a:lnTo>
                      <a:pt x="108" y="608"/>
                    </a:lnTo>
                    <a:lnTo>
                      <a:pt x="106" y="606"/>
                    </a:lnTo>
                    <a:lnTo>
                      <a:pt x="106" y="604"/>
                    </a:lnTo>
                    <a:lnTo>
                      <a:pt x="106" y="602"/>
                    </a:lnTo>
                    <a:lnTo>
                      <a:pt x="106" y="604"/>
                    </a:lnTo>
                    <a:lnTo>
                      <a:pt x="106" y="602"/>
                    </a:lnTo>
                    <a:lnTo>
                      <a:pt x="108" y="602"/>
                    </a:lnTo>
                    <a:lnTo>
                      <a:pt x="110" y="602"/>
                    </a:lnTo>
                    <a:lnTo>
                      <a:pt x="110" y="600"/>
                    </a:lnTo>
                    <a:lnTo>
                      <a:pt x="110" y="598"/>
                    </a:lnTo>
                    <a:lnTo>
                      <a:pt x="110" y="596"/>
                    </a:lnTo>
                    <a:lnTo>
                      <a:pt x="110" y="594"/>
                    </a:lnTo>
                    <a:lnTo>
                      <a:pt x="112" y="594"/>
                    </a:lnTo>
                    <a:lnTo>
                      <a:pt x="112" y="592"/>
                    </a:lnTo>
                    <a:lnTo>
                      <a:pt x="110" y="592"/>
                    </a:lnTo>
                    <a:lnTo>
                      <a:pt x="112" y="592"/>
                    </a:lnTo>
                    <a:lnTo>
                      <a:pt x="112" y="590"/>
                    </a:lnTo>
                    <a:lnTo>
                      <a:pt x="114" y="590"/>
                    </a:lnTo>
                    <a:lnTo>
                      <a:pt x="114" y="588"/>
                    </a:lnTo>
                    <a:lnTo>
                      <a:pt x="112" y="588"/>
                    </a:lnTo>
                    <a:lnTo>
                      <a:pt x="112" y="587"/>
                    </a:lnTo>
                    <a:lnTo>
                      <a:pt x="110" y="587"/>
                    </a:lnTo>
                    <a:lnTo>
                      <a:pt x="110" y="585"/>
                    </a:lnTo>
                    <a:lnTo>
                      <a:pt x="112" y="585"/>
                    </a:lnTo>
                    <a:lnTo>
                      <a:pt x="112" y="583"/>
                    </a:lnTo>
                    <a:lnTo>
                      <a:pt x="110" y="583"/>
                    </a:lnTo>
                    <a:lnTo>
                      <a:pt x="110" y="581"/>
                    </a:lnTo>
                    <a:lnTo>
                      <a:pt x="110" y="579"/>
                    </a:lnTo>
                    <a:lnTo>
                      <a:pt x="110" y="577"/>
                    </a:lnTo>
                    <a:lnTo>
                      <a:pt x="110" y="575"/>
                    </a:lnTo>
                    <a:lnTo>
                      <a:pt x="112" y="575"/>
                    </a:lnTo>
                    <a:lnTo>
                      <a:pt x="112" y="573"/>
                    </a:lnTo>
                    <a:lnTo>
                      <a:pt x="112" y="571"/>
                    </a:lnTo>
                    <a:lnTo>
                      <a:pt x="114" y="571"/>
                    </a:lnTo>
                    <a:lnTo>
                      <a:pt x="116" y="571"/>
                    </a:lnTo>
                    <a:lnTo>
                      <a:pt x="117" y="571"/>
                    </a:lnTo>
                    <a:lnTo>
                      <a:pt x="117" y="569"/>
                    </a:lnTo>
                    <a:lnTo>
                      <a:pt x="119" y="569"/>
                    </a:lnTo>
                    <a:lnTo>
                      <a:pt x="119" y="567"/>
                    </a:lnTo>
                    <a:lnTo>
                      <a:pt x="119" y="565"/>
                    </a:lnTo>
                    <a:lnTo>
                      <a:pt x="121" y="565"/>
                    </a:lnTo>
                    <a:lnTo>
                      <a:pt x="123" y="563"/>
                    </a:lnTo>
                    <a:lnTo>
                      <a:pt x="125" y="563"/>
                    </a:lnTo>
                    <a:lnTo>
                      <a:pt x="127" y="563"/>
                    </a:lnTo>
                    <a:lnTo>
                      <a:pt x="127" y="562"/>
                    </a:lnTo>
                    <a:lnTo>
                      <a:pt x="127" y="560"/>
                    </a:lnTo>
                    <a:lnTo>
                      <a:pt x="125" y="560"/>
                    </a:lnTo>
                    <a:lnTo>
                      <a:pt x="125" y="558"/>
                    </a:lnTo>
                    <a:lnTo>
                      <a:pt x="127" y="558"/>
                    </a:lnTo>
                    <a:lnTo>
                      <a:pt x="129" y="558"/>
                    </a:lnTo>
                    <a:lnTo>
                      <a:pt x="127" y="556"/>
                    </a:lnTo>
                    <a:lnTo>
                      <a:pt x="125" y="556"/>
                    </a:lnTo>
                    <a:lnTo>
                      <a:pt x="125" y="554"/>
                    </a:lnTo>
                    <a:lnTo>
                      <a:pt x="125" y="552"/>
                    </a:lnTo>
                    <a:lnTo>
                      <a:pt x="125" y="550"/>
                    </a:lnTo>
                    <a:lnTo>
                      <a:pt x="125" y="548"/>
                    </a:lnTo>
                    <a:lnTo>
                      <a:pt x="127" y="548"/>
                    </a:lnTo>
                    <a:lnTo>
                      <a:pt x="129" y="548"/>
                    </a:lnTo>
                    <a:lnTo>
                      <a:pt x="131" y="546"/>
                    </a:lnTo>
                    <a:lnTo>
                      <a:pt x="131" y="548"/>
                    </a:lnTo>
                    <a:lnTo>
                      <a:pt x="129" y="548"/>
                    </a:lnTo>
                    <a:lnTo>
                      <a:pt x="131" y="548"/>
                    </a:lnTo>
                    <a:lnTo>
                      <a:pt x="133" y="550"/>
                    </a:lnTo>
                    <a:lnTo>
                      <a:pt x="135" y="550"/>
                    </a:lnTo>
                    <a:lnTo>
                      <a:pt x="135" y="552"/>
                    </a:lnTo>
                    <a:lnTo>
                      <a:pt x="133" y="552"/>
                    </a:lnTo>
                    <a:lnTo>
                      <a:pt x="133" y="554"/>
                    </a:lnTo>
                    <a:lnTo>
                      <a:pt x="135" y="554"/>
                    </a:lnTo>
                    <a:lnTo>
                      <a:pt x="135" y="556"/>
                    </a:lnTo>
                    <a:lnTo>
                      <a:pt x="135" y="558"/>
                    </a:lnTo>
                    <a:lnTo>
                      <a:pt x="135" y="556"/>
                    </a:lnTo>
                    <a:lnTo>
                      <a:pt x="137" y="556"/>
                    </a:lnTo>
                    <a:lnTo>
                      <a:pt x="137" y="558"/>
                    </a:lnTo>
                    <a:lnTo>
                      <a:pt x="137" y="560"/>
                    </a:lnTo>
                    <a:lnTo>
                      <a:pt x="137" y="562"/>
                    </a:lnTo>
                    <a:lnTo>
                      <a:pt x="135" y="562"/>
                    </a:lnTo>
                    <a:lnTo>
                      <a:pt x="135" y="563"/>
                    </a:lnTo>
                    <a:lnTo>
                      <a:pt x="135" y="562"/>
                    </a:lnTo>
                    <a:lnTo>
                      <a:pt x="133" y="562"/>
                    </a:lnTo>
                    <a:lnTo>
                      <a:pt x="133" y="563"/>
                    </a:lnTo>
                    <a:lnTo>
                      <a:pt x="131" y="563"/>
                    </a:lnTo>
                    <a:lnTo>
                      <a:pt x="131" y="562"/>
                    </a:lnTo>
                    <a:lnTo>
                      <a:pt x="131" y="563"/>
                    </a:lnTo>
                    <a:lnTo>
                      <a:pt x="129" y="563"/>
                    </a:lnTo>
                    <a:lnTo>
                      <a:pt x="131" y="563"/>
                    </a:lnTo>
                    <a:lnTo>
                      <a:pt x="133" y="565"/>
                    </a:lnTo>
                    <a:lnTo>
                      <a:pt x="131" y="565"/>
                    </a:lnTo>
                    <a:lnTo>
                      <a:pt x="131" y="567"/>
                    </a:lnTo>
                    <a:lnTo>
                      <a:pt x="129" y="567"/>
                    </a:lnTo>
                    <a:lnTo>
                      <a:pt x="131" y="567"/>
                    </a:lnTo>
                    <a:lnTo>
                      <a:pt x="131" y="565"/>
                    </a:lnTo>
                    <a:lnTo>
                      <a:pt x="133" y="565"/>
                    </a:lnTo>
                    <a:lnTo>
                      <a:pt x="131" y="563"/>
                    </a:lnTo>
                    <a:lnTo>
                      <a:pt x="133" y="563"/>
                    </a:lnTo>
                    <a:lnTo>
                      <a:pt x="135" y="562"/>
                    </a:lnTo>
                    <a:lnTo>
                      <a:pt x="135" y="563"/>
                    </a:lnTo>
                    <a:lnTo>
                      <a:pt x="137" y="562"/>
                    </a:lnTo>
                    <a:lnTo>
                      <a:pt x="137" y="560"/>
                    </a:lnTo>
                    <a:lnTo>
                      <a:pt x="137" y="558"/>
                    </a:lnTo>
                    <a:lnTo>
                      <a:pt x="137" y="556"/>
                    </a:lnTo>
                    <a:lnTo>
                      <a:pt x="135" y="556"/>
                    </a:lnTo>
                    <a:lnTo>
                      <a:pt x="135" y="558"/>
                    </a:lnTo>
                    <a:lnTo>
                      <a:pt x="135" y="556"/>
                    </a:lnTo>
                    <a:lnTo>
                      <a:pt x="135" y="554"/>
                    </a:lnTo>
                    <a:lnTo>
                      <a:pt x="133" y="554"/>
                    </a:lnTo>
                    <a:lnTo>
                      <a:pt x="133" y="552"/>
                    </a:lnTo>
                    <a:lnTo>
                      <a:pt x="135" y="552"/>
                    </a:lnTo>
                    <a:lnTo>
                      <a:pt x="135" y="550"/>
                    </a:lnTo>
                    <a:lnTo>
                      <a:pt x="133" y="550"/>
                    </a:lnTo>
                    <a:lnTo>
                      <a:pt x="133" y="548"/>
                    </a:lnTo>
                    <a:lnTo>
                      <a:pt x="131" y="548"/>
                    </a:lnTo>
                    <a:lnTo>
                      <a:pt x="129" y="548"/>
                    </a:lnTo>
                    <a:lnTo>
                      <a:pt x="131" y="548"/>
                    </a:lnTo>
                    <a:lnTo>
                      <a:pt x="131" y="546"/>
                    </a:lnTo>
                    <a:lnTo>
                      <a:pt x="133" y="546"/>
                    </a:lnTo>
                    <a:lnTo>
                      <a:pt x="135" y="544"/>
                    </a:lnTo>
                    <a:lnTo>
                      <a:pt x="137" y="542"/>
                    </a:lnTo>
                    <a:lnTo>
                      <a:pt x="135" y="542"/>
                    </a:lnTo>
                    <a:lnTo>
                      <a:pt x="135" y="544"/>
                    </a:lnTo>
                    <a:lnTo>
                      <a:pt x="133" y="544"/>
                    </a:lnTo>
                    <a:lnTo>
                      <a:pt x="133" y="546"/>
                    </a:lnTo>
                    <a:lnTo>
                      <a:pt x="131" y="544"/>
                    </a:lnTo>
                    <a:lnTo>
                      <a:pt x="133" y="544"/>
                    </a:lnTo>
                    <a:lnTo>
                      <a:pt x="133" y="542"/>
                    </a:lnTo>
                    <a:lnTo>
                      <a:pt x="135" y="542"/>
                    </a:lnTo>
                    <a:lnTo>
                      <a:pt x="137" y="542"/>
                    </a:lnTo>
                    <a:lnTo>
                      <a:pt x="137" y="540"/>
                    </a:lnTo>
                    <a:lnTo>
                      <a:pt x="139" y="540"/>
                    </a:lnTo>
                    <a:lnTo>
                      <a:pt x="141" y="540"/>
                    </a:lnTo>
                    <a:lnTo>
                      <a:pt x="142" y="538"/>
                    </a:lnTo>
                    <a:lnTo>
                      <a:pt x="144" y="538"/>
                    </a:lnTo>
                    <a:lnTo>
                      <a:pt x="146" y="538"/>
                    </a:lnTo>
                    <a:lnTo>
                      <a:pt x="150" y="538"/>
                    </a:lnTo>
                    <a:lnTo>
                      <a:pt x="150" y="540"/>
                    </a:lnTo>
                    <a:lnTo>
                      <a:pt x="152" y="540"/>
                    </a:lnTo>
                    <a:lnTo>
                      <a:pt x="152" y="542"/>
                    </a:lnTo>
                    <a:lnTo>
                      <a:pt x="152" y="544"/>
                    </a:lnTo>
                    <a:lnTo>
                      <a:pt x="154" y="546"/>
                    </a:lnTo>
                    <a:lnTo>
                      <a:pt x="156" y="546"/>
                    </a:lnTo>
                    <a:lnTo>
                      <a:pt x="156" y="548"/>
                    </a:lnTo>
                    <a:lnTo>
                      <a:pt x="158" y="548"/>
                    </a:lnTo>
                    <a:lnTo>
                      <a:pt x="158" y="550"/>
                    </a:lnTo>
                    <a:lnTo>
                      <a:pt x="162" y="554"/>
                    </a:lnTo>
                    <a:lnTo>
                      <a:pt x="164" y="554"/>
                    </a:lnTo>
                    <a:lnTo>
                      <a:pt x="165" y="558"/>
                    </a:lnTo>
                    <a:lnTo>
                      <a:pt x="167" y="558"/>
                    </a:lnTo>
                    <a:lnTo>
                      <a:pt x="167" y="560"/>
                    </a:lnTo>
                    <a:lnTo>
                      <a:pt x="165" y="560"/>
                    </a:lnTo>
                    <a:lnTo>
                      <a:pt x="165" y="562"/>
                    </a:lnTo>
                    <a:lnTo>
                      <a:pt x="165" y="563"/>
                    </a:lnTo>
                    <a:lnTo>
                      <a:pt x="164" y="563"/>
                    </a:lnTo>
                    <a:lnTo>
                      <a:pt x="164" y="565"/>
                    </a:lnTo>
                    <a:lnTo>
                      <a:pt x="162" y="565"/>
                    </a:lnTo>
                    <a:lnTo>
                      <a:pt x="160" y="565"/>
                    </a:lnTo>
                    <a:lnTo>
                      <a:pt x="160" y="567"/>
                    </a:lnTo>
                    <a:lnTo>
                      <a:pt x="158" y="567"/>
                    </a:lnTo>
                    <a:lnTo>
                      <a:pt x="158" y="569"/>
                    </a:lnTo>
                    <a:lnTo>
                      <a:pt x="158" y="571"/>
                    </a:lnTo>
                    <a:lnTo>
                      <a:pt x="158" y="573"/>
                    </a:lnTo>
                    <a:lnTo>
                      <a:pt x="160" y="575"/>
                    </a:lnTo>
                    <a:lnTo>
                      <a:pt x="162" y="575"/>
                    </a:lnTo>
                    <a:lnTo>
                      <a:pt x="164" y="577"/>
                    </a:lnTo>
                    <a:lnTo>
                      <a:pt x="165" y="577"/>
                    </a:lnTo>
                    <a:lnTo>
                      <a:pt x="165" y="579"/>
                    </a:lnTo>
                    <a:lnTo>
                      <a:pt x="165" y="581"/>
                    </a:lnTo>
                    <a:lnTo>
                      <a:pt x="165" y="583"/>
                    </a:lnTo>
                    <a:lnTo>
                      <a:pt x="164" y="583"/>
                    </a:lnTo>
                    <a:lnTo>
                      <a:pt x="164" y="585"/>
                    </a:lnTo>
                    <a:lnTo>
                      <a:pt x="162" y="585"/>
                    </a:lnTo>
                    <a:lnTo>
                      <a:pt x="162" y="587"/>
                    </a:lnTo>
                    <a:lnTo>
                      <a:pt x="160" y="588"/>
                    </a:lnTo>
                    <a:lnTo>
                      <a:pt x="158" y="590"/>
                    </a:lnTo>
                    <a:lnTo>
                      <a:pt x="158" y="594"/>
                    </a:lnTo>
                    <a:lnTo>
                      <a:pt x="160" y="596"/>
                    </a:lnTo>
                    <a:lnTo>
                      <a:pt x="160" y="598"/>
                    </a:lnTo>
                    <a:lnTo>
                      <a:pt x="160" y="600"/>
                    </a:lnTo>
                    <a:lnTo>
                      <a:pt x="162" y="600"/>
                    </a:lnTo>
                    <a:lnTo>
                      <a:pt x="162" y="602"/>
                    </a:lnTo>
                    <a:lnTo>
                      <a:pt x="164" y="602"/>
                    </a:lnTo>
                    <a:lnTo>
                      <a:pt x="165" y="604"/>
                    </a:lnTo>
                    <a:lnTo>
                      <a:pt x="167" y="606"/>
                    </a:lnTo>
                    <a:lnTo>
                      <a:pt x="167" y="608"/>
                    </a:lnTo>
                    <a:lnTo>
                      <a:pt x="167" y="610"/>
                    </a:lnTo>
                    <a:lnTo>
                      <a:pt x="169" y="610"/>
                    </a:lnTo>
                    <a:lnTo>
                      <a:pt x="167" y="612"/>
                    </a:lnTo>
                    <a:lnTo>
                      <a:pt x="167" y="613"/>
                    </a:lnTo>
                    <a:lnTo>
                      <a:pt x="167" y="615"/>
                    </a:lnTo>
                    <a:lnTo>
                      <a:pt x="167" y="617"/>
                    </a:lnTo>
                    <a:lnTo>
                      <a:pt x="165" y="619"/>
                    </a:lnTo>
                    <a:lnTo>
                      <a:pt x="165" y="621"/>
                    </a:lnTo>
                    <a:lnTo>
                      <a:pt x="167" y="623"/>
                    </a:lnTo>
                    <a:lnTo>
                      <a:pt x="167" y="625"/>
                    </a:lnTo>
                    <a:lnTo>
                      <a:pt x="169" y="625"/>
                    </a:lnTo>
                    <a:lnTo>
                      <a:pt x="171" y="627"/>
                    </a:lnTo>
                    <a:lnTo>
                      <a:pt x="171" y="629"/>
                    </a:lnTo>
                    <a:lnTo>
                      <a:pt x="173" y="629"/>
                    </a:lnTo>
                    <a:lnTo>
                      <a:pt x="173" y="631"/>
                    </a:lnTo>
                    <a:lnTo>
                      <a:pt x="173" y="633"/>
                    </a:lnTo>
                    <a:lnTo>
                      <a:pt x="169" y="637"/>
                    </a:lnTo>
                    <a:lnTo>
                      <a:pt x="169" y="638"/>
                    </a:lnTo>
                    <a:lnTo>
                      <a:pt x="171" y="638"/>
                    </a:lnTo>
                    <a:lnTo>
                      <a:pt x="173" y="640"/>
                    </a:lnTo>
                    <a:lnTo>
                      <a:pt x="173" y="638"/>
                    </a:lnTo>
                    <a:lnTo>
                      <a:pt x="175" y="640"/>
                    </a:lnTo>
                    <a:lnTo>
                      <a:pt x="177" y="640"/>
                    </a:lnTo>
                    <a:lnTo>
                      <a:pt x="179" y="640"/>
                    </a:lnTo>
                    <a:lnTo>
                      <a:pt x="179" y="642"/>
                    </a:lnTo>
                    <a:lnTo>
                      <a:pt x="179" y="640"/>
                    </a:lnTo>
                    <a:lnTo>
                      <a:pt x="181" y="640"/>
                    </a:lnTo>
                    <a:lnTo>
                      <a:pt x="181" y="642"/>
                    </a:lnTo>
                    <a:lnTo>
                      <a:pt x="183" y="642"/>
                    </a:lnTo>
                    <a:lnTo>
                      <a:pt x="185" y="642"/>
                    </a:lnTo>
                    <a:lnTo>
                      <a:pt x="187" y="642"/>
                    </a:lnTo>
                    <a:lnTo>
                      <a:pt x="189" y="644"/>
                    </a:lnTo>
                    <a:lnTo>
                      <a:pt x="190" y="644"/>
                    </a:lnTo>
                    <a:lnTo>
                      <a:pt x="192" y="644"/>
                    </a:lnTo>
                    <a:lnTo>
                      <a:pt x="194" y="644"/>
                    </a:lnTo>
                    <a:lnTo>
                      <a:pt x="196" y="644"/>
                    </a:lnTo>
                    <a:lnTo>
                      <a:pt x="198" y="644"/>
                    </a:lnTo>
                    <a:lnTo>
                      <a:pt x="198" y="642"/>
                    </a:lnTo>
                    <a:lnTo>
                      <a:pt x="200" y="642"/>
                    </a:lnTo>
                    <a:lnTo>
                      <a:pt x="202" y="642"/>
                    </a:lnTo>
                    <a:lnTo>
                      <a:pt x="200" y="642"/>
                    </a:lnTo>
                    <a:lnTo>
                      <a:pt x="198" y="642"/>
                    </a:lnTo>
                    <a:lnTo>
                      <a:pt x="198" y="644"/>
                    </a:lnTo>
                    <a:lnTo>
                      <a:pt x="196" y="644"/>
                    </a:lnTo>
                    <a:lnTo>
                      <a:pt x="194" y="644"/>
                    </a:lnTo>
                    <a:lnTo>
                      <a:pt x="192" y="644"/>
                    </a:lnTo>
                    <a:lnTo>
                      <a:pt x="190" y="644"/>
                    </a:lnTo>
                    <a:lnTo>
                      <a:pt x="189" y="644"/>
                    </a:lnTo>
                    <a:lnTo>
                      <a:pt x="189" y="642"/>
                    </a:lnTo>
                    <a:lnTo>
                      <a:pt x="187" y="642"/>
                    </a:lnTo>
                    <a:lnTo>
                      <a:pt x="185" y="642"/>
                    </a:lnTo>
                    <a:lnTo>
                      <a:pt x="185" y="640"/>
                    </a:lnTo>
                    <a:lnTo>
                      <a:pt x="183" y="640"/>
                    </a:lnTo>
                    <a:lnTo>
                      <a:pt x="183" y="642"/>
                    </a:lnTo>
                    <a:lnTo>
                      <a:pt x="181" y="642"/>
                    </a:lnTo>
                    <a:lnTo>
                      <a:pt x="181" y="640"/>
                    </a:lnTo>
                    <a:lnTo>
                      <a:pt x="179" y="640"/>
                    </a:lnTo>
                    <a:lnTo>
                      <a:pt x="177" y="640"/>
                    </a:lnTo>
                    <a:lnTo>
                      <a:pt x="175" y="640"/>
                    </a:lnTo>
                    <a:lnTo>
                      <a:pt x="175" y="638"/>
                    </a:lnTo>
                    <a:lnTo>
                      <a:pt x="173" y="638"/>
                    </a:lnTo>
                    <a:lnTo>
                      <a:pt x="173" y="640"/>
                    </a:lnTo>
                    <a:lnTo>
                      <a:pt x="173" y="638"/>
                    </a:lnTo>
                    <a:lnTo>
                      <a:pt x="171" y="638"/>
                    </a:lnTo>
                    <a:lnTo>
                      <a:pt x="173" y="637"/>
                    </a:lnTo>
                    <a:lnTo>
                      <a:pt x="173" y="635"/>
                    </a:lnTo>
                    <a:lnTo>
                      <a:pt x="175" y="635"/>
                    </a:lnTo>
                    <a:lnTo>
                      <a:pt x="175" y="633"/>
                    </a:lnTo>
                    <a:lnTo>
                      <a:pt x="175" y="631"/>
                    </a:lnTo>
                    <a:lnTo>
                      <a:pt x="175" y="629"/>
                    </a:lnTo>
                    <a:lnTo>
                      <a:pt x="173" y="629"/>
                    </a:lnTo>
                    <a:lnTo>
                      <a:pt x="173" y="627"/>
                    </a:lnTo>
                    <a:lnTo>
                      <a:pt x="171" y="627"/>
                    </a:lnTo>
                    <a:lnTo>
                      <a:pt x="171" y="625"/>
                    </a:lnTo>
                    <a:lnTo>
                      <a:pt x="169" y="625"/>
                    </a:lnTo>
                    <a:lnTo>
                      <a:pt x="169" y="621"/>
                    </a:lnTo>
                    <a:lnTo>
                      <a:pt x="169" y="619"/>
                    </a:lnTo>
                    <a:lnTo>
                      <a:pt x="169" y="617"/>
                    </a:lnTo>
                    <a:lnTo>
                      <a:pt x="171" y="615"/>
                    </a:lnTo>
                    <a:lnTo>
                      <a:pt x="169" y="613"/>
                    </a:lnTo>
                    <a:lnTo>
                      <a:pt x="171" y="612"/>
                    </a:lnTo>
                    <a:lnTo>
                      <a:pt x="171" y="610"/>
                    </a:lnTo>
                    <a:lnTo>
                      <a:pt x="169" y="608"/>
                    </a:lnTo>
                    <a:lnTo>
                      <a:pt x="169" y="606"/>
                    </a:lnTo>
                    <a:lnTo>
                      <a:pt x="167" y="604"/>
                    </a:lnTo>
                    <a:lnTo>
                      <a:pt x="165" y="602"/>
                    </a:lnTo>
                    <a:lnTo>
                      <a:pt x="164" y="602"/>
                    </a:lnTo>
                    <a:lnTo>
                      <a:pt x="164" y="600"/>
                    </a:lnTo>
                    <a:lnTo>
                      <a:pt x="164" y="598"/>
                    </a:lnTo>
                    <a:lnTo>
                      <a:pt x="162" y="598"/>
                    </a:lnTo>
                    <a:lnTo>
                      <a:pt x="162" y="596"/>
                    </a:lnTo>
                    <a:lnTo>
                      <a:pt x="160" y="594"/>
                    </a:lnTo>
                    <a:lnTo>
                      <a:pt x="162" y="594"/>
                    </a:lnTo>
                    <a:lnTo>
                      <a:pt x="162" y="590"/>
                    </a:lnTo>
                    <a:lnTo>
                      <a:pt x="162" y="588"/>
                    </a:lnTo>
                    <a:lnTo>
                      <a:pt x="164" y="588"/>
                    </a:lnTo>
                    <a:lnTo>
                      <a:pt x="164" y="587"/>
                    </a:lnTo>
                    <a:lnTo>
                      <a:pt x="165" y="587"/>
                    </a:lnTo>
                    <a:lnTo>
                      <a:pt x="165" y="585"/>
                    </a:lnTo>
                    <a:lnTo>
                      <a:pt x="165" y="583"/>
                    </a:lnTo>
                    <a:lnTo>
                      <a:pt x="167" y="583"/>
                    </a:lnTo>
                    <a:lnTo>
                      <a:pt x="167" y="581"/>
                    </a:lnTo>
                    <a:lnTo>
                      <a:pt x="167" y="579"/>
                    </a:lnTo>
                    <a:lnTo>
                      <a:pt x="165" y="577"/>
                    </a:lnTo>
                    <a:lnTo>
                      <a:pt x="164" y="575"/>
                    </a:lnTo>
                    <a:lnTo>
                      <a:pt x="162" y="575"/>
                    </a:lnTo>
                    <a:lnTo>
                      <a:pt x="162" y="573"/>
                    </a:lnTo>
                    <a:lnTo>
                      <a:pt x="162" y="571"/>
                    </a:lnTo>
                    <a:lnTo>
                      <a:pt x="164" y="571"/>
                    </a:lnTo>
                    <a:lnTo>
                      <a:pt x="164" y="569"/>
                    </a:lnTo>
                    <a:lnTo>
                      <a:pt x="165" y="567"/>
                    </a:lnTo>
                    <a:lnTo>
                      <a:pt x="165" y="565"/>
                    </a:lnTo>
                    <a:lnTo>
                      <a:pt x="167" y="565"/>
                    </a:lnTo>
                    <a:lnTo>
                      <a:pt x="167" y="563"/>
                    </a:lnTo>
                    <a:lnTo>
                      <a:pt x="169" y="563"/>
                    </a:lnTo>
                    <a:lnTo>
                      <a:pt x="169" y="562"/>
                    </a:lnTo>
                    <a:lnTo>
                      <a:pt x="169" y="563"/>
                    </a:lnTo>
                    <a:lnTo>
                      <a:pt x="171" y="563"/>
                    </a:lnTo>
                    <a:lnTo>
                      <a:pt x="171" y="562"/>
                    </a:lnTo>
                    <a:lnTo>
                      <a:pt x="171" y="563"/>
                    </a:lnTo>
                    <a:lnTo>
                      <a:pt x="173" y="563"/>
                    </a:lnTo>
                    <a:lnTo>
                      <a:pt x="175" y="563"/>
                    </a:lnTo>
                    <a:lnTo>
                      <a:pt x="175" y="565"/>
                    </a:lnTo>
                    <a:lnTo>
                      <a:pt x="177" y="565"/>
                    </a:lnTo>
                    <a:lnTo>
                      <a:pt x="177" y="567"/>
                    </a:lnTo>
                    <a:lnTo>
                      <a:pt x="177" y="569"/>
                    </a:lnTo>
                    <a:lnTo>
                      <a:pt x="177" y="571"/>
                    </a:lnTo>
                    <a:lnTo>
                      <a:pt x="179" y="571"/>
                    </a:lnTo>
                    <a:lnTo>
                      <a:pt x="181" y="571"/>
                    </a:lnTo>
                    <a:lnTo>
                      <a:pt x="181" y="573"/>
                    </a:lnTo>
                    <a:lnTo>
                      <a:pt x="183" y="573"/>
                    </a:lnTo>
                    <a:lnTo>
                      <a:pt x="185" y="573"/>
                    </a:lnTo>
                    <a:lnTo>
                      <a:pt x="183" y="573"/>
                    </a:lnTo>
                    <a:lnTo>
                      <a:pt x="181" y="573"/>
                    </a:lnTo>
                    <a:lnTo>
                      <a:pt x="181" y="571"/>
                    </a:lnTo>
                    <a:lnTo>
                      <a:pt x="179" y="571"/>
                    </a:lnTo>
                    <a:lnTo>
                      <a:pt x="177" y="571"/>
                    </a:lnTo>
                    <a:lnTo>
                      <a:pt x="177" y="569"/>
                    </a:lnTo>
                    <a:lnTo>
                      <a:pt x="177" y="567"/>
                    </a:lnTo>
                    <a:lnTo>
                      <a:pt x="177" y="565"/>
                    </a:lnTo>
                    <a:lnTo>
                      <a:pt x="175" y="565"/>
                    </a:lnTo>
                    <a:lnTo>
                      <a:pt x="175" y="563"/>
                    </a:lnTo>
                    <a:lnTo>
                      <a:pt x="173" y="563"/>
                    </a:lnTo>
                    <a:lnTo>
                      <a:pt x="171" y="563"/>
                    </a:lnTo>
                    <a:lnTo>
                      <a:pt x="171" y="562"/>
                    </a:lnTo>
                    <a:lnTo>
                      <a:pt x="171" y="563"/>
                    </a:lnTo>
                    <a:lnTo>
                      <a:pt x="169" y="563"/>
                    </a:lnTo>
                    <a:lnTo>
                      <a:pt x="169" y="562"/>
                    </a:lnTo>
                    <a:lnTo>
                      <a:pt x="169" y="560"/>
                    </a:lnTo>
                    <a:lnTo>
                      <a:pt x="167" y="558"/>
                    </a:lnTo>
                    <a:lnTo>
                      <a:pt x="167" y="556"/>
                    </a:lnTo>
                    <a:lnTo>
                      <a:pt x="165" y="556"/>
                    </a:lnTo>
                    <a:lnTo>
                      <a:pt x="165" y="554"/>
                    </a:lnTo>
                    <a:lnTo>
                      <a:pt x="164" y="554"/>
                    </a:lnTo>
                    <a:lnTo>
                      <a:pt x="164" y="552"/>
                    </a:lnTo>
                    <a:lnTo>
                      <a:pt x="162" y="550"/>
                    </a:lnTo>
                    <a:lnTo>
                      <a:pt x="162" y="548"/>
                    </a:lnTo>
                    <a:lnTo>
                      <a:pt x="162" y="546"/>
                    </a:lnTo>
                    <a:lnTo>
                      <a:pt x="160" y="546"/>
                    </a:lnTo>
                    <a:lnTo>
                      <a:pt x="160" y="544"/>
                    </a:lnTo>
                    <a:lnTo>
                      <a:pt x="160" y="542"/>
                    </a:lnTo>
                    <a:lnTo>
                      <a:pt x="158" y="540"/>
                    </a:lnTo>
                    <a:lnTo>
                      <a:pt x="156" y="540"/>
                    </a:lnTo>
                    <a:lnTo>
                      <a:pt x="156" y="538"/>
                    </a:lnTo>
                    <a:lnTo>
                      <a:pt x="154" y="538"/>
                    </a:lnTo>
                    <a:lnTo>
                      <a:pt x="154" y="537"/>
                    </a:lnTo>
                    <a:lnTo>
                      <a:pt x="152" y="537"/>
                    </a:lnTo>
                    <a:lnTo>
                      <a:pt x="150" y="537"/>
                    </a:lnTo>
                    <a:lnTo>
                      <a:pt x="148" y="537"/>
                    </a:lnTo>
                    <a:lnTo>
                      <a:pt x="148" y="535"/>
                    </a:lnTo>
                    <a:lnTo>
                      <a:pt x="148" y="537"/>
                    </a:lnTo>
                    <a:lnTo>
                      <a:pt x="148" y="535"/>
                    </a:lnTo>
                    <a:lnTo>
                      <a:pt x="148" y="537"/>
                    </a:lnTo>
                    <a:lnTo>
                      <a:pt x="146" y="537"/>
                    </a:lnTo>
                    <a:lnTo>
                      <a:pt x="144" y="537"/>
                    </a:lnTo>
                    <a:lnTo>
                      <a:pt x="142" y="537"/>
                    </a:lnTo>
                    <a:lnTo>
                      <a:pt x="141" y="537"/>
                    </a:lnTo>
                    <a:lnTo>
                      <a:pt x="139" y="537"/>
                    </a:lnTo>
                    <a:lnTo>
                      <a:pt x="137" y="537"/>
                    </a:lnTo>
                    <a:lnTo>
                      <a:pt x="137" y="538"/>
                    </a:lnTo>
                    <a:lnTo>
                      <a:pt x="135" y="538"/>
                    </a:lnTo>
                    <a:lnTo>
                      <a:pt x="135" y="540"/>
                    </a:lnTo>
                    <a:lnTo>
                      <a:pt x="133" y="540"/>
                    </a:lnTo>
                    <a:lnTo>
                      <a:pt x="133" y="542"/>
                    </a:lnTo>
                    <a:lnTo>
                      <a:pt x="131" y="544"/>
                    </a:lnTo>
                    <a:lnTo>
                      <a:pt x="129" y="544"/>
                    </a:lnTo>
                    <a:lnTo>
                      <a:pt x="129" y="542"/>
                    </a:lnTo>
                    <a:lnTo>
                      <a:pt x="129" y="540"/>
                    </a:lnTo>
                    <a:lnTo>
                      <a:pt x="127" y="540"/>
                    </a:lnTo>
                    <a:lnTo>
                      <a:pt x="125" y="538"/>
                    </a:lnTo>
                    <a:lnTo>
                      <a:pt x="123" y="538"/>
                    </a:lnTo>
                    <a:lnTo>
                      <a:pt x="121" y="538"/>
                    </a:lnTo>
                    <a:lnTo>
                      <a:pt x="121" y="537"/>
                    </a:lnTo>
                    <a:lnTo>
                      <a:pt x="119" y="537"/>
                    </a:lnTo>
                    <a:lnTo>
                      <a:pt x="121" y="537"/>
                    </a:lnTo>
                    <a:lnTo>
                      <a:pt x="121" y="535"/>
                    </a:lnTo>
                    <a:lnTo>
                      <a:pt x="119" y="535"/>
                    </a:lnTo>
                    <a:lnTo>
                      <a:pt x="119" y="533"/>
                    </a:lnTo>
                    <a:lnTo>
                      <a:pt x="117" y="533"/>
                    </a:lnTo>
                    <a:lnTo>
                      <a:pt x="117" y="531"/>
                    </a:lnTo>
                    <a:lnTo>
                      <a:pt x="116" y="531"/>
                    </a:lnTo>
                    <a:lnTo>
                      <a:pt x="116" y="529"/>
                    </a:lnTo>
                    <a:lnTo>
                      <a:pt x="114" y="529"/>
                    </a:lnTo>
                    <a:lnTo>
                      <a:pt x="114" y="527"/>
                    </a:lnTo>
                    <a:lnTo>
                      <a:pt x="114" y="525"/>
                    </a:lnTo>
                    <a:lnTo>
                      <a:pt x="114" y="527"/>
                    </a:lnTo>
                    <a:lnTo>
                      <a:pt x="114" y="525"/>
                    </a:lnTo>
                    <a:lnTo>
                      <a:pt x="112" y="525"/>
                    </a:lnTo>
                    <a:lnTo>
                      <a:pt x="112" y="523"/>
                    </a:lnTo>
                    <a:lnTo>
                      <a:pt x="110" y="523"/>
                    </a:lnTo>
                    <a:lnTo>
                      <a:pt x="112" y="523"/>
                    </a:lnTo>
                    <a:lnTo>
                      <a:pt x="112" y="521"/>
                    </a:lnTo>
                    <a:lnTo>
                      <a:pt x="110" y="521"/>
                    </a:lnTo>
                    <a:lnTo>
                      <a:pt x="110" y="519"/>
                    </a:lnTo>
                    <a:lnTo>
                      <a:pt x="110" y="517"/>
                    </a:lnTo>
                    <a:lnTo>
                      <a:pt x="108" y="517"/>
                    </a:lnTo>
                    <a:lnTo>
                      <a:pt x="106" y="515"/>
                    </a:lnTo>
                    <a:lnTo>
                      <a:pt x="104" y="515"/>
                    </a:lnTo>
                    <a:lnTo>
                      <a:pt x="102" y="515"/>
                    </a:lnTo>
                    <a:lnTo>
                      <a:pt x="102" y="513"/>
                    </a:lnTo>
                    <a:lnTo>
                      <a:pt x="102" y="512"/>
                    </a:lnTo>
                    <a:lnTo>
                      <a:pt x="104" y="512"/>
                    </a:lnTo>
                    <a:lnTo>
                      <a:pt x="102" y="512"/>
                    </a:lnTo>
                    <a:lnTo>
                      <a:pt x="104" y="512"/>
                    </a:lnTo>
                    <a:lnTo>
                      <a:pt x="102" y="510"/>
                    </a:lnTo>
                    <a:lnTo>
                      <a:pt x="102" y="508"/>
                    </a:lnTo>
                    <a:lnTo>
                      <a:pt x="100" y="508"/>
                    </a:lnTo>
                    <a:lnTo>
                      <a:pt x="100" y="506"/>
                    </a:lnTo>
                    <a:lnTo>
                      <a:pt x="100" y="504"/>
                    </a:lnTo>
                    <a:lnTo>
                      <a:pt x="100" y="502"/>
                    </a:lnTo>
                    <a:lnTo>
                      <a:pt x="100" y="500"/>
                    </a:lnTo>
                    <a:lnTo>
                      <a:pt x="102" y="500"/>
                    </a:lnTo>
                    <a:lnTo>
                      <a:pt x="102" y="502"/>
                    </a:lnTo>
                    <a:lnTo>
                      <a:pt x="106" y="502"/>
                    </a:lnTo>
                    <a:lnTo>
                      <a:pt x="108" y="502"/>
                    </a:lnTo>
                    <a:lnTo>
                      <a:pt x="110" y="502"/>
                    </a:lnTo>
                    <a:lnTo>
                      <a:pt x="112" y="502"/>
                    </a:lnTo>
                    <a:lnTo>
                      <a:pt x="114" y="502"/>
                    </a:lnTo>
                    <a:lnTo>
                      <a:pt x="114" y="500"/>
                    </a:lnTo>
                    <a:lnTo>
                      <a:pt x="114" y="502"/>
                    </a:lnTo>
                    <a:lnTo>
                      <a:pt x="116" y="502"/>
                    </a:lnTo>
                    <a:lnTo>
                      <a:pt x="117" y="502"/>
                    </a:lnTo>
                    <a:lnTo>
                      <a:pt x="117" y="504"/>
                    </a:lnTo>
                    <a:lnTo>
                      <a:pt x="116" y="504"/>
                    </a:lnTo>
                    <a:lnTo>
                      <a:pt x="116" y="506"/>
                    </a:lnTo>
                    <a:lnTo>
                      <a:pt x="117" y="504"/>
                    </a:lnTo>
                    <a:lnTo>
                      <a:pt x="117" y="506"/>
                    </a:lnTo>
                    <a:lnTo>
                      <a:pt x="117" y="504"/>
                    </a:lnTo>
                    <a:lnTo>
                      <a:pt x="117" y="506"/>
                    </a:lnTo>
                    <a:lnTo>
                      <a:pt x="116" y="506"/>
                    </a:lnTo>
                    <a:lnTo>
                      <a:pt x="116" y="508"/>
                    </a:lnTo>
                    <a:lnTo>
                      <a:pt x="116" y="506"/>
                    </a:lnTo>
                    <a:lnTo>
                      <a:pt x="117" y="506"/>
                    </a:lnTo>
                    <a:lnTo>
                      <a:pt x="117" y="504"/>
                    </a:lnTo>
                    <a:lnTo>
                      <a:pt x="116" y="506"/>
                    </a:lnTo>
                    <a:lnTo>
                      <a:pt x="116" y="504"/>
                    </a:lnTo>
                    <a:lnTo>
                      <a:pt x="117" y="504"/>
                    </a:lnTo>
                    <a:lnTo>
                      <a:pt x="119" y="504"/>
                    </a:lnTo>
                    <a:lnTo>
                      <a:pt x="117" y="502"/>
                    </a:lnTo>
                    <a:lnTo>
                      <a:pt x="116" y="502"/>
                    </a:lnTo>
                    <a:lnTo>
                      <a:pt x="114" y="502"/>
                    </a:lnTo>
                    <a:lnTo>
                      <a:pt x="114" y="500"/>
                    </a:lnTo>
                    <a:lnTo>
                      <a:pt x="116" y="500"/>
                    </a:lnTo>
                    <a:lnTo>
                      <a:pt x="116" y="498"/>
                    </a:lnTo>
                    <a:lnTo>
                      <a:pt x="117" y="498"/>
                    </a:lnTo>
                    <a:lnTo>
                      <a:pt x="117" y="496"/>
                    </a:lnTo>
                    <a:lnTo>
                      <a:pt x="119" y="496"/>
                    </a:lnTo>
                    <a:lnTo>
                      <a:pt x="119" y="494"/>
                    </a:lnTo>
                    <a:lnTo>
                      <a:pt x="119" y="492"/>
                    </a:lnTo>
                    <a:lnTo>
                      <a:pt x="119" y="490"/>
                    </a:lnTo>
                    <a:lnTo>
                      <a:pt x="119" y="492"/>
                    </a:lnTo>
                    <a:lnTo>
                      <a:pt x="119" y="490"/>
                    </a:lnTo>
                    <a:lnTo>
                      <a:pt x="119" y="488"/>
                    </a:lnTo>
                    <a:lnTo>
                      <a:pt x="119" y="487"/>
                    </a:lnTo>
                    <a:lnTo>
                      <a:pt x="117" y="487"/>
                    </a:lnTo>
                    <a:lnTo>
                      <a:pt x="119" y="485"/>
                    </a:lnTo>
                    <a:lnTo>
                      <a:pt x="117" y="485"/>
                    </a:lnTo>
                    <a:lnTo>
                      <a:pt x="117" y="483"/>
                    </a:lnTo>
                    <a:lnTo>
                      <a:pt x="117" y="481"/>
                    </a:lnTo>
                    <a:lnTo>
                      <a:pt x="117" y="479"/>
                    </a:lnTo>
                    <a:lnTo>
                      <a:pt x="117" y="477"/>
                    </a:lnTo>
                    <a:lnTo>
                      <a:pt x="116" y="477"/>
                    </a:lnTo>
                    <a:lnTo>
                      <a:pt x="117" y="477"/>
                    </a:lnTo>
                    <a:lnTo>
                      <a:pt x="117" y="475"/>
                    </a:lnTo>
                    <a:lnTo>
                      <a:pt x="116" y="475"/>
                    </a:lnTo>
                    <a:lnTo>
                      <a:pt x="116" y="473"/>
                    </a:lnTo>
                    <a:lnTo>
                      <a:pt x="116" y="471"/>
                    </a:lnTo>
                    <a:lnTo>
                      <a:pt x="116" y="469"/>
                    </a:lnTo>
                    <a:lnTo>
                      <a:pt x="116" y="467"/>
                    </a:lnTo>
                    <a:lnTo>
                      <a:pt x="116" y="465"/>
                    </a:lnTo>
                    <a:lnTo>
                      <a:pt x="116" y="464"/>
                    </a:lnTo>
                    <a:lnTo>
                      <a:pt x="114" y="462"/>
                    </a:lnTo>
                    <a:lnTo>
                      <a:pt x="112" y="460"/>
                    </a:lnTo>
                    <a:lnTo>
                      <a:pt x="110" y="460"/>
                    </a:lnTo>
                    <a:lnTo>
                      <a:pt x="112" y="458"/>
                    </a:lnTo>
                    <a:lnTo>
                      <a:pt x="112" y="460"/>
                    </a:lnTo>
                    <a:lnTo>
                      <a:pt x="112" y="458"/>
                    </a:lnTo>
                    <a:lnTo>
                      <a:pt x="110" y="460"/>
                    </a:lnTo>
                    <a:lnTo>
                      <a:pt x="110" y="458"/>
                    </a:lnTo>
                    <a:lnTo>
                      <a:pt x="110" y="456"/>
                    </a:lnTo>
                    <a:lnTo>
                      <a:pt x="110" y="458"/>
                    </a:lnTo>
                    <a:lnTo>
                      <a:pt x="110" y="456"/>
                    </a:lnTo>
                    <a:lnTo>
                      <a:pt x="110" y="458"/>
                    </a:lnTo>
                    <a:lnTo>
                      <a:pt x="112" y="458"/>
                    </a:lnTo>
                    <a:lnTo>
                      <a:pt x="110" y="458"/>
                    </a:lnTo>
                    <a:lnTo>
                      <a:pt x="112" y="458"/>
                    </a:lnTo>
                    <a:lnTo>
                      <a:pt x="112" y="456"/>
                    </a:lnTo>
                    <a:lnTo>
                      <a:pt x="112" y="454"/>
                    </a:lnTo>
                    <a:lnTo>
                      <a:pt x="112" y="452"/>
                    </a:lnTo>
                    <a:lnTo>
                      <a:pt x="110" y="450"/>
                    </a:lnTo>
                    <a:lnTo>
                      <a:pt x="110" y="448"/>
                    </a:lnTo>
                    <a:lnTo>
                      <a:pt x="112" y="448"/>
                    </a:lnTo>
                    <a:lnTo>
                      <a:pt x="114" y="446"/>
                    </a:lnTo>
                    <a:lnTo>
                      <a:pt x="116" y="444"/>
                    </a:lnTo>
                    <a:lnTo>
                      <a:pt x="116" y="442"/>
                    </a:lnTo>
                    <a:lnTo>
                      <a:pt x="116" y="440"/>
                    </a:lnTo>
                    <a:lnTo>
                      <a:pt x="117" y="440"/>
                    </a:lnTo>
                    <a:lnTo>
                      <a:pt x="117" y="439"/>
                    </a:lnTo>
                    <a:lnTo>
                      <a:pt x="117" y="437"/>
                    </a:lnTo>
                    <a:lnTo>
                      <a:pt x="117" y="439"/>
                    </a:lnTo>
                    <a:lnTo>
                      <a:pt x="117" y="437"/>
                    </a:lnTo>
                    <a:lnTo>
                      <a:pt x="121" y="437"/>
                    </a:lnTo>
                    <a:lnTo>
                      <a:pt x="121" y="435"/>
                    </a:lnTo>
                    <a:lnTo>
                      <a:pt x="123" y="435"/>
                    </a:lnTo>
                    <a:lnTo>
                      <a:pt x="123" y="433"/>
                    </a:lnTo>
                    <a:lnTo>
                      <a:pt x="123" y="431"/>
                    </a:lnTo>
                    <a:lnTo>
                      <a:pt x="125" y="431"/>
                    </a:lnTo>
                    <a:lnTo>
                      <a:pt x="125" y="429"/>
                    </a:lnTo>
                    <a:lnTo>
                      <a:pt x="123" y="427"/>
                    </a:lnTo>
                    <a:lnTo>
                      <a:pt x="123" y="425"/>
                    </a:lnTo>
                    <a:lnTo>
                      <a:pt x="121" y="425"/>
                    </a:lnTo>
                    <a:lnTo>
                      <a:pt x="121" y="423"/>
                    </a:lnTo>
                    <a:lnTo>
                      <a:pt x="119" y="423"/>
                    </a:lnTo>
                    <a:lnTo>
                      <a:pt x="121" y="423"/>
                    </a:lnTo>
                    <a:lnTo>
                      <a:pt x="121" y="421"/>
                    </a:lnTo>
                    <a:lnTo>
                      <a:pt x="123" y="421"/>
                    </a:lnTo>
                    <a:lnTo>
                      <a:pt x="121" y="421"/>
                    </a:lnTo>
                    <a:lnTo>
                      <a:pt x="123" y="421"/>
                    </a:lnTo>
                    <a:lnTo>
                      <a:pt x="125" y="419"/>
                    </a:lnTo>
                    <a:lnTo>
                      <a:pt x="123" y="421"/>
                    </a:lnTo>
                    <a:lnTo>
                      <a:pt x="121" y="421"/>
                    </a:lnTo>
                    <a:lnTo>
                      <a:pt x="119" y="421"/>
                    </a:lnTo>
                    <a:lnTo>
                      <a:pt x="121" y="423"/>
                    </a:lnTo>
                    <a:lnTo>
                      <a:pt x="119" y="423"/>
                    </a:lnTo>
                    <a:lnTo>
                      <a:pt x="119" y="421"/>
                    </a:lnTo>
                    <a:lnTo>
                      <a:pt x="119" y="423"/>
                    </a:lnTo>
                    <a:lnTo>
                      <a:pt x="119" y="421"/>
                    </a:lnTo>
                    <a:lnTo>
                      <a:pt x="121" y="419"/>
                    </a:lnTo>
                    <a:lnTo>
                      <a:pt x="119" y="417"/>
                    </a:lnTo>
                    <a:lnTo>
                      <a:pt x="119" y="415"/>
                    </a:lnTo>
                    <a:lnTo>
                      <a:pt x="117" y="415"/>
                    </a:lnTo>
                    <a:lnTo>
                      <a:pt x="116" y="415"/>
                    </a:lnTo>
                    <a:lnTo>
                      <a:pt x="116" y="414"/>
                    </a:lnTo>
                    <a:lnTo>
                      <a:pt x="116" y="415"/>
                    </a:lnTo>
                    <a:lnTo>
                      <a:pt x="116" y="414"/>
                    </a:lnTo>
                    <a:lnTo>
                      <a:pt x="114" y="414"/>
                    </a:lnTo>
                    <a:lnTo>
                      <a:pt x="112" y="414"/>
                    </a:lnTo>
                    <a:lnTo>
                      <a:pt x="110" y="414"/>
                    </a:lnTo>
                    <a:lnTo>
                      <a:pt x="110" y="412"/>
                    </a:lnTo>
                    <a:lnTo>
                      <a:pt x="108" y="412"/>
                    </a:lnTo>
                    <a:lnTo>
                      <a:pt x="106" y="412"/>
                    </a:lnTo>
                    <a:lnTo>
                      <a:pt x="104" y="412"/>
                    </a:lnTo>
                    <a:lnTo>
                      <a:pt x="104" y="414"/>
                    </a:lnTo>
                    <a:lnTo>
                      <a:pt x="104" y="412"/>
                    </a:lnTo>
                    <a:lnTo>
                      <a:pt x="104" y="410"/>
                    </a:lnTo>
                    <a:lnTo>
                      <a:pt x="102" y="408"/>
                    </a:lnTo>
                    <a:lnTo>
                      <a:pt x="102" y="406"/>
                    </a:lnTo>
                    <a:lnTo>
                      <a:pt x="102" y="404"/>
                    </a:lnTo>
                    <a:lnTo>
                      <a:pt x="100" y="402"/>
                    </a:lnTo>
                    <a:lnTo>
                      <a:pt x="98" y="402"/>
                    </a:lnTo>
                    <a:lnTo>
                      <a:pt x="98" y="400"/>
                    </a:lnTo>
                    <a:lnTo>
                      <a:pt x="100" y="400"/>
                    </a:lnTo>
                    <a:lnTo>
                      <a:pt x="102" y="400"/>
                    </a:lnTo>
                    <a:lnTo>
                      <a:pt x="100" y="400"/>
                    </a:lnTo>
                    <a:lnTo>
                      <a:pt x="98" y="400"/>
                    </a:lnTo>
                    <a:lnTo>
                      <a:pt x="98" y="402"/>
                    </a:lnTo>
                    <a:lnTo>
                      <a:pt x="100" y="402"/>
                    </a:lnTo>
                    <a:lnTo>
                      <a:pt x="98" y="402"/>
                    </a:lnTo>
                    <a:lnTo>
                      <a:pt x="98" y="400"/>
                    </a:lnTo>
                    <a:lnTo>
                      <a:pt x="96" y="400"/>
                    </a:lnTo>
                    <a:lnTo>
                      <a:pt x="96" y="398"/>
                    </a:lnTo>
                    <a:lnTo>
                      <a:pt x="98" y="398"/>
                    </a:lnTo>
                    <a:lnTo>
                      <a:pt x="98" y="396"/>
                    </a:lnTo>
                    <a:lnTo>
                      <a:pt x="98" y="394"/>
                    </a:lnTo>
                    <a:lnTo>
                      <a:pt x="98" y="392"/>
                    </a:lnTo>
                    <a:lnTo>
                      <a:pt x="96" y="390"/>
                    </a:lnTo>
                    <a:lnTo>
                      <a:pt x="96" y="389"/>
                    </a:lnTo>
                    <a:lnTo>
                      <a:pt x="98" y="389"/>
                    </a:lnTo>
                    <a:lnTo>
                      <a:pt x="100" y="389"/>
                    </a:lnTo>
                    <a:lnTo>
                      <a:pt x="100" y="387"/>
                    </a:lnTo>
                    <a:lnTo>
                      <a:pt x="100" y="385"/>
                    </a:lnTo>
                    <a:lnTo>
                      <a:pt x="102" y="385"/>
                    </a:lnTo>
                    <a:lnTo>
                      <a:pt x="104" y="385"/>
                    </a:lnTo>
                    <a:lnTo>
                      <a:pt x="106" y="385"/>
                    </a:lnTo>
                    <a:lnTo>
                      <a:pt x="106" y="383"/>
                    </a:lnTo>
                    <a:lnTo>
                      <a:pt x="108" y="383"/>
                    </a:lnTo>
                    <a:lnTo>
                      <a:pt x="106" y="383"/>
                    </a:lnTo>
                    <a:lnTo>
                      <a:pt x="106" y="385"/>
                    </a:lnTo>
                    <a:lnTo>
                      <a:pt x="104" y="385"/>
                    </a:lnTo>
                    <a:lnTo>
                      <a:pt x="102" y="385"/>
                    </a:lnTo>
                    <a:lnTo>
                      <a:pt x="100" y="385"/>
                    </a:lnTo>
                    <a:lnTo>
                      <a:pt x="100" y="387"/>
                    </a:lnTo>
                    <a:lnTo>
                      <a:pt x="100" y="389"/>
                    </a:lnTo>
                    <a:lnTo>
                      <a:pt x="98" y="389"/>
                    </a:lnTo>
                    <a:lnTo>
                      <a:pt x="98" y="387"/>
                    </a:lnTo>
                    <a:lnTo>
                      <a:pt x="98" y="389"/>
                    </a:lnTo>
                    <a:lnTo>
                      <a:pt x="96" y="389"/>
                    </a:lnTo>
                    <a:lnTo>
                      <a:pt x="94" y="389"/>
                    </a:lnTo>
                    <a:lnTo>
                      <a:pt x="96" y="390"/>
                    </a:lnTo>
                    <a:lnTo>
                      <a:pt x="94" y="389"/>
                    </a:lnTo>
                    <a:lnTo>
                      <a:pt x="92" y="389"/>
                    </a:lnTo>
                    <a:lnTo>
                      <a:pt x="91" y="387"/>
                    </a:lnTo>
                    <a:lnTo>
                      <a:pt x="89" y="387"/>
                    </a:lnTo>
                    <a:lnTo>
                      <a:pt x="91" y="387"/>
                    </a:lnTo>
                    <a:lnTo>
                      <a:pt x="91" y="385"/>
                    </a:lnTo>
                    <a:lnTo>
                      <a:pt x="92" y="385"/>
                    </a:lnTo>
                    <a:lnTo>
                      <a:pt x="91" y="385"/>
                    </a:lnTo>
                    <a:lnTo>
                      <a:pt x="89" y="387"/>
                    </a:lnTo>
                    <a:lnTo>
                      <a:pt x="89" y="385"/>
                    </a:lnTo>
                    <a:lnTo>
                      <a:pt x="87" y="385"/>
                    </a:lnTo>
                    <a:lnTo>
                      <a:pt x="85" y="385"/>
                    </a:lnTo>
                    <a:lnTo>
                      <a:pt x="83" y="383"/>
                    </a:lnTo>
                    <a:lnTo>
                      <a:pt x="83" y="385"/>
                    </a:lnTo>
                    <a:lnTo>
                      <a:pt x="85" y="385"/>
                    </a:lnTo>
                    <a:lnTo>
                      <a:pt x="83" y="385"/>
                    </a:lnTo>
                    <a:lnTo>
                      <a:pt x="81" y="383"/>
                    </a:lnTo>
                    <a:lnTo>
                      <a:pt x="83" y="383"/>
                    </a:lnTo>
                    <a:lnTo>
                      <a:pt x="85" y="383"/>
                    </a:lnTo>
                    <a:lnTo>
                      <a:pt x="83" y="383"/>
                    </a:lnTo>
                    <a:lnTo>
                      <a:pt x="81" y="383"/>
                    </a:lnTo>
                    <a:lnTo>
                      <a:pt x="81" y="385"/>
                    </a:lnTo>
                    <a:lnTo>
                      <a:pt x="81" y="383"/>
                    </a:lnTo>
                    <a:lnTo>
                      <a:pt x="79" y="383"/>
                    </a:lnTo>
                    <a:lnTo>
                      <a:pt x="77" y="383"/>
                    </a:lnTo>
                    <a:lnTo>
                      <a:pt x="75" y="383"/>
                    </a:lnTo>
                    <a:lnTo>
                      <a:pt x="73" y="381"/>
                    </a:lnTo>
                    <a:lnTo>
                      <a:pt x="75" y="381"/>
                    </a:lnTo>
                    <a:lnTo>
                      <a:pt x="73" y="381"/>
                    </a:lnTo>
                    <a:lnTo>
                      <a:pt x="71" y="381"/>
                    </a:lnTo>
                    <a:lnTo>
                      <a:pt x="71" y="379"/>
                    </a:lnTo>
                    <a:lnTo>
                      <a:pt x="69" y="377"/>
                    </a:lnTo>
                    <a:lnTo>
                      <a:pt x="68" y="377"/>
                    </a:lnTo>
                    <a:lnTo>
                      <a:pt x="68" y="375"/>
                    </a:lnTo>
                    <a:lnTo>
                      <a:pt x="68" y="373"/>
                    </a:lnTo>
                    <a:lnTo>
                      <a:pt x="66" y="373"/>
                    </a:lnTo>
                    <a:lnTo>
                      <a:pt x="66" y="371"/>
                    </a:lnTo>
                    <a:lnTo>
                      <a:pt x="68" y="371"/>
                    </a:lnTo>
                    <a:lnTo>
                      <a:pt x="68" y="369"/>
                    </a:lnTo>
                    <a:lnTo>
                      <a:pt x="69" y="369"/>
                    </a:lnTo>
                    <a:lnTo>
                      <a:pt x="69" y="367"/>
                    </a:lnTo>
                    <a:lnTo>
                      <a:pt x="68" y="365"/>
                    </a:lnTo>
                    <a:lnTo>
                      <a:pt x="68" y="367"/>
                    </a:lnTo>
                    <a:lnTo>
                      <a:pt x="69" y="367"/>
                    </a:lnTo>
                    <a:lnTo>
                      <a:pt x="68" y="367"/>
                    </a:lnTo>
                    <a:lnTo>
                      <a:pt x="66" y="367"/>
                    </a:lnTo>
                    <a:lnTo>
                      <a:pt x="66" y="365"/>
                    </a:lnTo>
                    <a:lnTo>
                      <a:pt x="66" y="364"/>
                    </a:lnTo>
                    <a:lnTo>
                      <a:pt x="66" y="362"/>
                    </a:lnTo>
                    <a:lnTo>
                      <a:pt x="66" y="360"/>
                    </a:lnTo>
                    <a:lnTo>
                      <a:pt x="68" y="360"/>
                    </a:lnTo>
                    <a:lnTo>
                      <a:pt x="68" y="358"/>
                    </a:lnTo>
                    <a:lnTo>
                      <a:pt x="69" y="358"/>
                    </a:lnTo>
                    <a:lnTo>
                      <a:pt x="71" y="358"/>
                    </a:lnTo>
                    <a:lnTo>
                      <a:pt x="71" y="356"/>
                    </a:lnTo>
                    <a:lnTo>
                      <a:pt x="71" y="358"/>
                    </a:lnTo>
                    <a:lnTo>
                      <a:pt x="69" y="358"/>
                    </a:lnTo>
                    <a:lnTo>
                      <a:pt x="69" y="356"/>
                    </a:lnTo>
                    <a:lnTo>
                      <a:pt x="69" y="354"/>
                    </a:lnTo>
                    <a:lnTo>
                      <a:pt x="71" y="354"/>
                    </a:lnTo>
                    <a:lnTo>
                      <a:pt x="71" y="352"/>
                    </a:lnTo>
                    <a:lnTo>
                      <a:pt x="71" y="350"/>
                    </a:lnTo>
                    <a:lnTo>
                      <a:pt x="71" y="348"/>
                    </a:lnTo>
                    <a:lnTo>
                      <a:pt x="71" y="346"/>
                    </a:lnTo>
                    <a:lnTo>
                      <a:pt x="69" y="346"/>
                    </a:lnTo>
                    <a:lnTo>
                      <a:pt x="71" y="346"/>
                    </a:lnTo>
                    <a:lnTo>
                      <a:pt x="71" y="344"/>
                    </a:lnTo>
                    <a:lnTo>
                      <a:pt x="69" y="344"/>
                    </a:lnTo>
                    <a:lnTo>
                      <a:pt x="69" y="342"/>
                    </a:lnTo>
                    <a:lnTo>
                      <a:pt x="68" y="342"/>
                    </a:lnTo>
                    <a:lnTo>
                      <a:pt x="66" y="342"/>
                    </a:lnTo>
                    <a:lnTo>
                      <a:pt x="66" y="340"/>
                    </a:lnTo>
                    <a:lnTo>
                      <a:pt x="68" y="340"/>
                    </a:lnTo>
                    <a:lnTo>
                      <a:pt x="68" y="339"/>
                    </a:lnTo>
                    <a:lnTo>
                      <a:pt x="66" y="339"/>
                    </a:lnTo>
                    <a:lnTo>
                      <a:pt x="64" y="339"/>
                    </a:lnTo>
                    <a:lnTo>
                      <a:pt x="64" y="337"/>
                    </a:lnTo>
                    <a:lnTo>
                      <a:pt x="62" y="337"/>
                    </a:lnTo>
                    <a:lnTo>
                      <a:pt x="64" y="337"/>
                    </a:lnTo>
                    <a:lnTo>
                      <a:pt x="64" y="335"/>
                    </a:lnTo>
                    <a:lnTo>
                      <a:pt x="62" y="335"/>
                    </a:lnTo>
                    <a:lnTo>
                      <a:pt x="62" y="337"/>
                    </a:lnTo>
                    <a:lnTo>
                      <a:pt x="62" y="335"/>
                    </a:lnTo>
                    <a:lnTo>
                      <a:pt x="64" y="335"/>
                    </a:lnTo>
                    <a:lnTo>
                      <a:pt x="62" y="335"/>
                    </a:lnTo>
                    <a:lnTo>
                      <a:pt x="64" y="335"/>
                    </a:lnTo>
                    <a:lnTo>
                      <a:pt x="64" y="337"/>
                    </a:lnTo>
                    <a:lnTo>
                      <a:pt x="66" y="337"/>
                    </a:lnTo>
                    <a:lnTo>
                      <a:pt x="66" y="335"/>
                    </a:lnTo>
                    <a:lnTo>
                      <a:pt x="66" y="337"/>
                    </a:lnTo>
                    <a:lnTo>
                      <a:pt x="68" y="337"/>
                    </a:lnTo>
                    <a:lnTo>
                      <a:pt x="68" y="335"/>
                    </a:lnTo>
                    <a:lnTo>
                      <a:pt x="68" y="337"/>
                    </a:lnTo>
                    <a:lnTo>
                      <a:pt x="69" y="337"/>
                    </a:lnTo>
                    <a:lnTo>
                      <a:pt x="69" y="335"/>
                    </a:lnTo>
                    <a:lnTo>
                      <a:pt x="71" y="335"/>
                    </a:lnTo>
                    <a:lnTo>
                      <a:pt x="71" y="337"/>
                    </a:lnTo>
                    <a:lnTo>
                      <a:pt x="73" y="337"/>
                    </a:lnTo>
                    <a:lnTo>
                      <a:pt x="71" y="337"/>
                    </a:lnTo>
                    <a:lnTo>
                      <a:pt x="73" y="337"/>
                    </a:lnTo>
                    <a:lnTo>
                      <a:pt x="75" y="337"/>
                    </a:lnTo>
                    <a:lnTo>
                      <a:pt x="75" y="339"/>
                    </a:lnTo>
                    <a:lnTo>
                      <a:pt x="77" y="339"/>
                    </a:lnTo>
                    <a:lnTo>
                      <a:pt x="75" y="339"/>
                    </a:lnTo>
                    <a:lnTo>
                      <a:pt x="77" y="339"/>
                    </a:lnTo>
                    <a:lnTo>
                      <a:pt x="75" y="339"/>
                    </a:lnTo>
                    <a:lnTo>
                      <a:pt x="75" y="337"/>
                    </a:lnTo>
                    <a:lnTo>
                      <a:pt x="73" y="337"/>
                    </a:lnTo>
                    <a:lnTo>
                      <a:pt x="71" y="337"/>
                    </a:lnTo>
                    <a:lnTo>
                      <a:pt x="71" y="335"/>
                    </a:lnTo>
                    <a:lnTo>
                      <a:pt x="71" y="337"/>
                    </a:lnTo>
                    <a:lnTo>
                      <a:pt x="71" y="335"/>
                    </a:lnTo>
                    <a:lnTo>
                      <a:pt x="69" y="335"/>
                    </a:lnTo>
                    <a:lnTo>
                      <a:pt x="71" y="335"/>
                    </a:lnTo>
                    <a:lnTo>
                      <a:pt x="69" y="335"/>
                    </a:lnTo>
                    <a:lnTo>
                      <a:pt x="69" y="333"/>
                    </a:lnTo>
                    <a:lnTo>
                      <a:pt x="68" y="333"/>
                    </a:lnTo>
                    <a:lnTo>
                      <a:pt x="68" y="331"/>
                    </a:lnTo>
                    <a:lnTo>
                      <a:pt x="66" y="331"/>
                    </a:lnTo>
                    <a:lnTo>
                      <a:pt x="64" y="331"/>
                    </a:lnTo>
                    <a:lnTo>
                      <a:pt x="64" y="329"/>
                    </a:lnTo>
                    <a:lnTo>
                      <a:pt x="64" y="327"/>
                    </a:lnTo>
                    <a:lnTo>
                      <a:pt x="66" y="327"/>
                    </a:lnTo>
                    <a:lnTo>
                      <a:pt x="68" y="327"/>
                    </a:lnTo>
                    <a:lnTo>
                      <a:pt x="66" y="327"/>
                    </a:lnTo>
                    <a:lnTo>
                      <a:pt x="68" y="327"/>
                    </a:lnTo>
                    <a:lnTo>
                      <a:pt x="68" y="325"/>
                    </a:lnTo>
                    <a:lnTo>
                      <a:pt x="68" y="327"/>
                    </a:lnTo>
                    <a:lnTo>
                      <a:pt x="68" y="325"/>
                    </a:lnTo>
                    <a:lnTo>
                      <a:pt x="69" y="325"/>
                    </a:lnTo>
                    <a:lnTo>
                      <a:pt x="71" y="325"/>
                    </a:lnTo>
                    <a:lnTo>
                      <a:pt x="69" y="325"/>
                    </a:lnTo>
                    <a:lnTo>
                      <a:pt x="71" y="325"/>
                    </a:lnTo>
                    <a:lnTo>
                      <a:pt x="71" y="323"/>
                    </a:lnTo>
                    <a:lnTo>
                      <a:pt x="71" y="325"/>
                    </a:lnTo>
                    <a:lnTo>
                      <a:pt x="71" y="323"/>
                    </a:lnTo>
                    <a:lnTo>
                      <a:pt x="73" y="323"/>
                    </a:lnTo>
                    <a:lnTo>
                      <a:pt x="71" y="323"/>
                    </a:lnTo>
                    <a:lnTo>
                      <a:pt x="69" y="323"/>
                    </a:lnTo>
                    <a:lnTo>
                      <a:pt x="69" y="321"/>
                    </a:lnTo>
                    <a:lnTo>
                      <a:pt x="71" y="321"/>
                    </a:lnTo>
                    <a:lnTo>
                      <a:pt x="71" y="319"/>
                    </a:lnTo>
                    <a:lnTo>
                      <a:pt x="69" y="319"/>
                    </a:lnTo>
                    <a:lnTo>
                      <a:pt x="69" y="321"/>
                    </a:lnTo>
                    <a:lnTo>
                      <a:pt x="68" y="321"/>
                    </a:lnTo>
                    <a:lnTo>
                      <a:pt x="68" y="319"/>
                    </a:lnTo>
                    <a:lnTo>
                      <a:pt x="69" y="319"/>
                    </a:lnTo>
                    <a:lnTo>
                      <a:pt x="68" y="319"/>
                    </a:lnTo>
                    <a:lnTo>
                      <a:pt x="68" y="317"/>
                    </a:lnTo>
                    <a:lnTo>
                      <a:pt x="69" y="319"/>
                    </a:lnTo>
                    <a:lnTo>
                      <a:pt x="69" y="317"/>
                    </a:lnTo>
                    <a:lnTo>
                      <a:pt x="68" y="317"/>
                    </a:lnTo>
                    <a:lnTo>
                      <a:pt x="69" y="317"/>
                    </a:lnTo>
                    <a:lnTo>
                      <a:pt x="68" y="315"/>
                    </a:lnTo>
                    <a:lnTo>
                      <a:pt x="69" y="315"/>
                    </a:lnTo>
                    <a:lnTo>
                      <a:pt x="69" y="317"/>
                    </a:lnTo>
                    <a:lnTo>
                      <a:pt x="69" y="315"/>
                    </a:lnTo>
                    <a:lnTo>
                      <a:pt x="69" y="317"/>
                    </a:lnTo>
                    <a:lnTo>
                      <a:pt x="69" y="315"/>
                    </a:lnTo>
                    <a:lnTo>
                      <a:pt x="71" y="315"/>
                    </a:lnTo>
                    <a:lnTo>
                      <a:pt x="71" y="317"/>
                    </a:lnTo>
                    <a:lnTo>
                      <a:pt x="71" y="315"/>
                    </a:lnTo>
                    <a:lnTo>
                      <a:pt x="71" y="317"/>
                    </a:lnTo>
                    <a:lnTo>
                      <a:pt x="73" y="317"/>
                    </a:lnTo>
                    <a:lnTo>
                      <a:pt x="73" y="315"/>
                    </a:lnTo>
                    <a:lnTo>
                      <a:pt x="73" y="317"/>
                    </a:lnTo>
                    <a:lnTo>
                      <a:pt x="75" y="317"/>
                    </a:lnTo>
                    <a:lnTo>
                      <a:pt x="75" y="319"/>
                    </a:lnTo>
                    <a:lnTo>
                      <a:pt x="75" y="317"/>
                    </a:lnTo>
                    <a:lnTo>
                      <a:pt x="77" y="317"/>
                    </a:lnTo>
                    <a:lnTo>
                      <a:pt x="79" y="317"/>
                    </a:lnTo>
                    <a:lnTo>
                      <a:pt x="81" y="317"/>
                    </a:lnTo>
                    <a:lnTo>
                      <a:pt x="83" y="317"/>
                    </a:lnTo>
                    <a:lnTo>
                      <a:pt x="85" y="317"/>
                    </a:lnTo>
                    <a:lnTo>
                      <a:pt x="87" y="317"/>
                    </a:lnTo>
                    <a:lnTo>
                      <a:pt x="89" y="317"/>
                    </a:lnTo>
                    <a:lnTo>
                      <a:pt x="87" y="317"/>
                    </a:lnTo>
                    <a:lnTo>
                      <a:pt x="89" y="317"/>
                    </a:lnTo>
                    <a:lnTo>
                      <a:pt x="91" y="317"/>
                    </a:lnTo>
                    <a:lnTo>
                      <a:pt x="91" y="315"/>
                    </a:lnTo>
                    <a:lnTo>
                      <a:pt x="92" y="315"/>
                    </a:lnTo>
                    <a:lnTo>
                      <a:pt x="92" y="317"/>
                    </a:lnTo>
                    <a:lnTo>
                      <a:pt x="92" y="315"/>
                    </a:lnTo>
                    <a:lnTo>
                      <a:pt x="92" y="317"/>
                    </a:lnTo>
                    <a:lnTo>
                      <a:pt x="92" y="315"/>
                    </a:lnTo>
                    <a:lnTo>
                      <a:pt x="94" y="315"/>
                    </a:lnTo>
                    <a:lnTo>
                      <a:pt x="94" y="317"/>
                    </a:lnTo>
                    <a:lnTo>
                      <a:pt x="96" y="317"/>
                    </a:lnTo>
                    <a:lnTo>
                      <a:pt x="96" y="315"/>
                    </a:lnTo>
                    <a:lnTo>
                      <a:pt x="98" y="317"/>
                    </a:lnTo>
                    <a:lnTo>
                      <a:pt x="98" y="315"/>
                    </a:lnTo>
                    <a:lnTo>
                      <a:pt x="98" y="317"/>
                    </a:lnTo>
                    <a:lnTo>
                      <a:pt x="100" y="317"/>
                    </a:lnTo>
                    <a:lnTo>
                      <a:pt x="102" y="317"/>
                    </a:lnTo>
                    <a:lnTo>
                      <a:pt x="104" y="317"/>
                    </a:lnTo>
                    <a:lnTo>
                      <a:pt x="106" y="317"/>
                    </a:lnTo>
                    <a:lnTo>
                      <a:pt x="108" y="317"/>
                    </a:lnTo>
                    <a:lnTo>
                      <a:pt x="110" y="317"/>
                    </a:lnTo>
                    <a:lnTo>
                      <a:pt x="110" y="319"/>
                    </a:lnTo>
                    <a:lnTo>
                      <a:pt x="110" y="321"/>
                    </a:lnTo>
                    <a:lnTo>
                      <a:pt x="108" y="319"/>
                    </a:lnTo>
                    <a:lnTo>
                      <a:pt x="108" y="321"/>
                    </a:lnTo>
                    <a:lnTo>
                      <a:pt x="108" y="323"/>
                    </a:lnTo>
                    <a:lnTo>
                      <a:pt x="108" y="321"/>
                    </a:lnTo>
                    <a:lnTo>
                      <a:pt x="108" y="319"/>
                    </a:lnTo>
                    <a:lnTo>
                      <a:pt x="108" y="321"/>
                    </a:lnTo>
                    <a:lnTo>
                      <a:pt x="110" y="321"/>
                    </a:lnTo>
                    <a:lnTo>
                      <a:pt x="110" y="319"/>
                    </a:lnTo>
                    <a:lnTo>
                      <a:pt x="110" y="317"/>
                    </a:lnTo>
                    <a:lnTo>
                      <a:pt x="112" y="317"/>
                    </a:lnTo>
                    <a:lnTo>
                      <a:pt x="114" y="317"/>
                    </a:lnTo>
                    <a:lnTo>
                      <a:pt x="116" y="317"/>
                    </a:lnTo>
                    <a:lnTo>
                      <a:pt x="114" y="317"/>
                    </a:lnTo>
                    <a:lnTo>
                      <a:pt x="114" y="319"/>
                    </a:lnTo>
                    <a:lnTo>
                      <a:pt x="116" y="317"/>
                    </a:lnTo>
                    <a:lnTo>
                      <a:pt x="117" y="319"/>
                    </a:lnTo>
                    <a:lnTo>
                      <a:pt x="119" y="319"/>
                    </a:lnTo>
                    <a:lnTo>
                      <a:pt x="121" y="319"/>
                    </a:lnTo>
                    <a:lnTo>
                      <a:pt x="123" y="319"/>
                    </a:lnTo>
                    <a:lnTo>
                      <a:pt x="125" y="319"/>
                    </a:lnTo>
                    <a:lnTo>
                      <a:pt x="125" y="321"/>
                    </a:lnTo>
                    <a:lnTo>
                      <a:pt x="125" y="319"/>
                    </a:lnTo>
                    <a:lnTo>
                      <a:pt x="127" y="319"/>
                    </a:lnTo>
                    <a:lnTo>
                      <a:pt x="129" y="319"/>
                    </a:lnTo>
                    <a:lnTo>
                      <a:pt x="131" y="319"/>
                    </a:lnTo>
                    <a:lnTo>
                      <a:pt x="131" y="321"/>
                    </a:lnTo>
                    <a:lnTo>
                      <a:pt x="131" y="319"/>
                    </a:lnTo>
                    <a:lnTo>
                      <a:pt x="133" y="319"/>
                    </a:lnTo>
                    <a:lnTo>
                      <a:pt x="135" y="319"/>
                    </a:lnTo>
                    <a:lnTo>
                      <a:pt x="137" y="319"/>
                    </a:lnTo>
                    <a:lnTo>
                      <a:pt x="139" y="319"/>
                    </a:lnTo>
                    <a:lnTo>
                      <a:pt x="141" y="319"/>
                    </a:lnTo>
                    <a:lnTo>
                      <a:pt x="141" y="321"/>
                    </a:lnTo>
                    <a:lnTo>
                      <a:pt x="142" y="321"/>
                    </a:lnTo>
                    <a:lnTo>
                      <a:pt x="141" y="321"/>
                    </a:lnTo>
                    <a:lnTo>
                      <a:pt x="141" y="319"/>
                    </a:lnTo>
                    <a:lnTo>
                      <a:pt x="142" y="319"/>
                    </a:lnTo>
                    <a:lnTo>
                      <a:pt x="144" y="319"/>
                    </a:lnTo>
                    <a:lnTo>
                      <a:pt x="146" y="319"/>
                    </a:lnTo>
                    <a:lnTo>
                      <a:pt x="148" y="319"/>
                    </a:lnTo>
                    <a:lnTo>
                      <a:pt x="150" y="319"/>
                    </a:lnTo>
                    <a:lnTo>
                      <a:pt x="152" y="319"/>
                    </a:lnTo>
                    <a:lnTo>
                      <a:pt x="154" y="319"/>
                    </a:lnTo>
                    <a:lnTo>
                      <a:pt x="156" y="319"/>
                    </a:lnTo>
                    <a:lnTo>
                      <a:pt x="160" y="317"/>
                    </a:lnTo>
                    <a:lnTo>
                      <a:pt x="162" y="317"/>
                    </a:lnTo>
                    <a:lnTo>
                      <a:pt x="162" y="319"/>
                    </a:lnTo>
                    <a:lnTo>
                      <a:pt x="160" y="319"/>
                    </a:lnTo>
                    <a:lnTo>
                      <a:pt x="162" y="319"/>
                    </a:lnTo>
                    <a:lnTo>
                      <a:pt x="164" y="319"/>
                    </a:lnTo>
                    <a:lnTo>
                      <a:pt x="165" y="319"/>
                    </a:lnTo>
                    <a:lnTo>
                      <a:pt x="165" y="321"/>
                    </a:lnTo>
                    <a:lnTo>
                      <a:pt x="167" y="321"/>
                    </a:lnTo>
                    <a:lnTo>
                      <a:pt x="169" y="321"/>
                    </a:lnTo>
                    <a:lnTo>
                      <a:pt x="171" y="321"/>
                    </a:lnTo>
                    <a:lnTo>
                      <a:pt x="173" y="321"/>
                    </a:lnTo>
                    <a:lnTo>
                      <a:pt x="171" y="321"/>
                    </a:lnTo>
                    <a:lnTo>
                      <a:pt x="171" y="323"/>
                    </a:lnTo>
                    <a:lnTo>
                      <a:pt x="171" y="321"/>
                    </a:lnTo>
                    <a:lnTo>
                      <a:pt x="173" y="321"/>
                    </a:lnTo>
                    <a:lnTo>
                      <a:pt x="175" y="321"/>
                    </a:lnTo>
                    <a:lnTo>
                      <a:pt x="177" y="321"/>
                    </a:lnTo>
                    <a:lnTo>
                      <a:pt x="177" y="319"/>
                    </a:lnTo>
                    <a:lnTo>
                      <a:pt x="177" y="317"/>
                    </a:lnTo>
                    <a:lnTo>
                      <a:pt x="177" y="319"/>
                    </a:lnTo>
                    <a:lnTo>
                      <a:pt x="179" y="319"/>
                    </a:lnTo>
                    <a:lnTo>
                      <a:pt x="177" y="319"/>
                    </a:lnTo>
                    <a:lnTo>
                      <a:pt x="179" y="319"/>
                    </a:lnTo>
                    <a:lnTo>
                      <a:pt x="177" y="319"/>
                    </a:lnTo>
                    <a:lnTo>
                      <a:pt x="179" y="319"/>
                    </a:lnTo>
                    <a:lnTo>
                      <a:pt x="177" y="319"/>
                    </a:lnTo>
                    <a:lnTo>
                      <a:pt x="177" y="317"/>
                    </a:lnTo>
                    <a:lnTo>
                      <a:pt x="179" y="317"/>
                    </a:lnTo>
                    <a:lnTo>
                      <a:pt x="181" y="315"/>
                    </a:lnTo>
                    <a:lnTo>
                      <a:pt x="183" y="315"/>
                    </a:lnTo>
                    <a:lnTo>
                      <a:pt x="185" y="315"/>
                    </a:lnTo>
                    <a:lnTo>
                      <a:pt x="183" y="315"/>
                    </a:lnTo>
                    <a:lnTo>
                      <a:pt x="183" y="317"/>
                    </a:lnTo>
                    <a:lnTo>
                      <a:pt x="185" y="315"/>
                    </a:lnTo>
                    <a:lnTo>
                      <a:pt x="185" y="317"/>
                    </a:lnTo>
                    <a:lnTo>
                      <a:pt x="187" y="317"/>
                    </a:lnTo>
                    <a:lnTo>
                      <a:pt x="187" y="315"/>
                    </a:lnTo>
                    <a:lnTo>
                      <a:pt x="189" y="315"/>
                    </a:lnTo>
                    <a:lnTo>
                      <a:pt x="190" y="315"/>
                    </a:lnTo>
                    <a:lnTo>
                      <a:pt x="192" y="315"/>
                    </a:lnTo>
                    <a:lnTo>
                      <a:pt x="194" y="315"/>
                    </a:lnTo>
                    <a:lnTo>
                      <a:pt x="196" y="315"/>
                    </a:lnTo>
                    <a:lnTo>
                      <a:pt x="196" y="314"/>
                    </a:lnTo>
                    <a:lnTo>
                      <a:pt x="196" y="315"/>
                    </a:lnTo>
                    <a:lnTo>
                      <a:pt x="198" y="314"/>
                    </a:lnTo>
                    <a:lnTo>
                      <a:pt x="200" y="314"/>
                    </a:lnTo>
                    <a:lnTo>
                      <a:pt x="200" y="315"/>
                    </a:lnTo>
                    <a:lnTo>
                      <a:pt x="202" y="315"/>
                    </a:lnTo>
                    <a:lnTo>
                      <a:pt x="204" y="315"/>
                    </a:lnTo>
                    <a:lnTo>
                      <a:pt x="204" y="314"/>
                    </a:lnTo>
                    <a:lnTo>
                      <a:pt x="206" y="314"/>
                    </a:lnTo>
                    <a:lnTo>
                      <a:pt x="206" y="315"/>
                    </a:lnTo>
                    <a:lnTo>
                      <a:pt x="208" y="315"/>
                    </a:lnTo>
                    <a:lnTo>
                      <a:pt x="210" y="315"/>
                    </a:lnTo>
                    <a:lnTo>
                      <a:pt x="212" y="317"/>
                    </a:lnTo>
                    <a:lnTo>
                      <a:pt x="212" y="315"/>
                    </a:lnTo>
                    <a:lnTo>
                      <a:pt x="212" y="317"/>
                    </a:lnTo>
                    <a:lnTo>
                      <a:pt x="212" y="319"/>
                    </a:lnTo>
                    <a:lnTo>
                      <a:pt x="210" y="319"/>
                    </a:lnTo>
                    <a:lnTo>
                      <a:pt x="208" y="321"/>
                    </a:lnTo>
                    <a:lnTo>
                      <a:pt x="206" y="321"/>
                    </a:lnTo>
                    <a:lnTo>
                      <a:pt x="206" y="323"/>
                    </a:lnTo>
                    <a:lnTo>
                      <a:pt x="204" y="323"/>
                    </a:lnTo>
                    <a:lnTo>
                      <a:pt x="202" y="325"/>
                    </a:lnTo>
                    <a:lnTo>
                      <a:pt x="200" y="325"/>
                    </a:lnTo>
                    <a:lnTo>
                      <a:pt x="198" y="325"/>
                    </a:lnTo>
                    <a:lnTo>
                      <a:pt x="196" y="327"/>
                    </a:lnTo>
                    <a:lnTo>
                      <a:pt x="194" y="327"/>
                    </a:lnTo>
                    <a:lnTo>
                      <a:pt x="194" y="329"/>
                    </a:lnTo>
                    <a:lnTo>
                      <a:pt x="196" y="329"/>
                    </a:lnTo>
                    <a:lnTo>
                      <a:pt x="194" y="329"/>
                    </a:lnTo>
                    <a:lnTo>
                      <a:pt x="192" y="329"/>
                    </a:lnTo>
                    <a:lnTo>
                      <a:pt x="190" y="329"/>
                    </a:lnTo>
                    <a:lnTo>
                      <a:pt x="189" y="331"/>
                    </a:lnTo>
                    <a:lnTo>
                      <a:pt x="187" y="331"/>
                    </a:lnTo>
                    <a:lnTo>
                      <a:pt x="187" y="333"/>
                    </a:lnTo>
                    <a:lnTo>
                      <a:pt x="187" y="331"/>
                    </a:lnTo>
                    <a:lnTo>
                      <a:pt x="185" y="331"/>
                    </a:lnTo>
                    <a:lnTo>
                      <a:pt x="187" y="331"/>
                    </a:lnTo>
                    <a:lnTo>
                      <a:pt x="187" y="333"/>
                    </a:lnTo>
                    <a:lnTo>
                      <a:pt x="185" y="333"/>
                    </a:lnTo>
                    <a:lnTo>
                      <a:pt x="187" y="333"/>
                    </a:lnTo>
                    <a:lnTo>
                      <a:pt x="185" y="333"/>
                    </a:lnTo>
                    <a:lnTo>
                      <a:pt x="187" y="333"/>
                    </a:lnTo>
                    <a:lnTo>
                      <a:pt x="185" y="333"/>
                    </a:lnTo>
                    <a:lnTo>
                      <a:pt x="183" y="333"/>
                    </a:lnTo>
                    <a:lnTo>
                      <a:pt x="183" y="335"/>
                    </a:lnTo>
                    <a:lnTo>
                      <a:pt x="181" y="333"/>
                    </a:lnTo>
                    <a:lnTo>
                      <a:pt x="181" y="335"/>
                    </a:lnTo>
                    <a:lnTo>
                      <a:pt x="179" y="335"/>
                    </a:lnTo>
                    <a:lnTo>
                      <a:pt x="181" y="335"/>
                    </a:lnTo>
                    <a:lnTo>
                      <a:pt x="183" y="335"/>
                    </a:lnTo>
                    <a:lnTo>
                      <a:pt x="183" y="337"/>
                    </a:lnTo>
                    <a:lnTo>
                      <a:pt x="181" y="339"/>
                    </a:lnTo>
                    <a:lnTo>
                      <a:pt x="183" y="339"/>
                    </a:lnTo>
                    <a:lnTo>
                      <a:pt x="181" y="339"/>
                    </a:lnTo>
                    <a:lnTo>
                      <a:pt x="181" y="337"/>
                    </a:lnTo>
                    <a:lnTo>
                      <a:pt x="179" y="337"/>
                    </a:lnTo>
                    <a:lnTo>
                      <a:pt x="179" y="339"/>
                    </a:lnTo>
                    <a:lnTo>
                      <a:pt x="181" y="340"/>
                    </a:lnTo>
                    <a:lnTo>
                      <a:pt x="183" y="342"/>
                    </a:lnTo>
                    <a:lnTo>
                      <a:pt x="183" y="344"/>
                    </a:lnTo>
                    <a:lnTo>
                      <a:pt x="185" y="344"/>
                    </a:lnTo>
                    <a:lnTo>
                      <a:pt x="187" y="344"/>
                    </a:lnTo>
                    <a:lnTo>
                      <a:pt x="187" y="346"/>
                    </a:lnTo>
                    <a:lnTo>
                      <a:pt x="187" y="344"/>
                    </a:lnTo>
                    <a:lnTo>
                      <a:pt x="189" y="346"/>
                    </a:lnTo>
                    <a:lnTo>
                      <a:pt x="190" y="346"/>
                    </a:lnTo>
                    <a:lnTo>
                      <a:pt x="192" y="346"/>
                    </a:lnTo>
                    <a:lnTo>
                      <a:pt x="192" y="348"/>
                    </a:lnTo>
                    <a:lnTo>
                      <a:pt x="190" y="348"/>
                    </a:lnTo>
                    <a:lnTo>
                      <a:pt x="190" y="350"/>
                    </a:lnTo>
                    <a:lnTo>
                      <a:pt x="192" y="350"/>
                    </a:lnTo>
                    <a:lnTo>
                      <a:pt x="194" y="350"/>
                    </a:lnTo>
                    <a:lnTo>
                      <a:pt x="196" y="352"/>
                    </a:lnTo>
                    <a:lnTo>
                      <a:pt x="198" y="352"/>
                    </a:lnTo>
                    <a:lnTo>
                      <a:pt x="198" y="354"/>
                    </a:lnTo>
                    <a:lnTo>
                      <a:pt x="200" y="354"/>
                    </a:lnTo>
                    <a:lnTo>
                      <a:pt x="200" y="356"/>
                    </a:lnTo>
                    <a:lnTo>
                      <a:pt x="200" y="358"/>
                    </a:lnTo>
                    <a:lnTo>
                      <a:pt x="200" y="360"/>
                    </a:lnTo>
                    <a:lnTo>
                      <a:pt x="200" y="362"/>
                    </a:lnTo>
                    <a:lnTo>
                      <a:pt x="198" y="364"/>
                    </a:lnTo>
                    <a:lnTo>
                      <a:pt x="196" y="365"/>
                    </a:lnTo>
                    <a:lnTo>
                      <a:pt x="194" y="365"/>
                    </a:lnTo>
                    <a:lnTo>
                      <a:pt x="192" y="364"/>
                    </a:lnTo>
                    <a:lnTo>
                      <a:pt x="190" y="364"/>
                    </a:lnTo>
                    <a:lnTo>
                      <a:pt x="190" y="362"/>
                    </a:lnTo>
                    <a:lnTo>
                      <a:pt x="189" y="362"/>
                    </a:lnTo>
                    <a:lnTo>
                      <a:pt x="187" y="362"/>
                    </a:lnTo>
                    <a:lnTo>
                      <a:pt x="187" y="360"/>
                    </a:lnTo>
                    <a:lnTo>
                      <a:pt x="185" y="360"/>
                    </a:lnTo>
                    <a:lnTo>
                      <a:pt x="185" y="362"/>
                    </a:lnTo>
                    <a:lnTo>
                      <a:pt x="183" y="362"/>
                    </a:lnTo>
                    <a:lnTo>
                      <a:pt x="181" y="360"/>
                    </a:lnTo>
                    <a:lnTo>
                      <a:pt x="179" y="360"/>
                    </a:lnTo>
                    <a:lnTo>
                      <a:pt x="177" y="362"/>
                    </a:lnTo>
                    <a:lnTo>
                      <a:pt x="177" y="364"/>
                    </a:lnTo>
                    <a:lnTo>
                      <a:pt x="175" y="364"/>
                    </a:lnTo>
                    <a:lnTo>
                      <a:pt x="173" y="365"/>
                    </a:lnTo>
                    <a:lnTo>
                      <a:pt x="171" y="365"/>
                    </a:lnTo>
                    <a:lnTo>
                      <a:pt x="171" y="367"/>
                    </a:lnTo>
                    <a:lnTo>
                      <a:pt x="169" y="367"/>
                    </a:lnTo>
                    <a:lnTo>
                      <a:pt x="169" y="369"/>
                    </a:lnTo>
                    <a:lnTo>
                      <a:pt x="171" y="369"/>
                    </a:lnTo>
                    <a:lnTo>
                      <a:pt x="171" y="371"/>
                    </a:lnTo>
                    <a:lnTo>
                      <a:pt x="171" y="373"/>
                    </a:lnTo>
                    <a:lnTo>
                      <a:pt x="171" y="375"/>
                    </a:lnTo>
                    <a:lnTo>
                      <a:pt x="171" y="377"/>
                    </a:lnTo>
                    <a:lnTo>
                      <a:pt x="171" y="379"/>
                    </a:lnTo>
                    <a:lnTo>
                      <a:pt x="171" y="381"/>
                    </a:lnTo>
                    <a:lnTo>
                      <a:pt x="173" y="383"/>
                    </a:lnTo>
                    <a:lnTo>
                      <a:pt x="173" y="385"/>
                    </a:lnTo>
                    <a:lnTo>
                      <a:pt x="175" y="385"/>
                    </a:lnTo>
                    <a:lnTo>
                      <a:pt x="175" y="387"/>
                    </a:lnTo>
                    <a:lnTo>
                      <a:pt x="177" y="387"/>
                    </a:lnTo>
                    <a:lnTo>
                      <a:pt x="175" y="387"/>
                    </a:lnTo>
                    <a:lnTo>
                      <a:pt x="177" y="389"/>
                    </a:lnTo>
                    <a:lnTo>
                      <a:pt x="175" y="390"/>
                    </a:lnTo>
                    <a:lnTo>
                      <a:pt x="177" y="392"/>
                    </a:lnTo>
                    <a:lnTo>
                      <a:pt x="177" y="394"/>
                    </a:lnTo>
                    <a:lnTo>
                      <a:pt x="177" y="396"/>
                    </a:lnTo>
                    <a:lnTo>
                      <a:pt x="175" y="396"/>
                    </a:lnTo>
                    <a:lnTo>
                      <a:pt x="173" y="396"/>
                    </a:lnTo>
                    <a:lnTo>
                      <a:pt x="173" y="398"/>
                    </a:lnTo>
                    <a:lnTo>
                      <a:pt x="171" y="398"/>
                    </a:lnTo>
                    <a:lnTo>
                      <a:pt x="171" y="400"/>
                    </a:lnTo>
                    <a:lnTo>
                      <a:pt x="169" y="400"/>
                    </a:lnTo>
                    <a:lnTo>
                      <a:pt x="169" y="398"/>
                    </a:lnTo>
                    <a:lnTo>
                      <a:pt x="167" y="398"/>
                    </a:lnTo>
                    <a:lnTo>
                      <a:pt x="165" y="398"/>
                    </a:lnTo>
                    <a:lnTo>
                      <a:pt x="165" y="396"/>
                    </a:lnTo>
                    <a:lnTo>
                      <a:pt x="164" y="396"/>
                    </a:lnTo>
                    <a:lnTo>
                      <a:pt x="162" y="396"/>
                    </a:lnTo>
                    <a:lnTo>
                      <a:pt x="162" y="394"/>
                    </a:lnTo>
                    <a:lnTo>
                      <a:pt x="160" y="394"/>
                    </a:lnTo>
                    <a:lnTo>
                      <a:pt x="160" y="392"/>
                    </a:lnTo>
                    <a:lnTo>
                      <a:pt x="158" y="392"/>
                    </a:lnTo>
                    <a:lnTo>
                      <a:pt x="158" y="390"/>
                    </a:lnTo>
                    <a:lnTo>
                      <a:pt x="156" y="390"/>
                    </a:lnTo>
                    <a:lnTo>
                      <a:pt x="158" y="390"/>
                    </a:lnTo>
                    <a:lnTo>
                      <a:pt x="156" y="389"/>
                    </a:lnTo>
                    <a:lnTo>
                      <a:pt x="154" y="387"/>
                    </a:lnTo>
                    <a:lnTo>
                      <a:pt x="152" y="387"/>
                    </a:lnTo>
                    <a:lnTo>
                      <a:pt x="154" y="387"/>
                    </a:lnTo>
                    <a:lnTo>
                      <a:pt x="152" y="387"/>
                    </a:lnTo>
                    <a:lnTo>
                      <a:pt x="152" y="385"/>
                    </a:lnTo>
                    <a:lnTo>
                      <a:pt x="150" y="385"/>
                    </a:lnTo>
                    <a:lnTo>
                      <a:pt x="150" y="387"/>
                    </a:lnTo>
                    <a:lnTo>
                      <a:pt x="150" y="389"/>
                    </a:lnTo>
                    <a:lnTo>
                      <a:pt x="148" y="390"/>
                    </a:lnTo>
                    <a:lnTo>
                      <a:pt x="148" y="392"/>
                    </a:lnTo>
                    <a:lnTo>
                      <a:pt x="146" y="390"/>
                    </a:lnTo>
                    <a:lnTo>
                      <a:pt x="146" y="392"/>
                    </a:lnTo>
                    <a:lnTo>
                      <a:pt x="146" y="390"/>
                    </a:lnTo>
                    <a:lnTo>
                      <a:pt x="146" y="392"/>
                    </a:lnTo>
                    <a:lnTo>
                      <a:pt x="144" y="392"/>
                    </a:lnTo>
                    <a:lnTo>
                      <a:pt x="142" y="392"/>
                    </a:lnTo>
                    <a:lnTo>
                      <a:pt x="142" y="390"/>
                    </a:lnTo>
                    <a:lnTo>
                      <a:pt x="141" y="390"/>
                    </a:lnTo>
                    <a:lnTo>
                      <a:pt x="141" y="392"/>
                    </a:lnTo>
                    <a:lnTo>
                      <a:pt x="139" y="392"/>
                    </a:lnTo>
                    <a:lnTo>
                      <a:pt x="139" y="390"/>
                    </a:lnTo>
                    <a:lnTo>
                      <a:pt x="139" y="389"/>
                    </a:lnTo>
                    <a:lnTo>
                      <a:pt x="137" y="389"/>
                    </a:lnTo>
                    <a:lnTo>
                      <a:pt x="137" y="387"/>
                    </a:lnTo>
                    <a:lnTo>
                      <a:pt x="139" y="387"/>
                    </a:lnTo>
                    <a:lnTo>
                      <a:pt x="137" y="387"/>
                    </a:lnTo>
                    <a:lnTo>
                      <a:pt x="137" y="385"/>
                    </a:lnTo>
                    <a:lnTo>
                      <a:pt x="135" y="385"/>
                    </a:lnTo>
                    <a:lnTo>
                      <a:pt x="137" y="385"/>
                    </a:lnTo>
                    <a:lnTo>
                      <a:pt x="137" y="383"/>
                    </a:lnTo>
                    <a:lnTo>
                      <a:pt x="137" y="385"/>
                    </a:lnTo>
                    <a:lnTo>
                      <a:pt x="135" y="385"/>
                    </a:lnTo>
                    <a:lnTo>
                      <a:pt x="137" y="385"/>
                    </a:lnTo>
                    <a:lnTo>
                      <a:pt x="137" y="387"/>
                    </a:lnTo>
                    <a:lnTo>
                      <a:pt x="139" y="387"/>
                    </a:lnTo>
                    <a:lnTo>
                      <a:pt x="137" y="387"/>
                    </a:lnTo>
                    <a:lnTo>
                      <a:pt x="137" y="389"/>
                    </a:lnTo>
                    <a:lnTo>
                      <a:pt x="139" y="389"/>
                    </a:lnTo>
                    <a:lnTo>
                      <a:pt x="139" y="390"/>
                    </a:lnTo>
                    <a:lnTo>
                      <a:pt x="139" y="392"/>
                    </a:lnTo>
                    <a:lnTo>
                      <a:pt x="141" y="392"/>
                    </a:lnTo>
                    <a:lnTo>
                      <a:pt x="141" y="390"/>
                    </a:lnTo>
                    <a:lnTo>
                      <a:pt x="142" y="390"/>
                    </a:lnTo>
                    <a:lnTo>
                      <a:pt x="142" y="392"/>
                    </a:lnTo>
                    <a:lnTo>
                      <a:pt x="144" y="392"/>
                    </a:lnTo>
                    <a:lnTo>
                      <a:pt x="146" y="392"/>
                    </a:lnTo>
                    <a:lnTo>
                      <a:pt x="146" y="390"/>
                    </a:lnTo>
                    <a:lnTo>
                      <a:pt x="148" y="392"/>
                    </a:lnTo>
                    <a:lnTo>
                      <a:pt x="148" y="390"/>
                    </a:lnTo>
                    <a:lnTo>
                      <a:pt x="150" y="390"/>
                    </a:lnTo>
                    <a:lnTo>
                      <a:pt x="150" y="389"/>
                    </a:lnTo>
                    <a:lnTo>
                      <a:pt x="150" y="387"/>
                    </a:lnTo>
                    <a:lnTo>
                      <a:pt x="152" y="385"/>
                    </a:lnTo>
                    <a:lnTo>
                      <a:pt x="150" y="385"/>
                    </a:lnTo>
                    <a:lnTo>
                      <a:pt x="152" y="385"/>
                    </a:lnTo>
                    <a:lnTo>
                      <a:pt x="152" y="387"/>
                    </a:lnTo>
                    <a:lnTo>
                      <a:pt x="154" y="387"/>
                    </a:lnTo>
                    <a:lnTo>
                      <a:pt x="154" y="389"/>
                    </a:lnTo>
                    <a:lnTo>
                      <a:pt x="156" y="389"/>
                    </a:lnTo>
                    <a:lnTo>
                      <a:pt x="158" y="390"/>
                    </a:lnTo>
                    <a:lnTo>
                      <a:pt x="156" y="390"/>
                    </a:lnTo>
                    <a:lnTo>
                      <a:pt x="158" y="390"/>
                    </a:lnTo>
                    <a:lnTo>
                      <a:pt x="158" y="392"/>
                    </a:lnTo>
                    <a:lnTo>
                      <a:pt x="160" y="392"/>
                    </a:lnTo>
                    <a:lnTo>
                      <a:pt x="160" y="394"/>
                    </a:lnTo>
                    <a:lnTo>
                      <a:pt x="162" y="394"/>
                    </a:lnTo>
                    <a:lnTo>
                      <a:pt x="162" y="396"/>
                    </a:lnTo>
                    <a:lnTo>
                      <a:pt x="164" y="396"/>
                    </a:lnTo>
                    <a:lnTo>
                      <a:pt x="165" y="396"/>
                    </a:lnTo>
                    <a:lnTo>
                      <a:pt x="165" y="398"/>
                    </a:lnTo>
                    <a:lnTo>
                      <a:pt x="167" y="398"/>
                    </a:lnTo>
                    <a:lnTo>
                      <a:pt x="169" y="398"/>
                    </a:lnTo>
                    <a:lnTo>
                      <a:pt x="169" y="400"/>
                    </a:lnTo>
                    <a:lnTo>
                      <a:pt x="169" y="402"/>
                    </a:lnTo>
                    <a:lnTo>
                      <a:pt x="169" y="400"/>
                    </a:lnTo>
                    <a:lnTo>
                      <a:pt x="169" y="402"/>
                    </a:lnTo>
                    <a:lnTo>
                      <a:pt x="167" y="402"/>
                    </a:lnTo>
                    <a:lnTo>
                      <a:pt x="167" y="404"/>
                    </a:lnTo>
                    <a:lnTo>
                      <a:pt x="167" y="402"/>
                    </a:lnTo>
                    <a:lnTo>
                      <a:pt x="169" y="402"/>
                    </a:lnTo>
                    <a:lnTo>
                      <a:pt x="167" y="404"/>
                    </a:lnTo>
                    <a:lnTo>
                      <a:pt x="167" y="406"/>
                    </a:lnTo>
                    <a:lnTo>
                      <a:pt x="169" y="406"/>
                    </a:lnTo>
                    <a:lnTo>
                      <a:pt x="169" y="408"/>
                    </a:lnTo>
                    <a:lnTo>
                      <a:pt x="167" y="408"/>
                    </a:lnTo>
                    <a:lnTo>
                      <a:pt x="169" y="408"/>
                    </a:lnTo>
                    <a:lnTo>
                      <a:pt x="167" y="408"/>
                    </a:lnTo>
                    <a:lnTo>
                      <a:pt x="169" y="408"/>
                    </a:lnTo>
                    <a:lnTo>
                      <a:pt x="169" y="406"/>
                    </a:lnTo>
                    <a:lnTo>
                      <a:pt x="167" y="406"/>
                    </a:lnTo>
                    <a:lnTo>
                      <a:pt x="167" y="404"/>
                    </a:lnTo>
                    <a:lnTo>
                      <a:pt x="169" y="402"/>
                    </a:lnTo>
                    <a:lnTo>
                      <a:pt x="169" y="400"/>
                    </a:lnTo>
                    <a:lnTo>
                      <a:pt x="171" y="400"/>
                    </a:lnTo>
                    <a:lnTo>
                      <a:pt x="171" y="398"/>
                    </a:lnTo>
                    <a:lnTo>
                      <a:pt x="173" y="398"/>
                    </a:lnTo>
                    <a:lnTo>
                      <a:pt x="175" y="398"/>
                    </a:lnTo>
                    <a:lnTo>
                      <a:pt x="175" y="396"/>
                    </a:lnTo>
                    <a:lnTo>
                      <a:pt x="177" y="396"/>
                    </a:lnTo>
                    <a:lnTo>
                      <a:pt x="177" y="394"/>
                    </a:lnTo>
                    <a:lnTo>
                      <a:pt x="177" y="392"/>
                    </a:lnTo>
                    <a:lnTo>
                      <a:pt x="179" y="392"/>
                    </a:lnTo>
                    <a:lnTo>
                      <a:pt x="177" y="392"/>
                    </a:lnTo>
                    <a:lnTo>
                      <a:pt x="175" y="390"/>
                    </a:lnTo>
                    <a:lnTo>
                      <a:pt x="177" y="390"/>
                    </a:lnTo>
                    <a:lnTo>
                      <a:pt x="177" y="389"/>
                    </a:lnTo>
                    <a:lnTo>
                      <a:pt x="177" y="387"/>
                    </a:lnTo>
                    <a:lnTo>
                      <a:pt x="175" y="387"/>
                    </a:lnTo>
                    <a:lnTo>
                      <a:pt x="175" y="385"/>
                    </a:lnTo>
                    <a:lnTo>
                      <a:pt x="173" y="383"/>
                    </a:lnTo>
                    <a:lnTo>
                      <a:pt x="173" y="381"/>
                    </a:lnTo>
                    <a:lnTo>
                      <a:pt x="171" y="381"/>
                    </a:lnTo>
                    <a:lnTo>
                      <a:pt x="171" y="379"/>
                    </a:lnTo>
                    <a:lnTo>
                      <a:pt x="173" y="379"/>
                    </a:lnTo>
                    <a:lnTo>
                      <a:pt x="171" y="379"/>
                    </a:lnTo>
                    <a:lnTo>
                      <a:pt x="173" y="379"/>
                    </a:lnTo>
                    <a:lnTo>
                      <a:pt x="171" y="379"/>
                    </a:lnTo>
                    <a:lnTo>
                      <a:pt x="171" y="377"/>
                    </a:lnTo>
                    <a:lnTo>
                      <a:pt x="171" y="375"/>
                    </a:lnTo>
                    <a:lnTo>
                      <a:pt x="171" y="373"/>
                    </a:lnTo>
                    <a:lnTo>
                      <a:pt x="171" y="371"/>
                    </a:lnTo>
                    <a:lnTo>
                      <a:pt x="171" y="369"/>
                    </a:lnTo>
                    <a:lnTo>
                      <a:pt x="169" y="369"/>
                    </a:lnTo>
                    <a:lnTo>
                      <a:pt x="171" y="369"/>
                    </a:lnTo>
                    <a:lnTo>
                      <a:pt x="169" y="369"/>
                    </a:lnTo>
                    <a:lnTo>
                      <a:pt x="169" y="367"/>
                    </a:lnTo>
                    <a:lnTo>
                      <a:pt x="171" y="367"/>
                    </a:lnTo>
                    <a:lnTo>
                      <a:pt x="171" y="365"/>
                    </a:lnTo>
                    <a:lnTo>
                      <a:pt x="173" y="365"/>
                    </a:lnTo>
                    <a:lnTo>
                      <a:pt x="175" y="364"/>
                    </a:lnTo>
                    <a:lnTo>
                      <a:pt x="177" y="364"/>
                    </a:lnTo>
                    <a:lnTo>
                      <a:pt x="177" y="362"/>
                    </a:lnTo>
                    <a:lnTo>
                      <a:pt x="179" y="360"/>
                    </a:lnTo>
                    <a:lnTo>
                      <a:pt x="181" y="360"/>
                    </a:lnTo>
                    <a:lnTo>
                      <a:pt x="181" y="362"/>
                    </a:lnTo>
                    <a:lnTo>
                      <a:pt x="183" y="362"/>
                    </a:lnTo>
                    <a:lnTo>
                      <a:pt x="185" y="362"/>
                    </a:lnTo>
                    <a:lnTo>
                      <a:pt x="187" y="362"/>
                    </a:lnTo>
                    <a:lnTo>
                      <a:pt x="187" y="360"/>
                    </a:lnTo>
                    <a:lnTo>
                      <a:pt x="187" y="362"/>
                    </a:lnTo>
                    <a:lnTo>
                      <a:pt x="189" y="362"/>
                    </a:lnTo>
                    <a:lnTo>
                      <a:pt x="187" y="362"/>
                    </a:lnTo>
                    <a:lnTo>
                      <a:pt x="189" y="362"/>
                    </a:lnTo>
                    <a:lnTo>
                      <a:pt x="190" y="362"/>
                    </a:lnTo>
                    <a:lnTo>
                      <a:pt x="190" y="364"/>
                    </a:lnTo>
                    <a:lnTo>
                      <a:pt x="192" y="364"/>
                    </a:lnTo>
                    <a:lnTo>
                      <a:pt x="192" y="365"/>
                    </a:lnTo>
                    <a:lnTo>
                      <a:pt x="192" y="364"/>
                    </a:lnTo>
                    <a:lnTo>
                      <a:pt x="192" y="365"/>
                    </a:lnTo>
                    <a:lnTo>
                      <a:pt x="194" y="365"/>
                    </a:lnTo>
                    <a:lnTo>
                      <a:pt x="196" y="365"/>
                    </a:lnTo>
                    <a:lnTo>
                      <a:pt x="198" y="365"/>
                    </a:lnTo>
                    <a:lnTo>
                      <a:pt x="200" y="364"/>
                    </a:lnTo>
                    <a:lnTo>
                      <a:pt x="202" y="364"/>
                    </a:lnTo>
                    <a:lnTo>
                      <a:pt x="202" y="365"/>
                    </a:lnTo>
                    <a:lnTo>
                      <a:pt x="204" y="365"/>
                    </a:lnTo>
                    <a:lnTo>
                      <a:pt x="206" y="365"/>
                    </a:lnTo>
                    <a:lnTo>
                      <a:pt x="208" y="365"/>
                    </a:lnTo>
                    <a:lnTo>
                      <a:pt x="210" y="365"/>
                    </a:lnTo>
                    <a:lnTo>
                      <a:pt x="212" y="365"/>
                    </a:lnTo>
                    <a:lnTo>
                      <a:pt x="214" y="364"/>
                    </a:lnTo>
                    <a:lnTo>
                      <a:pt x="214" y="365"/>
                    </a:lnTo>
                    <a:lnTo>
                      <a:pt x="215" y="365"/>
                    </a:lnTo>
                    <a:lnTo>
                      <a:pt x="219" y="364"/>
                    </a:lnTo>
                    <a:lnTo>
                      <a:pt x="221" y="364"/>
                    </a:lnTo>
                    <a:lnTo>
                      <a:pt x="223" y="364"/>
                    </a:lnTo>
                    <a:lnTo>
                      <a:pt x="225" y="364"/>
                    </a:lnTo>
                    <a:lnTo>
                      <a:pt x="225" y="362"/>
                    </a:lnTo>
                    <a:lnTo>
                      <a:pt x="225" y="364"/>
                    </a:lnTo>
                    <a:lnTo>
                      <a:pt x="225" y="362"/>
                    </a:lnTo>
                    <a:lnTo>
                      <a:pt x="227" y="364"/>
                    </a:lnTo>
                    <a:lnTo>
                      <a:pt x="229" y="364"/>
                    </a:lnTo>
                    <a:lnTo>
                      <a:pt x="231" y="364"/>
                    </a:lnTo>
                    <a:lnTo>
                      <a:pt x="233" y="364"/>
                    </a:lnTo>
                    <a:lnTo>
                      <a:pt x="235" y="364"/>
                    </a:lnTo>
                    <a:lnTo>
                      <a:pt x="235" y="362"/>
                    </a:lnTo>
                    <a:lnTo>
                      <a:pt x="235" y="364"/>
                    </a:lnTo>
                    <a:lnTo>
                      <a:pt x="235" y="365"/>
                    </a:lnTo>
                    <a:lnTo>
                      <a:pt x="237" y="367"/>
                    </a:lnTo>
                    <a:lnTo>
                      <a:pt x="237" y="369"/>
                    </a:lnTo>
                    <a:lnTo>
                      <a:pt x="238" y="369"/>
                    </a:lnTo>
                    <a:lnTo>
                      <a:pt x="240" y="369"/>
                    </a:lnTo>
                    <a:lnTo>
                      <a:pt x="240" y="371"/>
                    </a:lnTo>
                    <a:lnTo>
                      <a:pt x="242" y="371"/>
                    </a:lnTo>
                    <a:lnTo>
                      <a:pt x="240" y="371"/>
                    </a:lnTo>
                    <a:lnTo>
                      <a:pt x="242" y="373"/>
                    </a:lnTo>
                    <a:lnTo>
                      <a:pt x="244" y="373"/>
                    </a:lnTo>
                    <a:lnTo>
                      <a:pt x="246" y="373"/>
                    </a:lnTo>
                    <a:lnTo>
                      <a:pt x="246" y="375"/>
                    </a:lnTo>
                    <a:lnTo>
                      <a:pt x="246" y="377"/>
                    </a:lnTo>
                    <a:lnTo>
                      <a:pt x="248" y="377"/>
                    </a:lnTo>
                    <a:lnTo>
                      <a:pt x="248" y="379"/>
                    </a:lnTo>
                    <a:lnTo>
                      <a:pt x="250" y="379"/>
                    </a:lnTo>
                    <a:lnTo>
                      <a:pt x="250" y="381"/>
                    </a:lnTo>
                    <a:lnTo>
                      <a:pt x="252" y="381"/>
                    </a:lnTo>
                    <a:lnTo>
                      <a:pt x="252" y="383"/>
                    </a:lnTo>
                    <a:lnTo>
                      <a:pt x="252" y="385"/>
                    </a:lnTo>
                    <a:lnTo>
                      <a:pt x="254" y="385"/>
                    </a:lnTo>
                    <a:lnTo>
                      <a:pt x="256" y="385"/>
                    </a:lnTo>
                    <a:lnTo>
                      <a:pt x="258" y="385"/>
                    </a:lnTo>
                    <a:lnTo>
                      <a:pt x="258" y="383"/>
                    </a:lnTo>
                    <a:lnTo>
                      <a:pt x="258" y="385"/>
                    </a:lnTo>
                    <a:lnTo>
                      <a:pt x="256" y="385"/>
                    </a:lnTo>
                    <a:lnTo>
                      <a:pt x="254" y="385"/>
                    </a:lnTo>
                    <a:lnTo>
                      <a:pt x="254" y="383"/>
                    </a:lnTo>
                    <a:lnTo>
                      <a:pt x="252" y="385"/>
                    </a:lnTo>
                    <a:lnTo>
                      <a:pt x="252" y="383"/>
                    </a:lnTo>
                    <a:lnTo>
                      <a:pt x="252" y="381"/>
                    </a:lnTo>
                    <a:lnTo>
                      <a:pt x="250" y="381"/>
                    </a:lnTo>
                    <a:lnTo>
                      <a:pt x="250" y="379"/>
                    </a:lnTo>
                    <a:lnTo>
                      <a:pt x="248" y="379"/>
                    </a:lnTo>
                    <a:lnTo>
                      <a:pt x="248" y="377"/>
                    </a:lnTo>
                    <a:lnTo>
                      <a:pt x="246" y="377"/>
                    </a:lnTo>
                    <a:lnTo>
                      <a:pt x="246" y="375"/>
                    </a:lnTo>
                    <a:lnTo>
                      <a:pt x="246" y="373"/>
                    </a:lnTo>
                    <a:lnTo>
                      <a:pt x="244" y="373"/>
                    </a:lnTo>
                    <a:lnTo>
                      <a:pt x="242" y="373"/>
                    </a:lnTo>
                    <a:lnTo>
                      <a:pt x="242" y="371"/>
                    </a:lnTo>
                    <a:lnTo>
                      <a:pt x="240" y="371"/>
                    </a:lnTo>
                    <a:lnTo>
                      <a:pt x="240" y="369"/>
                    </a:lnTo>
                    <a:lnTo>
                      <a:pt x="238" y="369"/>
                    </a:lnTo>
                    <a:lnTo>
                      <a:pt x="237" y="369"/>
                    </a:lnTo>
                    <a:lnTo>
                      <a:pt x="238" y="367"/>
                    </a:lnTo>
                    <a:lnTo>
                      <a:pt x="237" y="367"/>
                    </a:lnTo>
                    <a:lnTo>
                      <a:pt x="235" y="365"/>
                    </a:lnTo>
                    <a:lnTo>
                      <a:pt x="235" y="364"/>
                    </a:lnTo>
                    <a:lnTo>
                      <a:pt x="235" y="362"/>
                    </a:lnTo>
                    <a:lnTo>
                      <a:pt x="235" y="364"/>
                    </a:lnTo>
                    <a:lnTo>
                      <a:pt x="233" y="364"/>
                    </a:lnTo>
                    <a:lnTo>
                      <a:pt x="233" y="362"/>
                    </a:lnTo>
                    <a:lnTo>
                      <a:pt x="235" y="362"/>
                    </a:lnTo>
                    <a:lnTo>
                      <a:pt x="235" y="360"/>
                    </a:lnTo>
                    <a:lnTo>
                      <a:pt x="235" y="358"/>
                    </a:lnTo>
                    <a:lnTo>
                      <a:pt x="237" y="356"/>
                    </a:lnTo>
                    <a:lnTo>
                      <a:pt x="237" y="354"/>
                    </a:lnTo>
                    <a:lnTo>
                      <a:pt x="238" y="354"/>
                    </a:lnTo>
                    <a:lnTo>
                      <a:pt x="240" y="354"/>
                    </a:lnTo>
                    <a:lnTo>
                      <a:pt x="242" y="354"/>
                    </a:lnTo>
                    <a:lnTo>
                      <a:pt x="244" y="354"/>
                    </a:lnTo>
                    <a:lnTo>
                      <a:pt x="246" y="354"/>
                    </a:lnTo>
                    <a:lnTo>
                      <a:pt x="246" y="356"/>
                    </a:lnTo>
                    <a:lnTo>
                      <a:pt x="248" y="356"/>
                    </a:lnTo>
                    <a:lnTo>
                      <a:pt x="250" y="356"/>
                    </a:lnTo>
                    <a:lnTo>
                      <a:pt x="250" y="354"/>
                    </a:lnTo>
                    <a:lnTo>
                      <a:pt x="252" y="354"/>
                    </a:lnTo>
                    <a:lnTo>
                      <a:pt x="254" y="354"/>
                    </a:lnTo>
                    <a:lnTo>
                      <a:pt x="256" y="354"/>
                    </a:lnTo>
                    <a:lnTo>
                      <a:pt x="258" y="354"/>
                    </a:lnTo>
                    <a:lnTo>
                      <a:pt x="260" y="354"/>
                    </a:lnTo>
                    <a:lnTo>
                      <a:pt x="262" y="354"/>
                    </a:lnTo>
                    <a:lnTo>
                      <a:pt x="263" y="354"/>
                    </a:lnTo>
                    <a:lnTo>
                      <a:pt x="265" y="354"/>
                    </a:lnTo>
                    <a:lnTo>
                      <a:pt x="265" y="356"/>
                    </a:lnTo>
                    <a:lnTo>
                      <a:pt x="267" y="356"/>
                    </a:lnTo>
                    <a:lnTo>
                      <a:pt x="269" y="356"/>
                    </a:lnTo>
                    <a:lnTo>
                      <a:pt x="271" y="356"/>
                    </a:lnTo>
                    <a:lnTo>
                      <a:pt x="271" y="358"/>
                    </a:lnTo>
                    <a:lnTo>
                      <a:pt x="271" y="356"/>
                    </a:lnTo>
                    <a:lnTo>
                      <a:pt x="271" y="358"/>
                    </a:lnTo>
                    <a:lnTo>
                      <a:pt x="273" y="358"/>
                    </a:lnTo>
                    <a:lnTo>
                      <a:pt x="275" y="358"/>
                    </a:lnTo>
                    <a:lnTo>
                      <a:pt x="277" y="358"/>
                    </a:lnTo>
                    <a:lnTo>
                      <a:pt x="277" y="356"/>
                    </a:lnTo>
                    <a:lnTo>
                      <a:pt x="279" y="356"/>
                    </a:lnTo>
                    <a:lnTo>
                      <a:pt x="281" y="356"/>
                    </a:lnTo>
                    <a:lnTo>
                      <a:pt x="283" y="354"/>
                    </a:lnTo>
                    <a:lnTo>
                      <a:pt x="285" y="354"/>
                    </a:lnTo>
                    <a:lnTo>
                      <a:pt x="287" y="354"/>
                    </a:lnTo>
                    <a:lnTo>
                      <a:pt x="288" y="352"/>
                    </a:lnTo>
                    <a:lnTo>
                      <a:pt x="288" y="354"/>
                    </a:lnTo>
                    <a:lnTo>
                      <a:pt x="290" y="354"/>
                    </a:lnTo>
                    <a:lnTo>
                      <a:pt x="292" y="354"/>
                    </a:lnTo>
                    <a:lnTo>
                      <a:pt x="292" y="356"/>
                    </a:lnTo>
                    <a:lnTo>
                      <a:pt x="294" y="356"/>
                    </a:lnTo>
                    <a:lnTo>
                      <a:pt x="294" y="358"/>
                    </a:lnTo>
                    <a:lnTo>
                      <a:pt x="296" y="358"/>
                    </a:lnTo>
                    <a:lnTo>
                      <a:pt x="294" y="358"/>
                    </a:lnTo>
                    <a:lnTo>
                      <a:pt x="294" y="360"/>
                    </a:lnTo>
                    <a:lnTo>
                      <a:pt x="294" y="362"/>
                    </a:lnTo>
                    <a:lnTo>
                      <a:pt x="296" y="362"/>
                    </a:lnTo>
                    <a:lnTo>
                      <a:pt x="296" y="364"/>
                    </a:lnTo>
                    <a:lnTo>
                      <a:pt x="296" y="367"/>
                    </a:lnTo>
                    <a:lnTo>
                      <a:pt x="296" y="369"/>
                    </a:lnTo>
                    <a:lnTo>
                      <a:pt x="296" y="371"/>
                    </a:lnTo>
                    <a:lnTo>
                      <a:pt x="296" y="373"/>
                    </a:lnTo>
                    <a:lnTo>
                      <a:pt x="296" y="375"/>
                    </a:lnTo>
                    <a:lnTo>
                      <a:pt x="294" y="375"/>
                    </a:lnTo>
                    <a:lnTo>
                      <a:pt x="296" y="377"/>
                    </a:lnTo>
                    <a:lnTo>
                      <a:pt x="298" y="377"/>
                    </a:lnTo>
                    <a:lnTo>
                      <a:pt x="296" y="377"/>
                    </a:lnTo>
                    <a:lnTo>
                      <a:pt x="298" y="377"/>
                    </a:lnTo>
                    <a:lnTo>
                      <a:pt x="298" y="379"/>
                    </a:lnTo>
                    <a:lnTo>
                      <a:pt x="298" y="381"/>
                    </a:lnTo>
                    <a:lnTo>
                      <a:pt x="298" y="383"/>
                    </a:lnTo>
                    <a:lnTo>
                      <a:pt x="298" y="385"/>
                    </a:lnTo>
                    <a:lnTo>
                      <a:pt x="296" y="385"/>
                    </a:lnTo>
                    <a:lnTo>
                      <a:pt x="296" y="387"/>
                    </a:lnTo>
                    <a:lnTo>
                      <a:pt x="298" y="389"/>
                    </a:lnTo>
                    <a:lnTo>
                      <a:pt x="300" y="389"/>
                    </a:lnTo>
                    <a:lnTo>
                      <a:pt x="300" y="390"/>
                    </a:lnTo>
                    <a:lnTo>
                      <a:pt x="302" y="390"/>
                    </a:lnTo>
                    <a:lnTo>
                      <a:pt x="302" y="392"/>
                    </a:lnTo>
                    <a:lnTo>
                      <a:pt x="300" y="392"/>
                    </a:lnTo>
                    <a:lnTo>
                      <a:pt x="298" y="392"/>
                    </a:lnTo>
                    <a:lnTo>
                      <a:pt x="296" y="392"/>
                    </a:lnTo>
                    <a:lnTo>
                      <a:pt x="296" y="390"/>
                    </a:lnTo>
                    <a:lnTo>
                      <a:pt x="294" y="390"/>
                    </a:lnTo>
                    <a:lnTo>
                      <a:pt x="292" y="390"/>
                    </a:lnTo>
                    <a:lnTo>
                      <a:pt x="290" y="392"/>
                    </a:lnTo>
                    <a:lnTo>
                      <a:pt x="290" y="394"/>
                    </a:lnTo>
                    <a:lnTo>
                      <a:pt x="292" y="394"/>
                    </a:lnTo>
                    <a:lnTo>
                      <a:pt x="292" y="396"/>
                    </a:lnTo>
                    <a:lnTo>
                      <a:pt x="294" y="396"/>
                    </a:lnTo>
                    <a:lnTo>
                      <a:pt x="294" y="398"/>
                    </a:lnTo>
                    <a:lnTo>
                      <a:pt x="292" y="398"/>
                    </a:lnTo>
                    <a:lnTo>
                      <a:pt x="290" y="398"/>
                    </a:lnTo>
                    <a:lnTo>
                      <a:pt x="290" y="400"/>
                    </a:lnTo>
                    <a:lnTo>
                      <a:pt x="290" y="398"/>
                    </a:lnTo>
                    <a:lnTo>
                      <a:pt x="290" y="400"/>
                    </a:lnTo>
                    <a:lnTo>
                      <a:pt x="288" y="400"/>
                    </a:lnTo>
                    <a:lnTo>
                      <a:pt x="287" y="402"/>
                    </a:lnTo>
                    <a:lnTo>
                      <a:pt x="285" y="402"/>
                    </a:lnTo>
                    <a:lnTo>
                      <a:pt x="283" y="402"/>
                    </a:lnTo>
                    <a:lnTo>
                      <a:pt x="281" y="402"/>
                    </a:lnTo>
                    <a:lnTo>
                      <a:pt x="283" y="404"/>
                    </a:lnTo>
                    <a:lnTo>
                      <a:pt x="283" y="406"/>
                    </a:lnTo>
                    <a:lnTo>
                      <a:pt x="281" y="406"/>
                    </a:lnTo>
                    <a:lnTo>
                      <a:pt x="281" y="408"/>
                    </a:lnTo>
                    <a:lnTo>
                      <a:pt x="281" y="410"/>
                    </a:lnTo>
                    <a:lnTo>
                      <a:pt x="279" y="412"/>
                    </a:lnTo>
                    <a:lnTo>
                      <a:pt x="277" y="414"/>
                    </a:lnTo>
                    <a:lnTo>
                      <a:pt x="275" y="414"/>
                    </a:lnTo>
                    <a:lnTo>
                      <a:pt x="275" y="415"/>
                    </a:lnTo>
                    <a:lnTo>
                      <a:pt x="273" y="415"/>
                    </a:lnTo>
                    <a:lnTo>
                      <a:pt x="275" y="415"/>
                    </a:lnTo>
                    <a:lnTo>
                      <a:pt x="275" y="417"/>
                    </a:lnTo>
                    <a:lnTo>
                      <a:pt x="273" y="417"/>
                    </a:lnTo>
                    <a:lnTo>
                      <a:pt x="271" y="419"/>
                    </a:lnTo>
                    <a:lnTo>
                      <a:pt x="271" y="421"/>
                    </a:lnTo>
                    <a:lnTo>
                      <a:pt x="269" y="421"/>
                    </a:lnTo>
                    <a:lnTo>
                      <a:pt x="271" y="421"/>
                    </a:lnTo>
                    <a:lnTo>
                      <a:pt x="271" y="423"/>
                    </a:lnTo>
                    <a:lnTo>
                      <a:pt x="269" y="423"/>
                    </a:lnTo>
                    <a:lnTo>
                      <a:pt x="269" y="421"/>
                    </a:lnTo>
                    <a:lnTo>
                      <a:pt x="269" y="423"/>
                    </a:lnTo>
                    <a:lnTo>
                      <a:pt x="267" y="423"/>
                    </a:lnTo>
                    <a:lnTo>
                      <a:pt x="267" y="425"/>
                    </a:lnTo>
                    <a:lnTo>
                      <a:pt x="267" y="427"/>
                    </a:lnTo>
                    <a:lnTo>
                      <a:pt x="267" y="429"/>
                    </a:lnTo>
                    <a:lnTo>
                      <a:pt x="267" y="431"/>
                    </a:lnTo>
                    <a:lnTo>
                      <a:pt x="267" y="433"/>
                    </a:lnTo>
                    <a:lnTo>
                      <a:pt x="267" y="435"/>
                    </a:lnTo>
                    <a:lnTo>
                      <a:pt x="267" y="437"/>
                    </a:lnTo>
                    <a:lnTo>
                      <a:pt x="267" y="435"/>
                    </a:lnTo>
                    <a:lnTo>
                      <a:pt x="269" y="435"/>
                    </a:lnTo>
                    <a:lnTo>
                      <a:pt x="267" y="433"/>
                    </a:lnTo>
                    <a:lnTo>
                      <a:pt x="267" y="431"/>
                    </a:lnTo>
                    <a:lnTo>
                      <a:pt x="267" y="429"/>
                    </a:lnTo>
                    <a:lnTo>
                      <a:pt x="267" y="427"/>
                    </a:lnTo>
                    <a:lnTo>
                      <a:pt x="269" y="427"/>
                    </a:lnTo>
                    <a:lnTo>
                      <a:pt x="269" y="425"/>
                    </a:lnTo>
                    <a:lnTo>
                      <a:pt x="269" y="427"/>
                    </a:lnTo>
                    <a:lnTo>
                      <a:pt x="269" y="425"/>
                    </a:lnTo>
                    <a:lnTo>
                      <a:pt x="271" y="425"/>
                    </a:lnTo>
                    <a:lnTo>
                      <a:pt x="271" y="423"/>
                    </a:lnTo>
                    <a:lnTo>
                      <a:pt x="271" y="425"/>
                    </a:lnTo>
                    <a:lnTo>
                      <a:pt x="271" y="423"/>
                    </a:lnTo>
                    <a:lnTo>
                      <a:pt x="273" y="423"/>
                    </a:lnTo>
                    <a:lnTo>
                      <a:pt x="271" y="421"/>
                    </a:lnTo>
                    <a:lnTo>
                      <a:pt x="273" y="421"/>
                    </a:lnTo>
                    <a:lnTo>
                      <a:pt x="271" y="421"/>
                    </a:lnTo>
                    <a:lnTo>
                      <a:pt x="273" y="421"/>
                    </a:lnTo>
                    <a:lnTo>
                      <a:pt x="271" y="421"/>
                    </a:lnTo>
                    <a:lnTo>
                      <a:pt x="273" y="421"/>
                    </a:lnTo>
                    <a:lnTo>
                      <a:pt x="273" y="419"/>
                    </a:lnTo>
                    <a:lnTo>
                      <a:pt x="273" y="417"/>
                    </a:lnTo>
                    <a:lnTo>
                      <a:pt x="275" y="417"/>
                    </a:lnTo>
                    <a:lnTo>
                      <a:pt x="275" y="415"/>
                    </a:lnTo>
                    <a:lnTo>
                      <a:pt x="277" y="414"/>
                    </a:lnTo>
                    <a:lnTo>
                      <a:pt x="279" y="412"/>
                    </a:lnTo>
                    <a:lnTo>
                      <a:pt x="281" y="412"/>
                    </a:lnTo>
                    <a:lnTo>
                      <a:pt x="281" y="410"/>
                    </a:lnTo>
                    <a:lnTo>
                      <a:pt x="281" y="408"/>
                    </a:lnTo>
                    <a:lnTo>
                      <a:pt x="283" y="406"/>
                    </a:lnTo>
                    <a:lnTo>
                      <a:pt x="281" y="408"/>
                    </a:lnTo>
                    <a:lnTo>
                      <a:pt x="283" y="406"/>
                    </a:lnTo>
                    <a:lnTo>
                      <a:pt x="283" y="404"/>
                    </a:lnTo>
                    <a:lnTo>
                      <a:pt x="283" y="402"/>
                    </a:lnTo>
                    <a:lnTo>
                      <a:pt x="285" y="402"/>
                    </a:lnTo>
                    <a:lnTo>
                      <a:pt x="287" y="402"/>
                    </a:lnTo>
                    <a:lnTo>
                      <a:pt x="288" y="402"/>
                    </a:lnTo>
                    <a:lnTo>
                      <a:pt x="288" y="400"/>
                    </a:lnTo>
                    <a:lnTo>
                      <a:pt x="290" y="400"/>
                    </a:lnTo>
                    <a:lnTo>
                      <a:pt x="292" y="400"/>
                    </a:lnTo>
                    <a:lnTo>
                      <a:pt x="292" y="398"/>
                    </a:lnTo>
                    <a:lnTo>
                      <a:pt x="294" y="398"/>
                    </a:lnTo>
                    <a:lnTo>
                      <a:pt x="294" y="396"/>
                    </a:lnTo>
                    <a:lnTo>
                      <a:pt x="294" y="394"/>
                    </a:lnTo>
                    <a:lnTo>
                      <a:pt x="292" y="394"/>
                    </a:lnTo>
                    <a:lnTo>
                      <a:pt x="290" y="394"/>
                    </a:lnTo>
                    <a:lnTo>
                      <a:pt x="290" y="392"/>
                    </a:lnTo>
                    <a:lnTo>
                      <a:pt x="292" y="392"/>
                    </a:lnTo>
                    <a:lnTo>
                      <a:pt x="294" y="390"/>
                    </a:lnTo>
                    <a:lnTo>
                      <a:pt x="296" y="392"/>
                    </a:lnTo>
                    <a:lnTo>
                      <a:pt x="298" y="392"/>
                    </a:lnTo>
                    <a:lnTo>
                      <a:pt x="298" y="394"/>
                    </a:lnTo>
                    <a:lnTo>
                      <a:pt x="300" y="394"/>
                    </a:lnTo>
                    <a:lnTo>
                      <a:pt x="302" y="394"/>
                    </a:lnTo>
                    <a:lnTo>
                      <a:pt x="304" y="394"/>
                    </a:lnTo>
                    <a:lnTo>
                      <a:pt x="306" y="392"/>
                    </a:lnTo>
                    <a:lnTo>
                      <a:pt x="308" y="392"/>
                    </a:lnTo>
                    <a:lnTo>
                      <a:pt x="308" y="390"/>
                    </a:lnTo>
                    <a:lnTo>
                      <a:pt x="306" y="389"/>
                    </a:lnTo>
                    <a:lnTo>
                      <a:pt x="304" y="387"/>
                    </a:lnTo>
                    <a:lnTo>
                      <a:pt x="306" y="387"/>
                    </a:lnTo>
                    <a:lnTo>
                      <a:pt x="306" y="389"/>
                    </a:lnTo>
                    <a:lnTo>
                      <a:pt x="306" y="387"/>
                    </a:lnTo>
                    <a:lnTo>
                      <a:pt x="304" y="387"/>
                    </a:lnTo>
                    <a:lnTo>
                      <a:pt x="302" y="387"/>
                    </a:lnTo>
                    <a:lnTo>
                      <a:pt x="300" y="385"/>
                    </a:lnTo>
                    <a:lnTo>
                      <a:pt x="300" y="383"/>
                    </a:lnTo>
                    <a:lnTo>
                      <a:pt x="302" y="383"/>
                    </a:lnTo>
                    <a:lnTo>
                      <a:pt x="302" y="381"/>
                    </a:lnTo>
                    <a:lnTo>
                      <a:pt x="304" y="383"/>
                    </a:lnTo>
                    <a:lnTo>
                      <a:pt x="302" y="381"/>
                    </a:lnTo>
                    <a:lnTo>
                      <a:pt x="300" y="381"/>
                    </a:lnTo>
                    <a:lnTo>
                      <a:pt x="300" y="379"/>
                    </a:lnTo>
                    <a:lnTo>
                      <a:pt x="302" y="379"/>
                    </a:lnTo>
                    <a:lnTo>
                      <a:pt x="300" y="379"/>
                    </a:lnTo>
                    <a:lnTo>
                      <a:pt x="300" y="377"/>
                    </a:lnTo>
                    <a:lnTo>
                      <a:pt x="302" y="377"/>
                    </a:lnTo>
                    <a:lnTo>
                      <a:pt x="302" y="379"/>
                    </a:lnTo>
                    <a:lnTo>
                      <a:pt x="304" y="379"/>
                    </a:lnTo>
                    <a:lnTo>
                      <a:pt x="304" y="381"/>
                    </a:lnTo>
                    <a:lnTo>
                      <a:pt x="306" y="381"/>
                    </a:lnTo>
                    <a:lnTo>
                      <a:pt x="304" y="381"/>
                    </a:lnTo>
                    <a:lnTo>
                      <a:pt x="304" y="383"/>
                    </a:lnTo>
                    <a:lnTo>
                      <a:pt x="306" y="383"/>
                    </a:lnTo>
                    <a:lnTo>
                      <a:pt x="308" y="383"/>
                    </a:lnTo>
                    <a:lnTo>
                      <a:pt x="308" y="385"/>
                    </a:lnTo>
                    <a:lnTo>
                      <a:pt x="310" y="385"/>
                    </a:lnTo>
                    <a:lnTo>
                      <a:pt x="310" y="387"/>
                    </a:lnTo>
                    <a:lnTo>
                      <a:pt x="308" y="387"/>
                    </a:lnTo>
                    <a:lnTo>
                      <a:pt x="310" y="387"/>
                    </a:lnTo>
                    <a:lnTo>
                      <a:pt x="310" y="389"/>
                    </a:lnTo>
                    <a:lnTo>
                      <a:pt x="311" y="389"/>
                    </a:lnTo>
                    <a:lnTo>
                      <a:pt x="311" y="390"/>
                    </a:lnTo>
                    <a:lnTo>
                      <a:pt x="313" y="392"/>
                    </a:lnTo>
                    <a:lnTo>
                      <a:pt x="313" y="394"/>
                    </a:lnTo>
                    <a:lnTo>
                      <a:pt x="315" y="394"/>
                    </a:lnTo>
                    <a:lnTo>
                      <a:pt x="313" y="394"/>
                    </a:lnTo>
                    <a:lnTo>
                      <a:pt x="313" y="392"/>
                    </a:lnTo>
                    <a:lnTo>
                      <a:pt x="311" y="392"/>
                    </a:lnTo>
                    <a:lnTo>
                      <a:pt x="311" y="390"/>
                    </a:lnTo>
                    <a:lnTo>
                      <a:pt x="311" y="389"/>
                    </a:lnTo>
                    <a:lnTo>
                      <a:pt x="310" y="389"/>
                    </a:lnTo>
                    <a:lnTo>
                      <a:pt x="310" y="387"/>
                    </a:lnTo>
                    <a:lnTo>
                      <a:pt x="308" y="387"/>
                    </a:lnTo>
                    <a:lnTo>
                      <a:pt x="310" y="387"/>
                    </a:lnTo>
                    <a:lnTo>
                      <a:pt x="310" y="385"/>
                    </a:lnTo>
                    <a:lnTo>
                      <a:pt x="308" y="385"/>
                    </a:lnTo>
                    <a:lnTo>
                      <a:pt x="308" y="383"/>
                    </a:lnTo>
                    <a:lnTo>
                      <a:pt x="306" y="383"/>
                    </a:lnTo>
                    <a:lnTo>
                      <a:pt x="304" y="383"/>
                    </a:lnTo>
                    <a:lnTo>
                      <a:pt x="304" y="381"/>
                    </a:lnTo>
                    <a:lnTo>
                      <a:pt x="306" y="381"/>
                    </a:lnTo>
                    <a:lnTo>
                      <a:pt x="304" y="381"/>
                    </a:lnTo>
                    <a:lnTo>
                      <a:pt x="304" y="379"/>
                    </a:lnTo>
                    <a:lnTo>
                      <a:pt x="302" y="379"/>
                    </a:lnTo>
                    <a:lnTo>
                      <a:pt x="302" y="377"/>
                    </a:lnTo>
                    <a:lnTo>
                      <a:pt x="300" y="377"/>
                    </a:lnTo>
                    <a:lnTo>
                      <a:pt x="300" y="375"/>
                    </a:lnTo>
                    <a:lnTo>
                      <a:pt x="298" y="375"/>
                    </a:lnTo>
                    <a:lnTo>
                      <a:pt x="298" y="373"/>
                    </a:lnTo>
                    <a:lnTo>
                      <a:pt x="298" y="371"/>
                    </a:lnTo>
                    <a:lnTo>
                      <a:pt x="296" y="371"/>
                    </a:lnTo>
                    <a:lnTo>
                      <a:pt x="298" y="369"/>
                    </a:lnTo>
                    <a:lnTo>
                      <a:pt x="298" y="367"/>
                    </a:lnTo>
                    <a:lnTo>
                      <a:pt x="296" y="365"/>
                    </a:lnTo>
                    <a:lnTo>
                      <a:pt x="296" y="364"/>
                    </a:lnTo>
                    <a:lnTo>
                      <a:pt x="296" y="362"/>
                    </a:lnTo>
                    <a:lnTo>
                      <a:pt x="296" y="360"/>
                    </a:lnTo>
                    <a:lnTo>
                      <a:pt x="296" y="358"/>
                    </a:lnTo>
                    <a:lnTo>
                      <a:pt x="294" y="358"/>
                    </a:lnTo>
                    <a:lnTo>
                      <a:pt x="294" y="356"/>
                    </a:lnTo>
                    <a:lnTo>
                      <a:pt x="292" y="356"/>
                    </a:lnTo>
                    <a:lnTo>
                      <a:pt x="292" y="354"/>
                    </a:lnTo>
                    <a:lnTo>
                      <a:pt x="290" y="354"/>
                    </a:lnTo>
                    <a:lnTo>
                      <a:pt x="292" y="352"/>
                    </a:lnTo>
                    <a:lnTo>
                      <a:pt x="294" y="352"/>
                    </a:lnTo>
                    <a:lnTo>
                      <a:pt x="296" y="352"/>
                    </a:lnTo>
                    <a:lnTo>
                      <a:pt x="296" y="350"/>
                    </a:lnTo>
                    <a:lnTo>
                      <a:pt x="298" y="350"/>
                    </a:lnTo>
                    <a:lnTo>
                      <a:pt x="300" y="348"/>
                    </a:lnTo>
                    <a:lnTo>
                      <a:pt x="302" y="348"/>
                    </a:lnTo>
                    <a:lnTo>
                      <a:pt x="300" y="348"/>
                    </a:lnTo>
                    <a:lnTo>
                      <a:pt x="300" y="346"/>
                    </a:lnTo>
                    <a:lnTo>
                      <a:pt x="298" y="346"/>
                    </a:lnTo>
                    <a:lnTo>
                      <a:pt x="300" y="346"/>
                    </a:lnTo>
                    <a:lnTo>
                      <a:pt x="300" y="344"/>
                    </a:lnTo>
                    <a:lnTo>
                      <a:pt x="298" y="344"/>
                    </a:lnTo>
                    <a:lnTo>
                      <a:pt x="298" y="342"/>
                    </a:lnTo>
                    <a:lnTo>
                      <a:pt x="300" y="342"/>
                    </a:lnTo>
                    <a:lnTo>
                      <a:pt x="302" y="342"/>
                    </a:lnTo>
                    <a:lnTo>
                      <a:pt x="302" y="340"/>
                    </a:lnTo>
                    <a:lnTo>
                      <a:pt x="302" y="339"/>
                    </a:lnTo>
                    <a:lnTo>
                      <a:pt x="300" y="339"/>
                    </a:lnTo>
                    <a:lnTo>
                      <a:pt x="298" y="339"/>
                    </a:lnTo>
                    <a:lnTo>
                      <a:pt x="296" y="339"/>
                    </a:lnTo>
                    <a:lnTo>
                      <a:pt x="294" y="339"/>
                    </a:lnTo>
                    <a:lnTo>
                      <a:pt x="296" y="339"/>
                    </a:lnTo>
                    <a:lnTo>
                      <a:pt x="296" y="337"/>
                    </a:lnTo>
                    <a:lnTo>
                      <a:pt x="298" y="337"/>
                    </a:lnTo>
                    <a:lnTo>
                      <a:pt x="296" y="337"/>
                    </a:lnTo>
                    <a:lnTo>
                      <a:pt x="298" y="337"/>
                    </a:lnTo>
                    <a:lnTo>
                      <a:pt x="298" y="335"/>
                    </a:lnTo>
                    <a:lnTo>
                      <a:pt x="300" y="335"/>
                    </a:lnTo>
                    <a:lnTo>
                      <a:pt x="300" y="333"/>
                    </a:lnTo>
                    <a:lnTo>
                      <a:pt x="302" y="333"/>
                    </a:lnTo>
                    <a:lnTo>
                      <a:pt x="300" y="333"/>
                    </a:lnTo>
                    <a:lnTo>
                      <a:pt x="298" y="333"/>
                    </a:lnTo>
                    <a:lnTo>
                      <a:pt x="298" y="331"/>
                    </a:lnTo>
                    <a:lnTo>
                      <a:pt x="300" y="331"/>
                    </a:lnTo>
                    <a:lnTo>
                      <a:pt x="300" y="329"/>
                    </a:lnTo>
                    <a:lnTo>
                      <a:pt x="300" y="327"/>
                    </a:lnTo>
                    <a:lnTo>
                      <a:pt x="298" y="327"/>
                    </a:lnTo>
                    <a:lnTo>
                      <a:pt x="296" y="327"/>
                    </a:lnTo>
                    <a:lnTo>
                      <a:pt x="294" y="327"/>
                    </a:lnTo>
                    <a:lnTo>
                      <a:pt x="294" y="325"/>
                    </a:lnTo>
                    <a:lnTo>
                      <a:pt x="292" y="325"/>
                    </a:lnTo>
                    <a:lnTo>
                      <a:pt x="292" y="323"/>
                    </a:lnTo>
                    <a:lnTo>
                      <a:pt x="294" y="323"/>
                    </a:lnTo>
                    <a:lnTo>
                      <a:pt x="294" y="325"/>
                    </a:lnTo>
                    <a:lnTo>
                      <a:pt x="296" y="325"/>
                    </a:lnTo>
                    <a:lnTo>
                      <a:pt x="296" y="323"/>
                    </a:lnTo>
                    <a:lnTo>
                      <a:pt x="298" y="323"/>
                    </a:lnTo>
                    <a:lnTo>
                      <a:pt x="300" y="323"/>
                    </a:lnTo>
                    <a:lnTo>
                      <a:pt x="302" y="323"/>
                    </a:lnTo>
                    <a:lnTo>
                      <a:pt x="302" y="321"/>
                    </a:lnTo>
                    <a:lnTo>
                      <a:pt x="304" y="321"/>
                    </a:lnTo>
                    <a:lnTo>
                      <a:pt x="306" y="319"/>
                    </a:lnTo>
                    <a:lnTo>
                      <a:pt x="308" y="319"/>
                    </a:lnTo>
                    <a:lnTo>
                      <a:pt x="308" y="317"/>
                    </a:lnTo>
                    <a:lnTo>
                      <a:pt x="310" y="319"/>
                    </a:lnTo>
                    <a:lnTo>
                      <a:pt x="310" y="317"/>
                    </a:lnTo>
                    <a:lnTo>
                      <a:pt x="311" y="317"/>
                    </a:lnTo>
                    <a:lnTo>
                      <a:pt x="313" y="317"/>
                    </a:lnTo>
                    <a:lnTo>
                      <a:pt x="311" y="317"/>
                    </a:lnTo>
                    <a:lnTo>
                      <a:pt x="310" y="317"/>
                    </a:lnTo>
                    <a:lnTo>
                      <a:pt x="310" y="319"/>
                    </a:lnTo>
                    <a:lnTo>
                      <a:pt x="310" y="317"/>
                    </a:lnTo>
                    <a:lnTo>
                      <a:pt x="308" y="317"/>
                    </a:lnTo>
                    <a:lnTo>
                      <a:pt x="308" y="319"/>
                    </a:lnTo>
                    <a:lnTo>
                      <a:pt x="306" y="319"/>
                    </a:lnTo>
                    <a:lnTo>
                      <a:pt x="304" y="321"/>
                    </a:lnTo>
                    <a:lnTo>
                      <a:pt x="302" y="321"/>
                    </a:lnTo>
                    <a:lnTo>
                      <a:pt x="302" y="323"/>
                    </a:lnTo>
                    <a:lnTo>
                      <a:pt x="300" y="323"/>
                    </a:lnTo>
                    <a:lnTo>
                      <a:pt x="298" y="323"/>
                    </a:lnTo>
                    <a:lnTo>
                      <a:pt x="296" y="323"/>
                    </a:lnTo>
                    <a:lnTo>
                      <a:pt x="294" y="323"/>
                    </a:lnTo>
                    <a:lnTo>
                      <a:pt x="292" y="323"/>
                    </a:lnTo>
                    <a:lnTo>
                      <a:pt x="292" y="325"/>
                    </a:lnTo>
                    <a:lnTo>
                      <a:pt x="290" y="325"/>
                    </a:lnTo>
                    <a:lnTo>
                      <a:pt x="290" y="327"/>
                    </a:lnTo>
                    <a:lnTo>
                      <a:pt x="288" y="325"/>
                    </a:lnTo>
                    <a:lnTo>
                      <a:pt x="290" y="325"/>
                    </a:lnTo>
                    <a:lnTo>
                      <a:pt x="288" y="325"/>
                    </a:lnTo>
                    <a:lnTo>
                      <a:pt x="290" y="325"/>
                    </a:lnTo>
                    <a:lnTo>
                      <a:pt x="288" y="325"/>
                    </a:lnTo>
                    <a:lnTo>
                      <a:pt x="290" y="325"/>
                    </a:lnTo>
                    <a:lnTo>
                      <a:pt x="288" y="325"/>
                    </a:lnTo>
                    <a:lnTo>
                      <a:pt x="290" y="325"/>
                    </a:lnTo>
                    <a:lnTo>
                      <a:pt x="288" y="325"/>
                    </a:lnTo>
                    <a:lnTo>
                      <a:pt x="290" y="327"/>
                    </a:lnTo>
                    <a:lnTo>
                      <a:pt x="290" y="325"/>
                    </a:lnTo>
                    <a:lnTo>
                      <a:pt x="292" y="325"/>
                    </a:lnTo>
                    <a:lnTo>
                      <a:pt x="294" y="325"/>
                    </a:lnTo>
                    <a:lnTo>
                      <a:pt x="292" y="325"/>
                    </a:lnTo>
                    <a:lnTo>
                      <a:pt x="294" y="325"/>
                    </a:lnTo>
                    <a:lnTo>
                      <a:pt x="294" y="327"/>
                    </a:lnTo>
                    <a:lnTo>
                      <a:pt x="296" y="327"/>
                    </a:lnTo>
                    <a:lnTo>
                      <a:pt x="298" y="327"/>
                    </a:lnTo>
                    <a:lnTo>
                      <a:pt x="300" y="329"/>
                    </a:lnTo>
                    <a:lnTo>
                      <a:pt x="300" y="331"/>
                    </a:lnTo>
                    <a:lnTo>
                      <a:pt x="298" y="331"/>
                    </a:lnTo>
                    <a:lnTo>
                      <a:pt x="298" y="333"/>
                    </a:lnTo>
                    <a:lnTo>
                      <a:pt x="300" y="333"/>
                    </a:lnTo>
                    <a:lnTo>
                      <a:pt x="302" y="333"/>
                    </a:lnTo>
                    <a:lnTo>
                      <a:pt x="300" y="333"/>
                    </a:lnTo>
                    <a:lnTo>
                      <a:pt x="300" y="335"/>
                    </a:lnTo>
                    <a:lnTo>
                      <a:pt x="298" y="335"/>
                    </a:lnTo>
                    <a:lnTo>
                      <a:pt x="300" y="335"/>
                    </a:lnTo>
                    <a:lnTo>
                      <a:pt x="298" y="335"/>
                    </a:lnTo>
                    <a:lnTo>
                      <a:pt x="298" y="337"/>
                    </a:lnTo>
                    <a:lnTo>
                      <a:pt x="296" y="337"/>
                    </a:lnTo>
                    <a:lnTo>
                      <a:pt x="298" y="337"/>
                    </a:lnTo>
                    <a:lnTo>
                      <a:pt x="296" y="337"/>
                    </a:lnTo>
                    <a:lnTo>
                      <a:pt x="296" y="339"/>
                    </a:lnTo>
                    <a:lnTo>
                      <a:pt x="294" y="339"/>
                    </a:lnTo>
                    <a:lnTo>
                      <a:pt x="296" y="339"/>
                    </a:lnTo>
                    <a:lnTo>
                      <a:pt x="298" y="339"/>
                    </a:lnTo>
                    <a:lnTo>
                      <a:pt x="296" y="339"/>
                    </a:lnTo>
                    <a:lnTo>
                      <a:pt x="298" y="339"/>
                    </a:lnTo>
                    <a:lnTo>
                      <a:pt x="300" y="339"/>
                    </a:lnTo>
                    <a:lnTo>
                      <a:pt x="302" y="339"/>
                    </a:lnTo>
                    <a:lnTo>
                      <a:pt x="302" y="340"/>
                    </a:lnTo>
                    <a:lnTo>
                      <a:pt x="302" y="342"/>
                    </a:lnTo>
                    <a:lnTo>
                      <a:pt x="300" y="342"/>
                    </a:lnTo>
                    <a:lnTo>
                      <a:pt x="298" y="342"/>
                    </a:lnTo>
                    <a:lnTo>
                      <a:pt x="298" y="344"/>
                    </a:lnTo>
                    <a:lnTo>
                      <a:pt x="300" y="344"/>
                    </a:lnTo>
                    <a:lnTo>
                      <a:pt x="300" y="346"/>
                    </a:lnTo>
                    <a:lnTo>
                      <a:pt x="298" y="346"/>
                    </a:lnTo>
                    <a:lnTo>
                      <a:pt x="300" y="346"/>
                    </a:lnTo>
                    <a:lnTo>
                      <a:pt x="300" y="348"/>
                    </a:lnTo>
                    <a:lnTo>
                      <a:pt x="298" y="348"/>
                    </a:lnTo>
                    <a:lnTo>
                      <a:pt x="296" y="350"/>
                    </a:lnTo>
                    <a:lnTo>
                      <a:pt x="294" y="350"/>
                    </a:lnTo>
                    <a:lnTo>
                      <a:pt x="296" y="352"/>
                    </a:lnTo>
                    <a:lnTo>
                      <a:pt x="294" y="352"/>
                    </a:lnTo>
                    <a:lnTo>
                      <a:pt x="292" y="352"/>
                    </a:lnTo>
                    <a:lnTo>
                      <a:pt x="290" y="352"/>
                    </a:lnTo>
                    <a:lnTo>
                      <a:pt x="288" y="352"/>
                    </a:lnTo>
                    <a:lnTo>
                      <a:pt x="287" y="352"/>
                    </a:lnTo>
                    <a:lnTo>
                      <a:pt x="285" y="352"/>
                    </a:lnTo>
                    <a:lnTo>
                      <a:pt x="287" y="352"/>
                    </a:lnTo>
                    <a:lnTo>
                      <a:pt x="285" y="354"/>
                    </a:lnTo>
                    <a:lnTo>
                      <a:pt x="283" y="354"/>
                    </a:lnTo>
                    <a:lnTo>
                      <a:pt x="281" y="354"/>
                    </a:lnTo>
                    <a:lnTo>
                      <a:pt x="279" y="356"/>
                    </a:lnTo>
                    <a:lnTo>
                      <a:pt x="277" y="356"/>
                    </a:lnTo>
                    <a:lnTo>
                      <a:pt x="275" y="356"/>
                    </a:lnTo>
                    <a:lnTo>
                      <a:pt x="273" y="356"/>
                    </a:lnTo>
                    <a:lnTo>
                      <a:pt x="271" y="356"/>
                    </a:lnTo>
                    <a:lnTo>
                      <a:pt x="269" y="356"/>
                    </a:lnTo>
                    <a:lnTo>
                      <a:pt x="269" y="354"/>
                    </a:lnTo>
                    <a:lnTo>
                      <a:pt x="267" y="354"/>
                    </a:lnTo>
                    <a:lnTo>
                      <a:pt x="265" y="354"/>
                    </a:lnTo>
                    <a:lnTo>
                      <a:pt x="263" y="354"/>
                    </a:lnTo>
                    <a:lnTo>
                      <a:pt x="263" y="352"/>
                    </a:lnTo>
                    <a:lnTo>
                      <a:pt x="265" y="352"/>
                    </a:lnTo>
                    <a:lnTo>
                      <a:pt x="265" y="350"/>
                    </a:lnTo>
                    <a:lnTo>
                      <a:pt x="265" y="352"/>
                    </a:lnTo>
                    <a:lnTo>
                      <a:pt x="263" y="352"/>
                    </a:lnTo>
                    <a:lnTo>
                      <a:pt x="262" y="352"/>
                    </a:lnTo>
                    <a:lnTo>
                      <a:pt x="262" y="354"/>
                    </a:lnTo>
                    <a:lnTo>
                      <a:pt x="260" y="354"/>
                    </a:lnTo>
                    <a:lnTo>
                      <a:pt x="258" y="352"/>
                    </a:lnTo>
                    <a:lnTo>
                      <a:pt x="256" y="352"/>
                    </a:lnTo>
                    <a:lnTo>
                      <a:pt x="258" y="352"/>
                    </a:lnTo>
                    <a:lnTo>
                      <a:pt x="256" y="354"/>
                    </a:lnTo>
                    <a:lnTo>
                      <a:pt x="256" y="352"/>
                    </a:lnTo>
                    <a:lnTo>
                      <a:pt x="256" y="354"/>
                    </a:lnTo>
                    <a:lnTo>
                      <a:pt x="256" y="352"/>
                    </a:lnTo>
                    <a:lnTo>
                      <a:pt x="254" y="354"/>
                    </a:lnTo>
                    <a:lnTo>
                      <a:pt x="252" y="354"/>
                    </a:lnTo>
                    <a:lnTo>
                      <a:pt x="250" y="354"/>
                    </a:lnTo>
                    <a:lnTo>
                      <a:pt x="248" y="354"/>
                    </a:lnTo>
                    <a:lnTo>
                      <a:pt x="246" y="354"/>
                    </a:lnTo>
                    <a:lnTo>
                      <a:pt x="244" y="354"/>
                    </a:lnTo>
                    <a:lnTo>
                      <a:pt x="242" y="354"/>
                    </a:lnTo>
                    <a:lnTo>
                      <a:pt x="240" y="354"/>
                    </a:lnTo>
                    <a:lnTo>
                      <a:pt x="238" y="354"/>
                    </a:lnTo>
                    <a:lnTo>
                      <a:pt x="237" y="354"/>
                    </a:lnTo>
                    <a:lnTo>
                      <a:pt x="237" y="356"/>
                    </a:lnTo>
                    <a:lnTo>
                      <a:pt x="235" y="356"/>
                    </a:lnTo>
                    <a:lnTo>
                      <a:pt x="235" y="358"/>
                    </a:lnTo>
                    <a:lnTo>
                      <a:pt x="233" y="360"/>
                    </a:lnTo>
                    <a:lnTo>
                      <a:pt x="231" y="360"/>
                    </a:lnTo>
                    <a:lnTo>
                      <a:pt x="235" y="358"/>
                    </a:lnTo>
                    <a:lnTo>
                      <a:pt x="231" y="358"/>
                    </a:lnTo>
                    <a:lnTo>
                      <a:pt x="231" y="360"/>
                    </a:lnTo>
                    <a:lnTo>
                      <a:pt x="229" y="360"/>
                    </a:lnTo>
                    <a:lnTo>
                      <a:pt x="227" y="360"/>
                    </a:lnTo>
                    <a:lnTo>
                      <a:pt x="225" y="360"/>
                    </a:lnTo>
                    <a:lnTo>
                      <a:pt x="223" y="360"/>
                    </a:lnTo>
                    <a:lnTo>
                      <a:pt x="223" y="362"/>
                    </a:lnTo>
                    <a:lnTo>
                      <a:pt x="221" y="362"/>
                    </a:lnTo>
                    <a:lnTo>
                      <a:pt x="219" y="362"/>
                    </a:lnTo>
                    <a:lnTo>
                      <a:pt x="217" y="362"/>
                    </a:lnTo>
                    <a:lnTo>
                      <a:pt x="215" y="362"/>
                    </a:lnTo>
                    <a:lnTo>
                      <a:pt x="215" y="360"/>
                    </a:lnTo>
                    <a:lnTo>
                      <a:pt x="214" y="362"/>
                    </a:lnTo>
                    <a:lnTo>
                      <a:pt x="215" y="362"/>
                    </a:lnTo>
                    <a:lnTo>
                      <a:pt x="214" y="362"/>
                    </a:lnTo>
                    <a:lnTo>
                      <a:pt x="212" y="364"/>
                    </a:lnTo>
                    <a:lnTo>
                      <a:pt x="210" y="364"/>
                    </a:lnTo>
                    <a:lnTo>
                      <a:pt x="208" y="365"/>
                    </a:lnTo>
                    <a:lnTo>
                      <a:pt x="206" y="365"/>
                    </a:lnTo>
                    <a:lnTo>
                      <a:pt x="204" y="365"/>
                    </a:lnTo>
                    <a:lnTo>
                      <a:pt x="202" y="365"/>
                    </a:lnTo>
                    <a:lnTo>
                      <a:pt x="202" y="364"/>
                    </a:lnTo>
                    <a:lnTo>
                      <a:pt x="202" y="362"/>
                    </a:lnTo>
                    <a:lnTo>
                      <a:pt x="202" y="364"/>
                    </a:lnTo>
                    <a:lnTo>
                      <a:pt x="202" y="362"/>
                    </a:lnTo>
                    <a:lnTo>
                      <a:pt x="202" y="360"/>
                    </a:lnTo>
                    <a:lnTo>
                      <a:pt x="200" y="358"/>
                    </a:lnTo>
                    <a:lnTo>
                      <a:pt x="202" y="358"/>
                    </a:lnTo>
                    <a:lnTo>
                      <a:pt x="204" y="358"/>
                    </a:lnTo>
                    <a:lnTo>
                      <a:pt x="202" y="358"/>
                    </a:lnTo>
                    <a:lnTo>
                      <a:pt x="200" y="358"/>
                    </a:lnTo>
                    <a:lnTo>
                      <a:pt x="200" y="356"/>
                    </a:lnTo>
                    <a:lnTo>
                      <a:pt x="202" y="356"/>
                    </a:lnTo>
                    <a:lnTo>
                      <a:pt x="202" y="358"/>
                    </a:lnTo>
                    <a:lnTo>
                      <a:pt x="202" y="356"/>
                    </a:lnTo>
                    <a:lnTo>
                      <a:pt x="200" y="356"/>
                    </a:lnTo>
                    <a:lnTo>
                      <a:pt x="200" y="354"/>
                    </a:lnTo>
                    <a:lnTo>
                      <a:pt x="198" y="352"/>
                    </a:lnTo>
                    <a:lnTo>
                      <a:pt x="196" y="352"/>
                    </a:lnTo>
                    <a:lnTo>
                      <a:pt x="194" y="350"/>
                    </a:lnTo>
                    <a:lnTo>
                      <a:pt x="194" y="348"/>
                    </a:lnTo>
                    <a:lnTo>
                      <a:pt x="194" y="346"/>
                    </a:lnTo>
                    <a:lnTo>
                      <a:pt x="192" y="346"/>
                    </a:lnTo>
                    <a:lnTo>
                      <a:pt x="190" y="346"/>
                    </a:lnTo>
                    <a:lnTo>
                      <a:pt x="189" y="344"/>
                    </a:lnTo>
                    <a:lnTo>
                      <a:pt x="187" y="344"/>
                    </a:lnTo>
                    <a:lnTo>
                      <a:pt x="185" y="342"/>
                    </a:lnTo>
                    <a:lnTo>
                      <a:pt x="183" y="340"/>
                    </a:lnTo>
                    <a:lnTo>
                      <a:pt x="183" y="339"/>
                    </a:lnTo>
                    <a:lnTo>
                      <a:pt x="185" y="339"/>
                    </a:lnTo>
                    <a:lnTo>
                      <a:pt x="185" y="337"/>
                    </a:lnTo>
                    <a:lnTo>
                      <a:pt x="183" y="337"/>
                    </a:lnTo>
                    <a:lnTo>
                      <a:pt x="183" y="335"/>
                    </a:lnTo>
                    <a:lnTo>
                      <a:pt x="185" y="335"/>
                    </a:lnTo>
                    <a:lnTo>
                      <a:pt x="187" y="333"/>
                    </a:lnTo>
                    <a:lnTo>
                      <a:pt x="189" y="333"/>
                    </a:lnTo>
                    <a:lnTo>
                      <a:pt x="190" y="333"/>
                    </a:lnTo>
                    <a:lnTo>
                      <a:pt x="190" y="331"/>
                    </a:lnTo>
                    <a:lnTo>
                      <a:pt x="190" y="333"/>
                    </a:lnTo>
                    <a:lnTo>
                      <a:pt x="190" y="331"/>
                    </a:lnTo>
                    <a:lnTo>
                      <a:pt x="190" y="333"/>
                    </a:lnTo>
                    <a:lnTo>
                      <a:pt x="192" y="333"/>
                    </a:lnTo>
                    <a:lnTo>
                      <a:pt x="190" y="333"/>
                    </a:lnTo>
                    <a:lnTo>
                      <a:pt x="192" y="333"/>
                    </a:lnTo>
                    <a:lnTo>
                      <a:pt x="190" y="333"/>
                    </a:lnTo>
                    <a:lnTo>
                      <a:pt x="190" y="331"/>
                    </a:lnTo>
                    <a:lnTo>
                      <a:pt x="192" y="331"/>
                    </a:lnTo>
                    <a:lnTo>
                      <a:pt x="194" y="331"/>
                    </a:lnTo>
                    <a:lnTo>
                      <a:pt x="196" y="331"/>
                    </a:lnTo>
                    <a:lnTo>
                      <a:pt x="198" y="331"/>
                    </a:lnTo>
                    <a:lnTo>
                      <a:pt x="200" y="331"/>
                    </a:lnTo>
                    <a:lnTo>
                      <a:pt x="202" y="331"/>
                    </a:lnTo>
                    <a:lnTo>
                      <a:pt x="204" y="331"/>
                    </a:lnTo>
                    <a:lnTo>
                      <a:pt x="206" y="331"/>
                    </a:lnTo>
                    <a:lnTo>
                      <a:pt x="206" y="329"/>
                    </a:lnTo>
                    <a:lnTo>
                      <a:pt x="208" y="329"/>
                    </a:lnTo>
                    <a:lnTo>
                      <a:pt x="210" y="329"/>
                    </a:lnTo>
                    <a:lnTo>
                      <a:pt x="208" y="331"/>
                    </a:lnTo>
                    <a:lnTo>
                      <a:pt x="210" y="331"/>
                    </a:lnTo>
                    <a:lnTo>
                      <a:pt x="208" y="331"/>
                    </a:lnTo>
                    <a:lnTo>
                      <a:pt x="210" y="329"/>
                    </a:lnTo>
                    <a:lnTo>
                      <a:pt x="212" y="329"/>
                    </a:lnTo>
                    <a:lnTo>
                      <a:pt x="214" y="329"/>
                    </a:lnTo>
                    <a:lnTo>
                      <a:pt x="214" y="327"/>
                    </a:lnTo>
                    <a:lnTo>
                      <a:pt x="215" y="327"/>
                    </a:lnTo>
                    <a:lnTo>
                      <a:pt x="215" y="329"/>
                    </a:lnTo>
                    <a:lnTo>
                      <a:pt x="215" y="327"/>
                    </a:lnTo>
                    <a:lnTo>
                      <a:pt x="214" y="327"/>
                    </a:lnTo>
                    <a:lnTo>
                      <a:pt x="215" y="327"/>
                    </a:lnTo>
                    <a:lnTo>
                      <a:pt x="215" y="325"/>
                    </a:lnTo>
                    <a:lnTo>
                      <a:pt x="217" y="325"/>
                    </a:lnTo>
                    <a:lnTo>
                      <a:pt x="219" y="325"/>
                    </a:lnTo>
                    <a:lnTo>
                      <a:pt x="219" y="323"/>
                    </a:lnTo>
                    <a:lnTo>
                      <a:pt x="221" y="323"/>
                    </a:lnTo>
                    <a:lnTo>
                      <a:pt x="221" y="325"/>
                    </a:lnTo>
                    <a:lnTo>
                      <a:pt x="221" y="323"/>
                    </a:lnTo>
                    <a:lnTo>
                      <a:pt x="223" y="323"/>
                    </a:lnTo>
                    <a:lnTo>
                      <a:pt x="225" y="323"/>
                    </a:lnTo>
                    <a:lnTo>
                      <a:pt x="225" y="325"/>
                    </a:lnTo>
                    <a:lnTo>
                      <a:pt x="225" y="327"/>
                    </a:lnTo>
                    <a:lnTo>
                      <a:pt x="223" y="327"/>
                    </a:lnTo>
                    <a:lnTo>
                      <a:pt x="225" y="327"/>
                    </a:lnTo>
                    <a:lnTo>
                      <a:pt x="227" y="329"/>
                    </a:lnTo>
                    <a:lnTo>
                      <a:pt x="227" y="331"/>
                    </a:lnTo>
                    <a:lnTo>
                      <a:pt x="227" y="333"/>
                    </a:lnTo>
                    <a:lnTo>
                      <a:pt x="229" y="333"/>
                    </a:lnTo>
                    <a:lnTo>
                      <a:pt x="229" y="331"/>
                    </a:lnTo>
                    <a:lnTo>
                      <a:pt x="229" y="333"/>
                    </a:lnTo>
                    <a:lnTo>
                      <a:pt x="231" y="333"/>
                    </a:lnTo>
                    <a:lnTo>
                      <a:pt x="229" y="333"/>
                    </a:lnTo>
                    <a:lnTo>
                      <a:pt x="229" y="331"/>
                    </a:lnTo>
                    <a:lnTo>
                      <a:pt x="229" y="333"/>
                    </a:lnTo>
                    <a:lnTo>
                      <a:pt x="227" y="333"/>
                    </a:lnTo>
                    <a:lnTo>
                      <a:pt x="229" y="331"/>
                    </a:lnTo>
                    <a:lnTo>
                      <a:pt x="227" y="331"/>
                    </a:lnTo>
                    <a:lnTo>
                      <a:pt x="227" y="329"/>
                    </a:lnTo>
                    <a:lnTo>
                      <a:pt x="225" y="327"/>
                    </a:lnTo>
                    <a:lnTo>
                      <a:pt x="225" y="325"/>
                    </a:lnTo>
                    <a:lnTo>
                      <a:pt x="225" y="323"/>
                    </a:lnTo>
                    <a:lnTo>
                      <a:pt x="225" y="321"/>
                    </a:lnTo>
                    <a:lnTo>
                      <a:pt x="227" y="321"/>
                    </a:lnTo>
                    <a:lnTo>
                      <a:pt x="227" y="319"/>
                    </a:lnTo>
                    <a:lnTo>
                      <a:pt x="225" y="317"/>
                    </a:lnTo>
                    <a:lnTo>
                      <a:pt x="225" y="315"/>
                    </a:lnTo>
                    <a:lnTo>
                      <a:pt x="225" y="314"/>
                    </a:lnTo>
                    <a:lnTo>
                      <a:pt x="223" y="314"/>
                    </a:lnTo>
                    <a:lnTo>
                      <a:pt x="223" y="312"/>
                    </a:lnTo>
                    <a:lnTo>
                      <a:pt x="225" y="312"/>
                    </a:lnTo>
                    <a:lnTo>
                      <a:pt x="227" y="312"/>
                    </a:lnTo>
                    <a:lnTo>
                      <a:pt x="227" y="314"/>
                    </a:lnTo>
                    <a:lnTo>
                      <a:pt x="227" y="312"/>
                    </a:lnTo>
                    <a:lnTo>
                      <a:pt x="225" y="312"/>
                    </a:lnTo>
                    <a:lnTo>
                      <a:pt x="223" y="312"/>
                    </a:lnTo>
                    <a:lnTo>
                      <a:pt x="223" y="310"/>
                    </a:lnTo>
                    <a:lnTo>
                      <a:pt x="223" y="312"/>
                    </a:lnTo>
                    <a:lnTo>
                      <a:pt x="221" y="312"/>
                    </a:lnTo>
                    <a:lnTo>
                      <a:pt x="221" y="310"/>
                    </a:lnTo>
                    <a:lnTo>
                      <a:pt x="219" y="310"/>
                    </a:lnTo>
                    <a:lnTo>
                      <a:pt x="219" y="308"/>
                    </a:lnTo>
                    <a:lnTo>
                      <a:pt x="217" y="308"/>
                    </a:lnTo>
                    <a:lnTo>
                      <a:pt x="219" y="308"/>
                    </a:lnTo>
                    <a:lnTo>
                      <a:pt x="221" y="308"/>
                    </a:lnTo>
                    <a:lnTo>
                      <a:pt x="223" y="308"/>
                    </a:lnTo>
                    <a:lnTo>
                      <a:pt x="223" y="310"/>
                    </a:lnTo>
                    <a:lnTo>
                      <a:pt x="223" y="308"/>
                    </a:lnTo>
                    <a:lnTo>
                      <a:pt x="221" y="308"/>
                    </a:lnTo>
                    <a:lnTo>
                      <a:pt x="223" y="308"/>
                    </a:lnTo>
                    <a:lnTo>
                      <a:pt x="225" y="308"/>
                    </a:lnTo>
                    <a:lnTo>
                      <a:pt x="225" y="306"/>
                    </a:lnTo>
                    <a:lnTo>
                      <a:pt x="225" y="308"/>
                    </a:lnTo>
                    <a:lnTo>
                      <a:pt x="225" y="306"/>
                    </a:lnTo>
                    <a:lnTo>
                      <a:pt x="225" y="308"/>
                    </a:lnTo>
                    <a:lnTo>
                      <a:pt x="223" y="308"/>
                    </a:lnTo>
                    <a:lnTo>
                      <a:pt x="221" y="308"/>
                    </a:lnTo>
                    <a:lnTo>
                      <a:pt x="219" y="308"/>
                    </a:lnTo>
                    <a:lnTo>
                      <a:pt x="217" y="308"/>
                    </a:lnTo>
                    <a:lnTo>
                      <a:pt x="217" y="306"/>
                    </a:lnTo>
                    <a:lnTo>
                      <a:pt x="219" y="306"/>
                    </a:lnTo>
                    <a:lnTo>
                      <a:pt x="221" y="306"/>
                    </a:lnTo>
                    <a:lnTo>
                      <a:pt x="221" y="304"/>
                    </a:lnTo>
                    <a:lnTo>
                      <a:pt x="223" y="304"/>
                    </a:lnTo>
                    <a:lnTo>
                      <a:pt x="221" y="304"/>
                    </a:lnTo>
                    <a:lnTo>
                      <a:pt x="223" y="304"/>
                    </a:lnTo>
                    <a:lnTo>
                      <a:pt x="223" y="302"/>
                    </a:lnTo>
                    <a:lnTo>
                      <a:pt x="221" y="302"/>
                    </a:lnTo>
                    <a:lnTo>
                      <a:pt x="223" y="302"/>
                    </a:lnTo>
                    <a:lnTo>
                      <a:pt x="223" y="304"/>
                    </a:lnTo>
                    <a:lnTo>
                      <a:pt x="221" y="304"/>
                    </a:lnTo>
                    <a:lnTo>
                      <a:pt x="221" y="306"/>
                    </a:lnTo>
                    <a:lnTo>
                      <a:pt x="219" y="306"/>
                    </a:lnTo>
                    <a:lnTo>
                      <a:pt x="217" y="306"/>
                    </a:lnTo>
                    <a:lnTo>
                      <a:pt x="215" y="306"/>
                    </a:lnTo>
                    <a:lnTo>
                      <a:pt x="214" y="306"/>
                    </a:lnTo>
                    <a:lnTo>
                      <a:pt x="212" y="306"/>
                    </a:lnTo>
                    <a:lnTo>
                      <a:pt x="210" y="306"/>
                    </a:lnTo>
                    <a:lnTo>
                      <a:pt x="208" y="306"/>
                    </a:lnTo>
                    <a:lnTo>
                      <a:pt x="206" y="304"/>
                    </a:lnTo>
                    <a:lnTo>
                      <a:pt x="208" y="304"/>
                    </a:lnTo>
                    <a:lnTo>
                      <a:pt x="208" y="302"/>
                    </a:lnTo>
                    <a:lnTo>
                      <a:pt x="206" y="302"/>
                    </a:lnTo>
                    <a:lnTo>
                      <a:pt x="204" y="302"/>
                    </a:lnTo>
                    <a:lnTo>
                      <a:pt x="206" y="302"/>
                    </a:lnTo>
                    <a:lnTo>
                      <a:pt x="206" y="300"/>
                    </a:lnTo>
                    <a:lnTo>
                      <a:pt x="206" y="298"/>
                    </a:lnTo>
                    <a:lnTo>
                      <a:pt x="206" y="296"/>
                    </a:lnTo>
                    <a:lnTo>
                      <a:pt x="204" y="296"/>
                    </a:lnTo>
                    <a:lnTo>
                      <a:pt x="202" y="296"/>
                    </a:lnTo>
                    <a:lnTo>
                      <a:pt x="202" y="294"/>
                    </a:lnTo>
                    <a:lnTo>
                      <a:pt x="202" y="296"/>
                    </a:lnTo>
                    <a:lnTo>
                      <a:pt x="200" y="294"/>
                    </a:lnTo>
                    <a:lnTo>
                      <a:pt x="200" y="296"/>
                    </a:lnTo>
                    <a:lnTo>
                      <a:pt x="200" y="294"/>
                    </a:lnTo>
                    <a:lnTo>
                      <a:pt x="198" y="294"/>
                    </a:lnTo>
                    <a:lnTo>
                      <a:pt x="196" y="294"/>
                    </a:lnTo>
                    <a:lnTo>
                      <a:pt x="196" y="292"/>
                    </a:lnTo>
                    <a:lnTo>
                      <a:pt x="194" y="292"/>
                    </a:lnTo>
                    <a:lnTo>
                      <a:pt x="194" y="294"/>
                    </a:lnTo>
                    <a:lnTo>
                      <a:pt x="194" y="292"/>
                    </a:lnTo>
                    <a:lnTo>
                      <a:pt x="192" y="292"/>
                    </a:lnTo>
                    <a:lnTo>
                      <a:pt x="190" y="292"/>
                    </a:lnTo>
                    <a:lnTo>
                      <a:pt x="189" y="292"/>
                    </a:lnTo>
                    <a:lnTo>
                      <a:pt x="189" y="290"/>
                    </a:lnTo>
                    <a:lnTo>
                      <a:pt x="189" y="289"/>
                    </a:lnTo>
                    <a:lnTo>
                      <a:pt x="189" y="287"/>
                    </a:lnTo>
                    <a:lnTo>
                      <a:pt x="190" y="287"/>
                    </a:lnTo>
                    <a:lnTo>
                      <a:pt x="192" y="287"/>
                    </a:lnTo>
                    <a:lnTo>
                      <a:pt x="192" y="289"/>
                    </a:lnTo>
                    <a:lnTo>
                      <a:pt x="194" y="289"/>
                    </a:lnTo>
                    <a:lnTo>
                      <a:pt x="194" y="287"/>
                    </a:lnTo>
                    <a:lnTo>
                      <a:pt x="194" y="289"/>
                    </a:lnTo>
                    <a:lnTo>
                      <a:pt x="196" y="289"/>
                    </a:lnTo>
                    <a:lnTo>
                      <a:pt x="196" y="290"/>
                    </a:lnTo>
                    <a:lnTo>
                      <a:pt x="198" y="290"/>
                    </a:lnTo>
                    <a:lnTo>
                      <a:pt x="198" y="289"/>
                    </a:lnTo>
                    <a:lnTo>
                      <a:pt x="196" y="289"/>
                    </a:lnTo>
                    <a:lnTo>
                      <a:pt x="196" y="287"/>
                    </a:lnTo>
                    <a:lnTo>
                      <a:pt x="194" y="287"/>
                    </a:lnTo>
                    <a:lnTo>
                      <a:pt x="192" y="287"/>
                    </a:lnTo>
                    <a:lnTo>
                      <a:pt x="192" y="285"/>
                    </a:lnTo>
                    <a:lnTo>
                      <a:pt x="194" y="285"/>
                    </a:lnTo>
                    <a:lnTo>
                      <a:pt x="196" y="285"/>
                    </a:lnTo>
                    <a:lnTo>
                      <a:pt x="196" y="287"/>
                    </a:lnTo>
                    <a:lnTo>
                      <a:pt x="198" y="287"/>
                    </a:lnTo>
                    <a:lnTo>
                      <a:pt x="198" y="285"/>
                    </a:lnTo>
                    <a:lnTo>
                      <a:pt x="196" y="285"/>
                    </a:lnTo>
                    <a:lnTo>
                      <a:pt x="198" y="285"/>
                    </a:lnTo>
                    <a:lnTo>
                      <a:pt x="196" y="285"/>
                    </a:lnTo>
                    <a:lnTo>
                      <a:pt x="198" y="285"/>
                    </a:lnTo>
                    <a:lnTo>
                      <a:pt x="200" y="285"/>
                    </a:lnTo>
                    <a:lnTo>
                      <a:pt x="198" y="285"/>
                    </a:lnTo>
                    <a:lnTo>
                      <a:pt x="200" y="285"/>
                    </a:lnTo>
                    <a:lnTo>
                      <a:pt x="200" y="283"/>
                    </a:lnTo>
                    <a:lnTo>
                      <a:pt x="200" y="285"/>
                    </a:lnTo>
                    <a:lnTo>
                      <a:pt x="202" y="285"/>
                    </a:lnTo>
                    <a:lnTo>
                      <a:pt x="204" y="285"/>
                    </a:lnTo>
                    <a:lnTo>
                      <a:pt x="204" y="287"/>
                    </a:lnTo>
                    <a:lnTo>
                      <a:pt x="206" y="287"/>
                    </a:lnTo>
                    <a:lnTo>
                      <a:pt x="204" y="287"/>
                    </a:lnTo>
                    <a:lnTo>
                      <a:pt x="206" y="287"/>
                    </a:lnTo>
                    <a:lnTo>
                      <a:pt x="204" y="287"/>
                    </a:lnTo>
                    <a:lnTo>
                      <a:pt x="204" y="289"/>
                    </a:lnTo>
                    <a:lnTo>
                      <a:pt x="206" y="289"/>
                    </a:lnTo>
                    <a:lnTo>
                      <a:pt x="206" y="287"/>
                    </a:lnTo>
                    <a:lnTo>
                      <a:pt x="206" y="289"/>
                    </a:lnTo>
                    <a:lnTo>
                      <a:pt x="208" y="289"/>
                    </a:lnTo>
                    <a:lnTo>
                      <a:pt x="210" y="289"/>
                    </a:lnTo>
                    <a:lnTo>
                      <a:pt x="212" y="289"/>
                    </a:lnTo>
                    <a:lnTo>
                      <a:pt x="212" y="290"/>
                    </a:lnTo>
                    <a:lnTo>
                      <a:pt x="210" y="290"/>
                    </a:lnTo>
                    <a:lnTo>
                      <a:pt x="208" y="290"/>
                    </a:lnTo>
                    <a:lnTo>
                      <a:pt x="208" y="292"/>
                    </a:lnTo>
                    <a:lnTo>
                      <a:pt x="206" y="292"/>
                    </a:lnTo>
                    <a:lnTo>
                      <a:pt x="204" y="292"/>
                    </a:lnTo>
                    <a:lnTo>
                      <a:pt x="206" y="292"/>
                    </a:lnTo>
                    <a:lnTo>
                      <a:pt x="208" y="292"/>
                    </a:lnTo>
                    <a:lnTo>
                      <a:pt x="210" y="292"/>
                    </a:lnTo>
                    <a:lnTo>
                      <a:pt x="210" y="290"/>
                    </a:lnTo>
                    <a:lnTo>
                      <a:pt x="210" y="292"/>
                    </a:lnTo>
                    <a:lnTo>
                      <a:pt x="210" y="290"/>
                    </a:lnTo>
                    <a:lnTo>
                      <a:pt x="212" y="290"/>
                    </a:lnTo>
                    <a:lnTo>
                      <a:pt x="210" y="290"/>
                    </a:lnTo>
                    <a:lnTo>
                      <a:pt x="212" y="290"/>
                    </a:lnTo>
                    <a:lnTo>
                      <a:pt x="212" y="292"/>
                    </a:lnTo>
                    <a:lnTo>
                      <a:pt x="212" y="294"/>
                    </a:lnTo>
                    <a:lnTo>
                      <a:pt x="210" y="294"/>
                    </a:lnTo>
                    <a:lnTo>
                      <a:pt x="212" y="294"/>
                    </a:lnTo>
                    <a:lnTo>
                      <a:pt x="214" y="294"/>
                    </a:lnTo>
                    <a:lnTo>
                      <a:pt x="214" y="292"/>
                    </a:lnTo>
                    <a:lnTo>
                      <a:pt x="212" y="292"/>
                    </a:lnTo>
                    <a:lnTo>
                      <a:pt x="214" y="290"/>
                    </a:lnTo>
                    <a:lnTo>
                      <a:pt x="212" y="290"/>
                    </a:lnTo>
                    <a:lnTo>
                      <a:pt x="212" y="289"/>
                    </a:lnTo>
                    <a:lnTo>
                      <a:pt x="214" y="289"/>
                    </a:lnTo>
                    <a:lnTo>
                      <a:pt x="214" y="290"/>
                    </a:lnTo>
                    <a:lnTo>
                      <a:pt x="215" y="290"/>
                    </a:lnTo>
                    <a:lnTo>
                      <a:pt x="217" y="290"/>
                    </a:lnTo>
                    <a:lnTo>
                      <a:pt x="217" y="292"/>
                    </a:lnTo>
                    <a:lnTo>
                      <a:pt x="217" y="290"/>
                    </a:lnTo>
                    <a:lnTo>
                      <a:pt x="219" y="290"/>
                    </a:lnTo>
                    <a:lnTo>
                      <a:pt x="217" y="289"/>
                    </a:lnTo>
                    <a:lnTo>
                      <a:pt x="219" y="289"/>
                    </a:lnTo>
                    <a:lnTo>
                      <a:pt x="217" y="289"/>
                    </a:lnTo>
                    <a:lnTo>
                      <a:pt x="217" y="287"/>
                    </a:lnTo>
                    <a:lnTo>
                      <a:pt x="219" y="287"/>
                    </a:lnTo>
                    <a:lnTo>
                      <a:pt x="221" y="287"/>
                    </a:lnTo>
                    <a:lnTo>
                      <a:pt x="223" y="287"/>
                    </a:lnTo>
                    <a:lnTo>
                      <a:pt x="225" y="287"/>
                    </a:lnTo>
                    <a:lnTo>
                      <a:pt x="223" y="287"/>
                    </a:lnTo>
                    <a:lnTo>
                      <a:pt x="221" y="287"/>
                    </a:lnTo>
                    <a:lnTo>
                      <a:pt x="219" y="287"/>
                    </a:lnTo>
                    <a:lnTo>
                      <a:pt x="217" y="287"/>
                    </a:lnTo>
                    <a:lnTo>
                      <a:pt x="217" y="289"/>
                    </a:lnTo>
                    <a:lnTo>
                      <a:pt x="217" y="290"/>
                    </a:lnTo>
                    <a:lnTo>
                      <a:pt x="219" y="290"/>
                    </a:lnTo>
                    <a:lnTo>
                      <a:pt x="217" y="290"/>
                    </a:lnTo>
                    <a:lnTo>
                      <a:pt x="215" y="290"/>
                    </a:lnTo>
                    <a:lnTo>
                      <a:pt x="214" y="289"/>
                    </a:lnTo>
                    <a:lnTo>
                      <a:pt x="212" y="289"/>
                    </a:lnTo>
                    <a:lnTo>
                      <a:pt x="214" y="289"/>
                    </a:lnTo>
                    <a:lnTo>
                      <a:pt x="214" y="287"/>
                    </a:lnTo>
                    <a:lnTo>
                      <a:pt x="215" y="285"/>
                    </a:lnTo>
                    <a:lnTo>
                      <a:pt x="214" y="285"/>
                    </a:lnTo>
                    <a:lnTo>
                      <a:pt x="214" y="287"/>
                    </a:lnTo>
                    <a:lnTo>
                      <a:pt x="212" y="287"/>
                    </a:lnTo>
                    <a:lnTo>
                      <a:pt x="210" y="287"/>
                    </a:lnTo>
                    <a:lnTo>
                      <a:pt x="208" y="287"/>
                    </a:lnTo>
                    <a:lnTo>
                      <a:pt x="206" y="287"/>
                    </a:lnTo>
                    <a:lnTo>
                      <a:pt x="208" y="287"/>
                    </a:lnTo>
                    <a:lnTo>
                      <a:pt x="208" y="285"/>
                    </a:lnTo>
                    <a:lnTo>
                      <a:pt x="206" y="285"/>
                    </a:lnTo>
                    <a:lnTo>
                      <a:pt x="206" y="283"/>
                    </a:lnTo>
                    <a:lnTo>
                      <a:pt x="206" y="285"/>
                    </a:lnTo>
                    <a:lnTo>
                      <a:pt x="206" y="283"/>
                    </a:lnTo>
                    <a:lnTo>
                      <a:pt x="204" y="283"/>
                    </a:lnTo>
                    <a:lnTo>
                      <a:pt x="206" y="283"/>
                    </a:lnTo>
                    <a:lnTo>
                      <a:pt x="204" y="283"/>
                    </a:lnTo>
                    <a:lnTo>
                      <a:pt x="204" y="281"/>
                    </a:lnTo>
                    <a:lnTo>
                      <a:pt x="206" y="281"/>
                    </a:lnTo>
                    <a:lnTo>
                      <a:pt x="208" y="281"/>
                    </a:lnTo>
                    <a:lnTo>
                      <a:pt x="206" y="281"/>
                    </a:lnTo>
                    <a:lnTo>
                      <a:pt x="206" y="279"/>
                    </a:lnTo>
                    <a:lnTo>
                      <a:pt x="206" y="281"/>
                    </a:lnTo>
                    <a:lnTo>
                      <a:pt x="204" y="279"/>
                    </a:lnTo>
                    <a:lnTo>
                      <a:pt x="204" y="281"/>
                    </a:lnTo>
                    <a:lnTo>
                      <a:pt x="204" y="279"/>
                    </a:lnTo>
                    <a:lnTo>
                      <a:pt x="204" y="281"/>
                    </a:lnTo>
                    <a:lnTo>
                      <a:pt x="202" y="281"/>
                    </a:lnTo>
                    <a:lnTo>
                      <a:pt x="202" y="279"/>
                    </a:lnTo>
                    <a:lnTo>
                      <a:pt x="200" y="279"/>
                    </a:lnTo>
                    <a:lnTo>
                      <a:pt x="198" y="277"/>
                    </a:lnTo>
                    <a:lnTo>
                      <a:pt x="200" y="277"/>
                    </a:lnTo>
                    <a:lnTo>
                      <a:pt x="198" y="277"/>
                    </a:lnTo>
                    <a:lnTo>
                      <a:pt x="196" y="277"/>
                    </a:lnTo>
                    <a:lnTo>
                      <a:pt x="196" y="275"/>
                    </a:lnTo>
                    <a:lnTo>
                      <a:pt x="194" y="275"/>
                    </a:lnTo>
                    <a:lnTo>
                      <a:pt x="192" y="275"/>
                    </a:lnTo>
                    <a:lnTo>
                      <a:pt x="190" y="275"/>
                    </a:lnTo>
                    <a:lnTo>
                      <a:pt x="189" y="275"/>
                    </a:lnTo>
                    <a:lnTo>
                      <a:pt x="190" y="275"/>
                    </a:lnTo>
                    <a:lnTo>
                      <a:pt x="189" y="275"/>
                    </a:lnTo>
                    <a:lnTo>
                      <a:pt x="187" y="275"/>
                    </a:lnTo>
                    <a:lnTo>
                      <a:pt x="187" y="273"/>
                    </a:lnTo>
                    <a:lnTo>
                      <a:pt x="189" y="273"/>
                    </a:lnTo>
                    <a:lnTo>
                      <a:pt x="189" y="271"/>
                    </a:lnTo>
                    <a:lnTo>
                      <a:pt x="190" y="271"/>
                    </a:lnTo>
                    <a:lnTo>
                      <a:pt x="189" y="271"/>
                    </a:lnTo>
                    <a:lnTo>
                      <a:pt x="190" y="269"/>
                    </a:lnTo>
                    <a:lnTo>
                      <a:pt x="192" y="269"/>
                    </a:lnTo>
                    <a:lnTo>
                      <a:pt x="192" y="271"/>
                    </a:lnTo>
                    <a:lnTo>
                      <a:pt x="192" y="269"/>
                    </a:lnTo>
                    <a:lnTo>
                      <a:pt x="192" y="271"/>
                    </a:lnTo>
                    <a:lnTo>
                      <a:pt x="192" y="269"/>
                    </a:lnTo>
                    <a:lnTo>
                      <a:pt x="194" y="269"/>
                    </a:lnTo>
                    <a:lnTo>
                      <a:pt x="196" y="269"/>
                    </a:lnTo>
                    <a:lnTo>
                      <a:pt x="196" y="267"/>
                    </a:lnTo>
                    <a:lnTo>
                      <a:pt x="194" y="267"/>
                    </a:lnTo>
                    <a:lnTo>
                      <a:pt x="192" y="267"/>
                    </a:lnTo>
                    <a:lnTo>
                      <a:pt x="192" y="265"/>
                    </a:lnTo>
                    <a:lnTo>
                      <a:pt x="190" y="265"/>
                    </a:lnTo>
                    <a:lnTo>
                      <a:pt x="190" y="264"/>
                    </a:lnTo>
                    <a:lnTo>
                      <a:pt x="190" y="265"/>
                    </a:lnTo>
                    <a:lnTo>
                      <a:pt x="192" y="265"/>
                    </a:lnTo>
                    <a:lnTo>
                      <a:pt x="194" y="265"/>
                    </a:lnTo>
                    <a:lnTo>
                      <a:pt x="194" y="267"/>
                    </a:lnTo>
                    <a:lnTo>
                      <a:pt x="196" y="267"/>
                    </a:lnTo>
                    <a:lnTo>
                      <a:pt x="196" y="265"/>
                    </a:lnTo>
                    <a:lnTo>
                      <a:pt x="198" y="265"/>
                    </a:lnTo>
                    <a:lnTo>
                      <a:pt x="198" y="267"/>
                    </a:lnTo>
                    <a:lnTo>
                      <a:pt x="200" y="267"/>
                    </a:lnTo>
                    <a:lnTo>
                      <a:pt x="200" y="269"/>
                    </a:lnTo>
                    <a:lnTo>
                      <a:pt x="198" y="269"/>
                    </a:lnTo>
                    <a:lnTo>
                      <a:pt x="198" y="271"/>
                    </a:lnTo>
                    <a:lnTo>
                      <a:pt x="198" y="273"/>
                    </a:lnTo>
                    <a:lnTo>
                      <a:pt x="200" y="273"/>
                    </a:lnTo>
                    <a:lnTo>
                      <a:pt x="200" y="271"/>
                    </a:lnTo>
                    <a:lnTo>
                      <a:pt x="202" y="271"/>
                    </a:lnTo>
                    <a:lnTo>
                      <a:pt x="204" y="271"/>
                    </a:lnTo>
                    <a:lnTo>
                      <a:pt x="204" y="273"/>
                    </a:lnTo>
                    <a:lnTo>
                      <a:pt x="206" y="273"/>
                    </a:lnTo>
                    <a:lnTo>
                      <a:pt x="206" y="271"/>
                    </a:lnTo>
                    <a:lnTo>
                      <a:pt x="206" y="273"/>
                    </a:lnTo>
                    <a:lnTo>
                      <a:pt x="206" y="275"/>
                    </a:lnTo>
                    <a:lnTo>
                      <a:pt x="204" y="275"/>
                    </a:lnTo>
                    <a:lnTo>
                      <a:pt x="206" y="275"/>
                    </a:lnTo>
                    <a:lnTo>
                      <a:pt x="208" y="275"/>
                    </a:lnTo>
                    <a:lnTo>
                      <a:pt x="206" y="275"/>
                    </a:lnTo>
                    <a:lnTo>
                      <a:pt x="206" y="277"/>
                    </a:lnTo>
                    <a:lnTo>
                      <a:pt x="208" y="277"/>
                    </a:lnTo>
                    <a:lnTo>
                      <a:pt x="210" y="277"/>
                    </a:lnTo>
                    <a:lnTo>
                      <a:pt x="212" y="277"/>
                    </a:lnTo>
                    <a:lnTo>
                      <a:pt x="212" y="279"/>
                    </a:lnTo>
                    <a:lnTo>
                      <a:pt x="212" y="277"/>
                    </a:lnTo>
                    <a:lnTo>
                      <a:pt x="210" y="277"/>
                    </a:lnTo>
                    <a:lnTo>
                      <a:pt x="210" y="275"/>
                    </a:lnTo>
                    <a:lnTo>
                      <a:pt x="212" y="275"/>
                    </a:lnTo>
                    <a:lnTo>
                      <a:pt x="210" y="275"/>
                    </a:lnTo>
                    <a:lnTo>
                      <a:pt x="208" y="275"/>
                    </a:lnTo>
                    <a:lnTo>
                      <a:pt x="210" y="273"/>
                    </a:lnTo>
                    <a:lnTo>
                      <a:pt x="208" y="273"/>
                    </a:lnTo>
                    <a:lnTo>
                      <a:pt x="210" y="273"/>
                    </a:lnTo>
                    <a:lnTo>
                      <a:pt x="210" y="271"/>
                    </a:lnTo>
                    <a:lnTo>
                      <a:pt x="208" y="271"/>
                    </a:lnTo>
                    <a:lnTo>
                      <a:pt x="210" y="271"/>
                    </a:lnTo>
                    <a:lnTo>
                      <a:pt x="212" y="271"/>
                    </a:lnTo>
                    <a:lnTo>
                      <a:pt x="214" y="271"/>
                    </a:lnTo>
                    <a:lnTo>
                      <a:pt x="214" y="273"/>
                    </a:lnTo>
                    <a:lnTo>
                      <a:pt x="214" y="271"/>
                    </a:lnTo>
                    <a:lnTo>
                      <a:pt x="215" y="271"/>
                    </a:lnTo>
                    <a:lnTo>
                      <a:pt x="215" y="269"/>
                    </a:lnTo>
                    <a:lnTo>
                      <a:pt x="214" y="269"/>
                    </a:lnTo>
                    <a:lnTo>
                      <a:pt x="215" y="269"/>
                    </a:lnTo>
                    <a:lnTo>
                      <a:pt x="214" y="269"/>
                    </a:lnTo>
                    <a:lnTo>
                      <a:pt x="214" y="271"/>
                    </a:lnTo>
                    <a:lnTo>
                      <a:pt x="214" y="269"/>
                    </a:lnTo>
                    <a:lnTo>
                      <a:pt x="215" y="267"/>
                    </a:lnTo>
                    <a:lnTo>
                      <a:pt x="214" y="267"/>
                    </a:lnTo>
                    <a:lnTo>
                      <a:pt x="215" y="267"/>
                    </a:lnTo>
                    <a:lnTo>
                      <a:pt x="214" y="267"/>
                    </a:lnTo>
                    <a:lnTo>
                      <a:pt x="215" y="267"/>
                    </a:lnTo>
                    <a:lnTo>
                      <a:pt x="215" y="265"/>
                    </a:lnTo>
                    <a:lnTo>
                      <a:pt x="217" y="265"/>
                    </a:lnTo>
                    <a:lnTo>
                      <a:pt x="215" y="265"/>
                    </a:lnTo>
                    <a:lnTo>
                      <a:pt x="217" y="265"/>
                    </a:lnTo>
                    <a:lnTo>
                      <a:pt x="217" y="264"/>
                    </a:lnTo>
                    <a:lnTo>
                      <a:pt x="219" y="264"/>
                    </a:lnTo>
                    <a:lnTo>
                      <a:pt x="221" y="264"/>
                    </a:lnTo>
                    <a:lnTo>
                      <a:pt x="221" y="262"/>
                    </a:lnTo>
                    <a:lnTo>
                      <a:pt x="219" y="262"/>
                    </a:lnTo>
                    <a:lnTo>
                      <a:pt x="219" y="260"/>
                    </a:lnTo>
                    <a:lnTo>
                      <a:pt x="217" y="260"/>
                    </a:lnTo>
                    <a:lnTo>
                      <a:pt x="219" y="260"/>
                    </a:lnTo>
                    <a:lnTo>
                      <a:pt x="221" y="260"/>
                    </a:lnTo>
                    <a:lnTo>
                      <a:pt x="223" y="260"/>
                    </a:lnTo>
                    <a:lnTo>
                      <a:pt x="223" y="262"/>
                    </a:lnTo>
                    <a:lnTo>
                      <a:pt x="221" y="262"/>
                    </a:lnTo>
                    <a:lnTo>
                      <a:pt x="223" y="262"/>
                    </a:lnTo>
                    <a:lnTo>
                      <a:pt x="225" y="262"/>
                    </a:lnTo>
                    <a:lnTo>
                      <a:pt x="225" y="264"/>
                    </a:lnTo>
                    <a:lnTo>
                      <a:pt x="227" y="264"/>
                    </a:lnTo>
                    <a:lnTo>
                      <a:pt x="227" y="265"/>
                    </a:lnTo>
                    <a:lnTo>
                      <a:pt x="227" y="264"/>
                    </a:lnTo>
                    <a:lnTo>
                      <a:pt x="227" y="262"/>
                    </a:lnTo>
                    <a:lnTo>
                      <a:pt x="225" y="262"/>
                    </a:lnTo>
                    <a:lnTo>
                      <a:pt x="227" y="262"/>
                    </a:lnTo>
                    <a:lnTo>
                      <a:pt x="229" y="262"/>
                    </a:lnTo>
                    <a:lnTo>
                      <a:pt x="229" y="260"/>
                    </a:lnTo>
                    <a:lnTo>
                      <a:pt x="231" y="260"/>
                    </a:lnTo>
                    <a:lnTo>
                      <a:pt x="229" y="260"/>
                    </a:lnTo>
                    <a:lnTo>
                      <a:pt x="229" y="258"/>
                    </a:lnTo>
                    <a:lnTo>
                      <a:pt x="227" y="258"/>
                    </a:lnTo>
                    <a:lnTo>
                      <a:pt x="229" y="258"/>
                    </a:lnTo>
                    <a:lnTo>
                      <a:pt x="227" y="258"/>
                    </a:lnTo>
                    <a:lnTo>
                      <a:pt x="225" y="258"/>
                    </a:lnTo>
                    <a:lnTo>
                      <a:pt x="223" y="258"/>
                    </a:lnTo>
                    <a:lnTo>
                      <a:pt x="221" y="258"/>
                    </a:lnTo>
                    <a:lnTo>
                      <a:pt x="223" y="258"/>
                    </a:lnTo>
                    <a:lnTo>
                      <a:pt x="221" y="258"/>
                    </a:lnTo>
                    <a:lnTo>
                      <a:pt x="219" y="256"/>
                    </a:lnTo>
                    <a:lnTo>
                      <a:pt x="217" y="256"/>
                    </a:lnTo>
                    <a:lnTo>
                      <a:pt x="219" y="256"/>
                    </a:lnTo>
                    <a:lnTo>
                      <a:pt x="217" y="256"/>
                    </a:lnTo>
                    <a:lnTo>
                      <a:pt x="215" y="254"/>
                    </a:lnTo>
                    <a:lnTo>
                      <a:pt x="214" y="254"/>
                    </a:lnTo>
                    <a:lnTo>
                      <a:pt x="212" y="254"/>
                    </a:lnTo>
                    <a:lnTo>
                      <a:pt x="214" y="254"/>
                    </a:lnTo>
                    <a:lnTo>
                      <a:pt x="212" y="254"/>
                    </a:lnTo>
                    <a:lnTo>
                      <a:pt x="214" y="254"/>
                    </a:lnTo>
                    <a:lnTo>
                      <a:pt x="214" y="256"/>
                    </a:lnTo>
                    <a:lnTo>
                      <a:pt x="212" y="254"/>
                    </a:lnTo>
                    <a:lnTo>
                      <a:pt x="214" y="252"/>
                    </a:lnTo>
                    <a:lnTo>
                      <a:pt x="215" y="252"/>
                    </a:lnTo>
                    <a:lnTo>
                      <a:pt x="217" y="252"/>
                    </a:lnTo>
                    <a:lnTo>
                      <a:pt x="219" y="252"/>
                    </a:lnTo>
                    <a:lnTo>
                      <a:pt x="221" y="252"/>
                    </a:lnTo>
                    <a:lnTo>
                      <a:pt x="223" y="252"/>
                    </a:lnTo>
                    <a:lnTo>
                      <a:pt x="227" y="254"/>
                    </a:lnTo>
                    <a:lnTo>
                      <a:pt x="229" y="254"/>
                    </a:lnTo>
                    <a:lnTo>
                      <a:pt x="233" y="254"/>
                    </a:lnTo>
                    <a:lnTo>
                      <a:pt x="233" y="256"/>
                    </a:lnTo>
                    <a:lnTo>
                      <a:pt x="233" y="254"/>
                    </a:lnTo>
                    <a:lnTo>
                      <a:pt x="233" y="256"/>
                    </a:lnTo>
                    <a:lnTo>
                      <a:pt x="235" y="256"/>
                    </a:lnTo>
                    <a:lnTo>
                      <a:pt x="237" y="256"/>
                    </a:lnTo>
                    <a:lnTo>
                      <a:pt x="235" y="256"/>
                    </a:lnTo>
                    <a:lnTo>
                      <a:pt x="233" y="254"/>
                    </a:lnTo>
                    <a:lnTo>
                      <a:pt x="235" y="254"/>
                    </a:lnTo>
                    <a:lnTo>
                      <a:pt x="237" y="254"/>
                    </a:lnTo>
                    <a:lnTo>
                      <a:pt x="238" y="254"/>
                    </a:lnTo>
                    <a:lnTo>
                      <a:pt x="238" y="256"/>
                    </a:lnTo>
                    <a:lnTo>
                      <a:pt x="240" y="256"/>
                    </a:lnTo>
                    <a:lnTo>
                      <a:pt x="240" y="258"/>
                    </a:lnTo>
                    <a:lnTo>
                      <a:pt x="238" y="258"/>
                    </a:lnTo>
                    <a:lnTo>
                      <a:pt x="240" y="258"/>
                    </a:lnTo>
                    <a:lnTo>
                      <a:pt x="240" y="256"/>
                    </a:lnTo>
                    <a:lnTo>
                      <a:pt x="238" y="256"/>
                    </a:lnTo>
                    <a:lnTo>
                      <a:pt x="240" y="256"/>
                    </a:lnTo>
                    <a:lnTo>
                      <a:pt x="238" y="256"/>
                    </a:lnTo>
                    <a:lnTo>
                      <a:pt x="238" y="254"/>
                    </a:lnTo>
                    <a:lnTo>
                      <a:pt x="240" y="254"/>
                    </a:lnTo>
                    <a:lnTo>
                      <a:pt x="242" y="254"/>
                    </a:lnTo>
                    <a:lnTo>
                      <a:pt x="242" y="252"/>
                    </a:lnTo>
                    <a:lnTo>
                      <a:pt x="240" y="252"/>
                    </a:lnTo>
                    <a:lnTo>
                      <a:pt x="242" y="252"/>
                    </a:lnTo>
                    <a:lnTo>
                      <a:pt x="242" y="250"/>
                    </a:lnTo>
                    <a:lnTo>
                      <a:pt x="240" y="250"/>
                    </a:lnTo>
                    <a:lnTo>
                      <a:pt x="242" y="250"/>
                    </a:lnTo>
                    <a:lnTo>
                      <a:pt x="244" y="250"/>
                    </a:lnTo>
                    <a:lnTo>
                      <a:pt x="244" y="248"/>
                    </a:lnTo>
                    <a:lnTo>
                      <a:pt x="246" y="248"/>
                    </a:lnTo>
                    <a:lnTo>
                      <a:pt x="246" y="246"/>
                    </a:lnTo>
                    <a:lnTo>
                      <a:pt x="246" y="248"/>
                    </a:lnTo>
                    <a:lnTo>
                      <a:pt x="248" y="248"/>
                    </a:lnTo>
                    <a:lnTo>
                      <a:pt x="248" y="250"/>
                    </a:lnTo>
                    <a:lnTo>
                      <a:pt x="250" y="250"/>
                    </a:lnTo>
                    <a:lnTo>
                      <a:pt x="248" y="248"/>
                    </a:lnTo>
                    <a:lnTo>
                      <a:pt x="250" y="248"/>
                    </a:lnTo>
                    <a:lnTo>
                      <a:pt x="248" y="248"/>
                    </a:lnTo>
                    <a:lnTo>
                      <a:pt x="248" y="246"/>
                    </a:lnTo>
                    <a:lnTo>
                      <a:pt x="248" y="244"/>
                    </a:lnTo>
                    <a:lnTo>
                      <a:pt x="250" y="244"/>
                    </a:lnTo>
                    <a:lnTo>
                      <a:pt x="252" y="244"/>
                    </a:lnTo>
                    <a:lnTo>
                      <a:pt x="254" y="244"/>
                    </a:lnTo>
                    <a:lnTo>
                      <a:pt x="252" y="244"/>
                    </a:lnTo>
                    <a:lnTo>
                      <a:pt x="254" y="242"/>
                    </a:lnTo>
                    <a:lnTo>
                      <a:pt x="256" y="242"/>
                    </a:lnTo>
                    <a:lnTo>
                      <a:pt x="254" y="242"/>
                    </a:lnTo>
                    <a:lnTo>
                      <a:pt x="256" y="242"/>
                    </a:lnTo>
                    <a:lnTo>
                      <a:pt x="258" y="242"/>
                    </a:lnTo>
                    <a:lnTo>
                      <a:pt x="256" y="242"/>
                    </a:lnTo>
                    <a:lnTo>
                      <a:pt x="254" y="242"/>
                    </a:lnTo>
                    <a:lnTo>
                      <a:pt x="256" y="242"/>
                    </a:lnTo>
                    <a:lnTo>
                      <a:pt x="258" y="242"/>
                    </a:lnTo>
                    <a:lnTo>
                      <a:pt x="260" y="242"/>
                    </a:lnTo>
                    <a:lnTo>
                      <a:pt x="260" y="244"/>
                    </a:lnTo>
                    <a:lnTo>
                      <a:pt x="258" y="244"/>
                    </a:lnTo>
                    <a:lnTo>
                      <a:pt x="260" y="244"/>
                    </a:lnTo>
                    <a:lnTo>
                      <a:pt x="262" y="244"/>
                    </a:lnTo>
                    <a:lnTo>
                      <a:pt x="262" y="246"/>
                    </a:lnTo>
                    <a:lnTo>
                      <a:pt x="263" y="246"/>
                    </a:lnTo>
                    <a:lnTo>
                      <a:pt x="265" y="246"/>
                    </a:lnTo>
                    <a:lnTo>
                      <a:pt x="263" y="246"/>
                    </a:lnTo>
                    <a:lnTo>
                      <a:pt x="262" y="246"/>
                    </a:lnTo>
                    <a:lnTo>
                      <a:pt x="262" y="244"/>
                    </a:lnTo>
                    <a:lnTo>
                      <a:pt x="260" y="244"/>
                    </a:lnTo>
                    <a:lnTo>
                      <a:pt x="260" y="242"/>
                    </a:lnTo>
                    <a:lnTo>
                      <a:pt x="258" y="242"/>
                    </a:lnTo>
                    <a:lnTo>
                      <a:pt x="258" y="240"/>
                    </a:lnTo>
                    <a:lnTo>
                      <a:pt x="256" y="240"/>
                    </a:lnTo>
                    <a:lnTo>
                      <a:pt x="256" y="242"/>
                    </a:lnTo>
                    <a:lnTo>
                      <a:pt x="254" y="242"/>
                    </a:lnTo>
                    <a:lnTo>
                      <a:pt x="252" y="242"/>
                    </a:lnTo>
                    <a:lnTo>
                      <a:pt x="250" y="242"/>
                    </a:lnTo>
                    <a:lnTo>
                      <a:pt x="252" y="242"/>
                    </a:lnTo>
                    <a:lnTo>
                      <a:pt x="252" y="240"/>
                    </a:lnTo>
                    <a:lnTo>
                      <a:pt x="254" y="240"/>
                    </a:lnTo>
                    <a:lnTo>
                      <a:pt x="254" y="242"/>
                    </a:lnTo>
                    <a:lnTo>
                      <a:pt x="254" y="240"/>
                    </a:lnTo>
                    <a:lnTo>
                      <a:pt x="256" y="240"/>
                    </a:lnTo>
                    <a:lnTo>
                      <a:pt x="258" y="240"/>
                    </a:lnTo>
                    <a:lnTo>
                      <a:pt x="260" y="240"/>
                    </a:lnTo>
                    <a:lnTo>
                      <a:pt x="262" y="240"/>
                    </a:lnTo>
                    <a:lnTo>
                      <a:pt x="260" y="240"/>
                    </a:lnTo>
                    <a:lnTo>
                      <a:pt x="262" y="240"/>
                    </a:lnTo>
                    <a:lnTo>
                      <a:pt x="262" y="239"/>
                    </a:lnTo>
                    <a:lnTo>
                      <a:pt x="263" y="239"/>
                    </a:lnTo>
                    <a:lnTo>
                      <a:pt x="263" y="240"/>
                    </a:lnTo>
                    <a:lnTo>
                      <a:pt x="265" y="240"/>
                    </a:lnTo>
                    <a:lnTo>
                      <a:pt x="267" y="240"/>
                    </a:lnTo>
                    <a:lnTo>
                      <a:pt x="265" y="240"/>
                    </a:lnTo>
                    <a:lnTo>
                      <a:pt x="267" y="240"/>
                    </a:lnTo>
                    <a:lnTo>
                      <a:pt x="269" y="240"/>
                    </a:lnTo>
                    <a:lnTo>
                      <a:pt x="271" y="240"/>
                    </a:lnTo>
                    <a:lnTo>
                      <a:pt x="269" y="240"/>
                    </a:lnTo>
                    <a:lnTo>
                      <a:pt x="271" y="240"/>
                    </a:lnTo>
                    <a:lnTo>
                      <a:pt x="273" y="240"/>
                    </a:lnTo>
                    <a:lnTo>
                      <a:pt x="271" y="240"/>
                    </a:lnTo>
                    <a:lnTo>
                      <a:pt x="273" y="240"/>
                    </a:lnTo>
                    <a:lnTo>
                      <a:pt x="271" y="240"/>
                    </a:lnTo>
                    <a:lnTo>
                      <a:pt x="271" y="239"/>
                    </a:lnTo>
                    <a:lnTo>
                      <a:pt x="273" y="239"/>
                    </a:lnTo>
                    <a:lnTo>
                      <a:pt x="275" y="239"/>
                    </a:lnTo>
                    <a:lnTo>
                      <a:pt x="277" y="239"/>
                    </a:lnTo>
                    <a:lnTo>
                      <a:pt x="279" y="239"/>
                    </a:lnTo>
                    <a:lnTo>
                      <a:pt x="279" y="237"/>
                    </a:lnTo>
                    <a:lnTo>
                      <a:pt x="279" y="239"/>
                    </a:lnTo>
                    <a:lnTo>
                      <a:pt x="281" y="239"/>
                    </a:lnTo>
                    <a:lnTo>
                      <a:pt x="281" y="240"/>
                    </a:lnTo>
                    <a:lnTo>
                      <a:pt x="283" y="240"/>
                    </a:lnTo>
                    <a:lnTo>
                      <a:pt x="281" y="239"/>
                    </a:lnTo>
                    <a:lnTo>
                      <a:pt x="279" y="239"/>
                    </a:lnTo>
                    <a:lnTo>
                      <a:pt x="281" y="239"/>
                    </a:lnTo>
                    <a:lnTo>
                      <a:pt x="279" y="239"/>
                    </a:lnTo>
                    <a:lnTo>
                      <a:pt x="279" y="237"/>
                    </a:lnTo>
                    <a:lnTo>
                      <a:pt x="277" y="237"/>
                    </a:lnTo>
                    <a:lnTo>
                      <a:pt x="277" y="235"/>
                    </a:lnTo>
                    <a:lnTo>
                      <a:pt x="279" y="235"/>
                    </a:lnTo>
                    <a:lnTo>
                      <a:pt x="277" y="235"/>
                    </a:lnTo>
                    <a:lnTo>
                      <a:pt x="279" y="235"/>
                    </a:lnTo>
                    <a:lnTo>
                      <a:pt x="281" y="235"/>
                    </a:lnTo>
                    <a:lnTo>
                      <a:pt x="283" y="235"/>
                    </a:lnTo>
                    <a:lnTo>
                      <a:pt x="283" y="233"/>
                    </a:lnTo>
                    <a:lnTo>
                      <a:pt x="283" y="235"/>
                    </a:lnTo>
                    <a:lnTo>
                      <a:pt x="285" y="235"/>
                    </a:lnTo>
                    <a:lnTo>
                      <a:pt x="287" y="235"/>
                    </a:lnTo>
                    <a:lnTo>
                      <a:pt x="288" y="235"/>
                    </a:lnTo>
                    <a:lnTo>
                      <a:pt x="290" y="235"/>
                    </a:lnTo>
                    <a:lnTo>
                      <a:pt x="292" y="235"/>
                    </a:lnTo>
                    <a:lnTo>
                      <a:pt x="292" y="233"/>
                    </a:lnTo>
                    <a:lnTo>
                      <a:pt x="294" y="233"/>
                    </a:lnTo>
                    <a:lnTo>
                      <a:pt x="296" y="233"/>
                    </a:lnTo>
                    <a:lnTo>
                      <a:pt x="296" y="231"/>
                    </a:lnTo>
                    <a:lnTo>
                      <a:pt x="298" y="231"/>
                    </a:lnTo>
                    <a:lnTo>
                      <a:pt x="298" y="233"/>
                    </a:lnTo>
                    <a:lnTo>
                      <a:pt x="296" y="233"/>
                    </a:lnTo>
                    <a:lnTo>
                      <a:pt x="298" y="233"/>
                    </a:lnTo>
                    <a:lnTo>
                      <a:pt x="298" y="235"/>
                    </a:lnTo>
                    <a:lnTo>
                      <a:pt x="298" y="237"/>
                    </a:lnTo>
                    <a:lnTo>
                      <a:pt x="298" y="235"/>
                    </a:lnTo>
                    <a:lnTo>
                      <a:pt x="300" y="235"/>
                    </a:lnTo>
                    <a:lnTo>
                      <a:pt x="300" y="233"/>
                    </a:lnTo>
                    <a:lnTo>
                      <a:pt x="302" y="233"/>
                    </a:lnTo>
                    <a:lnTo>
                      <a:pt x="302" y="231"/>
                    </a:lnTo>
                    <a:lnTo>
                      <a:pt x="304" y="231"/>
                    </a:lnTo>
                    <a:lnTo>
                      <a:pt x="304" y="233"/>
                    </a:lnTo>
                    <a:lnTo>
                      <a:pt x="306" y="233"/>
                    </a:lnTo>
                    <a:lnTo>
                      <a:pt x="308" y="233"/>
                    </a:lnTo>
                    <a:lnTo>
                      <a:pt x="310" y="233"/>
                    </a:lnTo>
                    <a:lnTo>
                      <a:pt x="308" y="233"/>
                    </a:lnTo>
                    <a:lnTo>
                      <a:pt x="310" y="233"/>
                    </a:lnTo>
                    <a:lnTo>
                      <a:pt x="311" y="233"/>
                    </a:lnTo>
                    <a:lnTo>
                      <a:pt x="313" y="233"/>
                    </a:lnTo>
                    <a:lnTo>
                      <a:pt x="313" y="235"/>
                    </a:lnTo>
                    <a:lnTo>
                      <a:pt x="313" y="233"/>
                    </a:lnTo>
                    <a:lnTo>
                      <a:pt x="311" y="233"/>
                    </a:lnTo>
                    <a:lnTo>
                      <a:pt x="313" y="233"/>
                    </a:lnTo>
                    <a:lnTo>
                      <a:pt x="313" y="231"/>
                    </a:lnTo>
                    <a:lnTo>
                      <a:pt x="311" y="231"/>
                    </a:lnTo>
                    <a:lnTo>
                      <a:pt x="313" y="231"/>
                    </a:lnTo>
                    <a:lnTo>
                      <a:pt x="313" y="229"/>
                    </a:lnTo>
                    <a:lnTo>
                      <a:pt x="315" y="229"/>
                    </a:lnTo>
                    <a:lnTo>
                      <a:pt x="315" y="231"/>
                    </a:lnTo>
                    <a:lnTo>
                      <a:pt x="315" y="229"/>
                    </a:lnTo>
                    <a:lnTo>
                      <a:pt x="317" y="229"/>
                    </a:lnTo>
                    <a:lnTo>
                      <a:pt x="315" y="229"/>
                    </a:lnTo>
                    <a:lnTo>
                      <a:pt x="317" y="229"/>
                    </a:lnTo>
                    <a:lnTo>
                      <a:pt x="319" y="229"/>
                    </a:lnTo>
                    <a:lnTo>
                      <a:pt x="321" y="229"/>
                    </a:lnTo>
                    <a:lnTo>
                      <a:pt x="319" y="229"/>
                    </a:lnTo>
                    <a:lnTo>
                      <a:pt x="319" y="231"/>
                    </a:lnTo>
                    <a:lnTo>
                      <a:pt x="321" y="231"/>
                    </a:lnTo>
                    <a:lnTo>
                      <a:pt x="321" y="229"/>
                    </a:lnTo>
                    <a:lnTo>
                      <a:pt x="323" y="229"/>
                    </a:lnTo>
                    <a:lnTo>
                      <a:pt x="325" y="229"/>
                    </a:lnTo>
                    <a:lnTo>
                      <a:pt x="327" y="229"/>
                    </a:lnTo>
                    <a:lnTo>
                      <a:pt x="329" y="229"/>
                    </a:lnTo>
                    <a:lnTo>
                      <a:pt x="331" y="229"/>
                    </a:lnTo>
                    <a:lnTo>
                      <a:pt x="329" y="229"/>
                    </a:lnTo>
                    <a:lnTo>
                      <a:pt x="329" y="227"/>
                    </a:lnTo>
                    <a:lnTo>
                      <a:pt x="329" y="229"/>
                    </a:lnTo>
                    <a:lnTo>
                      <a:pt x="331" y="227"/>
                    </a:lnTo>
                    <a:lnTo>
                      <a:pt x="329" y="227"/>
                    </a:lnTo>
                    <a:lnTo>
                      <a:pt x="331" y="227"/>
                    </a:lnTo>
                    <a:lnTo>
                      <a:pt x="333" y="227"/>
                    </a:lnTo>
                    <a:lnTo>
                      <a:pt x="335" y="227"/>
                    </a:lnTo>
                    <a:lnTo>
                      <a:pt x="336" y="227"/>
                    </a:lnTo>
                    <a:lnTo>
                      <a:pt x="338" y="227"/>
                    </a:lnTo>
                    <a:lnTo>
                      <a:pt x="340" y="227"/>
                    </a:lnTo>
                    <a:lnTo>
                      <a:pt x="340" y="225"/>
                    </a:lnTo>
                    <a:lnTo>
                      <a:pt x="342" y="225"/>
                    </a:lnTo>
                    <a:lnTo>
                      <a:pt x="344" y="225"/>
                    </a:lnTo>
                    <a:lnTo>
                      <a:pt x="346" y="225"/>
                    </a:lnTo>
                    <a:lnTo>
                      <a:pt x="348" y="225"/>
                    </a:lnTo>
                    <a:lnTo>
                      <a:pt x="350" y="225"/>
                    </a:lnTo>
                    <a:lnTo>
                      <a:pt x="350" y="223"/>
                    </a:lnTo>
                    <a:lnTo>
                      <a:pt x="352" y="223"/>
                    </a:lnTo>
                    <a:lnTo>
                      <a:pt x="354" y="223"/>
                    </a:lnTo>
                    <a:lnTo>
                      <a:pt x="356" y="223"/>
                    </a:lnTo>
                    <a:lnTo>
                      <a:pt x="358" y="223"/>
                    </a:lnTo>
                    <a:lnTo>
                      <a:pt x="358" y="221"/>
                    </a:lnTo>
                    <a:lnTo>
                      <a:pt x="360" y="221"/>
                    </a:lnTo>
                    <a:lnTo>
                      <a:pt x="361" y="221"/>
                    </a:lnTo>
                    <a:lnTo>
                      <a:pt x="363" y="221"/>
                    </a:lnTo>
                    <a:lnTo>
                      <a:pt x="361" y="221"/>
                    </a:lnTo>
                    <a:lnTo>
                      <a:pt x="363" y="221"/>
                    </a:lnTo>
                    <a:lnTo>
                      <a:pt x="363" y="219"/>
                    </a:lnTo>
                    <a:lnTo>
                      <a:pt x="363" y="221"/>
                    </a:lnTo>
                    <a:lnTo>
                      <a:pt x="365" y="221"/>
                    </a:lnTo>
                    <a:lnTo>
                      <a:pt x="363" y="221"/>
                    </a:lnTo>
                    <a:lnTo>
                      <a:pt x="363" y="219"/>
                    </a:lnTo>
                    <a:lnTo>
                      <a:pt x="365" y="219"/>
                    </a:lnTo>
                    <a:lnTo>
                      <a:pt x="363" y="219"/>
                    </a:lnTo>
                    <a:lnTo>
                      <a:pt x="363" y="221"/>
                    </a:lnTo>
                    <a:lnTo>
                      <a:pt x="361" y="219"/>
                    </a:lnTo>
                    <a:lnTo>
                      <a:pt x="361" y="221"/>
                    </a:lnTo>
                    <a:lnTo>
                      <a:pt x="360" y="221"/>
                    </a:lnTo>
                    <a:lnTo>
                      <a:pt x="358" y="221"/>
                    </a:lnTo>
                    <a:lnTo>
                      <a:pt x="356" y="221"/>
                    </a:lnTo>
                    <a:lnTo>
                      <a:pt x="358" y="221"/>
                    </a:lnTo>
                    <a:lnTo>
                      <a:pt x="356" y="221"/>
                    </a:lnTo>
                    <a:lnTo>
                      <a:pt x="354" y="221"/>
                    </a:lnTo>
                    <a:lnTo>
                      <a:pt x="352" y="221"/>
                    </a:lnTo>
                    <a:lnTo>
                      <a:pt x="354" y="221"/>
                    </a:lnTo>
                    <a:lnTo>
                      <a:pt x="354" y="219"/>
                    </a:lnTo>
                    <a:lnTo>
                      <a:pt x="352" y="219"/>
                    </a:lnTo>
                    <a:lnTo>
                      <a:pt x="352" y="221"/>
                    </a:lnTo>
                    <a:lnTo>
                      <a:pt x="350" y="221"/>
                    </a:lnTo>
                    <a:lnTo>
                      <a:pt x="352" y="221"/>
                    </a:lnTo>
                    <a:lnTo>
                      <a:pt x="352" y="223"/>
                    </a:lnTo>
                    <a:lnTo>
                      <a:pt x="350" y="223"/>
                    </a:lnTo>
                    <a:lnTo>
                      <a:pt x="350" y="221"/>
                    </a:lnTo>
                    <a:lnTo>
                      <a:pt x="348" y="221"/>
                    </a:lnTo>
                    <a:lnTo>
                      <a:pt x="348" y="219"/>
                    </a:lnTo>
                    <a:lnTo>
                      <a:pt x="346" y="219"/>
                    </a:lnTo>
                    <a:lnTo>
                      <a:pt x="346" y="217"/>
                    </a:lnTo>
                    <a:lnTo>
                      <a:pt x="348" y="217"/>
                    </a:lnTo>
                    <a:lnTo>
                      <a:pt x="346" y="217"/>
                    </a:lnTo>
                    <a:lnTo>
                      <a:pt x="344" y="217"/>
                    </a:lnTo>
                    <a:lnTo>
                      <a:pt x="344" y="219"/>
                    </a:lnTo>
                    <a:lnTo>
                      <a:pt x="342" y="219"/>
                    </a:lnTo>
                    <a:lnTo>
                      <a:pt x="340" y="219"/>
                    </a:lnTo>
                    <a:lnTo>
                      <a:pt x="338" y="219"/>
                    </a:lnTo>
                    <a:lnTo>
                      <a:pt x="338" y="221"/>
                    </a:lnTo>
                    <a:lnTo>
                      <a:pt x="340" y="219"/>
                    </a:lnTo>
                    <a:lnTo>
                      <a:pt x="340" y="221"/>
                    </a:lnTo>
                    <a:lnTo>
                      <a:pt x="342" y="221"/>
                    </a:lnTo>
                    <a:lnTo>
                      <a:pt x="342" y="219"/>
                    </a:lnTo>
                    <a:lnTo>
                      <a:pt x="342" y="221"/>
                    </a:lnTo>
                    <a:lnTo>
                      <a:pt x="344" y="221"/>
                    </a:lnTo>
                    <a:lnTo>
                      <a:pt x="342" y="221"/>
                    </a:lnTo>
                    <a:lnTo>
                      <a:pt x="340" y="221"/>
                    </a:lnTo>
                    <a:lnTo>
                      <a:pt x="338" y="221"/>
                    </a:lnTo>
                    <a:lnTo>
                      <a:pt x="338" y="219"/>
                    </a:lnTo>
                    <a:lnTo>
                      <a:pt x="338" y="217"/>
                    </a:lnTo>
                    <a:lnTo>
                      <a:pt x="336" y="217"/>
                    </a:lnTo>
                    <a:lnTo>
                      <a:pt x="338" y="217"/>
                    </a:lnTo>
                    <a:lnTo>
                      <a:pt x="340" y="217"/>
                    </a:lnTo>
                    <a:lnTo>
                      <a:pt x="340" y="216"/>
                    </a:lnTo>
                    <a:lnTo>
                      <a:pt x="340" y="214"/>
                    </a:lnTo>
                    <a:lnTo>
                      <a:pt x="338" y="214"/>
                    </a:lnTo>
                    <a:lnTo>
                      <a:pt x="340" y="214"/>
                    </a:lnTo>
                    <a:lnTo>
                      <a:pt x="342" y="214"/>
                    </a:lnTo>
                    <a:lnTo>
                      <a:pt x="342" y="216"/>
                    </a:lnTo>
                    <a:lnTo>
                      <a:pt x="340" y="216"/>
                    </a:lnTo>
                    <a:lnTo>
                      <a:pt x="342" y="216"/>
                    </a:lnTo>
                    <a:lnTo>
                      <a:pt x="344" y="216"/>
                    </a:lnTo>
                    <a:lnTo>
                      <a:pt x="346" y="216"/>
                    </a:lnTo>
                    <a:lnTo>
                      <a:pt x="346" y="214"/>
                    </a:lnTo>
                    <a:lnTo>
                      <a:pt x="348" y="214"/>
                    </a:lnTo>
                    <a:lnTo>
                      <a:pt x="348" y="212"/>
                    </a:lnTo>
                    <a:lnTo>
                      <a:pt x="346" y="214"/>
                    </a:lnTo>
                    <a:lnTo>
                      <a:pt x="346" y="212"/>
                    </a:lnTo>
                    <a:lnTo>
                      <a:pt x="344" y="212"/>
                    </a:lnTo>
                    <a:lnTo>
                      <a:pt x="346" y="212"/>
                    </a:lnTo>
                    <a:lnTo>
                      <a:pt x="348" y="212"/>
                    </a:lnTo>
                    <a:lnTo>
                      <a:pt x="350" y="212"/>
                    </a:lnTo>
                    <a:lnTo>
                      <a:pt x="350" y="214"/>
                    </a:lnTo>
                    <a:lnTo>
                      <a:pt x="348" y="214"/>
                    </a:lnTo>
                    <a:lnTo>
                      <a:pt x="350" y="214"/>
                    </a:lnTo>
                    <a:lnTo>
                      <a:pt x="350" y="216"/>
                    </a:lnTo>
                    <a:lnTo>
                      <a:pt x="348" y="216"/>
                    </a:lnTo>
                    <a:lnTo>
                      <a:pt x="350" y="216"/>
                    </a:lnTo>
                    <a:lnTo>
                      <a:pt x="352" y="216"/>
                    </a:lnTo>
                    <a:lnTo>
                      <a:pt x="352" y="214"/>
                    </a:lnTo>
                    <a:lnTo>
                      <a:pt x="352" y="216"/>
                    </a:lnTo>
                    <a:lnTo>
                      <a:pt x="354" y="216"/>
                    </a:lnTo>
                    <a:lnTo>
                      <a:pt x="354" y="214"/>
                    </a:lnTo>
                    <a:lnTo>
                      <a:pt x="356" y="214"/>
                    </a:lnTo>
                    <a:lnTo>
                      <a:pt x="358" y="214"/>
                    </a:lnTo>
                    <a:lnTo>
                      <a:pt x="356" y="214"/>
                    </a:lnTo>
                    <a:lnTo>
                      <a:pt x="358" y="214"/>
                    </a:lnTo>
                    <a:lnTo>
                      <a:pt x="360" y="214"/>
                    </a:lnTo>
                    <a:lnTo>
                      <a:pt x="361" y="214"/>
                    </a:lnTo>
                    <a:lnTo>
                      <a:pt x="361" y="216"/>
                    </a:lnTo>
                    <a:lnTo>
                      <a:pt x="361" y="214"/>
                    </a:lnTo>
                    <a:lnTo>
                      <a:pt x="360" y="214"/>
                    </a:lnTo>
                    <a:lnTo>
                      <a:pt x="361" y="214"/>
                    </a:lnTo>
                    <a:lnTo>
                      <a:pt x="360" y="214"/>
                    </a:lnTo>
                    <a:lnTo>
                      <a:pt x="358" y="214"/>
                    </a:lnTo>
                    <a:lnTo>
                      <a:pt x="360" y="214"/>
                    </a:lnTo>
                    <a:lnTo>
                      <a:pt x="358" y="212"/>
                    </a:lnTo>
                    <a:lnTo>
                      <a:pt x="358" y="214"/>
                    </a:lnTo>
                    <a:lnTo>
                      <a:pt x="358" y="212"/>
                    </a:lnTo>
                    <a:lnTo>
                      <a:pt x="356" y="212"/>
                    </a:lnTo>
                    <a:lnTo>
                      <a:pt x="354" y="212"/>
                    </a:lnTo>
                    <a:lnTo>
                      <a:pt x="356" y="212"/>
                    </a:lnTo>
                    <a:lnTo>
                      <a:pt x="358" y="212"/>
                    </a:lnTo>
                    <a:lnTo>
                      <a:pt x="360" y="212"/>
                    </a:lnTo>
                    <a:lnTo>
                      <a:pt x="361" y="212"/>
                    </a:lnTo>
                    <a:lnTo>
                      <a:pt x="363" y="212"/>
                    </a:lnTo>
                    <a:lnTo>
                      <a:pt x="363" y="210"/>
                    </a:lnTo>
                    <a:lnTo>
                      <a:pt x="363" y="212"/>
                    </a:lnTo>
                    <a:lnTo>
                      <a:pt x="365" y="212"/>
                    </a:lnTo>
                    <a:lnTo>
                      <a:pt x="367" y="212"/>
                    </a:lnTo>
                    <a:lnTo>
                      <a:pt x="369" y="212"/>
                    </a:lnTo>
                    <a:lnTo>
                      <a:pt x="369" y="210"/>
                    </a:lnTo>
                    <a:lnTo>
                      <a:pt x="369" y="212"/>
                    </a:lnTo>
                    <a:lnTo>
                      <a:pt x="371" y="212"/>
                    </a:lnTo>
                    <a:lnTo>
                      <a:pt x="371" y="214"/>
                    </a:lnTo>
                    <a:lnTo>
                      <a:pt x="373" y="214"/>
                    </a:lnTo>
                    <a:lnTo>
                      <a:pt x="375" y="214"/>
                    </a:lnTo>
                    <a:lnTo>
                      <a:pt x="375" y="212"/>
                    </a:lnTo>
                    <a:lnTo>
                      <a:pt x="373" y="212"/>
                    </a:lnTo>
                    <a:lnTo>
                      <a:pt x="375" y="212"/>
                    </a:lnTo>
                    <a:lnTo>
                      <a:pt x="377" y="212"/>
                    </a:lnTo>
                    <a:lnTo>
                      <a:pt x="377" y="210"/>
                    </a:lnTo>
                    <a:lnTo>
                      <a:pt x="375" y="210"/>
                    </a:lnTo>
                    <a:lnTo>
                      <a:pt x="373" y="210"/>
                    </a:lnTo>
                    <a:lnTo>
                      <a:pt x="371" y="210"/>
                    </a:lnTo>
                    <a:lnTo>
                      <a:pt x="373" y="210"/>
                    </a:lnTo>
                    <a:lnTo>
                      <a:pt x="375" y="210"/>
                    </a:lnTo>
                    <a:lnTo>
                      <a:pt x="377" y="210"/>
                    </a:lnTo>
                    <a:lnTo>
                      <a:pt x="379" y="210"/>
                    </a:lnTo>
                    <a:lnTo>
                      <a:pt x="381" y="210"/>
                    </a:lnTo>
                    <a:lnTo>
                      <a:pt x="381" y="212"/>
                    </a:lnTo>
                    <a:lnTo>
                      <a:pt x="383" y="212"/>
                    </a:lnTo>
                    <a:lnTo>
                      <a:pt x="384" y="212"/>
                    </a:lnTo>
                    <a:lnTo>
                      <a:pt x="386" y="212"/>
                    </a:lnTo>
                    <a:lnTo>
                      <a:pt x="388" y="212"/>
                    </a:lnTo>
                    <a:lnTo>
                      <a:pt x="388" y="210"/>
                    </a:lnTo>
                    <a:lnTo>
                      <a:pt x="390" y="210"/>
                    </a:lnTo>
                    <a:lnTo>
                      <a:pt x="392" y="210"/>
                    </a:lnTo>
                    <a:lnTo>
                      <a:pt x="394" y="210"/>
                    </a:lnTo>
                    <a:lnTo>
                      <a:pt x="396" y="210"/>
                    </a:lnTo>
                    <a:lnTo>
                      <a:pt x="398" y="210"/>
                    </a:lnTo>
                    <a:lnTo>
                      <a:pt x="400" y="210"/>
                    </a:lnTo>
                    <a:lnTo>
                      <a:pt x="400" y="212"/>
                    </a:lnTo>
                    <a:lnTo>
                      <a:pt x="402" y="212"/>
                    </a:lnTo>
                    <a:lnTo>
                      <a:pt x="400" y="212"/>
                    </a:lnTo>
                    <a:lnTo>
                      <a:pt x="402" y="212"/>
                    </a:lnTo>
                    <a:lnTo>
                      <a:pt x="404" y="212"/>
                    </a:lnTo>
                    <a:lnTo>
                      <a:pt x="406" y="212"/>
                    </a:lnTo>
                    <a:lnTo>
                      <a:pt x="404" y="212"/>
                    </a:lnTo>
                    <a:lnTo>
                      <a:pt x="406" y="212"/>
                    </a:lnTo>
                    <a:lnTo>
                      <a:pt x="408" y="212"/>
                    </a:lnTo>
                    <a:lnTo>
                      <a:pt x="408" y="214"/>
                    </a:lnTo>
                    <a:lnTo>
                      <a:pt x="406" y="214"/>
                    </a:lnTo>
                    <a:lnTo>
                      <a:pt x="406" y="212"/>
                    </a:lnTo>
                    <a:lnTo>
                      <a:pt x="404" y="212"/>
                    </a:lnTo>
                    <a:lnTo>
                      <a:pt x="404" y="214"/>
                    </a:lnTo>
                    <a:lnTo>
                      <a:pt x="402" y="214"/>
                    </a:lnTo>
                    <a:lnTo>
                      <a:pt x="404" y="214"/>
                    </a:lnTo>
                    <a:lnTo>
                      <a:pt x="402" y="214"/>
                    </a:lnTo>
                    <a:lnTo>
                      <a:pt x="404" y="216"/>
                    </a:lnTo>
                    <a:lnTo>
                      <a:pt x="404" y="214"/>
                    </a:lnTo>
                    <a:lnTo>
                      <a:pt x="406" y="214"/>
                    </a:lnTo>
                    <a:lnTo>
                      <a:pt x="404" y="216"/>
                    </a:lnTo>
                    <a:lnTo>
                      <a:pt x="402" y="216"/>
                    </a:lnTo>
                    <a:lnTo>
                      <a:pt x="402" y="217"/>
                    </a:lnTo>
                    <a:lnTo>
                      <a:pt x="400" y="217"/>
                    </a:lnTo>
                    <a:lnTo>
                      <a:pt x="400" y="219"/>
                    </a:lnTo>
                    <a:lnTo>
                      <a:pt x="398" y="219"/>
                    </a:lnTo>
                    <a:lnTo>
                      <a:pt x="396" y="219"/>
                    </a:lnTo>
                    <a:lnTo>
                      <a:pt x="398" y="219"/>
                    </a:lnTo>
                    <a:lnTo>
                      <a:pt x="398" y="221"/>
                    </a:lnTo>
                    <a:lnTo>
                      <a:pt x="396" y="219"/>
                    </a:lnTo>
                    <a:lnTo>
                      <a:pt x="396" y="221"/>
                    </a:lnTo>
                    <a:lnTo>
                      <a:pt x="396" y="223"/>
                    </a:lnTo>
                    <a:lnTo>
                      <a:pt x="394" y="223"/>
                    </a:lnTo>
                    <a:lnTo>
                      <a:pt x="396" y="223"/>
                    </a:lnTo>
                    <a:lnTo>
                      <a:pt x="394" y="223"/>
                    </a:lnTo>
                    <a:lnTo>
                      <a:pt x="396" y="223"/>
                    </a:lnTo>
                    <a:lnTo>
                      <a:pt x="396" y="225"/>
                    </a:lnTo>
                    <a:lnTo>
                      <a:pt x="398" y="225"/>
                    </a:lnTo>
                    <a:lnTo>
                      <a:pt x="398" y="223"/>
                    </a:lnTo>
                    <a:lnTo>
                      <a:pt x="398" y="225"/>
                    </a:lnTo>
                    <a:lnTo>
                      <a:pt x="398" y="227"/>
                    </a:lnTo>
                    <a:lnTo>
                      <a:pt x="396" y="227"/>
                    </a:lnTo>
                    <a:lnTo>
                      <a:pt x="396" y="229"/>
                    </a:lnTo>
                    <a:lnTo>
                      <a:pt x="398" y="227"/>
                    </a:lnTo>
                    <a:lnTo>
                      <a:pt x="400" y="225"/>
                    </a:lnTo>
                    <a:lnTo>
                      <a:pt x="398" y="225"/>
                    </a:lnTo>
                    <a:lnTo>
                      <a:pt x="398" y="223"/>
                    </a:lnTo>
                    <a:lnTo>
                      <a:pt x="400" y="221"/>
                    </a:lnTo>
                    <a:lnTo>
                      <a:pt x="402" y="221"/>
                    </a:lnTo>
                    <a:lnTo>
                      <a:pt x="402" y="219"/>
                    </a:lnTo>
                    <a:lnTo>
                      <a:pt x="404" y="219"/>
                    </a:lnTo>
                    <a:lnTo>
                      <a:pt x="406" y="219"/>
                    </a:lnTo>
                    <a:lnTo>
                      <a:pt x="408" y="219"/>
                    </a:lnTo>
                    <a:lnTo>
                      <a:pt x="406" y="219"/>
                    </a:lnTo>
                    <a:lnTo>
                      <a:pt x="408" y="219"/>
                    </a:lnTo>
                    <a:lnTo>
                      <a:pt x="409" y="219"/>
                    </a:lnTo>
                    <a:lnTo>
                      <a:pt x="408" y="219"/>
                    </a:lnTo>
                    <a:lnTo>
                      <a:pt x="408" y="217"/>
                    </a:lnTo>
                    <a:lnTo>
                      <a:pt x="409" y="217"/>
                    </a:lnTo>
                    <a:lnTo>
                      <a:pt x="408" y="217"/>
                    </a:lnTo>
                    <a:lnTo>
                      <a:pt x="409" y="217"/>
                    </a:lnTo>
                    <a:lnTo>
                      <a:pt x="409" y="216"/>
                    </a:lnTo>
                    <a:lnTo>
                      <a:pt x="411" y="217"/>
                    </a:lnTo>
                    <a:lnTo>
                      <a:pt x="413" y="216"/>
                    </a:lnTo>
                    <a:lnTo>
                      <a:pt x="413" y="217"/>
                    </a:lnTo>
                    <a:lnTo>
                      <a:pt x="411" y="217"/>
                    </a:lnTo>
                    <a:lnTo>
                      <a:pt x="413" y="217"/>
                    </a:lnTo>
                    <a:lnTo>
                      <a:pt x="415" y="217"/>
                    </a:lnTo>
                    <a:lnTo>
                      <a:pt x="415" y="219"/>
                    </a:lnTo>
                    <a:lnTo>
                      <a:pt x="413" y="221"/>
                    </a:lnTo>
                    <a:lnTo>
                      <a:pt x="411" y="221"/>
                    </a:lnTo>
                    <a:lnTo>
                      <a:pt x="411" y="223"/>
                    </a:lnTo>
                    <a:lnTo>
                      <a:pt x="409" y="223"/>
                    </a:lnTo>
                    <a:lnTo>
                      <a:pt x="411" y="223"/>
                    </a:lnTo>
                    <a:lnTo>
                      <a:pt x="413" y="223"/>
                    </a:lnTo>
                    <a:lnTo>
                      <a:pt x="415" y="223"/>
                    </a:lnTo>
                    <a:lnTo>
                      <a:pt x="415" y="221"/>
                    </a:lnTo>
                    <a:lnTo>
                      <a:pt x="417" y="221"/>
                    </a:lnTo>
                    <a:lnTo>
                      <a:pt x="419" y="221"/>
                    </a:lnTo>
                    <a:lnTo>
                      <a:pt x="419" y="223"/>
                    </a:lnTo>
                    <a:lnTo>
                      <a:pt x="419" y="221"/>
                    </a:lnTo>
                    <a:lnTo>
                      <a:pt x="421" y="221"/>
                    </a:lnTo>
                    <a:lnTo>
                      <a:pt x="421" y="219"/>
                    </a:lnTo>
                    <a:lnTo>
                      <a:pt x="421" y="217"/>
                    </a:lnTo>
                    <a:lnTo>
                      <a:pt x="423" y="217"/>
                    </a:lnTo>
                    <a:lnTo>
                      <a:pt x="425" y="217"/>
                    </a:lnTo>
                    <a:lnTo>
                      <a:pt x="427" y="217"/>
                    </a:lnTo>
                    <a:lnTo>
                      <a:pt x="427" y="216"/>
                    </a:lnTo>
                    <a:lnTo>
                      <a:pt x="429" y="216"/>
                    </a:lnTo>
                    <a:lnTo>
                      <a:pt x="431" y="216"/>
                    </a:lnTo>
                    <a:lnTo>
                      <a:pt x="429" y="216"/>
                    </a:lnTo>
                    <a:lnTo>
                      <a:pt x="427" y="216"/>
                    </a:lnTo>
                    <a:lnTo>
                      <a:pt x="427" y="217"/>
                    </a:lnTo>
                    <a:lnTo>
                      <a:pt x="427" y="216"/>
                    </a:lnTo>
                    <a:lnTo>
                      <a:pt x="427" y="217"/>
                    </a:lnTo>
                    <a:lnTo>
                      <a:pt x="425" y="217"/>
                    </a:lnTo>
                    <a:lnTo>
                      <a:pt x="427" y="217"/>
                    </a:lnTo>
                    <a:lnTo>
                      <a:pt x="427" y="219"/>
                    </a:lnTo>
                    <a:lnTo>
                      <a:pt x="425" y="219"/>
                    </a:lnTo>
                    <a:lnTo>
                      <a:pt x="427" y="219"/>
                    </a:lnTo>
                    <a:lnTo>
                      <a:pt x="429" y="219"/>
                    </a:lnTo>
                    <a:lnTo>
                      <a:pt x="429" y="217"/>
                    </a:lnTo>
                    <a:lnTo>
                      <a:pt x="431" y="217"/>
                    </a:lnTo>
                    <a:lnTo>
                      <a:pt x="433" y="217"/>
                    </a:lnTo>
                    <a:lnTo>
                      <a:pt x="433" y="216"/>
                    </a:lnTo>
                    <a:lnTo>
                      <a:pt x="433" y="217"/>
                    </a:lnTo>
                    <a:lnTo>
                      <a:pt x="434" y="217"/>
                    </a:lnTo>
                    <a:lnTo>
                      <a:pt x="436" y="217"/>
                    </a:lnTo>
                    <a:lnTo>
                      <a:pt x="434" y="217"/>
                    </a:lnTo>
                    <a:lnTo>
                      <a:pt x="436" y="217"/>
                    </a:lnTo>
                    <a:lnTo>
                      <a:pt x="438" y="217"/>
                    </a:lnTo>
                    <a:lnTo>
                      <a:pt x="440" y="217"/>
                    </a:lnTo>
                    <a:lnTo>
                      <a:pt x="438" y="217"/>
                    </a:lnTo>
                    <a:lnTo>
                      <a:pt x="438" y="216"/>
                    </a:lnTo>
                    <a:lnTo>
                      <a:pt x="438" y="214"/>
                    </a:lnTo>
                    <a:lnTo>
                      <a:pt x="436" y="216"/>
                    </a:lnTo>
                    <a:lnTo>
                      <a:pt x="434" y="216"/>
                    </a:lnTo>
                    <a:lnTo>
                      <a:pt x="434" y="214"/>
                    </a:lnTo>
                    <a:lnTo>
                      <a:pt x="433" y="214"/>
                    </a:lnTo>
                    <a:lnTo>
                      <a:pt x="434" y="214"/>
                    </a:lnTo>
                    <a:lnTo>
                      <a:pt x="436" y="214"/>
                    </a:lnTo>
                    <a:lnTo>
                      <a:pt x="438" y="212"/>
                    </a:lnTo>
                    <a:lnTo>
                      <a:pt x="440" y="212"/>
                    </a:lnTo>
                    <a:lnTo>
                      <a:pt x="438" y="212"/>
                    </a:lnTo>
                    <a:lnTo>
                      <a:pt x="440" y="214"/>
                    </a:lnTo>
                    <a:lnTo>
                      <a:pt x="440" y="212"/>
                    </a:lnTo>
                    <a:lnTo>
                      <a:pt x="440" y="214"/>
                    </a:lnTo>
                    <a:lnTo>
                      <a:pt x="442" y="214"/>
                    </a:lnTo>
                    <a:lnTo>
                      <a:pt x="444" y="214"/>
                    </a:lnTo>
                    <a:lnTo>
                      <a:pt x="444" y="212"/>
                    </a:lnTo>
                    <a:lnTo>
                      <a:pt x="446" y="212"/>
                    </a:lnTo>
                    <a:lnTo>
                      <a:pt x="448" y="212"/>
                    </a:lnTo>
                    <a:lnTo>
                      <a:pt x="446" y="212"/>
                    </a:lnTo>
                    <a:lnTo>
                      <a:pt x="448" y="212"/>
                    </a:lnTo>
                    <a:lnTo>
                      <a:pt x="446" y="212"/>
                    </a:lnTo>
                    <a:lnTo>
                      <a:pt x="444" y="212"/>
                    </a:lnTo>
                    <a:lnTo>
                      <a:pt x="444" y="210"/>
                    </a:lnTo>
                    <a:lnTo>
                      <a:pt x="444" y="212"/>
                    </a:lnTo>
                    <a:lnTo>
                      <a:pt x="442" y="212"/>
                    </a:lnTo>
                    <a:lnTo>
                      <a:pt x="444" y="212"/>
                    </a:lnTo>
                    <a:lnTo>
                      <a:pt x="442" y="212"/>
                    </a:lnTo>
                    <a:lnTo>
                      <a:pt x="442" y="210"/>
                    </a:lnTo>
                    <a:lnTo>
                      <a:pt x="444" y="210"/>
                    </a:lnTo>
                    <a:lnTo>
                      <a:pt x="446" y="210"/>
                    </a:lnTo>
                    <a:lnTo>
                      <a:pt x="444" y="210"/>
                    </a:lnTo>
                    <a:lnTo>
                      <a:pt x="444" y="208"/>
                    </a:lnTo>
                    <a:lnTo>
                      <a:pt x="446" y="208"/>
                    </a:lnTo>
                    <a:lnTo>
                      <a:pt x="448" y="208"/>
                    </a:lnTo>
                    <a:lnTo>
                      <a:pt x="450" y="208"/>
                    </a:lnTo>
                    <a:lnTo>
                      <a:pt x="452" y="208"/>
                    </a:lnTo>
                    <a:lnTo>
                      <a:pt x="452" y="206"/>
                    </a:lnTo>
                    <a:lnTo>
                      <a:pt x="454" y="206"/>
                    </a:lnTo>
                    <a:lnTo>
                      <a:pt x="456" y="206"/>
                    </a:lnTo>
                    <a:lnTo>
                      <a:pt x="456" y="204"/>
                    </a:lnTo>
                    <a:lnTo>
                      <a:pt x="458" y="204"/>
                    </a:lnTo>
                    <a:lnTo>
                      <a:pt x="459" y="204"/>
                    </a:lnTo>
                    <a:lnTo>
                      <a:pt x="459" y="206"/>
                    </a:lnTo>
                    <a:lnTo>
                      <a:pt x="458" y="206"/>
                    </a:lnTo>
                    <a:lnTo>
                      <a:pt x="459" y="206"/>
                    </a:lnTo>
                    <a:lnTo>
                      <a:pt x="461" y="206"/>
                    </a:lnTo>
                    <a:lnTo>
                      <a:pt x="459" y="206"/>
                    </a:lnTo>
                    <a:lnTo>
                      <a:pt x="461" y="206"/>
                    </a:lnTo>
                    <a:lnTo>
                      <a:pt x="461" y="204"/>
                    </a:lnTo>
                    <a:lnTo>
                      <a:pt x="463" y="204"/>
                    </a:lnTo>
                    <a:lnTo>
                      <a:pt x="463" y="206"/>
                    </a:lnTo>
                    <a:lnTo>
                      <a:pt x="463" y="204"/>
                    </a:lnTo>
                    <a:lnTo>
                      <a:pt x="463" y="206"/>
                    </a:lnTo>
                    <a:lnTo>
                      <a:pt x="465" y="206"/>
                    </a:lnTo>
                    <a:lnTo>
                      <a:pt x="467" y="206"/>
                    </a:lnTo>
                    <a:lnTo>
                      <a:pt x="469" y="206"/>
                    </a:lnTo>
                    <a:lnTo>
                      <a:pt x="471" y="206"/>
                    </a:lnTo>
                    <a:lnTo>
                      <a:pt x="469" y="206"/>
                    </a:lnTo>
                    <a:lnTo>
                      <a:pt x="467" y="206"/>
                    </a:lnTo>
                    <a:lnTo>
                      <a:pt x="467" y="208"/>
                    </a:lnTo>
                    <a:lnTo>
                      <a:pt x="469" y="208"/>
                    </a:lnTo>
                    <a:lnTo>
                      <a:pt x="467" y="208"/>
                    </a:lnTo>
                    <a:lnTo>
                      <a:pt x="467" y="210"/>
                    </a:lnTo>
                    <a:lnTo>
                      <a:pt x="469" y="210"/>
                    </a:lnTo>
                    <a:lnTo>
                      <a:pt x="471" y="210"/>
                    </a:lnTo>
                    <a:lnTo>
                      <a:pt x="471" y="208"/>
                    </a:lnTo>
                    <a:lnTo>
                      <a:pt x="471" y="210"/>
                    </a:lnTo>
                    <a:lnTo>
                      <a:pt x="473" y="208"/>
                    </a:lnTo>
                    <a:lnTo>
                      <a:pt x="475" y="208"/>
                    </a:lnTo>
                    <a:lnTo>
                      <a:pt x="475" y="210"/>
                    </a:lnTo>
                    <a:lnTo>
                      <a:pt x="473" y="210"/>
                    </a:lnTo>
                    <a:lnTo>
                      <a:pt x="471" y="210"/>
                    </a:lnTo>
                    <a:lnTo>
                      <a:pt x="473" y="210"/>
                    </a:lnTo>
                    <a:lnTo>
                      <a:pt x="473" y="212"/>
                    </a:lnTo>
                    <a:lnTo>
                      <a:pt x="475" y="212"/>
                    </a:lnTo>
                    <a:lnTo>
                      <a:pt x="473" y="212"/>
                    </a:lnTo>
                    <a:lnTo>
                      <a:pt x="471" y="212"/>
                    </a:lnTo>
                    <a:lnTo>
                      <a:pt x="473" y="212"/>
                    </a:lnTo>
                    <a:lnTo>
                      <a:pt x="475" y="212"/>
                    </a:lnTo>
                    <a:lnTo>
                      <a:pt x="477" y="214"/>
                    </a:lnTo>
                    <a:lnTo>
                      <a:pt x="479" y="214"/>
                    </a:lnTo>
                    <a:lnTo>
                      <a:pt x="481" y="214"/>
                    </a:lnTo>
                    <a:lnTo>
                      <a:pt x="479" y="214"/>
                    </a:lnTo>
                    <a:lnTo>
                      <a:pt x="479" y="216"/>
                    </a:lnTo>
                    <a:lnTo>
                      <a:pt x="477" y="216"/>
                    </a:lnTo>
                    <a:lnTo>
                      <a:pt x="477" y="217"/>
                    </a:lnTo>
                    <a:lnTo>
                      <a:pt x="477" y="219"/>
                    </a:lnTo>
                    <a:lnTo>
                      <a:pt x="477" y="221"/>
                    </a:lnTo>
                    <a:lnTo>
                      <a:pt x="475" y="221"/>
                    </a:lnTo>
                    <a:lnTo>
                      <a:pt x="475" y="223"/>
                    </a:lnTo>
                    <a:lnTo>
                      <a:pt x="475" y="225"/>
                    </a:lnTo>
                    <a:lnTo>
                      <a:pt x="473" y="225"/>
                    </a:lnTo>
                    <a:lnTo>
                      <a:pt x="471" y="225"/>
                    </a:lnTo>
                    <a:lnTo>
                      <a:pt x="473" y="225"/>
                    </a:lnTo>
                    <a:lnTo>
                      <a:pt x="471" y="225"/>
                    </a:lnTo>
                    <a:lnTo>
                      <a:pt x="469" y="225"/>
                    </a:lnTo>
                    <a:lnTo>
                      <a:pt x="469" y="227"/>
                    </a:lnTo>
                    <a:lnTo>
                      <a:pt x="467" y="227"/>
                    </a:lnTo>
                    <a:lnTo>
                      <a:pt x="469" y="227"/>
                    </a:lnTo>
                    <a:lnTo>
                      <a:pt x="467" y="227"/>
                    </a:lnTo>
                    <a:lnTo>
                      <a:pt x="465" y="227"/>
                    </a:lnTo>
                    <a:lnTo>
                      <a:pt x="467" y="227"/>
                    </a:lnTo>
                    <a:lnTo>
                      <a:pt x="469" y="227"/>
                    </a:lnTo>
                    <a:lnTo>
                      <a:pt x="469" y="229"/>
                    </a:lnTo>
                    <a:lnTo>
                      <a:pt x="471" y="229"/>
                    </a:lnTo>
                    <a:lnTo>
                      <a:pt x="469" y="229"/>
                    </a:lnTo>
                    <a:lnTo>
                      <a:pt x="469" y="231"/>
                    </a:lnTo>
                    <a:lnTo>
                      <a:pt x="467" y="231"/>
                    </a:lnTo>
                    <a:lnTo>
                      <a:pt x="469" y="231"/>
                    </a:lnTo>
                    <a:lnTo>
                      <a:pt x="469" y="233"/>
                    </a:lnTo>
                    <a:lnTo>
                      <a:pt x="467" y="235"/>
                    </a:lnTo>
                    <a:lnTo>
                      <a:pt x="467" y="237"/>
                    </a:lnTo>
                    <a:lnTo>
                      <a:pt x="467" y="239"/>
                    </a:lnTo>
                    <a:lnTo>
                      <a:pt x="469" y="239"/>
                    </a:lnTo>
                    <a:lnTo>
                      <a:pt x="469" y="240"/>
                    </a:lnTo>
                    <a:lnTo>
                      <a:pt x="469" y="242"/>
                    </a:lnTo>
                    <a:lnTo>
                      <a:pt x="467" y="242"/>
                    </a:lnTo>
                    <a:lnTo>
                      <a:pt x="467" y="244"/>
                    </a:lnTo>
                    <a:lnTo>
                      <a:pt x="465" y="244"/>
                    </a:lnTo>
                    <a:lnTo>
                      <a:pt x="463" y="244"/>
                    </a:lnTo>
                    <a:lnTo>
                      <a:pt x="461" y="244"/>
                    </a:lnTo>
                    <a:lnTo>
                      <a:pt x="461" y="246"/>
                    </a:lnTo>
                    <a:lnTo>
                      <a:pt x="459" y="244"/>
                    </a:lnTo>
                    <a:lnTo>
                      <a:pt x="458" y="246"/>
                    </a:lnTo>
                    <a:lnTo>
                      <a:pt x="456" y="246"/>
                    </a:lnTo>
                    <a:lnTo>
                      <a:pt x="456" y="248"/>
                    </a:lnTo>
                    <a:lnTo>
                      <a:pt x="454" y="246"/>
                    </a:lnTo>
                    <a:lnTo>
                      <a:pt x="452" y="246"/>
                    </a:lnTo>
                    <a:lnTo>
                      <a:pt x="450" y="246"/>
                    </a:lnTo>
                    <a:lnTo>
                      <a:pt x="450" y="244"/>
                    </a:lnTo>
                    <a:lnTo>
                      <a:pt x="448" y="244"/>
                    </a:lnTo>
                    <a:lnTo>
                      <a:pt x="446" y="244"/>
                    </a:lnTo>
                    <a:lnTo>
                      <a:pt x="446" y="246"/>
                    </a:lnTo>
                    <a:lnTo>
                      <a:pt x="446" y="248"/>
                    </a:lnTo>
                    <a:lnTo>
                      <a:pt x="444" y="248"/>
                    </a:lnTo>
                    <a:lnTo>
                      <a:pt x="442" y="248"/>
                    </a:lnTo>
                    <a:lnTo>
                      <a:pt x="442" y="250"/>
                    </a:lnTo>
                    <a:lnTo>
                      <a:pt x="440" y="250"/>
                    </a:lnTo>
                    <a:lnTo>
                      <a:pt x="438" y="250"/>
                    </a:lnTo>
                    <a:lnTo>
                      <a:pt x="436" y="250"/>
                    </a:lnTo>
                    <a:lnTo>
                      <a:pt x="438" y="250"/>
                    </a:lnTo>
                    <a:lnTo>
                      <a:pt x="436" y="250"/>
                    </a:lnTo>
                    <a:lnTo>
                      <a:pt x="436" y="248"/>
                    </a:lnTo>
                    <a:lnTo>
                      <a:pt x="434" y="248"/>
                    </a:lnTo>
                    <a:lnTo>
                      <a:pt x="433" y="248"/>
                    </a:lnTo>
                    <a:lnTo>
                      <a:pt x="431" y="248"/>
                    </a:lnTo>
                    <a:lnTo>
                      <a:pt x="429" y="248"/>
                    </a:lnTo>
                    <a:lnTo>
                      <a:pt x="429" y="246"/>
                    </a:lnTo>
                    <a:lnTo>
                      <a:pt x="427" y="246"/>
                    </a:lnTo>
                    <a:lnTo>
                      <a:pt x="425" y="246"/>
                    </a:lnTo>
                    <a:lnTo>
                      <a:pt x="425" y="248"/>
                    </a:lnTo>
                    <a:lnTo>
                      <a:pt x="423" y="246"/>
                    </a:lnTo>
                    <a:lnTo>
                      <a:pt x="423" y="248"/>
                    </a:lnTo>
                    <a:lnTo>
                      <a:pt x="421" y="248"/>
                    </a:lnTo>
                    <a:lnTo>
                      <a:pt x="419" y="248"/>
                    </a:lnTo>
                    <a:lnTo>
                      <a:pt x="417" y="248"/>
                    </a:lnTo>
                    <a:lnTo>
                      <a:pt x="419" y="248"/>
                    </a:lnTo>
                    <a:lnTo>
                      <a:pt x="421" y="248"/>
                    </a:lnTo>
                    <a:lnTo>
                      <a:pt x="423" y="248"/>
                    </a:lnTo>
                    <a:lnTo>
                      <a:pt x="423" y="246"/>
                    </a:lnTo>
                    <a:lnTo>
                      <a:pt x="425" y="248"/>
                    </a:lnTo>
                    <a:lnTo>
                      <a:pt x="425" y="246"/>
                    </a:lnTo>
                    <a:lnTo>
                      <a:pt x="427" y="246"/>
                    </a:lnTo>
                    <a:lnTo>
                      <a:pt x="427" y="248"/>
                    </a:lnTo>
                    <a:lnTo>
                      <a:pt x="425" y="248"/>
                    </a:lnTo>
                    <a:lnTo>
                      <a:pt x="427" y="248"/>
                    </a:lnTo>
                    <a:lnTo>
                      <a:pt x="429" y="248"/>
                    </a:lnTo>
                    <a:lnTo>
                      <a:pt x="427" y="248"/>
                    </a:lnTo>
                    <a:lnTo>
                      <a:pt x="425" y="248"/>
                    </a:lnTo>
                    <a:lnTo>
                      <a:pt x="427" y="248"/>
                    </a:lnTo>
                    <a:lnTo>
                      <a:pt x="427" y="246"/>
                    </a:lnTo>
                    <a:lnTo>
                      <a:pt x="429" y="246"/>
                    </a:lnTo>
                    <a:lnTo>
                      <a:pt x="429" y="248"/>
                    </a:lnTo>
                    <a:lnTo>
                      <a:pt x="431" y="248"/>
                    </a:lnTo>
                    <a:lnTo>
                      <a:pt x="433" y="248"/>
                    </a:lnTo>
                    <a:lnTo>
                      <a:pt x="434" y="248"/>
                    </a:lnTo>
                    <a:lnTo>
                      <a:pt x="436" y="248"/>
                    </a:lnTo>
                    <a:lnTo>
                      <a:pt x="436" y="250"/>
                    </a:lnTo>
                    <a:lnTo>
                      <a:pt x="438" y="250"/>
                    </a:lnTo>
                    <a:lnTo>
                      <a:pt x="440" y="250"/>
                    </a:lnTo>
                    <a:lnTo>
                      <a:pt x="442" y="250"/>
                    </a:lnTo>
                    <a:lnTo>
                      <a:pt x="442" y="248"/>
                    </a:lnTo>
                    <a:lnTo>
                      <a:pt x="444" y="248"/>
                    </a:lnTo>
                    <a:lnTo>
                      <a:pt x="446" y="246"/>
                    </a:lnTo>
                    <a:lnTo>
                      <a:pt x="446" y="244"/>
                    </a:lnTo>
                    <a:lnTo>
                      <a:pt x="448" y="244"/>
                    </a:lnTo>
                    <a:lnTo>
                      <a:pt x="450" y="244"/>
                    </a:lnTo>
                    <a:lnTo>
                      <a:pt x="450" y="246"/>
                    </a:lnTo>
                    <a:lnTo>
                      <a:pt x="452" y="246"/>
                    </a:lnTo>
                    <a:lnTo>
                      <a:pt x="454" y="246"/>
                    </a:lnTo>
                    <a:lnTo>
                      <a:pt x="454" y="248"/>
                    </a:lnTo>
                    <a:lnTo>
                      <a:pt x="456" y="248"/>
                    </a:lnTo>
                    <a:lnTo>
                      <a:pt x="456" y="246"/>
                    </a:lnTo>
                    <a:lnTo>
                      <a:pt x="458" y="246"/>
                    </a:lnTo>
                    <a:lnTo>
                      <a:pt x="459" y="244"/>
                    </a:lnTo>
                    <a:lnTo>
                      <a:pt x="461" y="246"/>
                    </a:lnTo>
                    <a:lnTo>
                      <a:pt x="461" y="244"/>
                    </a:lnTo>
                    <a:lnTo>
                      <a:pt x="463" y="244"/>
                    </a:lnTo>
                    <a:lnTo>
                      <a:pt x="465" y="244"/>
                    </a:lnTo>
                    <a:lnTo>
                      <a:pt x="467" y="244"/>
                    </a:lnTo>
                    <a:lnTo>
                      <a:pt x="467" y="242"/>
                    </a:lnTo>
                    <a:lnTo>
                      <a:pt x="469" y="242"/>
                    </a:lnTo>
                    <a:lnTo>
                      <a:pt x="469" y="240"/>
                    </a:lnTo>
                    <a:lnTo>
                      <a:pt x="469" y="239"/>
                    </a:lnTo>
                    <a:lnTo>
                      <a:pt x="471" y="239"/>
                    </a:lnTo>
                    <a:lnTo>
                      <a:pt x="473" y="239"/>
                    </a:lnTo>
                    <a:lnTo>
                      <a:pt x="475" y="239"/>
                    </a:lnTo>
                    <a:lnTo>
                      <a:pt x="475" y="240"/>
                    </a:lnTo>
                    <a:lnTo>
                      <a:pt x="477" y="240"/>
                    </a:lnTo>
                    <a:lnTo>
                      <a:pt x="479" y="240"/>
                    </a:lnTo>
                    <a:lnTo>
                      <a:pt x="481" y="242"/>
                    </a:lnTo>
                    <a:lnTo>
                      <a:pt x="481" y="240"/>
                    </a:lnTo>
                    <a:lnTo>
                      <a:pt x="479" y="240"/>
                    </a:lnTo>
                    <a:lnTo>
                      <a:pt x="481" y="240"/>
                    </a:lnTo>
                    <a:lnTo>
                      <a:pt x="481" y="242"/>
                    </a:lnTo>
                    <a:lnTo>
                      <a:pt x="479" y="242"/>
                    </a:lnTo>
                    <a:lnTo>
                      <a:pt x="481" y="242"/>
                    </a:lnTo>
                    <a:lnTo>
                      <a:pt x="481" y="244"/>
                    </a:lnTo>
                    <a:lnTo>
                      <a:pt x="479" y="244"/>
                    </a:lnTo>
                    <a:lnTo>
                      <a:pt x="479" y="246"/>
                    </a:lnTo>
                    <a:lnTo>
                      <a:pt x="481" y="246"/>
                    </a:lnTo>
                    <a:lnTo>
                      <a:pt x="482" y="246"/>
                    </a:lnTo>
                    <a:lnTo>
                      <a:pt x="484" y="248"/>
                    </a:lnTo>
                    <a:lnTo>
                      <a:pt x="486" y="248"/>
                    </a:lnTo>
                    <a:lnTo>
                      <a:pt x="486" y="250"/>
                    </a:lnTo>
                    <a:lnTo>
                      <a:pt x="488" y="250"/>
                    </a:lnTo>
                    <a:lnTo>
                      <a:pt x="488" y="252"/>
                    </a:lnTo>
                    <a:lnTo>
                      <a:pt x="486" y="252"/>
                    </a:lnTo>
                    <a:lnTo>
                      <a:pt x="486" y="254"/>
                    </a:lnTo>
                    <a:lnTo>
                      <a:pt x="488" y="254"/>
                    </a:lnTo>
                    <a:lnTo>
                      <a:pt x="490" y="254"/>
                    </a:lnTo>
                    <a:lnTo>
                      <a:pt x="488" y="254"/>
                    </a:lnTo>
                    <a:lnTo>
                      <a:pt x="490" y="254"/>
                    </a:lnTo>
                    <a:lnTo>
                      <a:pt x="490" y="256"/>
                    </a:lnTo>
                    <a:lnTo>
                      <a:pt x="488" y="256"/>
                    </a:lnTo>
                    <a:lnTo>
                      <a:pt x="486" y="256"/>
                    </a:lnTo>
                    <a:lnTo>
                      <a:pt x="486" y="258"/>
                    </a:lnTo>
                    <a:lnTo>
                      <a:pt x="488" y="258"/>
                    </a:lnTo>
                    <a:lnTo>
                      <a:pt x="488" y="260"/>
                    </a:lnTo>
                    <a:lnTo>
                      <a:pt x="486" y="260"/>
                    </a:lnTo>
                    <a:lnTo>
                      <a:pt x="488" y="260"/>
                    </a:lnTo>
                    <a:lnTo>
                      <a:pt x="490" y="260"/>
                    </a:lnTo>
                    <a:lnTo>
                      <a:pt x="492" y="260"/>
                    </a:lnTo>
                    <a:lnTo>
                      <a:pt x="494" y="260"/>
                    </a:lnTo>
                    <a:lnTo>
                      <a:pt x="496" y="260"/>
                    </a:lnTo>
                    <a:lnTo>
                      <a:pt x="498" y="260"/>
                    </a:lnTo>
                    <a:lnTo>
                      <a:pt x="498" y="262"/>
                    </a:lnTo>
                    <a:lnTo>
                      <a:pt x="498" y="264"/>
                    </a:lnTo>
                    <a:lnTo>
                      <a:pt x="498" y="265"/>
                    </a:lnTo>
                    <a:lnTo>
                      <a:pt x="496" y="265"/>
                    </a:lnTo>
                    <a:lnTo>
                      <a:pt x="496" y="267"/>
                    </a:lnTo>
                    <a:lnTo>
                      <a:pt x="496" y="265"/>
                    </a:lnTo>
                    <a:lnTo>
                      <a:pt x="496" y="267"/>
                    </a:lnTo>
                    <a:lnTo>
                      <a:pt x="494" y="267"/>
                    </a:lnTo>
                    <a:lnTo>
                      <a:pt x="494" y="265"/>
                    </a:lnTo>
                    <a:lnTo>
                      <a:pt x="492" y="265"/>
                    </a:lnTo>
                    <a:lnTo>
                      <a:pt x="494" y="265"/>
                    </a:lnTo>
                    <a:lnTo>
                      <a:pt x="494" y="267"/>
                    </a:lnTo>
                    <a:lnTo>
                      <a:pt x="492" y="267"/>
                    </a:lnTo>
                    <a:lnTo>
                      <a:pt x="490" y="267"/>
                    </a:lnTo>
                    <a:lnTo>
                      <a:pt x="490" y="269"/>
                    </a:lnTo>
                    <a:lnTo>
                      <a:pt x="490" y="271"/>
                    </a:lnTo>
                    <a:lnTo>
                      <a:pt x="492" y="271"/>
                    </a:lnTo>
                    <a:lnTo>
                      <a:pt x="494" y="271"/>
                    </a:lnTo>
                    <a:lnTo>
                      <a:pt x="496" y="271"/>
                    </a:lnTo>
                    <a:lnTo>
                      <a:pt x="496" y="273"/>
                    </a:lnTo>
                    <a:lnTo>
                      <a:pt x="496" y="275"/>
                    </a:lnTo>
                    <a:lnTo>
                      <a:pt x="494" y="275"/>
                    </a:lnTo>
                    <a:lnTo>
                      <a:pt x="494" y="277"/>
                    </a:lnTo>
                    <a:lnTo>
                      <a:pt x="496" y="277"/>
                    </a:lnTo>
                    <a:lnTo>
                      <a:pt x="496" y="279"/>
                    </a:lnTo>
                    <a:lnTo>
                      <a:pt x="498" y="279"/>
                    </a:lnTo>
                    <a:lnTo>
                      <a:pt x="498" y="281"/>
                    </a:lnTo>
                    <a:lnTo>
                      <a:pt x="500" y="281"/>
                    </a:lnTo>
                    <a:lnTo>
                      <a:pt x="500" y="283"/>
                    </a:lnTo>
                    <a:lnTo>
                      <a:pt x="498" y="283"/>
                    </a:lnTo>
                    <a:lnTo>
                      <a:pt x="498" y="285"/>
                    </a:lnTo>
                    <a:lnTo>
                      <a:pt x="498" y="287"/>
                    </a:lnTo>
                    <a:lnTo>
                      <a:pt x="498" y="285"/>
                    </a:lnTo>
                    <a:lnTo>
                      <a:pt x="496" y="285"/>
                    </a:lnTo>
                    <a:lnTo>
                      <a:pt x="496" y="287"/>
                    </a:lnTo>
                    <a:lnTo>
                      <a:pt x="494" y="287"/>
                    </a:lnTo>
                    <a:lnTo>
                      <a:pt x="494" y="289"/>
                    </a:lnTo>
                    <a:lnTo>
                      <a:pt x="494" y="287"/>
                    </a:lnTo>
                    <a:lnTo>
                      <a:pt x="494" y="289"/>
                    </a:lnTo>
                    <a:lnTo>
                      <a:pt x="492" y="289"/>
                    </a:lnTo>
                    <a:lnTo>
                      <a:pt x="494" y="289"/>
                    </a:lnTo>
                    <a:lnTo>
                      <a:pt x="492" y="289"/>
                    </a:lnTo>
                    <a:lnTo>
                      <a:pt x="494" y="289"/>
                    </a:lnTo>
                    <a:lnTo>
                      <a:pt x="492" y="289"/>
                    </a:lnTo>
                    <a:lnTo>
                      <a:pt x="492" y="290"/>
                    </a:lnTo>
                    <a:lnTo>
                      <a:pt x="492" y="292"/>
                    </a:lnTo>
                    <a:lnTo>
                      <a:pt x="490" y="292"/>
                    </a:lnTo>
                    <a:lnTo>
                      <a:pt x="490" y="294"/>
                    </a:lnTo>
                    <a:lnTo>
                      <a:pt x="488" y="294"/>
                    </a:lnTo>
                    <a:lnTo>
                      <a:pt x="486" y="294"/>
                    </a:lnTo>
                    <a:lnTo>
                      <a:pt x="484" y="294"/>
                    </a:lnTo>
                    <a:lnTo>
                      <a:pt x="484" y="292"/>
                    </a:lnTo>
                    <a:lnTo>
                      <a:pt x="482" y="292"/>
                    </a:lnTo>
                    <a:lnTo>
                      <a:pt x="481" y="290"/>
                    </a:lnTo>
                    <a:lnTo>
                      <a:pt x="481" y="292"/>
                    </a:lnTo>
                    <a:lnTo>
                      <a:pt x="481" y="290"/>
                    </a:lnTo>
                    <a:lnTo>
                      <a:pt x="479" y="290"/>
                    </a:lnTo>
                    <a:lnTo>
                      <a:pt x="479" y="292"/>
                    </a:lnTo>
                    <a:lnTo>
                      <a:pt x="479" y="290"/>
                    </a:lnTo>
                    <a:lnTo>
                      <a:pt x="479" y="292"/>
                    </a:lnTo>
                    <a:lnTo>
                      <a:pt x="477" y="292"/>
                    </a:lnTo>
                    <a:lnTo>
                      <a:pt x="475" y="292"/>
                    </a:lnTo>
                    <a:lnTo>
                      <a:pt x="477" y="292"/>
                    </a:lnTo>
                    <a:lnTo>
                      <a:pt x="475" y="292"/>
                    </a:lnTo>
                    <a:lnTo>
                      <a:pt x="473" y="292"/>
                    </a:lnTo>
                    <a:lnTo>
                      <a:pt x="471" y="292"/>
                    </a:lnTo>
                    <a:lnTo>
                      <a:pt x="469" y="292"/>
                    </a:lnTo>
                    <a:lnTo>
                      <a:pt x="471" y="292"/>
                    </a:lnTo>
                    <a:lnTo>
                      <a:pt x="471" y="294"/>
                    </a:lnTo>
                    <a:lnTo>
                      <a:pt x="471" y="292"/>
                    </a:lnTo>
                    <a:lnTo>
                      <a:pt x="471" y="294"/>
                    </a:lnTo>
                    <a:lnTo>
                      <a:pt x="473" y="294"/>
                    </a:lnTo>
                    <a:lnTo>
                      <a:pt x="475" y="294"/>
                    </a:lnTo>
                    <a:lnTo>
                      <a:pt x="477" y="294"/>
                    </a:lnTo>
                    <a:lnTo>
                      <a:pt x="479" y="294"/>
                    </a:lnTo>
                    <a:lnTo>
                      <a:pt x="481" y="294"/>
                    </a:lnTo>
                    <a:lnTo>
                      <a:pt x="482" y="294"/>
                    </a:lnTo>
                    <a:lnTo>
                      <a:pt x="481" y="294"/>
                    </a:lnTo>
                    <a:lnTo>
                      <a:pt x="481" y="296"/>
                    </a:lnTo>
                    <a:lnTo>
                      <a:pt x="481" y="294"/>
                    </a:lnTo>
                    <a:lnTo>
                      <a:pt x="482" y="294"/>
                    </a:lnTo>
                    <a:lnTo>
                      <a:pt x="484" y="294"/>
                    </a:lnTo>
                    <a:lnTo>
                      <a:pt x="486" y="294"/>
                    </a:lnTo>
                    <a:lnTo>
                      <a:pt x="486" y="296"/>
                    </a:lnTo>
                    <a:lnTo>
                      <a:pt x="484" y="296"/>
                    </a:lnTo>
                    <a:lnTo>
                      <a:pt x="484" y="298"/>
                    </a:lnTo>
                    <a:lnTo>
                      <a:pt x="482" y="298"/>
                    </a:lnTo>
                    <a:lnTo>
                      <a:pt x="481" y="298"/>
                    </a:lnTo>
                    <a:lnTo>
                      <a:pt x="481" y="296"/>
                    </a:lnTo>
                    <a:lnTo>
                      <a:pt x="481" y="298"/>
                    </a:lnTo>
                    <a:lnTo>
                      <a:pt x="481" y="300"/>
                    </a:lnTo>
                    <a:lnTo>
                      <a:pt x="479" y="302"/>
                    </a:lnTo>
                    <a:lnTo>
                      <a:pt x="477" y="302"/>
                    </a:lnTo>
                    <a:lnTo>
                      <a:pt x="477" y="304"/>
                    </a:lnTo>
                    <a:lnTo>
                      <a:pt x="475" y="306"/>
                    </a:lnTo>
                    <a:lnTo>
                      <a:pt x="473" y="306"/>
                    </a:lnTo>
                    <a:lnTo>
                      <a:pt x="471" y="306"/>
                    </a:lnTo>
                    <a:lnTo>
                      <a:pt x="469" y="306"/>
                    </a:lnTo>
                    <a:lnTo>
                      <a:pt x="469" y="308"/>
                    </a:lnTo>
                    <a:lnTo>
                      <a:pt x="467" y="308"/>
                    </a:lnTo>
                    <a:lnTo>
                      <a:pt x="467" y="306"/>
                    </a:lnTo>
                    <a:lnTo>
                      <a:pt x="465" y="306"/>
                    </a:lnTo>
                    <a:lnTo>
                      <a:pt x="465" y="308"/>
                    </a:lnTo>
                    <a:lnTo>
                      <a:pt x="463" y="308"/>
                    </a:lnTo>
                    <a:lnTo>
                      <a:pt x="463" y="310"/>
                    </a:lnTo>
                    <a:lnTo>
                      <a:pt x="461" y="310"/>
                    </a:lnTo>
                    <a:lnTo>
                      <a:pt x="459" y="310"/>
                    </a:lnTo>
                    <a:lnTo>
                      <a:pt x="459" y="308"/>
                    </a:lnTo>
                    <a:lnTo>
                      <a:pt x="458" y="308"/>
                    </a:lnTo>
                    <a:lnTo>
                      <a:pt x="456" y="308"/>
                    </a:lnTo>
                    <a:lnTo>
                      <a:pt x="456" y="306"/>
                    </a:lnTo>
                    <a:lnTo>
                      <a:pt x="454" y="306"/>
                    </a:lnTo>
                    <a:lnTo>
                      <a:pt x="452" y="306"/>
                    </a:lnTo>
                    <a:lnTo>
                      <a:pt x="450" y="308"/>
                    </a:lnTo>
                    <a:lnTo>
                      <a:pt x="448" y="308"/>
                    </a:lnTo>
                    <a:lnTo>
                      <a:pt x="450" y="308"/>
                    </a:lnTo>
                    <a:lnTo>
                      <a:pt x="452" y="308"/>
                    </a:lnTo>
                    <a:lnTo>
                      <a:pt x="452" y="306"/>
                    </a:lnTo>
                    <a:lnTo>
                      <a:pt x="452" y="308"/>
                    </a:lnTo>
                    <a:lnTo>
                      <a:pt x="454" y="308"/>
                    </a:lnTo>
                    <a:lnTo>
                      <a:pt x="454" y="306"/>
                    </a:lnTo>
                    <a:lnTo>
                      <a:pt x="456" y="308"/>
                    </a:lnTo>
                    <a:lnTo>
                      <a:pt x="458" y="308"/>
                    </a:lnTo>
                    <a:lnTo>
                      <a:pt x="458" y="310"/>
                    </a:lnTo>
                    <a:lnTo>
                      <a:pt x="459" y="310"/>
                    </a:lnTo>
                    <a:lnTo>
                      <a:pt x="461" y="310"/>
                    </a:lnTo>
                    <a:lnTo>
                      <a:pt x="463" y="310"/>
                    </a:lnTo>
                    <a:lnTo>
                      <a:pt x="463" y="308"/>
                    </a:lnTo>
                    <a:lnTo>
                      <a:pt x="465" y="308"/>
                    </a:lnTo>
                    <a:lnTo>
                      <a:pt x="465" y="306"/>
                    </a:lnTo>
                    <a:lnTo>
                      <a:pt x="465" y="308"/>
                    </a:lnTo>
                    <a:lnTo>
                      <a:pt x="467" y="308"/>
                    </a:lnTo>
                    <a:lnTo>
                      <a:pt x="469" y="308"/>
                    </a:lnTo>
                    <a:lnTo>
                      <a:pt x="471" y="306"/>
                    </a:lnTo>
                    <a:lnTo>
                      <a:pt x="473" y="308"/>
                    </a:lnTo>
                    <a:lnTo>
                      <a:pt x="475" y="308"/>
                    </a:lnTo>
                    <a:lnTo>
                      <a:pt x="475" y="306"/>
                    </a:lnTo>
                    <a:lnTo>
                      <a:pt x="477" y="306"/>
                    </a:lnTo>
                    <a:lnTo>
                      <a:pt x="479" y="306"/>
                    </a:lnTo>
                    <a:lnTo>
                      <a:pt x="481" y="306"/>
                    </a:lnTo>
                    <a:lnTo>
                      <a:pt x="482" y="306"/>
                    </a:lnTo>
                    <a:lnTo>
                      <a:pt x="482" y="308"/>
                    </a:lnTo>
                    <a:lnTo>
                      <a:pt x="482" y="306"/>
                    </a:lnTo>
                    <a:lnTo>
                      <a:pt x="481" y="306"/>
                    </a:lnTo>
                    <a:lnTo>
                      <a:pt x="479" y="306"/>
                    </a:lnTo>
                    <a:lnTo>
                      <a:pt x="477" y="306"/>
                    </a:lnTo>
                    <a:lnTo>
                      <a:pt x="477" y="304"/>
                    </a:lnTo>
                    <a:lnTo>
                      <a:pt x="479" y="304"/>
                    </a:lnTo>
                    <a:lnTo>
                      <a:pt x="481" y="304"/>
                    </a:lnTo>
                    <a:lnTo>
                      <a:pt x="481" y="302"/>
                    </a:lnTo>
                    <a:lnTo>
                      <a:pt x="482" y="302"/>
                    </a:lnTo>
                    <a:lnTo>
                      <a:pt x="484" y="302"/>
                    </a:lnTo>
                    <a:lnTo>
                      <a:pt x="482" y="302"/>
                    </a:lnTo>
                    <a:lnTo>
                      <a:pt x="482" y="300"/>
                    </a:lnTo>
                    <a:lnTo>
                      <a:pt x="484" y="300"/>
                    </a:lnTo>
                    <a:lnTo>
                      <a:pt x="484" y="302"/>
                    </a:lnTo>
                    <a:lnTo>
                      <a:pt x="486" y="302"/>
                    </a:lnTo>
                    <a:lnTo>
                      <a:pt x="484" y="302"/>
                    </a:lnTo>
                    <a:lnTo>
                      <a:pt x="486" y="302"/>
                    </a:lnTo>
                    <a:lnTo>
                      <a:pt x="484" y="302"/>
                    </a:lnTo>
                    <a:lnTo>
                      <a:pt x="484" y="300"/>
                    </a:lnTo>
                    <a:lnTo>
                      <a:pt x="482" y="300"/>
                    </a:lnTo>
                    <a:lnTo>
                      <a:pt x="484" y="300"/>
                    </a:lnTo>
                    <a:lnTo>
                      <a:pt x="484" y="298"/>
                    </a:lnTo>
                    <a:lnTo>
                      <a:pt x="484" y="296"/>
                    </a:lnTo>
                    <a:lnTo>
                      <a:pt x="486" y="296"/>
                    </a:lnTo>
                    <a:lnTo>
                      <a:pt x="488" y="296"/>
                    </a:lnTo>
                    <a:lnTo>
                      <a:pt x="490" y="296"/>
                    </a:lnTo>
                    <a:lnTo>
                      <a:pt x="492" y="296"/>
                    </a:lnTo>
                    <a:lnTo>
                      <a:pt x="494" y="296"/>
                    </a:lnTo>
                    <a:lnTo>
                      <a:pt x="496" y="296"/>
                    </a:lnTo>
                    <a:lnTo>
                      <a:pt x="498" y="296"/>
                    </a:lnTo>
                    <a:lnTo>
                      <a:pt x="500" y="298"/>
                    </a:lnTo>
                    <a:lnTo>
                      <a:pt x="502" y="298"/>
                    </a:lnTo>
                    <a:lnTo>
                      <a:pt x="504" y="298"/>
                    </a:lnTo>
                    <a:lnTo>
                      <a:pt x="504" y="296"/>
                    </a:lnTo>
                    <a:lnTo>
                      <a:pt x="506" y="296"/>
                    </a:lnTo>
                    <a:lnTo>
                      <a:pt x="506" y="298"/>
                    </a:lnTo>
                    <a:lnTo>
                      <a:pt x="507" y="298"/>
                    </a:lnTo>
                    <a:lnTo>
                      <a:pt x="507" y="300"/>
                    </a:lnTo>
                    <a:lnTo>
                      <a:pt x="509" y="302"/>
                    </a:lnTo>
                    <a:lnTo>
                      <a:pt x="509" y="304"/>
                    </a:lnTo>
                    <a:lnTo>
                      <a:pt x="511" y="304"/>
                    </a:lnTo>
                    <a:lnTo>
                      <a:pt x="509" y="304"/>
                    </a:lnTo>
                    <a:lnTo>
                      <a:pt x="511" y="306"/>
                    </a:lnTo>
                    <a:lnTo>
                      <a:pt x="509" y="306"/>
                    </a:lnTo>
                    <a:lnTo>
                      <a:pt x="511" y="306"/>
                    </a:lnTo>
                    <a:lnTo>
                      <a:pt x="509" y="306"/>
                    </a:lnTo>
                    <a:lnTo>
                      <a:pt x="511" y="306"/>
                    </a:lnTo>
                    <a:lnTo>
                      <a:pt x="509" y="306"/>
                    </a:lnTo>
                    <a:lnTo>
                      <a:pt x="511" y="306"/>
                    </a:lnTo>
                    <a:lnTo>
                      <a:pt x="511" y="308"/>
                    </a:lnTo>
                    <a:lnTo>
                      <a:pt x="513" y="308"/>
                    </a:lnTo>
                    <a:lnTo>
                      <a:pt x="513" y="310"/>
                    </a:lnTo>
                    <a:lnTo>
                      <a:pt x="515" y="310"/>
                    </a:lnTo>
                    <a:lnTo>
                      <a:pt x="515" y="312"/>
                    </a:lnTo>
                    <a:lnTo>
                      <a:pt x="513" y="312"/>
                    </a:lnTo>
                    <a:lnTo>
                      <a:pt x="513" y="314"/>
                    </a:lnTo>
                    <a:lnTo>
                      <a:pt x="513" y="315"/>
                    </a:lnTo>
                    <a:lnTo>
                      <a:pt x="511" y="315"/>
                    </a:lnTo>
                    <a:lnTo>
                      <a:pt x="513" y="315"/>
                    </a:lnTo>
                    <a:lnTo>
                      <a:pt x="511" y="315"/>
                    </a:lnTo>
                    <a:lnTo>
                      <a:pt x="511" y="317"/>
                    </a:lnTo>
                    <a:lnTo>
                      <a:pt x="509" y="317"/>
                    </a:lnTo>
                    <a:lnTo>
                      <a:pt x="509" y="319"/>
                    </a:lnTo>
                    <a:lnTo>
                      <a:pt x="511" y="319"/>
                    </a:lnTo>
                    <a:lnTo>
                      <a:pt x="513" y="319"/>
                    </a:lnTo>
                    <a:lnTo>
                      <a:pt x="515" y="319"/>
                    </a:lnTo>
                    <a:lnTo>
                      <a:pt x="517" y="319"/>
                    </a:lnTo>
                    <a:lnTo>
                      <a:pt x="519" y="319"/>
                    </a:lnTo>
                    <a:lnTo>
                      <a:pt x="519" y="321"/>
                    </a:lnTo>
                    <a:lnTo>
                      <a:pt x="521" y="321"/>
                    </a:lnTo>
                    <a:lnTo>
                      <a:pt x="521" y="319"/>
                    </a:lnTo>
                    <a:lnTo>
                      <a:pt x="521" y="321"/>
                    </a:lnTo>
                    <a:lnTo>
                      <a:pt x="523" y="321"/>
                    </a:lnTo>
                    <a:lnTo>
                      <a:pt x="523" y="319"/>
                    </a:lnTo>
                    <a:lnTo>
                      <a:pt x="523" y="317"/>
                    </a:lnTo>
                    <a:lnTo>
                      <a:pt x="521" y="317"/>
                    </a:lnTo>
                    <a:lnTo>
                      <a:pt x="521" y="315"/>
                    </a:lnTo>
                    <a:lnTo>
                      <a:pt x="521" y="314"/>
                    </a:lnTo>
                    <a:lnTo>
                      <a:pt x="523" y="314"/>
                    </a:lnTo>
                    <a:lnTo>
                      <a:pt x="523" y="312"/>
                    </a:lnTo>
                    <a:lnTo>
                      <a:pt x="521" y="314"/>
                    </a:lnTo>
                    <a:lnTo>
                      <a:pt x="523" y="314"/>
                    </a:lnTo>
                    <a:lnTo>
                      <a:pt x="521" y="314"/>
                    </a:lnTo>
                    <a:lnTo>
                      <a:pt x="521" y="312"/>
                    </a:lnTo>
                    <a:lnTo>
                      <a:pt x="519" y="310"/>
                    </a:lnTo>
                    <a:lnTo>
                      <a:pt x="517" y="308"/>
                    </a:lnTo>
                    <a:lnTo>
                      <a:pt x="517" y="306"/>
                    </a:lnTo>
                    <a:lnTo>
                      <a:pt x="515" y="306"/>
                    </a:lnTo>
                    <a:lnTo>
                      <a:pt x="515" y="304"/>
                    </a:lnTo>
                    <a:lnTo>
                      <a:pt x="515" y="302"/>
                    </a:lnTo>
                    <a:lnTo>
                      <a:pt x="513" y="302"/>
                    </a:lnTo>
                    <a:lnTo>
                      <a:pt x="515" y="302"/>
                    </a:lnTo>
                    <a:lnTo>
                      <a:pt x="513" y="302"/>
                    </a:lnTo>
                    <a:lnTo>
                      <a:pt x="515" y="302"/>
                    </a:lnTo>
                    <a:lnTo>
                      <a:pt x="513" y="302"/>
                    </a:lnTo>
                    <a:lnTo>
                      <a:pt x="515" y="302"/>
                    </a:lnTo>
                    <a:lnTo>
                      <a:pt x="513" y="300"/>
                    </a:lnTo>
                    <a:lnTo>
                      <a:pt x="513" y="298"/>
                    </a:lnTo>
                    <a:lnTo>
                      <a:pt x="511" y="298"/>
                    </a:lnTo>
                    <a:lnTo>
                      <a:pt x="511" y="296"/>
                    </a:lnTo>
                    <a:lnTo>
                      <a:pt x="511" y="294"/>
                    </a:lnTo>
                    <a:lnTo>
                      <a:pt x="513" y="294"/>
                    </a:lnTo>
                    <a:lnTo>
                      <a:pt x="513" y="292"/>
                    </a:lnTo>
                    <a:lnTo>
                      <a:pt x="511" y="292"/>
                    </a:lnTo>
                    <a:lnTo>
                      <a:pt x="511" y="290"/>
                    </a:lnTo>
                    <a:lnTo>
                      <a:pt x="509" y="290"/>
                    </a:lnTo>
                    <a:lnTo>
                      <a:pt x="511" y="290"/>
                    </a:lnTo>
                    <a:lnTo>
                      <a:pt x="509" y="290"/>
                    </a:lnTo>
                    <a:lnTo>
                      <a:pt x="507" y="290"/>
                    </a:lnTo>
                    <a:lnTo>
                      <a:pt x="506" y="290"/>
                    </a:lnTo>
                    <a:lnTo>
                      <a:pt x="506" y="292"/>
                    </a:lnTo>
                    <a:lnTo>
                      <a:pt x="504" y="292"/>
                    </a:lnTo>
                    <a:lnTo>
                      <a:pt x="502" y="292"/>
                    </a:lnTo>
                    <a:lnTo>
                      <a:pt x="500" y="292"/>
                    </a:lnTo>
                    <a:lnTo>
                      <a:pt x="500" y="290"/>
                    </a:lnTo>
                    <a:lnTo>
                      <a:pt x="502" y="290"/>
                    </a:lnTo>
                    <a:lnTo>
                      <a:pt x="504" y="290"/>
                    </a:lnTo>
                    <a:lnTo>
                      <a:pt x="504" y="289"/>
                    </a:lnTo>
                    <a:lnTo>
                      <a:pt x="506" y="289"/>
                    </a:lnTo>
                    <a:lnTo>
                      <a:pt x="507" y="289"/>
                    </a:lnTo>
                    <a:lnTo>
                      <a:pt x="509" y="289"/>
                    </a:lnTo>
                    <a:lnTo>
                      <a:pt x="511" y="289"/>
                    </a:lnTo>
                    <a:lnTo>
                      <a:pt x="511" y="287"/>
                    </a:lnTo>
                    <a:lnTo>
                      <a:pt x="513" y="287"/>
                    </a:lnTo>
                    <a:lnTo>
                      <a:pt x="515" y="287"/>
                    </a:lnTo>
                    <a:lnTo>
                      <a:pt x="517" y="287"/>
                    </a:lnTo>
                    <a:lnTo>
                      <a:pt x="517" y="289"/>
                    </a:lnTo>
                    <a:lnTo>
                      <a:pt x="515" y="289"/>
                    </a:lnTo>
                    <a:lnTo>
                      <a:pt x="515" y="290"/>
                    </a:lnTo>
                    <a:lnTo>
                      <a:pt x="515" y="292"/>
                    </a:lnTo>
                    <a:lnTo>
                      <a:pt x="517" y="294"/>
                    </a:lnTo>
                    <a:lnTo>
                      <a:pt x="519" y="294"/>
                    </a:lnTo>
                    <a:lnTo>
                      <a:pt x="521" y="294"/>
                    </a:lnTo>
                    <a:lnTo>
                      <a:pt x="523" y="296"/>
                    </a:lnTo>
                    <a:lnTo>
                      <a:pt x="525" y="298"/>
                    </a:lnTo>
                    <a:lnTo>
                      <a:pt x="527" y="298"/>
                    </a:lnTo>
                    <a:lnTo>
                      <a:pt x="529" y="298"/>
                    </a:lnTo>
                    <a:lnTo>
                      <a:pt x="531" y="298"/>
                    </a:lnTo>
                    <a:lnTo>
                      <a:pt x="532" y="300"/>
                    </a:lnTo>
                    <a:lnTo>
                      <a:pt x="531" y="300"/>
                    </a:lnTo>
                    <a:lnTo>
                      <a:pt x="532" y="300"/>
                    </a:lnTo>
                    <a:lnTo>
                      <a:pt x="532" y="298"/>
                    </a:lnTo>
                    <a:lnTo>
                      <a:pt x="534" y="298"/>
                    </a:lnTo>
                    <a:lnTo>
                      <a:pt x="534" y="300"/>
                    </a:lnTo>
                    <a:lnTo>
                      <a:pt x="536" y="300"/>
                    </a:lnTo>
                    <a:lnTo>
                      <a:pt x="536" y="298"/>
                    </a:lnTo>
                    <a:lnTo>
                      <a:pt x="534" y="298"/>
                    </a:lnTo>
                    <a:lnTo>
                      <a:pt x="536" y="298"/>
                    </a:lnTo>
                    <a:lnTo>
                      <a:pt x="534" y="298"/>
                    </a:lnTo>
                    <a:lnTo>
                      <a:pt x="534" y="296"/>
                    </a:lnTo>
                    <a:lnTo>
                      <a:pt x="532" y="298"/>
                    </a:lnTo>
                    <a:lnTo>
                      <a:pt x="532" y="296"/>
                    </a:lnTo>
                    <a:lnTo>
                      <a:pt x="534" y="296"/>
                    </a:lnTo>
                    <a:lnTo>
                      <a:pt x="534" y="294"/>
                    </a:lnTo>
                    <a:lnTo>
                      <a:pt x="532" y="294"/>
                    </a:lnTo>
                    <a:lnTo>
                      <a:pt x="532" y="296"/>
                    </a:lnTo>
                    <a:lnTo>
                      <a:pt x="532" y="294"/>
                    </a:lnTo>
                    <a:lnTo>
                      <a:pt x="532" y="292"/>
                    </a:lnTo>
                    <a:lnTo>
                      <a:pt x="531" y="292"/>
                    </a:lnTo>
                    <a:lnTo>
                      <a:pt x="531" y="290"/>
                    </a:lnTo>
                    <a:lnTo>
                      <a:pt x="531" y="289"/>
                    </a:lnTo>
                    <a:lnTo>
                      <a:pt x="529" y="289"/>
                    </a:lnTo>
                    <a:lnTo>
                      <a:pt x="529" y="287"/>
                    </a:lnTo>
                    <a:lnTo>
                      <a:pt x="529" y="285"/>
                    </a:lnTo>
                    <a:lnTo>
                      <a:pt x="531" y="285"/>
                    </a:lnTo>
                    <a:lnTo>
                      <a:pt x="531" y="283"/>
                    </a:lnTo>
                    <a:lnTo>
                      <a:pt x="532" y="283"/>
                    </a:lnTo>
                    <a:lnTo>
                      <a:pt x="532" y="285"/>
                    </a:lnTo>
                    <a:lnTo>
                      <a:pt x="532" y="283"/>
                    </a:lnTo>
                    <a:lnTo>
                      <a:pt x="532" y="285"/>
                    </a:lnTo>
                    <a:lnTo>
                      <a:pt x="532" y="283"/>
                    </a:lnTo>
                    <a:lnTo>
                      <a:pt x="534" y="283"/>
                    </a:lnTo>
                    <a:lnTo>
                      <a:pt x="536" y="283"/>
                    </a:lnTo>
                    <a:lnTo>
                      <a:pt x="538" y="283"/>
                    </a:lnTo>
                    <a:lnTo>
                      <a:pt x="540" y="283"/>
                    </a:lnTo>
                    <a:lnTo>
                      <a:pt x="542" y="283"/>
                    </a:lnTo>
                    <a:lnTo>
                      <a:pt x="542" y="285"/>
                    </a:lnTo>
                    <a:lnTo>
                      <a:pt x="544" y="285"/>
                    </a:lnTo>
                    <a:lnTo>
                      <a:pt x="542" y="285"/>
                    </a:lnTo>
                    <a:lnTo>
                      <a:pt x="544" y="285"/>
                    </a:lnTo>
                    <a:lnTo>
                      <a:pt x="546" y="285"/>
                    </a:lnTo>
                    <a:lnTo>
                      <a:pt x="546" y="287"/>
                    </a:lnTo>
                    <a:lnTo>
                      <a:pt x="546" y="285"/>
                    </a:lnTo>
                    <a:lnTo>
                      <a:pt x="548" y="285"/>
                    </a:lnTo>
                    <a:lnTo>
                      <a:pt x="548" y="287"/>
                    </a:lnTo>
                    <a:lnTo>
                      <a:pt x="546" y="287"/>
                    </a:lnTo>
                    <a:lnTo>
                      <a:pt x="548" y="287"/>
                    </a:lnTo>
                    <a:lnTo>
                      <a:pt x="548" y="285"/>
                    </a:lnTo>
                    <a:lnTo>
                      <a:pt x="548" y="287"/>
                    </a:lnTo>
                    <a:lnTo>
                      <a:pt x="548" y="289"/>
                    </a:lnTo>
                    <a:lnTo>
                      <a:pt x="550" y="289"/>
                    </a:lnTo>
                    <a:lnTo>
                      <a:pt x="552" y="289"/>
                    </a:lnTo>
                    <a:lnTo>
                      <a:pt x="554" y="289"/>
                    </a:lnTo>
                    <a:lnTo>
                      <a:pt x="552" y="289"/>
                    </a:lnTo>
                    <a:lnTo>
                      <a:pt x="552" y="290"/>
                    </a:lnTo>
                    <a:lnTo>
                      <a:pt x="554" y="290"/>
                    </a:lnTo>
                    <a:lnTo>
                      <a:pt x="555" y="290"/>
                    </a:lnTo>
                    <a:lnTo>
                      <a:pt x="555" y="292"/>
                    </a:lnTo>
                    <a:lnTo>
                      <a:pt x="557" y="292"/>
                    </a:lnTo>
                    <a:lnTo>
                      <a:pt x="557" y="290"/>
                    </a:lnTo>
                    <a:lnTo>
                      <a:pt x="557" y="292"/>
                    </a:lnTo>
                    <a:lnTo>
                      <a:pt x="559" y="292"/>
                    </a:lnTo>
                    <a:lnTo>
                      <a:pt x="561" y="292"/>
                    </a:lnTo>
                    <a:lnTo>
                      <a:pt x="563" y="292"/>
                    </a:lnTo>
                    <a:lnTo>
                      <a:pt x="563" y="294"/>
                    </a:lnTo>
                    <a:lnTo>
                      <a:pt x="565" y="294"/>
                    </a:lnTo>
                    <a:lnTo>
                      <a:pt x="565" y="296"/>
                    </a:lnTo>
                    <a:lnTo>
                      <a:pt x="567" y="296"/>
                    </a:lnTo>
                    <a:lnTo>
                      <a:pt x="567" y="294"/>
                    </a:lnTo>
                    <a:lnTo>
                      <a:pt x="567" y="296"/>
                    </a:lnTo>
                    <a:lnTo>
                      <a:pt x="569" y="296"/>
                    </a:lnTo>
                    <a:lnTo>
                      <a:pt x="567" y="296"/>
                    </a:lnTo>
                    <a:lnTo>
                      <a:pt x="569" y="296"/>
                    </a:lnTo>
                    <a:lnTo>
                      <a:pt x="569" y="298"/>
                    </a:lnTo>
                    <a:lnTo>
                      <a:pt x="571" y="298"/>
                    </a:lnTo>
                    <a:lnTo>
                      <a:pt x="573" y="298"/>
                    </a:lnTo>
                    <a:lnTo>
                      <a:pt x="571" y="298"/>
                    </a:lnTo>
                    <a:lnTo>
                      <a:pt x="571" y="300"/>
                    </a:lnTo>
                    <a:lnTo>
                      <a:pt x="573" y="300"/>
                    </a:lnTo>
                    <a:lnTo>
                      <a:pt x="575" y="300"/>
                    </a:lnTo>
                    <a:lnTo>
                      <a:pt x="575" y="302"/>
                    </a:lnTo>
                    <a:lnTo>
                      <a:pt x="573" y="302"/>
                    </a:lnTo>
                    <a:lnTo>
                      <a:pt x="573" y="300"/>
                    </a:lnTo>
                    <a:lnTo>
                      <a:pt x="573" y="302"/>
                    </a:lnTo>
                    <a:lnTo>
                      <a:pt x="573" y="304"/>
                    </a:lnTo>
                    <a:lnTo>
                      <a:pt x="571" y="304"/>
                    </a:lnTo>
                    <a:lnTo>
                      <a:pt x="571" y="306"/>
                    </a:lnTo>
                    <a:lnTo>
                      <a:pt x="571" y="304"/>
                    </a:lnTo>
                    <a:lnTo>
                      <a:pt x="571" y="306"/>
                    </a:lnTo>
                    <a:lnTo>
                      <a:pt x="571" y="304"/>
                    </a:lnTo>
                    <a:lnTo>
                      <a:pt x="573" y="304"/>
                    </a:lnTo>
                    <a:lnTo>
                      <a:pt x="573" y="302"/>
                    </a:lnTo>
                    <a:lnTo>
                      <a:pt x="575" y="302"/>
                    </a:lnTo>
                    <a:lnTo>
                      <a:pt x="575" y="300"/>
                    </a:lnTo>
                    <a:lnTo>
                      <a:pt x="573" y="300"/>
                    </a:lnTo>
                    <a:lnTo>
                      <a:pt x="571" y="300"/>
                    </a:lnTo>
                    <a:lnTo>
                      <a:pt x="571" y="298"/>
                    </a:lnTo>
                    <a:lnTo>
                      <a:pt x="573" y="298"/>
                    </a:lnTo>
                    <a:lnTo>
                      <a:pt x="571" y="298"/>
                    </a:lnTo>
                    <a:lnTo>
                      <a:pt x="569" y="298"/>
                    </a:lnTo>
                    <a:lnTo>
                      <a:pt x="569" y="296"/>
                    </a:lnTo>
                    <a:lnTo>
                      <a:pt x="569" y="298"/>
                    </a:lnTo>
                    <a:lnTo>
                      <a:pt x="571" y="298"/>
                    </a:lnTo>
                    <a:lnTo>
                      <a:pt x="571" y="296"/>
                    </a:lnTo>
                    <a:lnTo>
                      <a:pt x="571" y="298"/>
                    </a:lnTo>
                    <a:lnTo>
                      <a:pt x="571" y="296"/>
                    </a:lnTo>
                    <a:lnTo>
                      <a:pt x="573" y="296"/>
                    </a:lnTo>
                    <a:lnTo>
                      <a:pt x="571" y="296"/>
                    </a:lnTo>
                    <a:lnTo>
                      <a:pt x="571" y="298"/>
                    </a:lnTo>
                    <a:lnTo>
                      <a:pt x="571" y="296"/>
                    </a:lnTo>
                    <a:lnTo>
                      <a:pt x="569" y="298"/>
                    </a:lnTo>
                    <a:lnTo>
                      <a:pt x="569" y="296"/>
                    </a:lnTo>
                    <a:lnTo>
                      <a:pt x="567" y="296"/>
                    </a:lnTo>
                    <a:lnTo>
                      <a:pt x="569" y="296"/>
                    </a:lnTo>
                    <a:lnTo>
                      <a:pt x="567" y="296"/>
                    </a:lnTo>
                    <a:lnTo>
                      <a:pt x="567" y="294"/>
                    </a:lnTo>
                    <a:lnTo>
                      <a:pt x="565" y="296"/>
                    </a:lnTo>
                    <a:lnTo>
                      <a:pt x="565" y="294"/>
                    </a:lnTo>
                    <a:lnTo>
                      <a:pt x="563" y="294"/>
                    </a:lnTo>
                    <a:lnTo>
                      <a:pt x="565" y="294"/>
                    </a:lnTo>
                    <a:lnTo>
                      <a:pt x="563" y="292"/>
                    </a:lnTo>
                    <a:lnTo>
                      <a:pt x="561" y="292"/>
                    </a:lnTo>
                    <a:lnTo>
                      <a:pt x="559" y="292"/>
                    </a:lnTo>
                    <a:lnTo>
                      <a:pt x="559" y="290"/>
                    </a:lnTo>
                    <a:lnTo>
                      <a:pt x="559" y="292"/>
                    </a:lnTo>
                    <a:lnTo>
                      <a:pt x="557" y="292"/>
                    </a:lnTo>
                    <a:lnTo>
                      <a:pt x="557" y="290"/>
                    </a:lnTo>
                    <a:lnTo>
                      <a:pt x="555" y="290"/>
                    </a:lnTo>
                    <a:lnTo>
                      <a:pt x="555" y="292"/>
                    </a:lnTo>
                    <a:lnTo>
                      <a:pt x="555" y="290"/>
                    </a:lnTo>
                    <a:lnTo>
                      <a:pt x="554" y="290"/>
                    </a:lnTo>
                    <a:lnTo>
                      <a:pt x="554" y="289"/>
                    </a:lnTo>
                    <a:lnTo>
                      <a:pt x="554" y="290"/>
                    </a:lnTo>
                    <a:lnTo>
                      <a:pt x="554" y="289"/>
                    </a:lnTo>
                    <a:lnTo>
                      <a:pt x="554" y="290"/>
                    </a:lnTo>
                    <a:lnTo>
                      <a:pt x="552" y="290"/>
                    </a:lnTo>
                    <a:lnTo>
                      <a:pt x="552" y="289"/>
                    </a:lnTo>
                    <a:lnTo>
                      <a:pt x="554" y="289"/>
                    </a:lnTo>
                    <a:lnTo>
                      <a:pt x="552" y="289"/>
                    </a:lnTo>
                    <a:lnTo>
                      <a:pt x="550" y="289"/>
                    </a:lnTo>
                    <a:lnTo>
                      <a:pt x="548" y="289"/>
                    </a:lnTo>
                    <a:lnTo>
                      <a:pt x="548" y="287"/>
                    </a:lnTo>
                    <a:lnTo>
                      <a:pt x="548" y="289"/>
                    </a:lnTo>
                    <a:lnTo>
                      <a:pt x="548" y="287"/>
                    </a:lnTo>
                    <a:lnTo>
                      <a:pt x="548" y="289"/>
                    </a:lnTo>
                    <a:lnTo>
                      <a:pt x="548" y="287"/>
                    </a:lnTo>
                    <a:lnTo>
                      <a:pt x="548" y="285"/>
                    </a:lnTo>
                    <a:lnTo>
                      <a:pt x="546" y="285"/>
                    </a:lnTo>
                    <a:lnTo>
                      <a:pt x="546" y="283"/>
                    </a:lnTo>
                    <a:lnTo>
                      <a:pt x="544" y="283"/>
                    </a:lnTo>
                    <a:lnTo>
                      <a:pt x="546" y="281"/>
                    </a:lnTo>
                    <a:lnTo>
                      <a:pt x="548" y="281"/>
                    </a:lnTo>
                    <a:lnTo>
                      <a:pt x="550" y="281"/>
                    </a:lnTo>
                    <a:lnTo>
                      <a:pt x="552" y="279"/>
                    </a:lnTo>
                    <a:lnTo>
                      <a:pt x="554" y="279"/>
                    </a:lnTo>
                    <a:lnTo>
                      <a:pt x="555" y="279"/>
                    </a:lnTo>
                    <a:lnTo>
                      <a:pt x="557" y="279"/>
                    </a:lnTo>
                    <a:lnTo>
                      <a:pt x="559" y="279"/>
                    </a:lnTo>
                    <a:lnTo>
                      <a:pt x="561" y="279"/>
                    </a:lnTo>
                    <a:lnTo>
                      <a:pt x="559" y="279"/>
                    </a:lnTo>
                    <a:lnTo>
                      <a:pt x="561" y="279"/>
                    </a:lnTo>
                    <a:lnTo>
                      <a:pt x="559" y="279"/>
                    </a:lnTo>
                    <a:lnTo>
                      <a:pt x="561" y="279"/>
                    </a:lnTo>
                    <a:lnTo>
                      <a:pt x="561" y="277"/>
                    </a:lnTo>
                    <a:lnTo>
                      <a:pt x="563" y="277"/>
                    </a:lnTo>
                    <a:lnTo>
                      <a:pt x="561" y="275"/>
                    </a:lnTo>
                    <a:lnTo>
                      <a:pt x="563" y="275"/>
                    </a:lnTo>
                    <a:lnTo>
                      <a:pt x="565" y="275"/>
                    </a:lnTo>
                    <a:lnTo>
                      <a:pt x="567" y="275"/>
                    </a:lnTo>
                    <a:lnTo>
                      <a:pt x="569" y="275"/>
                    </a:lnTo>
                    <a:lnTo>
                      <a:pt x="567" y="275"/>
                    </a:lnTo>
                    <a:lnTo>
                      <a:pt x="569" y="275"/>
                    </a:lnTo>
                    <a:lnTo>
                      <a:pt x="569" y="277"/>
                    </a:lnTo>
                    <a:lnTo>
                      <a:pt x="571" y="277"/>
                    </a:lnTo>
                    <a:lnTo>
                      <a:pt x="573" y="275"/>
                    </a:lnTo>
                    <a:lnTo>
                      <a:pt x="571" y="275"/>
                    </a:lnTo>
                    <a:lnTo>
                      <a:pt x="573" y="275"/>
                    </a:lnTo>
                    <a:lnTo>
                      <a:pt x="571" y="275"/>
                    </a:lnTo>
                    <a:lnTo>
                      <a:pt x="571" y="273"/>
                    </a:lnTo>
                    <a:lnTo>
                      <a:pt x="571" y="271"/>
                    </a:lnTo>
                    <a:lnTo>
                      <a:pt x="571" y="269"/>
                    </a:lnTo>
                    <a:lnTo>
                      <a:pt x="573" y="269"/>
                    </a:lnTo>
                    <a:lnTo>
                      <a:pt x="573" y="271"/>
                    </a:lnTo>
                    <a:lnTo>
                      <a:pt x="575" y="271"/>
                    </a:lnTo>
                    <a:lnTo>
                      <a:pt x="577" y="271"/>
                    </a:lnTo>
                    <a:lnTo>
                      <a:pt x="579" y="269"/>
                    </a:lnTo>
                    <a:lnTo>
                      <a:pt x="580" y="269"/>
                    </a:lnTo>
                    <a:lnTo>
                      <a:pt x="582" y="267"/>
                    </a:lnTo>
                    <a:lnTo>
                      <a:pt x="584" y="267"/>
                    </a:lnTo>
                    <a:lnTo>
                      <a:pt x="586" y="267"/>
                    </a:lnTo>
                    <a:lnTo>
                      <a:pt x="586" y="265"/>
                    </a:lnTo>
                    <a:lnTo>
                      <a:pt x="586" y="267"/>
                    </a:lnTo>
                    <a:lnTo>
                      <a:pt x="586" y="265"/>
                    </a:lnTo>
                    <a:lnTo>
                      <a:pt x="586" y="267"/>
                    </a:lnTo>
                    <a:lnTo>
                      <a:pt x="586" y="265"/>
                    </a:lnTo>
                    <a:lnTo>
                      <a:pt x="588" y="265"/>
                    </a:lnTo>
                    <a:lnTo>
                      <a:pt x="590" y="265"/>
                    </a:lnTo>
                    <a:lnTo>
                      <a:pt x="592" y="265"/>
                    </a:lnTo>
                    <a:lnTo>
                      <a:pt x="594" y="265"/>
                    </a:lnTo>
                    <a:lnTo>
                      <a:pt x="594" y="267"/>
                    </a:lnTo>
                    <a:lnTo>
                      <a:pt x="596" y="267"/>
                    </a:lnTo>
                    <a:lnTo>
                      <a:pt x="596" y="265"/>
                    </a:lnTo>
                    <a:lnTo>
                      <a:pt x="598" y="265"/>
                    </a:lnTo>
                    <a:lnTo>
                      <a:pt x="600" y="265"/>
                    </a:lnTo>
                    <a:lnTo>
                      <a:pt x="598" y="265"/>
                    </a:lnTo>
                    <a:lnTo>
                      <a:pt x="600" y="265"/>
                    </a:lnTo>
                    <a:lnTo>
                      <a:pt x="600" y="264"/>
                    </a:lnTo>
                    <a:lnTo>
                      <a:pt x="602" y="264"/>
                    </a:lnTo>
                    <a:lnTo>
                      <a:pt x="604" y="264"/>
                    </a:lnTo>
                    <a:lnTo>
                      <a:pt x="605" y="264"/>
                    </a:lnTo>
                    <a:lnTo>
                      <a:pt x="605" y="262"/>
                    </a:lnTo>
                    <a:lnTo>
                      <a:pt x="607" y="262"/>
                    </a:lnTo>
                    <a:lnTo>
                      <a:pt x="609" y="262"/>
                    </a:lnTo>
                    <a:lnTo>
                      <a:pt x="611" y="262"/>
                    </a:lnTo>
                    <a:lnTo>
                      <a:pt x="613" y="262"/>
                    </a:lnTo>
                    <a:lnTo>
                      <a:pt x="615" y="262"/>
                    </a:lnTo>
                    <a:lnTo>
                      <a:pt x="615" y="260"/>
                    </a:lnTo>
                    <a:lnTo>
                      <a:pt x="617" y="262"/>
                    </a:lnTo>
                    <a:lnTo>
                      <a:pt x="619" y="262"/>
                    </a:lnTo>
                    <a:lnTo>
                      <a:pt x="619" y="260"/>
                    </a:lnTo>
                    <a:lnTo>
                      <a:pt x="621" y="260"/>
                    </a:lnTo>
                    <a:lnTo>
                      <a:pt x="621" y="262"/>
                    </a:lnTo>
                    <a:lnTo>
                      <a:pt x="621" y="260"/>
                    </a:lnTo>
                    <a:lnTo>
                      <a:pt x="621" y="262"/>
                    </a:lnTo>
                    <a:lnTo>
                      <a:pt x="623" y="262"/>
                    </a:lnTo>
                    <a:lnTo>
                      <a:pt x="625" y="262"/>
                    </a:lnTo>
                    <a:lnTo>
                      <a:pt x="623" y="262"/>
                    </a:lnTo>
                    <a:lnTo>
                      <a:pt x="625" y="262"/>
                    </a:lnTo>
                    <a:lnTo>
                      <a:pt x="625" y="264"/>
                    </a:lnTo>
                    <a:lnTo>
                      <a:pt x="627" y="264"/>
                    </a:lnTo>
                    <a:lnTo>
                      <a:pt x="625" y="264"/>
                    </a:lnTo>
                    <a:lnTo>
                      <a:pt x="625" y="265"/>
                    </a:lnTo>
                    <a:lnTo>
                      <a:pt x="627" y="265"/>
                    </a:lnTo>
                    <a:lnTo>
                      <a:pt x="627" y="267"/>
                    </a:lnTo>
                    <a:lnTo>
                      <a:pt x="625" y="267"/>
                    </a:lnTo>
                    <a:lnTo>
                      <a:pt x="627" y="267"/>
                    </a:lnTo>
                    <a:lnTo>
                      <a:pt x="627" y="269"/>
                    </a:lnTo>
                    <a:lnTo>
                      <a:pt x="628" y="269"/>
                    </a:lnTo>
                    <a:lnTo>
                      <a:pt x="627" y="269"/>
                    </a:lnTo>
                    <a:lnTo>
                      <a:pt x="627" y="267"/>
                    </a:lnTo>
                    <a:lnTo>
                      <a:pt x="628" y="267"/>
                    </a:lnTo>
                    <a:lnTo>
                      <a:pt x="627" y="267"/>
                    </a:lnTo>
                    <a:lnTo>
                      <a:pt x="627" y="265"/>
                    </a:lnTo>
                    <a:lnTo>
                      <a:pt x="625" y="265"/>
                    </a:lnTo>
                    <a:lnTo>
                      <a:pt x="625" y="264"/>
                    </a:lnTo>
                    <a:lnTo>
                      <a:pt x="627" y="264"/>
                    </a:lnTo>
                    <a:lnTo>
                      <a:pt x="625" y="264"/>
                    </a:lnTo>
                    <a:lnTo>
                      <a:pt x="625" y="262"/>
                    </a:lnTo>
                    <a:lnTo>
                      <a:pt x="623" y="262"/>
                    </a:lnTo>
                    <a:lnTo>
                      <a:pt x="625" y="260"/>
                    </a:lnTo>
                    <a:lnTo>
                      <a:pt x="625" y="258"/>
                    </a:lnTo>
                    <a:lnTo>
                      <a:pt x="623" y="258"/>
                    </a:lnTo>
                    <a:lnTo>
                      <a:pt x="623" y="256"/>
                    </a:lnTo>
                    <a:lnTo>
                      <a:pt x="623" y="254"/>
                    </a:lnTo>
                    <a:lnTo>
                      <a:pt x="623" y="252"/>
                    </a:lnTo>
                    <a:lnTo>
                      <a:pt x="625" y="252"/>
                    </a:lnTo>
                    <a:lnTo>
                      <a:pt x="625" y="250"/>
                    </a:lnTo>
                    <a:lnTo>
                      <a:pt x="625" y="248"/>
                    </a:lnTo>
                    <a:lnTo>
                      <a:pt x="627" y="248"/>
                    </a:lnTo>
                    <a:lnTo>
                      <a:pt x="628" y="248"/>
                    </a:lnTo>
                    <a:lnTo>
                      <a:pt x="627" y="248"/>
                    </a:lnTo>
                    <a:lnTo>
                      <a:pt x="628" y="248"/>
                    </a:lnTo>
                    <a:lnTo>
                      <a:pt x="628" y="250"/>
                    </a:lnTo>
                    <a:lnTo>
                      <a:pt x="628" y="248"/>
                    </a:lnTo>
                    <a:lnTo>
                      <a:pt x="630" y="248"/>
                    </a:lnTo>
                    <a:lnTo>
                      <a:pt x="630" y="250"/>
                    </a:lnTo>
                    <a:lnTo>
                      <a:pt x="630" y="248"/>
                    </a:lnTo>
                    <a:lnTo>
                      <a:pt x="632" y="250"/>
                    </a:lnTo>
                    <a:lnTo>
                      <a:pt x="632" y="248"/>
                    </a:lnTo>
                    <a:lnTo>
                      <a:pt x="634" y="248"/>
                    </a:lnTo>
                    <a:lnTo>
                      <a:pt x="632" y="248"/>
                    </a:lnTo>
                    <a:lnTo>
                      <a:pt x="634" y="248"/>
                    </a:lnTo>
                    <a:lnTo>
                      <a:pt x="636" y="248"/>
                    </a:lnTo>
                    <a:lnTo>
                      <a:pt x="634" y="248"/>
                    </a:lnTo>
                    <a:lnTo>
                      <a:pt x="632" y="248"/>
                    </a:lnTo>
                    <a:lnTo>
                      <a:pt x="632" y="250"/>
                    </a:lnTo>
                    <a:lnTo>
                      <a:pt x="632" y="248"/>
                    </a:lnTo>
                    <a:lnTo>
                      <a:pt x="630" y="248"/>
                    </a:lnTo>
                    <a:lnTo>
                      <a:pt x="630" y="250"/>
                    </a:lnTo>
                    <a:lnTo>
                      <a:pt x="630" y="248"/>
                    </a:lnTo>
                    <a:lnTo>
                      <a:pt x="628" y="248"/>
                    </a:lnTo>
                    <a:lnTo>
                      <a:pt x="628" y="250"/>
                    </a:lnTo>
                    <a:lnTo>
                      <a:pt x="628" y="248"/>
                    </a:lnTo>
                    <a:lnTo>
                      <a:pt x="628" y="250"/>
                    </a:lnTo>
                    <a:lnTo>
                      <a:pt x="628" y="248"/>
                    </a:lnTo>
                    <a:lnTo>
                      <a:pt x="627" y="248"/>
                    </a:lnTo>
                    <a:lnTo>
                      <a:pt x="628" y="248"/>
                    </a:lnTo>
                    <a:lnTo>
                      <a:pt x="628" y="246"/>
                    </a:lnTo>
                    <a:lnTo>
                      <a:pt x="630" y="246"/>
                    </a:lnTo>
                    <a:lnTo>
                      <a:pt x="628" y="246"/>
                    </a:lnTo>
                    <a:lnTo>
                      <a:pt x="630" y="246"/>
                    </a:lnTo>
                    <a:lnTo>
                      <a:pt x="632" y="246"/>
                    </a:lnTo>
                    <a:lnTo>
                      <a:pt x="630" y="246"/>
                    </a:lnTo>
                    <a:lnTo>
                      <a:pt x="632" y="246"/>
                    </a:lnTo>
                    <a:lnTo>
                      <a:pt x="630" y="246"/>
                    </a:lnTo>
                    <a:lnTo>
                      <a:pt x="632" y="246"/>
                    </a:lnTo>
                    <a:lnTo>
                      <a:pt x="632" y="244"/>
                    </a:lnTo>
                    <a:lnTo>
                      <a:pt x="632" y="246"/>
                    </a:lnTo>
                    <a:lnTo>
                      <a:pt x="632" y="244"/>
                    </a:lnTo>
                    <a:lnTo>
                      <a:pt x="632" y="246"/>
                    </a:lnTo>
                    <a:lnTo>
                      <a:pt x="632" y="244"/>
                    </a:lnTo>
                    <a:lnTo>
                      <a:pt x="634" y="244"/>
                    </a:lnTo>
                    <a:lnTo>
                      <a:pt x="636" y="244"/>
                    </a:lnTo>
                    <a:lnTo>
                      <a:pt x="636" y="242"/>
                    </a:lnTo>
                    <a:lnTo>
                      <a:pt x="638" y="242"/>
                    </a:lnTo>
                    <a:lnTo>
                      <a:pt x="638" y="240"/>
                    </a:lnTo>
                    <a:lnTo>
                      <a:pt x="640" y="240"/>
                    </a:lnTo>
                    <a:lnTo>
                      <a:pt x="642" y="240"/>
                    </a:lnTo>
                    <a:lnTo>
                      <a:pt x="642" y="239"/>
                    </a:lnTo>
                    <a:lnTo>
                      <a:pt x="642" y="237"/>
                    </a:lnTo>
                    <a:lnTo>
                      <a:pt x="642" y="235"/>
                    </a:lnTo>
                    <a:lnTo>
                      <a:pt x="640" y="235"/>
                    </a:lnTo>
                    <a:lnTo>
                      <a:pt x="638" y="235"/>
                    </a:lnTo>
                    <a:lnTo>
                      <a:pt x="636" y="235"/>
                    </a:lnTo>
                    <a:lnTo>
                      <a:pt x="634" y="235"/>
                    </a:lnTo>
                    <a:lnTo>
                      <a:pt x="634" y="233"/>
                    </a:lnTo>
                    <a:lnTo>
                      <a:pt x="636" y="233"/>
                    </a:lnTo>
                    <a:lnTo>
                      <a:pt x="636" y="231"/>
                    </a:lnTo>
                    <a:lnTo>
                      <a:pt x="636" y="229"/>
                    </a:lnTo>
                    <a:lnTo>
                      <a:pt x="636" y="231"/>
                    </a:lnTo>
                    <a:lnTo>
                      <a:pt x="636" y="229"/>
                    </a:lnTo>
                    <a:lnTo>
                      <a:pt x="634" y="229"/>
                    </a:lnTo>
                    <a:lnTo>
                      <a:pt x="636" y="229"/>
                    </a:lnTo>
                    <a:lnTo>
                      <a:pt x="634" y="229"/>
                    </a:lnTo>
                    <a:lnTo>
                      <a:pt x="634" y="227"/>
                    </a:lnTo>
                    <a:lnTo>
                      <a:pt x="636" y="227"/>
                    </a:lnTo>
                    <a:lnTo>
                      <a:pt x="634" y="227"/>
                    </a:lnTo>
                    <a:lnTo>
                      <a:pt x="636" y="227"/>
                    </a:lnTo>
                    <a:lnTo>
                      <a:pt x="634" y="227"/>
                    </a:lnTo>
                    <a:lnTo>
                      <a:pt x="636" y="227"/>
                    </a:lnTo>
                    <a:lnTo>
                      <a:pt x="636" y="225"/>
                    </a:lnTo>
                    <a:lnTo>
                      <a:pt x="638" y="225"/>
                    </a:lnTo>
                    <a:lnTo>
                      <a:pt x="636" y="225"/>
                    </a:lnTo>
                    <a:lnTo>
                      <a:pt x="638" y="225"/>
                    </a:lnTo>
                    <a:lnTo>
                      <a:pt x="638" y="223"/>
                    </a:lnTo>
                    <a:lnTo>
                      <a:pt x="640" y="223"/>
                    </a:lnTo>
                    <a:lnTo>
                      <a:pt x="638" y="223"/>
                    </a:lnTo>
                    <a:lnTo>
                      <a:pt x="638" y="225"/>
                    </a:lnTo>
                    <a:lnTo>
                      <a:pt x="636" y="225"/>
                    </a:lnTo>
                    <a:lnTo>
                      <a:pt x="636" y="227"/>
                    </a:lnTo>
                    <a:lnTo>
                      <a:pt x="636" y="225"/>
                    </a:lnTo>
                    <a:lnTo>
                      <a:pt x="636" y="227"/>
                    </a:lnTo>
                    <a:lnTo>
                      <a:pt x="636" y="225"/>
                    </a:lnTo>
                    <a:lnTo>
                      <a:pt x="636" y="227"/>
                    </a:lnTo>
                    <a:lnTo>
                      <a:pt x="634" y="227"/>
                    </a:lnTo>
                    <a:lnTo>
                      <a:pt x="634" y="229"/>
                    </a:lnTo>
                    <a:lnTo>
                      <a:pt x="634" y="231"/>
                    </a:lnTo>
                    <a:lnTo>
                      <a:pt x="636" y="231"/>
                    </a:lnTo>
                    <a:lnTo>
                      <a:pt x="634" y="231"/>
                    </a:lnTo>
                    <a:lnTo>
                      <a:pt x="636" y="231"/>
                    </a:lnTo>
                    <a:lnTo>
                      <a:pt x="634" y="231"/>
                    </a:lnTo>
                    <a:lnTo>
                      <a:pt x="636" y="233"/>
                    </a:lnTo>
                    <a:lnTo>
                      <a:pt x="634" y="233"/>
                    </a:lnTo>
                    <a:lnTo>
                      <a:pt x="636" y="233"/>
                    </a:lnTo>
                    <a:lnTo>
                      <a:pt x="634" y="233"/>
                    </a:lnTo>
                    <a:lnTo>
                      <a:pt x="636" y="233"/>
                    </a:lnTo>
                    <a:lnTo>
                      <a:pt x="634" y="233"/>
                    </a:lnTo>
                    <a:lnTo>
                      <a:pt x="634" y="235"/>
                    </a:lnTo>
                    <a:lnTo>
                      <a:pt x="636" y="235"/>
                    </a:lnTo>
                    <a:lnTo>
                      <a:pt x="638" y="235"/>
                    </a:lnTo>
                    <a:lnTo>
                      <a:pt x="640" y="235"/>
                    </a:lnTo>
                    <a:lnTo>
                      <a:pt x="642" y="235"/>
                    </a:lnTo>
                    <a:lnTo>
                      <a:pt x="642" y="237"/>
                    </a:lnTo>
                    <a:lnTo>
                      <a:pt x="642" y="239"/>
                    </a:lnTo>
                    <a:lnTo>
                      <a:pt x="642" y="240"/>
                    </a:lnTo>
                    <a:lnTo>
                      <a:pt x="640" y="240"/>
                    </a:lnTo>
                    <a:lnTo>
                      <a:pt x="638" y="240"/>
                    </a:lnTo>
                    <a:lnTo>
                      <a:pt x="638" y="242"/>
                    </a:lnTo>
                    <a:lnTo>
                      <a:pt x="636" y="242"/>
                    </a:lnTo>
                    <a:lnTo>
                      <a:pt x="634" y="244"/>
                    </a:lnTo>
                    <a:lnTo>
                      <a:pt x="636" y="242"/>
                    </a:lnTo>
                    <a:lnTo>
                      <a:pt x="636" y="244"/>
                    </a:lnTo>
                    <a:lnTo>
                      <a:pt x="634" y="244"/>
                    </a:lnTo>
                    <a:lnTo>
                      <a:pt x="632" y="244"/>
                    </a:lnTo>
                    <a:lnTo>
                      <a:pt x="634" y="244"/>
                    </a:lnTo>
                    <a:lnTo>
                      <a:pt x="632" y="244"/>
                    </a:lnTo>
                    <a:lnTo>
                      <a:pt x="632" y="246"/>
                    </a:lnTo>
                    <a:lnTo>
                      <a:pt x="632" y="244"/>
                    </a:lnTo>
                    <a:lnTo>
                      <a:pt x="630" y="246"/>
                    </a:lnTo>
                    <a:lnTo>
                      <a:pt x="630" y="244"/>
                    </a:lnTo>
                    <a:lnTo>
                      <a:pt x="630" y="246"/>
                    </a:lnTo>
                    <a:lnTo>
                      <a:pt x="628" y="246"/>
                    </a:lnTo>
                    <a:lnTo>
                      <a:pt x="630" y="246"/>
                    </a:lnTo>
                    <a:lnTo>
                      <a:pt x="628" y="246"/>
                    </a:lnTo>
                    <a:lnTo>
                      <a:pt x="627" y="246"/>
                    </a:lnTo>
                    <a:lnTo>
                      <a:pt x="628" y="246"/>
                    </a:lnTo>
                    <a:lnTo>
                      <a:pt x="627" y="246"/>
                    </a:lnTo>
                    <a:lnTo>
                      <a:pt x="627" y="248"/>
                    </a:lnTo>
                    <a:lnTo>
                      <a:pt x="625" y="248"/>
                    </a:lnTo>
                    <a:lnTo>
                      <a:pt x="627" y="248"/>
                    </a:lnTo>
                    <a:lnTo>
                      <a:pt x="625" y="248"/>
                    </a:lnTo>
                    <a:lnTo>
                      <a:pt x="625" y="250"/>
                    </a:lnTo>
                    <a:lnTo>
                      <a:pt x="623" y="252"/>
                    </a:lnTo>
                    <a:lnTo>
                      <a:pt x="621" y="252"/>
                    </a:lnTo>
                    <a:lnTo>
                      <a:pt x="619" y="252"/>
                    </a:lnTo>
                    <a:lnTo>
                      <a:pt x="619" y="250"/>
                    </a:lnTo>
                    <a:lnTo>
                      <a:pt x="621" y="250"/>
                    </a:lnTo>
                    <a:lnTo>
                      <a:pt x="623" y="250"/>
                    </a:lnTo>
                    <a:lnTo>
                      <a:pt x="623" y="248"/>
                    </a:lnTo>
                    <a:lnTo>
                      <a:pt x="621" y="248"/>
                    </a:lnTo>
                    <a:lnTo>
                      <a:pt x="619" y="248"/>
                    </a:lnTo>
                    <a:lnTo>
                      <a:pt x="619" y="250"/>
                    </a:lnTo>
                    <a:lnTo>
                      <a:pt x="619" y="248"/>
                    </a:lnTo>
                    <a:lnTo>
                      <a:pt x="617" y="248"/>
                    </a:lnTo>
                    <a:lnTo>
                      <a:pt x="617" y="250"/>
                    </a:lnTo>
                    <a:lnTo>
                      <a:pt x="615" y="250"/>
                    </a:lnTo>
                    <a:lnTo>
                      <a:pt x="617" y="248"/>
                    </a:lnTo>
                    <a:lnTo>
                      <a:pt x="615" y="248"/>
                    </a:lnTo>
                    <a:lnTo>
                      <a:pt x="617" y="248"/>
                    </a:lnTo>
                    <a:lnTo>
                      <a:pt x="615" y="248"/>
                    </a:lnTo>
                    <a:lnTo>
                      <a:pt x="615" y="246"/>
                    </a:lnTo>
                    <a:lnTo>
                      <a:pt x="615" y="244"/>
                    </a:lnTo>
                    <a:lnTo>
                      <a:pt x="615" y="242"/>
                    </a:lnTo>
                    <a:lnTo>
                      <a:pt x="613" y="242"/>
                    </a:lnTo>
                    <a:lnTo>
                      <a:pt x="611" y="242"/>
                    </a:lnTo>
                    <a:lnTo>
                      <a:pt x="613" y="242"/>
                    </a:lnTo>
                    <a:lnTo>
                      <a:pt x="611" y="242"/>
                    </a:lnTo>
                    <a:lnTo>
                      <a:pt x="613" y="242"/>
                    </a:lnTo>
                    <a:lnTo>
                      <a:pt x="611" y="242"/>
                    </a:lnTo>
                    <a:lnTo>
                      <a:pt x="609" y="242"/>
                    </a:lnTo>
                    <a:lnTo>
                      <a:pt x="609" y="240"/>
                    </a:lnTo>
                    <a:lnTo>
                      <a:pt x="607" y="240"/>
                    </a:lnTo>
                    <a:lnTo>
                      <a:pt x="609" y="240"/>
                    </a:lnTo>
                    <a:lnTo>
                      <a:pt x="607" y="240"/>
                    </a:lnTo>
                    <a:lnTo>
                      <a:pt x="607" y="239"/>
                    </a:lnTo>
                    <a:lnTo>
                      <a:pt x="605" y="239"/>
                    </a:lnTo>
                    <a:lnTo>
                      <a:pt x="604" y="239"/>
                    </a:lnTo>
                    <a:lnTo>
                      <a:pt x="604" y="237"/>
                    </a:lnTo>
                    <a:lnTo>
                      <a:pt x="602" y="237"/>
                    </a:lnTo>
                    <a:lnTo>
                      <a:pt x="604" y="237"/>
                    </a:lnTo>
                    <a:lnTo>
                      <a:pt x="602" y="237"/>
                    </a:lnTo>
                    <a:lnTo>
                      <a:pt x="600" y="237"/>
                    </a:lnTo>
                    <a:lnTo>
                      <a:pt x="602" y="237"/>
                    </a:lnTo>
                    <a:lnTo>
                      <a:pt x="600" y="237"/>
                    </a:lnTo>
                    <a:lnTo>
                      <a:pt x="598" y="237"/>
                    </a:lnTo>
                    <a:lnTo>
                      <a:pt x="600" y="237"/>
                    </a:lnTo>
                    <a:lnTo>
                      <a:pt x="598" y="237"/>
                    </a:lnTo>
                    <a:lnTo>
                      <a:pt x="598" y="235"/>
                    </a:lnTo>
                    <a:lnTo>
                      <a:pt x="596" y="235"/>
                    </a:lnTo>
                    <a:lnTo>
                      <a:pt x="598" y="235"/>
                    </a:lnTo>
                    <a:lnTo>
                      <a:pt x="598" y="237"/>
                    </a:lnTo>
                    <a:lnTo>
                      <a:pt x="600" y="237"/>
                    </a:lnTo>
                    <a:lnTo>
                      <a:pt x="602" y="237"/>
                    </a:lnTo>
                    <a:lnTo>
                      <a:pt x="604" y="237"/>
                    </a:lnTo>
                    <a:lnTo>
                      <a:pt x="602" y="237"/>
                    </a:lnTo>
                    <a:lnTo>
                      <a:pt x="604" y="237"/>
                    </a:lnTo>
                    <a:lnTo>
                      <a:pt x="602" y="237"/>
                    </a:lnTo>
                    <a:lnTo>
                      <a:pt x="602" y="239"/>
                    </a:lnTo>
                    <a:lnTo>
                      <a:pt x="604" y="239"/>
                    </a:lnTo>
                    <a:lnTo>
                      <a:pt x="605" y="239"/>
                    </a:lnTo>
                    <a:lnTo>
                      <a:pt x="607" y="240"/>
                    </a:lnTo>
                    <a:lnTo>
                      <a:pt x="609" y="240"/>
                    </a:lnTo>
                    <a:lnTo>
                      <a:pt x="609" y="242"/>
                    </a:lnTo>
                    <a:lnTo>
                      <a:pt x="611" y="242"/>
                    </a:lnTo>
                    <a:lnTo>
                      <a:pt x="611" y="244"/>
                    </a:lnTo>
                    <a:lnTo>
                      <a:pt x="609" y="244"/>
                    </a:lnTo>
                    <a:lnTo>
                      <a:pt x="607" y="244"/>
                    </a:lnTo>
                    <a:lnTo>
                      <a:pt x="609" y="244"/>
                    </a:lnTo>
                    <a:lnTo>
                      <a:pt x="611" y="244"/>
                    </a:lnTo>
                    <a:lnTo>
                      <a:pt x="609" y="244"/>
                    </a:lnTo>
                    <a:lnTo>
                      <a:pt x="611" y="244"/>
                    </a:lnTo>
                    <a:lnTo>
                      <a:pt x="611" y="242"/>
                    </a:lnTo>
                    <a:lnTo>
                      <a:pt x="613" y="242"/>
                    </a:lnTo>
                    <a:lnTo>
                      <a:pt x="615" y="244"/>
                    </a:lnTo>
                    <a:lnTo>
                      <a:pt x="615" y="246"/>
                    </a:lnTo>
                    <a:lnTo>
                      <a:pt x="615" y="248"/>
                    </a:lnTo>
                    <a:lnTo>
                      <a:pt x="615" y="250"/>
                    </a:lnTo>
                    <a:lnTo>
                      <a:pt x="617" y="250"/>
                    </a:lnTo>
                    <a:lnTo>
                      <a:pt x="619" y="250"/>
                    </a:lnTo>
                    <a:lnTo>
                      <a:pt x="621" y="250"/>
                    </a:lnTo>
                    <a:lnTo>
                      <a:pt x="621" y="248"/>
                    </a:lnTo>
                    <a:lnTo>
                      <a:pt x="621" y="250"/>
                    </a:lnTo>
                    <a:lnTo>
                      <a:pt x="619" y="250"/>
                    </a:lnTo>
                    <a:lnTo>
                      <a:pt x="619" y="252"/>
                    </a:lnTo>
                    <a:lnTo>
                      <a:pt x="621" y="252"/>
                    </a:lnTo>
                    <a:lnTo>
                      <a:pt x="623" y="252"/>
                    </a:lnTo>
                    <a:lnTo>
                      <a:pt x="623" y="254"/>
                    </a:lnTo>
                    <a:lnTo>
                      <a:pt x="623" y="256"/>
                    </a:lnTo>
                    <a:lnTo>
                      <a:pt x="623" y="258"/>
                    </a:lnTo>
                    <a:lnTo>
                      <a:pt x="621" y="258"/>
                    </a:lnTo>
                    <a:lnTo>
                      <a:pt x="621" y="260"/>
                    </a:lnTo>
                    <a:lnTo>
                      <a:pt x="623" y="260"/>
                    </a:lnTo>
                    <a:lnTo>
                      <a:pt x="621" y="260"/>
                    </a:lnTo>
                    <a:lnTo>
                      <a:pt x="619" y="260"/>
                    </a:lnTo>
                    <a:lnTo>
                      <a:pt x="619" y="262"/>
                    </a:lnTo>
                    <a:lnTo>
                      <a:pt x="617" y="260"/>
                    </a:lnTo>
                    <a:lnTo>
                      <a:pt x="615" y="260"/>
                    </a:lnTo>
                    <a:lnTo>
                      <a:pt x="615" y="262"/>
                    </a:lnTo>
                    <a:lnTo>
                      <a:pt x="613" y="262"/>
                    </a:lnTo>
                    <a:lnTo>
                      <a:pt x="611" y="262"/>
                    </a:lnTo>
                    <a:lnTo>
                      <a:pt x="611" y="260"/>
                    </a:lnTo>
                    <a:lnTo>
                      <a:pt x="611" y="262"/>
                    </a:lnTo>
                    <a:lnTo>
                      <a:pt x="609" y="262"/>
                    </a:lnTo>
                    <a:lnTo>
                      <a:pt x="607" y="262"/>
                    </a:lnTo>
                    <a:lnTo>
                      <a:pt x="607" y="260"/>
                    </a:lnTo>
                    <a:lnTo>
                      <a:pt x="607" y="262"/>
                    </a:lnTo>
                    <a:lnTo>
                      <a:pt x="605" y="262"/>
                    </a:lnTo>
                    <a:lnTo>
                      <a:pt x="604" y="262"/>
                    </a:lnTo>
                    <a:lnTo>
                      <a:pt x="602" y="262"/>
                    </a:lnTo>
                    <a:lnTo>
                      <a:pt x="600" y="262"/>
                    </a:lnTo>
                    <a:lnTo>
                      <a:pt x="598" y="262"/>
                    </a:lnTo>
                    <a:lnTo>
                      <a:pt x="596" y="262"/>
                    </a:lnTo>
                    <a:lnTo>
                      <a:pt x="594" y="262"/>
                    </a:lnTo>
                    <a:lnTo>
                      <a:pt x="592" y="262"/>
                    </a:lnTo>
                    <a:lnTo>
                      <a:pt x="592" y="260"/>
                    </a:lnTo>
                    <a:lnTo>
                      <a:pt x="592" y="262"/>
                    </a:lnTo>
                    <a:lnTo>
                      <a:pt x="592" y="260"/>
                    </a:lnTo>
                    <a:lnTo>
                      <a:pt x="590" y="260"/>
                    </a:lnTo>
                    <a:lnTo>
                      <a:pt x="588" y="260"/>
                    </a:lnTo>
                    <a:lnTo>
                      <a:pt x="586" y="260"/>
                    </a:lnTo>
                    <a:lnTo>
                      <a:pt x="586" y="258"/>
                    </a:lnTo>
                    <a:lnTo>
                      <a:pt x="584" y="258"/>
                    </a:lnTo>
                    <a:lnTo>
                      <a:pt x="584" y="256"/>
                    </a:lnTo>
                    <a:lnTo>
                      <a:pt x="582" y="256"/>
                    </a:lnTo>
                    <a:lnTo>
                      <a:pt x="582" y="254"/>
                    </a:lnTo>
                    <a:lnTo>
                      <a:pt x="582" y="252"/>
                    </a:lnTo>
                    <a:lnTo>
                      <a:pt x="580" y="252"/>
                    </a:lnTo>
                    <a:lnTo>
                      <a:pt x="580" y="250"/>
                    </a:lnTo>
                    <a:lnTo>
                      <a:pt x="579" y="250"/>
                    </a:lnTo>
                    <a:lnTo>
                      <a:pt x="577" y="250"/>
                    </a:lnTo>
                    <a:lnTo>
                      <a:pt x="575" y="250"/>
                    </a:lnTo>
                    <a:lnTo>
                      <a:pt x="573" y="250"/>
                    </a:lnTo>
                    <a:lnTo>
                      <a:pt x="571" y="250"/>
                    </a:lnTo>
                    <a:lnTo>
                      <a:pt x="573" y="250"/>
                    </a:lnTo>
                    <a:lnTo>
                      <a:pt x="573" y="248"/>
                    </a:lnTo>
                    <a:lnTo>
                      <a:pt x="573" y="250"/>
                    </a:lnTo>
                    <a:lnTo>
                      <a:pt x="571" y="250"/>
                    </a:lnTo>
                    <a:lnTo>
                      <a:pt x="571" y="248"/>
                    </a:lnTo>
                    <a:lnTo>
                      <a:pt x="569" y="248"/>
                    </a:lnTo>
                    <a:lnTo>
                      <a:pt x="571" y="248"/>
                    </a:lnTo>
                    <a:lnTo>
                      <a:pt x="571" y="250"/>
                    </a:lnTo>
                    <a:lnTo>
                      <a:pt x="571" y="248"/>
                    </a:lnTo>
                    <a:lnTo>
                      <a:pt x="571" y="250"/>
                    </a:lnTo>
                    <a:lnTo>
                      <a:pt x="571" y="248"/>
                    </a:lnTo>
                    <a:lnTo>
                      <a:pt x="571" y="250"/>
                    </a:lnTo>
                    <a:lnTo>
                      <a:pt x="573" y="250"/>
                    </a:lnTo>
                    <a:lnTo>
                      <a:pt x="573" y="252"/>
                    </a:lnTo>
                    <a:lnTo>
                      <a:pt x="573" y="254"/>
                    </a:lnTo>
                    <a:lnTo>
                      <a:pt x="573" y="256"/>
                    </a:lnTo>
                    <a:lnTo>
                      <a:pt x="571" y="256"/>
                    </a:lnTo>
                    <a:lnTo>
                      <a:pt x="569" y="256"/>
                    </a:lnTo>
                    <a:lnTo>
                      <a:pt x="569" y="258"/>
                    </a:lnTo>
                    <a:lnTo>
                      <a:pt x="567" y="258"/>
                    </a:lnTo>
                    <a:lnTo>
                      <a:pt x="567" y="260"/>
                    </a:lnTo>
                    <a:lnTo>
                      <a:pt x="567" y="262"/>
                    </a:lnTo>
                    <a:lnTo>
                      <a:pt x="567" y="260"/>
                    </a:lnTo>
                    <a:lnTo>
                      <a:pt x="567" y="262"/>
                    </a:lnTo>
                    <a:lnTo>
                      <a:pt x="567" y="260"/>
                    </a:lnTo>
                    <a:lnTo>
                      <a:pt x="567" y="262"/>
                    </a:lnTo>
                    <a:lnTo>
                      <a:pt x="569" y="262"/>
                    </a:lnTo>
                    <a:lnTo>
                      <a:pt x="569" y="264"/>
                    </a:lnTo>
                    <a:lnTo>
                      <a:pt x="571" y="264"/>
                    </a:lnTo>
                    <a:lnTo>
                      <a:pt x="573" y="264"/>
                    </a:lnTo>
                    <a:lnTo>
                      <a:pt x="575" y="262"/>
                    </a:lnTo>
                    <a:lnTo>
                      <a:pt x="577" y="262"/>
                    </a:lnTo>
                    <a:lnTo>
                      <a:pt x="579" y="262"/>
                    </a:lnTo>
                    <a:lnTo>
                      <a:pt x="580" y="262"/>
                    </a:lnTo>
                    <a:lnTo>
                      <a:pt x="579" y="262"/>
                    </a:lnTo>
                    <a:lnTo>
                      <a:pt x="579" y="264"/>
                    </a:lnTo>
                    <a:lnTo>
                      <a:pt x="579" y="265"/>
                    </a:lnTo>
                    <a:lnTo>
                      <a:pt x="577" y="265"/>
                    </a:lnTo>
                    <a:lnTo>
                      <a:pt x="577" y="267"/>
                    </a:lnTo>
                    <a:lnTo>
                      <a:pt x="575" y="267"/>
                    </a:lnTo>
                    <a:lnTo>
                      <a:pt x="573" y="267"/>
                    </a:lnTo>
                    <a:lnTo>
                      <a:pt x="571" y="267"/>
                    </a:lnTo>
                    <a:lnTo>
                      <a:pt x="569" y="267"/>
                    </a:lnTo>
                    <a:lnTo>
                      <a:pt x="567" y="267"/>
                    </a:lnTo>
                    <a:lnTo>
                      <a:pt x="567" y="269"/>
                    </a:lnTo>
                    <a:lnTo>
                      <a:pt x="565" y="269"/>
                    </a:lnTo>
                    <a:lnTo>
                      <a:pt x="565" y="271"/>
                    </a:lnTo>
                    <a:lnTo>
                      <a:pt x="563" y="271"/>
                    </a:lnTo>
                    <a:lnTo>
                      <a:pt x="561" y="271"/>
                    </a:lnTo>
                    <a:lnTo>
                      <a:pt x="561" y="273"/>
                    </a:lnTo>
                    <a:lnTo>
                      <a:pt x="559" y="273"/>
                    </a:lnTo>
                    <a:lnTo>
                      <a:pt x="559" y="275"/>
                    </a:lnTo>
                    <a:lnTo>
                      <a:pt x="559" y="273"/>
                    </a:lnTo>
                    <a:lnTo>
                      <a:pt x="557" y="273"/>
                    </a:lnTo>
                    <a:lnTo>
                      <a:pt x="557" y="275"/>
                    </a:lnTo>
                    <a:lnTo>
                      <a:pt x="555" y="275"/>
                    </a:lnTo>
                    <a:lnTo>
                      <a:pt x="554" y="275"/>
                    </a:lnTo>
                    <a:lnTo>
                      <a:pt x="554" y="277"/>
                    </a:lnTo>
                    <a:lnTo>
                      <a:pt x="554" y="275"/>
                    </a:lnTo>
                    <a:lnTo>
                      <a:pt x="554" y="277"/>
                    </a:lnTo>
                    <a:lnTo>
                      <a:pt x="554" y="275"/>
                    </a:lnTo>
                    <a:lnTo>
                      <a:pt x="554" y="277"/>
                    </a:lnTo>
                    <a:lnTo>
                      <a:pt x="552" y="277"/>
                    </a:lnTo>
                    <a:lnTo>
                      <a:pt x="550" y="277"/>
                    </a:lnTo>
                    <a:lnTo>
                      <a:pt x="552" y="277"/>
                    </a:lnTo>
                    <a:lnTo>
                      <a:pt x="550" y="277"/>
                    </a:lnTo>
                    <a:lnTo>
                      <a:pt x="548" y="277"/>
                    </a:lnTo>
                    <a:lnTo>
                      <a:pt x="548" y="279"/>
                    </a:lnTo>
                    <a:lnTo>
                      <a:pt x="548" y="277"/>
                    </a:lnTo>
                    <a:lnTo>
                      <a:pt x="546" y="277"/>
                    </a:lnTo>
                    <a:lnTo>
                      <a:pt x="546" y="279"/>
                    </a:lnTo>
                    <a:lnTo>
                      <a:pt x="544" y="279"/>
                    </a:lnTo>
                    <a:lnTo>
                      <a:pt x="542" y="279"/>
                    </a:lnTo>
                    <a:lnTo>
                      <a:pt x="542" y="277"/>
                    </a:lnTo>
                    <a:lnTo>
                      <a:pt x="540" y="277"/>
                    </a:lnTo>
                    <a:lnTo>
                      <a:pt x="538" y="277"/>
                    </a:lnTo>
                    <a:lnTo>
                      <a:pt x="536" y="277"/>
                    </a:lnTo>
                    <a:lnTo>
                      <a:pt x="534" y="277"/>
                    </a:lnTo>
                    <a:lnTo>
                      <a:pt x="532" y="277"/>
                    </a:lnTo>
                    <a:lnTo>
                      <a:pt x="532" y="279"/>
                    </a:lnTo>
                    <a:lnTo>
                      <a:pt x="531" y="279"/>
                    </a:lnTo>
                    <a:lnTo>
                      <a:pt x="529" y="279"/>
                    </a:lnTo>
                    <a:lnTo>
                      <a:pt x="529" y="281"/>
                    </a:lnTo>
                    <a:lnTo>
                      <a:pt x="529" y="279"/>
                    </a:lnTo>
                    <a:lnTo>
                      <a:pt x="525" y="279"/>
                    </a:lnTo>
                    <a:lnTo>
                      <a:pt x="523" y="281"/>
                    </a:lnTo>
                    <a:lnTo>
                      <a:pt x="521" y="281"/>
                    </a:lnTo>
                    <a:lnTo>
                      <a:pt x="519" y="281"/>
                    </a:lnTo>
                    <a:lnTo>
                      <a:pt x="517" y="281"/>
                    </a:lnTo>
                    <a:lnTo>
                      <a:pt x="515" y="281"/>
                    </a:lnTo>
                    <a:lnTo>
                      <a:pt x="513" y="281"/>
                    </a:lnTo>
                    <a:lnTo>
                      <a:pt x="513" y="279"/>
                    </a:lnTo>
                    <a:lnTo>
                      <a:pt x="513" y="281"/>
                    </a:lnTo>
                    <a:lnTo>
                      <a:pt x="513" y="279"/>
                    </a:lnTo>
                    <a:lnTo>
                      <a:pt x="511" y="279"/>
                    </a:lnTo>
                    <a:lnTo>
                      <a:pt x="509" y="279"/>
                    </a:lnTo>
                    <a:lnTo>
                      <a:pt x="509" y="277"/>
                    </a:lnTo>
                    <a:lnTo>
                      <a:pt x="507" y="277"/>
                    </a:lnTo>
                    <a:lnTo>
                      <a:pt x="506" y="277"/>
                    </a:lnTo>
                    <a:lnTo>
                      <a:pt x="506" y="275"/>
                    </a:lnTo>
                    <a:lnTo>
                      <a:pt x="504" y="275"/>
                    </a:lnTo>
                    <a:lnTo>
                      <a:pt x="502" y="275"/>
                    </a:lnTo>
                    <a:lnTo>
                      <a:pt x="500" y="275"/>
                    </a:lnTo>
                    <a:lnTo>
                      <a:pt x="500" y="273"/>
                    </a:lnTo>
                    <a:lnTo>
                      <a:pt x="498" y="273"/>
                    </a:lnTo>
                    <a:lnTo>
                      <a:pt x="498" y="271"/>
                    </a:lnTo>
                    <a:lnTo>
                      <a:pt x="500" y="271"/>
                    </a:lnTo>
                    <a:lnTo>
                      <a:pt x="500" y="269"/>
                    </a:lnTo>
                    <a:lnTo>
                      <a:pt x="500" y="267"/>
                    </a:lnTo>
                    <a:lnTo>
                      <a:pt x="498" y="267"/>
                    </a:lnTo>
                    <a:lnTo>
                      <a:pt x="498" y="269"/>
                    </a:lnTo>
                    <a:lnTo>
                      <a:pt x="496" y="269"/>
                    </a:lnTo>
                    <a:lnTo>
                      <a:pt x="494" y="267"/>
                    </a:lnTo>
                    <a:lnTo>
                      <a:pt x="496" y="267"/>
                    </a:lnTo>
                    <a:lnTo>
                      <a:pt x="498" y="267"/>
                    </a:lnTo>
                    <a:lnTo>
                      <a:pt x="500" y="267"/>
                    </a:lnTo>
                    <a:lnTo>
                      <a:pt x="500" y="265"/>
                    </a:lnTo>
                    <a:lnTo>
                      <a:pt x="500" y="264"/>
                    </a:lnTo>
                    <a:lnTo>
                      <a:pt x="500" y="262"/>
                    </a:lnTo>
                    <a:lnTo>
                      <a:pt x="500" y="260"/>
                    </a:lnTo>
                    <a:lnTo>
                      <a:pt x="498" y="260"/>
                    </a:lnTo>
                    <a:lnTo>
                      <a:pt x="498" y="258"/>
                    </a:lnTo>
                    <a:lnTo>
                      <a:pt x="498" y="260"/>
                    </a:lnTo>
                    <a:lnTo>
                      <a:pt x="496" y="258"/>
                    </a:lnTo>
                    <a:lnTo>
                      <a:pt x="496" y="260"/>
                    </a:lnTo>
                    <a:lnTo>
                      <a:pt x="494" y="258"/>
                    </a:lnTo>
                    <a:lnTo>
                      <a:pt x="494" y="260"/>
                    </a:lnTo>
                    <a:lnTo>
                      <a:pt x="496" y="260"/>
                    </a:lnTo>
                    <a:lnTo>
                      <a:pt x="494" y="260"/>
                    </a:lnTo>
                    <a:lnTo>
                      <a:pt x="494" y="258"/>
                    </a:lnTo>
                    <a:lnTo>
                      <a:pt x="492" y="258"/>
                    </a:lnTo>
                    <a:lnTo>
                      <a:pt x="494" y="258"/>
                    </a:lnTo>
                    <a:lnTo>
                      <a:pt x="494" y="256"/>
                    </a:lnTo>
                    <a:lnTo>
                      <a:pt x="492" y="258"/>
                    </a:lnTo>
                    <a:lnTo>
                      <a:pt x="492" y="256"/>
                    </a:lnTo>
                    <a:lnTo>
                      <a:pt x="492" y="258"/>
                    </a:lnTo>
                    <a:lnTo>
                      <a:pt x="490" y="258"/>
                    </a:lnTo>
                    <a:lnTo>
                      <a:pt x="490" y="256"/>
                    </a:lnTo>
                    <a:lnTo>
                      <a:pt x="490" y="254"/>
                    </a:lnTo>
                    <a:lnTo>
                      <a:pt x="488" y="254"/>
                    </a:lnTo>
                    <a:lnTo>
                      <a:pt x="486" y="254"/>
                    </a:lnTo>
                    <a:lnTo>
                      <a:pt x="486" y="252"/>
                    </a:lnTo>
                    <a:lnTo>
                      <a:pt x="488" y="252"/>
                    </a:lnTo>
                    <a:lnTo>
                      <a:pt x="488" y="250"/>
                    </a:lnTo>
                    <a:lnTo>
                      <a:pt x="486" y="248"/>
                    </a:lnTo>
                    <a:lnTo>
                      <a:pt x="488" y="248"/>
                    </a:lnTo>
                    <a:lnTo>
                      <a:pt x="486" y="248"/>
                    </a:lnTo>
                    <a:lnTo>
                      <a:pt x="484" y="248"/>
                    </a:lnTo>
                    <a:lnTo>
                      <a:pt x="484" y="246"/>
                    </a:lnTo>
                    <a:lnTo>
                      <a:pt x="482" y="246"/>
                    </a:lnTo>
                    <a:lnTo>
                      <a:pt x="481" y="246"/>
                    </a:lnTo>
                    <a:lnTo>
                      <a:pt x="481" y="244"/>
                    </a:lnTo>
                    <a:lnTo>
                      <a:pt x="481" y="242"/>
                    </a:lnTo>
                    <a:lnTo>
                      <a:pt x="482" y="242"/>
                    </a:lnTo>
                    <a:lnTo>
                      <a:pt x="484" y="242"/>
                    </a:lnTo>
                    <a:lnTo>
                      <a:pt x="482" y="242"/>
                    </a:lnTo>
                    <a:lnTo>
                      <a:pt x="484" y="242"/>
                    </a:lnTo>
                    <a:lnTo>
                      <a:pt x="482" y="242"/>
                    </a:lnTo>
                    <a:lnTo>
                      <a:pt x="481" y="242"/>
                    </a:lnTo>
                    <a:lnTo>
                      <a:pt x="481" y="240"/>
                    </a:lnTo>
                    <a:lnTo>
                      <a:pt x="479" y="240"/>
                    </a:lnTo>
                    <a:lnTo>
                      <a:pt x="477" y="240"/>
                    </a:lnTo>
                    <a:lnTo>
                      <a:pt x="475" y="240"/>
                    </a:lnTo>
                    <a:lnTo>
                      <a:pt x="475" y="239"/>
                    </a:lnTo>
                    <a:lnTo>
                      <a:pt x="473" y="239"/>
                    </a:lnTo>
                    <a:lnTo>
                      <a:pt x="471" y="239"/>
                    </a:lnTo>
                    <a:lnTo>
                      <a:pt x="469" y="239"/>
                    </a:lnTo>
                    <a:lnTo>
                      <a:pt x="467" y="237"/>
                    </a:lnTo>
                    <a:lnTo>
                      <a:pt x="467" y="235"/>
                    </a:lnTo>
                    <a:lnTo>
                      <a:pt x="469" y="235"/>
                    </a:lnTo>
                    <a:lnTo>
                      <a:pt x="469" y="233"/>
                    </a:lnTo>
                    <a:lnTo>
                      <a:pt x="469" y="231"/>
                    </a:lnTo>
                    <a:lnTo>
                      <a:pt x="471" y="231"/>
                    </a:lnTo>
                    <a:lnTo>
                      <a:pt x="471" y="229"/>
                    </a:lnTo>
                    <a:lnTo>
                      <a:pt x="469" y="229"/>
                    </a:lnTo>
                    <a:lnTo>
                      <a:pt x="471" y="229"/>
                    </a:lnTo>
                    <a:lnTo>
                      <a:pt x="469" y="227"/>
                    </a:lnTo>
                    <a:lnTo>
                      <a:pt x="471" y="227"/>
                    </a:lnTo>
                    <a:lnTo>
                      <a:pt x="471" y="225"/>
                    </a:lnTo>
                    <a:lnTo>
                      <a:pt x="473" y="225"/>
                    </a:lnTo>
                    <a:lnTo>
                      <a:pt x="475" y="225"/>
                    </a:lnTo>
                    <a:lnTo>
                      <a:pt x="477" y="225"/>
                    </a:lnTo>
                    <a:lnTo>
                      <a:pt x="479" y="225"/>
                    </a:lnTo>
                    <a:lnTo>
                      <a:pt x="479" y="223"/>
                    </a:lnTo>
                    <a:lnTo>
                      <a:pt x="481" y="223"/>
                    </a:lnTo>
                    <a:lnTo>
                      <a:pt x="481" y="225"/>
                    </a:lnTo>
                    <a:lnTo>
                      <a:pt x="481" y="223"/>
                    </a:lnTo>
                    <a:lnTo>
                      <a:pt x="481" y="225"/>
                    </a:lnTo>
                    <a:lnTo>
                      <a:pt x="482" y="225"/>
                    </a:lnTo>
                    <a:lnTo>
                      <a:pt x="482" y="223"/>
                    </a:lnTo>
                    <a:lnTo>
                      <a:pt x="481" y="223"/>
                    </a:lnTo>
                    <a:lnTo>
                      <a:pt x="479" y="223"/>
                    </a:lnTo>
                    <a:lnTo>
                      <a:pt x="479" y="221"/>
                    </a:lnTo>
                    <a:lnTo>
                      <a:pt x="481" y="221"/>
                    </a:lnTo>
                    <a:lnTo>
                      <a:pt x="481" y="219"/>
                    </a:lnTo>
                    <a:lnTo>
                      <a:pt x="481" y="221"/>
                    </a:lnTo>
                    <a:lnTo>
                      <a:pt x="481" y="219"/>
                    </a:lnTo>
                    <a:lnTo>
                      <a:pt x="481" y="221"/>
                    </a:lnTo>
                    <a:lnTo>
                      <a:pt x="479" y="221"/>
                    </a:lnTo>
                    <a:lnTo>
                      <a:pt x="481" y="221"/>
                    </a:lnTo>
                    <a:lnTo>
                      <a:pt x="481" y="219"/>
                    </a:lnTo>
                    <a:lnTo>
                      <a:pt x="482" y="219"/>
                    </a:lnTo>
                    <a:lnTo>
                      <a:pt x="481" y="219"/>
                    </a:lnTo>
                    <a:lnTo>
                      <a:pt x="482" y="217"/>
                    </a:lnTo>
                    <a:lnTo>
                      <a:pt x="482" y="219"/>
                    </a:lnTo>
                    <a:lnTo>
                      <a:pt x="482" y="217"/>
                    </a:lnTo>
                    <a:lnTo>
                      <a:pt x="482" y="216"/>
                    </a:lnTo>
                    <a:lnTo>
                      <a:pt x="484" y="216"/>
                    </a:lnTo>
                    <a:lnTo>
                      <a:pt x="486" y="216"/>
                    </a:lnTo>
                    <a:lnTo>
                      <a:pt x="486" y="217"/>
                    </a:lnTo>
                    <a:lnTo>
                      <a:pt x="486" y="216"/>
                    </a:lnTo>
                    <a:lnTo>
                      <a:pt x="484" y="216"/>
                    </a:lnTo>
                    <a:lnTo>
                      <a:pt x="482" y="216"/>
                    </a:lnTo>
                    <a:lnTo>
                      <a:pt x="482" y="214"/>
                    </a:lnTo>
                    <a:lnTo>
                      <a:pt x="481" y="214"/>
                    </a:lnTo>
                    <a:lnTo>
                      <a:pt x="481" y="212"/>
                    </a:lnTo>
                    <a:lnTo>
                      <a:pt x="481" y="210"/>
                    </a:lnTo>
                    <a:lnTo>
                      <a:pt x="479" y="208"/>
                    </a:lnTo>
                    <a:lnTo>
                      <a:pt x="479" y="206"/>
                    </a:lnTo>
                    <a:lnTo>
                      <a:pt x="479" y="208"/>
                    </a:lnTo>
                    <a:lnTo>
                      <a:pt x="479" y="206"/>
                    </a:lnTo>
                    <a:lnTo>
                      <a:pt x="477" y="206"/>
                    </a:lnTo>
                    <a:lnTo>
                      <a:pt x="475" y="206"/>
                    </a:lnTo>
                    <a:lnTo>
                      <a:pt x="475" y="204"/>
                    </a:lnTo>
                    <a:lnTo>
                      <a:pt x="475" y="202"/>
                    </a:lnTo>
                    <a:lnTo>
                      <a:pt x="473" y="202"/>
                    </a:lnTo>
                    <a:lnTo>
                      <a:pt x="471" y="202"/>
                    </a:lnTo>
                    <a:lnTo>
                      <a:pt x="471" y="200"/>
                    </a:lnTo>
                    <a:lnTo>
                      <a:pt x="469" y="200"/>
                    </a:lnTo>
                    <a:lnTo>
                      <a:pt x="469" y="198"/>
                    </a:lnTo>
                    <a:lnTo>
                      <a:pt x="467" y="198"/>
                    </a:lnTo>
                    <a:lnTo>
                      <a:pt x="465" y="198"/>
                    </a:lnTo>
                    <a:lnTo>
                      <a:pt x="465" y="200"/>
                    </a:lnTo>
                    <a:lnTo>
                      <a:pt x="463" y="198"/>
                    </a:lnTo>
                    <a:lnTo>
                      <a:pt x="463" y="196"/>
                    </a:lnTo>
                    <a:lnTo>
                      <a:pt x="461" y="196"/>
                    </a:lnTo>
                    <a:lnTo>
                      <a:pt x="461" y="194"/>
                    </a:lnTo>
                    <a:lnTo>
                      <a:pt x="459" y="194"/>
                    </a:lnTo>
                    <a:lnTo>
                      <a:pt x="459" y="192"/>
                    </a:lnTo>
                    <a:lnTo>
                      <a:pt x="461" y="192"/>
                    </a:lnTo>
                    <a:lnTo>
                      <a:pt x="463" y="192"/>
                    </a:lnTo>
                    <a:lnTo>
                      <a:pt x="467" y="192"/>
                    </a:lnTo>
                    <a:lnTo>
                      <a:pt x="469" y="194"/>
                    </a:lnTo>
                    <a:lnTo>
                      <a:pt x="471" y="194"/>
                    </a:lnTo>
                    <a:lnTo>
                      <a:pt x="473" y="194"/>
                    </a:lnTo>
                    <a:lnTo>
                      <a:pt x="475" y="194"/>
                    </a:lnTo>
                    <a:lnTo>
                      <a:pt x="477" y="194"/>
                    </a:lnTo>
                    <a:lnTo>
                      <a:pt x="481" y="192"/>
                    </a:lnTo>
                    <a:lnTo>
                      <a:pt x="482" y="192"/>
                    </a:lnTo>
                    <a:lnTo>
                      <a:pt x="484" y="192"/>
                    </a:lnTo>
                    <a:lnTo>
                      <a:pt x="488" y="192"/>
                    </a:lnTo>
                    <a:lnTo>
                      <a:pt x="490" y="192"/>
                    </a:lnTo>
                    <a:lnTo>
                      <a:pt x="492" y="192"/>
                    </a:lnTo>
                    <a:lnTo>
                      <a:pt x="494" y="192"/>
                    </a:lnTo>
                    <a:lnTo>
                      <a:pt x="496" y="191"/>
                    </a:lnTo>
                    <a:lnTo>
                      <a:pt x="498" y="191"/>
                    </a:lnTo>
                    <a:lnTo>
                      <a:pt x="500" y="191"/>
                    </a:lnTo>
                    <a:lnTo>
                      <a:pt x="500" y="189"/>
                    </a:lnTo>
                    <a:lnTo>
                      <a:pt x="502" y="189"/>
                    </a:lnTo>
                    <a:lnTo>
                      <a:pt x="502" y="191"/>
                    </a:lnTo>
                    <a:lnTo>
                      <a:pt x="504" y="191"/>
                    </a:lnTo>
                    <a:lnTo>
                      <a:pt x="502" y="191"/>
                    </a:lnTo>
                    <a:lnTo>
                      <a:pt x="504" y="191"/>
                    </a:lnTo>
                    <a:lnTo>
                      <a:pt x="506" y="191"/>
                    </a:lnTo>
                    <a:lnTo>
                      <a:pt x="506" y="192"/>
                    </a:lnTo>
                    <a:lnTo>
                      <a:pt x="504" y="192"/>
                    </a:lnTo>
                    <a:lnTo>
                      <a:pt x="506" y="192"/>
                    </a:lnTo>
                    <a:lnTo>
                      <a:pt x="504" y="192"/>
                    </a:lnTo>
                    <a:lnTo>
                      <a:pt x="506" y="192"/>
                    </a:lnTo>
                    <a:lnTo>
                      <a:pt x="507" y="192"/>
                    </a:lnTo>
                    <a:lnTo>
                      <a:pt x="509" y="192"/>
                    </a:lnTo>
                    <a:lnTo>
                      <a:pt x="511" y="192"/>
                    </a:lnTo>
                    <a:lnTo>
                      <a:pt x="513" y="192"/>
                    </a:lnTo>
                    <a:lnTo>
                      <a:pt x="515" y="192"/>
                    </a:lnTo>
                    <a:lnTo>
                      <a:pt x="517" y="192"/>
                    </a:lnTo>
                    <a:lnTo>
                      <a:pt x="519" y="192"/>
                    </a:lnTo>
                    <a:lnTo>
                      <a:pt x="519" y="194"/>
                    </a:lnTo>
                    <a:lnTo>
                      <a:pt x="519" y="192"/>
                    </a:lnTo>
                    <a:lnTo>
                      <a:pt x="521" y="194"/>
                    </a:lnTo>
                    <a:lnTo>
                      <a:pt x="523" y="194"/>
                    </a:lnTo>
                    <a:lnTo>
                      <a:pt x="525" y="194"/>
                    </a:lnTo>
                    <a:lnTo>
                      <a:pt x="527" y="196"/>
                    </a:lnTo>
                    <a:lnTo>
                      <a:pt x="529" y="196"/>
                    </a:lnTo>
                    <a:lnTo>
                      <a:pt x="531" y="196"/>
                    </a:lnTo>
                    <a:lnTo>
                      <a:pt x="532" y="196"/>
                    </a:lnTo>
                    <a:lnTo>
                      <a:pt x="534" y="196"/>
                    </a:lnTo>
                    <a:lnTo>
                      <a:pt x="536" y="196"/>
                    </a:lnTo>
                    <a:lnTo>
                      <a:pt x="538" y="196"/>
                    </a:lnTo>
                    <a:lnTo>
                      <a:pt x="540" y="196"/>
                    </a:lnTo>
                    <a:lnTo>
                      <a:pt x="540" y="194"/>
                    </a:lnTo>
                    <a:lnTo>
                      <a:pt x="542" y="194"/>
                    </a:lnTo>
                    <a:lnTo>
                      <a:pt x="544" y="194"/>
                    </a:lnTo>
                    <a:lnTo>
                      <a:pt x="544" y="192"/>
                    </a:lnTo>
                    <a:lnTo>
                      <a:pt x="546" y="192"/>
                    </a:lnTo>
                    <a:lnTo>
                      <a:pt x="548" y="192"/>
                    </a:lnTo>
                    <a:lnTo>
                      <a:pt x="546" y="192"/>
                    </a:lnTo>
                    <a:lnTo>
                      <a:pt x="548" y="192"/>
                    </a:lnTo>
                    <a:lnTo>
                      <a:pt x="550" y="192"/>
                    </a:lnTo>
                    <a:lnTo>
                      <a:pt x="552" y="192"/>
                    </a:lnTo>
                    <a:lnTo>
                      <a:pt x="554" y="192"/>
                    </a:lnTo>
                    <a:lnTo>
                      <a:pt x="554" y="191"/>
                    </a:lnTo>
                    <a:lnTo>
                      <a:pt x="555" y="191"/>
                    </a:lnTo>
                    <a:lnTo>
                      <a:pt x="557" y="191"/>
                    </a:lnTo>
                    <a:lnTo>
                      <a:pt x="555" y="191"/>
                    </a:lnTo>
                    <a:lnTo>
                      <a:pt x="554" y="191"/>
                    </a:lnTo>
                    <a:lnTo>
                      <a:pt x="554" y="192"/>
                    </a:lnTo>
                    <a:lnTo>
                      <a:pt x="552" y="192"/>
                    </a:lnTo>
                    <a:lnTo>
                      <a:pt x="550" y="192"/>
                    </a:lnTo>
                    <a:lnTo>
                      <a:pt x="552" y="192"/>
                    </a:lnTo>
                    <a:lnTo>
                      <a:pt x="550" y="192"/>
                    </a:lnTo>
                    <a:lnTo>
                      <a:pt x="548" y="192"/>
                    </a:lnTo>
                    <a:lnTo>
                      <a:pt x="550" y="192"/>
                    </a:lnTo>
                    <a:lnTo>
                      <a:pt x="548" y="192"/>
                    </a:lnTo>
                    <a:lnTo>
                      <a:pt x="546" y="192"/>
                    </a:lnTo>
                    <a:lnTo>
                      <a:pt x="544" y="192"/>
                    </a:lnTo>
                    <a:lnTo>
                      <a:pt x="544" y="194"/>
                    </a:lnTo>
                    <a:lnTo>
                      <a:pt x="544" y="192"/>
                    </a:lnTo>
                    <a:lnTo>
                      <a:pt x="544" y="194"/>
                    </a:lnTo>
                    <a:lnTo>
                      <a:pt x="544" y="192"/>
                    </a:lnTo>
                    <a:lnTo>
                      <a:pt x="544" y="194"/>
                    </a:lnTo>
                    <a:lnTo>
                      <a:pt x="542" y="194"/>
                    </a:lnTo>
                    <a:lnTo>
                      <a:pt x="544" y="194"/>
                    </a:lnTo>
                    <a:lnTo>
                      <a:pt x="542" y="194"/>
                    </a:lnTo>
                    <a:lnTo>
                      <a:pt x="540" y="194"/>
                    </a:lnTo>
                    <a:lnTo>
                      <a:pt x="542" y="194"/>
                    </a:lnTo>
                    <a:lnTo>
                      <a:pt x="540" y="194"/>
                    </a:lnTo>
                    <a:lnTo>
                      <a:pt x="538" y="196"/>
                    </a:lnTo>
                    <a:lnTo>
                      <a:pt x="538" y="194"/>
                    </a:lnTo>
                    <a:lnTo>
                      <a:pt x="538" y="196"/>
                    </a:lnTo>
                    <a:lnTo>
                      <a:pt x="536" y="196"/>
                    </a:lnTo>
                    <a:lnTo>
                      <a:pt x="534" y="196"/>
                    </a:lnTo>
                    <a:lnTo>
                      <a:pt x="532" y="196"/>
                    </a:lnTo>
                    <a:lnTo>
                      <a:pt x="531" y="196"/>
                    </a:lnTo>
                    <a:lnTo>
                      <a:pt x="529" y="196"/>
                    </a:lnTo>
                    <a:lnTo>
                      <a:pt x="529" y="194"/>
                    </a:lnTo>
                    <a:lnTo>
                      <a:pt x="531" y="194"/>
                    </a:lnTo>
                    <a:lnTo>
                      <a:pt x="531" y="196"/>
                    </a:lnTo>
                    <a:lnTo>
                      <a:pt x="532" y="196"/>
                    </a:lnTo>
                    <a:lnTo>
                      <a:pt x="532" y="194"/>
                    </a:lnTo>
                    <a:lnTo>
                      <a:pt x="534" y="196"/>
                    </a:lnTo>
                    <a:lnTo>
                      <a:pt x="536" y="196"/>
                    </a:lnTo>
                    <a:lnTo>
                      <a:pt x="534" y="196"/>
                    </a:lnTo>
                    <a:lnTo>
                      <a:pt x="532" y="194"/>
                    </a:lnTo>
                    <a:lnTo>
                      <a:pt x="532" y="196"/>
                    </a:lnTo>
                    <a:lnTo>
                      <a:pt x="531" y="196"/>
                    </a:lnTo>
                    <a:lnTo>
                      <a:pt x="531" y="194"/>
                    </a:lnTo>
                    <a:lnTo>
                      <a:pt x="532" y="194"/>
                    </a:lnTo>
                    <a:lnTo>
                      <a:pt x="534" y="194"/>
                    </a:lnTo>
                    <a:lnTo>
                      <a:pt x="534" y="192"/>
                    </a:lnTo>
                    <a:lnTo>
                      <a:pt x="536" y="192"/>
                    </a:lnTo>
                    <a:lnTo>
                      <a:pt x="534" y="192"/>
                    </a:lnTo>
                    <a:lnTo>
                      <a:pt x="536" y="194"/>
                    </a:lnTo>
                    <a:lnTo>
                      <a:pt x="534" y="194"/>
                    </a:lnTo>
                    <a:lnTo>
                      <a:pt x="536" y="194"/>
                    </a:lnTo>
                    <a:lnTo>
                      <a:pt x="536" y="192"/>
                    </a:lnTo>
                    <a:lnTo>
                      <a:pt x="536" y="191"/>
                    </a:lnTo>
                    <a:lnTo>
                      <a:pt x="534" y="192"/>
                    </a:lnTo>
                    <a:lnTo>
                      <a:pt x="534" y="191"/>
                    </a:lnTo>
                    <a:lnTo>
                      <a:pt x="532" y="191"/>
                    </a:lnTo>
                    <a:lnTo>
                      <a:pt x="532" y="192"/>
                    </a:lnTo>
                    <a:lnTo>
                      <a:pt x="531" y="192"/>
                    </a:lnTo>
                    <a:lnTo>
                      <a:pt x="531" y="194"/>
                    </a:lnTo>
                    <a:lnTo>
                      <a:pt x="529" y="194"/>
                    </a:lnTo>
                    <a:lnTo>
                      <a:pt x="531" y="194"/>
                    </a:lnTo>
                    <a:lnTo>
                      <a:pt x="529" y="194"/>
                    </a:lnTo>
                    <a:lnTo>
                      <a:pt x="527" y="194"/>
                    </a:lnTo>
                    <a:lnTo>
                      <a:pt x="525" y="194"/>
                    </a:lnTo>
                    <a:lnTo>
                      <a:pt x="525" y="192"/>
                    </a:lnTo>
                    <a:lnTo>
                      <a:pt x="523" y="194"/>
                    </a:lnTo>
                    <a:lnTo>
                      <a:pt x="523" y="192"/>
                    </a:lnTo>
                    <a:lnTo>
                      <a:pt x="521" y="192"/>
                    </a:lnTo>
                    <a:lnTo>
                      <a:pt x="521" y="191"/>
                    </a:lnTo>
                    <a:lnTo>
                      <a:pt x="519" y="191"/>
                    </a:lnTo>
                    <a:lnTo>
                      <a:pt x="517" y="191"/>
                    </a:lnTo>
                    <a:lnTo>
                      <a:pt x="519" y="191"/>
                    </a:lnTo>
                    <a:lnTo>
                      <a:pt x="517" y="191"/>
                    </a:lnTo>
                    <a:lnTo>
                      <a:pt x="517" y="192"/>
                    </a:lnTo>
                    <a:lnTo>
                      <a:pt x="515" y="191"/>
                    </a:lnTo>
                    <a:lnTo>
                      <a:pt x="513" y="191"/>
                    </a:lnTo>
                    <a:lnTo>
                      <a:pt x="511" y="191"/>
                    </a:lnTo>
                    <a:lnTo>
                      <a:pt x="511" y="189"/>
                    </a:lnTo>
                    <a:lnTo>
                      <a:pt x="511" y="191"/>
                    </a:lnTo>
                    <a:lnTo>
                      <a:pt x="509" y="189"/>
                    </a:lnTo>
                    <a:lnTo>
                      <a:pt x="509" y="191"/>
                    </a:lnTo>
                    <a:lnTo>
                      <a:pt x="509" y="189"/>
                    </a:lnTo>
                    <a:lnTo>
                      <a:pt x="507" y="189"/>
                    </a:lnTo>
                    <a:lnTo>
                      <a:pt x="506" y="189"/>
                    </a:lnTo>
                    <a:lnTo>
                      <a:pt x="506" y="191"/>
                    </a:lnTo>
                    <a:lnTo>
                      <a:pt x="504" y="191"/>
                    </a:lnTo>
                    <a:lnTo>
                      <a:pt x="504" y="189"/>
                    </a:lnTo>
                    <a:lnTo>
                      <a:pt x="502" y="189"/>
                    </a:lnTo>
                    <a:lnTo>
                      <a:pt x="504" y="189"/>
                    </a:lnTo>
                    <a:lnTo>
                      <a:pt x="504" y="187"/>
                    </a:lnTo>
                    <a:lnTo>
                      <a:pt x="504" y="185"/>
                    </a:lnTo>
                    <a:lnTo>
                      <a:pt x="506" y="185"/>
                    </a:lnTo>
                    <a:lnTo>
                      <a:pt x="506" y="183"/>
                    </a:lnTo>
                    <a:lnTo>
                      <a:pt x="506" y="181"/>
                    </a:lnTo>
                    <a:lnTo>
                      <a:pt x="507" y="181"/>
                    </a:lnTo>
                    <a:lnTo>
                      <a:pt x="509" y="181"/>
                    </a:lnTo>
                    <a:lnTo>
                      <a:pt x="509" y="183"/>
                    </a:lnTo>
                    <a:lnTo>
                      <a:pt x="509" y="181"/>
                    </a:lnTo>
                    <a:lnTo>
                      <a:pt x="509" y="183"/>
                    </a:lnTo>
                    <a:lnTo>
                      <a:pt x="511" y="183"/>
                    </a:lnTo>
                    <a:lnTo>
                      <a:pt x="513" y="183"/>
                    </a:lnTo>
                    <a:lnTo>
                      <a:pt x="511" y="183"/>
                    </a:lnTo>
                    <a:lnTo>
                      <a:pt x="509" y="181"/>
                    </a:lnTo>
                    <a:lnTo>
                      <a:pt x="507" y="181"/>
                    </a:lnTo>
                    <a:lnTo>
                      <a:pt x="507" y="179"/>
                    </a:lnTo>
                    <a:lnTo>
                      <a:pt x="506" y="179"/>
                    </a:lnTo>
                    <a:lnTo>
                      <a:pt x="506" y="177"/>
                    </a:lnTo>
                    <a:lnTo>
                      <a:pt x="506" y="179"/>
                    </a:lnTo>
                    <a:lnTo>
                      <a:pt x="506" y="177"/>
                    </a:lnTo>
                    <a:lnTo>
                      <a:pt x="504" y="177"/>
                    </a:lnTo>
                    <a:lnTo>
                      <a:pt x="504" y="179"/>
                    </a:lnTo>
                    <a:lnTo>
                      <a:pt x="502" y="177"/>
                    </a:lnTo>
                    <a:lnTo>
                      <a:pt x="502" y="175"/>
                    </a:lnTo>
                    <a:lnTo>
                      <a:pt x="500" y="175"/>
                    </a:lnTo>
                    <a:lnTo>
                      <a:pt x="500" y="173"/>
                    </a:lnTo>
                    <a:lnTo>
                      <a:pt x="500" y="171"/>
                    </a:lnTo>
                    <a:lnTo>
                      <a:pt x="502" y="171"/>
                    </a:lnTo>
                    <a:lnTo>
                      <a:pt x="500" y="171"/>
                    </a:lnTo>
                    <a:lnTo>
                      <a:pt x="502" y="171"/>
                    </a:lnTo>
                    <a:lnTo>
                      <a:pt x="502" y="169"/>
                    </a:lnTo>
                    <a:lnTo>
                      <a:pt x="502" y="167"/>
                    </a:lnTo>
                    <a:lnTo>
                      <a:pt x="504" y="169"/>
                    </a:lnTo>
                    <a:lnTo>
                      <a:pt x="504" y="167"/>
                    </a:lnTo>
                    <a:lnTo>
                      <a:pt x="504" y="169"/>
                    </a:lnTo>
                    <a:lnTo>
                      <a:pt x="506" y="169"/>
                    </a:lnTo>
                    <a:lnTo>
                      <a:pt x="507" y="169"/>
                    </a:lnTo>
                    <a:lnTo>
                      <a:pt x="506" y="169"/>
                    </a:lnTo>
                    <a:lnTo>
                      <a:pt x="506" y="167"/>
                    </a:lnTo>
                    <a:lnTo>
                      <a:pt x="507" y="167"/>
                    </a:lnTo>
                    <a:lnTo>
                      <a:pt x="507" y="166"/>
                    </a:lnTo>
                    <a:lnTo>
                      <a:pt x="507" y="167"/>
                    </a:lnTo>
                    <a:lnTo>
                      <a:pt x="507" y="166"/>
                    </a:lnTo>
                    <a:lnTo>
                      <a:pt x="507" y="164"/>
                    </a:lnTo>
                    <a:lnTo>
                      <a:pt x="509" y="166"/>
                    </a:lnTo>
                    <a:lnTo>
                      <a:pt x="509" y="164"/>
                    </a:lnTo>
                    <a:lnTo>
                      <a:pt x="507" y="164"/>
                    </a:lnTo>
                    <a:lnTo>
                      <a:pt x="507" y="166"/>
                    </a:lnTo>
                    <a:lnTo>
                      <a:pt x="507" y="164"/>
                    </a:lnTo>
                    <a:lnTo>
                      <a:pt x="506" y="164"/>
                    </a:lnTo>
                    <a:lnTo>
                      <a:pt x="507" y="164"/>
                    </a:lnTo>
                    <a:lnTo>
                      <a:pt x="507" y="162"/>
                    </a:lnTo>
                    <a:lnTo>
                      <a:pt x="509" y="162"/>
                    </a:lnTo>
                    <a:lnTo>
                      <a:pt x="509" y="160"/>
                    </a:lnTo>
                    <a:lnTo>
                      <a:pt x="511" y="160"/>
                    </a:lnTo>
                    <a:lnTo>
                      <a:pt x="511" y="158"/>
                    </a:lnTo>
                    <a:lnTo>
                      <a:pt x="511" y="160"/>
                    </a:lnTo>
                    <a:lnTo>
                      <a:pt x="511" y="158"/>
                    </a:lnTo>
                    <a:lnTo>
                      <a:pt x="513" y="158"/>
                    </a:lnTo>
                    <a:lnTo>
                      <a:pt x="513" y="156"/>
                    </a:lnTo>
                    <a:lnTo>
                      <a:pt x="515" y="156"/>
                    </a:lnTo>
                    <a:lnTo>
                      <a:pt x="517" y="154"/>
                    </a:lnTo>
                    <a:lnTo>
                      <a:pt x="519" y="154"/>
                    </a:lnTo>
                    <a:lnTo>
                      <a:pt x="519" y="152"/>
                    </a:lnTo>
                    <a:lnTo>
                      <a:pt x="521" y="152"/>
                    </a:lnTo>
                    <a:lnTo>
                      <a:pt x="521" y="150"/>
                    </a:lnTo>
                    <a:lnTo>
                      <a:pt x="523" y="150"/>
                    </a:lnTo>
                    <a:lnTo>
                      <a:pt x="525" y="150"/>
                    </a:lnTo>
                    <a:lnTo>
                      <a:pt x="527" y="150"/>
                    </a:lnTo>
                    <a:lnTo>
                      <a:pt x="525" y="150"/>
                    </a:lnTo>
                    <a:lnTo>
                      <a:pt x="525" y="148"/>
                    </a:lnTo>
                    <a:lnTo>
                      <a:pt x="525" y="150"/>
                    </a:lnTo>
                    <a:lnTo>
                      <a:pt x="525" y="148"/>
                    </a:lnTo>
                    <a:lnTo>
                      <a:pt x="527" y="148"/>
                    </a:lnTo>
                    <a:lnTo>
                      <a:pt x="527" y="150"/>
                    </a:lnTo>
                    <a:lnTo>
                      <a:pt x="527" y="148"/>
                    </a:lnTo>
                    <a:lnTo>
                      <a:pt x="529" y="148"/>
                    </a:lnTo>
                    <a:lnTo>
                      <a:pt x="527" y="148"/>
                    </a:lnTo>
                    <a:lnTo>
                      <a:pt x="529" y="148"/>
                    </a:lnTo>
                    <a:lnTo>
                      <a:pt x="527" y="148"/>
                    </a:lnTo>
                    <a:lnTo>
                      <a:pt x="529" y="148"/>
                    </a:lnTo>
                    <a:lnTo>
                      <a:pt x="529" y="146"/>
                    </a:lnTo>
                    <a:lnTo>
                      <a:pt x="527" y="146"/>
                    </a:lnTo>
                    <a:lnTo>
                      <a:pt x="529" y="146"/>
                    </a:lnTo>
                    <a:lnTo>
                      <a:pt x="529" y="144"/>
                    </a:lnTo>
                    <a:lnTo>
                      <a:pt x="531" y="144"/>
                    </a:lnTo>
                    <a:lnTo>
                      <a:pt x="529" y="144"/>
                    </a:lnTo>
                    <a:lnTo>
                      <a:pt x="531" y="144"/>
                    </a:lnTo>
                    <a:lnTo>
                      <a:pt x="532" y="144"/>
                    </a:lnTo>
                    <a:lnTo>
                      <a:pt x="531" y="144"/>
                    </a:lnTo>
                    <a:lnTo>
                      <a:pt x="532" y="144"/>
                    </a:lnTo>
                    <a:lnTo>
                      <a:pt x="532" y="142"/>
                    </a:lnTo>
                    <a:lnTo>
                      <a:pt x="531" y="142"/>
                    </a:lnTo>
                    <a:lnTo>
                      <a:pt x="531" y="144"/>
                    </a:lnTo>
                    <a:lnTo>
                      <a:pt x="531" y="142"/>
                    </a:lnTo>
                    <a:lnTo>
                      <a:pt x="531" y="144"/>
                    </a:lnTo>
                    <a:lnTo>
                      <a:pt x="531" y="142"/>
                    </a:lnTo>
                    <a:lnTo>
                      <a:pt x="532" y="142"/>
                    </a:lnTo>
                    <a:lnTo>
                      <a:pt x="534" y="142"/>
                    </a:lnTo>
                    <a:lnTo>
                      <a:pt x="532" y="142"/>
                    </a:lnTo>
                    <a:lnTo>
                      <a:pt x="534" y="142"/>
                    </a:lnTo>
                    <a:lnTo>
                      <a:pt x="534" y="141"/>
                    </a:lnTo>
                    <a:lnTo>
                      <a:pt x="534" y="142"/>
                    </a:lnTo>
                    <a:lnTo>
                      <a:pt x="534" y="141"/>
                    </a:lnTo>
                    <a:lnTo>
                      <a:pt x="536" y="142"/>
                    </a:lnTo>
                    <a:lnTo>
                      <a:pt x="536" y="141"/>
                    </a:lnTo>
                    <a:lnTo>
                      <a:pt x="536" y="142"/>
                    </a:lnTo>
                    <a:lnTo>
                      <a:pt x="536" y="141"/>
                    </a:lnTo>
                    <a:lnTo>
                      <a:pt x="534" y="141"/>
                    </a:lnTo>
                    <a:lnTo>
                      <a:pt x="536" y="141"/>
                    </a:lnTo>
                    <a:lnTo>
                      <a:pt x="538" y="141"/>
                    </a:lnTo>
                    <a:lnTo>
                      <a:pt x="540" y="141"/>
                    </a:lnTo>
                    <a:lnTo>
                      <a:pt x="540" y="139"/>
                    </a:lnTo>
                    <a:lnTo>
                      <a:pt x="538" y="139"/>
                    </a:lnTo>
                    <a:lnTo>
                      <a:pt x="540" y="139"/>
                    </a:lnTo>
                    <a:lnTo>
                      <a:pt x="538" y="139"/>
                    </a:lnTo>
                    <a:lnTo>
                      <a:pt x="540" y="139"/>
                    </a:lnTo>
                    <a:lnTo>
                      <a:pt x="538" y="139"/>
                    </a:lnTo>
                    <a:lnTo>
                      <a:pt x="540" y="139"/>
                    </a:lnTo>
                    <a:lnTo>
                      <a:pt x="538" y="139"/>
                    </a:lnTo>
                    <a:lnTo>
                      <a:pt x="540" y="139"/>
                    </a:lnTo>
                    <a:lnTo>
                      <a:pt x="542" y="137"/>
                    </a:lnTo>
                    <a:lnTo>
                      <a:pt x="544" y="137"/>
                    </a:lnTo>
                    <a:lnTo>
                      <a:pt x="544" y="135"/>
                    </a:lnTo>
                    <a:lnTo>
                      <a:pt x="546" y="135"/>
                    </a:lnTo>
                    <a:lnTo>
                      <a:pt x="546" y="137"/>
                    </a:lnTo>
                    <a:lnTo>
                      <a:pt x="548" y="137"/>
                    </a:lnTo>
                    <a:lnTo>
                      <a:pt x="546" y="137"/>
                    </a:lnTo>
                    <a:lnTo>
                      <a:pt x="548" y="137"/>
                    </a:lnTo>
                    <a:lnTo>
                      <a:pt x="550" y="137"/>
                    </a:lnTo>
                    <a:lnTo>
                      <a:pt x="550" y="135"/>
                    </a:lnTo>
                    <a:lnTo>
                      <a:pt x="552" y="135"/>
                    </a:lnTo>
                    <a:lnTo>
                      <a:pt x="554" y="135"/>
                    </a:lnTo>
                    <a:lnTo>
                      <a:pt x="555" y="135"/>
                    </a:lnTo>
                    <a:lnTo>
                      <a:pt x="554" y="135"/>
                    </a:lnTo>
                    <a:lnTo>
                      <a:pt x="554" y="133"/>
                    </a:lnTo>
                    <a:lnTo>
                      <a:pt x="555" y="133"/>
                    </a:lnTo>
                    <a:lnTo>
                      <a:pt x="557" y="133"/>
                    </a:lnTo>
                    <a:lnTo>
                      <a:pt x="557" y="131"/>
                    </a:lnTo>
                    <a:lnTo>
                      <a:pt x="559" y="131"/>
                    </a:lnTo>
                    <a:lnTo>
                      <a:pt x="561" y="131"/>
                    </a:lnTo>
                    <a:lnTo>
                      <a:pt x="563" y="129"/>
                    </a:lnTo>
                    <a:lnTo>
                      <a:pt x="563" y="131"/>
                    </a:lnTo>
                    <a:lnTo>
                      <a:pt x="565" y="131"/>
                    </a:lnTo>
                    <a:lnTo>
                      <a:pt x="563" y="131"/>
                    </a:lnTo>
                    <a:lnTo>
                      <a:pt x="565" y="131"/>
                    </a:lnTo>
                    <a:lnTo>
                      <a:pt x="565" y="133"/>
                    </a:lnTo>
                    <a:lnTo>
                      <a:pt x="567" y="133"/>
                    </a:lnTo>
                    <a:lnTo>
                      <a:pt x="569" y="133"/>
                    </a:lnTo>
                    <a:lnTo>
                      <a:pt x="569" y="131"/>
                    </a:lnTo>
                    <a:lnTo>
                      <a:pt x="571" y="131"/>
                    </a:lnTo>
                    <a:lnTo>
                      <a:pt x="573" y="131"/>
                    </a:lnTo>
                    <a:lnTo>
                      <a:pt x="575" y="131"/>
                    </a:lnTo>
                    <a:lnTo>
                      <a:pt x="575" y="133"/>
                    </a:lnTo>
                    <a:lnTo>
                      <a:pt x="573" y="133"/>
                    </a:lnTo>
                    <a:lnTo>
                      <a:pt x="575" y="133"/>
                    </a:lnTo>
                    <a:lnTo>
                      <a:pt x="575" y="135"/>
                    </a:lnTo>
                    <a:lnTo>
                      <a:pt x="575" y="133"/>
                    </a:lnTo>
                    <a:close/>
                    <a:moveTo>
                      <a:pt x="227" y="312"/>
                    </a:moveTo>
                    <a:lnTo>
                      <a:pt x="229" y="312"/>
                    </a:lnTo>
                    <a:lnTo>
                      <a:pt x="227" y="312"/>
                    </a:lnTo>
                    <a:close/>
                    <a:moveTo>
                      <a:pt x="225" y="312"/>
                    </a:moveTo>
                    <a:lnTo>
                      <a:pt x="227" y="312"/>
                    </a:lnTo>
                    <a:lnTo>
                      <a:pt x="225" y="312"/>
                    </a:lnTo>
                    <a:close/>
                    <a:moveTo>
                      <a:pt x="142" y="321"/>
                    </a:moveTo>
                    <a:lnTo>
                      <a:pt x="142" y="323"/>
                    </a:lnTo>
                    <a:lnTo>
                      <a:pt x="141" y="321"/>
                    </a:lnTo>
                    <a:lnTo>
                      <a:pt x="142" y="321"/>
                    </a:lnTo>
                    <a:lnTo>
                      <a:pt x="141" y="321"/>
                    </a:lnTo>
                    <a:lnTo>
                      <a:pt x="141" y="323"/>
                    </a:lnTo>
                    <a:lnTo>
                      <a:pt x="142" y="321"/>
                    </a:lnTo>
                    <a:lnTo>
                      <a:pt x="142" y="323"/>
                    </a:lnTo>
                    <a:lnTo>
                      <a:pt x="142" y="321"/>
                    </a:lnTo>
                    <a:close/>
                    <a:moveTo>
                      <a:pt x="91" y="633"/>
                    </a:moveTo>
                    <a:lnTo>
                      <a:pt x="92" y="633"/>
                    </a:lnTo>
                    <a:lnTo>
                      <a:pt x="91" y="633"/>
                    </a:lnTo>
                    <a:close/>
                    <a:moveTo>
                      <a:pt x="675" y="367"/>
                    </a:moveTo>
                    <a:lnTo>
                      <a:pt x="677" y="367"/>
                    </a:lnTo>
                    <a:lnTo>
                      <a:pt x="675" y="367"/>
                    </a:lnTo>
                    <a:lnTo>
                      <a:pt x="677" y="367"/>
                    </a:lnTo>
                    <a:lnTo>
                      <a:pt x="678" y="367"/>
                    </a:lnTo>
                    <a:lnTo>
                      <a:pt x="680" y="365"/>
                    </a:lnTo>
                    <a:lnTo>
                      <a:pt x="682" y="365"/>
                    </a:lnTo>
                    <a:lnTo>
                      <a:pt x="684" y="365"/>
                    </a:lnTo>
                    <a:lnTo>
                      <a:pt x="684" y="367"/>
                    </a:lnTo>
                    <a:lnTo>
                      <a:pt x="684" y="369"/>
                    </a:lnTo>
                    <a:lnTo>
                      <a:pt x="686" y="369"/>
                    </a:lnTo>
                    <a:lnTo>
                      <a:pt x="688" y="369"/>
                    </a:lnTo>
                    <a:lnTo>
                      <a:pt x="688" y="371"/>
                    </a:lnTo>
                    <a:lnTo>
                      <a:pt x="688" y="373"/>
                    </a:lnTo>
                    <a:lnTo>
                      <a:pt x="686" y="373"/>
                    </a:lnTo>
                    <a:lnTo>
                      <a:pt x="688" y="373"/>
                    </a:lnTo>
                    <a:lnTo>
                      <a:pt x="688" y="371"/>
                    </a:lnTo>
                    <a:lnTo>
                      <a:pt x="690" y="373"/>
                    </a:lnTo>
                    <a:lnTo>
                      <a:pt x="688" y="373"/>
                    </a:lnTo>
                    <a:lnTo>
                      <a:pt x="690" y="373"/>
                    </a:lnTo>
                    <a:lnTo>
                      <a:pt x="692" y="373"/>
                    </a:lnTo>
                    <a:lnTo>
                      <a:pt x="692" y="371"/>
                    </a:lnTo>
                    <a:lnTo>
                      <a:pt x="692" y="369"/>
                    </a:lnTo>
                    <a:lnTo>
                      <a:pt x="694" y="369"/>
                    </a:lnTo>
                    <a:lnTo>
                      <a:pt x="696" y="369"/>
                    </a:lnTo>
                    <a:lnTo>
                      <a:pt x="696" y="371"/>
                    </a:lnTo>
                    <a:lnTo>
                      <a:pt x="698" y="371"/>
                    </a:lnTo>
                    <a:lnTo>
                      <a:pt x="700" y="371"/>
                    </a:lnTo>
                    <a:lnTo>
                      <a:pt x="698" y="371"/>
                    </a:lnTo>
                    <a:lnTo>
                      <a:pt x="700" y="371"/>
                    </a:lnTo>
                    <a:lnTo>
                      <a:pt x="700" y="369"/>
                    </a:lnTo>
                    <a:lnTo>
                      <a:pt x="701" y="369"/>
                    </a:lnTo>
                    <a:lnTo>
                      <a:pt x="703" y="369"/>
                    </a:lnTo>
                    <a:lnTo>
                      <a:pt x="705" y="369"/>
                    </a:lnTo>
                    <a:lnTo>
                      <a:pt x="707" y="369"/>
                    </a:lnTo>
                    <a:lnTo>
                      <a:pt x="709" y="369"/>
                    </a:lnTo>
                    <a:lnTo>
                      <a:pt x="709" y="371"/>
                    </a:lnTo>
                    <a:lnTo>
                      <a:pt x="707" y="371"/>
                    </a:lnTo>
                    <a:lnTo>
                      <a:pt x="707" y="373"/>
                    </a:lnTo>
                    <a:lnTo>
                      <a:pt x="709" y="373"/>
                    </a:lnTo>
                    <a:lnTo>
                      <a:pt x="711" y="375"/>
                    </a:lnTo>
                    <a:lnTo>
                      <a:pt x="713" y="375"/>
                    </a:lnTo>
                    <a:lnTo>
                      <a:pt x="715" y="375"/>
                    </a:lnTo>
                    <a:lnTo>
                      <a:pt x="717" y="375"/>
                    </a:lnTo>
                    <a:lnTo>
                      <a:pt x="717" y="377"/>
                    </a:lnTo>
                    <a:lnTo>
                      <a:pt x="717" y="379"/>
                    </a:lnTo>
                    <a:lnTo>
                      <a:pt x="719" y="379"/>
                    </a:lnTo>
                    <a:lnTo>
                      <a:pt x="721" y="379"/>
                    </a:lnTo>
                    <a:lnTo>
                      <a:pt x="723" y="379"/>
                    </a:lnTo>
                    <a:lnTo>
                      <a:pt x="723" y="381"/>
                    </a:lnTo>
                    <a:lnTo>
                      <a:pt x="725" y="381"/>
                    </a:lnTo>
                    <a:lnTo>
                      <a:pt x="726" y="381"/>
                    </a:lnTo>
                    <a:lnTo>
                      <a:pt x="728" y="381"/>
                    </a:lnTo>
                    <a:lnTo>
                      <a:pt x="730" y="381"/>
                    </a:lnTo>
                    <a:lnTo>
                      <a:pt x="730" y="383"/>
                    </a:lnTo>
                    <a:lnTo>
                      <a:pt x="730" y="381"/>
                    </a:lnTo>
                    <a:lnTo>
                      <a:pt x="728" y="381"/>
                    </a:lnTo>
                    <a:lnTo>
                      <a:pt x="726" y="381"/>
                    </a:lnTo>
                    <a:lnTo>
                      <a:pt x="725" y="381"/>
                    </a:lnTo>
                    <a:lnTo>
                      <a:pt x="726" y="381"/>
                    </a:lnTo>
                    <a:lnTo>
                      <a:pt x="725" y="381"/>
                    </a:lnTo>
                    <a:lnTo>
                      <a:pt x="723" y="381"/>
                    </a:lnTo>
                    <a:lnTo>
                      <a:pt x="723" y="379"/>
                    </a:lnTo>
                    <a:lnTo>
                      <a:pt x="725" y="381"/>
                    </a:lnTo>
                    <a:lnTo>
                      <a:pt x="723" y="379"/>
                    </a:lnTo>
                    <a:lnTo>
                      <a:pt x="721" y="379"/>
                    </a:lnTo>
                    <a:lnTo>
                      <a:pt x="723" y="379"/>
                    </a:lnTo>
                    <a:lnTo>
                      <a:pt x="721" y="379"/>
                    </a:lnTo>
                    <a:lnTo>
                      <a:pt x="719" y="379"/>
                    </a:lnTo>
                    <a:lnTo>
                      <a:pt x="717" y="379"/>
                    </a:lnTo>
                    <a:lnTo>
                      <a:pt x="717" y="377"/>
                    </a:lnTo>
                    <a:lnTo>
                      <a:pt x="717" y="375"/>
                    </a:lnTo>
                    <a:lnTo>
                      <a:pt x="717" y="377"/>
                    </a:lnTo>
                    <a:lnTo>
                      <a:pt x="717" y="375"/>
                    </a:lnTo>
                    <a:lnTo>
                      <a:pt x="715" y="375"/>
                    </a:lnTo>
                    <a:lnTo>
                      <a:pt x="713" y="375"/>
                    </a:lnTo>
                    <a:lnTo>
                      <a:pt x="711" y="375"/>
                    </a:lnTo>
                    <a:lnTo>
                      <a:pt x="711" y="373"/>
                    </a:lnTo>
                    <a:lnTo>
                      <a:pt x="709" y="373"/>
                    </a:lnTo>
                    <a:lnTo>
                      <a:pt x="707" y="371"/>
                    </a:lnTo>
                    <a:lnTo>
                      <a:pt x="709" y="371"/>
                    </a:lnTo>
                    <a:lnTo>
                      <a:pt x="707" y="371"/>
                    </a:lnTo>
                    <a:lnTo>
                      <a:pt x="709" y="371"/>
                    </a:lnTo>
                    <a:lnTo>
                      <a:pt x="707" y="371"/>
                    </a:lnTo>
                    <a:lnTo>
                      <a:pt x="709" y="371"/>
                    </a:lnTo>
                    <a:lnTo>
                      <a:pt x="711" y="369"/>
                    </a:lnTo>
                    <a:lnTo>
                      <a:pt x="709" y="369"/>
                    </a:lnTo>
                    <a:lnTo>
                      <a:pt x="707" y="369"/>
                    </a:lnTo>
                    <a:lnTo>
                      <a:pt x="705" y="369"/>
                    </a:lnTo>
                    <a:lnTo>
                      <a:pt x="707" y="369"/>
                    </a:lnTo>
                    <a:lnTo>
                      <a:pt x="705" y="369"/>
                    </a:lnTo>
                    <a:lnTo>
                      <a:pt x="703" y="369"/>
                    </a:lnTo>
                    <a:lnTo>
                      <a:pt x="701" y="369"/>
                    </a:lnTo>
                    <a:lnTo>
                      <a:pt x="700" y="369"/>
                    </a:lnTo>
                    <a:lnTo>
                      <a:pt x="700" y="371"/>
                    </a:lnTo>
                    <a:lnTo>
                      <a:pt x="700" y="369"/>
                    </a:lnTo>
                    <a:lnTo>
                      <a:pt x="700" y="371"/>
                    </a:lnTo>
                    <a:lnTo>
                      <a:pt x="698" y="371"/>
                    </a:lnTo>
                    <a:lnTo>
                      <a:pt x="698" y="369"/>
                    </a:lnTo>
                    <a:lnTo>
                      <a:pt x="698" y="371"/>
                    </a:lnTo>
                    <a:lnTo>
                      <a:pt x="696" y="371"/>
                    </a:lnTo>
                    <a:lnTo>
                      <a:pt x="696" y="369"/>
                    </a:lnTo>
                    <a:lnTo>
                      <a:pt x="694" y="369"/>
                    </a:lnTo>
                    <a:lnTo>
                      <a:pt x="692" y="369"/>
                    </a:lnTo>
                    <a:lnTo>
                      <a:pt x="692" y="371"/>
                    </a:lnTo>
                    <a:lnTo>
                      <a:pt x="692" y="373"/>
                    </a:lnTo>
                    <a:lnTo>
                      <a:pt x="690" y="373"/>
                    </a:lnTo>
                    <a:lnTo>
                      <a:pt x="690" y="371"/>
                    </a:lnTo>
                    <a:lnTo>
                      <a:pt x="688" y="371"/>
                    </a:lnTo>
                    <a:lnTo>
                      <a:pt x="688" y="369"/>
                    </a:lnTo>
                    <a:lnTo>
                      <a:pt x="686" y="369"/>
                    </a:lnTo>
                    <a:lnTo>
                      <a:pt x="684" y="369"/>
                    </a:lnTo>
                    <a:lnTo>
                      <a:pt x="684" y="367"/>
                    </a:lnTo>
                    <a:lnTo>
                      <a:pt x="686" y="367"/>
                    </a:lnTo>
                    <a:lnTo>
                      <a:pt x="684" y="367"/>
                    </a:lnTo>
                    <a:lnTo>
                      <a:pt x="684" y="365"/>
                    </a:lnTo>
                    <a:lnTo>
                      <a:pt x="682" y="365"/>
                    </a:lnTo>
                    <a:lnTo>
                      <a:pt x="680" y="365"/>
                    </a:lnTo>
                    <a:lnTo>
                      <a:pt x="678" y="367"/>
                    </a:lnTo>
                    <a:lnTo>
                      <a:pt x="677" y="367"/>
                    </a:lnTo>
                    <a:lnTo>
                      <a:pt x="675" y="367"/>
                    </a:lnTo>
                    <a:lnTo>
                      <a:pt x="677" y="367"/>
                    </a:lnTo>
                    <a:lnTo>
                      <a:pt x="675" y="367"/>
                    </a:lnTo>
                    <a:lnTo>
                      <a:pt x="675" y="365"/>
                    </a:lnTo>
                    <a:lnTo>
                      <a:pt x="675" y="367"/>
                    </a:lnTo>
                    <a:lnTo>
                      <a:pt x="675" y="365"/>
                    </a:lnTo>
                    <a:lnTo>
                      <a:pt x="675" y="367"/>
                    </a:lnTo>
                    <a:close/>
                    <a:moveTo>
                      <a:pt x="590" y="394"/>
                    </a:moveTo>
                    <a:lnTo>
                      <a:pt x="590" y="396"/>
                    </a:lnTo>
                    <a:lnTo>
                      <a:pt x="590" y="394"/>
                    </a:lnTo>
                    <a:close/>
                    <a:moveTo>
                      <a:pt x="459" y="477"/>
                    </a:moveTo>
                    <a:lnTo>
                      <a:pt x="459" y="475"/>
                    </a:lnTo>
                    <a:lnTo>
                      <a:pt x="461" y="475"/>
                    </a:lnTo>
                    <a:lnTo>
                      <a:pt x="459" y="475"/>
                    </a:lnTo>
                    <a:lnTo>
                      <a:pt x="459" y="473"/>
                    </a:lnTo>
                    <a:lnTo>
                      <a:pt x="459" y="475"/>
                    </a:lnTo>
                    <a:lnTo>
                      <a:pt x="459" y="473"/>
                    </a:lnTo>
                    <a:lnTo>
                      <a:pt x="458" y="473"/>
                    </a:lnTo>
                    <a:lnTo>
                      <a:pt x="459" y="473"/>
                    </a:lnTo>
                    <a:lnTo>
                      <a:pt x="459" y="475"/>
                    </a:lnTo>
                    <a:lnTo>
                      <a:pt x="459" y="473"/>
                    </a:lnTo>
                    <a:lnTo>
                      <a:pt x="459" y="475"/>
                    </a:lnTo>
                    <a:lnTo>
                      <a:pt x="461" y="475"/>
                    </a:lnTo>
                    <a:lnTo>
                      <a:pt x="459" y="475"/>
                    </a:lnTo>
                    <a:lnTo>
                      <a:pt x="459" y="477"/>
                    </a:lnTo>
                    <a:close/>
                    <a:moveTo>
                      <a:pt x="454" y="475"/>
                    </a:moveTo>
                    <a:lnTo>
                      <a:pt x="456" y="475"/>
                    </a:lnTo>
                    <a:lnTo>
                      <a:pt x="454" y="475"/>
                    </a:lnTo>
                    <a:close/>
                    <a:moveTo>
                      <a:pt x="429" y="39"/>
                    </a:moveTo>
                    <a:lnTo>
                      <a:pt x="431" y="39"/>
                    </a:lnTo>
                    <a:lnTo>
                      <a:pt x="431" y="41"/>
                    </a:lnTo>
                    <a:lnTo>
                      <a:pt x="433" y="41"/>
                    </a:lnTo>
                    <a:lnTo>
                      <a:pt x="434" y="41"/>
                    </a:lnTo>
                    <a:lnTo>
                      <a:pt x="436" y="41"/>
                    </a:lnTo>
                    <a:lnTo>
                      <a:pt x="436" y="42"/>
                    </a:lnTo>
                    <a:lnTo>
                      <a:pt x="438" y="42"/>
                    </a:lnTo>
                    <a:lnTo>
                      <a:pt x="438" y="44"/>
                    </a:lnTo>
                    <a:lnTo>
                      <a:pt x="436" y="44"/>
                    </a:lnTo>
                    <a:lnTo>
                      <a:pt x="436" y="46"/>
                    </a:lnTo>
                    <a:lnTo>
                      <a:pt x="434" y="46"/>
                    </a:lnTo>
                    <a:lnTo>
                      <a:pt x="436" y="46"/>
                    </a:lnTo>
                    <a:lnTo>
                      <a:pt x="436" y="48"/>
                    </a:lnTo>
                    <a:lnTo>
                      <a:pt x="436" y="46"/>
                    </a:lnTo>
                    <a:lnTo>
                      <a:pt x="436" y="48"/>
                    </a:lnTo>
                    <a:lnTo>
                      <a:pt x="436" y="50"/>
                    </a:lnTo>
                    <a:lnTo>
                      <a:pt x="438" y="48"/>
                    </a:lnTo>
                    <a:lnTo>
                      <a:pt x="438" y="50"/>
                    </a:lnTo>
                    <a:lnTo>
                      <a:pt x="438" y="48"/>
                    </a:lnTo>
                    <a:lnTo>
                      <a:pt x="440" y="48"/>
                    </a:lnTo>
                    <a:lnTo>
                      <a:pt x="440" y="50"/>
                    </a:lnTo>
                    <a:lnTo>
                      <a:pt x="438" y="50"/>
                    </a:lnTo>
                    <a:lnTo>
                      <a:pt x="440" y="50"/>
                    </a:lnTo>
                    <a:lnTo>
                      <a:pt x="440" y="48"/>
                    </a:lnTo>
                    <a:lnTo>
                      <a:pt x="440" y="50"/>
                    </a:lnTo>
                    <a:lnTo>
                      <a:pt x="442" y="50"/>
                    </a:lnTo>
                    <a:lnTo>
                      <a:pt x="444" y="50"/>
                    </a:lnTo>
                    <a:lnTo>
                      <a:pt x="446" y="50"/>
                    </a:lnTo>
                    <a:lnTo>
                      <a:pt x="446" y="48"/>
                    </a:lnTo>
                    <a:lnTo>
                      <a:pt x="448" y="48"/>
                    </a:lnTo>
                    <a:lnTo>
                      <a:pt x="448" y="46"/>
                    </a:lnTo>
                    <a:lnTo>
                      <a:pt x="446" y="46"/>
                    </a:lnTo>
                    <a:lnTo>
                      <a:pt x="448" y="46"/>
                    </a:lnTo>
                    <a:lnTo>
                      <a:pt x="446" y="44"/>
                    </a:lnTo>
                    <a:lnTo>
                      <a:pt x="448" y="44"/>
                    </a:lnTo>
                    <a:lnTo>
                      <a:pt x="446" y="44"/>
                    </a:lnTo>
                    <a:lnTo>
                      <a:pt x="448" y="44"/>
                    </a:lnTo>
                    <a:lnTo>
                      <a:pt x="448" y="42"/>
                    </a:lnTo>
                    <a:lnTo>
                      <a:pt x="450" y="42"/>
                    </a:lnTo>
                    <a:lnTo>
                      <a:pt x="452" y="42"/>
                    </a:lnTo>
                    <a:lnTo>
                      <a:pt x="452" y="44"/>
                    </a:lnTo>
                    <a:lnTo>
                      <a:pt x="454" y="44"/>
                    </a:lnTo>
                    <a:lnTo>
                      <a:pt x="456" y="44"/>
                    </a:lnTo>
                    <a:lnTo>
                      <a:pt x="454" y="42"/>
                    </a:lnTo>
                    <a:lnTo>
                      <a:pt x="456" y="42"/>
                    </a:lnTo>
                    <a:lnTo>
                      <a:pt x="456" y="44"/>
                    </a:lnTo>
                    <a:lnTo>
                      <a:pt x="458" y="42"/>
                    </a:lnTo>
                    <a:lnTo>
                      <a:pt x="456" y="42"/>
                    </a:lnTo>
                    <a:lnTo>
                      <a:pt x="458" y="42"/>
                    </a:lnTo>
                    <a:lnTo>
                      <a:pt x="459" y="42"/>
                    </a:lnTo>
                    <a:lnTo>
                      <a:pt x="461" y="42"/>
                    </a:lnTo>
                    <a:lnTo>
                      <a:pt x="461" y="44"/>
                    </a:lnTo>
                    <a:lnTo>
                      <a:pt x="459" y="44"/>
                    </a:lnTo>
                    <a:lnTo>
                      <a:pt x="458" y="44"/>
                    </a:lnTo>
                    <a:lnTo>
                      <a:pt x="459" y="44"/>
                    </a:lnTo>
                    <a:lnTo>
                      <a:pt x="461" y="44"/>
                    </a:lnTo>
                    <a:lnTo>
                      <a:pt x="463" y="44"/>
                    </a:lnTo>
                    <a:lnTo>
                      <a:pt x="463" y="42"/>
                    </a:lnTo>
                    <a:lnTo>
                      <a:pt x="463" y="44"/>
                    </a:lnTo>
                    <a:lnTo>
                      <a:pt x="465" y="44"/>
                    </a:lnTo>
                    <a:lnTo>
                      <a:pt x="463" y="44"/>
                    </a:lnTo>
                    <a:lnTo>
                      <a:pt x="461" y="44"/>
                    </a:lnTo>
                    <a:lnTo>
                      <a:pt x="463" y="44"/>
                    </a:lnTo>
                    <a:lnTo>
                      <a:pt x="465" y="44"/>
                    </a:lnTo>
                    <a:lnTo>
                      <a:pt x="467" y="44"/>
                    </a:lnTo>
                    <a:lnTo>
                      <a:pt x="465" y="44"/>
                    </a:lnTo>
                    <a:lnTo>
                      <a:pt x="467" y="44"/>
                    </a:lnTo>
                    <a:lnTo>
                      <a:pt x="467" y="46"/>
                    </a:lnTo>
                    <a:lnTo>
                      <a:pt x="465" y="46"/>
                    </a:lnTo>
                    <a:lnTo>
                      <a:pt x="467" y="46"/>
                    </a:lnTo>
                    <a:lnTo>
                      <a:pt x="469" y="46"/>
                    </a:lnTo>
                    <a:lnTo>
                      <a:pt x="471" y="46"/>
                    </a:lnTo>
                    <a:lnTo>
                      <a:pt x="471" y="48"/>
                    </a:lnTo>
                    <a:lnTo>
                      <a:pt x="473" y="48"/>
                    </a:lnTo>
                    <a:lnTo>
                      <a:pt x="473" y="50"/>
                    </a:lnTo>
                    <a:lnTo>
                      <a:pt x="475" y="50"/>
                    </a:lnTo>
                    <a:lnTo>
                      <a:pt x="477" y="50"/>
                    </a:lnTo>
                    <a:lnTo>
                      <a:pt x="475" y="52"/>
                    </a:lnTo>
                    <a:lnTo>
                      <a:pt x="477" y="52"/>
                    </a:lnTo>
                    <a:lnTo>
                      <a:pt x="475" y="54"/>
                    </a:lnTo>
                    <a:lnTo>
                      <a:pt x="473" y="54"/>
                    </a:lnTo>
                    <a:lnTo>
                      <a:pt x="475" y="54"/>
                    </a:lnTo>
                    <a:lnTo>
                      <a:pt x="473" y="56"/>
                    </a:lnTo>
                    <a:lnTo>
                      <a:pt x="475" y="56"/>
                    </a:lnTo>
                    <a:lnTo>
                      <a:pt x="473" y="58"/>
                    </a:lnTo>
                    <a:lnTo>
                      <a:pt x="471" y="60"/>
                    </a:lnTo>
                    <a:lnTo>
                      <a:pt x="471" y="62"/>
                    </a:lnTo>
                    <a:lnTo>
                      <a:pt x="473" y="62"/>
                    </a:lnTo>
                    <a:lnTo>
                      <a:pt x="473" y="64"/>
                    </a:lnTo>
                    <a:lnTo>
                      <a:pt x="471" y="64"/>
                    </a:lnTo>
                    <a:lnTo>
                      <a:pt x="473" y="66"/>
                    </a:lnTo>
                    <a:lnTo>
                      <a:pt x="471" y="66"/>
                    </a:lnTo>
                    <a:lnTo>
                      <a:pt x="473" y="66"/>
                    </a:lnTo>
                    <a:lnTo>
                      <a:pt x="473" y="67"/>
                    </a:lnTo>
                    <a:lnTo>
                      <a:pt x="471" y="67"/>
                    </a:lnTo>
                    <a:lnTo>
                      <a:pt x="473" y="67"/>
                    </a:lnTo>
                    <a:lnTo>
                      <a:pt x="473" y="69"/>
                    </a:lnTo>
                    <a:lnTo>
                      <a:pt x="471" y="69"/>
                    </a:lnTo>
                    <a:lnTo>
                      <a:pt x="473" y="69"/>
                    </a:lnTo>
                    <a:lnTo>
                      <a:pt x="471" y="69"/>
                    </a:lnTo>
                    <a:lnTo>
                      <a:pt x="473" y="71"/>
                    </a:lnTo>
                    <a:lnTo>
                      <a:pt x="471" y="71"/>
                    </a:lnTo>
                    <a:lnTo>
                      <a:pt x="473" y="71"/>
                    </a:lnTo>
                    <a:lnTo>
                      <a:pt x="471" y="71"/>
                    </a:lnTo>
                    <a:lnTo>
                      <a:pt x="469" y="71"/>
                    </a:lnTo>
                    <a:lnTo>
                      <a:pt x="471" y="71"/>
                    </a:lnTo>
                    <a:lnTo>
                      <a:pt x="471" y="73"/>
                    </a:lnTo>
                    <a:lnTo>
                      <a:pt x="469" y="73"/>
                    </a:lnTo>
                    <a:lnTo>
                      <a:pt x="467" y="73"/>
                    </a:lnTo>
                    <a:lnTo>
                      <a:pt x="469" y="73"/>
                    </a:lnTo>
                    <a:lnTo>
                      <a:pt x="467" y="73"/>
                    </a:lnTo>
                    <a:lnTo>
                      <a:pt x="465" y="71"/>
                    </a:lnTo>
                    <a:lnTo>
                      <a:pt x="461" y="71"/>
                    </a:lnTo>
                    <a:lnTo>
                      <a:pt x="459" y="71"/>
                    </a:lnTo>
                    <a:lnTo>
                      <a:pt x="461" y="73"/>
                    </a:lnTo>
                    <a:lnTo>
                      <a:pt x="463" y="73"/>
                    </a:lnTo>
                    <a:lnTo>
                      <a:pt x="463" y="75"/>
                    </a:lnTo>
                    <a:lnTo>
                      <a:pt x="465" y="75"/>
                    </a:lnTo>
                    <a:lnTo>
                      <a:pt x="467" y="75"/>
                    </a:lnTo>
                    <a:lnTo>
                      <a:pt x="467" y="77"/>
                    </a:lnTo>
                    <a:lnTo>
                      <a:pt x="469" y="77"/>
                    </a:lnTo>
                    <a:lnTo>
                      <a:pt x="471" y="77"/>
                    </a:lnTo>
                    <a:lnTo>
                      <a:pt x="469" y="77"/>
                    </a:lnTo>
                    <a:lnTo>
                      <a:pt x="467" y="77"/>
                    </a:lnTo>
                    <a:lnTo>
                      <a:pt x="469" y="79"/>
                    </a:lnTo>
                    <a:lnTo>
                      <a:pt x="471" y="79"/>
                    </a:lnTo>
                    <a:lnTo>
                      <a:pt x="473" y="79"/>
                    </a:lnTo>
                    <a:lnTo>
                      <a:pt x="475" y="79"/>
                    </a:lnTo>
                    <a:lnTo>
                      <a:pt x="475" y="81"/>
                    </a:lnTo>
                    <a:lnTo>
                      <a:pt x="475" y="83"/>
                    </a:lnTo>
                    <a:lnTo>
                      <a:pt x="475" y="85"/>
                    </a:lnTo>
                    <a:lnTo>
                      <a:pt x="477" y="85"/>
                    </a:lnTo>
                    <a:lnTo>
                      <a:pt x="475" y="87"/>
                    </a:lnTo>
                    <a:lnTo>
                      <a:pt x="473" y="87"/>
                    </a:lnTo>
                    <a:lnTo>
                      <a:pt x="471" y="87"/>
                    </a:lnTo>
                    <a:lnTo>
                      <a:pt x="471" y="89"/>
                    </a:lnTo>
                    <a:lnTo>
                      <a:pt x="469" y="89"/>
                    </a:lnTo>
                    <a:lnTo>
                      <a:pt x="467" y="89"/>
                    </a:lnTo>
                    <a:lnTo>
                      <a:pt x="467" y="91"/>
                    </a:lnTo>
                    <a:lnTo>
                      <a:pt x="465" y="91"/>
                    </a:lnTo>
                    <a:lnTo>
                      <a:pt x="463" y="91"/>
                    </a:lnTo>
                    <a:lnTo>
                      <a:pt x="461" y="91"/>
                    </a:lnTo>
                    <a:lnTo>
                      <a:pt x="459" y="91"/>
                    </a:lnTo>
                    <a:lnTo>
                      <a:pt x="458" y="91"/>
                    </a:lnTo>
                    <a:lnTo>
                      <a:pt x="456" y="91"/>
                    </a:lnTo>
                    <a:lnTo>
                      <a:pt x="454" y="91"/>
                    </a:lnTo>
                    <a:lnTo>
                      <a:pt x="454" y="92"/>
                    </a:lnTo>
                    <a:lnTo>
                      <a:pt x="450" y="91"/>
                    </a:lnTo>
                    <a:lnTo>
                      <a:pt x="450" y="92"/>
                    </a:lnTo>
                    <a:lnTo>
                      <a:pt x="448" y="92"/>
                    </a:lnTo>
                    <a:lnTo>
                      <a:pt x="446" y="92"/>
                    </a:lnTo>
                    <a:lnTo>
                      <a:pt x="444" y="92"/>
                    </a:lnTo>
                    <a:lnTo>
                      <a:pt x="442" y="92"/>
                    </a:lnTo>
                    <a:lnTo>
                      <a:pt x="442" y="91"/>
                    </a:lnTo>
                    <a:lnTo>
                      <a:pt x="440" y="91"/>
                    </a:lnTo>
                    <a:lnTo>
                      <a:pt x="442" y="92"/>
                    </a:lnTo>
                    <a:lnTo>
                      <a:pt x="440" y="92"/>
                    </a:lnTo>
                    <a:lnTo>
                      <a:pt x="438" y="92"/>
                    </a:lnTo>
                    <a:lnTo>
                      <a:pt x="436" y="92"/>
                    </a:lnTo>
                    <a:lnTo>
                      <a:pt x="436" y="91"/>
                    </a:lnTo>
                    <a:lnTo>
                      <a:pt x="434" y="91"/>
                    </a:lnTo>
                    <a:lnTo>
                      <a:pt x="434" y="92"/>
                    </a:lnTo>
                    <a:lnTo>
                      <a:pt x="433" y="92"/>
                    </a:lnTo>
                    <a:lnTo>
                      <a:pt x="431" y="92"/>
                    </a:lnTo>
                    <a:lnTo>
                      <a:pt x="431" y="91"/>
                    </a:lnTo>
                    <a:lnTo>
                      <a:pt x="429" y="91"/>
                    </a:lnTo>
                    <a:lnTo>
                      <a:pt x="427" y="91"/>
                    </a:lnTo>
                    <a:lnTo>
                      <a:pt x="427" y="89"/>
                    </a:lnTo>
                    <a:lnTo>
                      <a:pt x="425" y="89"/>
                    </a:lnTo>
                    <a:lnTo>
                      <a:pt x="427" y="91"/>
                    </a:lnTo>
                    <a:lnTo>
                      <a:pt x="425" y="91"/>
                    </a:lnTo>
                    <a:lnTo>
                      <a:pt x="425" y="89"/>
                    </a:lnTo>
                    <a:lnTo>
                      <a:pt x="423" y="89"/>
                    </a:lnTo>
                    <a:lnTo>
                      <a:pt x="421" y="89"/>
                    </a:lnTo>
                    <a:lnTo>
                      <a:pt x="421" y="87"/>
                    </a:lnTo>
                    <a:lnTo>
                      <a:pt x="419" y="87"/>
                    </a:lnTo>
                    <a:lnTo>
                      <a:pt x="419" y="85"/>
                    </a:lnTo>
                    <a:lnTo>
                      <a:pt x="417" y="85"/>
                    </a:lnTo>
                    <a:lnTo>
                      <a:pt x="415" y="85"/>
                    </a:lnTo>
                    <a:lnTo>
                      <a:pt x="417" y="85"/>
                    </a:lnTo>
                    <a:lnTo>
                      <a:pt x="415" y="85"/>
                    </a:lnTo>
                    <a:lnTo>
                      <a:pt x="413" y="85"/>
                    </a:lnTo>
                    <a:lnTo>
                      <a:pt x="415" y="85"/>
                    </a:lnTo>
                    <a:lnTo>
                      <a:pt x="413" y="85"/>
                    </a:lnTo>
                    <a:lnTo>
                      <a:pt x="415" y="85"/>
                    </a:lnTo>
                    <a:lnTo>
                      <a:pt x="413" y="85"/>
                    </a:lnTo>
                    <a:lnTo>
                      <a:pt x="411" y="85"/>
                    </a:lnTo>
                    <a:lnTo>
                      <a:pt x="409" y="85"/>
                    </a:lnTo>
                    <a:lnTo>
                      <a:pt x="411" y="85"/>
                    </a:lnTo>
                    <a:lnTo>
                      <a:pt x="409" y="85"/>
                    </a:lnTo>
                    <a:lnTo>
                      <a:pt x="408" y="85"/>
                    </a:lnTo>
                    <a:lnTo>
                      <a:pt x="409" y="85"/>
                    </a:lnTo>
                    <a:lnTo>
                      <a:pt x="408" y="85"/>
                    </a:lnTo>
                    <a:lnTo>
                      <a:pt x="406" y="85"/>
                    </a:lnTo>
                    <a:lnTo>
                      <a:pt x="408" y="85"/>
                    </a:lnTo>
                    <a:lnTo>
                      <a:pt x="409" y="85"/>
                    </a:lnTo>
                    <a:lnTo>
                      <a:pt x="408" y="85"/>
                    </a:lnTo>
                    <a:lnTo>
                      <a:pt x="406" y="85"/>
                    </a:lnTo>
                    <a:lnTo>
                      <a:pt x="404" y="85"/>
                    </a:lnTo>
                    <a:lnTo>
                      <a:pt x="406" y="85"/>
                    </a:lnTo>
                    <a:lnTo>
                      <a:pt x="404" y="85"/>
                    </a:lnTo>
                    <a:lnTo>
                      <a:pt x="402" y="85"/>
                    </a:lnTo>
                    <a:lnTo>
                      <a:pt x="400" y="85"/>
                    </a:lnTo>
                    <a:lnTo>
                      <a:pt x="398" y="85"/>
                    </a:lnTo>
                    <a:lnTo>
                      <a:pt x="396" y="85"/>
                    </a:lnTo>
                    <a:lnTo>
                      <a:pt x="394" y="85"/>
                    </a:lnTo>
                    <a:lnTo>
                      <a:pt x="396" y="83"/>
                    </a:lnTo>
                    <a:lnTo>
                      <a:pt x="396" y="85"/>
                    </a:lnTo>
                    <a:lnTo>
                      <a:pt x="396" y="83"/>
                    </a:lnTo>
                    <a:lnTo>
                      <a:pt x="394" y="83"/>
                    </a:lnTo>
                    <a:lnTo>
                      <a:pt x="394" y="81"/>
                    </a:lnTo>
                    <a:lnTo>
                      <a:pt x="392" y="81"/>
                    </a:lnTo>
                    <a:lnTo>
                      <a:pt x="390" y="81"/>
                    </a:lnTo>
                    <a:lnTo>
                      <a:pt x="388" y="81"/>
                    </a:lnTo>
                    <a:lnTo>
                      <a:pt x="388" y="83"/>
                    </a:lnTo>
                    <a:lnTo>
                      <a:pt x="386" y="83"/>
                    </a:lnTo>
                    <a:lnTo>
                      <a:pt x="384" y="83"/>
                    </a:lnTo>
                    <a:lnTo>
                      <a:pt x="386" y="83"/>
                    </a:lnTo>
                    <a:lnTo>
                      <a:pt x="384" y="83"/>
                    </a:lnTo>
                    <a:lnTo>
                      <a:pt x="384" y="85"/>
                    </a:lnTo>
                    <a:lnTo>
                      <a:pt x="383" y="85"/>
                    </a:lnTo>
                    <a:lnTo>
                      <a:pt x="383" y="83"/>
                    </a:lnTo>
                    <a:lnTo>
                      <a:pt x="381" y="83"/>
                    </a:lnTo>
                    <a:lnTo>
                      <a:pt x="383" y="83"/>
                    </a:lnTo>
                    <a:lnTo>
                      <a:pt x="381" y="83"/>
                    </a:lnTo>
                    <a:lnTo>
                      <a:pt x="379" y="83"/>
                    </a:lnTo>
                    <a:lnTo>
                      <a:pt x="377" y="81"/>
                    </a:lnTo>
                    <a:lnTo>
                      <a:pt x="375" y="81"/>
                    </a:lnTo>
                    <a:lnTo>
                      <a:pt x="375" y="79"/>
                    </a:lnTo>
                    <a:lnTo>
                      <a:pt x="377" y="77"/>
                    </a:lnTo>
                    <a:lnTo>
                      <a:pt x="377" y="79"/>
                    </a:lnTo>
                    <a:lnTo>
                      <a:pt x="375" y="79"/>
                    </a:lnTo>
                    <a:lnTo>
                      <a:pt x="377" y="79"/>
                    </a:lnTo>
                    <a:lnTo>
                      <a:pt x="375" y="79"/>
                    </a:lnTo>
                    <a:lnTo>
                      <a:pt x="377" y="79"/>
                    </a:lnTo>
                    <a:lnTo>
                      <a:pt x="377" y="77"/>
                    </a:lnTo>
                    <a:lnTo>
                      <a:pt x="375" y="77"/>
                    </a:lnTo>
                    <a:lnTo>
                      <a:pt x="371" y="75"/>
                    </a:lnTo>
                    <a:lnTo>
                      <a:pt x="369" y="75"/>
                    </a:lnTo>
                    <a:lnTo>
                      <a:pt x="371" y="75"/>
                    </a:lnTo>
                    <a:lnTo>
                      <a:pt x="369" y="75"/>
                    </a:lnTo>
                    <a:lnTo>
                      <a:pt x="371" y="75"/>
                    </a:lnTo>
                    <a:lnTo>
                      <a:pt x="371" y="73"/>
                    </a:lnTo>
                    <a:lnTo>
                      <a:pt x="369" y="73"/>
                    </a:lnTo>
                    <a:lnTo>
                      <a:pt x="369" y="71"/>
                    </a:lnTo>
                    <a:lnTo>
                      <a:pt x="371" y="71"/>
                    </a:lnTo>
                    <a:lnTo>
                      <a:pt x="369" y="71"/>
                    </a:lnTo>
                    <a:lnTo>
                      <a:pt x="371" y="71"/>
                    </a:lnTo>
                    <a:lnTo>
                      <a:pt x="369" y="71"/>
                    </a:lnTo>
                    <a:lnTo>
                      <a:pt x="371" y="71"/>
                    </a:lnTo>
                    <a:lnTo>
                      <a:pt x="369" y="71"/>
                    </a:lnTo>
                    <a:lnTo>
                      <a:pt x="369" y="69"/>
                    </a:lnTo>
                    <a:lnTo>
                      <a:pt x="369" y="67"/>
                    </a:lnTo>
                    <a:lnTo>
                      <a:pt x="371" y="67"/>
                    </a:lnTo>
                    <a:lnTo>
                      <a:pt x="369" y="66"/>
                    </a:lnTo>
                    <a:lnTo>
                      <a:pt x="371" y="66"/>
                    </a:lnTo>
                    <a:lnTo>
                      <a:pt x="369" y="66"/>
                    </a:lnTo>
                    <a:lnTo>
                      <a:pt x="367" y="66"/>
                    </a:lnTo>
                    <a:lnTo>
                      <a:pt x="365" y="66"/>
                    </a:lnTo>
                    <a:lnTo>
                      <a:pt x="367" y="66"/>
                    </a:lnTo>
                    <a:lnTo>
                      <a:pt x="365" y="66"/>
                    </a:lnTo>
                    <a:lnTo>
                      <a:pt x="363" y="66"/>
                    </a:lnTo>
                    <a:lnTo>
                      <a:pt x="361" y="66"/>
                    </a:lnTo>
                    <a:lnTo>
                      <a:pt x="363" y="66"/>
                    </a:lnTo>
                    <a:lnTo>
                      <a:pt x="361" y="66"/>
                    </a:lnTo>
                    <a:lnTo>
                      <a:pt x="363" y="66"/>
                    </a:lnTo>
                    <a:lnTo>
                      <a:pt x="363" y="67"/>
                    </a:lnTo>
                    <a:lnTo>
                      <a:pt x="361" y="67"/>
                    </a:lnTo>
                    <a:lnTo>
                      <a:pt x="360" y="67"/>
                    </a:lnTo>
                    <a:lnTo>
                      <a:pt x="358" y="66"/>
                    </a:lnTo>
                    <a:lnTo>
                      <a:pt x="360" y="66"/>
                    </a:lnTo>
                    <a:lnTo>
                      <a:pt x="358" y="66"/>
                    </a:lnTo>
                    <a:lnTo>
                      <a:pt x="360" y="66"/>
                    </a:lnTo>
                    <a:lnTo>
                      <a:pt x="361" y="66"/>
                    </a:lnTo>
                    <a:lnTo>
                      <a:pt x="363" y="66"/>
                    </a:lnTo>
                    <a:lnTo>
                      <a:pt x="361" y="64"/>
                    </a:lnTo>
                    <a:lnTo>
                      <a:pt x="360" y="64"/>
                    </a:lnTo>
                    <a:lnTo>
                      <a:pt x="361" y="64"/>
                    </a:lnTo>
                    <a:lnTo>
                      <a:pt x="360" y="64"/>
                    </a:lnTo>
                    <a:lnTo>
                      <a:pt x="358" y="64"/>
                    </a:lnTo>
                    <a:lnTo>
                      <a:pt x="358" y="62"/>
                    </a:lnTo>
                    <a:lnTo>
                      <a:pt x="358" y="64"/>
                    </a:lnTo>
                    <a:lnTo>
                      <a:pt x="356" y="64"/>
                    </a:lnTo>
                    <a:lnTo>
                      <a:pt x="358" y="62"/>
                    </a:lnTo>
                    <a:lnTo>
                      <a:pt x="356" y="62"/>
                    </a:lnTo>
                    <a:lnTo>
                      <a:pt x="358" y="62"/>
                    </a:lnTo>
                    <a:lnTo>
                      <a:pt x="360" y="62"/>
                    </a:lnTo>
                    <a:lnTo>
                      <a:pt x="358" y="62"/>
                    </a:lnTo>
                    <a:lnTo>
                      <a:pt x="360" y="62"/>
                    </a:lnTo>
                    <a:lnTo>
                      <a:pt x="361" y="62"/>
                    </a:lnTo>
                    <a:lnTo>
                      <a:pt x="360" y="62"/>
                    </a:lnTo>
                    <a:lnTo>
                      <a:pt x="360" y="60"/>
                    </a:lnTo>
                    <a:lnTo>
                      <a:pt x="361" y="60"/>
                    </a:lnTo>
                    <a:lnTo>
                      <a:pt x="360" y="60"/>
                    </a:lnTo>
                    <a:lnTo>
                      <a:pt x="358" y="60"/>
                    </a:lnTo>
                    <a:lnTo>
                      <a:pt x="358" y="62"/>
                    </a:lnTo>
                    <a:lnTo>
                      <a:pt x="356" y="62"/>
                    </a:lnTo>
                    <a:lnTo>
                      <a:pt x="354" y="62"/>
                    </a:lnTo>
                    <a:lnTo>
                      <a:pt x="356" y="62"/>
                    </a:lnTo>
                    <a:lnTo>
                      <a:pt x="356" y="64"/>
                    </a:lnTo>
                    <a:lnTo>
                      <a:pt x="354" y="64"/>
                    </a:lnTo>
                    <a:lnTo>
                      <a:pt x="352" y="64"/>
                    </a:lnTo>
                    <a:lnTo>
                      <a:pt x="352" y="66"/>
                    </a:lnTo>
                    <a:lnTo>
                      <a:pt x="354" y="66"/>
                    </a:lnTo>
                    <a:lnTo>
                      <a:pt x="352" y="66"/>
                    </a:lnTo>
                    <a:lnTo>
                      <a:pt x="350" y="66"/>
                    </a:lnTo>
                    <a:lnTo>
                      <a:pt x="352" y="66"/>
                    </a:lnTo>
                    <a:lnTo>
                      <a:pt x="352" y="67"/>
                    </a:lnTo>
                    <a:lnTo>
                      <a:pt x="352" y="66"/>
                    </a:lnTo>
                    <a:lnTo>
                      <a:pt x="350" y="67"/>
                    </a:lnTo>
                    <a:lnTo>
                      <a:pt x="348" y="67"/>
                    </a:lnTo>
                    <a:lnTo>
                      <a:pt x="346" y="66"/>
                    </a:lnTo>
                    <a:lnTo>
                      <a:pt x="348" y="66"/>
                    </a:lnTo>
                    <a:lnTo>
                      <a:pt x="350" y="66"/>
                    </a:lnTo>
                    <a:lnTo>
                      <a:pt x="348" y="66"/>
                    </a:lnTo>
                    <a:lnTo>
                      <a:pt x="350" y="66"/>
                    </a:lnTo>
                    <a:lnTo>
                      <a:pt x="350" y="64"/>
                    </a:lnTo>
                    <a:lnTo>
                      <a:pt x="348" y="64"/>
                    </a:lnTo>
                    <a:lnTo>
                      <a:pt x="346" y="64"/>
                    </a:lnTo>
                    <a:lnTo>
                      <a:pt x="344" y="64"/>
                    </a:lnTo>
                    <a:lnTo>
                      <a:pt x="346" y="64"/>
                    </a:lnTo>
                    <a:lnTo>
                      <a:pt x="346" y="62"/>
                    </a:lnTo>
                    <a:lnTo>
                      <a:pt x="344" y="62"/>
                    </a:lnTo>
                    <a:lnTo>
                      <a:pt x="342" y="62"/>
                    </a:lnTo>
                    <a:lnTo>
                      <a:pt x="344" y="62"/>
                    </a:lnTo>
                    <a:lnTo>
                      <a:pt x="342" y="62"/>
                    </a:lnTo>
                    <a:lnTo>
                      <a:pt x="344" y="62"/>
                    </a:lnTo>
                    <a:lnTo>
                      <a:pt x="346" y="62"/>
                    </a:lnTo>
                    <a:lnTo>
                      <a:pt x="348" y="62"/>
                    </a:lnTo>
                    <a:lnTo>
                      <a:pt x="348" y="64"/>
                    </a:lnTo>
                    <a:lnTo>
                      <a:pt x="350" y="64"/>
                    </a:lnTo>
                    <a:lnTo>
                      <a:pt x="350" y="62"/>
                    </a:lnTo>
                    <a:lnTo>
                      <a:pt x="354" y="62"/>
                    </a:lnTo>
                    <a:lnTo>
                      <a:pt x="354" y="60"/>
                    </a:lnTo>
                    <a:lnTo>
                      <a:pt x="356" y="60"/>
                    </a:lnTo>
                    <a:lnTo>
                      <a:pt x="358" y="60"/>
                    </a:lnTo>
                    <a:lnTo>
                      <a:pt x="356" y="60"/>
                    </a:lnTo>
                    <a:lnTo>
                      <a:pt x="358" y="60"/>
                    </a:lnTo>
                    <a:lnTo>
                      <a:pt x="360" y="58"/>
                    </a:lnTo>
                    <a:lnTo>
                      <a:pt x="361" y="56"/>
                    </a:lnTo>
                    <a:lnTo>
                      <a:pt x="363" y="56"/>
                    </a:lnTo>
                    <a:lnTo>
                      <a:pt x="363" y="54"/>
                    </a:lnTo>
                    <a:lnTo>
                      <a:pt x="365" y="54"/>
                    </a:lnTo>
                    <a:lnTo>
                      <a:pt x="367" y="54"/>
                    </a:lnTo>
                    <a:lnTo>
                      <a:pt x="371" y="54"/>
                    </a:lnTo>
                    <a:lnTo>
                      <a:pt x="373" y="54"/>
                    </a:lnTo>
                    <a:lnTo>
                      <a:pt x="375" y="54"/>
                    </a:lnTo>
                    <a:lnTo>
                      <a:pt x="373" y="54"/>
                    </a:lnTo>
                    <a:lnTo>
                      <a:pt x="375" y="54"/>
                    </a:lnTo>
                    <a:lnTo>
                      <a:pt x="373" y="54"/>
                    </a:lnTo>
                    <a:lnTo>
                      <a:pt x="375" y="54"/>
                    </a:lnTo>
                    <a:lnTo>
                      <a:pt x="377" y="54"/>
                    </a:lnTo>
                    <a:lnTo>
                      <a:pt x="375" y="54"/>
                    </a:lnTo>
                    <a:lnTo>
                      <a:pt x="377" y="54"/>
                    </a:lnTo>
                    <a:lnTo>
                      <a:pt x="375" y="54"/>
                    </a:lnTo>
                    <a:lnTo>
                      <a:pt x="377" y="52"/>
                    </a:lnTo>
                    <a:lnTo>
                      <a:pt x="375" y="52"/>
                    </a:lnTo>
                    <a:lnTo>
                      <a:pt x="373" y="52"/>
                    </a:lnTo>
                    <a:lnTo>
                      <a:pt x="371" y="52"/>
                    </a:lnTo>
                    <a:lnTo>
                      <a:pt x="371" y="50"/>
                    </a:lnTo>
                    <a:lnTo>
                      <a:pt x="369" y="50"/>
                    </a:lnTo>
                    <a:lnTo>
                      <a:pt x="369" y="48"/>
                    </a:lnTo>
                    <a:lnTo>
                      <a:pt x="371" y="48"/>
                    </a:lnTo>
                    <a:lnTo>
                      <a:pt x="369" y="48"/>
                    </a:lnTo>
                    <a:lnTo>
                      <a:pt x="371" y="48"/>
                    </a:lnTo>
                    <a:lnTo>
                      <a:pt x="369" y="48"/>
                    </a:lnTo>
                    <a:lnTo>
                      <a:pt x="369" y="46"/>
                    </a:lnTo>
                    <a:lnTo>
                      <a:pt x="371" y="46"/>
                    </a:lnTo>
                    <a:lnTo>
                      <a:pt x="371" y="48"/>
                    </a:lnTo>
                    <a:lnTo>
                      <a:pt x="373" y="48"/>
                    </a:lnTo>
                    <a:lnTo>
                      <a:pt x="373" y="46"/>
                    </a:lnTo>
                    <a:lnTo>
                      <a:pt x="375" y="46"/>
                    </a:lnTo>
                    <a:lnTo>
                      <a:pt x="377" y="46"/>
                    </a:lnTo>
                    <a:lnTo>
                      <a:pt x="375" y="46"/>
                    </a:lnTo>
                    <a:lnTo>
                      <a:pt x="377" y="46"/>
                    </a:lnTo>
                    <a:lnTo>
                      <a:pt x="377" y="44"/>
                    </a:lnTo>
                    <a:lnTo>
                      <a:pt x="379" y="44"/>
                    </a:lnTo>
                    <a:lnTo>
                      <a:pt x="381" y="44"/>
                    </a:lnTo>
                    <a:lnTo>
                      <a:pt x="381" y="42"/>
                    </a:lnTo>
                    <a:lnTo>
                      <a:pt x="383" y="42"/>
                    </a:lnTo>
                    <a:lnTo>
                      <a:pt x="383" y="44"/>
                    </a:lnTo>
                    <a:lnTo>
                      <a:pt x="384" y="44"/>
                    </a:lnTo>
                    <a:lnTo>
                      <a:pt x="386" y="44"/>
                    </a:lnTo>
                    <a:lnTo>
                      <a:pt x="388" y="44"/>
                    </a:lnTo>
                    <a:lnTo>
                      <a:pt x="388" y="42"/>
                    </a:lnTo>
                    <a:lnTo>
                      <a:pt x="390" y="42"/>
                    </a:lnTo>
                    <a:lnTo>
                      <a:pt x="392" y="42"/>
                    </a:lnTo>
                    <a:lnTo>
                      <a:pt x="394" y="42"/>
                    </a:lnTo>
                    <a:lnTo>
                      <a:pt x="396" y="42"/>
                    </a:lnTo>
                    <a:lnTo>
                      <a:pt x="398" y="42"/>
                    </a:lnTo>
                    <a:lnTo>
                      <a:pt x="396" y="42"/>
                    </a:lnTo>
                    <a:lnTo>
                      <a:pt x="398" y="42"/>
                    </a:lnTo>
                    <a:lnTo>
                      <a:pt x="400" y="42"/>
                    </a:lnTo>
                    <a:lnTo>
                      <a:pt x="402" y="42"/>
                    </a:lnTo>
                    <a:lnTo>
                      <a:pt x="404" y="42"/>
                    </a:lnTo>
                    <a:lnTo>
                      <a:pt x="406" y="42"/>
                    </a:lnTo>
                    <a:lnTo>
                      <a:pt x="408" y="42"/>
                    </a:lnTo>
                    <a:lnTo>
                      <a:pt x="409" y="42"/>
                    </a:lnTo>
                    <a:lnTo>
                      <a:pt x="411" y="42"/>
                    </a:lnTo>
                    <a:lnTo>
                      <a:pt x="411" y="41"/>
                    </a:lnTo>
                    <a:lnTo>
                      <a:pt x="413" y="41"/>
                    </a:lnTo>
                    <a:lnTo>
                      <a:pt x="411" y="41"/>
                    </a:lnTo>
                    <a:lnTo>
                      <a:pt x="411" y="42"/>
                    </a:lnTo>
                    <a:lnTo>
                      <a:pt x="413" y="42"/>
                    </a:lnTo>
                    <a:lnTo>
                      <a:pt x="413" y="41"/>
                    </a:lnTo>
                    <a:lnTo>
                      <a:pt x="415" y="41"/>
                    </a:lnTo>
                    <a:lnTo>
                      <a:pt x="415" y="42"/>
                    </a:lnTo>
                    <a:lnTo>
                      <a:pt x="417" y="42"/>
                    </a:lnTo>
                    <a:lnTo>
                      <a:pt x="417" y="41"/>
                    </a:lnTo>
                    <a:lnTo>
                      <a:pt x="419" y="41"/>
                    </a:lnTo>
                    <a:lnTo>
                      <a:pt x="421" y="41"/>
                    </a:lnTo>
                    <a:lnTo>
                      <a:pt x="421" y="39"/>
                    </a:lnTo>
                    <a:lnTo>
                      <a:pt x="423" y="39"/>
                    </a:lnTo>
                    <a:lnTo>
                      <a:pt x="425" y="39"/>
                    </a:lnTo>
                    <a:lnTo>
                      <a:pt x="427" y="39"/>
                    </a:lnTo>
                    <a:lnTo>
                      <a:pt x="429" y="39"/>
                    </a:lnTo>
                    <a:close/>
                    <a:moveTo>
                      <a:pt x="396" y="0"/>
                    </a:moveTo>
                    <a:lnTo>
                      <a:pt x="396" y="2"/>
                    </a:lnTo>
                    <a:lnTo>
                      <a:pt x="398" y="2"/>
                    </a:lnTo>
                    <a:lnTo>
                      <a:pt x="400" y="2"/>
                    </a:lnTo>
                    <a:lnTo>
                      <a:pt x="400" y="4"/>
                    </a:lnTo>
                    <a:lnTo>
                      <a:pt x="398" y="4"/>
                    </a:lnTo>
                    <a:lnTo>
                      <a:pt x="400" y="4"/>
                    </a:lnTo>
                    <a:lnTo>
                      <a:pt x="398" y="4"/>
                    </a:lnTo>
                    <a:lnTo>
                      <a:pt x="400" y="4"/>
                    </a:lnTo>
                    <a:lnTo>
                      <a:pt x="402" y="4"/>
                    </a:lnTo>
                    <a:lnTo>
                      <a:pt x="400" y="4"/>
                    </a:lnTo>
                    <a:lnTo>
                      <a:pt x="402" y="4"/>
                    </a:lnTo>
                    <a:lnTo>
                      <a:pt x="404" y="4"/>
                    </a:lnTo>
                    <a:lnTo>
                      <a:pt x="402" y="4"/>
                    </a:lnTo>
                    <a:lnTo>
                      <a:pt x="404" y="4"/>
                    </a:lnTo>
                    <a:lnTo>
                      <a:pt x="404" y="6"/>
                    </a:lnTo>
                    <a:lnTo>
                      <a:pt x="406" y="6"/>
                    </a:lnTo>
                    <a:lnTo>
                      <a:pt x="408" y="8"/>
                    </a:lnTo>
                    <a:lnTo>
                      <a:pt x="409" y="8"/>
                    </a:lnTo>
                    <a:lnTo>
                      <a:pt x="409" y="10"/>
                    </a:lnTo>
                    <a:lnTo>
                      <a:pt x="411" y="10"/>
                    </a:lnTo>
                    <a:lnTo>
                      <a:pt x="413" y="10"/>
                    </a:lnTo>
                    <a:lnTo>
                      <a:pt x="413" y="12"/>
                    </a:lnTo>
                    <a:lnTo>
                      <a:pt x="413" y="14"/>
                    </a:lnTo>
                    <a:lnTo>
                      <a:pt x="415" y="14"/>
                    </a:lnTo>
                    <a:lnTo>
                      <a:pt x="417" y="14"/>
                    </a:lnTo>
                    <a:lnTo>
                      <a:pt x="419" y="14"/>
                    </a:lnTo>
                    <a:lnTo>
                      <a:pt x="421" y="14"/>
                    </a:lnTo>
                    <a:lnTo>
                      <a:pt x="419" y="14"/>
                    </a:lnTo>
                    <a:lnTo>
                      <a:pt x="421" y="14"/>
                    </a:lnTo>
                    <a:lnTo>
                      <a:pt x="421" y="16"/>
                    </a:lnTo>
                    <a:lnTo>
                      <a:pt x="423" y="16"/>
                    </a:lnTo>
                    <a:lnTo>
                      <a:pt x="425" y="16"/>
                    </a:lnTo>
                    <a:lnTo>
                      <a:pt x="427" y="16"/>
                    </a:lnTo>
                    <a:lnTo>
                      <a:pt x="425" y="16"/>
                    </a:lnTo>
                    <a:lnTo>
                      <a:pt x="427" y="16"/>
                    </a:lnTo>
                    <a:lnTo>
                      <a:pt x="429" y="16"/>
                    </a:lnTo>
                    <a:lnTo>
                      <a:pt x="427" y="16"/>
                    </a:lnTo>
                    <a:lnTo>
                      <a:pt x="429" y="16"/>
                    </a:lnTo>
                    <a:lnTo>
                      <a:pt x="429" y="17"/>
                    </a:lnTo>
                    <a:lnTo>
                      <a:pt x="429" y="16"/>
                    </a:lnTo>
                    <a:lnTo>
                      <a:pt x="431" y="16"/>
                    </a:lnTo>
                    <a:lnTo>
                      <a:pt x="431" y="17"/>
                    </a:lnTo>
                    <a:lnTo>
                      <a:pt x="433" y="17"/>
                    </a:lnTo>
                    <a:lnTo>
                      <a:pt x="434" y="17"/>
                    </a:lnTo>
                    <a:lnTo>
                      <a:pt x="433" y="17"/>
                    </a:lnTo>
                    <a:lnTo>
                      <a:pt x="434" y="17"/>
                    </a:lnTo>
                    <a:lnTo>
                      <a:pt x="433" y="17"/>
                    </a:lnTo>
                    <a:lnTo>
                      <a:pt x="434" y="17"/>
                    </a:lnTo>
                    <a:lnTo>
                      <a:pt x="433" y="17"/>
                    </a:lnTo>
                    <a:lnTo>
                      <a:pt x="434" y="17"/>
                    </a:lnTo>
                    <a:lnTo>
                      <a:pt x="434" y="19"/>
                    </a:lnTo>
                    <a:lnTo>
                      <a:pt x="436" y="19"/>
                    </a:lnTo>
                    <a:lnTo>
                      <a:pt x="434" y="19"/>
                    </a:lnTo>
                    <a:lnTo>
                      <a:pt x="433" y="19"/>
                    </a:lnTo>
                    <a:lnTo>
                      <a:pt x="434" y="19"/>
                    </a:lnTo>
                    <a:lnTo>
                      <a:pt x="433" y="19"/>
                    </a:lnTo>
                    <a:lnTo>
                      <a:pt x="434" y="19"/>
                    </a:lnTo>
                    <a:lnTo>
                      <a:pt x="433" y="19"/>
                    </a:lnTo>
                    <a:lnTo>
                      <a:pt x="434" y="19"/>
                    </a:lnTo>
                    <a:lnTo>
                      <a:pt x="436" y="19"/>
                    </a:lnTo>
                    <a:lnTo>
                      <a:pt x="434" y="19"/>
                    </a:lnTo>
                    <a:lnTo>
                      <a:pt x="436" y="19"/>
                    </a:lnTo>
                    <a:lnTo>
                      <a:pt x="436" y="21"/>
                    </a:lnTo>
                    <a:lnTo>
                      <a:pt x="434" y="21"/>
                    </a:lnTo>
                    <a:lnTo>
                      <a:pt x="436" y="21"/>
                    </a:lnTo>
                    <a:lnTo>
                      <a:pt x="434" y="21"/>
                    </a:lnTo>
                    <a:lnTo>
                      <a:pt x="433" y="21"/>
                    </a:lnTo>
                    <a:lnTo>
                      <a:pt x="433" y="23"/>
                    </a:lnTo>
                    <a:lnTo>
                      <a:pt x="433" y="21"/>
                    </a:lnTo>
                    <a:lnTo>
                      <a:pt x="431" y="21"/>
                    </a:lnTo>
                    <a:lnTo>
                      <a:pt x="433" y="21"/>
                    </a:lnTo>
                    <a:lnTo>
                      <a:pt x="431" y="21"/>
                    </a:lnTo>
                    <a:lnTo>
                      <a:pt x="433" y="21"/>
                    </a:lnTo>
                    <a:lnTo>
                      <a:pt x="431" y="21"/>
                    </a:lnTo>
                    <a:lnTo>
                      <a:pt x="429" y="21"/>
                    </a:lnTo>
                    <a:lnTo>
                      <a:pt x="429" y="23"/>
                    </a:lnTo>
                    <a:lnTo>
                      <a:pt x="427" y="23"/>
                    </a:lnTo>
                    <a:lnTo>
                      <a:pt x="429" y="23"/>
                    </a:lnTo>
                    <a:lnTo>
                      <a:pt x="427" y="23"/>
                    </a:lnTo>
                    <a:lnTo>
                      <a:pt x="425" y="23"/>
                    </a:lnTo>
                    <a:lnTo>
                      <a:pt x="427" y="23"/>
                    </a:lnTo>
                    <a:lnTo>
                      <a:pt x="425" y="23"/>
                    </a:lnTo>
                    <a:lnTo>
                      <a:pt x="425" y="21"/>
                    </a:lnTo>
                    <a:lnTo>
                      <a:pt x="423" y="21"/>
                    </a:lnTo>
                    <a:lnTo>
                      <a:pt x="425" y="21"/>
                    </a:lnTo>
                    <a:lnTo>
                      <a:pt x="425" y="23"/>
                    </a:lnTo>
                    <a:lnTo>
                      <a:pt x="423" y="23"/>
                    </a:lnTo>
                    <a:lnTo>
                      <a:pt x="421" y="23"/>
                    </a:lnTo>
                    <a:lnTo>
                      <a:pt x="421" y="21"/>
                    </a:lnTo>
                    <a:lnTo>
                      <a:pt x="421" y="23"/>
                    </a:lnTo>
                    <a:lnTo>
                      <a:pt x="423" y="23"/>
                    </a:lnTo>
                    <a:lnTo>
                      <a:pt x="421" y="25"/>
                    </a:lnTo>
                    <a:lnTo>
                      <a:pt x="421" y="27"/>
                    </a:lnTo>
                    <a:lnTo>
                      <a:pt x="419" y="27"/>
                    </a:lnTo>
                    <a:lnTo>
                      <a:pt x="421" y="27"/>
                    </a:lnTo>
                    <a:lnTo>
                      <a:pt x="423" y="27"/>
                    </a:lnTo>
                    <a:lnTo>
                      <a:pt x="421" y="29"/>
                    </a:lnTo>
                    <a:lnTo>
                      <a:pt x="423" y="29"/>
                    </a:lnTo>
                    <a:lnTo>
                      <a:pt x="421" y="29"/>
                    </a:lnTo>
                    <a:lnTo>
                      <a:pt x="423" y="29"/>
                    </a:lnTo>
                    <a:lnTo>
                      <a:pt x="423" y="31"/>
                    </a:lnTo>
                    <a:lnTo>
                      <a:pt x="423" y="33"/>
                    </a:lnTo>
                    <a:lnTo>
                      <a:pt x="425" y="33"/>
                    </a:lnTo>
                    <a:lnTo>
                      <a:pt x="427" y="33"/>
                    </a:lnTo>
                    <a:lnTo>
                      <a:pt x="427" y="35"/>
                    </a:lnTo>
                    <a:lnTo>
                      <a:pt x="429" y="35"/>
                    </a:lnTo>
                    <a:lnTo>
                      <a:pt x="427" y="35"/>
                    </a:lnTo>
                    <a:lnTo>
                      <a:pt x="425" y="35"/>
                    </a:lnTo>
                    <a:lnTo>
                      <a:pt x="425" y="37"/>
                    </a:lnTo>
                    <a:lnTo>
                      <a:pt x="423" y="37"/>
                    </a:lnTo>
                    <a:lnTo>
                      <a:pt x="425" y="37"/>
                    </a:lnTo>
                    <a:lnTo>
                      <a:pt x="423" y="37"/>
                    </a:lnTo>
                    <a:lnTo>
                      <a:pt x="421" y="37"/>
                    </a:lnTo>
                    <a:lnTo>
                      <a:pt x="419" y="37"/>
                    </a:lnTo>
                    <a:lnTo>
                      <a:pt x="417" y="39"/>
                    </a:lnTo>
                    <a:lnTo>
                      <a:pt x="417" y="37"/>
                    </a:lnTo>
                    <a:lnTo>
                      <a:pt x="415" y="37"/>
                    </a:lnTo>
                    <a:lnTo>
                      <a:pt x="411" y="39"/>
                    </a:lnTo>
                    <a:lnTo>
                      <a:pt x="409" y="39"/>
                    </a:lnTo>
                    <a:lnTo>
                      <a:pt x="408" y="39"/>
                    </a:lnTo>
                    <a:lnTo>
                      <a:pt x="406" y="39"/>
                    </a:lnTo>
                    <a:lnTo>
                      <a:pt x="404" y="39"/>
                    </a:lnTo>
                    <a:lnTo>
                      <a:pt x="402" y="39"/>
                    </a:lnTo>
                    <a:lnTo>
                      <a:pt x="400" y="39"/>
                    </a:lnTo>
                    <a:lnTo>
                      <a:pt x="398" y="39"/>
                    </a:lnTo>
                    <a:lnTo>
                      <a:pt x="396" y="39"/>
                    </a:lnTo>
                    <a:lnTo>
                      <a:pt x="394" y="39"/>
                    </a:lnTo>
                    <a:lnTo>
                      <a:pt x="392" y="39"/>
                    </a:lnTo>
                    <a:lnTo>
                      <a:pt x="390" y="39"/>
                    </a:lnTo>
                    <a:lnTo>
                      <a:pt x="388" y="41"/>
                    </a:lnTo>
                    <a:lnTo>
                      <a:pt x="386" y="41"/>
                    </a:lnTo>
                    <a:lnTo>
                      <a:pt x="384" y="41"/>
                    </a:lnTo>
                    <a:lnTo>
                      <a:pt x="383" y="41"/>
                    </a:lnTo>
                    <a:lnTo>
                      <a:pt x="381" y="41"/>
                    </a:lnTo>
                    <a:lnTo>
                      <a:pt x="379" y="41"/>
                    </a:lnTo>
                    <a:lnTo>
                      <a:pt x="379" y="42"/>
                    </a:lnTo>
                    <a:lnTo>
                      <a:pt x="377" y="42"/>
                    </a:lnTo>
                    <a:lnTo>
                      <a:pt x="375" y="42"/>
                    </a:lnTo>
                    <a:lnTo>
                      <a:pt x="375" y="41"/>
                    </a:lnTo>
                    <a:lnTo>
                      <a:pt x="375" y="42"/>
                    </a:lnTo>
                    <a:lnTo>
                      <a:pt x="375" y="41"/>
                    </a:lnTo>
                    <a:lnTo>
                      <a:pt x="373" y="41"/>
                    </a:lnTo>
                    <a:lnTo>
                      <a:pt x="375" y="41"/>
                    </a:lnTo>
                    <a:lnTo>
                      <a:pt x="375" y="42"/>
                    </a:lnTo>
                    <a:lnTo>
                      <a:pt x="373" y="42"/>
                    </a:lnTo>
                    <a:lnTo>
                      <a:pt x="371" y="42"/>
                    </a:lnTo>
                    <a:lnTo>
                      <a:pt x="367" y="44"/>
                    </a:lnTo>
                    <a:lnTo>
                      <a:pt x="365" y="44"/>
                    </a:lnTo>
                    <a:lnTo>
                      <a:pt x="363" y="44"/>
                    </a:lnTo>
                    <a:lnTo>
                      <a:pt x="361" y="44"/>
                    </a:lnTo>
                    <a:lnTo>
                      <a:pt x="361" y="46"/>
                    </a:lnTo>
                    <a:lnTo>
                      <a:pt x="360" y="46"/>
                    </a:lnTo>
                    <a:lnTo>
                      <a:pt x="358" y="46"/>
                    </a:lnTo>
                    <a:lnTo>
                      <a:pt x="356" y="46"/>
                    </a:lnTo>
                    <a:lnTo>
                      <a:pt x="354" y="44"/>
                    </a:lnTo>
                    <a:lnTo>
                      <a:pt x="352" y="44"/>
                    </a:lnTo>
                    <a:lnTo>
                      <a:pt x="354" y="44"/>
                    </a:lnTo>
                    <a:lnTo>
                      <a:pt x="352" y="44"/>
                    </a:lnTo>
                    <a:lnTo>
                      <a:pt x="348" y="42"/>
                    </a:lnTo>
                    <a:lnTo>
                      <a:pt x="346" y="42"/>
                    </a:lnTo>
                    <a:lnTo>
                      <a:pt x="344" y="41"/>
                    </a:lnTo>
                    <a:lnTo>
                      <a:pt x="342" y="41"/>
                    </a:lnTo>
                    <a:lnTo>
                      <a:pt x="338" y="41"/>
                    </a:lnTo>
                    <a:lnTo>
                      <a:pt x="336" y="41"/>
                    </a:lnTo>
                    <a:lnTo>
                      <a:pt x="335" y="41"/>
                    </a:lnTo>
                    <a:lnTo>
                      <a:pt x="331" y="41"/>
                    </a:lnTo>
                    <a:lnTo>
                      <a:pt x="331" y="39"/>
                    </a:lnTo>
                    <a:lnTo>
                      <a:pt x="329" y="39"/>
                    </a:lnTo>
                    <a:lnTo>
                      <a:pt x="331" y="39"/>
                    </a:lnTo>
                    <a:lnTo>
                      <a:pt x="333" y="39"/>
                    </a:lnTo>
                    <a:lnTo>
                      <a:pt x="331" y="39"/>
                    </a:lnTo>
                    <a:lnTo>
                      <a:pt x="333" y="39"/>
                    </a:lnTo>
                    <a:lnTo>
                      <a:pt x="336" y="39"/>
                    </a:lnTo>
                    <a:lnTo>
                      <a:pt x="338" y="39"/>
                    </a:lnTo>
                    <a:lnTo>
                      <a:pt x="340" y="39"/>
                    </a:lnTo>
                    <a:lnTo>
                      <a:pt x="342" y="41"/>
                    </a:lnTo>
                    <a:lnTo>
                      <a:pt x="344" y="41"/>
                    </a:lnTo>
                    <a:lnTo>
                      <a:pt x="342" y="41"/>
                    </a:lnTo>
                    <a:lnTo>
                      <a:pt x="344" y="41"/>
                    </a:lnTo>
                    <a:lnTo>
                      <a:pt x="342" y="41"/>
                    </a:lnTo>
                    <a:lnTo>
                      <a:pt x="344" y="41"/>
                    </a:lnTo>
                    <a:lnTo>
                      <a:pt x="344" y="39"/>
                    </a:lnTo>
                    <a:lnTo>
                      <a:pt x="342" y="39"/>
                    </a:lnTo>
                    <a:lnTo>
                      <a:pt x="340" y="39"/>
                    </a:lnTo>
                    <a:lnTo>
                      <a:pt x="338" y="39"/>
                    </a:lnTo>
                    <a:lnTo>
                      <a:pt x="336" y="39"/>
                    </a:lnTo>
                    <a:lnTo>
                      <a:pt x="335" y="39"/>
                    </a:lnTo>
                    <a:lnTo>
                      <a:pt x="335" y="37"/>
                    </a:lnTo>
                    <a:lnTo>
                      <a:pt x="333" y="37"/>
                    </a:lnTo>
                    <a:lnTo>
                      <a:pt x="331" y="37"/>
                    </a:lnTo>
                    <a:lnTo>
                      <a:pt x="329" y="37"/>
                    </a:lnTo>
                    <a:lnTo>
                      <a:pt x="329" y="35"/>
                    </a:lnTo>
                    <a:lnTo>
                      <a:pt x="331" y="35"/>
                    </a:lnTo>
                    <a:lnTo>
                      <a:pt x="333" y="35"/>
                    </a:lnTo>
                    <a:lnTo>
                      <a:pt x="335" y="35"/>
                    </a:lnTo>
                    <a:lnTo>
                      <a:pt x="336" y="35"/>
                    </a:lnTo>
                    <a:lnTo>
                      <a:pt x="338" y="35"/>
                    </a:lnTo>
                    <a:lnTo>
                      <a:pt x="340" y="35"/>
                    </a:lnTo>
                    <a:lnTo>
                      <a:pt x="342" y="35"/>
                    </a:lnTo>
                    <a:lnTo>
                      <a:pt x="344" y="35"/>
                    </a:lnTo>
                    <a:lnTo>
                      <a:pt x="346" y="35"/>
                    </a:lnTo>
                    <a:lnTo>
                      <a:pt x="348" y="37"/>
                    </a:lnTo>
                    <a:lnTo>
                      <a:pt x="350" y="37"/>
                    </a:lnTo>
                    <a:lnTo>
                      <a:pt x="352" y="37"/>
                    </a:lnTo>
                    <a:lnTo>
                      <a:pt x="350" y="35"/>
                    </a:lnTo>
                    <a:lnTo>
                      <a:pt x="352" y="35"/>
                    </a:lnTo>
                    <a:lnTo>
                      <a:pt x="350" y="35"/>
                    </a:lnTo>
                    <a:lnTo>
                      <a:pt x="348" y="35"/>
                    </a:lnTo>
                    <a:lnTo>
                      <a:pt x="344" y="35"/>
                    </a:lnTo>
                    <a:lnTo>
                      <a:pt x="342" y="35"/>
                    </a:lnTo>
                    <a:lnTo>
                      <a:pt x="340" y="35"/>
                    </a:lnTo>
                    <a:lnTo>
                      <a:pt x="338" y="35"/>
                    </a:lnTo>
                    <a:lnTo>
                      <a:pt x="336" y="35"/>
                    </a:lnTo>
                    <a:lnTo>
                      <a:pt x="335" y="35"/>
                    </a:lnTo>
                    <a:lnTo>
                      <a:pt x="333" y="35"/>
                    </a:lnTo>
                    <a:lnTo>
                      <a:pt x="331" y="35"/>
                    </a:lnTo>
                    <a:lnTo>
                      <a:pt x="329" y="35"/>
                    </a:lnTo>
                    <a:lnTo>
                      <a:pt x="327" y="35"/>
                    </a:lnTo>
                    <a:lnTo>
                      <a:pt x="325" y="35"/>
                    </a:lnTo>
                    <a:lnTo>
                      <a:pt x="323" y="35"/>
                    </a:lnTo>
                    <a:lnTo>
                      <a:pt x="321" y="35"/>
                    </a:lnTo>
                    <a:lnTo>
                      <a:pt x="319" y="35"/>
                    </a:lnTo>
                    <a:lnTo>
                      <a:pt x="317" y="35"/>
                    </a:lnTo>
                    <a:lnTo>
                      <a:pt x="315" y="35"/>
                    </a:lnTo>
                    <a:lnTo>
                      <a:pt x="317" y="35"/>
                    </a:lnTo>
                    <a:lnTo>
                      <a:pt x="319" y="33"/>
                    </a:lnTo>
                    <a:lnTo>
                      <a:pt x="321" y="33"/>
                    </a:lnTo>
                    <a:lnTo>
                      <a:pt x="319" y="33"/>
                    </a:lnTo>
                    <a:lnTo>
                      <a:pt x="321" y="33"/>
                    </a:lnTo>
                    <a:lnTo>
                      <a:pt x="323" y="33"/>
                    </a:lnTo>
                    <a:lnTo>
                      <a:pt x="325" y="33"/>
                    </a:lnTo>
                    <a:lnTo>
                      <a:pt x="323" y="33"/>
                    </a:lnTo>
                    <a:lnTo>
                      <a:pt x="325" y="33"/>
                    </a:lnTo>
                    <a:lnTo>
                      <a:pt x="325" y="31"/>
                    </a:lnTo>
                    <a:lnTo>
                      <a:pt x="327" y="31"/>
                    </a:lnTo>
                    <a:lnTo>
                      <a:pt x="325" y="33"/>
                    </a:lnTo>
                    <a:lnTo>
                      <a:pt x="327" y="33"/>
                    </a:lnTo>
                    <a:lnTo>
                      <a:pt x="329" y="33"/>
                    </a:lnTo>
                    <a:lnTo>
                      <a:pt x="331" y="33"/>
                    </a:lnTo>
                    <a:lnTo>
                      <a:pt x="329" y="33"/>
                    </a:lnTo>
                    <a:lnTo>
                      <a:pt x="327" y="31"/>
                    </a:lnTo>
                    <a:lnTo>
                      <a:pt x="329" y="31"/>
                    </a:lnTo>
                    <a:lnTo>
                      <a:pt x="331" y="33"/>
                    </a:lnTo>
                    <a:lnTo>
                      <a:pt x="333" y="33"/>
                    </a:lnTo>
                    <a:lnTo>
                      <a:pt x="333" y="31"/>
                    </a:lnTo>
                    <a:lnTo>
                      <a:pt x="335" y="33"/>
                    </a:lnTo>
                    <a:lnTo>
                      <a:pt x="336" y="33"/>
                    </a:lnTo>
                    <a:lnTo>
                      <a:pt x="338" y="33"/>
                    </a:lnTo>
                    <a:lnTo>
                      <a:pt x="335" y="31"/>
                    </a:lnTo>
                    <a:lnTo>
                      <a:pt x="331" y="31"/>
                    </a:lnTo>
                    <a:lnTo>
                      <a:pt x="329" y="31"/>
                    </a:lnTo>
                    <a:lnTo>
                      <a:pt x="327" y="31"/>
                    </a:lnTo>
                    <a:lnTo>
                      <a:pt x="325" y="29"/>
                    </a:lnTo>
                    <a:lnTo>
                      <a:pt x="327" y="29"/>
                    </a:lnTo>
                    <a:lnTo>
                      <a:pt x="329" y="29"/>
                    </a:lnTo>
                    <a:lnTo>
                      <a:pt x="331" y="29"/>
                    </a:lnTo>
                    <a:lnTo>
                      <a:pt x="333" y="29"/>
                    </a:lnTo>
                    <a:lnTo>
                      <a:pt x="335" y="29"/>
                    </a:lnTo>
                    <a:lnTo>
                      <a:pt x="336" y="29"/>
                    </a:lnTo>
                    <a:lnTo>
                      <a:pt x="340" y="29"/>
                    </a:lnTo>
                    <a:lnTo>
                      <a:pt x="342" y="29"/>
                    </a:lnTo>
                    <a:lnTo>
                      <a:pt x="342" y="27"/>
                    </a:lnTo>
                    <a:lnTo>
                      <a:pt x="342" y="25"/>
                    </a:lnTo>
                    <a:lnTo>
                      <a:pt x="342" y="23"/>
                    </a:lnTo>
                    <a:lnTo>
                      <a:pt x="344" y="23"/>
                    </a:lnTo>
                    <a:lnTo>
                      <a:pt x="344" y="21"/>
                    </a:lnTo>
                    <a:lnTo>
                      <a:pt x="346" y="21"/>
                    </a:lnTo>
                    <a:lnTo>
                      <a:pt x="348" y="21"/>
                    </a:lnTo>
                    <a:lnTo>
                      <a:pt x="350" y="19"/>
                    </a:lnTo>
                    <a:lnTo>
                      <a:pt x="352" y="19"/>
                    </a:lnTo>
                    <a:lnTo>
                      <a:pt x="350" y="19"/>
                    </a:lnTo>
                    <a:lnTo>
                      <a:pt x="352" y="19"/>
                    </a:lnTo>
                    <a:lnTo>
                      <a:pt x="352" y="17"/>
                    </a:lnTo>
                    <a:lnTo>
                      <a:pt x="350" y="17"/>
                    </a:lnTo>
                    <a:lnTo>
                      <a:pt x="348" y="19"/>
                    </a:lnTo>
                    <a:lnTo>
                      <a:pt x="350" y="19"/>
                    </a:lnTo>
                    <a:lnTo>
                      <a:pt x="348" y="19"/>
                    </a:lnTo>
                    <a:lnTo>
                      <a:pt x="346" y="19"/>
                    </a:lnTo>
                    <a:lnTo>
                      <a:pt x="344" y="19"/>
                    </a:lnTo>
                    <a:lnTo>
                      <a:pt x="342" y="19"/>
                    </a:lnTo>
                    <a:lnTo>
                      <a:pt x="340" y="19"/>
                    </a:lnTo>
                    <a:lnTo>
                      <a:pt x="338" y="19"/>
                    </a:lnTo>
                    <a:lnTo>
                      <a:pt x="336" y="19"/>
                    </a:lnTo>
                    <a:lnTo>
                      <a:pt x="338" y="19"/>
                    </a:lnTo>
                    <a:lnTo>
                      <a:pt x="336" y="19"/>
                    </a:lnTo>
                    <a:lnTo>
                      <a:pt x="338" y="19"/>
                    </a:lnTo>
                    <a:lnTo>
                      <a:pt x="336" y="19"/>
                    </a:lnTo>
                    <a:lnTo>
                      <a:pt x="338" y="17"/>
                    </a:lnTo>
                    <a:lnTo>
                      <a:pt x="340" y="17"/>
                    </a:lnTo>
                    <a:lnTo>
                      <a:pt x="338" y="17"/>
                    </a:lnTo>
                    <a:lnTo>
                      <a:pt x="340" y="17"/>
                    </a:lnTo>
                    <a:lnTo>
                      <a:pt x="342" y="17"/>
                    </a:lnTo>
                    <a:lnTo>
                      <a:pt x="342" y="16"/>
                    </a:lnTo>
                    <a:lnTo>
                      <a:pt x="344" y="16"/>
                    </a:lnTo>
                    <a:lnTo>
                      <a:pt x="344" y="14"/>
                    </a:lnTo>
                    <a:lnTo>
                      <a:pt x="344" y="16"/>
                    </a:lnTo>
                    <a:lnTo>
                      <a:pt x="344" y="14"/>
                    </a:lnTo>
                    <a:lnTo>
                      <a:pt x="346" y="14"/>
                    </a:lnTo>
                    <a:lnTo>
                      <a:pt x="348" y="14"/>
                    </a:lnTo>
                    <a:lnTo>
                      <a:pt x="350" y="14"/>
                    </a:lnTo>
                    <a:lnTo>
                      <a:pt x="348" y="14"/>
                    </a:lnTo>
                    <a:lnTo>
                      <a:pt x="350" y="14"/>
                    </a:lnTo>
                    <a:lnTo>
                      <a:pt x="348" y="14"/>
                    </a:lnTo>
                    <a:lnTo>
                      <a:pt x="350" y="12"/>
                    </a:lnTo>
                    <a:lnTo>
                      <a:pt x="348" y="12"/>
                    </a:lnTo>
                    <a:lnTo>
                      <a:pt x="350" y="12"/>
                    </a:lnTo>
                    <a:lnTo>
                      <a:pt x="352" y="12"/>
                    </a:lnTo>
                    <a:lnTo>
                      <a:pt x="352" y="10"/>
                    </a:lnTo>
                    <a:lnTo>
                      <a:pt x="354" y="10"/>
                    </a:lnTo>
                    <a:lnTo>
                      <a:pt x="352" y="12"/>
                    </a:lnTo>
                    <a:lnTo>
                      <a:pt x="354" y="12"/>
                    </a:lnTo>
                    <a:lnTo>
                      <a:pt x="354" y="10"/>
                    </a:lnTo>
                    <a:lnTo>
                      <a:pt x="356" y="10"/>
                    </a:lnTo>
                    <a:lnTo>
                      <a:pt x="358" y="10"/>
                    </a:lnTo>
                    <a:lnTo>
                      <a:pt x="360" y="10"/>
                    </a:lnTo>
                    <a:lnTo>
                      <a:pt x="358" y="10"/>
                    </a:lnTo>
                    <a:lnTo>
                      <a:pt x="360" y="10"/>
                    </a:lnTo>
                    <a:lnTo>
                      <a:pt x="361" y="10"/>
                    </a:lnTo>
                    <a:lnTo>
                      <a:pt x="363" y="10"/>
                    </a:lnTo>
                    <a:lnTo>
                      <a:pt x="365" y="10"/>
                    </a:lnTo>
                    <a:lnTo>
                      <a:pt x="367" y="10"/>
                    </a:lnTo>
                    <a:lnTo>
                      <a:pt x="369" y="8"/>
                    </a:lnTo>
                    <a:lnTo>
                      <a:pt x="371" y="8"/>
                    </a:lnTo>
                    <a:lnTo>
                      <a:pt x="373" y="8"/>
                    </a:lnTo>
                    <a:lnTo>
                      <a:pt x="375" y="8"/>
                    </a:lnTo>
                    <a:lnTo>
                      <a:pt x="373" y="8"/>
                    </a:lnTo>
                    <a:lnTo>
                      <a:pt x="375" y="8"/>
                    </a:lnTo>
                    <a:lnTo>
                      <a:pt x="377" y="8"/>
                    </a:lnTo>
                    <a:lnTo>
                      <a:pt x="379" y="8"/>
                    </a:lnTo>
                    <a:lnTo>
                      <a:pt x="379" y="6"/>
                    </a:lnTo>
                    <a:lnTo>
                      <a:pt x="381" y="6"/>
                    </a:lnTo>
                    <a:lnTo>
                      <a:pt x="383" y="6"/>
                    </a:lnTo>
                    <a:lnTo>
                      <a:pt x="384" y="4"/>
                    </a:lnTo>
                    <a:lnTo>
                      <a:pt x="386" y="4"/>
                    </a:lnTo>
                    <a:lnTo>
                      <a:pt x="388" y="4"/>
                    </a:lnTo>
                    <a:lnTo>
                      <a:pt x="390" y="4"/>
                    </a:lnTo>
                    <a:lnTo>
                      <a:pt x="392" y="4"/>
                    </a:lnTo>
                    <a:lnTo>
                      <a:pt x="394" y="4"/>
                    </a:lnTo>
                    <a:lnTo>
                      <a:pt x="392" y="4"/>
                    </a:lnTo>
                    <a:lnTo>
                      <a:pt x="390" y="4"/>
                    </a:lnTo>
                    <a:lnTo>
                      <a:pt x="388" y="4"/>
                    </a:lnTo>
                    <a:lnTo>
                      <a:pt x="386" y="4"/>
                    </a:lnTo>
                    <a:lnTo>
                      <a:pt x="384" y="4"/>
                    </a:lnTo>
                    <a:lnTo>
                      <a:pt x="384" y="2"/>
                    </a:lnTo>
                    <a:lnTo>
                      <a:pt x="383" y="2"/>
                    </a:lnTo>
                    <a:lnTo>
                      <a:pt x="384" y="2"/>
                    </a:lnTo>
                    <a:lnTo>
                      <a:pt x="386" y="2"/>
                    </a:lnTo>
                    <a:lnTo>
                      <a:pt x="388" y="2"/>
                    </a:lnTo>
                    <a:lnTo>
                      <a:pt x="390" y="0"/>
                    </a:lnTo>
                    <a:lnTo>
                      <a:pt x="392" y="0"/>
                    </a:lnTo>
                    <a:lnTo>
                      <a:pt x="394" y="0"/>
                    </a:lnTo>
                    <a:lnTo>
                      <a:pt x="396" y="0"/>
                    </a:lnTo>
                    <a:close/>
                    <a:moveTo>
                      <a:pt x="292" y="325"/>
                    </a:moveTo>
                    <a:lnTo>
                      <a:pt x="292" y="323"/>
                    </a:lnTo>
                    <a:lnTo>
                      <a:pt x="292" y="325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53">
                <a:extLst>
                  <a:ext uri="{FF2B5EF4-FFF2-40B4-BE49-F238E27FC236}">
                    <a16:creationId xmlns="" xmlns:a16="http://schemas.microsoft.com/office/drawing/2014/main" id="{FC9C6B7D-544D-457A-B996-192CC3813A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64025" y="2035176"/>
                <a:ext cx="1201738" cy="1012825"/>
              </a:xfrm>
              <a:custGeom>
                <a:avLst/>
                <a:gdLst>
                  <a:gd name="T0" fmla="*/ 109 w 757"/>
                  <a:gd name="T1" fmla="*/ 546 h 638"/>
                  <a:gd name="T2" fmla="*/ 100 w 757"/>
                  <a:gd name="T3" fmla="*/ 533 h 638"/>
                  <a:gd name="T4" fmla="*/ 90 w 757"/>
                  <a:gd name="T5" fmla="*/ 513 h 638"/>
                  <a:gd name="T6" fmla="*/ 73 w 757"/>
                  <a:gd name="T7" fmla="*/ 508 h 638"/>
                  <a:gd name="T8" fmla="*/ 81 w 757"/>
                  <a:gd name="T9" fmla="*/ 504 h 638"/>
                  <a:gd name="T10" fmla="*/ 73 w 757"/>
                  <a:gd name="T11" fmla="*/ 496 h 638"/>
                  <a:gd name="T12" fmla="*/ 84 w 757"/>
                  <a:gd name="T13" fmla="*/ 490 h 638"/>
                  <a:gd name="T14" fmla="*/ 102 w 757"/>
                  <a:gd name="T15" fmla="*/ 488 h 638"/>
                  <a:gd name="T16" fmla="*/ 90 w 757"/>
                  <a:gd name="T17" fmla="*/ 479 h 638"/>
                  <a:gd name="T18" fmla="*/ 90 w 757"/>
                  <a:gd name="T19" fmla="*/ 477 h 638"/>
                  <a:gd name="T20" fmla="*/ 100 w 757"/>
                  <a:gd name="T21" fmla="*/ 477 h 638"/>
                  <a:gd name="T22" fmla="*/ 405 w 757"/>
                  <a:gd name="T23" fmla="*/ 483 h 638"/>
                  <a:gd name="T24" fmla="*/ 94 w 757"/>
                  <a:gd name="T25" fmla="*/ 463 h 638"/>
                  <a:gd name="T26" fmla="*/ 359 w 757"/>
                  <a:gd name="T27" fmla="*/ 477 h 638"/>
                  <a:gd name="T28" fmla="*/ 86 w 757"/>
                  <a:gd name="T29" fmla="*/ 458 h 638"/>
                  <a:gd name="T30" fmla="*/ 472 w 757"/>
                  <a:gd name="T31" fmla="*/ 444 h 638"/>
                  <a:gd name="T32" fmla="*/ 519 w 757"/>
                  <a:gd name="T33" fmla="*/ 427 h 638"/>
                  <a:gd name="T34" fmla="*/ 532 w 757"/>
                  <a:gd name="T35" fmla="*/ 419 h 638"/>
                  <a:gd name="T36" fmla="*/ 553 w 757"/>
                  <a:gd name="T37" fmla="*/ 392 h 638"/>
                  <a:gd name="T38" fmla="*/ 559 w 757"/>
                  <a:gd name="T39" fmla="*/ 386 h 638"/>
                  <a:gd name="T40" fmla="*/ 582 w 757"/>
                  <a:gd name="T41" fmla="*/ 381 h 638"/>
                  <a:gd name="T42" fmla="*/ 603 w 757"/>
                  <a:gd name="T43" fmla="*/ 361 h 638"/>
                  <a:gd name="T44" fmla="*/ 611 w 757"/>
                  <a:gd name="T45" fmla="*/ 356 h 638"/>
                  <a:gd name="T46" fmla="*/ 211 w 757"/>
                  <a:gd name="T47" fmla="*/ 358 h 638"/>
                  <a:gd name="T48" fmla="*/ 275 w 757"/>
                  <a:gd name="T49" fmla="*/ 350 h 638"/>
                  <a:gd name="T50" fmla="*/ 184 w 757"/>
                  <a:gd name="T51" fmla="*/ 325 h 638"/>
                  <a:gd name="T52" fmla="*/ 184 w 757"/>
                  <a:gd name="T53" fmla="*/ 323 h 638"/>
                  <a:gd name="T54" fmla="*/ 196 w 757"/>
                  <a:gd name="T55" fmla="*/ 323 h 638"/>
                  <a:gd name="T56" fmla="*/ 663 w 757"/>
                  <a:gd name="T57" fmla="*/ 304 h 638"/>
                  <a:gd name="T58" fmla="*/ 215 w 757"/>
                  <a:gd name="T59" fmla="*/ 311 h 638"/>
                  <a:gd name="T60" fmla="*/ 144 w 757"/>
                  <a:gd name="T61" fmla="*/ 298 h 638"/>
                  <a:gd name="T62" fmla="*/ 190 w 757"/>
                  <a:gd name="T63" fmla="*/ 302 h 638"/>
                  <a:gd name="T64" fmla="*/ 107 w 757"/>
                  <a:gd name="T65" fmla="*/ 288 h 638"/>
                  <a:gd name="T66" fmla="*/ 163 w 757"/>
                  <a:gd name="T67" fmla="*/ 286 h 638"/>
                  <a:gd name="T68" fmla="*/ 482 w 757"/>
                  <a:gd name="T69" fmla="*/ 288 h 638"/>
                  <a:gd name="T70" fmla="*/ 536 w 757"/>
                  <a:gd name="T71" fmla="*/ 281 h 638"/>
                  <a:gd name="T72" fmla="*/ 682 w 757"/>
                  <a:gd name="T73" fmla="*/ 260 h 638"/>
                  <a:gd name="T74" fmla="*/ 177 w 757"/>
                  <a:gd name="T75" fmla="*/ 271 h 638"/>
                  <a:gd name="T76" fmla="*/ 165 w 757"/>
                  <a:gd name="T77" fmla="*/ 263 h 638"/>
                  <a:gd name="T78" fmla="*/ 486 w 757"/>
                  <a:gd name="T79" fmla="*/ 265 h 638"/>
                  <a:gd name="T80" fmla="*/ 228 w 757"/>
                  <a:gd name="T81" fmla="*/ 252 h 638"/>
                  <a:gd name="T82" fmla="*/ 257 w 757"/>
                  <a:gd name="T83" fmla="*/ 233 h 638"/>
                  <a:gd name="T84" fmla="*/ 469 w 757"/>
                  <a:gd name="T85" fmla="*/ 215 h 638"/>
                  <a:gd name="T86" fmla="*/ 129 w 757"/>
                  <a:gd name="T87" fmla="*/ 200 h 638"/>
                  <a:gd name="T88" fmla="*/ 469 w 757"/>
                  <a:gd name="T89" fmla="*/ 210 h 638"/>
                  <a:gd name="T90" fmla="*/ 367 w 757"/>
                  <a:gd name="T91" fmla="*/ 202 h 638"/>
                  <a:gd name="T92" fmla="*/ 409 w 757"/>
                  <a:gd name="T93" fmla="*/ 196 h 638"/>
                  <a:gd name="T94" fmla="*/ 373 w 757"/>
                  <a:gd name="T95" fmla="*/ 194 h 638"/>
                  <a:gd name="T96" fmla="*/ 351 w 757"/>
                  <a:gd name="T97" fmla="*/ 183 h 638"/>
                  <a:gd name="T98" fmla="*/ 359 w 757"/>
                  <a:gd name="T99" fmla="*/ 181 h 638"/>
                  <a:gd name="T100" fmla="*/ 392 w 757"/>
                  <a:gd name="T101" fmla="*/ 179 h 638"/>
                  <a:gd name="T102" fmla="*/ 423 w 757"/>
                  <a:gd name="T103" fmla="*/ 177 h 638"/>
                  <a:gd name="T104" fmla="*/ 396 w 757"/>
                  <a:gd name="T105" fmla="*/ 169 h 638"/>
                  <a:gd name="T106" fmla="*/ 269 w 757"/>
                  <a:gd name="T107" fmla="*/ 158 h 638"/>
                  <a:gd name="T108" fmla="*/ 586 w 757"/>
                  <a:gd name="T109" fmla="*/ 142 h 638"/>
                  <a:gd name="T110" fmla="*/ 515 w 757"/>
                  <a:gd name="T111" fmla="*/ 146 h 638"/>
                  <a:gd name="T112" fmla="*/ 311 w 757"/>
                  <a:gd name="T113" fmla="*/ 137 h 638"/>
                  <a:gd name="T114" fmla="*/ 595 w 757"/>
                  <a:gd name="T115" fmla="*/ 98 h 638"/>
                  <a:gd name="T116" fmla="*/ 561 w 757"/>
                  <a:gd name="T117" fmla="*/ 77 h 638"/>
                  <a:gd name="T118" fmla="*/ 328 w 757"/>
                  <a:gd name="T119" fmla="*/ 65 h 638"/>
                  <a:gd name="T120" fmla="*/ 332 w 757"/>
                  <a:gd name="T121" fmla="*/ 60 h 638"/>
                  <a:gd name="T122" fmla="*/ 430 w 757"/>
                  <a:gd name="T123" fmla="*/ 44 h 638"/>
                  <a:gd name="T124" fmla="*/ 398 w 757"/>
                  <a:gd name="T125" fmla="*/ 35 h 6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57" h="638">
                    <a:moveTo>
                      <a:pt x="171" y="638"/>
                    </a:moveTo>
                    <a:lnTo>
                      <a:pt x="173" y="638"/>
                    </a:lnTo>
                    <a:lnTo>
                      <a:pt x="171" y="638"/>
                    </a:lnTo>
                    <a:close/>
                    <a:moveTo>
                      <a:pt x="81" y="617"/>
                    </a:moveTo>
                    <a:lnTo>
                      <a:pt x="79" y="617"/>
                    </a:lnTo>
                    <a:lnTo>
                      <a:pt x="81" y="617"/>
                    </a:lnTo>
                    <a:close/>
                    <a:moveTo>
                      <a:pt x="81" y="608"/>
                    </a:moveTo>
                    <a:lnTo>
                      <a:pt x="79" y="608"/>
                    </a:lnTo>
                    <a:lnTo>
                      <a:pt x="79" y="606"/>
                    </a:lnTo>
                    <a:lnTo>
                      <a:pt x="81" y="608"/>
                    </a:lnTo>
                    <a:close/>
                    <a:moveTo>
                      <a:pt x="157" y="619"/>
                    </a:moveTo>
                    <a:lnTo>
                      <a:pt x="157" y="617"/>
                    </a:lnTo>
                    <a:lnTo>
                      <a:pt x="157" y="615"/>
                    </a:lnTo>
                    <a:lnTo>
                      <a:pt x="157" y="617"/>
                    </a:lnTo>
                    <a:lnTo>
                      <a:pt x="157" y="619"/>
                    </a:lnTo>
                    <a:close/>
                    <a:moveTo>
                      <a:pt x="90" y="606"/>
                    </a:moveTo>
                    <a:lnTo>
                      <a:pt x="90" y="604"/>
                    </a:lnTo>
                    <a:lnTo>
                      <a:pt x="90" y="606"/>
                    </a:lnTo>
                    <a:close/>
                    <a:moveTo>
                      <a:pt x="152" y="594"/>
                    </a:moveTo>
                    <a:lnTo>
                      <a:pt x="150" y="592"/>
                    </a:lnTo>
                    <a:lnTo>
                      <a:pt x="152" y="594"/>
                    </a:lnTo>
                    <a:close/>
                    <a:moveTo>
                      <a:pt x="150" y="588"/>
                    </a:moveTo>
                    <a:lnTo>
                      <a:pt x="150" y="586"/>
                    </a:lnTo>
                    <a:lnTo>
                      <a:pt x="150" y="584"/>
                    </a:lnTo>
                    <a:lnTo>
                      <a:pt x="152" y="584"/>
                    </a:lnTo>
                    <a:lnTo>
                      <a:pt x="152" y="586"/>
                    </a:lnTo>
                    <a:lnTo>
                      <a:pt x="150" y="586"/>
                    </a:lnTo>
                    <a:lnTo>
                      <a:pt x="152" y="586"/>
                    </a:lnTo>
                    <a:lnTo>
                      <a:pt x="150" y="586"/>
                    </a:lnTo>
                    <a:lnTo>
                      <a:pt x="150" y="588"/>
                    </a:lnTo>
                    <a:close/>
                    <a:moveTo>
                      <a:pt x="100" y="577"/>
                    </a:moveTo>
                    <a:lnTo>
                      <a:pt x="100" y="579"/>
                    </a:lnTo>
                    <a:lnTo>
                      <a:pt x="100" y="577"/>
                    </a:lnTo>
                    <a:close/>
                    <a:moveTo>
                      <a:pt x="152" y="583"/>
                    </a:moveTo>
                    <a:lnTo>
                      <a:pt x="152" y="581"/>
                    </a:lnTo>
                    <a:lnTo>
                      <a:pt x="154" y="581"/>
                    </a:lnTo>
                    <a:lnTo>
                      <a:pt x="154" y="583"/>
                    </a:lnTo>
                    <a:lnTo>
                      <a:pt x="152" y="583"/>
                    </a:lnTo>
                    <a:close/>
                    <a:moveTo>
                      <a:pt x="150" y="563"/>
                    </a:moveTo>
                    <a:lnTo>
                      <a:pt x="150" y="565"/>
                    </a:lnTo>
                    <a:lnTo>
                      <a:pt x="152" y="565"/>
                    </a:lnTo>
                    <a:lnTo>
                      <a:pt x="150" y="567"/>
                    </a:lnTo>
                    <a:lnTo>
                      <a:pt x="150" y="569"/>
                    </a:lnTo>
                    <a:lnTo>
                      <a:pt x="150" y="567"/>
                    </a:lnTo>
                    <a:lnTo>
                      <a:pt x="148" y="567"/>
                    </a:lnTo>
                    <a:lnTo>
                      <a:pt x="148" y="565"/>
                    </a:lnTo>
                    <a:lnTo>
                      <a:pt x="150" y="565"/>
                    </a:lnTo>
                    <a:lnTo>
                      <a:pt x="150" y="567"/>
                    </a:lnTo>
                    <a:lnTo>
                      <a:pt x="150" y="565"/>
                    </a:lnTo>
                    <a:lnTo>
                      <a:pt x="150" y="563"/>
                    </a:lnTo>
                    <a:close/>
                    <a:moveTo>
                      <a:pt x="152" y="565"/>
                    </a:moveTo>
                    <a:lnTo>
                      <a:pt x="152" y="567"/>
                    </a:lnTo>
                    <a:lnTo>
                      <a:pt x="152" y="565"/>
                    </a:lnTo>
                    <a:lnTo>
                      <a:pt x="154" y="565"/>
                    </a:lnTo>
                    <a:lnTo>
                      <a:pt x="154" y="567"/>
                    </a:lnTo>
                    <a:lnTo>
                      <a:pt x="152" y="567"/>
                    </a:lnTo>
                    <a:lnTo>
                      <a:pt x="152" y="565"/>
                    </a:lnTo>
                    <a:lnTo>
                      <a:pt x="152" y="563"/>
                    </a:lnTo>
                    <a:lnTo>
                      <a:pt x="152" y="561"/>
                    </a:lnTo>
                    <a:lnTo>
                      <a:pt x="154" y="561"/>
                    </a:lnTo>
                    <a:lnTo>
                      <a:pt x="154" y="563"/>
                    </a:lnTo>
                    <a:lnTo>
                      <a:pt x="152" y="565"/>
                    </a:lnTo>
                    <a:close/>
                    <a:moveTo>
                      <a:pt x="117" y="558"/>
                    </a:moveTo>
                    <a:lnTo>
                      <a:pt x="117" y="556"/>
                    </a:lnTo>
                    <a:lnTo>
                      <a:pt x="117" y="558"/>
                    </a:lnTo>
                    <a:close/>
                    <a:moveTo>
                      <a:pt x="155" y="559"/>
                    </a:moveTo>
                    <a:lnTo>
                      <a:pt x="155" y="558"/>
                    </a:lnTo>
                    <a:lnTo>
                      <a:pt x="157" y="558"/>
                    </a:lnTo>
                    <a:lnTo>
                      <a:pt x="157" y="556"/>
                    </a:lnTo>
                    <a:lnTo>
                      <a:pt x="157" y="558"/>
                    </a:lnTo>
                    <a:lnTo>
                      <a:pt x="157" y="559"/>
                    </a:lnTo>
                    <a:lnTo>
                      <a:pt x="155" y="559"/>
                    </a:lnTo>
                    <a:close/>
                    <a:moveTo>
                      <a:pt x="113" y="548"/>
                    </a:moveTo>
                    <a:lnTo>
                      <a:pt x="111" y="548"/>
                    </a:lnTo>
                    <a:lnTo>
                      <a:pt x="109" y="548"/>
                    </a:lnTo>
                    <a:lnTo>
                      <a:pt x="111" y="548"/>
                    </a:lnTo>
                    <a:lnTo>
                      <a:pt x="111" y="546"/>
                    </a:lnTo>
                    <a:lnTo>
                      <a:pt x="109" y="546"/>
                    </a:lnTo>
                    <a:lnTo>
                      <a:pt x="111" y="546"/>
                    </a:lnTo>
                    <a:lnTo>
                      <a:pt x="113" y="548"/>
                    </a:lnTo>
                    <a:close/>
                    <a:moveTo>
                      <a:pt x="150" y="546"/>
                    </a:moveTo>
                    <a:lnTo>
                      <a:pt x="152" y="546"/>
                    </a:lnTo>
                    <a:lnTo>
                      <a:pt x="150" y="546"/>
                    </a:lnTo>
                    <a:lnTo>
                      <a:pt x="150" y="544"/>
                    </a:lnTo>
                    <a:lnTo>
                      <a:pt x="150" y="546"/>
                    </a:lnTo>
                    <a:close/>
                    <a:moveTo>
                      <a:pt x="113" y="542"/>
                    </a:moveTo>
                    <a:lnTo>
                      <a:pt x="113" y="540"/>
                    </a:lnTo>
                    <a:lnTo>
                      <a:pt x="113" y="542"/>
                    </a:lnTo>
                    <a:close/>
                    <a:moveTo>
                      <a:pt x="117" y="542"/>
                    </a:moveTo>
                    <a:lnTo>
                      <a:pt x="115" y="542"/>
                    </a:lnTo>
                    <a:lnTo>
                      <a:pt x="113" y="542"/>
                    </a:lnTo>
                    <a:lnTo>
                      <a:pt x="115" y="542"/>
                    </a:lnTo>
                    <a:lnTo>
                      <a:pt x="113" y="540"/>
                    </a:lnTo>
                    <a:lnTo>
                      <a:pt x="113" y="538"/>
                    </a:lnTo>
                    <a:lnTo>
                      <a:pt x="117" y="542"/>
                    </a:lnTo>
                    <a:close/>
                    <a:moveTo>
                      <a:pt x="115" y="538"/>
                    </a:moveTo>
                    <a:lnTo>
                      <a:pt x="113" y="538"/>
                    </a:lnTo>
                    <a:lnTo>
                      <a:pt x="115" y="538"/>
                    </a:lnTo>
                    <a:close/>
                    <a:moveTo>
                      <a:pt x="117" y="538"/>
                    </a:moveTo>
                    <a:lnTo>
                      <a:pt x="115" y="536"/>
                    </a:lnTo>
                    <a:lnTo>
                      <a:pt x="117" y="536"/>
                    </a:lnTo>
                    <a:lnTo>
                      <a:pt x="117" y="538"/>
                    </a:lnTo>
                    <a:close/>
                    <a:moveTo>
                      <a:pt x="107" y="540"/>
                    </a:moveTo>
                    <a:lnTo>
                      <a:pt x="106" y="540"/>
                    </a:lnTo>
                    <a:lnTo>
                      <a:pt x="106" y="538"/>
                    </a:lnTo>
                    <a:lnTo>
                      <a:pt x="106" y="536"/>
                    </a:lnTo>
                    <a:lnTo>
                      <a:pt x="106" y="534"/>
                    </a:lnTo>
                    <a:lnTo>
                      <a:pt x="107" y="534"/>
                    </a:lnTo>
                    <a:lnTo>
                      <a:pt x="107" y="536"/>
                    </a:lnTo>
                    <a:lnTo>
                      <a:pt x="107" y="538"/>
                    </a:lnTo>
                    <a:lnTo>
                      <a:pt x="107" y="540"/>
                    </a:lnTo>
                    <a:close/>
                    <a:moveTo>
                      <a:pt x="100" y="533"/>
                    </a:moveTo>
                    <a:lnTo>
                      <a:pt x="102" y="533"/>
                    </a:lnTo>
                    <a:lnTo>
                      <a:pt x="104" y="533"/>
                    </a:lnTo>
                    <a:lnTo>
                      <a:pt x="106" y="533"/>
                    </a:lnTo>
                    <a:lnTo>
                      <a:pt x="107" y="533"/>
                    </a:lnTo>
                    <a:lnTo>
                      <a:pt x="106" y="534"/>
                    </a:lnTo>
                    <a:lnTo>
                      <a:pt x="106" y="536"/>
                    </a:lnTo>
                    <a:lnTo>
                      <a:pt x="106" y="538"/>
                    </a:lnTo>
                    <a:lnTo>
                      <a:pt x="106" y="540"/>
                    </a:lnTo>
                    <a:lnTo>
                      <a:pt x="104" y="540"/>
                    </a:lnTo>
                    <a:lnTo>
                      <a:pt x="104" y="538"/>
                    </a:lnTo>
                    <a:lnTo>
                      <a:pt x="102" y="538"/>
                    </a:lnTo>
                    <a:lnTo>
                      <a:pt x="102" y="536"/>
                    </a:lnTo>
                    <a:lnTo>
                      <a:pt x="100" y="536"/>
                    </a:lnTo>
                    <a:lnTo>
                      <a:pt x="98" y="534"/>
                    </a:lnTo>
                    <a:lnTo>
                      <a:pt x="98" y="533"/>
                    </a:lnTo>
                    <a:lnTo>
                      <a:pt x="100" y="533"/>
                    </a:lnTo>
                    <a:close/>
                    <a:moveTo>
                      <a:pt x="109" y="533"/>
                    </a:moveTo>
                    <a:lnTo>
                      <a:pt x="109" y="534"/>
                    </a:lnTo>
                    <a:lnTo>
                      <a:pt x="111" y="536"/>
                    </a:lnTo>
                    <a:lnTo>
                      <a:pt x="111" y="538"/>
                    </a:lnTo>
                    <a:lnTo>
                      <a:pt x="111" y="540"/>
                    </a:lnTo>
                    <a:lnTo>
                      <a:pt x="113" y="542"/>
                    </a:lnTo>
                    <a:lnTo>
                      <a:pt x="115" y="544"/>
                    </a:lnTo>
                    <a:lnTo>
                      <a:pt x="113" y="544"/>
                    </a:lnTo>
                    <a:lnTo>
                      <a:pt x="113" y="546"/>
                    </a:lnTo>
                    <a:lnTo>
                      <a:pt x="111" y="546"/>
                    </a:lnTo>
                    <a:lnTo>
                      <a:pt x="109" y="546"/>
                    </a:lnTo>
                    <a:lnTo>
                      <a:pt x="107" y="546"/>
                    </a:lnTo>
                    <a:lnTo>
                      <a:pt x="107" y="544"/>
                    </a:lnTo>
                    <a:lnTo>
                      <a:pt x="107" y="542"/>
                    </a:lnTo>
                    <a:lnTo>
                      <a:pt x="106" y="540"/>
                    </a:lnTo>
                    <a:lnTo>
                      <a:pt x="107" y="540"/>
                    </a:lnTo>
                    <a:lnTo>
                      <a:pt x="107" y="538"/>
                    </a:lnTo>
                    <a:lnTo>
                      <a:pt x="107" y="536"/>
                    </a:lnTo>
                    <a:lnTo>
                      <a:pt x="107" y="534"/>
                    </a:lnTo>
                    <a:lnTo>
                      <a:pt x="107" y="533"/>
                    </a:lnTo>
                    <a:lnTo>
                      <a:pt x="106" y="533"/>
                    </a:lnTo>
                    <a:lnTo>
                      <a:pt x="107" y="533"/>
                    </a:lnTo>
                    <a:lnTo>
                      <a:pt x="109" y="533"/>
                    </a:lnTo>
                    <a:close/>
                    <a:moveTo>
                      <a:pt x="100" y="533"/>
                    </a:moveTo>
                    <a:lnTo>
                      <a:pt x="102" y="533"/>
                    </a:lnTo>
                    <a:lnTo>
                      <a:pt x="100" y="533"/>
                    </a:lnTo>
                    <a:lnTo>
                      <a:pt x="102" y="533"/>
                    </a:lnTo>
                    <a:lnTo>
                      <a:pt x="100" y="533"/>
                    </a:lnTo>
                    <a:close/>
                    <a:moveTo>
                      <a:pt x="100" y="531"/>
                    </a:moveTo>
                    <a:lnTo>
                      <a:pt x="102" y="533"/>
                    </a:lnTo>
                    <a:lnTo>
                      <a:pt x="100" y="533"/>
                    </a:lnTo>
                    <a:lnTo>
                      <a:pt x="100" y="531"/>
                    </a:lnTo>
                    <a:lnTo>
                      <a:pt x="100" y="533"/>
                    </a:lnTo>
                    <a:lnTo>
                      <a:pt x="100" y="531"/>
                    </a:lnTo>
                    <a:close/>
                    <a:moveTo>
                      <a:pt x="131" y="533"/>
                    </a:moveTo>
                    <a:lnTo>
                      <a:pt x="131" y="534"/>
                    </a:lnTo>
                    <a:lnTo>
                      <a:pt x="129" y="534"/>
                    </a:lnTo>
                    <a:lnTo>
                      <a:pt x="129" y="533"/>
                    </a:lnTo>
                    <a:lnTo>
                      <a:pt x="131" y="533"/>
                    </a:lnTo>
                    <a:close/>
                    <a:moveTo>
                      <a:pt x="142" y="534"/>
                    </a:moveTo>
                    <a:lnTo>
                      <a:pt x="140" y="534"/>
                    </a:lnTo>
                    <a:lnTo>
                      <a:pt x="142" y="534"/>
                    </a:lnTo>
                    <a:close/>
                    <a:moveTo>
                      <a:pt x="109" y="529"/>
                    </a:moveTo>
                    <a:lnTo>
                      <a:pt x="109" y="531"/>
                    </a:lnTo>
                    <a:lnTo>
                      <a:pt x="111" y="531"/>
                    </a:lnTo>
                    <a:lnTo>
                      <a:pt x="111" y="533"/>
                    </a:lnTo>
                    <a:lnTo>
                      <a:pt x="109" y="533"/>
                    </a:lnTo>
                    <a:lnTo>
                      <a:pt x="109" y="531"/>
                    </a:lnTo>
                    <a:lnTo>
                      <a:pt x="107" y="531"/>
                    </a:lnTo>
                    <a:lnTo>
                      <a:pt x="107" y="529"/>
                    </a:lnTo>
                    <a:lnTo>
                      <a:pt x="109" y="531"/>
                    </a:lnTo>
                    <a:lnTo>
                      <a:pt x="109" y="529"/>
                    </a:lnTo>
                    <a:lnTo>
                      <a:pt x="107" y="529"/>
                    </a:lnTo>
                    <a:lnTo>
                      <a:pt x="109" y="529"/>
                    </a:lnTo>
                    <a:close/>
                    <a:moveTo>
                      <a:pt x="357" y="542"/>
                    </a:moveTo>
                    <a:lnTo>
                      <a:pt x="355" y="542"/>
                    </a:lnTo>
                    <a:lnTo>
                      <a:pt x="357" y="542"/>
                    </a:lnTo>
                    <a:close/>
                    <a:moveTo>
                      <a:pt x="96" y="523"/>
                    </a:moveTo>
                    <a:lnTo>
                      <a:pt x="94" y="523"/>
                    </a:lnTo>
                    <a:lnTo>
                      <a:pt x="92" y="521"/>
                    </a:lnTo>
                    <a:lnTo>
                      <a:pt x="92" y="519"/>
                    </a:lnTo>
                    <a:lnTo>
                      <a:pt x="92" y="521"/>
                    </a:lnTo>
                    <a:lnTo>
                      <a:pt x="94" y="521"/>
                    </a:lnTo>
                    <a:lnTo>
                      <a:pt x="96" y="523"/>
                    </a:lnTo>
                    <a:close/>
                    <a:moveTo>
                      <a:pt x="94" y="521"/>
                    </a:moveTo>
                    <a:lnTo>
                      <a:pt x="92" y="521"/>
                    </a:lnTo>
                    <a:lnTo>
                      <a:pt x="92" y="519"/>
                    </a:lnTo>
                    <a:lnTo>
                      <a:pt x="94" y="521"/>
                    </a:lnTo>
                    <a:close/>
                    <a:moveTo>
                      <a:pt x="100" y="519"/>
                    </a:moveTo>
                    <a:lnTo>
                      <a:pt x="100" y="521"/>
                    </a:lnTo>
                    <a:lnTo>
                      <a:pt x="100" y="519"/>
                    </a:lnTo>
                    <a:close/>
                    <a:moveTo>
                      <a:pt x="373" y="534"/>
                    </a:moveTo>
                    <a:lnTo>
                      <a:pt x="371" y="534"/>
                    </a:lnTo>
                    <a:lnTo>
                      <a:pt x="373" y="534"/>
                    </a:lnTo>
                    <a:close/>
                    <a:moveTo>
                      <a:pt x="399" y="533"/>
                    </a:moveTo>
                    <a:lnTo>
                      <a:pt x="399" y="534"/>
                    </a:lnTo>
                    <a:lnTo>
                      <a:pt x="399" y="533"/>
                    </a:lnTo>
                    <a:close/>
                    <a:moveTo>
                      <a:pt x="77" y="513"/>
                    </a:moveTo>
                    <a:lnTo>
                      <a:pt x="75" y="513"/>
                    </a:lnTo>
                    <a:lnTo>
                      <a:pt x="75" y="511"/>
                    </a:lnTo>
                    <a:lnTo>
                      <a:pt x="77" y="511"/>
                    </a:lnTo>
                    <a:lnTo>
                      <a:pt x="77" y="513"/>
                    </a:lnTo>
                    <a:close/>
                    <a:moveTo>
                      <a:pt x="398" y="531"/>
                    </a:moveTo>
                    <a:lnTo>
                      <a:pt x="399" y="531"/>
                    </a:lnTo>
                    <a:lnTo>
                      <a:pt x="398" y="531"/>
                    </a:lnTo>
                    <a:lnTo>
                      <a:pt x="399" y="531"/>
                    </a:lnTo>
                    <a:lnTo>
                      <a:pt x="399" y="533"/>
                    </a:lnTo>
                    <a:lnTo>
                      <a:pt x="398" y="533"/>
                    </a:lnTo>
                    <a:lnTo>
                      <a:pt x="399" y="533"/>
                    </a:lnTo>
                    <a:lnTo>
                      <a:pt x="398" y="531"/>
                    </a:lnTo>
                    <a:close/>
                    <a:moveTo>
                      <a:pt x="90" y="511"/>
                    </a:moveTo>
                    <a:lnTo>
                      <a:pt x="92" y="511"/>
                    </a:lnTo>
                    <a:lnTo>
                      <a:pt x="92" y="513"/>
                    </a:lnTo>
                    <a:lnTo>
                      <a:pt x="94" y="513"/>
                    </a:lnTo>
                    <a:lnTo>
                      <a:pt x="96" y="513"/>
                    </a:lnTo>
                    <a:lnTo>
                      <a:pt x="96" y="515"/>
                    </a:lnTo>
                    <a:lnTo>
                      <a:pt x="96" y="517"/>
                    </a:lnTo>
                    <a:lnTo>
                      <a:pt x="96" y="519"/>
                    </a:lnTo>
                    <a:lnTo>
                      <a:pt x="98" y="521"/>
                    </a:lnTo>
                    <a:lnTo>
                      <a:pt x="96" y="521"/>
                    </a:lnTo>
                    <a:lnTo>
                      <a:pt x="96" y="519"/>
                    </a:lnTo>
                    <a:lnTo>
                      <a:pt x="96" y="517"/>
                    </a:lnTo>
                    <a:lnTo>
                      <a:pt x="94" y="515"/>
                    </a:lnTo>
                    <a:lnTo>
                      <a:pt x="92" y="515"/>
                    </a:lnTo>
                    <a:lnTo>
                      <a:pt x="92" y="513"/>
                    </a:lnTo>
                    <a:lnTo>
                      <a:pt x="90" y="513"/>
                    </a:lnTo>
                    <a:lnTo>
                      <a:pt x="90" y="511"/>
                    </a:lnTo>
                    <a:close/>
                    <a:moveTo>
                      <a:pt x="84" y="509"/>
                    </a:moveTo>
                    <a:lnTo>
                      <a:pt x="86" y="511"/>
                    </a:lnTo>
                    <a:lnTo>
                      <a:pt x="88" y="511"/>
                    </a:lnTo>
                    <a:lnTo>
                      <a:pt x="88" y="513"/>
                    </a:lnTo>
                    <a:lnTo>
                      <a:pt x="86" y="513"/>
                    </a:lnTo>
                    <a:lnTo>
                      <a:pt x="86" y="515"/>
                    </a:lnTo>
                    <a:lnTo>
                      <a:pt x="84" y="515"/>
                    </a:lnTo>
                    <a:lnTo>
                      <a:pt x="82" y="515"/>
                    </a:lnTo>
                    <a:lnTo>
                      <a:pt x="81" y="515"/>
                    </a:lnTo>
                    <a:lnTo>
                      <a:pt x="81" y="513"/>
                    </a:lnTo>
                    <a:lnTo>
                      <a:pt x="82" y="513"/>
                    </a:lnTo>
                    <a:lnTo>
                      <a:pt x="82" y="511"/>
                    </a:lnTo>
                    <a:lnTo>
                      <a:pt x="82" y="509"/>
                    </a:lnTo>
                    <a:lnTo>
                      <a:pt x="84" y="509"/>
                    </a:lnTo>
                    <a:close/>
                    <a:moveTo>
                      <a:pt x="396" y="527"/>
                    </a:moveTo>
                    <a:lnTo>
                      <a:pt x="396" y="529"/>
                    </a:lnTo>
                    <a:lnTo>
                      <a:pt x="398" y="529"/>
                    </a:lnTo>
                    <a:lnTo>
                      <a:pt x="396" y="529"/>
                    </a:lnTo>
                    <a:lnTo>
                      <a:pt x="396" y="527"/>
                    </a:lnTo>
                    <a:close/>
                    <a:moveTo>
                      <a:pt x="88" y="511"/>
                    </a:moveTo>
                    <a:lnTo>
                      <a:pt x="90" y="511"/>
                    </a:lnTo>
                    <a:lnTo>
                      <a:pt x="90" y="513"/>
                    </a:lnTo>
                    <a:lnTo>
                      <a:pt x="92" y="513"/>
                    </a:lnTo>
                    <a:lnTo>
                      <a:pt x="92" y="515"/>
                    </a:lnTo>
                    <a:lnTo>
                      <a:pt x="92" y="517"/>
                    </a:lnTo>
                    <a:lnTo>
                      <a:pt x="94" y="515"/>
                    </a:lnTo>
                    <a:lnTo>
                      <a:pt x="94" y="517"/>
                    </a:lnTo>
                    <a:lnTo>
                      <a:pt x="96" y="517"/>
                    </a:lnTo>
                    <a:lnTo>
                      <a:pt x="96" y="519"/>
                    </a:lnTo>
                    <a:lnTo>
                      <a:pt x="94" y="521"/>
                    </a:lnTo>
                    <a:lnTo>
                      <a:pt x="94" y="519"/>
                    </a:lnTo>
                    <a:lnTo>
                      <a:pt x="92" y="519"/>
                    </a:lnTo>
                    <a:lnTo>
                      <a:pt x="90" y="517"/>
                    </a:lnTo>
                    <a:lnTo>
                      <a:pt x="88" y="517"/>
                    </a:lnTo>
                    <a:lnTo>
                      <a:pt x="86" y="515"/>
                    </a:lnTo>
                    <a:lnTo>
                      <a:pt x="88" y="515"/>
                    </a:lnTo>
                    <a:lnTo>
                      <a:pt x="88" y="513"/>
                    </a:lnTo>
                    <a:lnTo>
                      <a:pt x="88" y="511"/>
                    </a:lnTo>
                    <a:lnTo>
                      <a:pt x="86" y="511"/>
                    </a:lnTo>
                    <a:lnTo>
                      <a:pt x="86" y="509"/>
                    </a:lnTo>
                    <a:lnTo>
                      <a:pt x="86" y="511"/>
                    </a:lnTo>
                    <a:lnTo>
                      <a:pt x="88" y="511"/>
                    </a:lnTo>
                    <a:close/>
                    <a:moveTo>
                      <a:pt x="81" y="513"/>
                    </a:moveTo>
                    <a:lnTo>
                      <a:pt x="81" y="511"/>
                    </a:lnTo>
                    <a:lnTo>
                      <a:pt x="81" y="509"/>
                    </a:lnTo>
                    <a:lnTo>
                      <a:pt x="79" y="509"/>
                    </a:lnTo>
                    <a:lnTo>
                      <a:pt x="81" y="509"/>
                    </a:lnTo>
                    <a:lnTo>
                      <a:pt x="82" y="509"/>
                    </a:lnTo>
                    <a:lnTo>
                      <a:pt x="82" y="511"/>
                    </a:lnTo>
                    <a:lnTo>
                      <a:pt x="82" y="513"/>
                    </a:lnTo>
                    <a:lnTo>
                      <a:pt x="81" y="513"/>
                    </a:lnTo>
                    <a:close/>
                    <a:moveTo>
                      <a:pt x="69" y="508"/>
                    </a:moveTo>
                    <a:lnTo>
                      <a:pt x="71" y="508"/>
                    </a:lnTo>
                    <a:lnTo>
                      <a:pt x="69" y="508"/>
                    </a:lnTo>
                    <a:close/>
                    <a:moveTo>
                      <a:pt x="81" y="509"/>
                    </a:moveTo>
                    <a:lnTo>
                      <a:pt x="79" y="508"/>
                    </a:lnTo>
                    <a:lnTo>
                      <a:pt x="81" y="508"/>
                    </a:lnTo>
                    <a:lnTo>
                      <a:pt x="81" y="509"/>
                    </a:lnTo>
                    <a:close/>
                    <a:moveTo>
                      <a:pt x="386" y="525"/>
                    </a:moveTo>
                    <a:lnTo>
                      <a:pt x="388" y="525"/>
                    </a:lnTo>
                    <a:lnTo>
                      <a:pt x="386" y="525"/>
                    </a:lnTo>
                    <a:close/>
                    <a:moveTo>
                      <a:pt x="90" y="509"/>
                    </a:moveTo>
                    <a:lnTo>
                      <a:pt x="90" y="508"/>
                    </a:lnTo>
                    <a:lnTo>
                      <a:pt x="92" y="508"/>
                    </a:lnTo>
                    <a:lnTo>
                      <a:pt x="90" y="508"/>
                    </a:lnTo>
                    <a:lnTo>
                      <a:pt x="90" y="509"/>
                    </a:lnTo>
                    <a:close/>
                    <a:moveTo>
                      <a:pt x="92" y="509"/>
                    </a:moveTo>
                    <a:lnTo>
                      <a:pt x="92" y="508"/>
                    </a:lnTo>
                    <a:lnTo>
                      <a:pt x="92" y="509"/>
                    </a:lnTo>
                    <a:close/>
                    <a:moveTo>
                      <a:pt x="81" y="513"/>
                    </a:moveTo>
                    <a:lnTo>
                      <a:pt x="79" y="513"/>
                    </a:lnTo>
                    <a:lnTo>
                      <a:pt x="77" y="513"/>
                    </a:lnTo>
                    <a:lnTo>
                      <a:pt x="77" y="511"/>
                    </a:lnTo>
                    <a:lnTo>
                      <a:pt x="75" y="511"/>
                    </a:lnTo>
                    <a:lnTo>
                      <a:pt x="73" y="511"/>
                    </a:lnTo>
                    <a:lnTo>
                      <a:pt x="73" y="509"/>
                    </a:lnTo>
                    <a:lnTo>
                      <a:pt x="73" y="508"/>
                    </a:lnTo>
                    <a:lnTo>
                      <a:pt x="71" y="508"/>
                    </a:lnTo>
                    <a:lnTo>
                      <a:pt x="71" y="506"/>
                    </a:lnTo>
                    <a:lnTo>
                      <a:pt x="73" y="506"/>
                    </a:lnTo>
                    <a:lnTo>
                      <a:pt x="73" y="504"/>
                    </a:lnTo>
                    <a:lnTo>
                      <a:pt x="75" y="504"/>
                    </a:lnTo>
                    <a:lnTo>
                      <a:pt x="75" y="506"/>
                    </a:lnTo>
                    <a:lnTo>
                      <a:pt x="77" y="506"/>
                    </a:lnTo>
                    <a:lnTo>
                      <a:pt x="77" y="508"/>
                    </a:lnTo>
                    <a:lnTo>
                      <a:pt x="79" y="508"/>
                    </a:lnTo>
                    <a:lnTo>
                      <a:pt x="81" y="509"/>
                    </a:lnTo>
                    <a:lnTo>
                      <a:pt x="79" y="509"/>
                    </a:lnTo>
                    <a:lnTo>
                      <a:pt x="81" y="509"/>
                    </a:lnTo>
                    <a:lnTo>
                      <a:pt x="81" y="511"/>
                    </a:lnTo>
                    <a:lnTo>
                      <a:pt x="81" y="513"/>
                    </a:lnTo>
                    <a:close/>
                    <a:moveTo>
                      <a:pt x="79" y="504"/>
                    </a:moveTo>
                    <a:lnTo>
                      <a:pt x="81" y="506"/>
                    </a:lnTo>
                    <a:lnTo>
                      <a:pt x="82" y="506"/>
                    </a:lnTo>
                    <a:lnTo>
                      <a:pt x="82" y="508"/>
                    </a:lnTo>
                    <a:lnTo>
                      <a:pt x="84" y="508"/>
                    </a:lnTo>
                    <a:lnTo>
                      <a:pt x="84" y="509"/>
                    </a:lnTo>
                    <a:lnTo>
                      <a:pt x="82" y="509"/>
                    </a:lnTo>
                    <a:lnTo>
                      <a:pt x="81" y="509"/>
                    </a:lnTo>
                    <a:lnTo>
                      <a:pt x="81" y="508"/>
                    </a:lnTo>
                    <a:lnTo>
                      <a:pt x="79" y="508"/>
                    </a:lnTo>
                    <a:lnTo>
                      <a:pt x="79" y="506"/>
                    </a:lnTo>
                    <a:lnTo>
                      <a:pt x="79" y="504"/>
                    </a:lnTo>
                    <a:close/>
                    <a:moveTo>
                      <a:pt x="79" y="508"/>
                    </a:moveTo>
                    <a:lnTo>
                      <a:pt x="77" y="508"/>
                    </a:lnTo>
                    <a:lnTo>
                      <a:pt x="77" y="506"/>
                    </a:lnTo>
                    <a:lnTo>
                      <a:pt x="75" y="506"/>
                    </a:lnTo>
                    <a:lnTo>
                      <a:pt x="75" y="504"/>
                    </a:lnTo>
                    <a:lnTo>
                      <a:pt x="77" y="504"/>
                    </a:lnTo>
                    <a:lnTo>
                      <a:pt x="79" y="504"/>
                    </a:lnTo>
                    <a:lnTo>
                      <a:pt x="79" y="506"/>
                    </a:lnTo>
                    <a:lnTo>
                      <a:pt x="79" y="508"/>
                    </a:lnTo>
                    <a:close/>
                    <a:moveTo>
                      <a:pt x="88" y="504"/>
                    </a:moveTo>
                    <a:lnTo>
                      <a:pt x="88" y="506"/>
                    </a:lnTo>
                    <a:lnTo>
                      <a:pt x="88" y="508"/>
                    </a:lnTo>
                    <a:lnTo>
                      <a:pt x="88" y="509"/>
                    </a:lnTo>
                    <a:lnTo>
                      <a:pt x="88" y="508"/>
                    </a:lnTo>
                    <a:lnTo>
                      <a:pt x="86" y="508"/>
                    </a:lnTo>
                    <a:lnTo>
                      <a:pt x="88" y="508"/>
                    </a:lnTo>
                    <a:lnTo>
                      <a:pt x="88" y="506"/>
                    </a:lnTo>
                    <a:lnTo>
                      <a:pt x="86" y="506"/>
                    </a:lnTo>
                    <a:lnTo>
                      <a:pt x="88" y="504"/>
                    </a:lnTo>
                    <a:close/>
                    <a:moveTo>
                      <a:pt x="86" y="502"/>
                    </a:moveTo>
                    <a:lnTo>
                      <a:pt x="84" y="504"/>
                    </a:lnTo>
                    <a:lnTo>
                      <a:pt x="84" y="506"/>
                    </a:lnTo>
                    <a:lnTo>
                      <a:pt x="84" y="504"/>
                    </a:lnTo>
                    <a:lnTo>
                      <a:pt x="84" y="502"/>
                    </a:lnTo>
                    <a:lnTo>
                      <a:pt x="86" y="502"/>
                    </a:lnTo>
                    <a:close/>
                    <a:moveTo>
                      <a:pt x="86" y="508"/>
                    </a:moveTo>
                    <a:lnTo>
                      <a:pt x="86" y="506"/>
                    </a:lnTo>
                    <a:lnTo>
                      <a:pt x="84" y="504"/>
                    </a:lnTo>
                    <a:lnTo>
                      <a:pt x="86" y="504"/>
                    </a:lnTo>
                    <a:lnTo>
                      <a:pt x="86" y="502"/>
                    </a:lnTo>
                    <a:lnTo>
                      <a:pt x="86" y="504"/>
                    </a:lnTo>
                    <a:lnTo>
                      <a:pt x="86" y="506"/>
                    </a:lnTo>
                    <a:lnTo>
                      <a:pt x="86" y="508"/>
                    </a:lnTo>
                    <a:close/>
                    <a:moveTo>
                      <a:pt x="75" y="504"/>
                    </a:moveTo>
                    <a:lnTo>
                      <a:pt x="75" y="502"/>
                    </a:lnTo>
                    <a:lnTo>
                      <a:pt x="75" y="500"/>
                    </a:lnTo>
                    <a:lnTo>
                      <a:pt x="73" y="500"/>
                    </a:lnTo>
                    <a:lnTo>
                      <a:pt x="75" y="500"/>
                    </a:lnTo>
                    <a:lnTo>
                      <a:pt x="75" y="502"/>
                    </a:lnTo>
                    <a:lnTo>
                      <a:pt x="75" y="504"/>
                    </a:lnTo>
                    <a:close/>
                    <a:moveTo>
                      <a:pt x="75" y="502"/>
                    </a:moveTo>
                    <a:lnTo>
                      <a:pt x="73" y="502"/>
                    </a:lnTo>
                    <a:lnTo>
                      <a:pt x="73" y="500"/>
                    </a:lnTo>
                    <a:lnTo>
                      <a:pt x="73" y="498"/>
                    </a:lnTo>
                    <a:lnTo>
                      <a:pt x="73" y="500"/>
                    </a:lnTo>
                    <a:lnTo>
                      <a:pt x="75" y="502"/>
                    </a:lnTo>
                    <a:close/>
                    <a:moveTo>
                      <a:pt x="86" y="502"/>
                    </a:moveTo>
                    <a:lnTo>
                      <a:pt x="86" y="500"/>
                    </a:lnTo>
                    <a:lnTo>
                      <a:pt x="88" y="500"/>
                    </a:lnTo>
                    <a:lnTo>
                      <a:pt x="86" y="500"/>
                    </a:lnTo>
                    <a:lnTo>
                      <a:pt x="86" y="502"/>
                    </a:lnTo>
                    <a:close/>
                    <a:moveTo>
                      <a:pt x="81" y="504"/>
                    </a:moveTo>
                    <a:lnTo>
                      <a:pt x="79" y="504"/>
                    </a:lnTo>
                    <a:lnTo>
                      <a:pt x="79" y="502"/>
                    </a:lnTo>
                    <a:lnTo>
                      <a:pt x="81" y="502"/>
                    </a:lnTo>
                    <a:lnTo>
                      <a:pt x="81" y="500"/>
                    </a:lnTo>
                    <a:lnTo>
                      <a:pt x="81" y="502"/>
                    </a:lnTo>
                    <a:lnTo>
                      <a:pt x="81" y="504"/>
                    </a:lnTo>
                    <a:close/>
                    <a:moveTo>
                      <a:pt x="90" y="502"/>
                    </a:moveTo>
                    <a:lnTo>
                      <a:pt x="88" y="502"/>
                    </a:lnTo>
                    <a:lnTo>
                      <a:pt x="88" y="500"/>
                    </a:lnTo>
                    <a:lnTo>
                      <a:pt x="90" y="500"/>
                    </a:lnTo>
                    <a:lnTo>
                      <a:pt x="88" y="500"/>
                    </a:lnTo>
                    <a:lnTo>
                      <a:pt x="90" y="502"/>
                    </a:lnTo>
                    <a:close/>
                    <a:moveTo>
                      <a:pt x="392" y="515"/>
                    </a:moveTo>
                    <a:lnTo>
                      <a:pt x="392" y="517"/>
                    </a:lnTo>
                    <a:lnTo>
                      <a:pt x="392" y="515"/>
                    </a:lnTo>
                    <a:close/>
                    <a:moveTo>
                      <a:pt x="65" y="494"/>
                    </a:moveTo>
                    <a:lnTo>
                      <a:pt x="63" y="496"/>
                    </a:lnTo>
                    <a:lnTo>
                      <a:pt x="65" y="494"/>
                    </a:lnTo>
                    <a:close/>
                    <a:moveTo>
                      <a:pt x="394" y="515"/>
                    </a:moveTo>
                    <a:lnTo>
                      <a:pt x="392" y="515"/>
                    </a:lnTo>
                    <a:lnTo>
                      <a:pt x="394" y="515"/>
                    </a:lnTo>
                    <a:close/>
                    <a:moveTo>
                      <a:pt x="73" y="496"/>
                    </a:moveTo>
                    <a:lnTo>
                      <a:pt x="71" y="496"/>
                    </a:lnTo>
                    <a:lnTo>
                      <a:pt x="73" y="496"/>
                    </a:lnTo>
                    <a:close/>
                    <a:moveTo>
                      <a:pt x="65" y="498"/>
                    </a:moveTo>
                    <a:lnTo>
                      <a:pt x="63" y="498"/>
                    </a:lnTo>
                    <a:lnTo>
                      <a:pt x="63" y="496"/>
                    </a:lnTo>
                    <a:lnTo>
                      <a:pt x="65" y="496"/>
                    </a:lnTo>
                    <a:lnTo>
                      <a:pt x="65" y="494"/>
                    </a:lnTo>
                    <a:lnTo>
                      <a:pt x="65" y="496"/>
                    </a:lnTo>
                    <a:lnTo>
                      <a:pt x="65" y="498"/>
                    </a:lnTo>
                    <a:close/>
                    <a:moveTo>
                      <a:pt x="100" y="498"/>
                    </a:moveTo>
                    <a:lnTo>
                      <a:pt x="102" y="498"/>
                    </a:lnTo>
                    <a:lnTo>
                      <a:pt x="100" y="498"/>
                    </a:lnTo>
                    <a:close/>
                    <a:moveTo>
                      <a:pt x="65" y="492"/>
                    </a:moveTo>
                    <a:lnTo>
                      <a:pt x="65" y="494"/>
                    </a:lnTo>
                    <a:lnTo>
                      <a:pt x="63" y="494"/>
                    </a:lnTo>
                    <a:lnTo>
                      <a:pt x="63" y="496"/>
                    </a:lnTo>
                    <a:lnTo>
                      <a:pt x="63" y="498"/>
                    </a:lnTo>
                    <a:lnTo>
                      <a:pt x="61" y="498"/>
                    </a:lnTo>
                    <a:lnTo>
                      <a:pt x="59" y="500"/>
                    </a:lnTo>
                    <a:lnTo>
                      <a:pt x="59" y="498"/>
                    </a:lnTo>
                    <a:lnTo>
                      <a:pt x="58" y="498"/>
                    </a:lnTo>
                    <a:lnTo>
                      <a:pt x="56" y="498"/>
                    </a:lnTo>
                    <a:lnTo>
                      <a:pt x="56" y="496"/>
                    </a:lnTo>
                    <a:lnTo>
                      <a:pt x="54" y="496"/>
                    </a:lnTo>
                    <a:lnTo>
                      <a:pt x="56" y="496"/>
                    </a:lnTo>
                    <a:lnTo>
                      <a:pt x="56" y="494"/>
                    </a:lnTo>
                    <a:lnTo>
                      <a:pt x="56" y="496"/>
                    </a:lnTo>
                    <a:lnTo>
                      <a:pt x="58" y="496"/>
                    </a:lnTo>
                    <a:lnTo>
                      <a:pt x="58" y="494"/>
                    </a:lnTo>
                    <a:lnTo>
                      <a:pt x="59" y="494"/>
                    </a:lnTo>
                    <a:lnTo>
                      <a:pt x="59" y="492"/>
                    </a:lnTo>
                    <a:lnTo>
                      <a:pt x="61" y="492"/>
                    </a:lnTo>
                    <a:lnTo>
                      <a:pt x="63" y="492"/>
                    </a:lnTo>
                    <a:lnTo>
                      <a:pt x="65" y="492"/>
                    </a:lnTo>
                    <a:close/>
                    <a:moveTo>
                      <a:pt x="96" y="496"/>
                    </a:moveTo>
                    <a:lnTo>
                      <a:pt x="96" y="494"/>
                    </a:lnTo>
                    <a:lnTo>
                      <a:pt x="96" y="496"/>
                    </a:lnTo>
                    <a:close/>
                    <a:moveTo>
                      <a:pt x="392" y="511"/>
                    </a:moveTo>
                    <a:lnTo>
                      <a:pt x="394" y="513"/>
                    </a:lnTo>
                    <a:lnTo>
                      <a:pt x="392" y="513"/>
                    </a:lnTo>
                    <a:lnTo>
                      <a:pt x="392" y="511"/>
                    </a:lnTo>
                    <a:lnTo>
                      <a:pt x="390" y="511"/>
                    </a:lnTo>
                    <a:lnTo>
                      <a:pt x="392" y="511"/>
                    </a:lnTo>
                    <a:close/>
                    <a:moveTo>
                      <a:pt x="104" y="496"/>
                    </a:moveTo>
                    <a:lnTo>
                      <a:pt x="102" y="496"/>
                    </a:lnTo>
                    <a:lnTo>
                      <a:pt x="104" y="496"/>
                    </a:lnTo>
                    <a:close/>
                    <a:moveTo>
                      <a:pt x="88" y="494"/>
                    </a:moveTo>
                    <a:lnTo>
                      <a:pt x="88" y="492"/>
                    </a:lnTo>
                    <a:lnTo>
                      <a:pt x="88" y="494"/>
                    </a:lnTo>
                    <a:close/>
                    <a:moveTo>
                      <a:pt x="96" y="494"/>
                    </a:moveTo>
                    <a:lnTo>
                      <a:pt x="98" y="494"/>
                    </a:lnTo>
                    <a:lnTo>
                      <a:pt x="96" y="494"/>
                    </a:lnTo>
                    <a:close/>
                    <a:moveTo>
                      <a:pt x="392" y="511"/>
                    </a:moveTo>
                    <a:lnTo>
                      <a:pt x="392" y="509"/>
                    </a:lnTo>
                    <a:lnTo>
                      <a:pt x="392" y="511"/>
                    </a:lnTo>
                    <a:close/>
                    <a:moveTo>
                      <a:pt x="73" y="496"/>
                    </a:moveTo>
                    <a:lnTo>
                      <a:pt x="71" y="494"/>
                    </a:lnTo>
                    <a:lnTo>
                      <a:pt x="71" y="492"/>
                    </a:lnTo>
                    <a:lnTo>
                      <a:pt x="71" y="490"/>
                    </a:lnTo>
                    <a:lnTo>
                      <a:pt x="71" y="492"/>
                    </a:lnTo>
                    <a:lnTo>
                      <a:pt x="73" y="494"/>
                    </a:lnTo>
                    <a:lnTo>
                      <a:pt x="73" y="496"/>
                    </a:lnTo>
                    <a:close/>
                    <a:moveTo>
                      <a:pt x="77" y="492"/>
                    </a:moveTo>
                    <a:lnTo>
                      <a:pt x="75" y="490"/>
                    </a:lnTo>
                    <a:lnTo>
                      <a:pt x="77" y="490"/>
                    </a:lnTo>
                    <a:lnTo>
                      <a:pt x="77" y="492"/>
                    </a:lnTo>
                    <a:close/>
                    <a:moveTo>
                      <a:pt x="84" y="494"/>
                    </a:moveTo>
                    <a:lnTo>
                      <a:pt x="86" y="494"/>
                    </a:lnTo>
                    <a:lnTo>
                      <a:pt x="86" y="496"/>
                    </a:lnTo>
                    <a:lnTo>
                      <a:pt x="84" y="496"/>
                    </a:lnTo>
                    <a:lnTo>
                      <a:pt x="86" y="496"/>
                    </a:lnTo>
                    <a:lnTo>
                      <a:pt x="86" y="494"/>
                    </a:lnTo>
                    <a:lnTo>
                      <a:pt x="84" y="494"/>
                    </a:lnTo>
                    <a:lnTo>
                      <a:pt x="84" y="492"/>
                    </a:lnTo>
                    <a:lnTo>
                      <a:pt x="84" y="490"/>
                    </a:lnTo>
                    <a:lnTo>
                      <a:pt x="84" y="492"/>
                    </a:lnTo>
                    <a:lnTo>
                      <a:pt x="84" y="494"/>
                    </a:lnTo>
                    <a:close/>
                    <a:moveTo>
                      <a:pt x="98" y="492"/>
                    </a:moveTo>
                    <a:lnTo>
                      <a:pt x="98" y="494"/>
                    </a:lnTo>
                    <a:lnTo>
                      <a:pt x="96" y="494"/>
                    </a:lnTo>
                    <a:lnTo>
                      <a:pt x="98" y="492"/>
                    </a:lnTo>
                    <a:close/>
                    <a:moveTo>
                      <a:pt x="88" y="490"/>
                    </a:moveTo>
                    <a:lnTo>
                      <a:pt x="88" y="492"/>
                    </a:lnTo>
                    <a:lnTo>
                      <a:pt x="86" y="492"/>
                    </a:lnTo>
                    <a:lnTo>
                      <a:pt x="86" y="490"/>
                    </a:lnTo>
                    <a:lnTo>
                      <a:pt x="88" y="490"/>
                    </a:lnTo>
                    <a:close/>
                    <a:moveTo>
                      <a:pt x="75" y="494"/>
                    </a:moveTo>
                    <a:lnTo>
                      <a:pt x="73" y="494"/>
                    </a:lnTo>
                    <a:lnTo>
                      <a:pt x="73" y="492"/>
                    </a:lnTo>
                    <a:lnTo>
                      <a:pt x="73" y="490"/>
                    </a:lnTo>
                    <a:lnTo>
                      <a:pt x="71" y="490"/>
                    </a:lnTo>
                    <a:lnTo>
                      <a:pt x="71" y="488"/>
                    </a:lnTo>
                    <a:lnTo>
                      <a:pt x="73" y="488"/>
                    </a:lnTo>
                    <a:lnTo>
                      <a:pt x="73" y="490"/>
                    </a:lnTo>
                    <a:lnTo>
                      <a:pt x="75" y="490"/>
                    </a:lnTo>
                    <a:lnTo>
                      <a:pt x="75" y="492"/>
                    </a:lnTo>
                    <a:lnTo>
                      <a:pt x="75" y="494"/>
                    </a:lnTo>
                    <a:close/>
                    <a:moveTo>
                      <a:pt x="86" y="492"/>
                    </a:moveTo>
                    <a:lnTo>
                      <a:pt x="88" y="492"/>
                    </a:lnTo>
                    <a:lnTo>
                      <a:pt x="88" y="494"/>
                    </a:lnTo>
                    <a:lnTo>
                      <a:pt x="86" y="494"/>
                    </a:lnTo>
                    <a:lnTo>
                      <a:pt x="84" y="494"/>
                    </a:lnTo>
                    <a:lnTo>
                      <a:pt x="84" y="492"/>
                    </a:lnTo>
                    <a:lnTo>
                      <a:pt x="84" y="490"/>
                    </a:lnTo>
                    <a:lnTo>
                      <a:pt x="82" y="490"/>
                    </a:lnTo>
                    <a:lnTo>
                      <a:pt x="84" y="490"/>
                    </a:lnTo>
                    <a:lnTo>
                      <a:pt x="86" y="490"/>
                    </a:lnTo>
                    <a:lnTo>
                      <a:pt x="86" y="492"/>
                    </a:lnTo>
                    <a:close/>
                    <a:moveTo>
                      <a:pt x="392" y="508"/>
                    </a:moveTo>
                    <a:lnTo>
                      <a:pt x="390" y="508"/>
                    </a:lnTo>
                    <a:lnTo>
                      <a:pt x="392" y="508"/>
                    </a:lnTo>
                    <a:close/>
                    <a:moveTo>
                      <a:pt x="106" y="492"/>
                    </a:moveTo>
                    <a:lnTo>
                      <a:pt x="106" y="494"/>
                    </a:lnTo>
                    <a:lnTo>
                      <a:pt x="104" y="494"/>
                    </a:lnTo>
                    <a:lnTo>
                      <a:pt x="106" y="494"/>
                    </a:lnTo>
                    <a:lnTo>
                      <a:pt x="104" y="494"/>
                    </a:lnTo>
                    <a:lnTo>
                      <a:pt x="104" y="496"/>
                    </a:lnTo>
                    <a:lnTo>
                      <a:pt x="102" y="496"/>
                    </a:lnTo>
                    <a:lnTo>
                      <a:pt x="100" y="496"/>
                    </a:lnTo>
                    <a:lnTo>
                      <a:pt x="100" y="494"/>
                    </a:lnTo>
                    <a:lnTo>
                      <a:pt x="102" y="494"/>
                    </a:lnTo>
                    <a:lnTo>
                      <a:pt x="104" y="492"/>
                    </a:lnTo>
                    <a:lnTo>
                      <a:pt x="106" y="492"/>
                    </a:lnTo>
                    <a:close/>
                    <a:moveTo>
                      <a:pt x="69" y="490"/>
                    </a:moveTo>
                    <a:lnTo>
                      <a:pt x="69" y="488"/>
                    </a:lnTo>
                    <a:lnTo>
                      <a:pt x="71" y="488"/>
                    </a:lnTo>
                    <a:lnTo>
                      <a:pt x="71" y="486"/>
                    </a:lnTo>
                    <a:lnTo>
                      <a:pt x="71" y="488"/>
                    </a:lnTo>
                    <a:lnTo>
                      <a:pt x="71" y="490"/>
                    </a:lnTo>
                    <a:lnTo>
                      <a:pt x="69" y="490"/>
                    </a:lnTo>
                    <a:close/>
                    <a:moveTo>
                      <a:pt x="86" y="490"/>
                    </a:moveTo>
                    <a:lnTo>
                      <a:pt x="84" y="490"/>
                    </a:lnTo>
                    <a:lnTo>
                      <a:pt x="84" y="488"/>
                    </a:lnTo>
                    <a:lnTo>
                      <a:pt x="84" y="490"/>
                    </a:lnTo>
                    <a:lnTo>
                      <a:pt x="86" y="490"/>
                    </a:lnTo>
                    <a:close/>
                    <a:moveTo>
                      <a:pt x="71" y="488"/>
                    </a:moveTo>
                    <a:lnTo>
                      <a:pt x="71" y="486"/>
                    </a:lnTo>
                    <a:lnTo>
                      <a:pt x="71" y="488"/>
                    </a:lnTo>
                    <a:close/>
                    <a:moveTo>
                      <a:pt x="98" y="490"/>
                    </a:moveTo>
                    <a:lnTo>
                      <a:pt x="100" y="490"/>
                    </a:lnTo>
                    <a:lnTo>
                      <a:pt x="98" y="490"/>
                    </a:lnTo>
                    <a:close/>
                    <a:moveTo>
                      <a:pt x="92" y="490"/>
                    </a:moveTo>
                    <a:lnTo>
                      <a:pt x="92" y="488"/>
                    </a:lnTo>
                    <a:lnTo>
                      <a:pt x="92" y="490"/>
                    </a:lnTo>
                    <a:close/>
                    <a:moveTo>
                      <a:pt x="73" y="488"/>
                    </a:moveTo>
                    <a:lnTo>
                      <a:pt x="71" y="488"/>
                    </a:lnTo>
                    <a:lnTo>
                      <a:pt x="71" y="486"/>
                    </a:lnTo>
                    <a:lnTo>
                      <a:pt x="73" y="486"/>
                    </a:lnTo>
                    <a:lnTo>
                      <a:pt x="73" y="488"/>
                    </a:lnTo>
                    <a:close/>
                    <a:moveTo>
                      <a:pt x="106" y="490"/>
                    </a:moveTo>
                    <a:lnTo>
                      <a:pt x="107" y="490"/>
                    </a:lnTo>
                    <a:lnTo>
                      <a:pt x="106" y="490"/>
                    </a:lnTo>
                    <a:close/>
                    <a:moveTo>
                      <a:pt x="109" y="490"/>
                    </a:moveTo>
                    <a:lnTo>
                      <a:pt x="107" y="490"/>
                    </a:lnTo>
                    <a:lnTo>
                      <a:pt x="107" y="488"/>
                    </a:lnTo>
                    <a:lnTo>
                      <a:pt x="107" y="490"/>
                    </a:lnTo>
                    <a:lnTo>
                      <a:pt x="109" y="490"/>
                    </a:lnTo>
                    <a:close/>
                    <a:moveTo>
                      <a:pt x="84" y="486"/>
                    </a:moveTo>
                    <a:lnTo>
                      <a:pt x="84" y="488"/>
                    </a:lnTo>
                    <a:lnTo>
                      <a:pt x="82" y="488"/>
                    </a:lnTo>
                    <a:lnTo>
                      <a:pt x="82" y="486"/>
                    </a:lnTo>
                    <a:lnTo>
                      <a:pt x="84" y="486"/>
                    </a:lnTo>
                    <a:close/>
                    <a:moveTo>
                      <a:pt x="109" y="486"/>
                    </a:moveTo>
                    <a:lnTo>
                      <a:pt x="109" y="488"/>
                    </a:lnTo>
                    <a:lnTo>
                      <a:pt x="107" y="488"/>
                    </a:lnTo>
                    <a:lnTo>
                      <a:pt x="109" y="486"/>
                    </a:lnTo>
                    <a:close/>
                    <a:moveTo>
                      <a:pt x="96" y="486"/>
                    </a:moveTo>
                    <a:lnTo>
                      <a:pt x="98" y="486"/>
                    </a:lnTo>
                    <a:lnTo>
                      <a:pt x="96" y="486"/>
                    </a:lnTo>
                    <a:lnTo>
                      <a:pt x="98" y="486"/>
                    </a:lnTo>
                    <a:lnTo>
                      <a:pt x="96" y="486"/>
                    </a:lnTo>
                    <a:lnTo>
                      <a:pt x="98" y="486"/>
                    </a:lnTo>
                    <a:lnTo>
                      <a:pt x="98" y="488"/>
                    </a:lnTo>
                    <a:lnTo>
                      <a:pt x="98" y="490"/>
                    </a:lnTo>
                    <a:lnTo>
                      <a:pt x="96" y="492"/>
                    </a:lnTo>
                    <a:lnTo>
                      <a:pt x="94" y="492"/>
                    </a:lnTo>
                    <a:lnTo>
                      <a:pt x="96" y="492"/>
                    </a:lnTo>
                    <a:lnTo>
                      <a:pt x="94" y="494"/>
                    </a:lnTo>
                    <a:lnTo>
                      <a:pt x="92" y="494"/>
                    </a:lnTo>
                    <a:lnTo>
                      <a:pt x="92" y="492"/>
                    </a:lnTo>
                    <a:lnTo>
                      <a:pt x="94" y="490"/>
                    </a:lnTo>
                    <a:lnTo>
                      <a:pt x="94" y="488"/>
                    </a:lnTo>
                    <a:lnTo>
                      <a:pt x="94" y="486"/>
                    </a:lnTo>
                    <a:lnTo>
                      <a:pt x="94" y="484"/>
                    </a:lnTo>
                    <a:lnTo>
                      <a:pt x="96" y="486"/>
                    </a:lnTo>
                    <a:close/>
                    <a:moveTo>
                      <a:pt x="107" y="486"/>
                    </a:moveTo>
                    <a:lnTo>
                      <a:pt x="109" y="486"/>
                    </a:lnTo>
                    <a:lnTo>
                      <a:pt x="107" y="486"/>
                    </a:lnTo>
                    <a:lnTo>
                      <a:pt x="107" y="488"/>
                    </a:lnTo>
                    <a:lnTo>
                      <a:pt x="107" y="486"/>
                    </a:lnTo>
                    <a:close/>
                    <a:moveTo>
                      <a:pt x="69" y="488"/>
                    </a:moveTo>
                    <a:lnTo>
                      <a:pt x="69" y="486"/>
                    </a:lnTo>
                    <a:lnTo>
                      <a:pt x="69" y="484"/>
                    </a:lnTo>
                    <a:lnTo>
                      <a:pt x="69" y="483"/>
                    </a:lnTo>
                    <a:lnTo>
                      <a:pt x="71" y="483"/>
                    </a:lnTo>
                    <a:lnTo>
                      <a:pt x="71" y="481"/>
                    </a:lnTo>
                    <a:lnTo>
                      <a:pt x="71" y="483"/>
                    </a:lnTo>
                    <a:lnTo>
                      <a:pt x="71" y="484"/>
                    </a:lnTo>
                    <a:lnTo>
                      <a:pt x="71" y="486"/>
                    </a:lnTo>
                    <a:lnTo>
                      <a:pt x="69" y="488"/>
                    </a:lnTo>
                    <a:close/>
                    <a:moveTo>
                      <a:pt x="102" y="484"/>
                    </a:moveTo>
                    <a:lnTo>
                      <a:pt x="100" y="486"/>
                    </a:lnTo>
                    <a:lnTo>
                      <a:pt x="100" y="484"/>
                    </a:lnTo>
                    <a:lnTo>
                      <a:pt x="102" y="484"/>
                    </a:lnTo>
                    <a:close/>
                    <a:moveTo>
                      <a:pt x="104" y="484"/>
                    </a:moveTo>
                    <a:lnTo>
                      <a:pt x="106" y="484"/>
                    </a:lnTo>
                    <a:lnTo>
                      <a:pt x="106" y="486"/>
                    </a:lnTo>
                    <a:lnTo>
                      <a:pt x="104" y="486"/>
                    </a:lnTo>
                    <a:lnTo>
                      <a:pt x="104" y="488"/>
                    </a:lnTo>
                    <a:lnTo>
                      <a:pt x="104" y="490"/>
                    </a:lnTo>
                    <a:lnTo>
                      <a:pt x="102" y="490"/>
                    </a:lnTo>
                    <a:lnTo>
                      <a:pt x="102" y="488"/>
                    </a:lnTo>
                    <a:lnTo>
                      <a:pt x="102" y="486"/>
                    </a:lnTo>
                    <a:lnTo>
                      <a:pt x="100" y="486"/>
                    </a:lnTo>
                    <a:lnTo>
                      <a:pt x="102" y="486"/>
                    </a:lnTo>
                    <a:lnTo>
                      <a:pt x="102" y="484"/>
                    </a:lnTo>
                    <a:lnTo>
                      <a:pt x="102" y="486"/>
                    </a:lnTo>
                    <a:lnTo>
                      <a:pt x="104" y="486"/>
                    </a:lnTo>
                    <a:lnTo>
                      <a:pt x="104" y="484"/>
                    </a:lnTo>
                    <a:close/>
                    <a:moveTo>
                      <a:pt x="67" y="481"/>
                    </a:moveTo>
                    <a:lnTo>
                      <a:pt x="65" y="481"/>
                    </a:lnTo>
                    <a:lnTo>
                      <a:pt x="67" y="481"/>
                    </a:lnTo>
                    <a:close/>
                    <a:moveTo>
                      <a:pt x="92" y="484"/>
                    </a:moveTo>
                    <a:lnTo>
                      <a:pt x="92" y="483"/>
                    </a:lnTo>
                    <a:lnTo>
                      <a:pt x="94" y="483"/>
                    </a:lnTo>
                    <a:lnTo>
                      <a:pt x="92" y="484"/>
                    </a:lnTo>
                    <a:close/>
                    <a:moveTo>
                      <a:pt x="67" y="481"/>
                    </a:moveTo>
                    <a:lnTo>
                      <a:pt x="69" y="481"/>
                    </a:lnTo>
                    <a:lnTo>
                      <a:pt x="71" y="481"/>
                    </a:lnTo>
                    <a:lnTo>
                      <a:pt x="69" y="483"/>
                    </a:lnTo>
                    <a:lnTo>
                      <a:pt x="69" y="484"/>
                    </a:lnTo>
                    <a:lnTo>
                      <a:pt x="69" y="486"/>
                    </a:lnTo>
                    <a:lnTo>
                      <a:pt x="69" y="488"/>
                    </a:lnTo>
                    <a:lnTo>
                      <a:pt x="67" y="488"/>
                    </a:lnTo>
                    <a:lnTo>
                      <a:pt x="65" y="488"/>
                    </a:lnTo>
                    <a:lnTo>
                      <a:pt x="65" y="490"/>
                    </a:lnTo>
                    <a:lnTo>
                      <a:pt x="65" y="488"/>
                    </a:lnTo>
                    <a:lnTo>
                      <a:pt x="67" y="488"/>
                    </a:lnTo>
                    <a:lnTo>
                      <a:pt x="67" y="486"/>
                    </a:lnTo>
                    <a:lnTo>
                      <a:pt x="65" y="486"/>
                    </a:lnTo>
                    <a:lnTo>
                      <a:pt x="65" y="484"/>
                    </a:lnTo>
                    <a:lnTo>
                      <a:pt x="67" y="484"/>
                    </a:lnTo>
                    <a:lnTo>
                      <a:pt x="67" y="483"/>
                    </a:lnTo>
                    <a:lnTo>
                      <a:pt x="65" y="483"/>
                    </a:lnTo>
                    <a:lnTo>
                      <a:pt x="65" y="481"/>
                    </a:lnTo>
                    <a:lnTo>
                      <a:pt x="67" y="481"/>
                    </a:lnTo>
                    <a:close/>
                    <a:moveTo>
                      <a:pt x="104" y="484"/>
                    </a:moveTo>
                    <a:lnTo>
                      <a:pt x="104" y="483"/>
                    </a:lnTo>
                    <a:lnTo>
                      <a:pt x="104" y="484"/>
                    </a:lnTo>
                    <a:close/>
                    <a:moveTo>
                      <a:pt x="75" y="481"/>
                    </a:moveTo>
                    <a:lnTo>
                      <a:pt x="73" y="481"/>
                    </a:lnTo>
                    <a:lnTo>
                      <a:pt x="73" y="483"/>
                    </a:lnTo>
                    <a:lnTo>
                      <a:pt x="75" y="483"/>
                    </a:lnTo>
                    <a:lnTo>
                      <a:pt x="73" y="483"/>
                    </a:lnTo>
                    <a:lnTo>
                      <a:pt x="71" y="483"/>
                    </a:lnTo>
                    <a:lnTo>
                      <a:pt x="71" y="481"/>
                    </a:lnTo>
                    <a:lnTo>
                      <a:pt x="73" y="481"/>
                    </a:lnTo>
                    <a:lnTo>
                      <a:pt x="73" y="479"/>
                    </a:lnTo>
                    <a:lnTo>
                      <a:pt x="75" y="479"/>
                    </a:lnTo>
                    <a:lnTo>
                      <a:pt x="73" y="481"/>
                    </a:lnTo>
                    <a:lnTo>
                      <a:pt x="75" y="481"/>
                    </a:lnTo>
                    <a:lnTo>
                      <a:pt x="75" y="479"/>
                    </a:lnTo>
                    <a:lnTo>
                      <a:pt x="75" y="481"/>
                    </a:lnTo>
                    <a:close/>
                    <a:moveTo>
                      <a:pt x="75" y="483"/>
                    </a:moveTo>
                    <a:lnTo>
                      <a:pt x="73" y="483"/>
                    </a:lnTo>
                    <a:lnTo>
                      <a:pt x="73" y="481"/>
                    </a:lnTo>
                    <a:lnTo>
                      <a:pt x="75" y="481"/>
                    </a:lnTo>
                    <a:lnTo>
                      <a:pt x="77" y="479"/>
                    </a:lnTo>
                    <a:lnTo>
                      <a:pt x="77" y="481"/>
                    </a:lnTo>
                    <a:lnTo>
                      <a:pt x="77" y="483"/>
                    </a:lnTo>
                    <a:lnTo>
                      <a:pt x="75" y="483"/>
                    </a:lnTo>
                    <a:close/>
                    <a:moveTo>
                      <a:pt x="94" y="481"/>
                    </a:moveTo>
                    <a:lnTo>
                      <a:pt x="94" y="479"/>
                    </a:lnTo>
                    <a:lnTo>
                      <a:pt x="94" y="481"/>
                    </a:lnTo>
                    <a:close/>
                    <a:moveTo>
                      <a:pt x="367" y="496"/>
                    </a:moveTo>
                    <a:lnTo>
                      <a:pt x="365" y="496"/>
                    </a:lnTo>
                    <a:lnTo>
                      <a:pt x="367" y="496"/>
                    </a:lnTo>
                    <a:close/>
                    <a:moveTo>
                      <a:pt x="77" y="479"/>
                    </a:moveTo>
                    <a:lnTo>
                      <a:pt x="79" y="477"/>
                    </a:lnTo>
                    <a:lnTo>
                      <a:pt x="79" y="479"/>
                    </a:lnTo>
                    <a:lnTo>
                      <a:pt x="77" y="479"/>
                    </a:lnTo>
                    <a:close/>
                    <a:moveTo>
                      <a:pt x="90" y="479"/>
                    </a:moveTo>
                    <a:lnTo>
                      <a:pt x="92" y="479"/>
                    </a:lnTo>
                    <a:lnTo>
                      <a:pt x="92" y="481"/>
                    </a:lnTo>
                    <a:lnTo>
                      <a:pt x="92" y="483"/>
                    </a:lnTo>
                    <a:lnTo>
                      <a:pt x="90" y="483"/>
                    </a:lnTo>
                    <a:lnTo>
                      <a:pt x="88" y="483"/>
                    </a:lnTo>
                    <a:lnTo>
                      <a:pt x="88" y="481"/>
                    </a:lnTo>
                    <a:lnTo>
                      <a:pt x="90" y="481"/>
                    </a:lnTo>
                    <a:lnTo>
                      <a:pt x="90" y="479"/>
                    </a:lnTo>
                    <a:close/>
                    <a:moveTo>
                      <a:pt x="365" y="496"/>
                    </a:moveTo>
                    <a:lnTo>
                      <a:pt x="363" y="496"/>
                    </a:lnTo>
                    <a:lnTo>
                      <a:pt x="363" y="494"/>
                    </a:lnTo>
                    <a:lnTo>
                      <a:pt x="365" y="494"/>
                    </a:lnTo>
                    <a:lnTo>
                      <a:pt x="365" y="496"/>
                    </a:lnTo>
                    <a:close/>
                    <a:moveTo>
                      <a:pt x="361" y="496"/>
                    </a:moveTo>
                    <a:lnTo>
                      <a:pt x="361" y="494"/>
                    </a:lnTo>
                    <a:lnTo>
                      <a:pt x="361" y="496"/>
                    </a:lnTo>
                    <a:close/>
                    <a:moveTo>
                      <a:pt x="102" y="479"/>
                    </a:moveTo>
                    <a:lnTo>
                      <a:pt x="102" y="481"/>
                    </a:lnTo>
                    <a:lnTo>
                      <a:pt x="102" y="483"/>
                    </a:lnTo>
                    <a:lnTo>
                      <a:pt x="100" y="483"/>
                    </a:lnTo>
                    <a:lnTo>
                      <a:pt x="100" y="481"/>
                    </a:lnTo>
                    <a:lnTo>
                      <a:pt x="102" y="479"/>
                    </a:lnTo>
                    <a:close/>
                    <a:moveTo>
                      <a:pt x="106" y="479"/>
                    </a:moveTo>
                    <a:lnTo>
                      <a:pt x="106" y="481"/>
                    </a:lnTo>
                    <a:lnTo>
                      <a:pt x="104" y="481"/>
                    </a:lnTo>
                    <a:lnTo>
                      <a:pt x="106" y="479"/>
                    </a:lnTo>
                    <a:close/>
                    <a:moveTo>
                      <a:pt x="75" y="477"/>
                    </a:moveTo>
                    <a:lnTo>
                      <a:pt x="75" y="475"/>
                    </a:lnTo>
                    <a:lnTo>
                      <a:pt x="77" y="475"/>
                    </a:lnTo>
                    <a:lnTo>
                      <a:pt x="75" y="475"/>
                    </a:lnTo>
                    <a:lnTo>
                      <a:pt x="75" y="477"/>
                    </a:lnTo>
                    <a:close/>
                    <a:moveTo>
                      <a:pt x="77" y="475"/>
                    </a:moveTo>
                    <a:lnTo>
                      <a:pt x="79" y="475"/>
                    </a:lnTo>
                    <a:lnTo>
                      <a:pt x="79" y="477"/>
                    </a:lnTo>
                    <a:lnTo>
                      <a:pt x="77" y="477"/>
                    </a:lnTo>
                    <a:lnTo>
                      <a:pt x="77" y="479"/>
                    </a:lnTo>
                    <a:lnTo>
                      <a:pt x="75" y="479"/>
                    </a:lnTo>
                    <a:lnTo>
                      <a:pt x="75" y="477"/>
                    </a:lnTo>
                    <a:lnTo>
                      <a:pt x="75" y="475"/>
                    </a:lnTo>
                    <a:lnTo>
                      <a:pt x="77" y="475"/>
                    </a:lnTo>
                    <a:close/>
                    <a:moveTo>
                      <a:pt x="359" y="494"/>
                    </a:moveTo>
                    <a:lnTo>
                      <a:pt x="359" y="492"/>
                    </a:lnTo>
                    <a:lnTo>
                      <a:pt x="359" y="494"/>
                    </a:lnTo>
                    <a:close/>
                    <a:moveTo>
                      <a:pt x="359" y="492"/>
                    </a:moveTo>
                    <a:lnTo>
                      <a:pt x="359" y="494"/>
                    </a:lnTo>
                    <a:lnTo>
                      <a:pt x="357" y="492"/>
                    </a:lnTo>
                    <a:lnTo>
                      <a:pt x="359" y="492"/>
                    </a:lnTo>
                    <a:lnTo>
                      <a:pt x="357" y="492"/>
                    </a:lnTo>
                    <a:lnTo>
                      <a:pt x="359" y="492"/>
                    </a:lnTo>
                    <a:close/>
                    <a:moveTo>
                      <a:pt x="88" y="475"/>
                    </a:moveTo>
                    <a:lnTo>
                      <a:pt x="88" y="477"/>
                    </a:lnTo>
                    <a:lnTo>
                      <a:pt x="90" y="475"/>
                    </a:lnTo>
                    <a:lnTo>
                      <a:pt x="90" y="477"/>
                    </a:lnTo>
                    <a:lnTo>
                      <a:pt x="90" y="479"/>
                    </a:lnTo>
                    <a:lnTo>
                      <a:pt x="88" y="477"/>
                    </a:lnTo>
                    <a:lnTo>
                      <a:pt x="88" y="475"/>
                    </a:lnTo>
                    <a:close/>
                    <a:moveTo>
                      <a:pt x="98" y="483"/>
                    </a:moveTo>
                    <a:lnTo>
                      <a:pt x="98" y="481"/>
                    </a:lnTo>
                    <a:lnTo>
                      <a:pt x="98" y="479"/>
                    </a:lnTo>
                    <a:lnTo>
                      <a:pt x="98" y="477"/>
                    </a:lnTo>
                    <a:lnTo>
                      <a:pt x="100" y="479"/>
                    </a:lnTo>
                    <a:lnTo>
                      <a:pt x="100" y="481"/>
                    </a:lnTo>
                    <a:lnTo>
                      <a:pt x="98" y="481"/>
                    </a:lnTo>
                    <a:lnTo>
                      <a:pt x="98" y="483"/>
                    </a:lnTo>
                    <a:lnTo>
                      <a:pt x="98" y="484"/>
                    </a:lnTo>
                    <a:lnTo>
                      <a:pt x="98" y="486"/>
                    </a:lnTo>
                    <a:lnTo>
                      <a:pt x="96" y="486"/>
                    </a:lnTo>
                    <a:lnTo>
                      <a:pt x="94" y="484"/>
                    </a:lnTo>
                    <a:lnTo>
                      <a:pt x="94" y="483"/>
                    </a:lnTo>
                    <a:lnTo>
                      <a:pt x="96" y="483"/>
                    </a:lnTo>
                    <a:lnTo>
                      <a:pt x="96" y="481"/>
                    </a:lnTo>
                    <a:lnTo>
                      <a:pt x="96" y="483"/>
                    </a:lnTo>
                    <a:lnTo>
                      <a:pt x="96" y="481"/>
                    </a:lnTo>
                    <a:lnTo>
                      <a:pt x="96" y="479"/>
                    </a:lnTo>
                    <a:lnTo>
                      <a:pt x="96" y="477"/>
                    </a:lnTo>
                    <a:lnTo>
                      <a:pt x="98" y="475"/>
                    </a:lnTo>
                    <a:lnTo>
                      <a:pt x="98" y="477"/>
                    </a:lnTo>
                    <a:lnTo>
                      <a:pt x="98" y="479"/>
                    </a:lnTo>
                    <a:lnTo>
                      <a:pt x="98" y="481"/>
                    </a:lnTo>
                    <a:lnTo>
                      <a:pt x="96" y="481"/>
                    </a:lnTo>
                    <a:lnTo>
                      <a:pt x="98" y="481"/>
                    </a:lnTo>
                    <a:lnTo>
                      <a:pt x="98" y="483"/>
                    </a:lnTo>
                    <a:close/>
                    <a:moveTo>
                      <a:pt x="92" y="483"/>
                    </a:moveTo>
                    <a:lnTo>
                      <a:pt x="92" y="481"/>
                    </a:lnTo>
                    <a:lnTo>
                      <a:pt x="92" y="479"/>
                    </a:lnTo>
                    <a:lnTo>
                      <a:pt x="90" y="477"/>
                    </a:lnTo>
                    <a:lnTo>
                      <a:pt x="90" y="475"/>
                    </a:lnTo>
                    <a:lnTo>
                      <a:pt x="92" y="475"/>
                    </a:lnTo>
                    <a:lnTo>
                      <a:pt x="92" y="477"/>
                    </a:lnTo>
                    <a:lnTo>
                      <a:pt x="94" y="477"/>
                    </a:lnTo>
                    <a:lnTo>
                      <a:pt x="94" y="479"/>
                    </a:lnTo>
                    <a:lnTo>
                      <a:pt x="94" y="481"/>
                    </a:lnTo>
                    <a:lnTo>
                      <a:pt x="92" y="483"/>
                    </a:lnTo>
                    <a:close/>
                    <a:moveTo>
                      <a:pt x="357" y="492"/>
                    </a:moveTo>
                    <a:lnTo>
                      <a:pt x="357" y="490"/>
                    </a:lnTo>
                    <a:lnTo>
                      <a:pt x="357" y="492"/>
                    </a:lnTo>
                    <a:close/>
                    <a:moveTo>
                      <a:pt x="355" y="490"/>
                    </a:moveTo>
                    <a:lnTo>
                      <a:pt x="353" y="490"/>
                    </a:lnTo>
                    <a:lnTo>
                      <a:pt x="355" y="490"/>
                    </a:lnTo>
                    <a:close/>
                    <a:moveTo>
                      <a:pt x="353" y="490"/>
                    </a:moveTo>
                    <a:lnTo>
                      <a:pt x="351" y="490"/>
                    </a:lnTo>
                    <a:lnTo>
                      <a:pt x="353" y="490"/>
                    </a:lnTo>
                    <a:close/>
                    <a:moveTo>
                      <a:pt x="86" y="473"/>
                    </a:moveTo>
                    <a:lnTo>
                      <a:pt x="84" y="471"/>
                    </a:lnTo>
                    <a:lnTo>
                      <a:pt x="86" y="471"/>
                    </a:lnTo>
                    <a:lnTo>
                      <a:pt x="86" y="473"/>
                    </a:lnTo>
                    <a:close/>
                    <a:moveTo>
                      <a:pt x="104" y="473"/>
                    </a:moveTo>
                    <a:lnTo>
                      <a:pt x="104" y="477"/>
                    </a:lnTo>
                    <a:lnTo>
                      <a:pt x="102" y="477"/>
                    </a:lnTo>
                    <a:lnTo>
                      <a:pt x="102" y="475"/>
                    </a:lnTo>
                    <a:lnTo>
                      <a:pt x="104" y="475"/>
                    </a:lnTo>
                    <a:lnTo>
                      <a:pt x="104" y="473"/>
                    </a:lnTo>
                    <a:close/>
                    <a:moveTo>
                      <a:pt x="96" y="473"/>
                    </a:moveTo>
                    <a:lnTo>
                      <a:pt x="94" y="477"/>
                    </a:lnTo>
                    <a:lnTo>
                      <a:pt x="94" y="479"/>
                    </a:lnTo>
                    <a:lnTo>
                      <a:pt x="94" y="477"/>
                    </a:lnTo>
                    <a:lnTo>
                      <a:pt x="92" y="477"/>
                    </a:lnTo>
                    <a:lnTo>
                      <a:pt x="92" y="475"/>
                    </a:lnTo>
                    <a:lnTo>
                      <a:pt x="94" y="475"/>
                    </a:lnTo>
                    <a:lnTo>
                      <a:pt x="96" y="473"/>
                    </a:lnTo>
                    <a:lnTo>
                      <a:pt x="96" y="471"/>
                    </a:lnTo>
                    <a:lnTo>
                      <a:pt x="96" y="473"/>
                    </a:lnTo>
                    <a:close/>
                    <a:moveTo>
                      <a:pt x="86" y="475"/>
                    </a:moveTo>
                    <a:lnTo>
                      <a:pt x="86" y="473"/>
                    </a:lnTo>
                    <a:lnTo>
                      <a:pt x="86" y="475"/>
                    </a:lnTo>
                    <a:lnTo>
                      <a:pt x="88" y="475"/>
                    </a:lnTo>
                    <a:lnTo>
                      <a:pt x="88" y="477"/>
                    </a:lnTo>
                    <a:lnTo>
                      <a:pt x="86" y="477"/>
                    </a:lnTo>
                    <a:lnTo>
                      <a:pt x="86" y="479"/>
                    </a:lnTo>
                    <a:lnTo>
                      <a:pt x="86" y="477"/>
                    </a:lnTo>
                    <a:lnTo>
                      <a:pt x="84" y="477"/>
                    </a:lnTo>
                    <a:lnTo>
                      <a:pt x="84" y="475"/>
                    </a:lnTo>
                    <a:lnTo>
                      <a:pt x="82" y="475"/>
                    </a:lnTo>
                    <a:lnTo>
                      <a:pt x="82" y="473"/>
                    </a:lnTo>
                    <a:lnTo>
                      <a:pt x="82" y="471"/>
                    </a:lnTo>
                    <a:lnTo>
                      <a:pt x="84" y="471"/>
                    </a:lnTo>
                    <a:lnTo>
                      <a:pt x="84" y="473"/>
                    </a:lnTo>
                    <a:lnTo>
                      <a:pt x="86" y="473"/>
                    </a:lnTo>
                    <a:lnTo>
                      <a:pt x="86" y="475"/>
                    </a:lnTo>
                    <a:close/>
                    <a:moveTo>
                      <a:pt x="100" y="471"/>
                    </a:moveTo>
                    <a:lnTo>
                      <a:pt x="100" y="473"/>
                    </a:lnTo>
                    <a:lnTo>
                      <a:pt x="100" y="475"/>
                    </a:lnTo>
                    <a:lnTo>
                      <a:pt x="98" y="477"/>
                    </a:lnTo>
                    <a:lnTo>
                      <a:pt x="98" y="475"/>
                    </a:lnTo>
                    <a:lnTo>
                      <a:pt x="98" y="473"/>
                    </a:lnTo>
                    <a:lnTo>
                      <a:pt x="100" y="473"/>
                    </a:lnTo>
                    <a:lnTo>
                      <a:pt x="100" y="471"/>
                    </a:lnTo>
                    <a:close/>
                    <a:moveTo>
                      <a:pt x="350" y="486"/>
                    </a:moveTo>
                    <a:lnTo>
                      <a:pt x="350" y="488"/>
                    </a:lnTo>
                    <a:lnTo>
                      <a:pt x="350" y="486"/>
                    </a:lnTo>
                    <a:close/>
                    <a:moveTo>
                      <a:pt x="102" y="473"/>
                    </a:moveTo>
                    <a:lnTo>
                      <a:pt x="100" y="473"/>
                    </a:lnTo>
                    <a:lnTo>
                      <a:pt x="100" y="471"/>
                    </a:lnTo>
                    <a:lnTo>
                      <a:pt x="102" y="471"/>
                    </a:lnTo>
                    <a:lnTo>
                      <a:pt x="102" y="473"/>
                    </a:lnTo>
                    <a:close/>
                    <a:moveTo>
                      <a:pt x="102" y="471"/>
                    </a:moveTo>
                    <a:lnTo>
                      <a:pt x="104" y="473"/>
                    </a:lnTo>
                    <a:lnTo>
                      <a:pt x="104" y="475"/>
                    </a:lnTo>
                    <a:lnTo>
                      <a:pt x="102" y="477"/>
                    </a:lnTo>
                    <a:lnTo>
                      <a:pt x="102" y="479"/>
                    </a:lnTo>
                    <a:lnTo>
                      <a:pt x="100" y="479"/>
                    </a:lnTo>
                    <a:lnTo>
                      <a:pt x="98" y="477"/>
                    </a:lnTo>
                    <a:lnTo>
                      <a:pt x="100" y="475"/>
                    </a:lnTo>
                    <a:lnTo>
                      <a:pt x="100" y="477"/>
                    </a:lnTo>
                    <a:lnTo>
                      <a:pt x="100" y="475"/>
                    </a:lnTo>
                    <a:lnTo>
                      <a:pt x="100" y="473"/>
                    </a:lnTo>
                    <a:lnTo>
                      <a:pt x="102" y="473"/>
                    </a:lnTo>
                    <a:lnTo>
                      <a:pt x="102" y="471"/>
                    </a:lnTo>
                    <a:close/>
                    <a:moveTo>
                      <a:pt x="430" y="484"/>
                    </a:moveTo>
                    <a:lnTo>
                      <a:pt x="430" y="486"/>
                    </a:lnTo>
                    <a:lnTo>
                      <a:pt x="430" y="484"/>
                    </a:lnTo>
                    <a:lnTo>
                      <a:pt x="428" y="484"/>
                    </a:lnTo>
                    <a:lnTo>
                      <a:pt x="430" y="484"/>
                    </a:lnTo>
                    <a:close/>
                    <a:moveTo>
                      <a:pt x="102" y="469"/>
                    </a:moveTo>
                    <a:lnTo>
                      <a:pt x="100" y="471"/>
                    </a:lnTo>
                    <a:lnTo>
                      <a:pt x="100" y="469"/>
                    </a:lnTo>
                    <a:lnTo>
                      <a:pt x="102" y="469"/>
                    </a:lnTo>
                    <a:close/>
                    <a:moveTo>
                      <a:pt x="426" y="484"/>
                    </a:moveTo>
                    <a:lnTo>
                      <a:pt x="428" y="484"/>
                    </a:lnTo>
                    <a:lnTo>
                      <a:pt x="430" y="486"/>
                    </a:lnTo>
                    <a:lnTo>
                      <a:pt x="428" y="486"/>
                    </a:lnTo>
                    <a:lnTo>
                      <a:pt x="428" y="484"/>
                    </a:lnTo>
                    <a:lnTo>
                      <a:pt x="426" y="484"/>
                    </a:lnTo>
                    <a:close/>
                    <a:moveTo>
                      <a:pt x="96" y="471"/>
                    </a:moveTo>
                    <a:lnTo>
                      <a:pt x="96" y="473"/>
                    </a:lnTo>
                    <a:lnTo>
                      <a:pt x="94" y="473"/>
                    </a:lnTo>
                    <a:lnTo>
                      <a:pt x="94" y="471"/>
                    </a:lnTo>
                    <a:lnTo>
                      <a:pt x="92" y="471"/>
                    </a:lnTo>
                    <a:lnTo>
                      <a:pt x="92" y="469"/>
                    </a:lnTo>
                    <a:lnTo>
                      <a:pt x="94" y="469"/>
                    </a:lnTo>
                    <a:lnTo>
                      <a:pt x="96" y="471"/>
                    </a:lnTo>
                    <a:close/>
                    <a:moveTo>
                      <a:pt x="399" y="484"/>
                    </a:moveTo>
                    <a:lnTo>
                      <a:pt x="398" y="484"/>
                    </a:lnTo>
                    <a:lnTo>
                      <a:pt x="399" y="484"/>
                    </a:lnTo>
                    <a:lnTo>
                      <a:pt x="398" y="484"/>
                    </a:lnTo>
                    <a:lnTo>
                      <a:pt x="399" y="484"/>
                    </a:lnTo>
                    <a:lnTo>
                      <a:pt x="401" y="484"/>
                    </a:lnTo>
                    <a:lnTo>
                      <a:pt x="399" y="484"/>
                    </a:lnTo>
                    <a:close/>
                    <a:moveTo>
                      <a:pt x="398" y="484"/>
                    </a:moveTo>
                    <a:lnTo>
                      <a:pt x="396" y="484"/>
                    </a:lnTo>
                    <a:lnTo>
                      <a:pt x="398" y="484"/>
                    </a:lnTo>
                    <a:close/>
                    <a:moveTo>
                      <a:pt x="100" y="469"/>
                    </a:moveTo>
                    <a:lnTo>
                      <a:pt x="100" y="471"/>
                    </a:lnTo>
                    <a:lnTo>
                      <a:pt x="98" y="473"/>
                    </a:lnTo>
                    <a:lnTo>
                      <a:pt x="98" y="471"/>
                    </a:lnTo>
                    <a:lnTo>
                      <a:pt x="98" y="469"/>
                    </a:lnTo>
                    <a:lnTo>
                      <a:pt x="100" y="469"/>
                    </a:lnTo>
                    <a:lnTo>
                      <a:pt x="100" y="467"/>
                    </a:lnTo>
                    <a:lnTo>
                      <a:pt x="100" y="469"/>
                    </a:lnTo>
                    <a:close/>
                    <a:moveTo>
                      <a:pt x="396" y="484"/>
                    </a:moveTo>
                    <a:lnTo>
                      <a:pt x="394" y="484"/>
                    </a:lnTo>
                    <a:lnTo>
                      <a:pt x="396" y="484"/>
                    </a:lnTo>
                    <a:close/>
                    <a:moveTo>
                      <a:pt x="424" y="483"/>
                    </a:moveTo>
                    <a:lnTo>
                      <a:pt x="423" y="483"/>
                    </a:lnTo>
                    <a:lnTo>
                      <a:pt x="424" y="483"/>
                    </a:lnTo>
                    <a:close/>
                    <a:moveTo>
                      <a:pt x="424" y="483"/>
                    </a:moveTo>
                    <a:lnTo>
                      <a:pt x="424" y="484"/>
                    </a:lnTo>
                    <a:lnTo>
                      <a:pt x="424" y="483"/>
                    </a:lnTo>
                    <a:lnTo>
                      <a:pt x="424" y="484"/>
                    </a:lnTo>
                    <a:lnTo>
                      <a:pt x="424" y="483"/>
                    </a:lnTo>
                    <a:lnTo>
                      <a:pt x="423" y="483"/>
                    </a:lnTo>
                    <a:lnTo>
                      <a:pt x="424" y="483"/>
                    </a:lnTo>
                    <a:close/>
                    <a:moveTo>
                      <a:pt x="88" y="467"/>
                    </a:moveTo>
                    <a:lnTo>
                      <a:pt x="86" y="467"/>
                    </a:lnTo>
                    <a:lnTo>
                      <a:pt x="88" y="465"/>
                    </a:lnTo>
                    <a:lnTo>
                      <a:pt x="88" y="467"/>
                    </a:lnTo>
                    <a:close/>
                    <a:moveTo>
                      <a:pt x="351" y="484"/>
                    </a:moveTo>
                    <a:lnTo>
                      <a:pt x="353" y="483"/>
                    </a:lnTo>
                    <a:lnTo>
                      <a:pt x="351" y="483"/>
                    </a:lnTo>
                    <a:lnTo>
                      <a:pt x="351" y="484"/>
                    </a:lnTo>
                    <a:close/>
                    <a:moveTo>
                      <a:pt x="86" y="465"/>
                    </a:moveTo>
                    <a:lnTo>
                      <a:pt x="86" y="467"/>
                    </a:lnTo>
                    <a:lnTo>
                      <a:pt x="86" y="469"/>
                    </a:lnTo>
                    <a:lnTo>
                      <a:pt x="84" y="469"/>
                    </a:lnTo>
                    <a:lnTo>
                      <a:pt x="84" y="467"/>
                    </a:lnTo>
                    <a:lnTo>
                      <a:pt x="86" y="467"/>
                    </a:lnTo>
                    <a:lnTo>
                      <a:pt x="86" y="465"/>
                    </a:lnTo>
                    <a:close/>
                    <a:moveTo>
                      <a:pt x="423" y="483"/>
                    </a:moveTo>
                    <a:lnTo>
                      <a:pt x="421" y="483"/>
                    </a:lnTo>
                    <a:lnTo>
                      <a:pt x="423" y="483"/>
                    </a:lnTo>
                    <a:close/>
                    <a:moveTo>
                      <a:pt x="407" y="483"/>
                    </a:moveTo>
                    <a:lnTo>
                      <a:pt x="405" y="483"/>
                    </a:lnTo>
                    <a:lnTo>
                      <a:pt x="403" y="483"/>
                    </a:lnTo>
                    <a:lnTo>
                      <a:pt x="405" y="483"/>
                    </a:lnTo>
                    <a:lnTo>
                      <a:pt x="407" y="483"/>
                    </a:lnTo>
                    <a:close/>
                    <a:moveTo>
                      <a:pt x="388" y="484"/>
                    </a:moveTo>
                    <a:lnTo>
                      <a:pt x="386" y="483"/>
                    </a:lnTo>
                    <a:lnTo>
                      <a:pt x="388" y="484"/>
                    </a:lnTo>
                    <a:close/>
                    <a:moveTo>
                      <a:pt x="353" y="483"/>
                    </a:moveTo>
                    <a:lnTo>
                      <a:pt x="353" y="484"/>
                    </a:lnTo>
                    <a:lnTo>
                      <a:pt x="353" y="483"/>
                    </a:lnTo>
                    <a:close/>
                    <a:moveTo>
                      <a:pt x="81" y="467"/>
                    </a:moveTo>
                    <a:lnTo>
                      <a:pt x="81" y="465"/>
                    </a:lnTo>
                    <a:lnTo>
                      <a:pt x="81" y="467"/>
                    </a:lnTo>
                    <a:close/>
                    <a:moveTo>
                      <a:pt x="411" y="483"/>
                    </a:moveTo>
                    <a:lnTo>
                      <a:pt x="409" y="483"/>
                    </a:lnTo>
                    <a:lnTo>
                      <a:pt x="407" y="483"/>
                    </a:lnTo>
                    <a:lnTo>
                      <a:pt x="409" y="483"/>
                    </a:lnTo>
                    <a:lnTo>
                      <a:pt x="411" y="483"/>
                    </a:lnTo>
                    <a:close/>
                    <a:moveTo>
                      <a:pt x="407" y="483"/>
                    </a:moveTo>
                    <a:lnTo>
                      <a:pt x="409" y="483"/>
                    </a:lnTo>
                    <a:lnTo>
                      <a:pt x="407" y="483"/>
                    </a:lnTo>
                    <a:close/>
                    <a:moveTo>
                      <a:pt x="419" y="483"/>
                    </a:moveTo>
                    <a:lnTo>
                      <a:pt x="421" y="483"/>
                    </a:lnTo>
                    <a:lnTo>
                      <a:pt x="419" y="483"/>
                    </a:lnTo>
                    <a:close/>
                    <a:moveTo>
                      <a:pt x="82" y="463"/>
                    </a:moveTo>
                    <a:lnTo>
                      <a:pt x="82" y="465"/>
                    </a:lnTo>
                    <a:lnTo>
                      <a:pt x="81" y="465"/>
                    </a:lnTo>
                    <a:lnTo>
                      <a:pt x="81" y="463"/>
                    </a:lnTo>
                    <a:lnTo>
                      <a:pt x="82" y="463"/>
                    </a:lnTo>
                    <a:close/>
                    <a:moveTo>
                      <a:pt x="417" y="483"/>
                    </a:moveTo>
                    <a:lnTo>
                      <a:pt x="419" y="483"/>
                    </a:lnTo>
                    <a:lnTo>
                      <a:pt x="417" y="483"/>
                    </a:lnTo>
                    <a:lnTo>
                      <a:pt x="415" y="483"/>
                    </a:lnTo>
                    <a:lnTo>
                      <a:pt x="417" y="483"/>
                    </a:lnTo>
                    <a:close/>
                    <a:moveTo>
                      <a:pt x="413" y="483"/>
                    </a:moveTo>
                    <a:lnTo>
                      <a:pt x="411" y="483"/>
                    </a:lnTo>
                    <a:lnTo>
                      <a:pt x="413" y="483"/>
                    </a:lnTo>
                    <a:close/>
                    <a:moveTo>
                      <a:pt x="417" y="483"/>
                    </a:moveTo>
                    <a:lnTo>
                      <a:pt x="415" y="483"/>
                    </a:lnTo>
                    <a:lnTo>
                      <a:pt x="417" y="483"/>
                    </a:lnTo>
                    <a:close/>
                    <a:moveTo>
                      <a:pt x="382" y="483"/>
                    </a:moveTo>
                    <a:lnTo>
                      <a:pt x="384" y="483"/>
                    </a:lnTo>
                    <a:lnTo>
                      <a:pt x="382" y="483"/>
                    </a:lnTo>
                    <a:close/>
                    <a:moveTo>
                      <a:pt x="355" y="483"/>
                    </a:moveTo>
                    <a:lnTo>
                      <a:pt x="355" y="481"/>
                    </a:lnTo>
                    <a:lnTo>
                      <a:pt x="355" y="483"/>
                    </a:lnTo>
                    <a:close/>
                    <a:moveTo>
                      <a:pt x="96" y="467"/>
                    </a:moveTo>
                    <a:lnTo>
                      <a:pt x="96" y="465"/>
                    </a:lnTo>
                    <a:lnTo>
                      <a:pt x="94" y="465"/>
                    </a:lnTo>
                    <a:lnTo>
                      <a:pt x="96" y="465"/>
                    </a:lnTo>
                    <a:lnTo>
                      <a:pt x="96" y="467"/>
                    </a:lnTo>
                    <a:close/>
                    <a:moveTo>
                      <a:pt x="380" y="481"/>
                    </a:moveTo>
                    <a:lnTo>
                      <a:pt x="380" y="483"/>
                    </a:lnTo>
                    <a:lnTo>
                      <a:pt x="378" y="483"/>
                    </a:lnTo>
                    <a:lnTo>
                      <a:pt x="380" y="483"/>
                    </a:lnTo>
                    <a:lnTo>
                      <a:pt x="378" y="483"/>
                    </a:lnTo>
                    <a:lnTo>
                      <a:pt x="378" y="481"/>
                    </a:lnTo>
                    <a:lnTo>
                      <a:pt x="380" y="481"/>
                    </a:lnTo>
                    <a:close/>
                    <a:moveTo>
                      <a:pt x="94" y="463"/>
                    </a:moveTo>
                    <a:lnTo>
                      <a:pt x="94" y="465"/>
                    </a:lnTo>
                    <a:lnTo>
                      <a:pt x="94" y="463"/>
                    </a:lnTo>
                    <a:lnTo>
                      <a:pt x="94" y="465"/>
                    </a:lnTo>
                    <a:lnTo>
                      <a:pt x="96" y="465"/>
                    </a:lnTo>
                    <a:lnTo>
                      <a:pt x="96" y="467"/>
                    </a:lnTo>
                    <a:lnTo>
                      <a:pt x="96" y="469"/>
                    </a:lnTo>
                    <a:lnTo>
                      <a:pt x="96" y="467"/>
                    </a:lnTo>
                    <a:lnTo>
                      <a:pt x="96" y="465"/>
                    </a:lnTo>
                    <a:lnTo>
                      <a:pt x="96" y="467"/>
                    </a:lnTo>
                    <a:lnTo>
                      <a:pt x="96" y="469"/>
                    </a:lnTo>
                    <a:lnTo>
                      <a:pt x="96" y="471"/>
                    </a:lnTo>
                    <a:lnTo>
                      <a:pt x="94" y="469"/>
                    </a:lnTo>
                    <a:lnTo>
                      <a:pt x="94" y="467"/>
                    </a:lnTo>
                    <a:lnTo>
                      <a:pt x="94" y="465"/>
                    </a:lnTo>
                    <a:lnTo>
                      <a:pt x="92" y="465"/>
                    </a:lnTo>
                    <a:lnTo>
                      <a:pt x="94" y="465"/>
                    </a:lnTo>
                    <a:lnTo>
                      <a:pt x="94" y="467"/>
                    </a:lnTo>
                    <a:lnTo>
                      <a:pt x="94" y="465"/>
                    </a:lnTo>
                    <a:lnTo>
                      <a:pt x="92" y="463"/>
                    </a:lnTo>
                    <a:lnTo>
                      <a:pt x="94" y="463"/>
                    </a:lnTo>
                    <a:lnTo>
                      <a:pt x="92" y="463"/>
                    </a:lnTo>
                    <a:lnTo>
                      <a:pt x="94" y="463"/>
                    </a:lnTo>
                    <a:close/>
                    <a:moveTo>
                      <a:pt x="438" y="481"/>
                    </a:moveTo>
                    <a:lnTo>
                      <a:pt x="438" y="483"/>
                    </a:lnTo>
                    <a:lnTo>
                      <a:pt x="438" y="481"/>
                    </a:lnTo>
                    <a:lnTo>
                      <a:pt x="438" y="479"/>
                    </a:lnTo>
                    <a:lnTo>
                      <a:pt x="440" y="479"/>
                    </a:lnTo>
                    <a:lnTo>
                      <a:pt x="438" y="479"/>
                    </a:lnTo>
                    <a:lnTo>
                      <a:pt x="438" y="481"/>
                    </a:lnTo>
                    <a:close/>
                    <a:moveTo>
                      <a:pt x="442" y="479"/>
                    </a:moveTo>
                    <a:lnTo>
                      <a:pt x="440" y="479"/>
                    </a:lnTo>
                    <a:lnTo>
                      <a:pt x="442" y="479"/>
                    </a:lnTo>
                    <a:close/>
                    <a:moveTo>
                      <a:pt x="357" y="481"/>
                    </a:moveTo>
                    <a:lnTo>
                      <a:pt x="357" y="479"/>
                    </a:lnTo>
                    <a:lnTo>
                      <a:pt x="359" y="479"/>
                    </a:lnTo>
                    <a:lnTo>
                      <a:pt x="357" y="481"/>
                    </a:lnTo>
                    <a:close/>
                    <a:moveTo>
                      <a:pt x="374" y="479"/>
                    </a:moveTo>
                    <a:lnTo>
                      <a:pt x="374" y="481"/>
                    </a:lnTo>
                    <a:lnTo>
                      <a:pt x="374" y="479"/>
                    </a:lnTo>
                    <a:close/>
                    <a:moveTo>
                      <a:pt x="92" y="461"/>
                    </a:moveTo>
                    <a:lnTo>
                      <a:pt x="92" y="463"/>
                    </a:lnTo>
                    <a:lnTo>
                      <a:pt x="92" y="465"/>
                    </a:lnTo>
                    <a:lnTo>
                      <a:pt x="92" y="467"/>
                    </a:lnTo>
                    <a:lnTo>
                      <a:pt x="94" y="467"/>
                    </a:lnTo>
                    <a:lnTo>
                      <a:pt x="94" y="469"/>
                    </a:lnTo>
                    <a:lnTo>
                      <a:pt x="92" y="469"/>
                    </a:lnTo>
                    <a:lnTo>
                      <a:pt x="92" y="467"/>
                    </a:lnTo>
                    <a:lnTo>
                      <a:pt x="92" y="465"/>
                    </a:lnTo>
                    <a:lnTo>
                      <a:pt x="90" y="465"/>
                    </a:lnTo>
                    <a:lnTo>
                      <a:pt x="90" y="463"/>
                    </a:lnTo>
                    <a:lnTo>
                      <a:pt x="90" y="461"/>
                    </a:lnTo>
                    <a:lnTo>
                      <a:pt x="92" y="461"/>
                    </a:lnTo>
                    <a:close/>
                    <a:moveTo>
                      <a:pt x="88" y="461"/>
                    </a:moveTo>
                    <a:lnTo>
                      <a:pt x="88" y="463"/>
                    </a:lnTo>
                    <a:lnTo>
                      <a:pt x="86" y="465"/>
                    </a:lnTo>
                    <a:lnTo>
                      <a:pt x="86" y="463"/>
                    </a:lnTo>
                    <a:lnTo>
                      <a:pt x="86" y="461"/>
                    </a:lnTo>
                    <a:lnTo>
                      <a:pt x="88" y="461"/>
                    </a:lnTo>
                    <a:close/>
                    <a:moveTo>
                      <a:pt x="81" y="460"/>
                    </a:moveTo>
                    <a:lnTo>
                      <a:pt x="81" y="461"/>
                    </a:lnTo>
                    <a:lnTo>
                      <a:pt x="82" y="461"/>
                    </a:lnTo>
                    <a:lnTo>
                      <a:pt x="81" y="461"/>
                    </a:lnTo>
                    <a:lnTo>
                      <a:pt x="81" y="460"/>
                    </a:lnTo>
                    <a:close/>
                    <a:moveTo>
                      <a:pt x="371" y="479"/>
                    </a:moveTo>
                    <a:lnTo>
                      <a:pt x="373" y="479"/>
                    </a:lnTo>
                    <a:lnTo>
                      <a:pt x="371" y="479"/>
                    </a:lnTo>
                    <a:lnTo>
                      <a:pt x="369" y="479"/>
                    </a:lnTo>
                    <a:lnTo>
                      <a:pt x="371" y="479"/>
                    </a:lnTo>
                    <a:close/>
                    <a:moveTo>
                      <a:pt x="88" y="460"/>
                    </a:moveTo>
                    <a:lnTo>
                      <a:pt x="88" y="461"/>
                    </a:lnTo>
                    <a:lnTo>
                      <a:pt x="88" y="460"/>
                    </a:lnTo>
                    <a:close/>
                    <a:moveTo>
                      <a:pt x="86" y="461"/>
                    </a:moveTo>
                    <a:lnTo>
                      <a:pt x="84" y="463"/>
                    </a:lnTo>
                    <a:lnTo>
                      <a:pt x="86" y="463"/>
                    </a:lnTo>
                    <a:lnTo>
                      <a:pt x="86" y="465"/>
                    </a:lnTo>
                    <a:lnTo>
                      <a:pt x="84" y="465"/>
                    </a:lnTo>
                    <a:lnTo>
                      <a:pt x="84" y="467"/>
                    </a:lnTo>
                    <a:lnTo>
                      <a:pt x="84" y="469"/>
                    </a:lnTo>
                    <a:lnTo>
                      <a:pt x="82" y="469"/>
                    </a:lnTo>
                    <a:lnTo>
                      <a:pt x="82" y="471"/>
                    </a:lnTo>
                    <a:lnTo>
                      <a:pt x="82" y="469"/>
                    </a:lnTo>
                    <a:lnTo>
                      <a:pt x="82" y="467"/>
                    </a:lnTo>
                    <a:lnTo>
                      <a:pt x="84" y="467"/>
                    </a:lnTo>
                    <a:lnTo>
                      <a:pt x="84" y="465"/>
                    </a:lnTo>
                    <a:lnTo>
                      <a:pt x="84" y="463"/>
                    </a:lnTo>
                    <a:lnTo>
                      <a:pt x="84" y="461"/>
                    </a:lnTo>
                    <a:lnTo>
                      <a:pt x="86" y="461"/>
                    </a:lnTo>
                    <a:lnTo>
                      <a:pt x="86" y="460"/>
                    </a:lnTo>
                    <a:lnTo>
                      <a:pt x="88" y="460"/>
                    </a:lnTo>
                    <a:lnTo>
                      <a:pt x="88" y="461"/>
                    </a:lnTo>
                    <a:lnTo>
                      <a:pt x="86" y="461"/>
                    </a:lnTo>
                    <a:close/>
                    <a:moveTo>
                      <a:pt x="359" y="477"/>
                    </a:moveTo>
                    <a:lnTo>
                      <a:pt x="359" y="479"/>
                    </a:lnTo>
                    <a:lnTo>
                      <a:pt x="359" y="477"/>
                    </a:lnTo>
                    <a:lnTo>
                      <a:pt x="359" y="479"/>
                    </a:lnTo>
                    <a:lnTo>
                      <a:pt x="357" y="479"/>
                    </a:lnTo>
                    <a:lnTo>
                      <a:pt x="357" y="477"/>
                    </a:lnTo>
                    <a:lnTo>
                      <a:pt x="359" y="477"/>
                    </a:lnTo>
                    <a:close/>
                    <a:moveTo>
                      <a:pt x="81" y="460"/>
                    </a:moveTo>
                    <a:lnTo>
                      <a:pt x="81" y="458"/>
                    </a:lnTo>
                    <a:lnTo>
                      <a:pt x="82" y="458"/>
                    </a:lnTo>
                    <a:lnTo>
                      <a:pt x="82" y="460"/>
                    </a:lnTo>
                    <a:lnTo>
                      <a:pt x="81" y="460"/>
                    </a:lnTo>
                    <a:close/>
                    <a:moveTo>
                      <a:pt x="82" y="460"/>
                    </a:moveTo>
                    <a:lnTo>
                      <a:pt x="82" y="461"/>
                    </a:lnTo>
                    <a:lnTo>
                      <a:pt x="82" y="463"/>
                    </a:lnTo>
                    <a:lnTo>
                      <a:pt x="81" y="463"/>
                    </a:lnTo>
                    <a:lnTo>
                      <a:pt x="79" y="463"/>
                    </a:lnTo>
                    <a:lnTo>
                      <a:pt x="81" y="463"/>
                    </a:lnTo>
                    <a:lnTo>
                      <a:pt x="81" y="461"/>
                    </a:lnTo>
                    <a:lnTo>
                      <a:pt x="81" y="463"/>
                    </a:lnTo>
                    <a:lnTo>
                      <a:pt x="79" y="463"/>
                    </a:lnTo>
                    <a:lnTo>
                      <a:pt x="79" y="461"/>
                    </a:lnTo>
                    <a:lnTo>
                      <a:pt x="81" y="461"/>
                    </a:lnTo>
                    <a:lnTo>
                      <a:pt x="81" y="460"/>
                    </a:lnTo>
                    <a:lnTo>
                      <a:pt x="81" y="461"/>
                    </a:lnTo>
                    <a:lnTo>
                      <a:pt x="81" y="463"/>
                    </a:lnTo>
                    <a:lnTo>
                      <a:pt x="81" y="461"/>
                    </a:lnTo>
                    <a:lnTo>
                      <a:pt x="82" y="461"/>
                    </a:lnTo>
                    <a:lnTo>
                      <a:pt x="81" y="460"/>
                    </a:lnTo>
                    <a:lnTo>
                      <a:pt x="82" y="460"/>
                    </a:lnTo>
                    <a:lnTo>
                      <a:pt x="81" y="460"/>
                    </a:lnTo>
                    <a:lnTo>
                      <a:pt x="82" y="460"/>
                    </a:lnTo>
                    <a:lnTo>
                      <a:pt x="82" y="458"/>
                    </a:lnTo>
                    <a:lnTo>
                      <a:pt x="82" y="460"/>
                    </a:lnTo>
                    <a:close/>
                    <a:moveTo>
                      <a:pt x="96" y="461"/>
                    </a:moveTo>
                    <a:lnTo>
                      <a:pt x="98" y="461"/>
                    </a:lnTo>
                    <a:lnTo>
                      <a:pt x="100" y="461"/>
                    </a:lnTo>
                    <a:lnTo>
                      <a:pt x="100" y="463"/>
                    </a:lnTo>
                    <a:lnTo>
                      <a:pt x="100" y="465"/>
                    </a:lnTo>
                    <a:lnTo>
                      <a:pt x="100" y="467"/>
                    </a:lnTo>
                    <a:lnTo>
                      <a:pt x="98" y="467"/>
                    </a:lnTo>
                    <a:lnTo>
                      <a:pt x="98" y="465"/>
                    </a:lnTo>
                    <a:lnTo>
                      <a:pt x="96" y="463"/>
                    </a:lnTo>
                    <a:lnTo>
                      <a:pt x="96" y="461"/>
                    </a:lnTo>
                    <a:lnTo>
                      <a:pt x="96" y="460"/>
                    </a:lnTo>
                    <a:lnTo>
                      <a:pt x="96" y="461"/>
                    </a:lnTo>
                    <a:close/>
                    <a:moveTo>
                      <a:pt x="79" y="460"/>
                    </a:moveTo>
                    <a:lnTo>
                      <a:pt x="77" y="458"/>
                    </a:lnTo>
                    <a:lnTo>
                      <a:pt x="79" y="458"/>
                    </a:lnTo>
                    <a:lnTo>
                      <a:pt x="79" y="460"/>
                    </a:lnTo>
                    <a:close/>
                    <a:moveTo>
                      <a:pt x="81" y="458"/>
                    </a:moveTo>
                    <a:lnTo>
                      <a:pt x="81" y="460"/>
                    </a:lnTo>
                    <a:lnTo>
                      <a:pt x="81" y="458"/>
                    </a:lnTo>
                    <a:lnTo>
                      <a:pt x="81" y="460"/>
                    </a:lnTo>
                    <a:lnTo>
                      <a:pt x="81" y="461"/>
                    </a:lnTo>
                    <a:lnTo>
                      <a:pt x="79" y="461"/>
                    </a:lnTo>
                    <a:lnTo>
                      <a:pt x="79" y="460"/>
                    </a:lnTo>
                    <a:lnTo>
                      <a:pt x="81" y="460"/>
                    </a:lnTo>
                    <a:lnTo>
                      <a:pt x="81" y="458"/>
                    </a:lnTo>
                    <a:close/>
                    <a:moveTo>
                      <a:pt x="82" y="458"/>
                    </a:moveTo>
                    <a:lnTo>
                      <a:pt x="81" y="458"/>
                    </a:lnTo>
                    <a:lnTo>
                      <a:pt x="82" y="458"/>
                    </a:lnTo>
                    <a:close/>
                    <a:moveTo>
                      <a:pt x="92" y="460"/>
                    </a:moveTo>
                    <a:lnTo>
                      <a:pt x="92" y="461"/>
                    </a:lnTo>
                    <a:lnTo>
                      <a:pt x="94" y="463"/>
                    </a:lnTo>
                    <a:lnTo>
                      <a:pt x="92" y="463"/>
                    </a:lnTo>
                    <a:lnTo>
                      <a:pt x="92" y="461"/>
                    </a:lnTo>
                    <a:lnTo>
                      <a:pt x="92" y="460"/>
                    </a:lnTo>
                    <a:lnTo>
                      <a:pt x="92" y="461"/>
                    </a:lnTo>
                    <a:lnTo>
                      <a:pt x="92" y="460"/>
                    </a:lnTo>
                    <a:lnTo>
                      <a:pt x="90" y="460"/>
                    </a:lnTo>
                    <a:lnTo>
                      <a:pt x="92" y="460"/>
                    </a:lnTo>
                    <a:lnTo>
                      <a:pt x="92" y="458"/>
                    </a:lnTo>
                    <a:lnTo>
                      <a:pt x="92" y="460"/>
                    </a:lnTo>
                    <a:close/>
                    <a:moveTo>
                      <a:pt x="81" y="458"/>
                    </a:moveTo>
                    <a:lnTo>
                      <a:pt x="79" y="458"/>
                    </a:lnTo>
                    <a:lnTo>
                      <a:pt x="81" y="458"/>
                    </a:lnTo>
                    <a:close/>
                    <a:moveTo>
                      <a:pt x="77" y="460"/>
                    </a:moveTo>
                    <a:lnTo>
                      <a:pt x="77" y="458"/>
                    </a:lnTo>
                    <a:lnTo>
                      <a:pt x="77" y="456"/>
                    </a:lnTo>
                    <a:lnTo>
                      <a:pt x="77" y="458"/>
                    </a:lnTo>
                    <a:lnTo>
                      <a:pt x="79" y="458"/>
                    </a:lnTo>
                    <a:lnTo>
                      <a:pt x="77" y="460"/>
                    </a:lnTo>
                    <a:close/>
                    <a:moveTo>
                      <a:pt x="84" y="458"/>
                    </a:moveTo>
                    <a:lnTo>
                      <a:pt x="86" y="458"/>
                    </a:lnTo>
                    <a:lnTo>
                      <a:pt x="86" y="460"/>
                    </a:lnTo>
                    <a:lnTo>
                      <a:pt x="84" y="458"/>
                    </a:lnTo>
                    <a:lnTo>
                      <a:pt x="84" y="460"/>
                    </a:lnTo>
                    <a:lnTo>
                      <a:pt x="86" y="460"/>
                    </a:lnTo>
                    <a:lnTo>
                      <a:pt x="84" y="460"/>
                    </a:lnTo>
                    <a:lnTo>
                      <a:pt x="84" y="461"/>
                    </a:lnTo>
                    <a:lnTo>
                      <a:pt x="84" y="460"/>
                    </a:lnTo>
                    <a:lnTo>
                      <a:pt x="84" y="458"/>
                    </a:lnTo>
                    <a:close/>
                    <a:moveTo>
                      <a:pt x="444" y="473"/>
                    </a:moveTo>
                    <a:lnTo>
                      <a:pt x="444" y="475"/>
                    </a:lnTo>
                    <a:lnTo>
                      <a:pt x="444" y="473"/>
                    </a:lnTo>
                    <a:lnTo>
                      <a:pt x="444" y="475"/>
                    </a:lnTo>
                    <a:lnTo>
                      <a:pt x="442" y="475"/>
                    </a:lnTo>
                    <a:lnTo>
                      <a:pt x="442" y="473"/>
                    </a:lnTo>
                    <a:lnTo>
                      <a:pt x="444" y="473"/>
                    </a:lnTo>
                    <a:close/>
                    <a:moveTo>
                      <a:pt x="542" y="467"/>
                    </a:moveTo>
                    <a:lnTo>
                      <a:pt x="542" y="465"/>
                    </a:lnTo>
                    <a:lnTo>
                      <a:pt x="542" y="467"/>
                    </a:lnTo>
                    <a:close/>
                    <a:moveTo>
                      <a:pt x="442" y="469"/>
                    </a:moveTo>
                    <a:lnTo>
                      <a:pt x="440" y="469"/>
                    </a:lnTo>
                    <a:lnTo>
                      <a:pt x="440" y="467"/>
                    </a:lnTo>
                    <a:lnTo>
                      <a:pt x="442" y="467"/>
                    </a:lnTo>
                    <a:lnTo>
                      <a:pt x="442" y="469"/>
                    </a:lnTo>
                    <a:lnTo>
                      <a:pt x="440" y="469"/>
                    </a:lnTo>
                    <a:lnTo>
                      <a:pt x="442" y="467"/>
                    </a:lnTo>
                    <a:lnTo>
                      <a:pt x="442" y="469"/>
                    </a:lnTo>
                    <a:close/>
                    <a:moveTo>
                      <a:pt x="459" y="463"/>
                    </a:moveTo>
                    <a:lnTo>
                      <a:pt x="459" y="465"/>
                    </a:lnTo>
                    <a:lnTo>
                      <a:pt x="459" y="463"/>
                    </a:lnTo>
                    <a:lnTo>
                      <a:pt x="457" y="463"/>
                    </a:lnTo>
                    <a:lnTo>
                      <a:pt x="459" y="463"/>
                    </a:lnTo>
                    <a:close/>
                    <a:moveTo>
                      <a:pt x="449" y="463"/>
                    </a:moveTo>
                    <a:lnTo>
                      <a:pt x="448" y="463"/>
                    </a:lnTo>
                    <a:lnTo>
                      <a:pt x="449" y="463"/>
                    </a:lnTo>
                    <a:close/>
                    <a:moveTo>
                      <a:pt x="461" y="465"/>
                    </a:moveTo>
                    <a:lnTo>
                      <a:pt x="459" y="465"/>
                    </a:lnTo>
                    <a:lnTo>
                      <a:pt x="461" y="465"/>
                    </a:lnTo>
                    <a:lnTo>
                      <a:pt x="461" y="463"/>
                    </a:lnTo>
                    <a:lnTo>
                      <a:pt x="463" y="463"/>
                    </a:lnTo>
                    <a:lnTo>
                      <a:pt x="461" y="465"/>
                    </a:lnTo>
                    <a:close/>
                    <a:moveTo>
                      <a:pt x="442" y="465"/>
                    </a:moveTo>
                    <a:lnTo>
                      <a:pt x="440" y="463"/>
                    </a:lnTo>
                    <a:lnTo>
                      <a:pt x="442" y="463"/>
                    </a:lnTo>
                    <a:lnTo>
                      <a:pt x="442" y="465"/>
                    </a:lnTo>
                    <a:close/>
                    <a:moveTo>
                      <a:pt x="484" y="460"/>
                    </a:moveTo>
                    <a:lnTo>
                      <a:pt x="484" y="461"/>
                    </a:lnTo>
                    <a:lnTo>
                      <a:pt x="486" y="461"/>
                    </a:lnTo>
                    <a:lnTo>
                      <a:pt x="484" y="461"/>
                    </a:lnTo>
                    <a:lnTo>
                      <a:pt x="486" y="461"/>
                    </a:lnTo>
                    <a:lnTo>
                      <a:pt x="484" y="461"/>
                    </a:lnTo>
                    <a:lnTo>
                      <a:pt x="484" y="460"/>
                    </a:lnTo>
                    <a:close/>
                    <a:moveTo>
                      <a:pt x="469" y="460"/>
                    </a:moveTo>
                    <a:lnTo>
                      <a:pt x="471" y="460"/>
                    </a:lnTo>
                    <a:lnTo>
                      <a:pt x="469" y="460"/>
                    </a:lnTo>
                    <a:lnTo>
                      <a:pt x="471" y="460"/>
                    </a:lnTo>
                    <a:lnTo>
                      <a:pt x="469" y="460"/>
                    </a:lnTo>
                    <a:close/>
                    <a:moveTo>
                      <a:pt x="484" y="460"/>
                    </a:moveTo>
                    <a:lnTo>
                      <a:pt x="482" y="458"/>
                    </a:lnTo>
                    <a:lnTo>
                      <a:pt x="484" y="460"/>
                    </a:lnTo>
                    <a:close/>
                    <a:moveTo>
                      <a:pt x="471" y="458"/>
                    </a:moveTo>
                    <a:lnTo>
                      <a:pt x="471" y="460"/>
                    </a:lnTo>
                    <a:lnTo>
                      <a:pt x="471" y="458"/>
                    </a:lnTo>
                    <a:close/>
                    <a:moveTo>
                      <a:pt x="472" y="456"/>
                    </a:moveTo>
                    <a:lnTo>
                      <a:pt x="472" y="454"/>
                    </a:lnTo>
                    <a:lnTo>
                      <a:pt x="474" y="454"/>
                    </a:lnTo>
                    <a:lnTo>
                      <a:pt x="474" y="456"/>
                    </a:lnTo>
                    <a:lnTo>
                      <a:pt x="472" y="456"/>
                    </a:lnTo>
                    <a:close/>
                    <a:moveTo>
                      <a:pt x="474" y="448"/>
                    </a:moveTo>
                    <a:lnTo>
                      <a:pt x="474" y="450"/>
                    </a:lnTo>
                    <a:lnTo>
                      <a:pt x="474" y="448"/>
                    </a:lnTo>
                    <a:close/>
                    <a:moveTo>
                      <a:pt x="474" y="446"/>
                    </a:moveTo>
                    <a:lnTo>
                      <a:pt x="474" y="448"/>
                    </a:lnTo>
                    <a:lnTo>
                      <a:pt x="474" y="446"/>
                    </a:lnTo>
                    <a:close/>
                    <a:moveTo>
                      <a:pt x="474" y="448"/>
                    </a:moveTo>
                    <a:lnTo>
                      <a:pt x="474" y="446"/>
                    </a:lnTo>
                    <a:lnTo>
                      <a:pt x="476" y="446"/>
                    </a:lnTo>
                    <a:lnTo>
                      <a:pt x="474" y="448"/>
                    </a:lnTo>
                    <a:close/>
                    <a:moveTo>
                      <a:pt x="472" y="444"/>
                    </a:moveTo>
                    <a:lnTo>
                      <a:pt x="472" y="442"/>
                    </a:lnTo>
                    <a:lnTo>
                      <a:pt x="472" y="444"/>
                    </a:lnTo>
                    <a:close/>
                    <a:moveTo>
                      <a:pt x="480" y="438"/>
                    </a:moveTo>
                    <a:lnTo>
                      <a:pt x="480" y="436"/>
                    </a:lnTo>
                    <a:lnTo>
                      <a:pt x="482" y="436"/>
                    </a:lnTo>
                    <a:lnTo>
                      <a:pt x="480" y="438"/>
                    </a:lnTo>
                    <a:close/>
                    <a:moveTo>
                      <a:pt x="544" y="435"/>
                    </a:moveTo>
                    <a:lnTo>
                      <a:pt x="542" y="433"/>
                    </a:lnTo>
                    <a:lnTo>
                      <a:pt x="544" y="433"/>
                    </a:lnTo>
                    <a:lnTo>
                      <a:pt x="544" y="435"/>
                    </a:lnTo>
                    <a:close/>
                    <a:moveTo>
                      <a:pt x="486" y="435"/>
                    </a:moveTo>
                    <a:lnTo>
                      <a:pt x="484" y="435"/>
                    </a:lnTo>
                    <a:lnTo>
                      <a:pt x="484" y="436"/>
                    </a:lnTo>
                    <a:lnTo>
                      <a:pt x="484" y="435"/>
                    </a:lnTo>
                    <a:lnTo>
                      <a:pt x="486" y="435"/>
                    </a:lnTo>
                    <a:close/>
                    <a:moveTo>
                      <a:pt x="542" y="433"/>
                    </a:moveTo>
                    <a:lnTo>
                      <a:pt x="542" y="431"/>
                    </a:lnTo>
                    <a:lnTo>
                      <a:pt x="542" y="433"/>
                    </a:lnTo>
                    <a:close/>
                    <a:moveTo>
                      <a:pt x="542" y="433"/>
                    </a:moveTo>
                    <a:lnTo>
                      <a:pt x="540" y="431"/>
                    </a:lnTo>
                    <a:lnTo>
                      <a:pt x="542" y="433"/>
                    </a:lnTo>
                    <a:lnTo>
                      <a:pt x="540" y="431"/>
                    </a:lnTo>
                    <a:lnTo>
                      <a:pt x="542" y="431"/>
                    </a:lnTo>
                    <a:lnTo>
                      <a:pt x="542" y="433"/>
                    </a:lnTo>
                    <a:close/>
                    <a:moveTo>
                      <a:pt x="488" y="433"/>
                    </a:moveTo>
                    <a:lnTo>
                      <a:pt x="486" y="435"/>
                    </a:lnTo>
                    <a:lnTo>
                      <a:pt x="486" y="433"/>
                    </a:lnTo>
                    <a:lnTo>
                      <a:pt x="488" y="433"/>
                    </a:lnTo>
                    <a:close/>
                    <a:moveTo>
                      <a:pt x="494" y="433"/>
                    </a:moveTo>
                    <a:lnTo>
                      <a:pt x="496" y="433"/>
                    </a:lnTo>
                    <a:lnTo>
                      <a:pt x="494" y="433"/>
                    </a:lnTo>
                    <a:close/>
                    <a:moveTo>
                      <a:pt x="542" y="431"/>
                    </a:moveTo>
                    <a:lnTo>
                      <a:pt x="540" y="429"/>
                    </a:lnTo>
                    <a:lnTo>
                      <a:pt x="542" y="429"/>
                    </a:lnTo>
                    <a:lnTo>
                      <a:pt x="542" y="431"/>
                    </a:lnTo>
                    <a:close/>
                    <a:moveTo>
                      <a:pt x="542" y="429"/>
                    </a:moveTo>
                    <a:lnTo>
                      <a:pt x="542" y="431"/>
                    </a:lnTo>
                    <a:lnTo>
                      <a:pt x="542" y="429"/>
                    </a:lnTo>
                    <a:close/>
                    <a:moveTo>
                      <a:pt x="542" y="429"/>
                    </a:moveTo>
                    <a:lnTo>
                      <a:pt x="540" y="429"/>
                    </a:lnTo>
                    <a:lnTo>
                      <a:pt x="540" y="427"/>
                    </a:lnTo>
                    <a:lnTo>
                      <a:pt x="542" y="427"/>
                    </a:lnTo>
                    <a:lnTo>
                      <a:pt x="542" y="429"/>
                    </a:lnTo>
                    <a:close/>
                    <a:moveTo>
                      <a:pt x="497" y="431"/>
                    </a:moveTo>
                    <a:lnTo>
                      <a:pt x="496" y="431"/>
                    </a:lnTo>
                    <a:lnTo>
                      <a:pt x="497" y="431"/>
                    </a:lnTo>
                    <a:lnTo>
                      <a:pt x="499" y="431"/>
                    </a:lnTo>
                    <a:lnTo>
                      <a:pt x="497" y="431"/>
                    </a:lnTo>
                    <a:close/>
                    <a:moveTo>
                      <a:pt x="540" y="429"/>
                    </a:moveTo>
                    <a:lnTo>
                      <a:pt x="540" y="427"/>
                    </a:lnTo>
                    <a:lnTo>
                      <a:pt x="540" y="429"/>
                    </a:lnTo>
                    <a:close/>
                    <a:moveTo>
                      <a:pt x="503" y="429"/>
                    </a:moveTo>
                    <a:lnTo>
                      <a:pt x="501" y="429"/>
                    </a:lnTo>
                    <a:lnTo>
                      <a:pt x="503" y="429"/>
                    </a:lnTo>
                    <a:close/>
                    <a:moveTo>
                      <a:pt x="509" y="429"/>
                    </a:moveTo>
                    <a:lnTo>
                      <a:pt x="507" y="429"/>
                    </a:lnTo>
                    <a:lnTo>
                      <a:pt x="509" y="429"/>
                    </a:lnTo>
                    <a:close/>
                    <a:moveTo>
                      <a:pt x="509" y="429"/>
                    </a:moveTo>
                    <a:lnTo>
                      <a:pt x="507" y="429"/>
                    </a:lnTo>
                    <a:lnTo>
                      <a:pt x="509" y="429"/>
                    </a:lnTo>
                    <a:close/>
                    <a:moveTo>
                      <a:pt x="257" y="431"/>
                    </a:moveTo>
                    <a:lnTo>
                      <a:pt x="257" y="429"/>
                    </a:lnTo>
                    <a:lnTo>
                      <a:pt x="257" y="431"/>
                    </a:lnTo>
                    <a:close/>
                    <a:moveTo>
                      <a:pt x="540" y="427"/>
                    </a:moveTo>
                    <a:lnTo>
                      <a:pt x="538" y="427"/>
                    </a:lnTo>
                    <a:lnTo>
                      <a:pt x="538" y="425"/>
                    </a:lnTo>
                    <a:lnTo>
                      <a:pt x="540" y="425"/>
                    </a:lnTo>
                    <a:lnTo>
                      <a:pt x="540" y="427"/>
                    </a:lnTo>
                    <a:close/>
                    <a:moveTo>
                      <a:pt x="542" y="425"/>
                    </a:moveTo>
                    <a:lnTo>
                      <a:pt x="542" y="427"/>
                    </a:lnTo>
                    <a:lnTo>
                      <a:pt x="544" y="427"/>
                    </a:lnTo>
                    <a:lnTo>
                      <a:pt x="544" y="429"/>
                    </a:lnTo>
                    <a:lnTo>
                      <a:pt x="542" y="429"/>
                    </a:lnTo>
                    <a:lnTo>
                      <a:pt x="542" y="427"/>
                    </a:lnTo>
                    <a:lnTo>
                      <a:pt x="540" y="427"/>
                    </a:lnTo>
                    <a:lnTo>
                      <a:pt x="540" y="425"/>
                    </a:lnTo>
                    <a:lnTo>
                      <a:pt x="542" y="425"/>
                    </a:lnTo>
                    <a:close/>
                    <a:moveTo>
                      <a:pt x="519" y="427"/>
                    </a:moveTo>
                    <a:lnTo>
                      <a:pt x="517" y="427"/>
                    </a:lnTo>
                    <a:lnTo>
                      <a:pt x="519" y="427"/>
                    </a:lnTo>
                    <a:close/>
                    <a:moveTo>
                      <a:pt x="517" y="425"/>
                    </a:moveTo>
                    <a:lnTo>
                      <a:pt x="517" y="423"/>
                    </a:lnTo>
                    <a:lnTo>
                      <a:pt x="517" y="425"/>
                    </a:lnTo>
                    <a:lnTo>
                      <a:pt x="517" y="423"/>
                    </a:lnTo>
                    <a:lnTo>
                      <a:pt x="519" y="423"/>
                    </a:lnTo>
                    <a:lnTo>
                      <a:pt x="521" y="423"/>
                    </a:lnTo>
                    <a:lnTo>
                      <a:pt x="521" y="425"/>
                    </a:lnTo>
                    <a:lnTo>
                      <a:pt x="519" y="425"/>
                    </a:lnTo>
                    <a:lnTo>
                      <a:pt x="519" y="427"/>
                    </a:lnTo>
                    <a:lnTo>
                      <a:pt x="517" y="427"/>
                    </a:lnTo>
                    <a:lnTo>
                      <a:pt x="515" y="427"/>
                    </a:lnTo>
                    <a:lnTo>
                      <a:pt x="517" y="427"/>
                    </a:lnTo>
                    <a:lnTo>
                      <a:pt x="515" y="427"/>
                    </a:lnTo>
                    <a:lnTo>
                      <a:pt x="513" y="427"/>
                    </a:lnTo>
                    <a:lnTo>
                      <a:pt x="513" y="429"/>
                    </a:lnTo>
                    <a:lnTo>
                      <a:pt x="511" y="429"/>
                    </a:lnTo>
                    <a:lnTo>
                      <a:pt x="513" y="429"/>
                    </a:lnTo>
                    <a:lnTo>
                      <a:pt x="513" y="427"/>
                    </a:lnTo>
                    <a:lnTo>
                      <a:pt x="513" y="429"/>
                    </a:lnTo>
                    <a:lnTo>
                      <a:pt x="511" y="429"/>
                    </a:lnTo>
                    <a:lnTo>
                      <a:pt x="509" y="429"/>
                    </a:lnTo>
                    <a:lnTo>
                      <a:pt x="507" y="429"/>
                    </a:lnTo>
                    <a:lnTo>
                      <a:pt x="505" y="429"/>
                    </a:lnTo>
                    <a:lnTo>
                      <a:pt x="501" y="429"/>
                    </a:lnTo>
                    <a:lnTo>
                      <a:pt x="499" y="429"/>
                    </a:lnTo>
                    <a:lnTo>
                      <a:pt x="499" y="431"/>
                    </a:lnTo>
                    <a:lnTo>
                      <a:pt x="497" y="431"/>
                    </a:lnTo>
                    <a:lnTo>
                      <a:pt x="497" y="429"/>
                    </a:lnTo>
                    <a:lnTo>
                      <a:pt x="499" y="429"/>
                    </a:lnTo>
                    <a:lnTo>
                      <a:pt x="499" y="427"/>
                    </a:lnTo>
                    <a:lnTo>
                      <a:pt x="501" y="427"/>
                    </a:lnTo>
                    <a:lnTo>
                      <a:pt x="501" y="429"/>
                    </a:lnTo>
                    <a:lnTo>
                      <a:pt x="503" y="429"/>
                    </a:lnTo>
                    <a:lnTo>
                      <a:pt x="503" y="427"/>
                    </a:lnTo>
                    <a:lnTo>
                      <a:pt x="503" y="425"/>
                    </a:lnTo>
                    <a:lnTo>
                      <a:pt x="505" y="425"/>
                    </a:lnTo>
                    <a:lnTo>
                      <a:pt x="507" y="425"/>
                    </a:lnTo>
                    <a:lnTo>
                      <a:pt x="509" y="425"/>
                    </a:lnTo>
                    <a:lnTo>
                      <a:pt x="511" y="425"/>
                    </a:lnTo>
                    <a:lnTo>
                      <a:pt x="513" y="425"/>
                    </a:lnTo>
                    <a:lnTo>
                      <a:pt x="515" y="425"/>
                    </a:lnTo>
                    <a:lnTo>
                      <a:pt x="513" y="423"/>
                    </a:lnTo>
                    <a:lnTo>
                      <a:pt x="515" y="423"/>
                    </a:lnTo>
                    <a:lnTo>
                      <a:pt x="517" y="423"/>
                    </a:lnTo>
                    <a:lnTo>
                      <a:pt x="517" y="425"/>
                    </a:lnTo>
                    <a:close/>
                    <a:moveTo>
                      <a:pt x="534" y="423"/>
                    </a:moveTo>
                    <a:lnTo>
                      <a:pt x="534" y="421"/>
                    </a:lnTo>
                    <a:lnTo>
                      <a:pt x="534" y="423"/>
                    </a:lnTo>
                    <a:close/>
                    <a:moveTo>
                      <a:pt x="522" y="423"/>
                    </a:moveTo>
                    <a:lnTo>
                      <a:pt x="522" y="425"/>
                    </a:lnTo>
                    <a:lnTo>
                      <a:pt x="522" y="427"/>
                    </a:lnTo>
                    <a:lnTo>
                      <a:pt x="521" y="427"/>
                    </a:lnTo>
                    <a:lnTo>
                      <a:pt x="519" y="427"/>
                    </a:lnTo>
                    <a:lnTo>
                      <a:pt x="517" y="427"/>
                    </a:lnTo>
                    <a:lnTo>
                      <a:pt x="519" y="427"/>
                    </a:lnTo>
                    <a:lnTo>
                      <a:pt x="521" y="425"/>
                    </a:lnTo>
                    <a:lnTo>
                      <a:pt x="521" y="423"/>
                    </a:lnTo>
                    <a:lnTo>
                      <a:pt x="521" y="425"/>
                    </a:lnTo>
                    <a:lnTo>
                      <a:pt x="521" y="423"/>
                    </a:lnTo>
                    <a:lnTo>
                      <a:pt x="522" y="423"/>
                    </a:lnTo>
                    <a:close/>
                    <a:moveTo>
                      <a:pt x="534" y="423"/>
                    </a:moveTo>
                    <a:lnTo>
                      <a:pt x="534" y="421"/>
                    </a:lnTo>
                    <a:lnTo>
                      <a:pt x="534" y="423"/>
                    </a:lnTo>
                    <a:close/>
                    <a:moveTo>
                      <a:pt x="532" y="419"/>
                    </a:moveTo>
                    <a:lnTo>
                      <a:pt x="532" y="421"/>
                    </a:lnTo>
                    <a:lnTo>
                      <a:pt x="532" y="423"/>
                    </a:lnTo>
                    <a:lnTo>
                      <a:pt x="530" y="423"/>
                    </a:lnTo>
                    <a:lnTo>
                      <a:pt x="530" y="421"/>
                    </a:lnTo>
                    <a:lnTo>
                      <a:pt x="530" y="423"/>
                    </a:lnTo>
                    <a:lnTo>
                      <a:pt x="530" y="421"/>
                    </a:lnTo>
                    <a:lnTo>
                      <a:pt x="528" y="421"/>
                    </a:lnTo>
                    <a:lnTo>
                      <a:pt x="528" y="419"/>
                    </a:lnTo>
                    <a:lnTo>
                      <a:pt x="528" y="421"/>
                    </a:lnTo>
                    <a:lnTo>
                      <a:pt x="528" y="419"/>
                    </a:lnTo>
                    <a:lnTo>
                      <a:pt x="530" y="419"/>
                    </a:lnTo>
                    <a:lnTo>
                      <a:pt x="532" y="419"/>
                    </a:lnTo>
                    <a:close/>
                    <a:moveTo>
                      <a:pt x="532" y="419"/>
                    </a:moveTo>
                    <a:lnTo>
                      <a:pt x="530" y="419"/>
                    </a:lnTo>
                    <a:lnTo>
                      <a:pt x="528" y="419"/>
                    </a:lnTo>
                    <a:lnTo>
                      <a:pt x="530" y="419"/>
                    </a:lnTo>
                    <a:lnTo>
                      <a:pt x="530" y="417"/>
                    </a:lnTo>
                    <a:lnTo>
                      <a:pt x="530" y="419"/>
                    </a:lnTo>
                    <a:lnTo>
                      <a:pt x="530" y="417"/>
                    </a:lnTo>
                    <a:lnTo>
                      <a:pt x="532" y="417"/>
                    </a:lnTo>
                    <a:lnTo>
                      <a:pt x="532" y="419"/>
                    </a:lnTo>
                    <a:close/>
                    <a:moveTo>
                      <a:pt x="259" y="421"/>
                    </a:moveTo>
                    <a:lnTo>
                      <a:pt x="259" y="419"/>
                    </a:lnTo>
                    <a:lnTo>
                      <a:pt x="261" y="419"/>
                    </a:lnTo>
                    <a:lnTo>
                      <a:pt x="259" y="421"/>
                    </a:lnTo>
                    <a:lnTo>
                      <a:pt x="259" y="419"/>
                    </a:lnTo>
                    <a:lnTo>
                      <a:pt x="259" y="421"/>
                    </a:lnTo>
                    <a:close/>
                    <a:moveTo>
                      <a:pt x="261" y="419"/>
                    </a:moveTo>
                    <a:lnTo>
                      <a:pt x="259" y="419"/>
                    </a:lnTo>
                    <a:lnTo>
                      <a:pt x="259" y="421"/>
                    </a:lnTo>
                    <a:lnTo>
                      <a:pt x="257" y="423"/>
                    </a:lnTo>
                    <a:lnTo>
                      <a:pt x="259" y="421"/>
                    </a:lnTo>
                    <a:lnTo>
                      <a:pt x="257" y="421"/>
                    </a:lnTo>
                    <a:lnTo>
                      <a:pt x="257" y="419"/>
                    </a:lnTo>
                    <a:lnTo>
                      <a:pt x="259" y="419"/>
                    </a:lnTo>
                    <a:lnTo>
                      <a:pt x="261" y="419"/>
                    </a:lnTo>
                    <a:lnTo>
                      <a:pt x="261" y="417"/>
                    </a:lnTo>
                    <a:lnTo>
                      <a:pt x="261" y="419"/>
                    </a:lnTo>
                    <a:close/>
                    <a:moveTo>
                      <a:pt x="261" y="417"/>
                    </a:moveTo>
                    <a:lnTo>
                      <a:pt x="261" y="415"/>
                    </a:lnTo>
                    <a:lnTo>
                      <a:pt x="261" y="417"/>
                    </a:lnTo>
                    <a:close/>
                    <a:moveTo>
                      <a:pt x="538" y="413"/>
                    </a:moveTo>
                    <a:lnTo>
                      <a:pt x="536" y="413"/>
                    </a:lnTo>
                    <a:lnTo>
                      <a:pt x="538" y="413"/>
                    </a:lnTo>
                    <a:close/>
                    <a:moveTo>
                      <a:pt x="263" y="413"/>
                    </a:moveTo>
                    <a:lnTo>
                      <a:pt x="263" y="415"/>
                    </a:lnTo>
                    <a:lnTo>
                      <a:pt x="261" y="417"/>
                    </a:lnTo>
                    <a:lnTo>
                      <a:pt x="261" y="419"/>
                    </a:lnTo>
                    <a:lnTo>
                      <a:pt x="261" y="417"/>
                    </a:lnTo>
                    <a:lnTo>
                      <a:pt x="261" y="415"/>
                    </a:lnTo>
                    <a:lnTo>
                      <a:pt x="263" y="413"/>
                    </a:lnTo>
                    <a:close/>
                    <a:moveTo>
                      <a:pt x="545" y="404"/>
                    </a:moveTo>
                    <a:lnTo>
                      <a:pt x="545" y="406"/>
                    </a:lnTo>
                    <a:lnTo>
                      <a:pt x="544" y="406"/>
                    </a:lnTo>
                    <a:lnTo>
                      <a:pt x="545" y="404"/>
                    </a:lnTo>
                    <a:close/>
                    <a:moveTo>
                      <a:pt x="549" y="400"/>
                    </a:moveTo>
                    <a:lnTo>
                      <a:pt x="549" y="398"/>
                    </a:lnTo>
                    <a:lnTo>
                      <a:pt x="549" y="400"/>
                    </a:lnTo>
                    <a:lnTo>
                      <a:pt x="547" y="400"/>
                    </a:lnTo>
                    <a:lnTo>
                      <a:pt x="549" y="398"/>
                    </a:lnTo>
                    <a:lnTo>
                      <a:pt x="549" y="400"/>
                    </a:lnTo>
                    <a:close/>
                    <a:moveTo>
                      <a:pt x="553" y="398"/>
                    </a:moveTo>
                    <a:lnTo>
                      <a:pt x="551" y="398"/>
                    </a:lnTo>
                    <a:lnTo>
                      <a:pt x="551" y="400"/>
                    </a:lnTo>
                    <a:lnTo>
                      <a:pt x="549" y="400"/>
                    </a:lnTo>
                    <a:lnTo>
                      <a:pt x="551" y="398"/>
                    </a:lnTo>
                    <a:lnTo>
                      <a:pt x="553" y="396"/>
                    </a:lnTo>
                    <a:lnTo>
                      <a:pt x="553" y="398"/>
                    </a:lnTo>
                    <a:close/>
                    <a:moveTo>
                      <a:pt x="161" y="394"/>
                    </a:moveTo>
                    <a:lnTo>
                      <a:pt x="163" y="394"/>
                    </a:lnTo>
                    <a:lnTo>
                      <a:pt x="161" y="394"/>
                    </a:lnTo>
                    <a:close/>
                    <a:moveTo>
                      <a:pt x="165" y="392"/>
                    </a:moveTo>
                    <a:lnTo>
                      <a:pt x="163" y="394"/>
                    </a:lnTo>
                    <a:lnTo>
                      <a:pt x="163" y="392"/>
                    </a:lnTo>
                    <a:lnTo>
                      <a:pt x="165" y="392"/>
                    </a:lnTo>
                    <a:close/>
                    <a:moveTo>
                      <a:pt x="59" y="381"/>
                    </a:moveTo>
                    <a:lnTo>
                      <a:pt x="58" y="381"/>
                    </a:lnTo>
                    <a:lnTo>
                      <a:pt x="59" y="381"/>
                    </a:lnTo>
                    <a:close/>
                    <a:moveTo>
                      <a:pt x="88" y="383"/>
                    </a:moveTo>
                    <a:lnTo>
                      <a:pt x="88" y="385"/>
                    </a:lnTo>
                    <a:lnTo>
                      <a:pt x="90" y="385"/>
                    </a:lnTo>
                    <a:lnTo>
                      <a:pt x="88" y="385"/>
                    </a:lnTo>
                    <a:lnTo>
                      <a:pt x="86" y="385"/>
                    </a:lnTo>
                    <a:lnTo>
                      <a:pt x="88" y="385"/>
                    </a:lnTo>
                    <a:lnTo>
                      <a:pt x="86" y="385"/>
                    </a:lnTo>
                    <a:lnTo>
                      <a:pt x="88" y="385"/>
                    </a:lnTo>
                    <a:lnTo>
                      <a:pt x="88" y="383"/>
                    </a:lnTo>
                    <a:close/>
                    <a:moveTo>
                      <a:pt x="553" y="392"/>
                    </a:moveTo>
                    <a:lnTo>
                      <a:pt x="555" y="390"/>
                    </a:lnTo>
                    <a:lnTo>
                      <a:pt x="553" y="392"/>
                    </a:lnTo>
                    <a:lnTo>
                      <a:pt x="553" y="394"/>
                    </a:lnTo>
                    <a:lnTo>
                      <a:pt x="553" y="396"/>
                    </a:lnTo>
                    <a:lnTo>
                      <a:pt x="553" y="394"/>
                    </a:lnTo>
                    <a:lnTo>
                      <a:pt x="551" y="394"/>
                    </a:lnTo>
                    <a:lnTo>
                      <a:pt x="551" y="392"/>
                    </a:lnTo>
                    <a:lnTo>
                      <a:pt x="551" y="390"/>
                    </a:lnTo>
                    <a:lnTo>
                      <a:pt x="553" y="390"/>
                    </a:lnTo>
                    <a:lnTo>
                      <a:pt x="553" y="392"/>
                    </a:lnTo>
                    <a:close/>
                    <a:moveTo>
                      <a:pt x="4" y="367"/>
                    </a:moveTo>
                    <a:lnTo>
                      <a:pt x="4" y="369"/>
                    </a:lnTo>
                    <a:lnTo>
                      <a:pt x="2" y="369"/>
                    </a:lnTo>
                    <a:lnTo>
                      <a:pt x="0" y="369"/>
                    </a:lnTo>
                    <a:lnTo>
                      <a:pt x="0" y="367"/>
                    </a:lnTo>
                    <a:lnTo>
                      <a:pt x="2" y="367"/>
                    </a:lnTo>
                    <a:lnTo>
                      <a:pt x="0" y="367"/>
                    </a:lnTo>
                    <a:lnTo>
                      <a:pt x="2" y="367"/>
                    </a:lnTo>
                    <a:lnTo>
                      <a:pt x="4" y="367"/>
                    </a:lnTo>
                    <a:close/>
                    <a:moveTo>
                      <a:pt x="542" y="392"/>
                    </a:moveTo>
                    <a:lnTo>
                      <a:pt x="542" y="390"/>
                    </a:lnTo>
                    <a:lnTo>
                      <a:pt x="542" y="392"/>
                    </a:lnTo>
                    <a:close/>
                    <a:moveTo>
                      <a:pt x="555" y="390"/>
                    </a:moveTo>
                    <a:lnTo>
                      <a:pt x="557" y="390"/>
                    </a:lnTo>
                    <a:lnTo>
                      <a:pt x="557" y="388"/>
                    </a:lnTo>
                    <a:lnTo>
                      <a:pt x="557" y="390"/>
                    </a:lnTo>
                    <a:lnTo>
                      <a:pt x="555" y="390"/>
                    </a:lnTo>
                    <a:close/>
                    <a:moveTo>
                      <a:pt x="280" y="396"/>
                    </a:moveTo>
                    <a:lnTo>
                      <a:pt x="282" y="396"/>
                    </a:lnTo>
                    <a:lnTo>
                      <a:pt x="280" y="396"/>
                    </a:lnTo>
                    <a:close/>
                    <a:moveTo>
                      <a:pt x="58" y="375"/>
                    </a:moveTo>
                    <a:lnTo>
                      <a:pt x="56" y="375"/>
                    </a:lnTo>
                    <a:lnTo>
                      <a:pt x="56" y="373"/>
                    </a:lnTo>
                    <a:lnTo>
                      <a:pt x="56" y="375"/>
                    </a:lnTo>
                    <a:lnTo>
                      <a:pt x="56" y="373"/>
                    </a:lnTo>
                    <a:lnTo>
                      <a:pt x="58" y="375"/>
                    </a:lnTo>
                    <a:close/>
                    <a:moveTo>
                      <a:pt x="570" y="386"/>
                    </a:moveTo>
                    <a:lnTo>
                      <a:pt x="569" y="388"/>
                    </a:lnTo>
                    <a:lnTo>
                      <a:pt x="570" y="388"/>
                    </a:lnTo>
                    <a:lnTo>
                      <a:pt x="570" y="386"/>
                    </a:lnTo>
                    <a:close/>
                    <a:moveTo>
                      <a:pt x="555" y="388"/>
                    </a:moveTo>
                    <a:lnTo>
                      <a:pt x="553" y="388"/>
                    </a:lnTo>
                    <a:lnTo>
                      <a:pt x="555" y="388"/>
                    </a:lnTo>
                    <a:close/>
                    <a:moveTo>
                      <a:pt x="557" y="388"/>
                    </a:moveTo>
                    <a:lnTo>
                      <a:pt x="555" y="388"/>
                    </a:lnTo>
                    <a:lnTo>
                      <a:pt x="555" y="390"/>
                    </a:lnTo>
                    <a:lnTo>
                      <a:pt x="553" y="390"/>
                    </a:lnTo>
                    <a:lnTo>
                      <a:pt x="555" y="388"/>
                    </a:lnTo>
                    <a:lnTo>
                      <a:pt x="557" y="388"/>
                    </a:lnTo>
                    <a:close/>
                    <a:moveTo>
                      <a:pt x="569" y="386"/>
                    </a:moveTo>
                    <a:lnTo>
                      <a:pt x="570" y="386"/>
                    </a:lnTo>
                    <a:lnTo>
                      <a:pt x="569" y="386"/>
                    </a:lnTo>
                    <a:close/>
                    <a:moveTo>
                      <a:pt x="56" y="373"/>
                    </a:moveTo>
                    <a:lnTo>
                      <a:pt x="56" y="375"/>
                    </a:lnTo>
                    <a:lnTo>
                      <a:pt x="56" y="373"/>
                    </a:lnTo>
                    <a:lnTo>
                      <a:pt x="56" y="375"/>
                    </a:lnTo>
                    <a:lnTo>
                      <a:pt x="56" y="373"/>
                    </a:lnTo>
                    <a:lnTo>
                      <a:pt x="54" y="373"/>
                    </a:lnTo>
                    <a:lnTo>
                      <a:pt x="54" y="371"/>
                    </a:lnTo>
                    <a:lnTo>
                      <a:pt x="56" y="371"/>
                    </a:lnTo>
                    <a:lnTo>
                      <a:pt x="56" y="373"/>
                    </a:lnTo>
                    <a:close/>
                    <a:moveTo>
                      <a:pt x="572" y="386"/>
                    </a:moveTo>
                    <a:lnTo>
                      <a:pt x="570" y="386"/>
                    </a:lnTo>
                    <a:lnTo>
                      <a:pt x="570" y="385"/>
                    </a:lnTo>
                    <a:lnTo>
                      <a:pt x="572" y="385"/>
                    </a:lnTo>
                    <a:lnTo>
                      <a:pt x="572" y="386"/>
                    </a:lnTo>
                    <a:close/>
                    <a:moveTo>
                      <a:pt x="540" y="386"/>
                    </a:moveTo>
                    <a:lnTo>
                      <a:pt x="540" y="388"/>
                    </a:lnTo>
                    <a:lnTo>
                      <a:pt x="540" y="386"/>
                    </a:lnTo>
                    <a:close/>
                    <a:moveTo>
                      <a:pt x="567" y="386"/>
                    </a:moveTo>
                    <a:lnTo>
                      <a:pt x="569" y="385"/>
                    </a:lnTo>
                    <a:lnTo>
                      <a:pt x="570" y="385"/>
                    </a:lnTo>
                    <a:lnTo>
                      <a:pt x="569" y="385"/>
                    </a:lnTo>
                    <a:lnTo>
                      <a:pt x="569" y="386"/>
                    </a:lnTo>
                    <a:lnTo>
                      <a:pt x="567" y="386"/>
                    </a:lnTo>
                    <a:close/>
                    <a:moveTo>
                      <a:pt x="565" y="385"/>
                    </a:moveTo>
                    <a:lnTo>
                      <a:pt x="563" y="385"/>
                    </a:lnTo>
                    <a:lnTo>
                      <a:pt x="561" y="385"/>
                    </a:lnTo>
                    <a:lnTo>
                      <a:pt x="561" y="386"/>
                    </a:lnTo>
                    <a:lnTo>
                      <a:pt x="559" y="386"/>
                    </a:lnTo>
                    <a:lnTo>
                      <a:pt x="561" y="386"/>
                    </a:lnTo>
                    <a:lnTo>
                      <a:pt x="561" y="385"/>
                    </a:lnTo>
                    <a:lnTo>
                      <a:pt x="563" y="385"/>
                    </a:lnTo>
                    <a:lnTo>
                      <a:pt x="565" y="385"/>
                    </a:lnTo>
                    <a:close/>
                    <a:moveTo>
                      <a:pt x="567" y="383"/>
                    </a:moveTo>
                    <a:lnTo>
                      <a:pt x="567" y="385"/>
                    </a:lnTo>
                    <a:lnTo>
                      <a:pt x="565" y="385"/>
                    </a:lnTo>
                    <a:lnTo>
                      <a:pt x="565" y="383"/>
                    </a:lnTo>
                    <a:lnTo>
                      <a:pt x="567" y="383"/>
                    </a:lnTo>
                    <a:close/>
                    <a:moveTo>
                      <a:pt x="569" y="383"/>
                    </a:moveTo>
                    <a:lnTo>
                      <a:pt x="567" y="385"/>
                    </a:lnTo>
                    <a:lnTo>
                      <a:pt x="567" y="383"/>
                    </a:lnTo>
                    <a:lnTo>
                      <a:pt x="569" y="383"/>
                    </a:lnTo>
                    <a:close/>
                    <a:moveTo>
                      <a:pt x="280" y="390"/>
                    </a:moveTo>
                    <a:lnTo>
                      <a:pt x="280" y="388"/>
                    </a:lnTo>
                    <a:lnTo>
                      <a:pt x="280" y="390"/>
                    </a:lnTo>
                    <a:close/>
                    <a:moveTo>
                      <a:pt x="576" y="381"/>
                    </a:moveTo>
                    <a:lnTo>
                      <a:pt x="576" y="379"/>
                    </a:lnTo>
                    <a:lnTo>
                      <a:pt x="576" y="381"/>
                    </a:lnTo>
                    <a:close/>
                    <a:moveTo>
                      <a:pt x="588" y="379"/>
                    </a:moveTo>
                    <a:lnTo>
                      <a:pt x="588" y="381"/>
                    </a:lnTo>
                    <a:lnTo>
                      <a:pt x="586" y="381"/>
                    </a:lnTo>
                    <a:lnTo>
                      <a:pt x="584" y="381"/>
                    </a:lnTo>
                    <a:lnTo>
                      <a:pt x="582" y="381"/>
                    </a:lnTo>
                    <a:lnTo>
                      <a:pt x="584" y="381"/>
                    </a:lnTo>
                    <a:lnTo>
                      <a:pt x="586" y="381"/>
                    </a:lnTo>
                    <a:lnTo>
                      <a:pt x="586" y="379"/>
                    </a:lnTo>
                    <a:lnTo>
                      <a:pt x="588" y="379"/>
                    </a:lnTo>
                    <a:close/>
                    <a:moveTo>
                      <a:pt x="686" y="365"/>
                    </a:moveTo>
                    <a:lnTo>
                      <a:pt x="686" y="367"/>
                    </a:lnTo>
                    <a:lnTo>
                      <a:pt x="686" y="365"/>
                    </a:lnTo>
                    <a:close/>
                    <a:moveTo>
                      <a:pt x="578" y="381"/>
                    </a:moveTo>
                    <a:lnTo>
                      <a:pt x="578" y="379"/>
                    </a:lnTo>
                    <a:lnTo>
                      <a:pt x="578" y="377"/>
                    </a:lnTo>
                    <a:lnTo>
                      <a:pt x="578" y="379"/>
                    </a:lnTo>
                    <a:lnTo>
                      <a:pt x="580" y="379"/>
                    </a:lnTo>
                    <a:lnTo>
                      <a:pt x="580" y="381"/>
                    </a:lnTo>
                    <a:lnTo>
                      <a:pt x="578" y="381"/>
                    </a:lnTo>
                    <a:close/>
                    <a:moveTo>
                      <a:pt x="576" y="377"/>
                    </a:moveTo>
                    <a:lnTo>
                      <a:pt x="576" y="379"/>
                    </a:lnTo>
                    <a:lnTo>
                      <a:pt x="576" y="381"/>
                    </a:lnTo>
                    <a:lnTo>
                      <a:pt x="576" y="379"/>
                    </a:lnTo>
                    <a:lnTo>
                      <a:pt x="576" y="377"/>
                    </a:lnTo>
                    <a:close/>
                    <a:moveTo>
                      <a:pt x="586" y="377"/>
                    </a:moveTo>
                    <a:lnTo>
                      <a:pt x="584" y="377"/>
                    </a:lnTo>
                    <a:lnTo>
                      <a:pt x="586" y="377"/>
                    </a:lnTo>
                    <a:close/>
                    <a:moveTo>
                      <a:pt x="576" y="379"/>
                    </a:moveTo>
                    <a:lnTo>
                      <a:pt x="576" y="381"/>
                    </a:lnTo>
                    <a:lnTo>
                      <a:pt x="574" y="381"/>
                    </a:lnTo>
                    <a:lnTo>
                      <a:pt x="572" y="381"/>
                    </a:lnTo>
                    <a:lnTo>
                      <a:pt x="572" y="379"/>
                    </a:lnTo>
                    <a:lnTo>
                      <a:pt x="574" y="379"/>
                    </a:lnTo>
                    <a:lnTo>
                      <a:pt x="576" y="377"/>
                    </a:lnTo>
                    <a:lnTo>
                      <a:pt x="576" y="379"/>
                    </a:lnTo>
                    <a:close/>
                    <a:moveTo>
                      <a:pt x="582" y="377"/>
                    </a:moveTo>
                    <a:lnTo>
                      <a:pt x="584" y="377"/>
                    </a:lnTo>
                    <a:lnTo>
                      <a:pt x="584" y="379"/>
                    </a:lnTo>
                    <a:lnTo>
                      <a:pt x="582" y="379"/>
                    </a:lnTo>
                    <a:lnTo>
                      <a:pt x="582" y="381"/>
                    </a:lnTo>
                    <a:lnTo>
                      <a:pt x="580" y="381"/>
                    </a:lnTo>
                    <a:lnTo>
                      <a:pt x="578" y="383"/>
                    </a:lnTo>
                    <a:lnTo>
                      <a:pt x="578" y="381"/>
                    </a:lnTo>
                    <a:lnTo>
                      <a:pt x="580" y="381"/>
                    </a:lnTo>
                    <a:lnTo>
                      <a:pt x="580" y="379"/>
                    </a:lnTo>
                    <a:lnTo>
                      <a:pt x="578" y="379"/>
                    </a:lnTo>
                    <a:lnTo>
                      <a:pt x="578" y="377"/>
                    </a:lnTo>
                    <a:lnTo>
                      <a:pt x="580" y="377"/>
                    </a:lnTo>
                    <a:lnTo>
                      <a:pt x="582" y="377"/>
                    </a:lnTo>
                    <a:close/>
                    <a:moveTo>
                      <a:pt x="586" y="375"/>
                    </a:moveTo>
                    <a:lnTo>
                      <a:pt x="586" y="377"/>
                    </a:lnTo>
                    <a:lnTo>
                      <a:pt x="586" y="375"/>
                    </a:lnTo>
                    <a:lnTo>
                      <a:pt x="586" y="377"/>
                    </a:lnTo>
                    <a:lnTo>
                      <a:pt x="588" y="377"/>
                    </a:lnTo>
                    <a:lnTo>
                      <a:pt x="588" y="379"/>
                    </a:lnTo>
                    <a:lnTo>
                      <a:pt x="586" y="379"/>
                    </a:lnTo>
                    <a:lnTo>
                      <a:pt x="584" y="379"/>
                    </a:lnTo>
                    <a:lnTo>
                      <a:pt x="584" y="381"/>
                    </a:lnTo>
                    <a:lnTo>
                      <a:pt x="582" y="381"/>
                    </a:lnTo>
                    <a:lnTo>
                      <a:pt x="584" y="381"/>
                    </a:lnTo>
                    <a:lnTo>
                      <a:pt x="582" y="381"/>
                    </a:lnTo>
                    <a:lnTo>
                      <a:pt x="582" y="379"/>
                    </a:lnTo>
                    <a:lnTo>
                      <a:pt x="584" y="379"/>
                    </a:lnTo>
                    <a:lnTo>
                      <a:pt x="584" y="377"/>
                    </a:lnTo>
                    <a:lnTo>
                      <a:pt x="586" y="377"/>
                    </a:lnTo>
                    <a:lnTo>
                      <a:pt x="586" y="375"/>
                    </a:lnTo>
                    <a:close/>
                    <a:moveTo>
                      <a:pt x="586" y="375"/>
                    </a:moveTo>
                    <a:lnTo>
                      <a:pt x="584" y="375"/>
                    </a:lnTo>
                    <a:lnTo>
                      <a:pt x="582" y="375"/>
                    </a:lnTo>
                    <a:lnTo>
                      <a:pt x="584" y="375"/>
                    </a:lnTo>
                    <a:lnTo>
                      <a:pt x="586" y="373"/>
                    </a:lnTo>
                    <a:lnTo>
                      <a:pt x="586" y="375"/>
                    </a:lnTo>
                    <a:close/>
                    <a:moveTo>
                      <a:pt x="586" y="375"/>
                    </a:moveTo>
                    <a:lnTo>
                      <a:pt x="586" y="373"/>
                    </a:lnTo>
                    <a:lnTo>
                      <a:pt x="588" y="373"/>
                    </a:lnTo>
                    <a:lnTo>
                      <a:pt x="586" y="375"/>
                    </a:lnTo>
                    <a:close/>
                    <a:moveTo>
                      <a:pt x="586" y="373"/>
                    </a:moveTo>
                    <a:lnTo>
                      <a:pt x="586" y="371"/>
                    </a:lnTo>
                    <a:lnTo>
                      <a:pt x="586" y="373"/>
                    </a:lnTo>
                    <a:close/>
                    <a:moveTo>
                      <a:pt x="584" y="371"/>
                    </a:moveTo>
                    <a:lnTo>
                      <a:pt x="584" y="373"/>
                    </a:lnTo>
                    <a:lnTo>
                      <a:pt x="582" y="373"/>
                    </a:lnTo>
                    <a:lnTo>
                      <a:pt x="582" y="375"/>
                    </a:lnTo>
                    <a:lnTo>
                      <a:pt x="580" y="375"/>
                    </a:lnTo>
                    <a:lnTo>
                      <a:pt x="582" y="373"/>
                    </a:lnTo>
                    <a:lnTo>
                      <a:pt x="584" y="371"/>
                    </a:lnTo>
                    <a:close/>
                    <a:moveTo>
                      <a:pt x="29" y="354"/>
                    </a:moveTo>
                    <a:lnTo>
                      <a:pt x="27" y="354"/>
                    </a:lnTo>
                    <a:lnTo>
                      <a:pt x="29" y="354"/>
                    </a:lnTo>
                    <a:close/>
                    <a:moveTo>
                      <a:pt x="31" y="354"/>
                    </a:moveTo>
                    <a:lnTo>
                      <a:pt x="31" y="356"/>
                    </a:lnTo>
                    <a:lnTo>
                      <a:pt x="31" y="354"/>
                    </a:lnTo>
                    <a:lnTo>
                      <a:pt x="29" y="354"/>
                    </a:lnTo>
                    <a:lnTo>
                      <a:pt x="31" y="354"/>
                    </a:lnTo>
                    <a:close/>
                    <a:moveTo>
                      <a:pt x="594" y="367"/>
                    </a:moveTo>
                    <a:lnTo>
                      <a:pt x="594" y="369"/>
                    </a:lnTo>
                    <a:lnTo>
                      <a:pt x="595" y="369"/>
                    </a:lnTo>
                    <a:lnTo>
                      <a:pt x="594" y="369"/>
                    </a:lnTo>
                    <a:lnTo>
                      <a:pt x="592" y="371"/>
                    </a:lnTo>
                    <a:lnTo>
                      <a:pt x="592" y="369"/>
                    </a:lnTo>
                    <a:lnTo>
                      <a:pt x="594" y="369"/>
                    </a:lnTo>
                    <a:lnTo>
                      <a:pt x="594" y="367"/>
                    </a:lnTo>
                    <a:close/>
                    <a:moveTo>
                      <a:pt x="592" y="369"/>
                    </a:moveTo>
                    <a:lnTo>
                      <a:pt x="590" y="369"/>
                    </a:lnTo>
                    <a:lnTo>
                      <a:pt x="592" y="369"/>
                    </a:lnTo>
                    <a:lnTo>
                      <a:pt x="592" y="367"/>
                    </a:lnTo>
                    <a:lnTo>
                      <a:pt x="594" y="367"/>
                    </a:lnTo>
                    <a:lnTo>
                      <a:pt x="592" y="369"/>
                    </a:lnTo>
                    <a:close/>
                    <a:moveTo>
                      <a:pt x="592" y="367"/>
                    </a:moveTo>
                    <a:lnTo>
                      <a:pt x="590" y="369"/>
                    </a:lnTo>
                    <a:lnTo>
                      <a:pt x="590" y="371"/>
                    </a:lnTo>
                    <a:lnTo>
                      <a:pt x="588" y="371"/>
                    </a:lnTo>
                    <a:lnTo>
                      <a:pt x="588" y="369"/>
                    </a:lnTo>
                    <a:lnTo>
                      <a:pt x="590" y="369"/>
                    </a:lnTo>
                    <a:lnTo>
                      <a:pt x="590" y="367"/>
                    </a:lnTo>
                    <a:lnTo>
                      <a:pt x="592" y="367"/>
                    </a:lnTo>
                    <a:close/>
                    <a:moveTo>
                      <a:pt x="592" y="367"/>
                    </a:moveTo>
                    <a:lnTo>
                      <a:pt x="590" y="367"/>
                    </a:lnTo>
                    <a:lnTo>
                      <a:pt x="592" y="367"/>
                    </a:lnTo>
                    <a:close/>
                    <a:moveTo>
                      <a:pt x="290" y="373"/>
                    </a:moveTo>
                    <a:lnTo>
                      <a:pt x="290" y="375"/>
                    </a:lnTo>
                    <a:lnTo>
                      <a:pt x="292" y="375"/>
                    </a:lnTo>
                    <a:lnTo>
                      <a:pt x="290" y="375"/>
                    </a:lnTo>
                    <a:lnTo>
                      <a:pt x="290" y="373"/>
                    </a:lnTo>
                    <a:lnTo>
                      <a:pt x="290" y="375"/>
                    </a:lnTo>
                    <a:lnTo>
                      <a:pt x="290" y="373"/>
                    </a:lnTo>
                    <a:close/>
                    <a:moveTo>
                      <a:pt x="603" y="361"/>
                    </a:moveTo>
                    <a:lnTo>
                      <a:pt x="603" y="363"/>
                    </a:lnTo>
                    <a:lnTo>
                      <a:pt x="601" y="363"/>
                    </a:lnTo>
                    <a:lnTo>
                      <a:pt x="599" y="363"/>
                    </a:lnTo>
                    <a:lnTo>
                      <a:pt x="601" y="363"/>
                    </a:lnTo>
                    <a:lnTo>
                      <a:pt x="603" y="361"/>
                    </a:lnTo>
                    <a:close/>
                    <a:moveTo>
                      <a:pt x="603" y="361"/>
                    </a:moveTo>
                    <a:lnTo>
                      <a:pt x="601" y="361"/>
                    </a:lnTo>
                    <a:lnTo>
                      <a:pt x="601" y="363"/>
                    </a:lnTo>
                    <a:lnTo>
                      <a:pt x="601" y="361"/>
                    </a:lnTo>
                    <a:lnTo>
                      <a:pt x="603" y="361"/>
                    </a:lnTo>
                    <a:close/>
                    <a:moveTo>
                      <a:pt x="605" y="361"/>
                    </a:moveTo>
                    <a:lnTo>
                      <a:pt x="605" y="360"/>
                    </a:lnTo>
                    <a:lnTo>
                      <a:pt x="605" y="361"/>
                    </a:lnTo>
                    <a:close/>
                    <a:moveTo>
                      <a:pt x="645" y="356"/>
                    </a:moveTo>
                    <a:lnTo>
                      <a:pt x="643" y="356"/>
                    </a:lnTo>
                    <a:lnTo>
                      <a:pt x="645" y="356"/>
                    </a:lnTo>
                    <a:close/>
                    <a:moveTo>
                      <a:pt x="634" y="358"/>
                    </a:moveTo>
                    <a:lnTo>
                      <a:pt x="632" y="358"/>
                    </a:lnTo>
                    <a:lnTo>
                      <a:pt x="634" y="358"/>
                    </a:lnTo>
                    <a:close/>
                    <a:moveTo>
                      <a:pt x="607" y="360"/>
                    </a:moveTo>
                    <a:lnTo>
                      <a:pt x="607" y="361"/>
                    </a:lnTo>
                    <a:lnTo>
                      <a:pt x="607" y="360"/>
                    </a:lnTo>
                    <a:lnTo>
                      <a:pt x="609" y="360"/>
                    </a:lnTo>
                    <a:lnTo>
                      <a:pt x="607" y="360"/>
                    </a:lnTo>
                    <a:close/>
                    <a:moveTo>
                      <a:pt x="607" y="360"/>
                    </a:moveTo>
                    <a:lnTo>
                      <a:pt x="605" y="361"/>
                    </a:lnTo>
                    <a:lnTo>
                      <a:pt x="605" y="360"/>
                    </a:lnTo>
                    <a:lnTo>
                      <a:pt x="607" y="360"/>
                    </a:lnTo>
                    <a:close/>
                    <a:moveTo>
                      <a:pt x="630" y="358"/>
                    </a:moveTo>
                    <a:lnTo>
                      <a:pt x="628" y="358"/>
                    </a:lnTo>
                    <a:lnTo>
                      <a:pt x="626" y="358"/>
                    </a:lnTo>
                    <a:lnTo>
                      <a:pt x="628" y="358"/>
                    </a:lnTo>
                    <a:lnTo>
                      <a:pt x="630" y="358"/>
                    </a:lnTo>
                    <a:close/>
                    <a:moveTo>
                      <a:pt x="632" y="358"/>
                    </a:moveTo>
                    <a:lnTo>
                      <a:pt x="632" y="356"/>
                    </a:lnTo>
                    <a:lnTo>
                      <a:pt x="632" y="358"/>
                    </a:lnTo>
                    <a:close/>
                    <a:moveTo>
                      <a:pt x="630" y="356"/>
                    </a:moveTo>
                    <a:lnTo>
                      <a:pt x="630" y="358"/>
                    </a:lnTo>
                    <a:lnTo>
                      <a:pt x="630" y="356"/>
                    </a:lnTo>
                    <a:close/>
                    <a:moveTo>
                      <a:pt x="640" y="356"/>
                    </a:moveTo>
                    <a:lnTo>
                      <a:pt x="642" y="356"/>
                    </a:lnTo>
                    <a:lnTo>
                      <a:pt x="640" y="356"/>
                    </a:lnTo>
                    <a:close/>
                    <a:moveTo>
                      <a:pt x="609" y="360"/>
                    </a:moveTo>
                    <a:lnTo>
                      <a:pt x="607" y="360"/>
                    </a:lnTo>
                    <a:lnTo>
                      <a:pt x="609" y="360"/>
                    </a:lnTo>
                    <a:close/>
                    <a:moveTo>
                      <a:pt x="642" y="356"/>
                    </a:moveTo>
                    <a:lnTo>
                      <a:pt x="642" y="354"/>
                    </a:lnTo>
                    <a:lnTo>
                      <a:pt x="642" y="356"/>
                    </a:lnTo>
                    <a:close/>
                    <a:moveTo>
                      <a:pt x="626" y="358"/>
                    </a:moveTo>
                    <a:lnTo>
                      <a:pt x="626" y="356"/>
                    </a:lnTo>
                    <a:lnTo>
                      <a:pt x="626" y="358"/>
                    </a:lnTo>
                    <a:close/>
                    <a:moveTo>
                      <a:pt x="642" y="354"/>
                    </a:moveTo>
                    <a:lnTo>
                      <a:pt x="642" y="356"/>
                    </a:lnTo>
                    <a:lnTo>
                      <a:pt x="642" y="354"/>
                    </a:lnTo>
                    <a:close/>
                    <a:moveTo>
                      <a:pt x="628" y="356"/>
                    </a:moveTo>
                    <a:lnTo>
                      <a:pt x="630" y="356"/>
                    </a:lnTo>
                    <a:lnTo>
                      <a:pt x="632" y="356"/>
                    </a:lnTo>
                    <a:lnTo>
                      <a:pt x="634" y="356"/>
                    </a:lnTo>
                    <a:lnTo>
                      <a:pt x="636" y="356"/>
                    </a:lnTo>
                    <a:lnTo>
                      <a:pt x="636" y="358"/>
                    </a:lnTo>
                    <a:lnTo>
                      <a:pt x="636" y="356"/>
                    </a:lnTo>
                    <a:lnTo>
                      <a:pt x="636" y="358"/>
                    </a:lnTo>
                    <a:lnTo>
                      <a:pt x="634" y="358"/>
                    </a:lnTo>
                    <a:lnTo>
                      <a:pt x="634" y="356"/>
                    </a:lnTo>
                    <a:lnTo>
                      <a:pt x="632" y="356"/>
                    </a:lnTo>
                    <a:lnTo>
                      <a:pt x="630" y="356"/>
                    </a:lnTo>
                    <a:lnTo>
                      <a:pt x="628" y="358"/>
                    </a:lnTo>
                    <a:lnTo>
                      <a:pt x="628" y="356"/>
                    </a:lnTo>
                    <a:lnTo>
                      <a:pt x="626" y="356"/>
                    </a:lnTo>
                    <a:lnTo>
                      <a:pt x="628" y="356"/>
                    </a:lnTo>
                    <a:lnTo>
                      <a:pt x="626" y="356"/>
                    </a:lnTo>
                    <a:lnTo>
                      <a:pt x="628" y="356"/>
                    </a:lnTo>
                    <a:close/>
                    <a:moveTo>
                      <a:pt x="618" y="356"/>
                    </a:moveTo>
                    <a:lnTo>
                      <a:pt x="620" y="356"/>
                    </a:lnTo>
                    <a:lnTo>
                      <a:pt x="618" y="356"/>
                    </a:lnTo>
                    <a:close/>
                    <a:moveTo>
                      <a:pt x="624" y="354"/>
                    </a:moveTo>
                    <a:lnTo>
                      <a:pt x="626" y="354"/>
                    </a:lnTo>
                    <a:lnTo>
                      <a:pt x="626" y="356"/>
                    </a:lnTo>
                    <a:lnTo>
                      <a:pt x="624" y="356"/>
                    </a:lnTo>
                    <a:lnTo>
                      <a:pt x="624" y="354"/>
                    </a:lnTo>
                    <a:lnTo>
                      <a:pt x="622" y="354"/>
                    </a:lnTo>
                    <a:lnTo>
                      <a:pt x="624" y="354"/>
                    </a:lnTo>
                    <a:close/>
                    <a:moveTo>
                      <a:pt x="611" y="356"/>
                    </a:moveTo>
                    <a:lnTo>
                      <a:pt x="609" y="358"/>
                    </a:lnTo>
                    <a:lnTo>
                      <a:pt x="607" y="358"/>
                    </a:lnTo>
                    <a:lnTo>
                      <a:pt x="609" y="358"/>
                    </a:lnTo>
                    <a:lnTo>
                      <a:pt x="609" y="356"/>
                    </a:lnTo>
                    <a:lnTo>
                      <a:pt x="611" y="356"/>
                    </a:lnTo>
                    <a:lnTo>
                      <a:pt x="609" y="356"/>
                    </a:lnTo>
                    <a:lnTo>
                      <a:pt x="611" y="356"/>
                    </a:lnTo>
                    <a:close/>
                    <a:moveTo>
                      <a:pt x="622" y="354"/>
                    </a:moveTo>
                    <a:lnTo>
                      <a:pt x="620" y="354"/>
                    </a:lnTo>
                    <a:lnTo>
                      <a:pt x="622" y="354"/>
                    </a:lnTo>
                    <a:close/>
                    <a:moveTo>
                      <a:pt x="620" y="354"/>
                    </a:moveTo>
                    <a:lnTo>
                      <a:pt x="618" y="354"/>
                    </a:lnTo>
                    <a:lnTo>
                      <a:pt x="620" y="354"/>
                    </a:lnTo>
                    <a:close/>
                    <a:moveTo>
                      <a:pt x="617" y="354"/>
                    </a:moveTo>
                    <a:lnTo>
                      <a:pt x="618" y="354"/>
                    </a:lnTo>
                    <a:lnTo>
                      <a:pt x="620" y="354"/>
                    </a:lnTo>
                    <a:lnTo>
                      <a:pt x="622" y="354"/>
                    </a:lnTo>
                    <a:lnTo>
                      <a:pt x="622" y="356"/>
                    </a:lnTo>
                    <a:lnTo>
                      <a:pt x="624" y="356"/>
                    </a:lnTo>
                    <a:lnTo>
                      <a:pt x="622" y="356"/>
                    </a:lnTo>
                    <a:lnTo>
                      <a:pt x="620" y="356"/>
                    </a:lnTo>
                    <a:lnTo>
                      <a:pt x="620" y="354"/>
                    </a:lnTo>
                    <a:lnTo>
                      <a:pt x="618" y="354"/>
                    </a:lnTo>
                    <a:lnTo>
                      <a:pt x="618" y="356"/>
                    </a:lnTo>
                    <a:lnTo>
                      <a:pt x="617" y="354"/>
                    </a:lnTo>
                    <a:close/>
                    <a:moveTo>
                      <a:pt x="611" y="356"/>
                    </a:moveTo>
                    <a:lnTo>
                      <a:pt x="611" y="354"/>
                    </a:lnTo>
                    <a:lnTo>
                      <a:pt x="611" y="356"/>
                    </a:lnTo>
                    <a:close/>
                    <a:moveTo>
                      <a:pt x="618" y="354"/>
                    </a:moveTo>
                    <a:lnTo>
                      <a:pt x="617" y="354"/>
                    </a:lnTo>
                    <a:lnTo>
                      <a:pt x="618" y="354"/>
                    </a:lnTo>
                    <a:close/>
                    <a:moveTo>
                      <a:pt x="611" y="354"/>
                    </a:moveTo>
                    <a:lnTo>
                      <a:pt x="609" y="354"/>
                    </a:lnTo>
                    <a:lnTo>
                      <a:pt x="611" y="354"/>
                    </a:lnTo>
                    <a:close/>
                    <a:moveTo>
                      <a:pt x="609" y="354"/>
                    </a:moveTo>
                    <a:lnTo>
                      <a:pt x="609" y="356"/>
                    </a:lnTo>
                    <a:lnTo>
                      <a:pt x="609" y="358"/>
                    </a:lnTo>
                    <a:lnTo>
                      <a:pt x="607" y="358"/>
                    </a:lnTo>
                    <a:lnTo>
                      <a:pt x="607" y="356"/>
                    </a:lnTo>
                    <a:lnTo>
                      <a:pt x="609" y="356"/>
                    </a:lnTo>
                    <a:lnTo>
                      <a:pt x="607" y="354"/>
                    </a:lnTo>
                    <a:lnTo>
                      <a:pt x="609" y="354"/>
                    </a:lnTo>
                    <a:lnTo>
                      <a:pt x="611" y="354"/>
                    </a:lnTo>
                    <a:lnTo>
                      <a:pt x="609" y="354"/>
                    </a:lnTo>
                    <a:close/>
                    <a:moveTo>
                      <a:pt x="613" y="352"/>
                    </a:moveTo>
                    <a:lnTo>
                      <a:pt x="613" y="354"/>
                    </a:lnTo>
                    <a:lnTo>
                      <a:pt x="613" y="352"/>
                    </a:lnTo>
                    <a:lnTo>
                      <a:pt x="613" y="354"/>
                    </a:lnTo>
                    <a:lnTo>
                      <a:pt x="613" y="352"/>
                    </a:lnTo>
                    <a:close/>
                    <a:moveTo>
                      <a:pt x="286" y="363"/>
                    </a:moveTo>
                    <a:lnTo>
                      <a:pt x="286" y="361"/>
                    </a:lnTo>
                    <a:lnTo>
                      <a:pt x="286" y="363"/>
                    </a:lnTo>
                    <a:close/>
                    <a:moveTo>
                      <a:pt x="215" y="358"/>
                    </a:moveTo>
                    <a:lnTo>
                      <a:pt x="217" y="358"/>
                    </a:lnTo>
                    <a:lnTo>
                      <a:pt x="217" y="360"/>
                    </a:lnTo>
                    <a:lnTo>
                      <a:pt x="215" y="358"/>
                    </a:lnTo>
                    <a:close/>
                    <a:moveTo>
                      <a:pt x="211" y="360"/>
                    </a:moveTo>
                    <a:lnTo>
                      <a:pt x="209" y="360"/>
                    </a:lnTo>
                    <a:lnTo>
                      <a:pt x="211" y="360"/>
                    </a:lnTo>
                    <a:lnTo>
                      <a:pt x="211" y="358"/>
                    </a:lnTo>
                    <a:lnTo>
                      <a:pt x="213" y="358"/>
                    </a:lnTo>
                    <a:lnTo>
                      <a:pt x="215" y="358"/>
                    </a:lnTo>
                    <a:lnTo>
                      <a:pt x="213" y="360"/>
                    </a:lnTo>
                    <a:lnTo>
                      <a:pt x="211" y="360"/>
                    </a:lnTo>
                    <a:close/>
                    <a:moveTo>
                      <a:pt x="209" y="358"/>
                    </a:moveTo>
                    <a:lnTo>
                      <a:pt x="209" y="360"/>
                    </a:lnTo>
                    <a:lnTo>
                      <a:pt x="207" y="360"/>
                    </a:lnTo>
                    <a:lnTo>
                      <a:pt x="205" y="360"/>
                    </a:lnTo>
                    <a:lnTo>
                      <a:pt x="207" y="360"/>
                    </a:lnTo>
                    <a:lnTo>
                      <a:pt x="205" y="360"/>
                    </a:lnTo>
                    <a:lnTo>
                      <a:pt x="204" y="360"/>
                    </a:lnTo>
                    <a:lnTo>
                      <a:pt x="202" y="360"/>
                    </a:lnTo>
                    <a:lnTo>
                      <a:pt x="205" y="360"/>
                    </a:lnTo>
                    <a:lnTo>
                      <a:pt x="204" y="360"/>
                    </a:lnTo>
                    <a:lnTo>
                      <a:pt x="202" y="360"/>
                    </a:lnTo>
                    <a:lnTo>
                      <a:pt x="200" y="360"/>
                    </a:lnTo>
                    <a:lnTo>
                      <a:pt x="202" y="360"/>
                    </a:lnTo>
                    <a:lnTo>
                      <a:pt x="204" y="360"/>
                    </a:lnTo>
                    <a:lnTo>
                      <a:pt x="204" y="358"/>
                    </a:lnTo>
                    <a:lnTo>
                      <a:pt x="205" y="358"/>
                    </a:lnTo>
                    <a:lnTo>
                      <a:pt x="207" y="358"/>
                    </a:lnTo>
                    <a:lnTo>
                      <a:pt x="209" y="358"/>
                    </a:lnTo>
                    <a:lnTo>
                      <a:pt x="211" y="358"/>
                    </a:lnTo>
                    <a:lnTo>
                      <a:pt x="209" y="358"/>
                    </a:lnTo>
                    <a:close/>
                    <a:moveTo>
                      <a:pt x="613" y="350"/>
                    </a:moveTo>
                    <a:lnTo>
                      <a:pt x="611" y="350"/>
                    </a:lnTo>
                    <a:lnTo>
                      <a:pt x="613" y="350"/>
                    </a:lnTo>
                    <a:close/>
                    <a:moveTo>
                      <a:pt x="221" y="356"/>
                    </a:moveTo>
                    <a:lnTo>
                      <a:pt x="219" y="356"/>
                    </a:lnTo>
                    <a:lnTo>
                      <a:pt x="217" y="356"/>
                    </a:lnTo>
                    <a:lnTo>
                      <a:pt x="217" y="358"/>
                    </a:lnTo>
                    <a:lnTo>
                      <a:pt x="215" y="356"/>
                    </a:lnTo>
                    <a:lnTo>
                      <a:pt x="217" y="356"/>
                    </a:lnTo>
                    <a:lnTo>
                      <a:pt x="215" y="356"/>
                    </a:lnTo>
                    <a:lnTo>
                      <a:pt x="217" y="356"/>
                    </a:lnTo>
                    <a:lnTo>
                      <a:pt x="219" y="356"/>
                    </a:lnTo>
                    <a:lnTo>
                      <a:pt x="217" y="356"/>
                    </a:lnTo>
                    <a:lnTo>
                      <a:pt x="219" y="356"/>
                    </a:lnTo>
                    <a:lnTo>
                      <a:pt x="221" y="356"/>
                    </a:lnTo>
                    <a:close/>
                    <a:moveTo>
                      <a:pt x="225" y="358"/>
                    </a:moveTo>
                    <a:lnTo>
                      <a:pt x="223" y="358"/>
                    </a:lnTo>
                    <a:lnTo>
                      <a:pt x="223" y="360"/>
                    </a:lnTo>
                    <a:lnTo>
                      <a:pt x="221" y="360"/>
                    </a:lnTo>
                    <a:lnTo>
                      <a:pt x="219" y="360"/>
                    </a:lnTo>
                    <a:lnTo>
                      <a:pt x="221" y="360"/>
                    </a:lnTo>
                    <a:lnTo>
                      <a:pt x="219" y="360"/>
                    </a:lnTo>
                    <a:lnTo>
                      <a:pt x="217" y="360"/>
                    </a:lnTo>
                    <a:lnTo>
                      <a:pt x="217" y="358"/>
                    </a:lnTo>
                    <a:lnTo>
                      <a:pt x="215" y="358"/>
                    </a:lnTo>
                    <a:lnTo>
                      <a:pt x="213" y="358"/>
                    </a:lnTo>
                    <a:lnTo>
                      <a:pt x="215" y="358"/>
                    </a:lnTo>
                    <a:lnTo>
                      <a:pt x="217" y="358"/>
                    </a:lnTo>
                    <a:lnTo>
                      <a:pt x="219" y="356"/>
                    </a:lnTo>
                    <a:lnTo>
                      <a:pt x="221" y="356"/>
                    </a:lnTo>
                    <a:lnTo>
                      <a:pt x="223" y="356"/>
                    </a:lnTo>
                    <a:lnTo>
                      <a:pt x="225" y="356"/>
                    </a:lnTo>
                    <a:lnTo>
                      <a:pt x="225" y="358"/>
                    </a:lnTo>
                    <a:close/>
                    <a:moveTo>
                      <a:pt x="286" y="358"/>
                    </a:moveTo>
                    <a:lnTo>
                      <a:pt x="284" y="358"/>
                    </a:lnTo>
                    <a:lnTo>
                      <a:pt x="286" y="358"/>
                    </a:lnTo>
                    <a:close/>
                    <a:moveTo>
                      <a:pt x="265" y="354"/>
                    </a:moveTo>
                    <a:lnTo>
                      <a:pt x="261" y="352"/>
                    </a:lnTo>
                    <a:lnTo>
                      <a:pt x="263" y="352"/>
                    </a:lnTo>
                    <a:lnTo>
                      <a:pt x="265" y="354"/>
                    </a:lnTo>
                    <a:close/>
                    <a:moveTo>
                      <a:pt x="261" y="352"/>
                    </a:moveTo>
                    <a:lnTo>
                      <a:pt x="259" y="352"/>
                    </a:lnTo>
                    <a:lnTo>
                      <a:pt x="261" y="352"/>
                    </a:lnTo>
                    <a:close/>
                    <a:moveTo>
                      <a:pt x="267" y="352"/>
                    </a:moveTo>
                    <a:lnTo>
                      <a:pt x="265" y="352"/>
                    </a:lnTo>
                    <a:lnTo>
                      <a:pt x="267" y="352"/>
                    </a:lnTo>
                    <a:close/>
                    <a:moveTo>
                      <a:pt x="59" y="331"/>
                    </a:moveTo>
                    <a:lnTo>
                      <a:pt x="59" y="333"/>
                    </a:lnTo>
                    <a:lnTo>
                      <a:pt x="59" y="331"/>
                    </a:lnTo>
                    <a:close/>
                    <a:moveTo>
                      <a:pt x="58" y="331"/>
                    </a:moveTo>
                    <a:lnTo>
                      <a:pt x="56" y="331"/>
                    </a:lnTo>
                    <a:lnTo>
                      <a:pt x="58" y="331"/>
                    </a:lnTo>
                    <a:close/>
                    <a:moveTo>
                      <a:pt x="257" y="350"/>
                    </a:moveTo>
                    <a:lnTo>
                      <a:pt x="255" y="350"/>
                    </a:lnTo>
                    <a:lnTo>
                      <a:pt x="253" y="350"/>
                    </a:lnTo>
                    <a:lnTo>
                      <a:pt x="255" y="350"/>
                    </a:lnTo>
                    <a:lnTo>
                      <a:pt x="257" y="350"/>
                    </a:lnTo>
                    <a:close/>
                    <a:moveTo>
                      <a:pt x="271" y="350"/>
                    </a:moveTo>
                    <a:lnTo>
                      <a:pt x="273" y="350"/>
                    </a:lnTo>
                    <a:lnTo>
                      <a:pt x="271" y="350"/>
                    </a:lnTo>
                    <a:close/>
                    <a:moveTo>
                      <a:pt x="19" y="325"/>
                    </a:moveTo>
                    <a:lnTo>
                      <a:pt x="19" y="323"/>
                    </a:lnTo>
                    <a:lnTo>
                      <a:pt x="21" y="323"/>
                    </a:lnTo>
                    <a:lnTo>
                      <a:pt x="23" y="323"/>
                    </a:lnTo>
                    <a:lnTo>
                      <a:pt x="21" y="323"/>
                    </a:lnTo>
                    <a:lnTo>
                      <a:pt x="19" y="323"/>
                    </a:lnTo>
                    <a:lnTo>
                      <a:pt x="19" y="325"/>
                    </a:lnTo>
                    <a:close/>
                    <a:moveTo>
                      <a:pt x="184" y="346"/>
                    </a:moveTo>
                    <a:lnTo>
                      <a:pt x="182" y="346"/>
                    </a:lnTo>
                    <a:lnTo>
                      <a:pt x="182" y="344"/>
                    </a:lnTo>
                    <a:lnTo>
                      <a:pt x="182" y="342"/>
                    </a:lnTo>
                    <a:lnTo>
                      <a:pt x="184" y="344"/>
                    </a:lnTo>
                    <a:lnTo>
                      <a:pt x="184" y="346"/>
                    </a:lnTo>
                    <a:close/>
                    <a:moveTo>
                      <a:pt x="278" y="348"/>
                    </a:moveTo>
                    <a:lnTo>
                      <a:pt x="277" y="348"/>
                    </a:lnTo>
                    <a:lnTo>
                      <a:pt x="277" y="350"/>
                    </a:lnTo>
                    <a:lnTo>
                      <a:pt x="275" y="350"/>
                    </a:lnTo>
                    <a:lnTo>
                      <a:pt x="277" y="348"/>
                    </a:lnTo>
                    <a:lnTo>
                      <a:pt x="278" y="348"/>
                    </a:lnTo>
                    <a:close/>
                    <a:moveTo>
                      <a:pt x="280" y="348"/>
                    </a:moveTo>
                    <a:lnTo>
                      <a:pt x="278" y="348"/>
                    </a:lnTo>
                    <a:lnTo>
                      <a:pt x="277" y="348"/>
                    </a:lnTo>
                    <a:lnTo>
                      <a:pt x="278" y="348"/>
                    </a:lnTo>
                    <a:lnTo>
                      <a:pt x="280" y="348"/>
                    </a:lnTo>
                    <a:close/>
                    <a:moveTo>
                      <a:pt x="288" y="346"/>
                    </a:moveTo>
                    <a:lnTo>
                      <a:pt x="288" y="344"/>
                    </a:lnTo>
                    <a:lnTo>
                      <a:pt x="290" y="344"/>
                    </a:lnTo>
                    <a:lnTo>
                      <a:pt x="288" y="346"/>
                    </a:lnTo>
                    <a:close/>
                    <a:moveTo>
                      <a:pt x="56" y="319"/>
                    </a:moveTo>
                    <a:lnTo>
                      <a:pt x="56" y="321"/>
                    </a:lnTo>
                    <a:lnTo>
                      <a:pt x="56" y="319"/>
                    </a:lnTo>
                    <a:close/>
                    <a:moveTo>
                      <a:pt x="288" y="342"/>
                    </a:moveTo>
                    <a:lnTo>
                      <a:pt x="290" y="342"/>
                    </a:lnTo>
                    <a:lnTo>
                      <a:pt x="288" y="342"/>
                    </a:lnTo>
                    <a:close/>
                    <a:moveTo>
                      <a:pt x="54" y="319"/>
                    </a:moveTo>
                    <a:lnTo>
                      <a:pt x="52" y="319"/>
                    </a:lnTo>
                    <a:lnTo>
                      <a:pt x="54" y="319"/>
                    </a:lnTo>
                    <a:close/>
                    <a:moveTo>
                      <a:pt x="54" y="319"/>
                    </a:moveTo>
                    <a:lnTo>
                      <a:pt x="52" y="319"/>
                    </a:lnTo>
                    <a:lnTo>
                      <a:pt x="54" y="317"/>
                    </a:lnTo>
                    <a:lnTo>
                      <a:pt x="54" y="319"/>
                    </a:lnTo>
                    <a:close/>
                    <a:moveTo>
                      <a:pt x="58" y="319"/>
                    </a:moveTo>
                    <a:lnTo>
                      <a:pt x="56" y="317"/>
                    </a:lnTo>
                    <a:lnTo>
                      <a:pt x="58" y="319"/>
                    </a:lnTo>
                    <a:close/>
                    <a:moveTo>
                      <a:pt x="680" y="319"/>
                    </a:moveTo>
                    <a:lnTo>
                      <a:pt x="678" y="319"/>
                    </a:lnTo>
                    <a:lnTo>
                      <a:pt x="680" y="319"/>
                    </a:lnTo>
                    <a:lnTo>
                      <a:pt x="678" y="319"/>
                    </a:lnTo>
                    <a:lnTo>
                      <a:pt x="680" y="319"/>
                    </a:lnTo>
                    <a:close/>
                    <a:moveTo>
                      <a:pt x="52" y="315"/>
                    </a:moveTo>
                    <a:lnTo>
                      <a:pt x="52" y="317"/>
                    </a:lnTo>
                    <a:lnTo>
                      <a:pt x="50" y="317"/>
                    </a:lnTo>
                    <a:lnTo>
                      <a:pt x="50" y="315"/>
                    </a:lnTo>
                    <a:lnTo>
                      <a:pt x="52" y="315"/>
                    </a:lnTo>
                    <a:close/>
                    <a:moveTo>
                      <a:pt x="50" y="313"/>
                    </a:moveTo>
                    <a:lnTo>
                      <a:pt x="52" y="313"/>
                    </a:lnTo>
                    <a:lnTo>
                      <a:pt x="50" y="313"/>
                    </a:lnTo>
                    <a:close/>
                    <a:moveTo>
                      <a:pt x="54" y="313"/>
                    </a:moveTo>
                    <a:lnTo>
                      <a:pt x="56" y="313"/>
                    </a:lnTo>
                    <a:lnTo>
                      <a:pt x="58" y="313"/>
                    </a:lnTo>
                    <a:lnTo>
                      <a:pt x="56" y="313"/>
                    </a:lnTo>
                    <a:lnTo>
                      <a:pt x="56" y="315"/>
                    </a:lnTo>
                    <a:lnTo>
                      <a:pt x="56" y="313"/>
                    </a:lnTo>
                    <a:lnTo>
                      <a:pt x="56" y="315"/>
                    </a:lnTo>
                    <a:lnTo>
                      <a:pt x="58" y="315"/>
                    </a:lnTo>
                    <a:lnTo>
                      <a:pt x="56" y="315"/>
                    </a:lnTo>
                    <a:lnTo>
                      <a:pt x="54" y="315"/>
                    </a:lnTo>
                    <a:lnTo>
                      <a:pt x="52" y="315"/>
                    </a:lnTo>
                    <a:lnTo>
                      <a:pt x="52" y="313"/>
                    </a:lnTo>
                    <a:lnTo>
                      <a:pt x="54" y="313"/>
                    </a:lnTo>
                    <a:close/>
                    <a:moveTo>
                      <a:pt x="592" y="325"/>
                    </a:moveTo>
                    <a:lnTo>
                      <a:pt x="594" y="325"/>
                    </a:lnTo>
                    <a:lnTo>
                      <a:pt x="592" y="325"/>
                    </a:lnTo>
                    <a:close/>
                    <a:moveTo>
                      <a:pt x="636" y="319"/>
                    </a:moveTo>
                    <a:lnTo>
                      <a:pt x="634" y="319"/>
                    </a:lnTo>
                    <a:lnTo>
                      <a:pt x="636" y="319"/>
                    </a:lnTo>
                    <a:close/>
                    <a:moveTo>
                      <a:pt x="634" y="319"/>
                    </a:moveTo>
                    <a:lnTo>
                      <a:pt x="634" y="317"/>
                    </a:lnTo>
                    <a:lnTo>
                      <a:pt x="636" y="319"/>
                    </a:lnTo>
                    <a:lnTo>
                      <a:pt x="634" y="319"/>
                    </a:lnTo>
                    <a:close/>
                    <a:moveTo>
                      <a:pt x="636" y="317"/>
                    </a:moveTo>
                    <a:lnTo>
                      <a:pt x="636" y="319"/>
                    </a:lnTo>
                    <a:lnTo>
                      <a:pt x="636" y="317"/>
                    </a:lnTo>
                    <a:close/>
                    <a:moveTo>
                      <a:pt x="632" y="319"/>
                    </a:moveTo>
                    <a:lnTo>
                      <a:pt x="634" y="319"/>
                    </a:lnTo>
                    <a:lnTo>
                      <a:pt x="632" y="319"/>
                    </a:lnTo>
                    <a:lnTo>
                      <a:pt x="630" y="319"/>
                    </a:lnTo>
                    <a:lnTo>
                      <a:pt x="632" y="319"/>
                    </a:lnTo>
                    <a:lnTo>
                      <a:pt x="632" y="317"/>
                    </a:lnTo>
                    <a:lnTo>
                      <a:pt x="632" y="319"/>
                    </a:lnTo>
                    <a:close/>
                    <a:moveTo>
                      <a:pt x="186" y="327"/>
                    </a:moveTo>
                    <a:lnTo>
                      <a:pt x="184" y="327"/>
                    </a:lnTo>
                    <a:lnTo>
                      <a:pt x="182" y="327"/>
                    </a:lnTo>
                    <a:lnTo>
                      <a:pt x="180" y="327"/>
                    </a:lnTo>
                    <a:lnTo>
                      <a:pt x="184" y="325"/>
                    </a:lnTo>
                    <a:lnTo>
                      <a:pt x="184" y="327"/>
                    </a:lnTo>
                    <a:lnTo>
                      <a:pt x="186" y="327"/>
                    </a:lnTo>
                    <a:close/>
                    <a:moveTo>
                      <a:pt x="632" y="317"/>
                    </a:moveTo>
                    <a:lnTo>
                      <a:pt x="632" y="319"/>
                    </a:lnTo>
                    <a:lnTo>
                      <a:pt x="632" y="317"/>
                    </a:lnTo>
                    <a:close/>
                    <a:moveTo>
                      <a:pt x="636" y="317"/>
                    </a:moveTo>
                    <a:lnTo>
                      <a:pt x="634" y="317"/>
                    </a:lnTo>
                    <a:lnTo>
                      <a:pt x="636" y="317"/>
                    </a:lnTo>
                    <a:close/>
                    <a:moveTo>
                      <a:pt x="194" y="325"/>
                    </a:moveTo>
                    <a:lnTo>
                      <a:pt x="192" y="325"/>
                    </a:lnTo>
                    <a:lnTo>
                      <a:pt x="194" y="325"/>
                    </a:lnTo>
                    <a:lnTo>
                      <a:pt x="196" y="325"/>
                    </a:lnTo>
                    <a:lnTo>
                      <a:pt x="194" y="325"/>
                    </a:lnTo>
                    <a:close/>
                    <a:moveTo>
                      <a:pt x="636" y="315"/>
                    </a:moveTo>
                    <a:lnTo>
                      <a:pt x="638" y="315"/>
                    </a:lnTo>
                    <a:lnTo>
                      <a:pt x="638" y="317"/>
                    </a:lnTo>
                    <a:lnTo>
                      <a:pt x="636" y="317"/>
                    </a:lnTo>
                    <a:lnTo>
                      <a:pt x="638" y="317"/>
                    </a:lnTo>
                    <a:lnTo>
                      <a:pt x="636" y="317"/>
                    </a:lnTo>
                    <a:lnTo>
                      <a:pt x="638" y="317"/>
                    </a:lnTo>
                    <a:lnTo>
                      <a:pt x="636" y="317"/>
                    </a:lnTo>
                    <a:lnTo>
                      <a:pt x="634" y="317"/>
                    </a:lnTo>
                    <a:lnTo>
                      <a:pt x="636" y="317"/>
                    </a:lnTo>
                    <a:lnTo>
                      <a:pt x="634" y="317"/>
                    </a:lnTo>
                    <a:lnTo>
                      <a:pt x="636" y="315"/>
                    </a:lnTo>
                    <a:close/>
                    <a:moveTo>
                      <a:pt x="630" y="315"/>
                    </a:moveTo>
                    <a:lnTo>
                      <a:pt x="632" y="315"/>
                    </a:lnTo>
                    <a:lnTo>
                      <a:pt x="634" y="317"/>
                    </a:lnTo>
                    <a:lnTo>
                      <a:pt x="632" y="317"/>
                    </a:lnTo>
                    <a:lnTo>
                      <a:pt x="630" y="317"/>
                    </a:lnTo>
                    <a:lnTo>
                      <a:pt x="630" y="315"/>
                    </a:lnTo>
                    <a:close/>
                    <a:moveTo>
                      <a:pt x="638" y="315"/>
                    </a:moveTo>
                    <a:lnTo>
                      <a:pt x="636" y="315"/>
                    </a:lnTo>
                    <a:lnTo>
                      <a:pt x="638" y="315"/>
                    </a:lnTo>
                    <a:lnTo>
                      <a:pt x="636" y="315"/>
                    </a:lnTo>
                    <a:lnTo>
                      <a:pt x="638" y="315"/>
                    </a:lnTo>
                    <a:close/>
                    <a:moveTo>
                      <a:pt x="618" y="317"/>
                    </a:moveTo>
                    <a:lnTo>
                      <a:pt x="617" y="317"/>
                    </a:lnTo>
                    <a:lnTo>
                      <a:pt x="618" y="317"/>
                    </a:lnTo>
                    <a:close/>
                    <a:moveTo>
                      <a:pt x="636" y="315"/>
                    </a:moveTo>
                    <a:lnTo>
                      <a:pt x="638" y="315"/>
                    </a:lnTo>
                    <a:lnTo>
                      <a:pt x="636" y="315"/>
                    </a:lnTo>
                    <a:close/>
                    <a:moveTo>
                      <a:pt x="630" y="315"/>
                    </a:moveTo>
                    <a:lnTo>
                      <a:pt x="632" y="315"/>
                    </a:lnTo>
                    <a:lnTo>
                      <a:pt x="630" y="315"/>
                    </a:lnTo>
                    <a:close/>
                    <a:moveTo>
                      <a:pt x="634" y="319"/>
                    </a:moveTo>
                    <a:lnTo>
                      <a:pt x="634" y="317"/>
                    </a:lnTo>
                    <a:lnTo>
                      <a:pt x="632" y="317"/>
                    </a:lnTo>
                    <a:lnTo>
                      <a:pt x="630" y="319"/>
                    </a:lnTo>
                    <a:lnTo>
                      <a:pt x="628" y="319"/>
                    </a:lnTo>
                    <a:lnTo>
                      <a:pt x="628" y="317"/>
                    </a:lnTo>
                    <a:lnTo>
                      <a:pt x="628" y="315"/>
                    </a:lnTo>
                    <a:lnTo>
                      <a:pt x="630" y="315"/>
                    </a:lnTo>
                    <a:lnTo>
                      <a:pt x="630" y="317"/>
                    </a:lnTo>
                    <a:lnTo>
                      <a:pt x="632" y="317"/>
                    </a:lnTo>
                    <a:lnTo>
                      <a:pt x="634" y="317"/>
                    </a:lnTo>
                    <a:lnTo>
                      <a:pt x="634" y="319"/>
                    </a:lnTo>
                    <a:close/>
                    <a:moveTo>
                      <a:pt x="615" y="317"/>
                    </a:moveTo>
                    <a:lnTo>
                      <a:pt x="613" y="317"/>
                    </a:lnTo>
                    <a:lnTo>
                      <a:pt x="615" y="317"/>
                    </a:lnTo>
                    <a:close/>
                    <a:moveTo>
                      <a:pt x="622" y="317"/>
                    </a:moveTo>
                    <a:lnTo>
                      <a:pt x="620" y="317"/>
                    </a:lnTo>
                    <a:lnTo>
                      <a:pt x="622" y="317"/>
                    </a:lnTo>
                    <a:close/>
                    <a:moveTo>
                      <a:pt x="622" y="317"/>
                    </a:moveTo>
                    <a:lnTo>
                      <a:pt x="622" y="315"/>
                    </a:lnTo>
                    <a:lnTo>
                      <a:pt x="622" y="317"/>
                    </a:lnTo>
                    <a:close/>
                    <a:moveTo>
                      <a:pt x="624" y="315"/>
                    </a:moveTo>
                    <a:lnTo>
                      <a:pt x="622" y="315"/>
                    </a:lnTo>
                    <a:lnTo>
                      <a:pt x="624" y="315"/>
                    </a:lnTo>
                    <a:close/>
                    <a:moveTo>
                      <a:pt x="655" y="311"/>
                    </a:moveTo>
                    <a:lnTo>
                      <a:pt x="653" y="313"/>
                    </a:lnTo>
                    <a:lnTo>
                      <a:pt x="653" y="311"/>
                    </a:lnTo>
                    <a:lnTo>
                      <a:pt x="655" y="311"/>
                    </a:lnTo>
                    <a:lnTo>
                      <a:pt x="653" y="311"/>
                    </a:lnTo>
                    <a:lnTo>
                      <a:pt x="655" y="311"/>
                    </a:lnTo>
                    <a:close/>
                    <a:moveTo>
                      <a:pt x="186" y="323"/>
                    </a:moveTo>
                    <a:lnTo>
                      <a:pt x="186" y="325"/>
                    </a:lnTo>
                    <a:lnTo>
                      <a:pt x="184" y="323"/>
                    </a:lnTo>
                    <a:lnTo>
                      <a:pt x="186" y="323"/>
                    </a:lnTo>
                    <a:close/>
                    <a:moveTo>
                      <a:pt x="196" y="323"/>
                    </a:moveTo>
                    <a:lnTo>
                      <a:pt x="194" y="323"/>
                    </a:lnTo>
                    <a:lnTo>
                      <a:pt x="196" y="323"/>
                    </a:lnTo>
                    <a:lnTo>
                      <a:pt x="196" y="325"/>
                    </a:lnTo>
                    <a:lnTo>
                      <a:pt x="194" y="325"/>
                    </a:lnTo>
                    <a:lnTo>
                      <a:pt x="192" y="325"/>
                    </a:lnTo>
                    <a:lnTo>
                      <a:pt x="190" y="325"/>
                    </a:lnTo>
                    <a:lnTo>
                      <a:pt x="188" y="325"/>
                    </a:lnTo>
                    <a:lnTo>
                      <a:pt x="190" y="325"/>
                    </a:lnTo>
                    <a:lnTo>
                      <a:pt x="192" y="325"/>
                    </a:lnTo>
                    <a:lnTo>
                      <a:pt x="190" y="325"/>
                    </a:lnTo>
                    <a:lnTo>
                      <a:pt x="188" y="325"/>
                    </a:lnTo>
                    <a:lnTo>
                      <a:pt x="186" y="325"/>
                    </a:lnTo>
                    <a:lnTo>
                      <a:pt x="188" y="325"/>
                    </a:lnTo>
                    <a:lnTo>
                      <a:pt x="190" y="325"/>
                    </a:lnTo>
                    <a:lnTo>
                      <a:pt x="192" y="323"/>
                    </a:lnTo>
                    <a:lnTo>
                      <a:pt x="192" y="325"/>
                    </a:lnTo>
                    <a:lnTo>
                      <a:pt x="192" y="323"/>
                    </a:lnTo>
                    <a:lnTo>
                      <a:pt x="194" y="323"/>
                    </a:lnTo>
                    <a:lnTo>
                      <a:pt x="196" y="323"/>
                    </a:lnTo>
                    <a:close/>
                    <a:moveTo>
                      <a:pt x="190" y="323"/>
                    </a:moveTo>
                    <a:lnTo>
                      <a:pt x="192" y="323"/>
                    </a:lnTo>
                    <a:lnTo>
                      <a:pt x="190" y="323"/>
                    </a:lnTo>
                    <a:lnTo>
                      <a:pt x="192" y="323"/>
                    </a:lnTo>
                    <a:lnTo>
                      <a:pt x="190" y="325"/>
                    </a:lnTo>
                    <a:lnTo>
                      <a:pt x="188" y="323"/>
                    </a:lnTo>
                    <a:lnTo>
                      <a:pt x="186" y="323"/>
                    </a:lnTo>
                    <a:lnTo>
                      <a:pt x="188" y="323"/>
                    </a:lnTo>
                    <a:lnTo>
                      <a:pt x="190" y="323"/>
                    </a:lnTo>
                    <a:close/>
                    <a:moveTo>
                      <a:pt x="190" y="323"/>
                    </a:moveTo>
                    <a:lnTo>
                      <a:pt x="192" y="321"/>
                    </a:lnTo>
                    <a:lnTo>
                      <a:pt x="194" y="321"/>
                    </a:lnTo>
                    <a:lnTo>
                      <a:pt x="192" y="323"/>
                    </a:lnTo>
                    <a:lnTo>
                      <a:pt x="190" y="323"/>
                    </a:lnTo>
                    <a:close/>
                    <a:moveTo>
                      <a:pt x="200" y="323"/>
                    </a:moveTo>
                    <a:lnTo>
                      <a:pt x="202" y="321"/>
                    </a:lnTo>
                    <a:lnTo>
                      <a:pt x="202" y="323"/>
                    </a:lnTo>
                    <a:lnTo>
                      <a:pt x="200" y="323"/>
                    </a:lnTo>
                    <a:close/>
                    <a:moveTo>
                      <a:pt x="204" y="323"/>
                    </a:moveTo>
                    <a:lnTo>
                      <a:pt x="202" y="323"/>
                    </a:lnTo>
                    <a:lnTo>
                      <a:pt x="202" y="325"/>
                    </a:lnTo>
                    <a:lnTo>
                      <a:pt x="200" y="325"/>
                    </a:lnTo>
                    <a:lnTo>
                      <a:pt x="202" y="325"/>
                    </a:lnTo>
                    <a:lnTo>
                      <a:pt x="200" y="325"/>
                    </a:lnTo>
                    <a:lnTo>
                      <a:pt x="198" y="325"/>
                    </a:lnTo>
                    <a:lnTo>
                      <a:pt x="196" y="325"/>
                    </a:lnTo>
                    <a:lnTo>
                      <a:pt x="198" y="325"/>
                    </a:lnTo>
                    <a:lnTo>
                      <a:pt x="200" y="323"/>
                    </a:lnTo>
                    <a:lnTo>
                      <a:pt x="202" y="323"/>
                    </a:lnTo>
                    <a:lnTo>
                      <a:pt x="204" y="323"/>
                    </a:lnTo>
                    <a:lnTo>
                      <a:pt x="204" y="321"/>
                    </a:lnTo>
                    <a:lnTo>
                      <a:pt x="204" y="323"/>
                    </a:lnTo>
                    <a:close/>
                    <a:moveTo>
                      <a:pt x="194" y="321"/>
                    </a:moveTo>
                    <a:lnTo>
                      <a:pt x="192" y="321"/>
                    </a:lnTo>
                    <a:lnTo>
                      <a:pt x="194" y="321"/>
                    </a:lnTo>
                    <a:lnTo>
                      <a:pt x="196" y="319"/>
                    </a:lnTo>
                    <a:lnTo>
                      <a:pt x="194" y="321"/>
                    </a:lnTo>
                    <a:close/>
                    <a:moveTo>
                      <a:pt x="196" y="323"/>
                    </a:moveTo>
                    <a:lnTo>
                      <a:pt x="194" y="323"/>
                    </a:lnTo>
                    <a:lnTo>
                      <a:pt x="192" y="323"/>
                    </a:lnTo>
                    <a:lnTo>
                      <a:pt x="192" y="325"/>
                    </a:lnTo>
                    <a:lnTo>
                      <a:pt x="192" y="323"/>
                    </a:lnTo>
                    <a:lnTo>
                      <a:pt x="194" y="323"/>
                    </a:lnTo>
                    <a:lnTo>
                      <a:pt x="194" y="321"/>
                    </a:lnTo>
                    <a:lnTo>
                      <a:pt x="196" y="321"/>
                    </a:lnTo>
                    <a:lnTo>
                      <a:pt x="198" y="319"/>
                    </a:lnTo>
                    <a:lnTo>
                      <a:pt x="198" y="321"/>
                    </a:lnTo>
                    <a:lnTo>
                      <a:pt x="196" y="321"/>
                    </a:lnTo>
                    <a:lnTo>
                      <a:pt x="196" y="323"/>
                    </a:lnTo>
                    <a:close/>
                    <a:moveTo>
                      <a:pt x="198" y="319"/>
                    </a:moveTo>
                    <a:lnTo>
                      <a:pt x="196" y="321"/>
                    </a:lnTo>
                    <a:lnTo>
                      <a:pt x="196" y="319"/>
                    </a:lnTo>
                    <a:lnTo>
                      <a:pt x="198" y="319"/>
                    </a:lnTo>
                    <a:close/>
                    <a:moveTo>
                      <a:pt x="200" y="323"/>
                    </a:moveTo>
                    <a:lnTo>
                      <a:pt x="198" y="323"/>
                    </a:lnTo>
                    <a:lnTo>
                      <a:pt x="196" y="325"/>
                    </a:lnTo>
                    <a:lnTo>
                      <a:pt x="196" y="323"/>
                    </a:lnTo>
                    <a:lnTo>
                      <a:pt x="196" y="321"/>
                    </a:lnTo>
                    <a:lnTo>
                      <a:pt x="198" y="323"/>
                    </a:lnTo>
                    <a:lnTo>
                      <a:pt x="198" y="321"/>
                    </a:lnTo>
                    <a:lnTo>
                      <a:pt x="200" y="321"/>
                    </a:lnTo>
                    <a:lnTo>
                      <a:pt x="202" y="321"/>
                    </a:lnTo>
                    <a:lnTo>
                      <a:pt x="200" y="321"/>
                    </a:lnTo>
                    <a:lnTo>
                      <a:pt x="198" y="323"/>
                    </a:lnTo>
                    <a:lnTo>
                      <a:pt x="200" y="321"/>
                    </a:lnTo>
                    <a:lnTo>
                      <a:pt x="202" y="321"/>
                    </a:lnTo>
                    <a:lnTo>
                      <a:pt x="204" y="321"/>
                    </a:lnTo>
                    <a:lnTo>
                      <a:pt x="204" y="319"/>
                    </a:lnTo>
                    <a:lnTo>
                      <a:pt x="204" y="321"/>
                    </a:lnTo>
                    <a:lnTo>
                      <a:pt x="202" y="321"/>
                    </a:lnTo>
                    <a:lnTo>
                      <a:pt x="202" y="323"/>
                    </a:lnTo>
                    <a:lnTo>
                      <a:pt x="200" y="323"/>
                    </a:lnTo>
                    <a:close/>
                    <a:moveTo>
                      <a:pt x="204" y="323"/>
                    </a:moveTo>
                    <a:lnTo>
                      <a:pt x="205" y="321"/>
                    </a:lnTo>
                    <a:lnTo>
                      <a:pt x="205" y="319"/>
                    </a:lnTo>
                    <a:lnTo>
                      <a:pt x="205" y="321"/>
                    </a:lnTo>
                    <a:lnTo>
                      <a:pt x="205" y="323"/>
                    </a:lnTo>
                    <a:lnTo>
                      <a:pt x="204" y="323"/>
                    </a:lnTo>
                    <a:close/>
                    <a:moveTo>
                      <a:pt x="200" y="319"/>
                    </a:moveTo>
                    <a:lnTo>
                      <a:pt x="198" y="319"/>
                    </a:lnTo>
                    <a:lnTo>
                      <a:pt x="200" y="319"/>
                    </a:lnTo>
                    <a:close/>
                    <a:moveTo>
                      <a:pt x="154" y="313"/>
                    </a:moveTo>
                    <a:lnTo>
                      <a:pt x="154" y="315"/>
                    </a:lnTo>
                    <a:lnTo>
                      <a:pt x="152" y="315"/>
                    </a:lnTo>
                    <a:lnTo>
                      <a:pt x="154" y="313"/>
                    </a:lnTo>
                    <a:lnTo>
                      <a:pt x="152" y="313"/>
                    </a:lnTo>
                    <a:lnTo>
                      <a:pt x="154" y="313"/>
                    </a:lnTo>
                    <a:close/>
                    <a:moveTo>
                      <a:pt x="204" y="319"/>
                    </a:moveTo>
                    <a:lnTo>
                      <a:pt x="202" y="321"/>
                    </a:lnTo>
                    <a:lnTo>
                      <a:pt x="202" y="319"/>
                    </a:lnTo>
                    <a:lnTo>
                      <a:pt x="202" y="321"/>
                    </a:lnTo>
                    <a:lnTo>
                      <a:pt x="200" y="321"/>
                    </a:lnTo>
                    <a:lnTo>
                      <a:pt x="198" y="321"/>
                    </a:lnTo>
                    <a:lnTo>
                      <a:pt x="196" y="321"/>
                    </a:lnTo>
                    <a:lnTo>
                      <a:pt x="198" y="321"/>
                    </a:lnTo>
                    <a:lnTo>
                      <a:pt x="200" y="321"/>
                    </a:lnTo>
                    <a:lnTo>
                      <a:pt x="200" y="319"/>
                    </a:lnTo>
                    <a:lnTo>
                      <a:pt x="200" y="321"/>
                    </a:lnTo>
                    <a:lnTo>
                      <a:pt x="200" y="319"/>
                    </a:lnTo>
                    <a:lnTo>
                      <a:pt x="202" y="319"/>
                    </a:lnTo>
                    <a:lnTo>
                      <a:pt x="202" y="317"/>
                    </a:lnTo>
                    <a:lnTo>
                      <a:pt x="204" y="317"/>
                    </a:lnTo>
                    <a:lnTo>
                      <a:pt x="202" y="319"/>
                    </a:lnTo>
                    <a:lnTo>
                      <a:pt x="204" y="319"/>
                    </a:lnTo>
                    <a:close/>
                    <a:moveTo>
                      <a:pt x="200" y="317"/>
                    </a:moveTo>
                    <a:lnTo>
                      <a:pt x="200" y="319"/>
                    </a:lnTo>
                    <a:lnTo>
                      <a:pt x="198" y="319"/>
                    </a:lnTo>
                    <a:lnTo>
                      <a:pt x="196" y="319"/>
                    </a:lnTo>
                    <a:lnTo>
                      <a:pt x="194" y="319"/>
                    </a:lnTo>
                    <a:lnTo>
                      <a:pt x="196" y="319"/>
                    </a:lnTo>
                    <a:lnTo>
                      <a:pt x="196" y="317"/>
                    </a:lnTo>
                    <a:lnTo>
                      <a:pt x="198" y="317"/>
                    </a:lnTo>
                    <a:lnTo>
                      <a:pt x="200" y="317"/>
                    </a:lnTo>
                    <a:close/>
                    <a:moveTo>
                      <a:pt x="209" y="319"/>
                    </a:moveTo>
                    <a:lnTo>
                      <a:pt x="207" y="321"/>
                    </a:lnTo>
                    <a:lnTo>
                      <a:pt x="205" y="321"/>
                    </a:lnTo>
                    <a:lnTo>
                      <a:pt x="207" y="319"/>
                    </a:lnTo>
                    <a:lnTo>
                      <a:pt x="205" y="319"/>
                    </a:lnTo>
                    <a:lnTo>
                      <a:pt x="207" y="319"/>
                    </a:lnTo>
                    <a:lnTo>
                      <a:pt x="209" y="319"/>
                    </a:lnTo>
                    <a:lnTo>
                      <a:pt x="209" y="317"/>
                    </a:lnTo>
                    <a:lnTo>
                      <a:pt x="211" y="317"/>
                    </a:lnTo>
                    <a:lnTo>
                      <a:pt x="209" y="317"/>
                    </a:lnTo>
                    <a:lnTo>
                      <a:pt x="209" y="319"/>
                    </a:lnTo>
                    <a:close/>
                    <a:moveTo>
                      <a:pt x="202" y="317"/>
                    </a:moveTo>
                    <a:lnTo>
                      <a:pt x="202" y="315"/>
                    </a:lnTo>
                    <a:lnTo>
                      <a:pt x="202" y="317"/>
                    </a:lnTo>
                    <a:close/>
                    <a:moveTo>
                      <a:pt x="198" y="317"/>
                    </a:moveTo>
                    <a:lnTo>
                      <a:pt x="200" y="315"/>
                    </a:lnTo>
                    <a:lnTo>
                      <a:pt x="202" y="315"/>
                    </a:lnTo>
                    <a:lnTo>
                      <a:pt x="200" y="317"/>
                    </a:lnTo>
                    <a:lnTo>
                      <a:pt x="198" y="317"/>
                    </a:lnTo>
                    <a:close/>
                    <a:moveTo>
                      <a:pt x="661" y="304"/>
                    </a:moveTo>
                    <a:lnTo>
                      <a:pt x="663" y="302"/>
                    </a:lnTo>
                    <a:lnTo>
                      <a:pt x="663" y="304"/>
                    </a:lnTo>
                    <a:lnTo>
                      <a:pt x="661" y="304"/>
                    </a:lnTo>
                    <a:close/>
                    <a:moveTo>
                      <a:pt x="205" y="315"/>
                    </a:moveTo>
                    <a:lnTo>
                      <a:pt x="207" y="315"/>
                    </a:lnTo>
                    <a:lnTo>
                      <a:pt x="207" y="317"/>
                    </a:lnTo>
                    <a:lnTo>
                      <a:pt x="207" y="315"/>
                    </a:lnTo>
                    <a:lnTo>
                      <a:pt x="207" y="317"/>
                    </a:lnTo>
                    <a:lnTo>
                      <a:pt x="205" y="317"/>
                    </a:lnTo>
                    <a:lnTo>
                      <a:pt x="205" y="315"/>
                    </a:lnTo>
                    <a:close/>
                    <a:moveTo>
                      <a:pt x="205" y="315"/>
                    </a:moveTo>
                    <a:lnTo>
                      <a:pt x="205" y="317"/>
                    </a:lnTo>
                    <a:lnTo>
                      <a:pt x="204" y="319"/>
                    </a:lnTo>
                    <a:lnTo>
                      <a:pt x="204" y="317"/>
                    </a:lnTo>
                    <a:lnTo>
                      <a:pt x="202" y="317"/>
                    </a:lnTo>
                    <a:lnTo>
                      <a:pt x="204" y="317"/>
                    </a:lnTo>
                    <a:lnTo>
                      <a:pt x="204" y="315"/>
                    </a:lnTo>
                    <a:lnTo>
                      <a:pt x="205" y="315"/>
                    </a:lnTo>
                    <a:close/>
                    <a:moveTo>
                      <a:pt x="205" y="315"/>
                    </a:moveTo>
                    <a:lnTo>
                      <a:pt x="204" y="315"/>
                    </a:lnTo>
                    <a:lnTo>
                      <a:pt x="204" y="313"/>
                    </a:lnTo>
                    <a:lnTo>
                      <a:pt x="205" y="315"/>
                    </a:lnTo>
                    <a:close/>
                    <a:moveTo>
                      <a:pt x="150" y="308"/>
                    </a:moveTo>
                    <a:lnTo>
                      <a:pt x="150" y="310"/>
                    </a:lnTo>
                    <a:lnTo>
                      <a:pt x="148" y="310"/>
                    </a:lnTo>
                    <a:lnTo>
                      <a:pt x="148" y="308"/>
                    </a:lnTo>
                    <a:lnTo>
                      <a:pt x="150" y="308"/>
                    </a:lnTo>
                    <a:close/>
                    <a:moveTo>
                      <a:pt x="200" y="311"/>
                    </a:moveTo>
                    <a:lnTo>
                      <a:pt x="202" y="311"/>
                    </a:lnTo>
                    <a:lnTo>
                      <a:pt x="200" y="311"/>
                    </a:lnTo>
                    <a:close/>
                    <a:moveTo>
                      <a:pt x="186" y="310"/>
                    </a:moveTo>
                    <a:lnTo>
                      <a:pt x="188" y="310"/>
                    </a:lnTo>
                    <a:lnTo>
                      <a:pt x="186" y="310"/>
                    </a:lnTo>
                    <a:close/>
                    <a:moveTo>
                      <a:pt x="192" y="311"/>
                    </a:moveTo>
                    <a:lnTo>
                      <a:pt x="192" y="310"/>
                    </a:lnTo>
                    <a:lnTo>
                      <a:pt x="192" y="311"/>
                    </a:lnTo>
                    <a:close/>
                    <a:moveTo>
                      <a:pt x="192" y="310"/>
                    </a:moveTo>
                    <a:lnTo>
                      <a:pt x="190" y="310"/>
                    </a:lnTo>
                    <a:lnTo>
                      <a:pt x="192" y="310"/>
                    </a:lnTo>
                    <a:close/>
                    <a:moveTo>
                      <a:pt x="190" y="310"/>
                    </a:moveTo>
                    <a:lnTo>
                      <a:pt x="188" y="310"/>
                    </a:lnTo>
                    <a:lnTo>
                      <a:pt x="190" y="310"/>
                    </a:lnTo>
                    <a:close/>
                    <a:moveTo>
                      <a:pt x="200" y="311"/>
                    </a:moveTo>
                    <a:lnTo>
                      <a:pt x="198" y="310"/>
                    </a:lnTo>
                    <a:lnTo>
                      <a:pt x="196" y="310"/>
                    </a:lnTo>
                    <a:lnTo>
                      <a:pt x="198" y="310"/>
                    </a:lnTo>
                    <a:lnTo>
                      <a:pt x="200" y="311"/>
                    </a:lnTo>
                    <a:close/>
                    <a:moveTo>
                      <a:pt x="202" y="310"/>
                    </a:moveTo>
                    <a:lnTo>
                      <a:pt x="202" y="311"/>
                    </a:lnTo>
                    <a:lnTo>
                      <a:pt x="202" y="310"/>
                    </a:lnTo>
                    <a:close/>
                    <a:moveTo>
                      <a:pt x="202" y="310"/>
                    </a:moveTo>
                    <a:lnTo>
                      <a:pt x="204" y="310"/>
                    </a:lnTo>
                    <a:lnTo>
                      <a:pt x="202" y="310"/>
                    </a:lnTo>
                    <a:close/>
                    <a:moveTo>
                      <a:pt x="192" y="310"/>
                    </a:moveTo>
                    <a:lnTo>
                      <a:pt x="194" y="310"/>
                    </a:lnTo>
                    <a:lnTo>
                      <a:pt x="192" y="310"/>
                    </a:lnTo>
                    <a:lnTo>
                      <a:pt x="192" y="308"/>
                    </a:lnTo>
                    <a:lnTo>
                      <a:pt x="192" y="310"/>
                    </a:lnTo>
                    <a:close/>
                    <a:moveTo>
                      <a:pt x="215" y="311"/>
                    </a:moveTo>
                    <a:lnTo>
                      <a:pt x="215" y="313"/>
                    </a:lnTo>
                    <a:lnTo>
                      <a:pt x="215" y="315"/>
                    </a:lnTo>
                    <a:lnTo>
                      <a:pt x="217" y="315"/>
                    </a:lnTo>
                    <a:lnTo>
                      <a:pt x="217" y="317"/>
                    </a:lnTo>
                    <a:lnTo>
                      <a:pt x="215" y="317"/>
                    </a:lnTo>
                    <a:lnTo>
                      <a:pt x="215" y="319"/>
                    </a:lnTo>
                    <a:lnTo>
                      <a:pt x="213" y="319"/>
                    </a:lnTo>
                    <a:lnTo>
                      <a:pt x="211" y="319"/>
                    </a:lnTo>
                    <a:lnTo>
                      <a:pt x="209" y="319"/>
                    </a:lnTo>
                    <a:lnTo>
                      <a:pt x="209" y="317"/>
                    </a:lnTo>
                    <a:lnTo>
                      <a:pt x="211" y="317"/>
                    </a:lnTo>
                    <a:lnTo>
                      <a:pt x="211" y="315"/>
                    </a:lnTo>
                    <a:lnTo>
                      <a:pt x="213" y="315"/>
                    </a:lnTo>
                    <a:lnTo>
                      <a:pt x="215" y="315"/>
                    </a:lnTo>
                    <a:lnTo>
                      <a:pt x="213" y="313"/>
                    </a:lnTo>
                    <a:lnTo>
                      <a:pt x="215" y="313"/>
                    </a:lnTo>
                    <a:lnTo>
                      <a:pt x="215" y="311"/>
                    </a:lnTo>
                    <a:lnTo>
                      <a:pt x="213" y="311"/>
                    </a:lnTo>
                    <a:lnTo>
                      <a:pt x="213" y="310"/>
                    </a:lnTo>
                    <a:lnTo>
                      <a:pt x="215" y="310"/>
                    </a:lnTo>
                    <a:lnTo>
                      <a:pt x="215" y="311"/>
                    </a:lnTo>
                    <a:close/>
                    <a:moveTo>
                      <a:pt x="200" y="308"/>
                    </a:moveTo>
                    <a:lnTo>
                      <a:pt x="198" y="308"/>
                    </a:lnTo>
                    <a:lnTo>
                      <a:pt x="200" y="308"/>
                    </a:lnTo>
                    <a:close/>
                    <a:moveTo>
                      <a:pt x="200" y="308"/>
                    </a:moveTo>
                    <a:lnTo>
                      <a:pt x="198" y="308"/>
                    </a:lnTo>
                    <a:lnTo>
                      <a:pt x="200" y="308"/>
                    </a:lnTo>
                    <a:close/>
                    <a:moveTo>
                      <a:pt x="198" y="308"/>
                    </a:moveTo>
                    <a:lnTo>
                      <a:pt x="196" y="308"/>
                    </a:lnTo>
                    <a:lnTo>
                      <a:pt x="198" y="308"/>
                    </a:lnTo>
                    <a:close/>
                    <a:moveTo>
                      <a:pt x="194" y="308"/>
                    </a:moveTo>
                    <a:lnTo>
                      <a:pt x="192" y="308"/>
                    </a:lnTo>
                    <a:lnTo>
                      <a:pt x="194" y="306"/>
                    </a:lnTo>
                    <a:lnTo>
                      <a:pt x="194" y="308"/>
                    </a:lnTo>
                    <a:close/>
                    <a:moveTo>
                      <a:pt x="186" y="308"/>
                    </a:moveTo>
                    <a:lnTo>
                      <a:pt x="188" y="308"/>
                    </a:lnTo>
                    <a:lnTo>
                      <a:pt x="188" y="310"/>
                    </a:lnTo>
                    <a:lnTo>
                      <a:pt x="186" y="310"/>
                    </a:lnTo>
                    <a:lnTo>
                      <a:pt x="186" y="308"/>
                    </a:lnTo>
                    <a:lnTo>
                      <a:pt x="184" y="308"/>
                    </a:lnTo>
                    <a:lnTo>
                      <a:pt x="184" y="306"/>
                    </a:lnTo>
                    <a:lnTo>
                      <a:pt x="186" y="306"/>
                    </a:lnTo>
                    <a:lnTo>
                      <a:pt x="186" y="308"/>
                    </a:lnTo>
                    <a:close/>
                    <a:moveTo>
                      <a:pt x="200" y="308"/>
                    </a:moveTo>
                    <a:lnTo>
                      <a:pt x="200" y="306"/>
                    </a:lnTo>
                    <a:lnTo>
                      <a:pt x="198" y="306"/>
                    </a:lnTo>
                    <a:lnTo>
                      <a:pt x="200" y="306"/>
                    </a:lnTo>
                    <a:lnTo>
                      <a:pt x="200" y="308"/>
                    </a:lnTo>
                    <a:close/>
                    <a:moveTo>
                      <a:pt x="194" y="306"/>
                    </a:moveTo>
                    <a:lnTo>
                      <a:pt x="196" y="306"/>
                    </a:lnTo>
                    <a:lnTo>
                      <a:pt x="198" y="306"/>
                    </a:lnTo>
                    <a:lnTo>
                      <a:pt x="198" y="308"/>
                    </a:lnTo>
                    <a:lnTo>
                      <a:pt x="196" y="306"/>
                    </a:lnTo>
                    <a:lnTo>
                      <a:pt x="194" y="306"/>
                    </a:lnTo>
                    <a:close/>
                    <a:moveTo>
                      <a:pt x="198" y="306"/>
                    </a:moveTo>
                    <a:lnTo>
                      <a:pt x="196" y="306"/>
                    </a:lnTo>
                    <a:lnTo>
                      <a:pt x="194" y="306"/>
                    </a:lnTo>
                    <a:lnTo>
                      <a:pt x="196" y="306"/>
                    </a:lnTo>
                    <a:lnTo>
                      <a:pt x="198" y="306"/>
                    </a:lnTo>
                    <a:close/>
                    <a:moveTo>
                      <a:pt x="202" y="308"/>
                    </a:moveTo>
                    <a:lnTo>
                      <a:pt x="200" y="308"/>
                    </a:lnTo>
                    <a:lnTo>
                      <a:pt x="200" y="306"/>
                    </a:lnTo>
                    <a:lnTo>
                      <a:pt x="202" y="306"/>
                    </a:lnTo>
                    <a:lnTo>
                      <a:pt x="202" y="308"/>
                    </a:lnTo>
                    <a:close/>
                    <a:moveTo>
                      <a:pt x="194" y="304"/>
                    </a:moveTo>
                    <a:lnTo>
                      <a:pt x="194" y="306"/>
                    </a:lnTo>
                    <a:lnTo>
                      <a:pt x="194" y="304"/>
                    </a:lnTo>
                    <a:lnTo>
                      <a:pt x="194" y="306"/>
                    </a:lnTo>
                    <a:lnTo>
                      <a:pt x="192" y="306"/>
                    </a:lnTo>
                    <a:lnTo>
                      <a:pt x="190" y="306"/>
                    </a:lnTo>
                    <a:lnTo>
                      <a:pt x="192" y="306"/>
                    </a:lnTo>
                    <a:lnTo>
                      <a:pt x="190" y="306"/>
                    </a:lnTo>
                    <a:lnTo>
                      <a:pt x="192" y="306"/>
                    </a:lnTo>
                    <a:lnTo>
                      <a:pt x="194" y="306"/>
                    </a:lnTo>
                    <a:lnTo>
                      <a:pt x="192" y="306"/>
                    </a:lnTo>
                    <a:lnTo>
                      <a:pt x="190" y="306"/>
                    </a:lnTo>
                    <a:lnTo>
                      <a:pt x="192" y="306"/>
                    </a:lnTo>
                    <a:lnTo>
                      <a:pt x="192" y="308"/>
                    </a:lnTo>
                    <a:lnTo>
                      <a:pt x="194" y="308"/>
                    </a:lnTo>
                    <a:lnTo>
                      <a:pt x="196" y="308"/>
                    </a:lnTo>
                    <a:lnTo>
                      <a:pt x="198" y="308"/>
                    </a:lnTo>
                    <a:lnTo>
                      <a:pt x="196" y="308"/>
                    </a:lnTo>
                    <a:lnTo>
                      <a:pt x="196" y="310"/>
                    </a:lnTo>
                    <a:lnTo>
                      <a:pt x="194" y="310"/>
                    </a:lnTo>
                    <a:lnTo>
                      <a:pt x="192" y="310"/>
                    </a:lnTo>
                    <a:lnTo>
                      <a:pt x="192" y="308"/>
                    </a:lnTo>
                    <a:lnTo>
                      <a:pt x="190" y="308"/>
                    </a:lnTo>
                    <a:lnTo>
                      <a:pt x="190" y="306"/>
                    </a:lnTo>
                    <a:lnTo>
                      <a:pt x="190" y="304"/>
                    </a:lnTo>
                    <a:lnTo>
                      <a:pt x="192" y="306"/>
                    </a:lnTo>
                    <a:lnTo>
                      <a:pt x="192" y="304"/>
                    </a:lnTo>
                    <a:lnTo>
                      <a:pt x="194" y="304"/>
                    </a:lnTo>
                    <a:close/>
                    <a:moveTo>
                      <a:pt x="196" y="306"/>
                    </a:moveTo>
                    <a:lnTo>
                      <a:pt x="194" y="304"/>
                    </a:lnTo>
                    <a:lnTo>
                      <a:pt x="196" y="306"/>
                    </a:lnTo>
                    <a:close/>
                    <a:moveTo>
                      <a:pt x="190" y="304"/>
                    </a:moveTo>
                    <a:lnTo>
                      <a:pt x="188" y="304"/>
                    </a:lnTo>
                    <a:lnTo>
                      <a:pt x="190" y="304"/>
                    </a:lnTo>
                    <a:close/>
                    <a:moveTo>
                      <a:pt x="144" y="298"/>
                    </a:moveTo>
                    <a:lnTo>
                      <a:pt x="142" y="298"/>
                    </a:lnTo>
                    <a:lnTo>
                      <a:pt x="142" y="300"/>
                    </a:lnTo>
                    <a:lnTo>
                      <a:pt x="144" y="300"/>
                    </a:lnTo>
                    <a:lnTo>
                      <a:pt x="144" y="302"/>
                    </a:lnTo>
                    <a:lnTo>
                      <a:pt x="142" y="302"/>
                    </a:lnTo>
                    <a:lnTo>
                      <a:pt x="140" y="302"/>
                    </a:lnTo>
                    <a:lnTo>
                      <a:pt x="140" y="300"/>
                    </a:lnTo>
                    <a:lnTo>
                      <a:pt x="138" y="300"/>
                    </a:lnTo>
                    <a:lnTo>
                      <a:pt x="136" y="300"/>
                    </a:lnTo>
                    <a:lnTo>
                      <a:pt x="134" y="300"/>
                    </a:lnTo>
                    <a:lnTo>
                      <a:pt x="134" y="298"/>
                    </a:lnTo>
                    <a:lnTo>
                      <a:pt x="132" y="298"/>
                    </a:lnTo>
                    <a:lnTo>
                      <a:pt x="134" y="298"/>
                    </a:lnTo>
                    <a:lnTo>
                      <a:pt x="136" y="298"/>
                    </a:lnTo>
                    <a:lnTo>
                      <a:pt x="138" y="298"/>
                    </a:lnTo>
                    <a:lnTo>
                      <a:pt x="138" y="300"/>
                    </a:lnTo>
                    <a:lnTo>
                      <a:pt x="138" y="298"/>
                    </a:lnTo>
                    <a:lnTo>
                      <a:pt x="140" y="298"/>
                    </a:lnTo>
                    <a:lnTo>
                      <a:pt x="142" y="298"/>
                    </a:lnTo>
                    <a:lnTo>
                      <a:pt x="144" y="298"/>
                    </a:lnTo>
                    <a:close/>
                    <a:moveTo>
                      <a:pt x="192" y="302"/>
                    </a:moveTo>
                    <a:lnTo>
                      <a:pt x="192" y="304"/>
                    </a:lnTo>
                    <a:lnTo>
                      <a:pt x="194" y="304"/>
                    </a:lnTo>
                    <a:lnTo>
                      <a:pt x="192" y="304"/>
                    </a:lnTo>
                    <a:lnTo>
                      <a:pt x="190" y="304"/>
                    </a:lnTo>
                    <a:lnTo>
                      <a:pt x="192" y="304"/>
                    </a:lnTo>
                    <a:lnTo>
                      <a:pt x="190" y="304"/>
                    </a:lnTo>
                    <a:lnTo>
                      <a:pt x="190" y="302"/>
                    </a:lnTo>
                    <a:lnTo>
                      <a:pt x="192" y="302"/>
                    </a:lnTo>
                    <a:close/>
                    <a:moveTo>
                      <a:pt x="194" y="302"/>
                    </a:moveTo>
                    <a:lnTo>
                      <a:pt x="194" y="304"/>
                    </a:lnTo>
                    <a:lnTo>
                      <a:pt x="194" y="302"/>
                    </a:lnTo>
                    <a:close/>
                    <a:moveTo>
                      <a:pt x="204" y="302"/>
                    </a:moveTo>
                    <a:lnTo>
                      <a:pt x="204" y="304"/>
                    </a:lnTo>
                    <a:lnTo>
                      <a:pt x="205" y="304"/>
                    </a:lnTo>
                    <a:lnTo>
                      <a:pt x="207" y="304"/>
                    </a:lnTo>
                    <a:lnTo>
                      <a:pt x="205" y="304"/>
                    </a:lnTo>
                    <a:lnTo>
                      <a:pt x="204" y="304"/>
                    </a:lnTo>
                    <a:lnTo>
                      <a:pt x="202" y="304"/>
                    </a:lnTo>
                    <a:lnTo>
                      <a:pt x="202" y="302"/>
                    </a:lnTo>
                    <a:lnTo>
                      <a:pt x="204" y="302"/>
                    </a:lnTo>
                    <a:close/>
                    <a:moveTo>
                      <a:pt x="196" y="302"/>
                    </a:moveTo>
                    <a:lnTo>
                      <a:pt x="198" y="302"/>
                    </a:lnTo>
                    <a:lnTo>
                      <a:pt x="198" y="304"/>
                    </a:lnTo>
                    <a:lnTo>
                      <a:pt x="198" y="302"/>
                    </a:lnTo>
                    <a:lnTo>
                      <a:pt x="198" y="304"/>
                    </a:lnTo>
                    <a:lnTo>
                      <a:pt x="200" y="304"/>
                    </a:lnTo>
                    <a:lnTo>
                      <a:pt x="200" y="306"/>
                    </a:lnTo>
                    <a:lnTo>
                      <a:pt x="198" y="306"/>
                    </a:lnTo>
                    <a:lnTo>
                      <a:pt x="196" y="304"/>
                    </a:lnTo>
                    <a:lnTo>
                      <a:pt x="196" y="306"/>
                    </a:lnTo>
                    <a:lnTo>
                      <a:pt x="196" y="304"/>
                    </a:lnTo>
                    <a:lnTo>
                      <a:pt x="194" y="304"/>
                    </a:lnTo>
                    <a:lnTo>
                      <a:pt x="196" y="304"/>
                    </a:lnTo>
                    <a:lnTo>
                      <a:pt x="194" y="304"/>
                    </a:lnTo>
                    <a:lnTo>
                      <a:pt x="194" y="302"/>
                    </a:lnTo>
                    <a:lnTo>
                      <a:pt x="196" y="302"/>
                    </a:lnTo>
                    <a:lnTo>
                      <a:pt x="196" y="304"/>
                    </a:lnTo>
                    <a:lnTo>
                      <a:pt x="196" y="302"/>
                    </a:lnTo>
                    <a:close/>
                    <a:moveTo>
                      <a:pt x="204" y="302"/>
                    </a:moveTo>
                    <a:lnTo>
                      <a:pt x="202" y="302"/>
                    </a:lnTo>
                    <a:lnTo>
                      <a:pt x="200" y="302"/>
                    </a:lnTo>
                    <a:lnTo>
                      <a:pt x="202" y="302"/>
                    </a:lnTo>
                    <a:lnTo>
                      <a:pt x="204" y="302"/>
                    </a:lnTo>
                    <a:close/>
                    <a:moveTo>
                      <a:pt x="125" y="294"/>
                    </a:moveTo>
                    <a:lnTo>
                      <a:pt x="123" y="294"/>
                    </a:lnTo>
                    <a:lnTo>
                      <a:pt x="125" y="294"/>
                    </a:lnTo>
                    <a:close/>
                    <a:moveTo>
                      <a:pt x="207" y="302"/>
                    </a:moveTo>
                    <a:lnTo>
                      <a:pt x="205" y="302"/>
                    </a:lnTo>
                    <a:lnTo>
                      <a:pt x="205" y="304"/>
                    </a:lnTo>
                    <a:lnTo>
                      <a:pt x="204" y="304"/>
                    </a:lnTo>
                    <a:lnTo>
                      <a:pt x="204" y="302"/>
                    </a:lnTo>
                    <a:lnTo>
                      <a:pt x="205" y="302"/>
                    </a:lnTo>
                    <a:lnTo>
                      <a:pt x="207" y="302"/>
                    </a:lnTo>
                    <a:close/>
                    <a:moveTo>
                      <a:pt x="192" y="302"/>
                    </a:moveTo>
                    <a:lnTo>
                      <a:pt x="190" y="302"/>
                    </a:lnTo>
                    <a:lnTo>
                      <a:pt x="192" y="302"/>
                    </a:lnTo>
                    <a:lnTo>
                      <a:pt x="190" y="302"/>
                    </a:lnTo>
                    <a:lnTo>
                      <a:pt x="190" y="300"/>
                    </a:lnTo>
                    <a:lnTo>
                      <a:pt x="192" y="300"/>
                    </a:lnTo>
                    <a:lnTo>
                      <a:pt x="192" y="302"/>
                    </a:lnTo>
                    <a:lnTo>
                      <a:pt x="194" y="302"/>
                    </a:lnTo>
                    <a:lnTo>
                      <a:pt x="192" y="302"/>
                    </a:lnTo>
                    <a:lnTo>
                      <a:pt x="194" y="302"/>
                    </a:lnTo>
                    <a:lnTo>
                      <a:pt x="192" y="304"/>
                    </a:lnTo>
                    <a:lnTo>
                      <a:pt x="194" y="304"/>
                    </a:lnTo>
                    <a:lnTo>
                      <a:pt x="192" y="304"/>
                    </a:lnTo>
                    <a:lnTo>
                      <a:pt x="192" y="302"/>
                    </a:lnTo>
                    <a:close/>
                    <a:moveTo>
                      <a:pt x="188" y="300"/>
                    </a:moveTo>
                    <a:lnTo>
                      <a:pt x="186" y="300"/>
                    </a:lnTo>
                    <a:lnTo>
                      <a:pt x="188" y="300"/>
                    </a:lnTo>
                    <a:close/>
                    <a:moveTo>
                      <a:pt x="188" y="300"/>
                    </a:moveTo>
                    <a:lnTo>
                      <a:pt x="190" y="300"/>
                    </a:lnTo>
                    <a:lnTo>
                      <a:pt x="188" y="300"/>
                    </a:lnTo>
                    <a:close/>
                    <a:moveTo>
                      <a:pt x="184" y="300"/>
                    </a:moveTo>
                    <a:lnTo>
                      <a:pt x="186" y="300"/>
                    </a:lnTo>
                    <a:lnTo>
                      <a:pt x="188" y="300"/>
                    </a:lnTo>
                    <a:lnTo>
                      <a:pt x="190" y="300"/>
                    </a:lnTo>
                    <a:lnTo>
                      <a:pt x="188" y="302"/>
                    </a:lnTo>
                    <a:lnTo>
                      <a:pt x="188" y="300"/>
                    </a:lnTo>
                    <a:lnTo>
                      <a:pt x="188" y="302"/>
                    </a:lnTo>
                    <a:lnTo>
                      <a:pt x="190" y="302"/>
                    </a:lnTo>
                    <a:lnTo>
                      <a:pt x="188" y="302"/>
                    </a:lnTo>
                    <a:lnTo>
                      <a:pt x="186" y="302"/>
                    </a:lnTo>
                    <a:lnTo>
                      <a:pt x="184" y="302"/>
                    </a:lnTo>
                    <a:lnTo>
                      <a:pt x="184" y="300"/>
                    </a:lnTo>
                    <a:close/>
                    <a:moveTo>
                      <a:pt x="194" y="300"/>
                    </a:moveTo>
                    <a:lnTo>
                      <a:pt x="196" y="300"/>
                    </a:lnTo>
                    <a:lnTo>
                      <a:pt x="194" y="300"/>
                    </a:lnTo>
                    <a:lnTo>
                      <a:pt x="194" y="302"/>
                    </a:lnTo>
                    <a:lnTo>
                      <a:pt x="194" y="300"/>
                    </a:lnTo>
                    <a:lnTo>
                      <a:pt x="192" y="300"/>
                    </a:lnTo>
                    <a:lnTo>
                      <a:pt x="192" y="298"/>
                    </a:lnTo>
                    <a:lnTo>
                      <a:pt x="194" y="300"/>
                    </a:lnTo>
                    <a:close/>
                    <a:moveTo>
                      <a:pt x="186" y="298"/>
                    </a:moveTo>
                    <a:lnTo>
                      <a:pt x="188" y="298"/>
                    </a:lnTo>
                    <a:lnTo>
                      <a:pt x="186" y="298"/>
                    </a:lnTo>
                    <a:lnTo>
                      <a:pt x="188" y="298"/>
                    </a:lnTo>
                    <a:lnTo>
                      <a:pt x="188" y="300"/>
                    </a:lnTo>
                    <a:lnTo>
                      <a:pt x="186" y="300"/>
                    </a:lnTo>
                    <a:lnTo>
                      <a:pt x="188" y="300"/>
                    </a:lnTo>
                    <a:lnTo>
                      <a:pt x="186" y="300"/>
                    </a:lnTo>
                    <a:lnTo>
                      <a:pt x="184" y="300"/>
                    </a:lnTo>
                    <a:lnTo>
                      <a:pt x="184" y="298"/>
                    </a:lnTo>
                    <a:lnTo>
                      <a:pt x="186" y="298"/>
                    </a:lnTo>
                    <a:lnTo>
                      <a:pt x="184" y="298"/>
                    </a:lnTo>
                    <a:lnTo>
                      <a:pt x="186" y="298"/>
                    </a:lnTo>
                    <a:close/>
                    <a:moveTo>
                      <a:pt x="190" y="298"/>
                    </a:moveTo>
                    <a:lnTo>
                      <a:pt x="188" y="298"/>
                    </a:lnTo>
                    <a:lnTo>
                      <a:pt x="190" y="298"/>
                    </a:lnTo>
                    <a:close/>
                    <a:moveTo>
                      <a:pt x="127" y="292"/>
                    </a:moveTo>
                    <a:lnTo>
                      <a:pt x="129" y="292"/>
                    </a:lnTo>
                    <a:lnTo>
                      <a:pt x="129" y="294"/>
                    </a:lnTo>
                    <a:lnTo>
                      <a:pt x="127" y="294"/>
                    </a:lnTo>
                    <a:lnTo>
                      <a:pt x="129" y="294"/>
                    </a:lnTo>
                    <a:lnTo>
                      <a:pt x="129" y="292"/>
                    </a:lnTo>
                    <a:lnTo>
                      <a:pt x="127" y="292"/>
                    </a:lnTo>
                    <a:lnTo>
                      <a:pt x="127" y="294"/>
                    </a:lnTo>
                    <a:lnTo>
                      <a:pt x="127" y="292"/>
                    </a:lnTo>
                    <a:lnTo>
                      <a:pt x="125" y="292"/>
                    </a:lnTo>
                    <a:lnTo>
                      <a:pt x="123" y="292"/>
                    </a:lnTo>
                    <a:lnTo>
                      <a:pt x="123" y="294"/>
                    </a:lnTo>
                    <a:lnTo>
                      <a:pt x="121" y="294"/>
                    </a:lnTo>
                    <a:lnTo>
                      <a:pt x="119" y="294"/>
                    </a:lnTo>
                    <a:lnTo>
                      <a:pt x="119" y="292"/>
                    </a:lnTo>
                    <a:lnTo>
                      <a:pt x="117" y="292"/>
                    </a:lnTo>
                    <a:lnTo>
                      <a:pt x="115" y="292"/>
                    </a:lnTo>
                    <a:lnTo>
                      <a:pt x="113" y="292"/>
                    </a:lnTo>
                    <a:lnTo>
                      <a:pt x="115" y="292"/>
                    </a:lnTo>
                    <a:lnTo>
                      <a:pt x="117" y="290"/>
                    </a:lnTo>
                    <a:lnTo>
                      <a:pt x="119" y="290"/>
                    </a:lnTo>
                    <a:lnTo>
                      <a:pt x="121" y="290"/>
                    </a:lnTo>
                    <a:lnTo>
                      <a:pt x="123" y="290"/>
                    </a:lnTo>
                    <a:lnTo>
                      <a:pt x="125" y="290"/>
                    </a:lnTo>
                    <a:lnTo>
                      <a:pt x="127" y="292"/>
                    </a:lnTo>
                    <a:close/>
                    <a:moveTo>
                      <a:pt x="107" y="288"/>
                    </a:moveTo>
                    <a:lnTo>
                      <a:pt x="109" y="290"/>
                    </a:lnTo>
                    <a:lnTo>
                      <a:pt x="111" y="290"/>
                    </a:lnTo>
                    <a:lnTo>
                      <a:pt x="111" y="292"/>
                    </a:lnTo>
                    <a:lnTo>
                      <a:pt x="109" y="292"/>
                    </a:lnTo>
                    <a:lnTo>
                      <a:pt x="107" y="292"/>
                    </a:lnTo>
                    <a:lnTo>
                      <a:pt x="106" y="292"/>
                    </a:lnTo>
                    <a:lnTo>
                      <a:pt x="104" y="292"/>
                    </a:lnTo>
                    <a:lnTo>
                      <a:pt x="104" y="290"/>
                    </a:lnTo>
                    <a:lnTo>
                      <a:pt x="104" y="288"/>
                    </a:lnTo>
                    <a:lnTo>
                      <a:pt x="106" y="288"/>
                    </a:lnTo>
                    <a:lnTo>
                      <a:pt x="107" y="288"/>
                    </a:lnTo>
                    <a:close/>
                    <a:moveTo>
                      <a:pt x="167" y="292"/>
                    </a:moveTo>
                    <a:lnTo>
                      <a:pt x="169" y="292"/>
                    </a:lnTo>
                    <a:lnTo>
                      <a:pt x="171" y="292"/>
                    </a:lnTo>
                    <a:lnTo>
                      <a:pt x="171" y="294"/>
                    </a:lnTo>
                    <a:lnTo>
                      <a:pt x="173" y="294"/>
                    </a:lnTo>
                    <a:lnTo>
                      <a:pt x="175" y="294"/>
                    </a:lnTo>
                    <a:lnTo>
                      <a:pt x="173" y="294"/>
                    </a:lnTo>
                    <a:lnTo>
                      <a:pt x="175" y="294"/>
                    </a:lnTo>
                    <a:lnTo>
                      <a:pt x="175" y="296"/>
                    </a:lnTo>
                    <a:lnTo>
                      <a:pt x="173" y="296"/>
                    </a:lnTo>
                    <a:lnTo>
                      <a:pt x="171" y="296"/>
                    </a:lnTo>
                    <a:lnTo>
                      <a:pt x="169" y="296"/>
                    </a:lnTo>
                    <a:lnTo>
                      <a:pt x="167" y="296"/>
                    </a:lnTo>
                    <a:lnTo>
                      <a:pt x="167" y="294"/>
                    </a:lnTo>
                    <a:lnTo>
                      <a:pt x="169" y="294"/>
                    </a:lnTo>
                    <a:lnTo>
                      <a:pt x="171" y="294"/>
                    </a:lnTo>
                    <a:lnTo>
                      <a:pt x="169" y="294"/>
                    </a:lnTo>
                    <a:lnTo>
                      <a:pt x="169" y="292"/>
                    </a:lnTo>
                    <a:lnTo>
                      <a:pt x="167" y="292"/>
                    </a:lnTo>
                    <a:lnTo>
                      <a:pt x="165" y="292"/>
                    </a:lnTo>
                    <a:lnTo>
                      <a:pt x="167" y="292"/>
                    </a:lnTo>
                    <a:close/>
                    <a:moveTo>
                      <a:pt x="469" y="300"/>
                    </a:moveTo>
                    <a:lnTo>
                      <a:pt x="471" y="298"/>
                    </a:lnTo>
                    <a:lnTo>
                      <a:pt x="471" y="300"/>
                    </a:lnTo>
                    <a:lnTo>
                      <a:pt x="469" y="300"/>
                    </a:lnTo>
                    <a:close/>
                    <a:moveTo>
                      <a:pt x="469" y="298"/>
                    </a:moveTo>
                    <a:lnTo>
                      <a:pt x="467" y="300"/>
                    </a:lnTo>
                    <a:lnTo>
                      <a:pt x="467" y="298"/>
                    </a:lnTo>
                    <a:lnTo>
                      <a:pt x="469" y="298"/>
                    </a:lnTo>
                    <a:close/>
                    <a:moveTo>
                      <a:pt x="471" y="298"/>
                    </a:moveTo>
                    <a:lnTo>
                      <a:pt x="472" y="298"/>
                    </a:lnTo>
                    <a:lnTo>
                      <a:pt x="472" y="296"/>
                    </a:lnTo>
                    <a:lnTo>
                      <a:pt x="472" y="298"/>
                    </a:lnTo>
                    <a:lnTo>
                      <a:pt x="471" y="298"/>
                    </a:lnTo>
                    <a:close/>
                    <a:moveTo>
                      <a:pt x="521" y="294"/>
                    </a:moveTo>
                    <a:lnTo>
                      <a:pt x="521" y="292"/>
                    </a:lnTo>
                    <a:lnTo>
                      <a:pt x="522" y="292"/>
                    </a:lnTo>
                    <a:lnTo>
                      <a:pt x="521" y="292"/>
                    </a:lnTo>
                    <a:lnTo>
                      <a:pt x="521" y="294"/>
                    </a:lnTo>
                    <a:close/>
                    <a:moveTo>
                      <a:pt x="471" y="298"/>
                    </a:moveTo>
                    <a:lnTo>
                      <a:pt x="469" y="298"/>
                    </a:lnTo>
                    <a:lnTo>
                      <a:pt x="471" y="298"/>
                    </a:lnTo>
                    <a:lnTo>
                      <a:pt x="469" y="298"/>
                    </a:lnTo>
                    <a:lnTo>
                      <a:pt x="471" y="298"/>
                    </a:lnTo>
                    <a:lnTo>
                      <a:pt x="471" y="296"/>
                    </a:lnTo>
                    <a:lnTo>
                      <a:pt x="472" y="294"/>
                    </a:lnTo>
                    <a:lnTo>
                      <a:pt x="472" y="296"/>
                    </a:lnTo>
                    <a:lnTo>
                      <a:pt x="471" y="298"/>
                    </a:lnTo>
                    <a:close/>
                    <a:moveTo>
                      <a:pt x="472" y="296"/>
                    </a:moveTo>
                    <a:lnTo>
                      <a:pt x="472" y="294"/>
                    </a:lnTo>
                    <a:lnTo>
                      <a:pt x="474" y="294"/>
                    </a:lnTo>
                    <a:lnTo>
                      <a:pt x="472" y="296"/>
                    </a:lnTo>
                    <a:close/>
                    <a:moveTo>
                      <a:pt x="159" y="286"/>
                    </a:moveTo>
                    <a:lnTo>
                      <a:pt x="157" y="286"/>
                    </a:lnTo>
                    <a:lnTo>
                      <a:pt x="157" y="285"/>
                    </a:lnTo>
                    <a:lnTo>
                      <a:pt x="157" y="286"/>
                    </a:lnTo>
                    <a:lnTo>
                      <a:pt x="159" y="286"/>
                    </a:lnTo>
                    <a:close/>
                    <a:moveTo>
                      <a:pt x="490" y="292"/>
                    </a:moveTo>
                    <a:lnTo>
                      <a:pt x="492" y="292"/>
                    </a:lnTo>
                    <a:lnTo>
                      <a:pt x="490" y="292"/>
                    </a:lnTo>
                    <a:lnTo>
                      <a:pt x="492" y="292"/>
                    </a:lnTo>
                    <a:lnTo>
                      <a:pt x="490" y="294"/>
                    </a:lnTo>
                    <a:lnTo>
                      <a:pt x="490" y="292"/>
                    </a:lnTo>
                    <a:lnTo>
                      <a:pt x="490" y="294"/>
                    </a:lnTo>
                    <a:lnTo>
                      <a:pt x="490" y="292"/>
                    </a:lnTo>
                    <a:close/>
                    <a:moveTo>
                      <a:pt x="163" y="285"/>
                    </a:moveTo>
                    <a:lnTo>
                      <a:pt x="163" y="286"/>
                    </a:lnTo>
                    <a:lnTo>
                      <a:pt x="165" y="286"/>
                    </a:lnTo>
                    <a:lnTo>
                      <a:pt x="163" y="286"/>
                    </a:lnTo>
                    <a:lnTo>
                      <a:pt x="161" y="286"/>
                    </a:lnTo>
                    <a:lnTo>
                      <a:pt x="159" y="286"/>
                    </a:lnTo>
                    <a:lnTo>
                      <a:pt x="161" y="286"/>
                    </a:lnTo>
                    <a:lnTo>
                      <a:pt x="161" y="285"/>
                    </a:lnTo>
                    <a:lnTo>
                      <a:pt x="163" y="285"/>
                    </a:lnTo>
                    <a:close/>
                    <a:moveTo>
                      <a:pt x="686" y="271"/>
                    </a:moveTo>
                    <a:lnTo>
                      <a:pt x="688" y="271"/>
                    </a:lnTo>
                    <a:lnTo>
                      <a:pt x="686" y="271"/>
                    </a:lnTo>
                    <a:close/>
                    <a:moveTo>
                      <a:pt x="486" y="292"/>
                    </a:moveTo>
                    <a:lnTo>
                      <a:pt x="484" y="292"/>
                    </a:lnTo>
                    <a:lnTo>
                      <a:pt x="486" y="292"/>
                    </a:lnTo>
                    <a:close/>
                    <a:moveTo>
                      <a:pt x="480" y="292"/>
                    </a:moveTo>
                    <a:lnTo>
                      <a:pt x="478" y="292"/>
                    </a:lnTo>
                    <a:lnTo>
                      <a:pt x="480" y="292"/>
                    </a:lnTo>
                    <a:lnTo>
                      <a:pt x="478" y="292"/>
                    </a:lnTo>
                    <a:lnTo>
                      <a:pt x="476" y="292"/>
                    </a:lnTo>
                    <a:lnTo>
                      <a:pt x="478" y="292"/>
                    </a:lnTo>
                    <a:lnTo>
                      <a:pt x="480" y="292"/>
                    </a:lnTo>
                    <a:close/>
                    <a:moveTo>
                      <a:pt x="482" y="292"/>
                    </a:moveTo>
                    <a:lnTo>
                      <a:pt x="480" y="292"/>
                    </a:lnTo>
                    <a:lnTo>
                      <a:pt x="482" y="292"/>
                    </a:lnTo>
                    <a:close/>
                    <a:moveTo>
                      <a:pt x="486" y="290"/>
                    </a:moveTo>
                    <a:lnTo>
                      <a:pt x="488" y="290"/>
                    </a:lnTo>
                    <a:lnTo>
                      <a:pt x="488" y="292"/>
                    </a:lnTo>
                    <a:lnTo>
                      <a:pt x="488" y="290"/>
                    </a:lnTo>
                    <a:lnTo>
                      <a:pt x="486" y="290"/>
                    </a:lnTo>
                    <a:close/>
                    <a:moveTo>
                      <a:pt x="175" y="285"/>
                    </a:moveTo>
                    <a:lnTo>
                      <a:pt x="173" y="285"/>
                    </a:lnTo>
                    <a:lnTo>
                      <a:pt x="175" y="285"/>
                    </a:lnTo>
                    <a:close/>
                    <a:moveTo>
                      <a:pt x="165" y="285"/>
                    </a:moveTo>
                    <a:lnTo>
                      <a:pt x="163" y="285"/>
                    </a:lnTo>
                    <a:lnTo>
                      <a:pt x="161" y="285"/>
                    </a:lnTo>
                    <a:lnTo>
                      <a:pt x="163" y="285"/>
                    </a:lnTo>
                    <a:lnTo>
                      <a:pt x="163" y="283"/>
                    </a:lnTo>
                    <a:lnTo>
                      <a:pt x="163" y="285"/>
                    </a:lnTo>
                    <a:lnTo>
                      <a:pt x="165" y="285"/>
                    </a:lnTo>
                    <a:close/>
                    <a:moveTo>
                      <a:pt x="484" y="290"/>
                    </a:moveTo>
                    <a:lnTo>
                      <a:pt x="482" y="290"/>
                    </a:lnTo>
                    <a:lnTo>
                      <a:pt x="484" y="290"/>
                    </a:lnTo>
                    <a:close/>
                    <a:moveTo>
                      <a:pt x="492" y="290"/>
                    </a:moveTo>
                    <a:lnTo>
                      <a:pt x="492" y="292"/>
                    </a:lnTo>
                    <a:lnTo>
                      <a:pt x="490" y="292"/>
                    </a:lnTo>
                    <a:lnTo>
                      <a:pt x="488" y="292"/>
                    </a:lnTo>
                    <a:lnTo>
                      <a:pt x="490" y="292"/>
                    </a:lnTo>
                    <a:lnTo>
                      <a:pt x="488" y="292"/>
                    </a:lnTo>
                    <a:lnTo>
                      <a:pt x="488" y="290"/>
                    </a:lnTo>
                    <a:lnTo>
                      <a:pt x="490" y="290"/>
                    </a:lnTo>
                    <a:lnTo>
                      <a:pt x="492" y="290"/>
                    </a:lnTo>
                    <a:close/>
                    <a:moveTo>
                      <a:pt x="488" y="290"/>
                    </a:moveTo>
                    <a:lnTo>
                      <a:pt x="486" y="290"/>
                    </a:lnTo>
                    <a:lnTo>
                      <a:pt x="488" y="290"/>
                    </a:lnTo>
                    <a:close/>
                    <a:moveTo>
                      <a:pt x="488" y="290"/>
                    </a:moveTo>
                    <a:lnTo>
                      <a:pt x="486" y="290"/>
                    </a:lnTo>
                    <a:lnTo>
                      <a:pt x="488" y="290"/>
                    </a:lnTo>
                    <a:close/>
                    <a:moveTo>
                      <a:pt x="490" y="290"/>
                    </a:moveTo>
                    <a:lnTo>
                      <a:pt x="488" y="290"/>
                    </a:lnTo>
                    <a:lnTo>
                      <a:pt x="490" y="290"/>
                    </a:lnTo>
                    <a:close/>
                    <a:moveTo>
                      <a:pt x="163" y="283"/>
                    </a:moveTo>
                    <a:lnTo>
                      <a:pt x="165" y="283"/>
                    </a:lnTo>
                    <a:lnTo>
                      <a:pt x="163" y="283"/>
                    </a:lnTo>
                    <a:lnTo>
                      <a:pt x="161" y="283"/>
                    </a:lnTo>
                    <a:lnTo>
                      <a:pt x="163" y="283"/>
                    </a:lnTo>
                    <a:close/>
                    <a:moveTo>
                      <a:pt x="486" y="290"/>
                    </a:moveTo>
                    <a:lnTo>
                      <a:pt x="486" y="288"/>
                    </a:lnTo>
                    <a:lnTo>
                      <a:pt x="486" y="290"/>
                    </a:lnTo>
                    <a:close/>
                    <a:moveTo>
                      <a:pt x="480" y="290"/>
                    </a:moveTo>
                    <a:lnTo>
                      <a:pt x="482" y="290"/>
                    </a:lnTo>
                    <a:lnTo>
                      <a:pt x="480" y="290"/>
                    </a:lnTo>
                    <a:close/>
                    <a:moveTo>
                      <a:pt x="484" y="290"/>
                    </a:moveTo>
                    <a:lnTo>
                      <a:pt x="482" y="290"/>
                    </a:lnTo>
                    <a:lnTo>
                      <a:pt x="484" y="290"/>
                    </a:lnTo>
                    <a:lnTo>
                      <a:pt x="484" y="288"/>
                    </a:lnTo>
                    <a:lnTo>
                      <a:pt x="486" y="290"/>
                    </a:lnTo>
                    <a:lnTo>
                      <a:pt x="484" y="290"/>
                    </a:lnTo>
                    <a:close/>
                    <a:moveTo>
                      <a:pt x="482" y="290"/>
                    </a:moveTo>
                    <a:lnTo>
                      <a:pt x="482" y="288"/>
                    </a:lnTo>
                    <a:lnTo>
                      <a:pt x="482" y="290"/>
                    </a:lnTo>
                    <a:close/>
                    <a:moveTo>
                      <a:pt x="486" y="288"/>
                    </a:moveTo>
                    <a:lnTo>
                      <a:pt x="484" y="288"/>
                    </a:lnTo>
                    <a:lnTo>
                      <a:pt x="486" y="288"/>
                    </a:lnTo>
                    <a:close/>
                    <a:moveTo>
                      <a:pt x="486" y="288"/>
                    </a:moveTo>
                    <a:lnTo>
                      <a:pt x="484" y="288"/>
                    </a:lnTo>
                    <a:lnTo>
                      <a:pt x="486" y="288"/>
                    </a:lnTo>
                    <a:close/>
                    <a:moveTo>
                      <a:pt x="204" y="285"/>
                    </a:moveTo>
                    <a:lnTo>
                      <a:pt x="202" y="285"/>
                    </a:lnTo>
                    <a:lnTo>
                      <a:pt x="204" y="285"/>
                    </a:lnTo>
                    <a:close/>
                    <a:moveTo>
                      <a:pt x="146" y="279"/>
                    </a:moveTo>
                    <a:lnTo>
                      <a:pt x="144" y="279"/>
                    </a:lnTo>
                    <a:lnTo>
                      <a:pt x="146" y="279"/>
                    </a:lnTo>
                    <a:close/>
                    <a:moveTo>
                      <a:pt x="486" y="288"/>
                    </a:moveTo>
                    <a:lnTo>
                      <a:pt x="484" y="288"/>
                    </a:lnTo>
                    <a:lnTo>
                      <a:pt x="486" y="288"/>
                    </a:lnTo>
                    <a:close/>
                    <a:moveTo>
                      <a:pt x="488" y="288"/>
                    </a:moveTo>
                    <a:lnTo>
                      <a:pt x="486" y="288"/>
                    </a:lnTo>
                    <a:lnTo>
                      <a:pt x="488" y="288"/>
                    </a:lnTo>
                    <a:close/>
                    <a:moveTo>
                      <a:pt x="488" y="288"/>
                    </a:moveTo>
                    <a:lnTo>
                      <a:pt x="486" y="288"/>
                    </a:lnTo>
                    <a:lnTo>
                      <a:pt x="488" y="288"/>
                    </a:lnTo>
                    <a:close/>
                    <a:moveTo>
                      <a:pt x="484" y="288"/>
                    </a:moveTo>
                    <a:lnTo>
                      <a:pt x="482" y="288"/>
                    </a:lnTo>
                    <a:lnTo>
                      <a:pt x="484" y="288"/>
                    </a:lnTo>
                    <a:close/>
                    <a:moveTo>
                      <a:pt x="484" y="288"/>
                    </a:moveTo>
                    <a:lnTo>
                      <a:pt x="484" y="286"/>
                    </a:lnTo>
                    <a:lnTo>
                      <a:pt x="486" y="286"/>
                    </a:lnTo>
                    <a:lnTo>
                      <a:pt x="484" y="286"/>
                    </a:lnTo>
                    <a:lnTo>
                      <a:pt x="484" y="288"/>
                    </a:lnTo>
                    <a:close/>
                    <a:moveTo>
                      <a:pt x="484" y="288"/>
                    </a:moveTo>
                    <a:lnTo>
                      <a:pt x="482" y="288"/>
                    </a:lnTo>
                    <a:lnTo>
                      <a:pt x="484" y="288"/>
                    </a:lnTo>
                    <a:lnTo>
                      <a:pt x="484" y="286"/>
                    </a:lnTo>
                    <a:lnTo>
                      <a:pt x="486" y="286"/>
                    </a:lnTo>
                    <a:lnTo>
                      <a:pt x="484" y="288"/>
                    </a:lnTo>
                    <a:close/>
                    <a:moveTo>
                      <a:pt x="486" y="288"/>
                    </a:moveTo>
                    <a:lnTo>
                      <a:pt x="488" y="286"/>
                    </a:lnTo>
                    <a:lnTo>
                      <a:pt x="488" y="288"/>
                    </a:lnTo>
                    <a:lnTo>
                      <a:pt x="486" y="288"/>
                    </a:lnTo>
                    <a:close/>
                    <a:moveTo>
                      <a:pt x="171" y="281"/>
                    </a:moveTo>
                    <a:lnTo>
                      <a:pt x="173" y="281"/>
                    </a:lnTo>
                    <a:lnTo>
                      <a:pt x="171" y="281"/>
                    </a:lnTo>
                    <a:lnTo>
                      <a:pt x="169" y="281"/>
                    </a:lnTo>
                    <a:lnTo>
                      <a:pt x="169" y="283"/>
                    </a:lnTo>
                    <a:lnTo>
                      <a:pt x="167" y="283"/>
                    </a:lnTo>
                    <a:lnTo>
                      <a:pt x="167" y="281"/>
                    </a:lnTo>
                    <a:lnTo>
                      <a:pt x="165" y="281"/>
                    </a:lnTo>
                    <a:lnTo>
                      <a:pt x="163" y="281"/>
                    </a:lnTo>
                    <a:lnTo>
                      <a:pt x="165" y="281"/>
                    </a:lnTo>
                    <a:lnTo>
                      <a:pt x="165" y="279"/>
                    </a:lnTo>
                    <a:lnTo>
                      <a:pt x="167" y="279"/>
                    </a:lnTo>
                    <a:lnTo>
                      <a:pt x="167" y="281"/>
                    </a:lnTo>
                    <a:lnTo>
                      <a:pt x="167" y="279"/>
                    </a:lnTo>
                    <a:lnTo>
                      <a:pt x="167" y="281"/>
                    </a:lnTo>
                    <a:lnTo>
                      <a:pt x="169" y="281"/>
                    </a:lnTo>
                    <a:lnTo>
                      <a:pt x="171" y="281"/>
                    </a:lnTo>
                    <a:close/>
                    <a:moveTo>
                      <a:pt x="488" y="286"/>
                    </a:moveTo>
                    <a:lnTo>
                      <a:pt x="486" y="286"/>
                    </a:lnTo>
                    <a:lnTo>
                      <a:pt x="486" y="288"/>
                    </a:lnTo>
                    <a:lnTo>
                      <a:pt x="486" y="286"/>
                    </a:lnTo>
                    <a:lnTo>
                      <a:pt x="488" y="286"/>
                    </a:lnTo>
                    <a:close/>
                    <a:moveTo>
                      <a:pt x="484" y="286"/>
                    </a:moveTo>
                    <a:lnTo>
                      <a:pt x="484" y="285"/>
                    </a:lnTo>
                    <a:lnTo>
                      <a:pt x="484" y="286"/>
                    </a:lnTo>
                    <a:close/>
                    <a:moveTo>
                      <a:pt x="146" y="277"/>
                    </a:moveTo>
                    <a:lnTo>
                      <a:pt x="144" y="277"/>
                    </a:lnTo>
                    <a:lnTo>
                      <a:pt x="146" y="277"/>
                    </a:lnTo>
                    <a:close/>
                    <a:moveTo>
                      <a:pt x="484" y="286"/>
                    </a:moveTo>
                    <a:lnTo>
                      <a:pt x="484" y="285"/>
                    </a:lnTo>
                    <a:lnTo>
                      <a:pt x="486" y="285"/>
                    </a:lnTo>
                    <a:lnTo>
                      <a:pt x="486" y="286"/>
                    </a:lnTo>
                    <a:lnTo>
                      <a:pt x="484" y="286"/>
                    </a:lnTo>
                    <a:close/>
                    <a:moveTo>
                      <a:pt x="159" y="279"/>
                    </a:moveTo>
                    <a:lnTo>
                      <a:pt x="159" y="277"/>
                    </a:lnTo>
                    <a:lnTo>
                      <a:pt x="159" y="279"/>
                    </a:lnTo>
                    <a:close/>
                    <a:moveTo>
                      <a:pt x="538" y="281"/>
                    </a:moveTo>
                    <a:lnTo>
                      <a:pt x="536" y="281"/>
                    </a:lnTo>
                    <a:lnTo>
                      <a:pt x="538" y="281"/>
                    </a:lnTo>
                    <a:close/>
                    <a:moveTo>
                      <a:pt x="496" y="285"/>
                    </a:moveTo>
                    <a:lnTo>
                      <a:pt x="494" y="285"/>
                    </a:lnTo>
                    <a:lnTo>
                      <a:pt x="494" y="286"/>
                    </a:lnTo>
                    <a:lnTo>
                      <a:pt x="492" y="286"/>
                    </a:lnTo>
                    <a:lnTo>
                      <a:pt x="490" y="286"/>
                    </a:lnTo>
                    <a:lnTo>
                      <a:pt x="492" y="286"/>
                    </a:lnTo>
                    <a:lnTo>
                      <a:pt x="494" y="285"/>
                    </a:lnTo>
                    <a:lnTo>
                      <a:pt x="492" y="285"/>
                    </a:lnTo>
                    <a:lnTo>
                      <a:pt x="494" y="285"/>
                    </a:lnTo>
                    <a:lnTo>
                      <a:pt x="496" y="285"/>
                    </a:lnTo>
                    <a:close/>
                    <a:moveTo>
                      <a:pt x="499" y="283"/>
                    </a:moveTo>
                    <a:lnTo>
                      <a:pt x="499" y="285"/>
                    </a:lnTo>
                    <a:lnTo>
                      <a:pt x="497" y="285"/>
                    </a:lnTo>
                    <a:lnTo>
                      <a:pt x="497" y="283"/>
                    </a:lnTo>
                    <a:lnTo>
                      <a:pt x="499" y="283"/>
                    </a:lnTo>
                    <a:close/>
                    <a:moveTo>
                      <a:pt x="494" y="285"/>
                    </a:moveTo>
                    <a:lnTo>
                      <a:pt x="492" y="285"/>
                    </a:lnTo>
                    <a:lnTo>
                      <a:pt x="494" y="285"/>
                    </a:lnTo>
                    <a:lnTo>
                      <a:pt x="494" y="283"/>
                    </a:lnTo>
                    <a:lnTo>
                      <a:pt x="494" y="285"/>
                    </a:lnTo>
                    <a:close/>
                    <a:moveTo>
                      <a:pt x="693" y="261"/>
                    </a:moveTo>
                    <a:lnTo>
                      <a:pt x="695" y="261"/>
                    </a:lnTo>
                    <a:lnTo>
                      <a:pt x="693" y="261"/>
                    </a:lnTo>
                    <a:lnTo>
                      <a:pt x="691" y="261"/>
                    </a:lnTo>
                    <a:lnTo>
                      <a:pt x="693" y="261"/>
                    </a:lnTo>
                    <a:close/>
                    <a:moveTo>
                      <a:pt x="693" y="261"/>
                    </a:moveTo>
                    <a:lnTo>
                      <a:pt x="691" y="261"/>
                    </a:lnTo>
                    <a:lnTo>
                      <a:pt x="693" y="261"/>
                    </a:lnTo>
                    <a:close/>
                    <a:moveTo>
                      <a:pt x="690" y="261"/>
                    </a:moveTo>
                    <a:lnTo>
                      <a:pt x="688" y="261"/>
                    </a:lnTo>
                    <a:lnTo>
                      <a:pt x="690" y="261"/>
                    </a:lnTo>
                    <a:close/>
                    <a:moveTo>
                      <a:pt x="157" y="275"/>
                    </a:moveTo>
                    <a:lnTo>
                      <a:pt x="159" y="275"/>
                    </a:lnTo>
                    <a:lnTo>
                      <a:pt x="159" y="277"/>
                    </a:lnTo>
                    <a:lnTo>
                      <a:pt x="157" y="277"/>
                    </a:lnTo>
                    <a:lnTo>
                      <a:pt x="155" y="277"/>
                    </a:lnTo>
                    <a:lnTo>
                      <a:pt x="154" y="277"/>
                    </a:lnTo>
                    <a:lnTo>
                      <a:pt x="152" y="277"/>
                    </a:lnTo>
                    <a:lnTo>
                      <a:pt x="152" y="275"/>
                    </a:lnTo>
                    <a:lnTo>
                      <a:pt x="152" y="277"/>
                    </a:lnTo>
                    <a:lnTo>
                      <a:pt x="150" y="277"/>
                    </a:lnTo>
                    <a:lnTo>
                      <a:pt x="152" y="277"/>
                    </a:lnTo>
                    <a:lnTo>
                      <a:pt x="154" y="277"/>
                    </a:lnTo>
                    <a:lnTo>
                      <a:pt x="154" y="279"/>
                    </a:lnTo>
                    <a:lnTo>
                      <a:pt x="155" y="279"/>
                    </a:lnTo>
                    <a:lnTo>
                      <a:pt x="155" y="281"/>
                    </a:lnTo>
                    <a:lnTo>
                      <a:pt x="154" y="279"/>
                    </a:lnTo>
                    <a:lnTo>
                      <a:pt x="154" y="281"/>
                    </a:lnTo>
                    <a:lnTo>
                      <a:pt x="154" y="279"/>
                    </a:lnTo>
                    <a:lnTo>
                      <a:pt x="152" y="279"/>
                    </a:lnTo>
                    <a:lnTo>
                      <a:pt x="150" y="279"/>
                    </a:lnTo>
                    <a:lnTo>
                      <a:pt x="148" y="277"/>
                    </a:lnTo>
                    <a:lnTo>
                      <a:pt x="150" y="277"/>
                    </a:lnTo>
                    <a:lnTo>
                      <a:pt x="150" y="275"/>
                    </a:lnTo>
                    <a:lnTo>
                      <a:pt x="152" y="275"/>
                    </a:lnTo>
                    <a:lnTo>
                      <a:pt x="154" y="275"/>
                    </a:lnTo>
                    <a:lnTo>
                      <a:pt x="155" y="275"/>
                    </a:lnTo>
                    <a:lnTo>
                      <a:pt x="157" y="275"/>
                    </a:lnTo>
                    <a:close/>
                    <a:moveTo>
                      <a:pt x="690" y="261"/>
                    </a:moveTo>
                    <a:lnTo>
                      <a:pt x="691" y="261"/>
                    </a:lnTo>
                    <a:lnTo>
                      <a:pt x="690" y="261"/>
                    </a:lnTo>
                    <a:close/>
                    <a:moveTo>
                      <a:pt x="684" y="261"/>
                    </a:moveTo>
                    <a:lnTo>
                      <a:pt x="682" y="261"/>
                    </a:lnTo>
                    <a:lnTo>
                      <a:pt x="684" y="261"/>
                    </a:lnTo>
                    <a:close/>
                    <a:moveTo>
                      <a:pt x="159" y="273"/>
                    </a:moveTo>
                    <a:lnTo>
                      <a:pt x="159" y="275"/>
                    </a:lnTo>
                    <a:lnTo>
                      <a:pt x="161" y="275"/>
                    </a:lnTo>
                    <a:lnTo>
                      <a:pt x="159" y="275"/>
                    </a:lnTo>
                    <a:lnTo>
                      <a:pt x="159" y="273"/>
                    </a:lnTo>
                    <a:close/>
                    <a:moveTo>
                      <a:pt x="682" y="261"/>
                    </a:moveTo>
                    <a:lnTo>
                      <a:pt x="684" y="261"/>
                    </a:lnTo>
                    <a:lnTo>
                      <a:pt x="682" y="261"/>
                    </a:lnTo>
                    <a:lnTo>
                      <a:pt x="684" y="261"/>
                    </a:lnTo>
                    <a:lnTo>
                      <a:pt x="686" y="261"/>
                    </a:lnTo>
                    <a:lnTo>
                      <a:pt x="684" y="261"/>
                    </a:lnTo>
                    <a:lnTo>
                      <a:pt x="682" y="261"/>
                    </a:lnTo>
                    <a:close/>
                    <a:moveTo>
                      <a:pt x="682" y="260"/>
                    </a:moveTo>
                    <a:lnTo>
                      <a:pt x="680" y="260"/>
                    </a:lnTo>
                    <a:lnTo>
                      <a:pt x="682" y="260"/>
                    </a:lnTo>
                    <a:close/>
                    <a:moveTo>
                      <a:pt x="167" y="273"/>
                    </a:moveTo>
                    <a:lnTo>
                      <a:pt x="169" y="273"/>
                    </a:lnTo>
                    <a:lnTo>
                      <a:pt x="171" y="273"/>
                    </a:lnTo>
                    <a:lnTo>
                      <a:pt x="171" y="275"/>
                    </a:lnTo>
                    <a:lnTo>
                      <a:pt x="173" y="275"/>
                    </a:lnTo>
                    <a:lnTo>
                      <a:pt x="175" y="275"/>
                    </a:lnTo>
                    <a:lnTo>
                      <a:pt x="175" y="277"/>
                    </a:lnTo>
                    <a:lnTo>
                      <a:pt x="173" y="277"/>
                    </a:lnTo>
                    <a:lnTo>
                      <a:pt x="171" y="277"/>
                    </a:lnTo>
                    <a:lnTo>
                      <a:pt x="169" y="277"/>
                    </a:lnTo>
                    <a:lnTo>
                      <a:pt x="171" y="277"/>
                    </a:lnTo>
                    <a:lnTo>
                      <a:pt x="169" y="279"/>
                    </a:lnTo>
                    <a:lnTo>
                      <a:pt x="167" y="279"/>
                    </a:lnTo>
                    <a:lnTo>
                      <a:pt x="165" y="279"/>
                    </a:lnTo>
                    <a:lnTo>
                      <a:pt x="165" y="277"/>
                    </a:lnTo>
                    <a:lnTo>
                      <a:pt x="163" y="277"/>
                    </a:lnTo>
                    <a:lnTo>
                      <a:pt x="163" y="275"/>
                    </a:lnTo>
                    <a:lnTo>
                      <a:pt x="163" y="273"/>
                    </a:lnTo>
                    <a:lnTo>
                      <a:pt x="165" y="273"/>
                    </a:lnTo>
                    <a:lnTo>
                      <a:pt x="167" y="273"/>
                    </a:lnTo>
                    <a:close/>
                    <a:moveTo>
                      <a:pt x="175" y="275"/>
                    </a:moveTo>
                    <a:lnTo>
                      <a:pt x="173" y="275"/>
                    </a:lnTo>
                    <a:lnTo>
                      <a:pt x="175" y="273"/>
                    </a:lnTo>
                    <a:lnTo>
                      <a:pt x="175" y="275"/>
                    </a:lnTo>
                    <a:close/>
                    <a:moveTo>
                      <a:pt x="680" y="260"/>
                    </a:moveTo>
                    <a:lnTo>
                      <a:pt x="678" y="260"/>
                    </a:lnTo>
                    <a:lnTo>
                      <a:pt x="680" y="260"/>
                    </a:lnTo>
                    <a:close/>
                    <a:moveTo>
                      <a:pt x="161" y="271"/>
                    </a:moveTo>
                    <a:lnTo>
                      <a:pt x="163" y="271"/>
                    </a:lnTo>
                    <a:lnTo>
                      <a:pt x="163" y="273"/>
                    </a:lnTo>
                    <a:lnTo>
                      <a:pt x="161" y="273"/>
                    </a:lnTo>
                    <a:lnTo>
                      <a:pt x="159" y="271"/>
                    </a:lnTo>
                    <a:lnTo>
                      <a:pt x="159" y="273"/>
                    </a:lnTo>
                    <a:lnTo>
                      <a:pt x="157" y="273"/>
                    </a:lnTo>
                    <a:lnTo>
                      <a:pt x="157" y="275"/>
                    </a:lnTo>
                    <a:lnTo>
                      <a:pt x="155" y="273"/>
                    </a:lnTo>
                    <a:lnTo>
                      <a:pt x="157" y="273"/>
                    </a:lnTo>
                    <a:lnTo>
                      <a:pt x="157" y="271"/>
                    </a:lnTo>
                    <a:lnTo>
                      <a:pt x="159" y="271"/>
                    </a:lnTo>
                    <a:lnTo>
                      <a:pt x="161" y="271"/>
                    </a:lnTo>
                    <a:lnTo>
                      <a:pt x="159" y="271"/>
                    </a:lnTo>
                    <a:lnTo>
                      <a:pt x="161" y="271"/>
                    </a:lnTo>
                    <a:close/>
                    <a:moveTo>
                      <a:pt x="180" y="273"/>
                    </a:moveTo>
                    <a:lnTo>
                      <a:pt x="182" y="273"/>
                    </a:lnTo>
                    <a:lnTo>
                      <a:pt x="182" y="275"/>
                    </a:lnTo>
                    <a:lnTo>
                      <a:pt x="184" y="275"/>
                    </a:lnTo>
                    <a:lnTo>
                      <a:pt x="184" y="277"/>
                    </a:lnTo>
                    <a:lnTo>
                      <a:pt x="186" y="277"/>
                    </a:lnTo>
                    <a:lnTo>
                      <a:pt x="184" y="277"/>
                    </a:lnTo>
                    <a:lnTo>
                      <a:pt x="184" y="279"/>
                    </a:lnTo>
                    <a:lnTo>
                      <a:pt x="182" y="279"/>
                    </a:lnTo>
                    <a:lnTo>
                      <a:pt x="184" y="279"/>
                    </a:lnTo>
                    <a:lnTo>
                      <a:pt x="182" y="279"/>
                    </a:lnTo>
                    <a:lnTo>
                      <a:pt x="184" y="279"/>
                    </a:lnTo>
                    <a:lnTo>
                      <a:pt x="182" y="277"/>
                    </a:lnTo>
                    <a:lnTo>
                      <a:pt x="180" y="277"/>
                    </a:lnTo>
                    <a:lnTo>
                      <a:pt x="182" y="277"/>
                    </a:lnTo>
                    <a:lnTo>
                      <a:pt x="182" y="279"/>
                    </a:lnTo>
                    <a:lnTo>
                      <a:pt x="180" y="279"/>
                    </a:lnTo>
                    <a:lnTo>
                      <a:pt x="179" y="279"/>
                    </a:lnTo>
                    <a:lnTo>
                      <a:pt x="177" y="279"/>
                    </a:lnTo>
                    <a:lnTo>
                      <a:pt x="175" y="279"/>
                    </a:lnTo>
                    <a:lnTo>
                      <a:pt x="177" y="279"/>
                    </a:lnTo>
                    <a:lnTo>
                      <a:pt x="175" y="279"/>
                    </a:lnTo>
                    <a:lnTo>
                      <a:pt x="173" y="279"/>
                    </a:lnTo>
                    <a:lnTo>
                      <a:pt x="175" y="279"/>
                    </a:lnTo>
                    <a:lnTo>
                      <a:pt x="175" y="277"/>
                    </a:lnTo>
                    <a:lnTo>
                      <a:pt x="177" y="277"/>
                    </a:lnTo>
                    <a:lnTo>
                      <a:pt x="177" y="275"/>
                    </a:lnTo>
                    <a:lnTo>
                      <a:pt x="177" y="273"/>
                    </a:lnTo>
                    <a:lnTo>
                      <a:pt x="179" y="273"/>
                    </a:lnTo>
                    <a:lnTo>
                      <a:pt x="180" y="273"/>
                    </a:lnTo>
                    <a:close/>
                    <a:moveTo>
                      <a:pt x="184" y="273"/>
                    </a:moveTo>
                    <a:lnTo>
                      <a:pt x="182" y="273"/>
                    </a:lnTo>
                    <a:lnTo>
                      <a:pt x="184" y="273"/>
                    </a:lnTo>
                    <a:close/>
                    <a:moveTo>
                      <a:pt x="177" y="271"/>
                    </a:moveTo>
                    <a:lnTo>
                      <a:pt x="177" y="273"/>
                    </a:lnTo>
                    <a:lnTo>
                      <a:pt x="177" y="271"/>
                    </a:lnTo>
                    <a:close/>
                    <a:moveTo>
                      <a:pt x="179" y="271"/>
                    </a:moveTo>
                    <a:lnTo>
                      <a:pt x="179" y="273"/>
                    </a:lnTo>
                    <a:lnTo>
                      <a:pt x="179" y="271"/>
                    </a:lnTo>
                    <a:lnTo>
                      <a:pt x="177" y="271"/>
                    </a:lnTo>
                    <a:lnTo>
                      <a:pt x="179" y="271"/>
                    </a:lnTo>
                    <a:close/>
                    <a:moveTo>
                      <a:pt x="48" y="256"/>
                    </a:moveTo>
                    <a:lnTo>
                      <a:pt x="48" y="258"/>
                    </a:lnTo>
                    <a:lnTo>
                      <a:pt x="46" y="258"/>
                    </a:lnTo>
                    <a:lnTo>
                      <a:pt x="46" y="260"/>
                    </a:lnTo>
                    <a:lnTo>
                      <a:pt x="44" y="260"/>
                    </a:lnTo>
                    <a:lnTo>
                      <a:pt x="46" y="260"/>
                    </a:lnTo>
                    <a:lnTo>
                      <a:pt x="44" y="260"/>
                    </a:lnTo>
                    <a:lnTo>
                      <a:pt x="42" y="260"/>
                    </a:lnTo>
                    <a:lnTo>
                      <a:pt x="40" y="258"/>
                    </a:lnTo>
                    <a:lnTo>
                      <a:pt x="38" y="256"/>
                    </a:lnTo>
                    <a:lnTo>
                      <a:pt x="40" y="256"/>
                    </a:lnTo>
                    <a:lnTo>
                      <a:pt x="38" y="256"/>
                    </a:lnTo>
                    <a:lnTo>
                      <a:pt x="40" y="258"/>
                    </a:lnTo>
                    <a:lnTo>
                      <a:pt x="42" y="258"/>
                    </a:lnTo>
                    <a:lnTo>
                      <a:pt x="42" y="256"/>
                    </a:lnTo>
                    <a:lnTo>
                      <a:pt x="44" y="256"/>
                    </a:lnTo>
                    <a:lnTo>
                      <a:pt x="42" y="256"/>
                    </a:lnTo>
                    <a:lnTo>
                      <a:pt x="40" y="254"/>
                    </a:lnTo>
                    <a:lnTo>
                      <a:pt x="42" y="254"/>
                    </a:lnTo>
                    <a:lnTo>
                      <a:pt x="44" y="256"/>
                    </a:lnTo>
                    <a:lnTo>
                      <a:pt x="46" y="256"/>
                    </a:lnTo>
                    <a:lnTo>
                      <a:pt x="48" y="256"/>
                    </a:lnTo>
                    <a:close/>
                    <a:moveTo>
                      <a:pt x="42" y="254"/>
                    </a:moveTo>
                    <a:lnTo>
                      <a:pt x="40" y="254"/>
                    </a:lnTo>
                    <a:lnTo>
                      <a:pt x="40" y="256"/>
                    </a:lnTo>
                    <a:lnTo>
                      <a:pt x="38" y="256"/>
                    </a:lnTo>
                    <a:lnTo>
                      <a:pt x="38" y="254"/>
                    </a:lnTo>
                    <a:lnTo>
                      <a:pt x="40" y="254"/>
                    </a:lnTo>
                    <a:lnTo>
                      <a:pt x="42" y="254"/>
                    </a:lnTo>
                    <a:close/>
                    <a:moveTo>
                      <a:pt x="144" y="265"/>
                    </a:moveTo>
                    <a:lnTo>
                      <a:pt x="146" y="265"/>
                    </a:lnTo>
                    <a:lnTo>
                      <a:pt x="146" y="267"/>
                    </a:lnTo>
                    <a:lnTo>
                      <a:pt x="144" y="267"/>
                    </a:lnTo>
                    <a:lnTo>
                      <a:pt x="144" y="265"/>
                    </a:lnTo>
                    <a:close/>
                    <a:moveTo>
                      <a:pt x="177" y="269"/>
                    </a:moveTo>
                    <a:lnTo>
                      <a:pt x="175" y="269"/>
                    </a:lnTo>
                    <a:lnTo>
                      <a:pt x="177" y="269"/>
                    </a:lnTo>
                    <a:close/>
                    <a:moveTo>
                      <a:pt x="728" y="242"/>
                    </a:moveTo>
                    <a:lnTo>
                      <a:pt x="728" y="244"/>
                    </a:lnTo>
                    <a:lnTo>
                      <a:pt x="726" y="244"/>
                    </a:lnTo>
                    <a:lnTo>
                      <a:pt x="726" y="242"/>
                    </a:lnTo>
                    <a:lnTo>
                      <a:pt x="728" y="242"/>
                    </a:lnTo>
                    <a:close/>
                    <a:moveTo>
                      <a:pt x="192" y="265"/>
                    </a:moveTo>
                    <a:lnTo>
                      <a:pt x="190" y="265"/>
                    </a:lnTo>
                    <a:lnTo>
                      <a:pt x="192" y="265"/>
                    </a:lnTo>
                    <a:close/>
                    <a:moveTo>
                      <a:pt x="574" y="263"/>
                    </a:moveTo>
                    <a:lnTo>
                      <a:pt x="572" y="263"/>
                    </a:lnTo>
                    <a:lnTo>
                      <a:pt x="574" y="263"/>
                    </a:lnTo>
                    <a:lnTo>
                      <a:pt x="574" y="261"/>
                    </a:lnTo>
                    <a:lnTo>
                      <a:pt x="574" y="263"/>
                    </a:lnTo>
                    <a:close/>
                    <a:moveTo>
                      <a:pt x="173" y="261"/>
                    </a:moveTo>
                    <a:lnTo>
                      <a:pt x="173" y="263"/>
                    </a:lnTo>
                    <a:lnTo>
                      <a:pt x="175" y="261"/>
                    </a:lnTo>
                    <a:lnTo>
                      <a:pt x="175" y="263"/>
                    </a:lnTo>
                    <a:lnTo>
                      <a:pt x="175" y="265"/>
                    </a:lnTo>
                    <a:lnTo>
                      <a:pt x="177" y="265"/>
                    </a:lnTo>
                    <a:lnTo>
                      <a:pt x="175" y="265"/>
                    </a:lnTo>
                    <a:lnTo>
                      <a:pt x="177" y="265"/>
                    </a:lnTo>
                    <a:lnTo>
                      <a:pt x="175" y="265"/>
                    </a:lnTo>
                    <a:lnTo>
                      <a:pt x="175" y="267"/>
                    </a:lnTo>
                    <a:lnTo>
                      <a:pt x="175" y="265"/>
                    </a:lnTo>
                    <a:lnTo>
                      <a:pt x="173" y="265"/>
                    </a:lnTo>
                    <a:lnTo>
                      <a:pt x="171" y="265"/>
                    </a:lnTo>
                    <a:lnTo>
                      <a:pt x="169" y="265"/>
                    </a:lnTo>
                    <a:lnTo>
                      <a:pt x="169" y="263"/>
                    </a:lnTo>
                    <a:lnTo>
                      <a:pt x="167" y="263"/>
                    </a:lnTo>
                    <a:lnTo>
                      <a:pt x="167" y="265"/>
                    </a:lnTo>
                    <a:lnTo>
                      <a:pt x="165" y="265"/>
                    </a:lnTo>
                    <a:lnTo>
                      <a:pt x="165" y="263"/>
                    </a:lnTo>
                    <a:lnTo>
                      <a:pt x="163" y="263"/>
                    </a:lnTo>
                    <a:lnTo>
                      <a:pt x="165" y="263"/>
                    </a:lnTo>
                    <a:lnTo>
                      <a:pt x="167" y="263"/>
                    </a:lnTo>
                    <a:lnTo>
                      <a:pt x="169" y="263"/>
                    </a:lnTo>
                    <a:lnTo>
                      <a:pt x="171" y="263"/>
                    </a:lnTo>
                    <a:lnTo>
                      <a:pt x="171" y="261"/>
                    </a:lnTo>
                    <a:lnTo>
                      <a:pt x="173" y="261"/>
                    </a:lnTo>
                    <a:close/>
                    <a:moveTo>
                      <a:pt x="590" y="260"/>
                    </a:moveTo>
                    <a:lnTo>
                      <a:pt x="588" y="261"/>
                    </a:lnTo>
                    <a:lnTo>
                      <a:pt x="586" y="261"/>
                    </a:lnTo>
                    <a:lnTo>
                      <a:pt x="584" y="261"/>
                    </a:lnTo>
                    <a:lnTo>
                      <a:pt x="586" y="261"/>
                    </a:lnTo>
                    <a:lnTo>
                      <a:pt x="584" y="261"/>
                    </a:lnTo>
                    <a:lnTo>
                      <a:pt x="586" y="260"/>
                    </a:lnTo>
                    <a:lnTo>
                      <a:pt x="588" y="260"/>
                    </a:lnTo>
                    <a:lnTo>
                      <a:pt x="590" y="260"/>
                    </a:lnTo>
                    <a:close/>
                    <a:moveTo>
                      <a:pt x="167" y="261"/>
                    </a:moveTo>
                    <a:lnTo>
                      <a:pt x="169" y="261"/>
                    </a:lnTo>
                    <a:lnTo>
                      <a:pt x="167" y="261"/>
                    </a:lnTo>
                    <a:close/>
                    <a:moveTo>
                      <a:pt x="613" y="256"/>
                    </a:moveTo>
                    <a:lnTo>
                      <a:pt x="613" y="258"/>
                    </a:lnTo>
                    <a:lnTo>
                      <a:pt x="613" y="256"/>
                    </a:lnTo>
                    <a:lnTo>
                      <a:pt x="613" y="258"/>
                    </a:lnTo>
                    <a:lnTo>
                      <a:pt x="613" y="256"/>
                    </a:lnTo>
                    <a:close/>
                    <a:moveTo>
                      <a:pt x="594" y="260"/>
                    </a:moveTo>
                    <a:lnTo>
                      <a:pt x="592" y="260"/>
                    </a:lnTo>
                    <a:lnTo>
                      <a:pt x="594" y="260"/>
                    </a:lnTo>
                    <a:close/>
                    <a:moveTo>
                      <a:pt x="588" y="260"/>
                    </a:moveTo>
                    <a:lnTo>
                      <a:pt x="588" y="258"/>
                    </a:lnTo>
                    <a:lnTo>
                      <a:pt x="588" y="260"/>
                    </a:lnTo>
                    <a:close/>
                    <a:moveTo>
                      <a:pt x="194" y="261"/>
                    </a:moveTo>
                    <a:lnTo>
                      <a:pt x="194" y="263"/>
                    </a:lnTo>
                    <a:lnTo>
                      <a:pt x="196" y="263"/>
                    </a:lnTo>
                    <a:lnTo>
                      <a:pt x="198" y="263"/>
                    </a:lnTo>
                    <a:lnTo>
                      <a:pt x="200" y="263"/>
                    </a:lnTo>
                    <a:lnTo>
                      <a:pt x="200" y="265"/>
                    </a:lnTo>
                    <a:lnTo>
                      <a:pt x="198" y="265"/>
                    </a:lnTo>
                    <a:lnTo>
                      <a:pt x="196" y="265"/>
                    </a:lnTo>
                    <a:lnTo>
                      <a:pt x="196" y="267"/>
                    </a:lnTo>
                    <a:lnTo>
                      <a:pt x="194" y="267"/>
                    </a:lnTo>
                    <a:lnTo>
                      <a:pt x="194" y="265"/>
                    </a:lnTo>
                    <a:lnTo>
                      <a:pt x="192" y="265"/>
                    </a:lnTo>
                    <a:lnTo>
                      <a:pt x="192" y="263"/>
                    </a:lnTo>
                    <a:lnTo>
                      <a:pt x="192" y="261"/>
                    </a:lnTo>
                    <a:lnTo>
                      <a:pt x="194" y="261"/>
                    </a:lnTo>
                    <a:close/>
                    <a:moveTo>
                      <a:pt x="590" y="258"/>
                    </a:moveTo>
                    <a:lnTo>
                      <a:pt x="592" y="258"/>
                    </a:lnTo>
                    <a:lnTo>
                      <a:pt x="592" y="260"/>
                    </a:lnTo>
                    <a:lnTo>
                      <a:pt x="590" y="260"/>
                    </a:lnTo>
                    <a:lnTo>
                      <a:pt x="590" y="258"/>
                    </a:lnTo>
                    <a:close/>
                    <a:moveTo>
                      <a:pt x="592" y="258"/>
                    </a:moveTo>
                    <a:lnTo>
                      <a:pt x="592" y="260"/>
                    </a:lnTo>
                    <a:lnTo>
                      <a:pt x="590" y="260"/>
                    </a:lnTo>
                    <a:lnTo>
                      <a:pt x="588" y="260"/>
                    </a:lnTo>
                    <a:lnTo>
                      <a:pt x="590" y="260"/>
                    </a:lnTo>
                    <a:lnTo>
                      <a:pt x="590" y="258"/>
                    </a:lnTo>
                    <a:lnTo>
                      <a:pt x="590" y="260"/>
                    </a:lnTo>
                    <a:lnTo>
                      <a:pt x="592" y="260"/>
                    </a:lnTo>
                    <a:lnTo>
                      <a:pt x="592" y="258"/>
                    </a:lnTo>
                    <a:close/>
                    <a:moveTo>
                      <a:pt x="595" y="258"/>
                    </a:moveTo>
                    <a:lnTo>
                      <a:pt x="597" y="258"/>
                    </a:lnTo>
                    <a:lnTo>
                      <a:pt x="595" y="258"/>
                    </a:lnTo>
                    <a:close/>
                    <a:moveTo>
                      <a:pt x="595" y="258"/>
                    </a:moveTo>
                    <a:lnTo>
                      <a:pt x="594" y="258"/>
                    </a:lnTo>
                    <a:lnTo>
                      <a:pt x="594" y="260"/>
                    </a:lnTo>
                    <a:lnTo>
                      <a:pt x="594" y="258"/>
                    </a:lnTo>
                    <a:lnTo>
                      <a:pt x="594" y="260"/>
                    </a:lnTo>
                    <a:lnTo>
                      <a:pt x="592" y="260"/>
                    </a:lnTo>
                    <a:lnTo>
                      <a:pt x="592" y="258"/>
                    </a:lnTo>
                    <a:lnTo>
                      <a:pt x="594" y="258"/>
                    </a:lnTo>
                    <a:lnTo>
                      <a:pt x="595" y="258"/>
                    </a:lnTo>
                    <a:close/>
                    <a:moveTo>
                      <a:pt x="588" y="258"/>
                    </a:moveTo>
                    <a:lnTo>
                      <a:pt x="586" y="258"/>
                    </a:lnTo>
                    <a:lnTo>
                      <a:pt x="586" y="260"/>
                    </a:lnTo>
                    <a:lnTo>
                      <a:pt x="586" y="258"/>
                    </a:lnTo>
                    <a:lnTo>
                      <a:pt x="588" y="258"/>
                    </a:lnTo>
                    <a:close/>
                    <a:moveTo>
                      <a:pt x="590" y="258"/>
                    </a:moveTo>
                    <a:lnTo>
                      <a:pt x="588" y="258"/>
                    </a:lnTo>
                    <a:lnTo>
                      <a:pt x="590" y="258"/>
                    </a:lnTo>
                    <a:close/>
                    <a:moveTo>
                      <a:pt x="486" y="265"/>
                    </a:moveTo>
                    <a:lnTo>
                      <a:pt x="486" y="267"/>
                    </a:lnTo>
                    <a:lnTo>
                      <a:pt x="484" y="267"/>
                    </a:lnTo>
                    <a:lnTo>
                      <a:pt x="482" y="267"/>
                    </a:lnTo>
                    <a:lnTo>
                      <a:pt x="484" y="267"/>
                    </a:lnTo>
                    <a:lnTo>
                      <a:pt x="484" y="265"/>
                    </a:lnTo>
                    <a:lnTo>
                      <a:pt x="486" y="265"/>
                    </a:lnTo>
                    <a:close/>
                    <a:moveTo>
                      <a:pt x="175" y="260"/>
                    </a:moveTo>
                    <a:lnTo>
                      <a:pt x="175" y="261"/>
                    </a:lnTo>
                    <a:lnTo>
                      <a:pt x="175" y="260"/>
                    </a:lnTo>
                    <a:lnTo>
                      <a:pt x="177" y="260"/>
                    </a:lnTo>
                    <a:lnTo>
                      <a:pt x="175" y="260"/>
                    </a:lnTo>
                    <a:close/>
                    <a:moveTo>
                      <a:pt x="165" y="258"/>
                    </a:moveTo>
                    <a:lnTo>
                      <a:pt x="163" y="258"/>
                    </a:lnTo>
                    <a:lnTo>
                      <a:pt x="165" y="258"/>
                    </a:lnTo>
                    <a:close/>
                    <a:moveTo>
                      <a:pt x="180" y="260"/>
                    </a:moveTo>
                    <a:lnTo>
                      <a:pt x="180" y="261"/>
                    </a:lnTo>
                    <a:lnTo>
                      <a:pt x="180" y="263"/>
                    </a:lnTo>
                    <a:lnTo>
                      <a:pt x="180" y="261"/>
                    </a:lnTo>
                    <a:lnTo>
                      <a:pt x="182" y="261"/>
                    </a:lnTo>
                    <a:lnTo>
                      <a:pt x="182" y="263"/>
                    </a:lnTo>
                    <a:lnTo>
                      <a:pt x="180" y="263"/>
                    </a:lnTo>
                    <a:lnTo>
                      <a:pt x="179" y="263"/>
                    </a:lnTo>
                    <a:lnTo>
                      <a:pt x="177" y="263"/>
                    </a:lnTo>
                    <a:lnTo>
                      <a:pt x="177" y="261"/>
                    </a:lnTo>
                    <a:lnTo>
                      <a:pt x="179" y="261"/>
                    </a:lnTo>
                    <a:lnTo>
                      <a:pt x="179" y="260"/>
                    </a:lnTo>
                    <a:lnTo>
                      <a:pt x="180" y="260"/>
                    </a:lnTo>
                    <a:close/>
                    <a:moveTo>
                      <a:pt x="202" y="261"/>
                    </a:moveTo>
                    <a:lnTo>
                      <a:pt x="200" y="261"/>
                    </a:lnTo>
                    <a:lnTo>
                      <a:pt x="200" y="260"/>
                    </a:lnTo>
                    <a:lnTo>
                      <a:pt x="200" y="261"/>
                    </a:lnTo>
                    <a:lnTo>
                      <a:pt x="202" y="261"/>
                    </a:lnTo>
                    <a:close/>
                    <a:moveTo>
                      <a:pt x="482" y="265"/>
                    </a:moveTo>
                    <a:lnTo>
                      <a:pt x="484" y="265"/>
                    </a:lnTo>
                    <a:lnTo>
                      <a:pt x="482" y="265"/>
                    </a:lnTo>
                    <a:lnTo>
                      <a:pt x="480" y="265"/>
                    </a:lnTo>
                    <a:lnTo>
                      <a:pt x="482" y="265"/>
                    </a:lnTo>
                    <a:close/>
                    <a:moveTo>
                      <a:pt x="165" y="258"/>
                    </a:moveTo>
                    <a:lnTo>
                      <a:pt x="167" y="258"/>
                    </a:lnTo>
                    <a:lnTo>
                      <a:pt x="165" y="258"/>
                    </a:lnTo>
                    <a:lnTo>
                      <a:pt x="167" y="258"/>
                    </a:lnTo>
                    <a:lnTo>
                      <a:pt x="165" y="258"/>
                    </a:lnTo>
                    <a:close/>
                    <a:moveTo>
                      <a:pt x="175" y="258"/>
                    </a:moveTo>
                    <a:lnTo>
                      <a:pt x="177" y="258"/>
                    </a:lnTo>
                    <a:lnTo>
                      <a:pt x="175" y="260"/>
                    </a:lnTo>
                    <a:lnTo>
                      <a:pt x="175" y="258"/>
                    </a:lnTo>
                    <a:lnTo>
                      <a:pt x="175" y="260"/>
                    </a:lnTo>
                    <a:lnTo>
                      <a:pt x="175" y="258"/>
                    </a:lnTo>
                    <a:lnTo>
                      <a:pt x="173" y="258"/>
                    </a:lnTo>
                    <a:lnTo>
                      <a:pt x="175" y="258"/>
                    </a:lnTo>
                    <a:close/>
                    <a:moveTo>
                      <a:pt x="611" y="254"/>
                    </a:moveTo>
                    <a:lnTo>
                      <a:pt x="613" y="254"/>
                    </a:lnTo>
                    <a:lnTo>
                      <a:pt x="613" y="256"/>
                    </a:lnTo>
                    <a:lnTo>
                      <a:pt x="613" y="254"/>
                    </a:lnTo>
                    <a:lnTo>
                      <a:pt x="613" y="256"/>
                    </a:lnTo>
                    <a:lnTo>
                      <a:pt x="611" y="256"/>
                    </a:lnTo>
                    <a:lnTo>
                      <a:pt x="611" y="254"/>
                    </a:lnTo>
                    <a:close/>
                    <a:moveTo>
                      <a:pt x="611" y="246"/>
                    </a:moveTo>
                    <a:lnTo>
                      <a:pt x="609" y="246"/>
                    </a:lnTo>
                    <a:lnTo>
                      <a:pt x="611" y="246"/>
                    </a:lnTo>
                    <a:close/>
                    <a:moveTo>
                      <a:pt x="609" y="244"/>
                    </a:moveTo>
                    <a:lnTo>
                      <a:pt x="609" y="246"/>
                    </a:lnTo>
                    <a:lnTo>
                      <a:pt x="607" y="246"/>
                    </a:lnTo>
                    <a:lnTo>
                      <a:pt x="607" y="244"/>
                    </a:lnTo>
                    <a:lnTo>
                      <a:pt x="609" y="244"/>
                    </a:lnTo>
                    <a:close/>
                    <a:moveTo>
                      <a:pt x="480" y="256"/>
                    </a:moveTo>
                    <a:lnTo>
                      <a:pt x="478" y="256"/>
                    </a:lnTo>
                    <a:lnTo>
                      <a:pt x="480" y="256"/>
                    </a:lnTo>
                    <a:close/>
                    <a:moveTo>
                      <a:pt x="618" y="242"/>
                    </a:moveTo>
                    <a:lnTo>
                      <a:pt x="618" y="244"/>
                    </a:lnTo>
                    <a:lnTo>
                      <a:pt x="617" y="244"/>
                    </a:lnTo>
                    <a:lnTo>
                      <a:pt x="617" y="242"/>
                    </a:lnTo>
                    <a:lnTo>
                      <a:pt x="617" y="244"/>
                    </a:lnTo>
                    <a:lnTo>
                      <a:pt x="617" y="242"/>
                    </a:lnTo>
                    <a:lnTo>
                      <a:pt x="618" y="242"/>
                    </a:lnTo>
                    <a:close/>
                    <a:moveTo>
                      <a:pt x="228" y="252"/>
                    </a:moveTo>
                    <a:lnTo>
                      <a:pt x="228" y="250"/>
                    </a:lnTo>
                    <a:lnTo>
                      <a:pt x="228" y="252"/>
                    </a:lnTo>
                    <a:close/>
                    <a:moveTo>
                      <a:pt x="104" y="236"/>
                    </a:moveTo>
                    <a:lnTo>
                      <a:pt x="104" y="238"/>
                    </a:lnTo>
                    <a:lnTo>
                      <a:pt x="104" y="240"/>
                    </a:lnTo>
                    <a:lnTo>
                      <a:pt x="102" y="240"/>
                    </a:lnTo>
                    <a:lnTo>
                      <a:pt x="102" y="238"/>
                    </a:lnTo>
                    <a:lnTo>
                      <a:pt x="100" y="236"/>
                    </a:lnTo>
                    <a:lnTo>
                      <a:pt x="102" y="238"/>
                    </a:lnTo>
                    <a:lnTo>
                      <a:pt x="104" y="236"/>
                    </a:lnTo>
                    <a:close/>
                    <a:moveTo>
                      <a:pt x="230" y="250"/>
                    </a:moveTo>
                    <a:lnTo>
                      <a:pt x="230" y="248"/>
                    </a:lnTo>
                    <a:lnTo>
                      <a:pt x="230" y="250"/>
                    </a:lnTo>
                    <a:close/>
                    <a:moveTo>
                      <a:pt x="601" y="240"/>
                    </a:moveTo>
                    <a:lnTo>
                      <a:pt x="599" y="240"/>
                    </a:lnTo>
                    <a:lnTo>
                      <a:pt x="601" y="240"/>
                    </a:lnTo>
                    <a:close/>
                    <a:moveTo>
                      <a:pt x="230" y="246"/>
                    </a:moveTo>
                    <a:lnTo>
                      <a:pt x="230" y="248"/>
                    </a:lnTo>
                    <a:lnTo>
                      <a:pt x="232" y="248"/>
                    </a:lnTo>
                    <a:lnTo>
                      <a:pt x="230" y="248"/>
                    </a:lnTo>
                    <a:lnTo>
                      <a:pt x="228" y="248"/>
                    </a:lnTo>
                    <a:lnTo>
                      <a:pt x="230" y="248"/>
                    </a:lnTo>
                    <a:lnTo>
                      <a:pt x="228" y="248"/>
                    </a:lnTo>
                    <a:lnTo>
                      <a:pt x="228" y="246"/>
                    </a:lnTo>
                    <a:lnTo>
                      <a:pt x="230" y="246"/>
                    </a:lnTo>
                    <a:close/>
                    <a:moveTo>
                      <a:pt x="106" y="235"/>
                    </a:moveTo>
                    <a:lnTo>
                      <a:pt x="104" y="236"/>
                    </a:lnTo>
                    <a:lnTo>
                      <a:pt x="104" y="235"/>
                    </a:lnTo>
                    <a:lnTo>
                      <a:pt x="106" y="235"/>
                    </a:lnTo>
                    <a:close/>
                    <a:moveTo>
                      <a:pt x="227" y="242"/>
                    </a:moveTo>
                    <a:lnTo>
                      <a:pt x="228" y="242"/>
                    </a:lnTo>
                    <a:lnTo>
                      <a:pt x="228" y="244"/>
                    </a:lnTo>
                    <a:lnTo>
                      <a:pt x="227" y="244"/>
                    </a:lnTo>
                    <a:lnTo>
                      <a:pt x="227" y="242"/>
                    </a:lnTo>
                    <a:close/>
                    <a:moveTo>
                      <a:pt x="597" y="236"/>
                    </a:moveTo>
                    <a:lnTo>
                      <a:pt x="597" y="235"/>
                    </a:lnTo>
                    <a:lnTo>
                      <a:pt x="597" y="236"/>
                    </a:lnTo>
                    <a:close/>
                    <a:moveTo>
                      <a:pt x="190" y="238"/>
                    </a:moveTo>
                    <a:lnTo>
                      <a:pt x="190" y="240"/>
                    </a:lnTo>
                    <a:lnTo>
                      <a:pt x="188" y="240"/>
                    </a:lnTo>
                    <a:lnTo>
                      <a:pt x="188" y="238"/>
                    </a:lnTo>
                    <a:lnTo>
                      <a:pt x="190" y="238"/>
                    </a:lnTo>
                    <a:close/>
                    <a:moveTo>
                      <a:pt x="104" y="233"/>
                    </a:moveTo>
                    <a:lnTo>
                      <a:pt x="104" y="231"/>
                    </a:lnTo>
                    <a:lnTo>
                      <a:pt x="104" y="229"/>
                    </a:lnTo>
                    <a:lnTo>
                      <a:pt x="104" y="231"/>
                    </a:lnTo>
                    <a:lnTo>
                      <a:pt x="104" y="233"/>
                    </a:lnTo>
                    <a:close/>
                    <a:moveTo>
                      <a:pt x="242" y="240"/>
                    </a:moveTo>
                    <a:lnTo>
                      <a:pt x="240" y="240"/>
                    </a:lnTo>
                    <a:lnTo>
                      <a:pt x="240" y="238"/>
                    </a:lnTo>
                    <a:lnTo>
                      <a:pt x="242" y="238"/>
                    </a:lnTo>
                    <a:lnTo>
                      <a:pt x="242" y="240"/>
                    </a:lnTo>
                    <a:close/>
                    <a:moveTo>
                      <a:pt x="244" y="238"/>
                    </a:moveTo>
                    <a:lnTo>
                      <a:pt x="242" y="238"/>
                    </a:lnTo>
                    <a:lnTo>
                      <a:pt x="244" y="238"/>
                    </a:lnTo>
                    <a:lnTo>
                      <a:pt x="242" y="238"/>
                    </a:lnTo>
                    <a:lnTo>
                      <a:pt x="244" y="238"/>
                    </a:lnTo>
                    <a:close/>
                    <a:moveTo>
                      <a:pt x="253" y="233"/>
                    </a:moveTo>
                    <a:lnTo>
                      <a:pt x="253" y="235"/>
                    </a:lnTo>
                    <a:lnTo>
                      <a:pt x="253" y="233"/>
                    </a:lnTo>
                    <a:close/>
                    <a:moveTo>
                      <a:pt x="271" y="235"/>
                    </a:moveTo>
                    <a:lnTo>
                      <a:pt x="269" y="235"/>
                    </a:lnTo>
                    <a:lnTo>
                      <a:pt x="271" y="235"/>
                    </a:lnTo>
                    <a:close/>
                    <a:moveTo>
                      <a:pt x="255" y="235"/>
                    </a:moveTo>
                    <a:lnTo>
                      <a:pt x="253" y="233"/>
                    </a:lnTo>
                    <a:lnTo>
                      <a:pt x="255" y="233"/>
                    </a:lnTo>
                    <a:lnTo>
                      <a:pt x="255" y="235"/>
                    </a:lnTo>
                    <a:close/>
                    <a:moveTo>
                      <a:pt x="257" y="233"/>
                    </a:moveTo>
                    <a:lnTo>
                      <a:pt x="257" y="235"/>
                    </a:lnTo>
                    <a:lnTo>
                      <a:pt x="255" y="235"/>
                    </a:lnTo>
                    <a:lnTo>
                      <a:pt x="257" y="235"/>
                    </a:lnTo>
                    <a:lnTo>
                      <a:pt x="255" y="235"/>
                    </a:lnTo>
                    <a:lnTo>
                      <a:pt x="255" y="233"/>
                    </a:lnTo>
                    <a:lnTo>
                      <a:pt x="255" y="235"/>
                    </a:lnTo>
                    <a:lnTo>
                      <a:pt x="255" y="233"/>
                    </a:lnTo>
                    <a:lnTo>
                      <a:pt x="257" y="233"/>
                    </a:lnTo>
                    <a:close/>
                    <a:moveTo>
                      <a:pt x="259" y="233"/>
                    </a:moveTo>
                    <a:lnTo>
                      <a:pt x="261" y="233"/>
                    </a:lnTo>
                    <a:lnTo>
                      <a:pt x="259" y="233"/>
                    </a:lnTo>
                    <a:lnTo>
                      <a:pt x="257" y="233"/>
                    </a:lnTo>
                    <a:lnTo>
                      <a:pt x="259" y="233"/>
                    </a:lnTo>
                    <a:lnTo>
                      <a:pt x="257" y="233"/>
                    </a:lnTo>
                    <a:lnTo>
                      <a:pt x="257" y="231"/>
                    </a:lnTo>
                    <a:lnTo>
                      <a:pt x="257" y="233"/>
                    </a:lnTo>
                    <a:lnTo>
                      <a:pt x="259" y="233"/>
                    </a:lnTo>
                    <a:close/>
                    <a:moveTo>
                      <a:pt x="252" y="233"/>
                    </a:moveTo>
                    <a:lnTo>
                      <a:pt x="252" y="231"/>
                    </a:lnTo>
                    <a:lnTo>
                      <a:pt x="252" y="233"/>
                    </a:lnTo>
                    <a:close/>
                    <a:moveTo>
                      <a:pt x="265" y="229"/>
                    </a:moveTo>
                    <a:lnTo>
                      <a:pt x="267" y="229"/>
                    </a:lnTo>
                    <a:lnTo>
                      <a:pt x="265" y="229"/>
                    </a:lnTo>
                    <a:close/>
                    <a:moveTo>
                      <a:pt x="741" y="194"/>
                    </a:moveTo>
                    <a:lnTo>
                      <a:pt x="740" y="194"/>
                    </a:lnTo>
                    <a:lnTo>
                      <a:pt x="741" y="194"/>
                    </a:lnTo>
                    <a:close/>
                    <a:moveTo>
                      <a:pt x="459" y="225"/>
                    </a:moveTo>
                    <a:lnTo>
                      <a:pt x="459" y="227"/>
                    </a:lnTo>
                    <a:lnTo>
                      <a:pt x="459" y="225"/>
                    </a:lnTo>
                    <a:close/>
                    <a:moveTo>
                      <a:pt x="242" y="223"/>
                    </a:moveTo>
                    <a:lnTo>
                      <a:pt x="240" y="223"/>
                    </a:lnTo>
                    <a:lnTo>
                      <a:pt x="242" y="223"/>
                    </a:lnTo>
                    <a:close/>
                    <a:moveTo>
                      <a:pt x="303" y="225"/>
                    </a:moveTo>
                    <a:lnTo>
                      <a:pt x="303" y="223"/>
                    </a:lnTo>
                    <a:lnTo>
                      <a:pt x="305" y="223"/>
                    </a:lnTo>
                    <a:lnTo>
                      <a:pt x="303" y="225"/>
                    </a:lnTo>
                    <a:close/>
                    <a:moveTo>
                      <a:pt x="307" y="223"/>
                    </a:moveTo>
                    <a:lnTo>
                      <a:pt x="305" y="223"/>
                    </a:lnTo>
                    <a:lnTo>
                      <a:pt x="307" y="223"/>
                    </a:lnTo>
                    <a:close/>
                    <a:moveTo>
                      <a:pt x="461" y="221"/>
                    </a:moveTo>
                    <a:lnTo>
                      <a:pt x="459" y="221"/>
                    </a:lnTo>
                    <a:lnTo>
                      <a:pt x="461" y="221"/>
                    </a:lnTo>
                    <a:close/>
                    <a:moveTo>
                      <a:pt x="465" y="221"/>
                    </a:moveTo>
                    <a:lnTo>
                      <a:pt x="465" y="219"/>
                    </a:lnTo>
                    <a:lnTo>
                      <a:pt x="465" y="221"/>
                    </a:lnTo>
                    <a:close/>
                    <a:moveTo>
                      <a:pt x="326" y="221"/>
                    </a:moveTo>
                    <a:lnTo>
                      <a:pt x="325" y="221"/>
                    </a:lnTo>
                    <a:lnTo>
                      <a:pt x="326" y="221"/>
                    </a:lnTo>
                    <a:lnTo>
                      <a:pt x="325" y="221"/>
                    </a:lnTo>
                    <a:lnTo>
                      <a:pt x="326" y="221"/>
                    </a:lnTo>
                    <a:close/>
                    <a:moveTo>
                      <a:pt x="100" y="202"/>
                    </a:moveTo>
                    <a:lnTo>
                      <a:pt x="102" y="202"/>
                    </a:lnTo>
                    <a:lnTo>
                      <a:pt x="102" y="204"/>
                    </a:lnTo>
                    <a:lnTo>
                      <a:pt x="100" y="204"/>
                    </a:lnTo>
                    <a:lnTo>
                      <a:pt x="100" y="202"/>
                    </a:lnTo>
                    <a:close/>
                    <a:moveTo>
                      <a:pt x="326" y="219"/>
                    </a:moveTo>
                    <a:lnTo>
                      <a:pt x="328" y="219"/>
                    </a:lnTo>
                    <a:lnTo>
                      <a:pt x="330" y="219"/>
                    </a:lnTo>
                    <a:lnTo>
                      <a:pt x="330" y="221"/>
                    </a:lnTo>
                    <a:lnTo>
                      <a:pt x="328" y="219"/>
                    </a:lnTo>
                    <a:lnTo>
                      <a:pt x="328" y="221"/>
                    </a:lnTo>
                    <a:lnTo>
                      <a:pt x="326" y="221"/>
                    </a:lnTo>
                    <a:lnTo>
                      <a:pt x="326" y="219"/>
                    </a:lnTo>
                    <a:lnTo>
                      <a:pt x="325" y="221"/>
                    </a:lnTo>
                    <a:lnTo>
                      <a:pt x="323" y="221"/>
                    </a:lnTo>
                    <a:lnTo>
                      <a:pt x="325" y="219"/>
                    </a:lnTo>
                    <a:lnTo>
                      <a:pt x="326" y="219"/>
                    </a:lnTo>
                    <a:close/>
                    <a:moveTo>
                      <a:pt x="467" y="217"/>
                    </a:moveTo>
                    <a:lnTo>
                      <a:pt x="469" y="217"/>
                    </a:lnTo>
                    <a:lnTo>
                      <a:pt x="467" y="217"/>
                    </a:lnTo>
                    <a:lnTo>
                      <a:pt x="469" y="217"/>
                    </a:lnTo>
                    <a:lnTo>
                      <a:pt x="467" y="217"/>
                    </a:lnTo>
                    <a:lnTo>
                      <a:pt x="467" y="219"/>
                    </a:lnTo>
                    <a:lnTo>
                      <a:pt x="467" y="217"/>
                    </a:lnTo>
                    <a:close/>
                    <a:moveTo>
                      <a:pt x="336" y="219"/>
                    </a:moveTo>
                    <a:lnTo>
                      <a:pt x="338" y="219"/>
                    </a:lnTo>
                    <a:lnTo>
                      <a:pt x="336" y="219"/>
                    </a:lnTo>
                    <a:close/>
                    <a:moveTo>
                      <a:pt x="469" y="217"/>
                    </a:moveTo>
                    <a:lnTo>
                      <a:pt x="467" y="217"/>
                    </a:lnTo>
                    <a:lnTo>
                      <a:pt x="469" y="217"/>
                    </a:lnTo>
                    <a:lnTo>
                      <a:pt x="467" y="217"/>
                    </a:lnTo>
                    <a:lnTo>
                      <a:pt x="469" y="217"/>
                    </a:lnTo>
                    <a:close/>
                    <a:moveTo>
                      <a:pt x="467" y="217"/>
                    </a:moveTo>
                    <a:lnTo>
                      <a:pt x="467" y="219"/>
                    </a:lnTo>
                    <a:lnTo>
                      <a:pt x="465" y="219"/>
                    </a:lnTo>
                    <a:lnTo>
                      <a:pt x="465" y="217"/>
                    </a:lnTo>
                    <a:lnTo>
                      <a:pt x="467" y="217"/>
                    </a:lnTo>
                    <a:close/>
                    <a:moveTo>
                      <a:pt x="469" y="215"/>
                    </a:moveTo>
                    <a:lnTo>
                      <a:pt x="469" y="217"/>
                    </a:lnTo>
                    <a:lnTo>
                      <a:pt x="469" y="215"/>
                    </a:lnTo>
                    <a:close/>
                    <a:moveTo>
                      <a:pt x="467" y="217"/>
                    </a:moveTo>
                    <a:lnTo>
                      <a:pt x="467" y="215"/>
                    </a:lnTo>
                    <a:lnTo>
                      <a:pt x="467" y="217"/>
                    </a:lnTo>
                    <a:close/>
                    <a:moveTo>
                      <a:pt x="757" y="181"/>
                    </a:moveTo>
                    <a:lnTo>
                      <a:pt x="757" y="183"/>
                    </a:lnTo>
                    <a:lnTo>
                      <a:pt x="757" y="181"/>
                    </a:lnTo>
                    <a:lnTo>
                      <a:pt x="755" y="181"/>
                    </a:lnTo>
                    <a:lnTo>
                      <a:pt x="757" y="181"/>
                    </a:lnTo>
                    <a:close/>
                    <a:moveTo>
                      <a:pt x="467" y="215"/>
                    </a:moveTo>
                    <a:lnTo>
                      <a:pt x="469" y="215"/>
                    </a:lnTo>
                    <a:lnTo>
                      <a:pt x="467" y="215"/>
                    </a:lnTo>
                    <a:close/>
                    <a:moveTo>
                      <a:pt x="313" y="215"/>
                    </a:moveTo>
                    <a:lnTo>
                      <a:pt x="313" y="217"/>
                    </a:lnTo>
                    <a:lnTo>
                      <a:pt x="313" y="215"/>
                    </a:lnTo>
                    <a:close/>
                    <a:moveTo>
                      <a:pt x="313" y="215"/>
                    </a:moveTo>
                    <a:lnTo>
                      <a:pt x="315" y="215"/>
                    </a:lnTo>
                    <a:lnTo>
                      <a:pt x="313" y="215"/>
                    </a:lnTo>
                    <a:close/>
                    <a:moveTo>
                      <a:pt x="469" y="215"/>
                    </a:moveTo>
                    <a:lnTo>
                      <a:pt x="469" y="213"/>
                    </a:lnTo>
                    <a:lnTo>
                      <a:pt x="467" y="213"/>
                    </a:lnTo>
                    <a:lnTo>
                      <a:pt x="469" y="213"/>
                    </a:lnTo>
                    <a:lnTo>
                      <a:pt x="469" y="215"/>
                    </a:lnTo>
                    <a:close/>
                    <a:moveTo>
                      <a:pt x="102" y="196"/>
                    </a:moveTo>
                    <a:lnTo>
                      <a:pt x="104" y="198"/>
                    </a:lnTo>
                    <a:lnTo>
                      <a:pt x="106" y="198"/>
                    </a:lnTo>
                    <a:lnTo>
                      <a:pt x="107" y="198"/>
                    </a:lnTo>
                    <a:lnTo>
                      <a:pt x="106" y="198"/>
                    </a:lnTo>
                    <a:lnTo>
                      <a:pt x="104" y="198"/>
                    </a:lnTo>
                    <a:lnTo>
                      <a:pt x="102" y="198"/>
                    </a:lnTo>
                    <a:lnTo>
                      <a:pt x="104" y="198"/>
                    </a:lnTo>
                    <a:lnTo>
                      <a:pt x="102" y="198"/>
                    </a:lnTo>
                    <a:lnTo>
                      <a:pt x="102" y="200"/>
                    </a:lnTo>
                    <a:lnTo>
                      <a:pt x="104" y="200"/>
                    </a:lnTo>
                    <a:lnTo>
                      <a:pt x="104" y="198"/>
                    </a:lnTo>
                    <a:lnTo>
                      <a:pt x="106" y="198"/>
                    </a:lnTo>
                    <a:lnTo>
                      <a:pt x="106" y="200"/>
                    </a:lnTo>
                    <a:lnTo>
                      <a:pt x="107" y="202"/>
                    </a:lnTo>
                    <a:lnTo>
                      <a:pt x="111" y="202"/>
                    </a:lnTo>
                    <a:lnTo>
                      <a:pt x="113" y="202"/>
                    </a:lnTo>
                    <a:lnTo>
                      <a:pt x="113" y="204"/>
                    </a:lnTo>
                    <a:lnTo>
                      <a:pt x="111" y="204"/>
                    </a:lnTo>
                    <a:lnTo>
                      <a:pt x="111" y="202"/>
                    </a:lnTo>
                    <a:lnTo>
                      <a:pt x="109" y="202"/>
                    </a:lnTo>
                    <a:lnTo>
                      <a:pt x="107" y="202"/>
                    </a:lnTo>
                    <a:lnTo>
                      <a:pt x="106" y="202"/>
                    </a:lnTo>
                    <a:lnTo>
                      <a:pt x="104" y="200"/>
                    </a:lnTo>
                    <a:lnTo>
                      <a:pt x="102" y="200"/>
                    </a:lnTo>
                    <a:lnTo>
                      <a:pt x="100" y="198"/>
                    </a:lnTo>
                    <a:lnTo>
                      <a:pt x="102" y="198"/>
                    </a:lnTo>
                    <a:lnTo>
                      <a:pt x="102" y="196"/>
                    </a:lnTo>
                    <a:close/>
                    <a:moveTo>
                      <a:pt x="751" y="179"/>
                    </a:moveTo>
                    <a:lnTo>
                      <a:pt x="753" y="179"/>
                    </a:lnTo>
                    <a:lnTo>
                      <a:pt x="753" y="181"/>
                    </a:lnTo>
                    <a:lnTo>
                      <a:pt x="751" y="181"/>
                    </a:lnTo>
                    <a:lnTo>
                      <a:pt x="751" y="179"/>
                    </a:lnTo>
                    <a:lnTo>
                      <a:pt x="749" y="179"/>
                    </a:lnTo>
                    <a:lnTo>
                      <a:pt x="751" y="179"/>
                    </a:lnTo>
                    <a:lnTo>
                      <a:pt x="749" y="179"/>
                    </a:lnTo>
                    <a:lnTo>
                      <a:pt x="751" y="179"/>
                    </a:lnTo>
                    <a:close/>
                    <a:moveTo>
                      <a:pt x="472" y="213"/>
                    </a:moveTo>
                    <a:lnTo>
                      <a:pt x="472" y="212"/>
                    </a:lnTo>
                    <a:lnTo>
                      <a:pt x="472" y="213"/>
                    </a:lnTo>
                    <a:close/>
                    <a:moveTo>
                      <a:pt x="469" y="212"/>
                    </a:moveTo>
                    <a:lnTo>
                      <a:pt x="471" y="212"/>
                    </a:lnTo>
                    <a:lnTo>
                      <a:pt x="472" y="212"/>
                    </a:lnTo>
                    <a:lnTo>
                      <a:pt x="471" y="212"/>
                    </a:lnTo>
                    <a:lnTo>
                      <a:pt x="471" y="213"/>
                    </a:lnTo>
                    <a:lnTo>
                      <a:pt x="471" y="212"/>
                    </a:lnTo>
                    <a:lnTo>
                      <a:pt x="472" y="212"/>
                    </a:lnTo>
                    <a:lnTo>
                      <a:pt x="472" y="213"/>
                    </a:lnTo>
                    <a:lnTo>
                      <a:pt x="471" y="215"/>
                    </a:lnTo>
                    <a:lnTo>
                      <a:pt x="469" y="215"/>
                    </a:lnTo>
                    <a:lnTo>
                      <a:pt x="469" y="213"/>
                    </a:lnTo>
                    <a:lnTo>
                      <a:pt x="467" y="213"/>
                    </a:lnTo>
                    <a:lnTo>
                      <a:pt x="469" y="212"/>
                    </a:lnTo>
                    <a:close/>
                    <a:moveTo>
                      <a:pt x="125" y="200"/>
                    </a:moveTo>
                    <a:lnTo>
                      <a:pt x="127" y="200"/>
                    </a:lnTo>
                    <a:lnTo>
                      <a:pt x="129" y="200"/>
                    </a:lnTo>
                    <a:lnTo>
                      <a:pt x="131" y="200"/>
                    </a:lnTo>
                    <a:lnTo>
                      <a:pt x="131" y="202"/>
                    </a:lnTo>
                    <a:lnTo>
                      <a:pt x="132" y="202"/>
                    </a:lnTo>
                    <a:lnTo>
                      <a:pt x="131" y="202"/>
                    </a:lnTo>
                    <a:lnTo>
                      <a:pt x="129" y="202"/>
                    </a:lnTo>
                    <a:lnTo>
                      <a:pt x="127" y="202"/>
                    </a:lnTo>
                    <a:lnTo>
                      <a:pt x="125" y="202"/>
                    </a:lnTo>
                    <a:lnTo>
                      <a:pt x="125" y="200"/>
                    </a:lnTo>
                    <a:lnTo>
                      <a:pt x="127" y="200"/>
                    </a:lnTo>
                    <a:lnTo>
                      <a:pt x="125" y="200"/>
                    </a:lnTo>
                    <a:lnTo>
                      <a:pt x="123" y="200"/>
                    </a:lnTo>
                    <a:lnTo>
                      <a:pt x="121" y="200"/>
                    </a:lnTo>
                    <a:lnTo>
                      <a:pt x="119" y="200"/>
                    </a:lnTo>
                    <a:lnTo>
                      <a:pt x="117" y="200"/>
                    </a:lnTo>
                    <a:lnTo>
                      <a:pt x="115" y="200"/>
                    </a:lnTo>
                    <a:lnTo>
                      <a:pt x="113" y="200"/>
                    </a:lnTo>
                    <a:lnTo>
                      <a:pt x="113" y="198"/>
                    </a:lnTo>
                    <a:lnTo>
                      <a:pt x="115" y="198"/>
                    </a:lnTo>
                    <a:lnTo>
                      <a:pt x="117" y="200"/>
                    </a:lnTo>
                    <a:lnTo>
                      <a:pt x="117" y="198"/>
                    </a:lnTo>
                    <a:lnTo>
                      <a:pt x="119" y="198"/>
                    </a:lnTo>
                    <a:lnTo>
                      <a:pt x="121" y="198"/>
                    </a:lnTo>
                    <a:lnTo>
                      <a:pt x="123" y="198"/>
                    </a:lnTo>
                    <a:lnTo>
                      <a:pt x="125" y="200"/>
                    </a:lnTo>
                    <a:close/>
                    <a:moveTo>
                      <a:pt x="325" y="212"/>
                    </a:moveTo>
                    <a:lnTo>
                      <a:pt x="325" y="213"/>
                    </a:lnTo>
                    <a:lnTo>
                      <a:pt x="323" y="213"/>
                    </a:lnTo>
                    <a:lnTo>
                      <a:pt x="321" y="213"/>
                    </a:lnTo>
                    <a:lnTo>
                      <a:pt x="323" y="213"/>
                    </a:lnTo>
                    <a:lnTo>
                      <a:pt x="321" y="213"/>
                    </a:lnTo>
                    <a:lnTo>
                      <a:pt x="323" y="212"/>
                    </a:lnTo>
                    <a:lnTo>
                      <a:pt x="325" y="212"/>
                    </a:lnTo>
                    <a:close/>
                    <a:moveTo>
                      <a:pt x="300" y="210"/>
                    </a:moveTo>
                    <a:lnTo>
                      <a:pt x="298" y="210"/>
                    </a:lnTo>
                    <a:lnTo>
                      <a:pt x="300" y="210"/>
                    </a:lnTo>
                    <a:close/>
                    <a:moveTo>
                      <a:pt x="307" y="210"/>
                    </a:moveTo>
                    <a:lnTo>
                      <a:pt x="309" y="210"/>
                    </a:lnTo>
                    <a:lnTo>
                      <a:pt x="307" y="210"/>
                    </a:lnTo>
                    <a:lnTo>
                      <a:pt x="305" y="210"/>
                    </a:lnTo>
                    <a:lnTo>
                      <a:pt x="307" y="210"/>
                    </a:lnTo>
                    <a:close/>
                    <a:moveTo>
                      <a:pt x="305" y="210"/>
                    </a:moveTo>
                    <a:lnTo>
                      <a:pt x="303" y="210"/>
                    </a:lnTo>
                    <a:lnTo>
                      <a:pt x="305" y="210"/>
                    </a:lnTo>
                    <a:close/>
                    <a:moveTo>
                      <a:pt x="313" y="210"/>
                    </a:moveTo>
                    <a:lnTo>
                      <a:pt x="311" y="208"/>
                    </a:lnTo>
                    <a:lnTo>
                      <a:pt x="313" y="208"/>
                    </a:lnTo>
                    <a:lnTo>
                      <a:pt x="313" y="210"/>
                    </a:lnTo>
                    <a:close/>
                    <a:moveTo>
                      <a:pt x="465" y="208"/>
                    </a:moveTo>
                    <a:lnTo>
                      <a:pt x="463" y="208"/>
                    </a:lnTo>
                    <a:lnTo>
                      <a:pt x="465" y="208"/>
                    </a:lnTo>
                    <a:close/>
                    <a:moveTo>
                      <a:pt x="419" y="208"/>
                    </a:moveTo>
                    <a:lnTo>
                      <a:pt x="419" y="210"/>
                    </a:lnTo>
                    <a:lnTo>
                      <a:pt x="417" y="210"/>
                    </a:lnTo>
                    <a:lnTo>
                      <a:pt x="417" y="212"/>
                    </a:lnTo>
                    <a:lnTo>
                      <a:pt x="415" y="212"/>
                    </a:lnTo>
                    <a:lnTo>
                      <a:pt x="413" y="212"/>
                    </a:lnTo>
                    <a:lnTo>
                      <a:pt x="413" y="213"/>
                    </a:lnTo>
                    <a:lnTo>
                      <a:pt x="413" y="212"/>
                    </a:lnTo>
                    <a:lnTo>
                      <a:pt x="411" y="213"/>
                    </a:lnTo>
                    <a:lnTo>
                      <a:pt x="409" y="213"/>
                    </a:lnTo>
                    <a:lnTo>
                      <a:pt x="407" y="213"/>
                    </a:lnTo>
                    <a:lnTo>
                      <a:pt x="407" y="212"/>
                    </a:lnTo>
                    <a:lnTo>
                      <a:pt x="409" y="212"/>
                    </a:lnTo>
                    <a:lnTo>
                      <a:pt x="411" y="212"/>
                    </a:lnTo>
                    <a:lnTo>
                      <a:pt x="411" y="210"/>
                    </a:lnTo>
                    <a:lnTo>
                      <a:pt x="413" y="210"/>
                    </a:lnTo>
                    <a:lnTo>
                      <a:pt x="415" y="210"/>
                    </a:lnTo>
                    <a:lnTo>
                      <a:pt x="415" y="208"/>
                    </a:lnTo>
                    <a:lnTo>
                      <a:pt x="417" y="208"/>
                    </a:lnTo>
                    <a:lnTo>
                      <a:pt x="419" y="208"/>
                    </a:lnTo>
                    <a:close/>
                    <a:moveTo>
                      <a:pt x="467" y="206"/>
                    </a:moveTo>
                    <a:lnTo>
                      <a:pt x="469" y="206"/>
                    </a:lnTo>
                    <a:lnTo>
                      <a:pt x="469" y="208"/>
                    </a:lnTo>
                    <a:lnTo>
                      <a:pt x="467" y="208"/>
                    </a:lnTo>
                    <a:lnTo>
                      <a:pt x="467" y="206"/>
                    </a:lnTo>
                    <a:lnTo>
                      <a:pt x="467" y="208"/>
                    </a:lnTo>
                    <a:lnTo>
                      <a:pt x="469" y="208"/>
                    </a:lnTo>
                    <a:lnTo>
                      <a:pt x="469" y="210"/>
                    </a:lnTo>
                    <a:lnTo>
                      <a:pt x="467" y="208"/>
                    </a:lnTo>
                    <a:lnTo>
                      <a:pt x="465" y="208"/>
                    </a:lnTo>
                    <a:lnTo>
                      <a:pt x="465" y="206"/>
                    </a:lnTo>
                    <a:lnTo>
                      <a:pt x="467" y="206"/>
                    </a:lnTo>
                    <a:lnTo>
                      <a:pt x="465" y="206"/>
                    </a:lnTo>
                    <a:lnTo>
                      <a:pt x="467" y="206"/>
                    </a:lnTo>
                    <a:lnTo>
                      <a:pt x="465" y="206"/>
                    </a:lnTo>
                    <a:lnTo>
                      <a:pt x="467" y="206"/>
                    </a:lnTo>
                    <a:close/>
                    <a:moveTo>
                      <a:pt x="350" y="204"/>
                    </a:moveTo>
                    <a:lnTo>
                      <a:pt x="350" y="206"/>
                    </a:lnTo>
                    <a:lnTo>
                      <a:pt x="348" y="206"/>
                    </a:lnTo>
                    <a:lnTo>
                      <a:pt x="348" y="204"/>
                    </a:lnTo>
                    <a:lnTo>
                      <a:pt x="350" y="204"/>
                    </a:lnTo>
                    <a:close/>
                    <a:moveTo>
                      <a:pt x="732" y="171"/>
                    </a:moveTo>
                    <a:lnTo>
                      <a:pt x="730" y="171"/>
                    </a:lnTo>
                    <a:lnTo>
                      <a:pt x="732" y="171"/>
                    </a:lnTo>
                    <a:close/>
                    <a:moveTo>
                      <a:pt x="382" y="204"/>
                    </a:moveTo>
                    <a:lnTo>
                      <a:pt x="380" y="204"/>
                    </a:lnTo>
                    <a:lnTo>
                      <a:pt x="382" y="204"/>
                    </a:lnTo>
                    <a:close/>
                    <a:moveTo>
                      <a:pt x="374" y="204"/>
                    </a:moveTo>
                    <a:lnTo>
                      <a:pt x="376" y="204"/>
                    </a:lnTo>
                    <a:lnTo>
                      <a:pt x="374" y="204"/>
                    </a:lnTo>
                    <a:lnTo>
                      <a:pt x="376" y="204"/>
                    </a:lnTo>
                    <a:lnTo>
                      <a:pt x="374" y="204"/>
                    </a:lnTo>
                    <a:lnTo>
                      <a:pt x="374" y="206"/>
                    </a:lnTo>
                    <a:lnTo>
                      <a:pt x="374" y="204"/>
                    </a:lnTo>
                    <a:lnTo>
                      <a:pt x="376" y="206"/>
                    </a:lnTo>
                    <a:lnTo>
                      <a:pt x="374" y="206"/>
                    </a:lnTo>
                    <a:lnTo>
                      <a:pt x="373" y="206"/>
                    </a:lnTo>
                    <a:lnTo>
                      <a:pt x="371" y="206"/>
                    </a:lnTo>
                    <a:lnTo>
                      <a:pt x="373" y="204"/>
                    </a:lnTo>
                    <a:lnTo>
                      <a:pt x="374" y="204"/>
                    </a:lnTo>
                    <a:lnTo>
                      <a:pt x="374" y="202"/>
                    </a:lnTo>
                    <a:lnTo>
                      <a:pt x="374" y="204"/>
                    </a:lnTo>
                    <a:close/>
                    <a:moveTo>
                      <a:pt x="455" y="200"/>
                    </a:moveTo>
                    <a:lnTo>
                      <a:pt x="453" y="200"/>
                    </a:lnTo>
                    <a:lnTo>
                      <a:pt x="455" y="200"/>
                    </a:lnTo>
                    <a:close/>
                    <a:moveTo>
                      <a:pt x="461" y="200"/>
                    </a:moveTo>
                    <a:lnTo>
                      <a:pt x="463" y="200"/>
                    </a:lnTo>
                    <a:lnTo>
                      <a:pt x="461" y="200"/>
                    </a:lnTo>
                    <a:lnTo>
                      <a:pt x="463" y="200"/>
                    </a:lnTo>
                    <a:lnTo>
                      <a:pt x="461" y="202"/>
                    </a:lnTo>
                    <a:lnTo>
                      <a:pt x="461" y="200"/>
                    </a:lnTo>
                    <a:lnTo>
                      <a:pt x="459" y="200"/>
                    </a:lnTo>
                    <a:lnTo>
                      <a:pt x="461" y="200"/>
                    </a:lnTo>
                    <a:close/>
                    <a:moveTo>
                      <a:pt x="740" y="165"/>
                    </a:moveTo>
                    <a:lnTo>
                      <a:pt x="738" y="167"/>
                    </a:lnTo>
                    <a:lnTo>
                      <a:pt x="736" y="167"/>
                    </a:lnTo>
                    <a:lnTo>
                      <a:pt x="738" y="167"/>
                    </a:lnTo>
                    <a:lnTo>
                      <a:pt x="738" y="165"/>
                    </a:lnTo>
                    <a:lnTo>
                      <a:pt x="740" y="165"/>
                    </a:lnTo>
                    <a:close/>
                    <a:moveTo>
                      <a:pt x="367" y="200"/>
                    </a:moveTo>
                    <a:lnTo>
                      <a:pt x="365" y="200"/>
                    </a:lnTo>
                    <a:lnTo>
                      <a:pt x="367" y="200"/>
                    </a:lnTo>
                    <a:close/>
                    <a:moveTo>
                      <a:pt x="371" y="200"/>
                    </a:moveTo>
                    <a:lnTo>
                      <a:pt x="373" y="200"/>
                    </a:lnTo>
                    <a:lnTo>
                      <a:pt x="371" y="200"/>
                    </a:lnTo>
                    <a:lnTo>
                      <a:pt x="371" y="202"/>
                    </a:lnTo>
                    <a:lnTo>
                      <a:pt x="369" y="202"/>
                    </a:lnTo>
                    <a:lnTo>
                      <a:pt x="371" y="202"/>
                    </a:lnTo>
                    <a:lnTo>
                      <a:pt x="369" y="202"/>
                    </a:lnTo>
                    <a:lnTo>
                      <a:pt x="371" y="202"/>
                    </a:lnTo>
                    <a:lnTo>
                      <a:pt x="371" y="204"/>
                    </a:lnTo>
                    <a:lnTo>
                      <a:pt x="369" y="204"/>
                    </a:lnTo>
                    <a:lnTo>
                      <a:pt x="367" y="204"/>
                    </a:lnTo>
                    <a:lnTo>
                      <a:pt x="365" y="204"/>
                    </a:lnTo>
                    <a:lnTo>
                      <a:pt x="363" y="204"/>
                    </a:lnTo>
                    <a:lnTo>
                      <a:pt x="361" y="204"/>
                    </a:lnTo>
                    <a:lnTo>
                      <a:pt x="359" y="204"/>
                    </a:lnTo>
                    <a:lnTo>
                      <a:pt x="361" y="204"/>
                    </a:lnTo>
                    <a:lnTo>
                      <a:pt x="361" y="202"/>
                    </a:lnTo>
                    <a:lnTo>
                      <a:pt x="361" y="204"/>
                    </a:lnTo>
                    <a:lnTo>
                      <a:pt x="363" y="204"/>
                    </a:lnTo>
                    <a:lnTo>
                      <a:pt x="363" y="202"/>
                    </a:lnTo>
                    <a:lnTo>
                      <a:pt x="365" y="202"/>
                    </a:lnTo>
                    <a:lnTo>
                      <a:pt x="367" y="202"/>
                    </a:lnTo>
                    <a:lnTo>
                      <a:pt x="367" y="204"/>
                    </a:lnTo>
                    <a:lnTo>
                      <a:pt x="367" y="202"/>
                    </a:lnTo>
                    <a:lnTo>
                      <a:pt x="369" y="202"/>
                    </a:lnTo>
                    <a:lnTo>
                      <a:pt x="367" y="202"/>
                    </a:lnTo>
                    <a:lnTo>
                      <a:pt x="369" y="202"/>
                    </a:lnTo>
                    <a:lnTo>
                      <a:pt x="367" y="202"/>
                    </a:lnTo>
                    <a:lnTo>
                      <a:pt x="367" y="200"/>
                    </a:lnTo>
                    <a:lnTo>
                      <a:pt x="367" y="202"/>
                    </a:lnTo>
                    <a:lnTo>
                      <a:pt x="369" y="200"/>
                    </a:lnTo>
                    <a:lnTo>
                      <a:pt x="369" y="202"/>
                    </a:lnTo>
                    <a:lnTo>
                      <a:pt x="369" y="200"/>
                    </a:lnTo>
                    <a:lnTo>
                      <a:pt x="371" y="200"/>
                    </a:lnTo>
                    <a:close/>
                    <a:moveTo>
                      <a:pt x="403" y="200"/>
                    </a:moveTo>
                    <a:lnTo>
                      <a:pt x="405" y="200"/>
                    </a:lnTo>
                    <a:lnTo>
                      <a:pt x="405" y="202"/>
                    </a:lnTo>
                    <a:lnTo>
                      <a:pt x="403" y="202"/>
                    </a:lnTo>
                    <a:lnTo>
                      <a:pt x="403" y="204"/>
                    </a:lnTo>
                    <a:lnTo>
                      <a:pt x="403" y="206"/>
                    </a:lnTo>
                    <a:lnTo>
                      <a:pt x="405" y="206"/>
                    </a:lnTo>
                    <a:lnTo>
                      <a:pt x="403" y="206"/>
                    </a:lnTo>
                    <a:lnTo>
                      <a:pt x="403" y="204"/>
                    </a:lnTo>
                    <a:lnTo>
                      <a:pt x="403" y="202"/>
                    </a:lnTo>
                    <a:lnTo>
                      <a:pt x="401" y="202"/>
                    </a:lnTo>
                    <a:lnTo>
                      <a:pt x="401" y="200"/>
                    </a:lnTo>
                    <a:lnTo>
                      <a:pt x="403" y="200"/>
                    </a:lnTo>
                    <a:close/>
                    <a:moveTo>
                      <a:pt x="401" y="196"/>
                    </a:moveTo>
                    <a:lnTo>
                      <a:pt x="403" y="196"/>
                    </a:lnTo>
                    <a:lnTo>
                      <a:pt x="405" y="196"/>
                    </a:lnTo>
                    <a:lnTo>
                      <a:pt x="407" y="196"/>
                    </a:lnTo>
                    <a:lnTo>
                      <a:pt x="407" y="198"/>
                    </a:lnTo>
                    <a:lnTo>
                      <a:pt x="405" y="198"/>
                    </a:lnTo>
                    <a:lnTo>
                      <a:pt x="407" y="198"/>
                    </a:lnTo>
                    <a:lnTo>
                      <a:pt x="405" y="198"/>
                    </a:lnTo>
                    <a:lnTo>
                      <a:pt x="403" y="198"/>
                    </a:lnTo>
                    <a:lnTo>
                      <a:pt x="401" y="198"/>
                    </a:lnTo>
                    <a:lnTo>
                      <a:pt x="401" y="196"/>
                    </a:lnTo>
                    <a:lnTo>
                      <a:pt x="399" y="198"/>
                    </a:lnTo>
                    <a:lnTo>
                      <a:pt x="399" y="196"/>
                    </a:lnTo>
                    <a:lnTo>
                      <a:pt x="401" y="196"/>
                    </a:lnTo>
                    <a:close/>
                    <a:moveTo>
                      <a:pt x="396" y="196"/>
                    </a:moveTo>
                    <a:lnTo>
                      <a:pt x="396" y="198"/>
                    </a:lnTo>
                    <a:lnTo>
                      <a:pt x="394" y="198"/>
                    </a:lnTo>
                    <a:lnTo>
                      <a:pt x="394" y="196"/>
                    </a:lnTo>
                    <a:lnTo>
                      <a:pt x="396" y="196"/>
                    </a:lnTo>
                    <a:close/>
                    <a:moveTo>
                      <a:pt x="411" y="196"/>
                    </a:moveTo>
                    <a:lnTo>
                      <a:pt x="411" y="198"/>
                    </a:lnTo>
                    <a:lnTo>
                      <a:pt x="413" y="196"/>
                    </a:lnTo>
                    <a:lnTo>
                      <a:pt x="413" y="198"/>
                    </a:lnTo>
                    <a:lnTo>
                      <a:pt x="413" y="196"/>
                    </a:lnTo>
                    <a:lnTo>
                      <a:pt x="413" y="198"/>
                    </a:lnTo>
                    <a:lnTo>
                      <a:pt x="415" y="198"/>
                    </a:lnTo>
                    <a:lnTo>
                      <a:pt x="413" y="200"/>
                    </a:lnTo>
                    <a:lnTo>
                      <a:pt x="411" y="200"/>
                    </a:lnTo>
                    <a:lnTo>
                      <a:pt x="411" y="198"/>
                    </a:lnTo>
                    <a:lnTo>
                      <a:pt x="411" y="200"/>
                    </a:lnTo>
                    <a:lnTo>
                      <a:pt x="409" y="200"/>
                    </a:lnTo>
                    <a:lnTo>
                      <a:pt x="409" y="202"/>
                    </a:lnTo>
                    <a:lnTo>
                      <a:pt x="407" y="202"/>
                    </a:lnTo>
                    <a:lnTo>
                      <a:pt x="407" y="204"/>
                    </a:lnTo>
                    <a:lnTo>
                      <a:pt x="409" y="204"/>
                    </a:lnTo>
                    <a:lnTo>
                      <a:pt x="407" y="202"/>
                    </a:lnTo>
                    <a:lnTo>
                      <a:pt x="409" y="202"/>
                    </a:lnTo>
                    <a:lnTo>
                      <a:pt x="411" y="200"/>
                    </a:lnTo>
                    <a:lnTo>
                      <a:pt x="411" y="202"/>
                    </a:lnTo>
                    <a:lnTo>
                      <a:pt x="413" y="202"/>
                    </a:lnTo>
                    <a:lnTo>
                      <a:pt x="411" y="202"/>
                    </a:lnTo>
                    <a:lnTo>
                      <a:pt x="409" y="202"/>
                    </a:lnTo>
                    <a:lnTo>
                      <a:pt x="409" y="204"/>
                    </a:lnTo>
                    <a:lnTo>
                      <a:pt x="407" y="204"/>
                    </a:lnTo>
                    <a:lnTo>
                      <a:pt x="405" y="204"/>
                    </a:lnTo>
                    <a:lnTo>
                      <a:pt x="405" y="202"/>
                    </a:lnTo>
                    <a:lnTo>
                      <a:pt x="407" y="202"/>
                    </a:lnTo>
                    <a:lnTo>
                      <a:pt x="407" y="200"/>
                    </a:lnTo>
                    <a:lnTo>
                      <a:pt x="409" y="200"/>
                    </a:lnTo>
                    <a:lnTo>
                      <a:pt x="409" y="198"/>
                    </a:lnTo>
                    <a:lnTo>
                      <a:pt x="411" y="198"/>
                    </a:lnTo>
                    <a:lnTo>
                      <a:pt x="411" y="196"/>
                    </a:lnTo>
                    <a:lnTo>
                      <a:pt x="411" y="198"/>
                    </a:lnTo>
                    <a:lnTo>
                      <a:pt x="409" y="198"/>
                    </a:lnTo>
                    <a:lnTo>
                      <a:pt x="409" y="196"/>
                    </a:lnTo>
                    <a:lnTo>
                      <a:pt x="411" y="196"/>
                    </a:lnTo>
                    <a:close/>
                    <a:moveTo>
                      <a:pt x="519" y="192"/>
                    </a:moveTo>
                    <a:lnTo>
                      <a:pt x="517" y="192"/>
                    </a:lnTo>
                    <a:lnTo>
                      <a:pt x="517" y="190"/>
                    </a:lnTo>
                    <a:lnTo>
                      <a:pt x="519" y="190"/>
                    </a:lnTo>
                    <a:lnTo>
                      <a:pt x="519" y="192"/>
                    </a:lnTo>
                    <a:close/>
                    <a:moveTo>
                      <a:pt x="363" y="196"/>
                    </a:moveTo>
                    <a:lnTo>
                      <a:pt x="361" y="196"/>
                    </a:lnTo>
                    <a:lnTo>
                      <a:pt x="363" y="196"/>
                    </a:lnTo>
                    <a:close/>
                    <a:moveTo>
                      <a:pt x="373" y="196"/>
                    </a:moveTo>
                    <a:lnTo>
                      <a:pt x="373" y="194"/>
                    </a:lnTo>
                    <a:lnTo>
                      <a:pt x="373" y="196"/>
                    </a:lnTo>
                    <a:close/>
                    <a:moveTo>
                      <a:pt x="409" y="194"/>
                    </a:moveTo>
                    <a:lnTo>
                      <a:pt x="409" y="196"/>
                    </a:lnTo>
                    <a:lnTo>
                      <a:pt x="409" y="194"/>
                    </a:lnTo>
                    <a:lnTo>
                      <a:pt x="407" y="194"/>
                    </a:lnTo>
                    <a:lnTo>
                      <a:pt x="409" y="194"/>
                    </a:lnTo>
                    <a:close/>
                    <a:moveTo>
                      <a:pt x="741" y="160"/>
                    </a:moveTo>
                    <a:lnTo>
                      <a:pt x="743" y="160"/>
                    </a:lnTo>
                    <a:lnTo>
                      <a:pt x="741" y="160"/>
                    </a:lnTo>
                    <a:close/>
                    <a:moveTo>
                      <a:pt x="374" y="194"/>
                    </a:moveTo>
                    <a:lnTo>
                      <a:pt x="376" y="194"/>
                    </a:lnTo>
                    <a:lnTo>
                      <a:pt x="374" y="194"/>
                    </a:lnTo>
                    <a:close/>
                    <a:moveTo>
                      <a:pt x="741" y="160"/>
                    </a:moveTo>
                    <a:lnTo>
                      <a:pt x="740" y="160"/>
                    </a:lnTo>
                    <a:lnTo>
                      <a:pt x="741" y="160"/>
                    </a:lnTo>
                    <a:lnTo>
                      <a:pt x="740" y="160"/>
                    </a:lnTo>
                    <a:lnTo>
                      <a:pt x="741" y="160"/>
                    </a:lnTo>
                    <a:close/>
                    <a:moveTo>
                      <a:pt x="371" y="194"/>
                    </a:moveTo>
                    <a:lnTo>
                      <a:pt x="369" y="194"/>
                    </a:lnTo>
                    <a:lnTo>
                      <a:pt x="371" y="194"/>
                    </a:lnTo>
                    <a:close/>
                    <a:moveTo>
                      <a:pt x="421" y="192"/>
                    </a:moveTo>
                    <a:lnTo>
                      <a:pt x="419" y="192"/>
                    </a:lnTo>
                    <a:lnTo>
                      <a:pt x="421" y="192"/>
                    </a:lnTo>
                    <a:lnTo>
                      <a:pt x="419" y="192"/>
                    </a:lnTo>
                    <a:lnTo>
                      <a:pt x="421" y="192"/>
                    </a:lnTo>
                    <a:close/>
                    <a:moveTo>
                      <a:pt x="740" y="158"/>
                    </a:moveTo>
                    <a:lnTo>
                      <a:pt x="740" y="160"/>
                    </a:lnTo>
                    <a:lnTo>
                      <a:pt x="740" y="162"/>
                    </a:lnTo>
                    <a:lnTo>
                      <a:pt x="740" y="160"/>
                    </a:lnTo>
                    <a:lnTo>
                      <a:pt x="741" y="160"/>
                    </a:lnTo>
                    <a:lnTo>
                      <a:pt x="741" y="162"/>
                    </a:lnTo>
                    <a:lnTo>
                      <a:pt x="741" y="160"/>
                    </a:lnTo>
                    <a:lnTo>
                      <a:pt x="741" y="162"/>
                    </a:lnTo>
                    <a:lnTo>
                      <a:pt x="743" y="160"/>
                    </a:lnTo>
                    <a:lnTo>
                      <a:pt x="743" y="162"/>
                    </a:lnTo>
                    <a:lnTo>
                      <a:pt x="741" y="162"/>
                    </a:lnTo>
                    <a:lnTo>
                      <a:pt x="740" y="162"/>
                    </a:lnTo>
                    <a:lnTo>
                      <a:pt x="738" y="162"/>
                    </a:lnTo>
                    <a:lnTo>
                      <a:pt x="738" y="160"/>
                    </a:lnTo>
                    <a:lnTo>
                      <a:pt x="738" y="158"/>
                    </a:lnTo>
                    <a:lnTo>
                      <a:pt x="740" y="158"/>
                    </a:lnTo>
                    <a:close/>
                    <a:moveTo>
                      <a:pt x="738" y="160"/>
                    </a:moveTo>
                    <a:lnTo>
                      <a:pt x="738" y="158"/>
                    </a:lnTo>
                    <a:lnTo>
                      <a:pt x="738" y="160"/>
                    </a:lnTo>
                    <a:close/>
                    <a:moveTo>
                      <a:pt x="380" y="192"/>
                    </a:moveTo>
                    <a:lnTo>
                      <a:pt x="378" y="192"/>
                    </a:lnTo>
                    <a:lnTo>
                      <a:pt x="380" y="192"/>
                    </a:lnTo>
                    <a:close/>
                    <a:moveTo>
                      <a:pt x="738" y="158"/>
                    </a:moveTo>
                    <a:lnTo>
                      <a:pt x="740" y="158"/>
                    </a:lnTo>
                    <a:lnTo>
                      <a:pt x="738" y="158"/>
                    </a:lnTo>
                    <a:close/>
                    <a:moveTo>
                      <a:pt x="726" y="160"/>
                    </a:moveTo>
                    <a:lnTo>
                      <a:pt x="728" y="160"/>
                    </a:lnTo>
                    <a:lnTo>
                      <a:pt x="728" y="162"/>
                    </a:lnTo>
                    <a:lnTo>
                      <a:pt x="728" y="163"/>
                    </a:lnTo>
                    <a:lnTo>
                      <a:pt x="726" y="163"/>
                    </a:lnTo>
                    <a:lnTo>
                      <a:pt x="726" y="162"/>
                    </a:lnTo>
                    <a:lnTo>
                      <a:pt x="726" y="163"/>
                    </a:lnTo>
                    <a:lnTo>
                      <a:pt x="724" y="162"/>
                    </a:lnTo>
                    <a:lnTo>
                      <a:pt x="724" y="163"/>
                    </a:lnTo>
                    <a:lnTo>
                      <a:pt x="724" y="162"/>
                    </a:lnTo>
                    <a:lnTo>
                      <a:pt x="726" y="162"/>
                    </a:lnTo>
                    <a:lnTo>
                      <a:pt x="726" y="160"/>
                    </a:lnTo>
                    <a:close/>
                    <a:moveTo>
                      <a:pt x="374" y="192"/>
                    </a:moveTo>
                    <a:lnTo>
                      <a:pt x="373" y="192"/>
                    </a:lnTo>
                    <a:lnTo>
                      <a:pt x="374" y="192"/>
                    </a:lnTo>
                    <a:lnTo>
                      <a:pt x="373" y="192"/>
                    </a:lnTo>
                    <a:lnTo>
                      <a:pt x="373" y="194"/>
                    </a:lnTo>
                    <a:lnTo>
                      <a:pt x="371" y="194"/>
                    </a:lnTo>
                    <a:lnTo>
                      <a:pt x="371" y="192"/>
                    </a:lnTo>
                    <a:lnTo>
                      <a:pt x="373" y="192"/>
                    </a:lnTo>
                    <a:lnTo>
                      <a:pt x="374" y="192"/>
                    </a:lnTo>
                    <a:close/>
                    <a:moveTo>
                      <a:pt x="378" y="190"/>
                    </a:moveTo>
                    <a:lnTo>
                      <a:pt x="378" y="192"/>
                    </a:lnTo>
                    <a:lnTo>
                      <a:pt x="380" y="192"/>
                    </a:lnTo>
                    <a:lnTo>
                      <a:pt x="378" y="192"/>
                    </a:lnTo>
                    <a:lnTo>
                      <a:pt x="380" y="192"/>
                    </a:lnTo>
                    <a:lnTo>
                      <a:pt x="378" y="192"/>
                    </a:lnTo>
                    <a:lnTo>
                      <a:pt x="378" y="190"/>
                    </a:lnTo>
                    <a:close/>
                    <a:moveTo>
                      <a:pt x="736" y="158"/>
                    </a:moveTo>
                    <a:lnTo>
                      <a:pt x="738" y="158"/>
                    </a:lnTo>
                    <a:lnTo>
                      <a:pt x="736" y="158"/>
                    </a:lnTo>
                    <a:lnTo>
                      <a:pt x="734" y="158"/>
                    </a:lnTo>
                    <a:lnTo>
                      <a:pt x="736" y="158"/>
                    </a:lnTo>
                    <a:close/>
                    <a:moveTo>
                      <a:pt x="384" y="188"/>
                    </a:moveTo>
                    <a:lnTo>
                      <a:pt x="382" y="188"/>
                    </a:lnTo>
                    <a:lnTo>
                      <a:pt x="382" y="187"/>
                    </a:lnTo>
                    <a:lnTo>
                      <a:pt x="384" y="187"/>
                    </a:lnTo>
                    <a:lnTo>
                      <a:pt x="384" y="188"/>
                    </a:lnTo>
                    <a:close/>
                    <a:moveTo>
                      <a:pt x="378" y="190"/>
                    </a:moveTo>
                    <a:lnTo>
                      <a:pt x="378" y="188"/>
                    </a:lnTo>
                    <a:lnTo>
                      <a:pt x="378" y="187"/>
                    </a:lnTo>
                    <a:lnTo>
                      <a:pt x="380" y="187"/>
                    </a:lnTo>
                    <a:lnTo>
                      <a:pt x="380" y="188"/>
                    </a:lnTo>
                    <a:lnTo>
                      <a:pt x="378" y="188"/>
                    </a:lnTo>
                    <a:lnTo>
                      <a:pt x="378" y="190"/>
                    </a:lnTo>
                    <a:close/>
                    <a:moveTo>
                      <a:pt x="392" y="188"/>
                    </a:moveTo>
                    <a:lnTo>
                      <a:pt x="392" y="187"/>
                    </a:lnTo>
                    <a:lnTo>
                      <a:pt x="394" y="187"/>
                    </a:lnTo>
                    <a:lnTo>
                      <a:pt x="392" y="187"/>
                    </a:lnTo>
                    <a:lnTo>
                      <a:pt x="394" y="187"/>
                    </a:lnTo>
                    <a:lnTo>
                      <a:pt x="392" y="187"/>
                    </a:lnTo>
                    <a:lnTo>
                      <a:pt x="392" y="188"/>
                    </a:lnTo>
                    <a:close/>
                    <a:moveTo>
                      <a:pt x="401" y="187"/>
                    </a:moveTo>
                    <a:lnTo>
                      <a:pt x="399" y="187"/>
                    </a:lnTo>
                    <a:lnTo>
                      <a:pt x="401" y="187"/>
                    </a:lnTo>
                    <a:close/>
                    <a:moveTo>
                      <a:pt x="396" y="187"/>
                    </a:moveTo>
                    <a:lnTo>
                      <a:pt x="396" y="188"/>
                    </a:lnTo>
                    <a:lnTo>
                      <a:pt x="394" y="187"/>
                    </a:lnTo>
                    <a:lnTo>
                      <a:pt x="396" y="187"/>
                    </a:lnTo>
                    <a:lnTo>
                      <a:pt x="394" y="187"/>
                    </a:lnTo>
                    <a:lnTo>
                      <a:pt x="396" y="187"/>
                    </a:lnTo>
                    <a:close/>
                    <a:moveTo>
                      <a:pt x="373" y="187"/>
                    </a:moveTo>
                    <a:lnTo>
                      <a:pt x="371" y="187"/>
                    </a:lnTo>
                    <a:lnTo>
                      <a:pt x="373" y="187"/>
                    </a:lnTo>
                    <a:close/>
                    <a:moveTo>
                      <a:pt x="365" y="187"/>
                    </a:moveTo>
                    <a:lnTo>
                      <a:pt x="363" y="187"/>
                    </a:lnTo>
                    <a:lnTo>
                      <a:pt x="365" y="185"/>
                    </a:lnTo>
                    <a:lnTo>
                      <a:pt x="365" y="187"/>
                    </a:lnTo>
                    <a:close/>
                    <a:moveTo>
                      <a:pt x="351" y="185"/>
                    </a:moveTo>
                    <a:lnTo>
                      <a:pt x="351" y="187"/>
                    </a:lnTo>
                    <a:lnTo>
                      <a:pt x="353" y="187"/>
                    </a:lnTo>
                    <a:lnTo>
                      <a:pt x="355" y="187"/>
                    </a:lnTo>
                    <a:lnTo>
                      <a:pt x="357" y="187"/>
                    </a:lnTo>
                    <a:lnTo>
                      <a:pt x="359" y="187"/>
                    </a:lnTo>
                    <a:lnTo>
                      <a:pt x="359" y="188"/>
                    </a:lnTo>
                    <a:lnTo>
                      <a:pt x="357" y="188"/>
                    </a:lnTo>
                    <a:lnTo>
                      <a:pt x="357" y="187"/>
                    </a:lnTo>
                    <a:lnTo>
                      <a:pt x="355" y="187"/>
                    </a:lnTo>
                    <a:lnTo>
                      <a:pt x="353" y="187"/>
                    </a:lnTo>
                    <a:lnTo>
                      <a:pt x="351" y="187"/>
                    </a:lnTo>
                    <a:lnTo>
                      <a:pt x="350" y="187"/>
                    </a:lnTo>
                    <a:lnTo>
                      <a:pt x="350" y="185"/>
                    </a:lnTo>
                    <a:lnTo>
                      <a:pt x="351" y="185"/>
                    </a:lnTo>
                    <a:close/>
                    <a:moveTo>
                      <a:pt x="423" y="185"/>
                    </a:moveTo>
                    <a:lnTo>
                      <a:pt x="424" y="185"/>
                    </a:lnTo>
                    <a:lnTo>
                      <a:pt x="423" y="185"/>
                    </a:lnTo>
                    <a:close/>
                    <a:moveTo>
                      <a:pt x="722" y="154"/>
                    </a:moveTo>
                    <a:lnTo>
                      <a:pt x="724" y="154"/>
                    </a:lnTo>
                    <a:lnTo>
                      <a:pt x="722" y="154"/>
                    </a:lnTo>
                    <a:lnTo>
                      <a:pt x="724" y="154"/>
                    </a:lnTo>
                    <a:lnTo>
                      <a:pt x="722" y="154"/>
                    </a:lnTo>
                    <a:close/>
                    <a:moveTo>
                      <a:pt x="722" y="152"/>
                    </a:moveTo>
                    <a:lnTo>
                      <a:pt x="720" y="152"/>
                    </a:lnTo>
                    <a:lnTo>
                      <a:pt x="722" y="152"/>
                    </a:lnTo>
                    <a:close/>
                    <a:moveTo>
                      <a:pt x="351" y="183"/>
                    </a:moveTo>
                    <a:lnTo>
                      <a:pt x="351" y="185"/>
                    </a:lnTo>
                    <a:lnTo>
                      <a:pt x="351" y="183"/>
                    </a:lnTo>
                    <a:close/>
                    <a:moveTo>
                      <a:pt x="709" y="154"/>
                    </a:moveTo>
                    <a:lnTo>
                      <a:pt x="709" y="156"/>
                    </a:lnTo>
                    <a:lnTo>
                      <a:pt x="707" y="156"/>
                    </a:lnTo>
                    <a:lnTo>
                      <a:pt x="709" y="154"/>
                    </a:lnTo>
                    <a:close/>
                    <a:moveTo>
                      <a:pt x="718" y="152"/>
                    </a:moveTo>
                    <a:lnTo>
                      <a:pt x="720" y="152"/>
                    </a:lnTo>
                    <a:lnTo>
                      <a:pt x="718" y="152"/>
                    </a:lnTo>
                    <a:lnTo>
                      <a:pt x="720" y="152"/>
                    </a:lnTo>
                    <a:lnTo>
                      <a:pt x="718" y="152"/>
                    </a:lnTo>
                    <a:lnTo>
                      <a:pt x="718" y="154"/>
                    </a:lnTo>
                    <a:lnTo>
                      <a:pt x="720" y="152"/>
                    </a:lnTo>
                    <a:lnTo>
                      <a:pt x="720" y="154"/>
                    </a:lnTo>
                    <a:lnTo>
                      <a:pt x="720" y="152"/>
                    </a:lnTo>
                    <a:lnTo>
                      <a:pt x="720" y="154"/>
                    </a:lnTo>
                    <a:lnTo>
                      <a:pt x="718" y="154"/>
                    </a:lnTo>
                    <a:lnTo>
                      <a:pt x="720" y="154"/>
                    </a:lnTo>
                    <a:lnTo>
                      <a:pt x="718" y="154"/>
                    </a:lnTo>
                    <a:lnTo>
                      <a:pt x="716" y="154"/>
                    </a:lnTo>
                    <a:lnTo>
                      <a:pt x="718" y="154"/>
                    </a:lnTo>
                    <a:lnTo>
                      <a:pt x="718" y="152"/>
                    </a:lnTo>
                    <a:lnTo>
                      <a:pt x="716" y="152"/>
                    </a:lnTo>
                    <a:lnTo>
                      <a:pt x="718" y="152"/>
                    </a:lnTo>
                    <a:close/>
                    <a:moveTo>
                      <a:pt x="359" y="183"/>
                    </a:moveTo>
                    <a:lnTo>
                      <a:pt x="361" y="183"/>
                    </a:lnTo>
                    <a:lnTo>
                      <a:pt x="361" y="185"/>
                    </a:lnTo>
                    <a:lnTo>
                      <a:pt x="363" y="185"/>
                    </a:lnTo>
                    <a:lnTo>
                      <a:pt x="361" y="185"/>
                    </a:lnTo>
                    <a:lnTo>
                      <a:pt x="359" y="185"/>
                    </a:lnTo>
                    <a:lnTo>
                      <a:pt x="357" y="185"/>
                    </a:lnTo>
                    <a:lnTo>
                      <a:pt x="357" y="183"/>
                    </a:lnTo>
                    <a:lnTo>
                      <a:pt x="359" y="183"/>
                    </a:lnTo>
                    <a:close/>
                    <a:moveTo>
                      <a:pt x="365" y="183"/>
                    </a:moveTo>
                    <a:lnTo>
                      <a:pt x="365" y="185"/>
                    </a:lnTo>
                    <a:lnTo>
                      <a:pt x="365" y="183"/>
                    </a:lnTo>
                    <a:lnTo>
                      <a:pt x="363" y="185"/>
                    </a:lnTo>
                    <a:lnTo>
                      <a:pt x="363" y="183"/>
                    </a:lnTo>
                    <a:lnTo>
                      <a:pt x="365" y="183"/>
                    </a:lnTo>
                    <a:lnTo>
                      <a:pt x="367" y="183"/>
                    </a:lnTo>
                    <a:lnTo>
                      <a:pt x="365" y="183"/>
                    </a:lnTo>
                    <a:close/>
                    <a:moveTo>
                      <a:pt x="642" y="163"/>
                    </a:moveTo>
                    <a:lnTo>
                      <a:pt x="640" y="163"/>
                    </a:lnTo>
                    <a:lnTo>
                      <a:pt x="640" y="165"/>
                    </a:lnTo>
                    <a:lnTo>
                      <a:pt x="640" y="163"/>
                    </a:lnTo>
                    <a:lnTo>
                      <a:pt x="642" y="163"/>
                    </a:lnTo>
                    <a:close/>
                    <a:moveTo>
                      <a:pt x="423" y="181"/>
                    </a:moveTo>
                    <a:lnTo>
                      <a:pt x="423" y="183"/>
                    </a:lnTo>
                    <a:lnTo>
                      <a:pt x="423" y="181"/>
                    </a:lnTo>
                    <a:close/>
                    <a:moveTo>
                      <a:pt x="403" y="181"/>
                    </a:moveTo>
                    <a:lnTo>
                      <a:pt x="401" y="181"/>
                    </a:lnTo>
                    <a:lnTo>
                      <a:pt x="403" y="181"/>
                    </a:lnTo>
                    <a:close/>
                    <a:moveTo>
                      <a:pt x="382" y="181"/>
                    </a:moveTo>
                    <a:lnTo>
                      <a:pt x="382" y="183"/>
                    </a:lnTo>
                    <a:lnTo>
                      <a:pt x="384" y="183"/>
                    </a:lnTo>
                    <a:lnTo>
                      <a:pt x="386" y="183"/>
                    </a:lnTo>
                    <a:lnTo>
                      <a:pt x="386" y="181"/>
                    </a:lnTo>
                    <a:lnTo>
                      <a:pt x="384" y="181"/>
                    </a:lnTo>
                    <a:lnTo>
                      <a:pt x="386" y="181"/>
                    </a:lnTo>
                    <a:lnTo>
                      <a:pt x="388" y="183"/>
                    </a:lnTo>
                    <a:lnTo>
                      <a:pt x="388" y="181"/>
                    </a:lnTo>
                    <a:lnTo>
                      <a:pt x="388" y="183"/>
                    </a:lnTo>
                    <a:lnTo>
                      <a:pt x="386" y="183"/>
                    </a:lnTo>
                    <a:lnTo>
                      <a:pt x="384" y="183"/>
                    </a:lnTo>
                    <a:lnTo>
                      <a:pt x="384" y="185"/>
                    </a:lnTo>
                    <a:lnTo>
                      <a:pt x="384" y="183"/>
                    </a:lnTo>
                    <a:lnTo>
                      <a:pt x="384" y="185"/>
                    </a:lnTo>
                    <a:lnTo>
                      <a:pt x="382" y="185"/>
                    </a:lnTo>
                    <a:lnTo>
                      <a:pt x="382" y="183"/>
                    </a:lnTo>
                    <a:lnTo>
                      <a:pt x="380" y="183"/>
                    </a:lnTo>
                    <a:lnTo>
                      <a:pt x="380" y="181"/>
                    </a:lnTo>
                    <a:lnTo>
                      <a:pt x="382" y="181"/>
                    </a:lnTo>
                    <a:close/>
                    <a:moveTo>
                      <a:pt x="361" y="181"/>
                    </a:moveTo>
                    <a:lnTo>
                      <a:pt x="363" y="181"/>
                    </a:lnTo>
                    <a:lnTo>
                      <a:pt x="361" y="181"/>
                    </a:lnTo>
                    <a:lnTo>
                      <a:pt x="361" y="183"/>
                    </a:lnTo>
                    <a:lnTo>
                      <a:pt x="359" y="183"/>
                    </a:lnTo>
                    <a:lnTo>
                      <a:pt x="359" y="181"/>
                    </a:lnTo>
                    <a:lnTo>
                      <a:pt x="361" y="181"/>
                    </a:lnTo>
                    <a:close/>
                    <a:moveTo>
                      <a:pt x="396" y="181"/>
                    </a:moveTo>
                    <a:lnTo>
                      <a:pt x="398" y="181"/>
                    </a:lnTo>
                    <a:lnTo>
                      <a:pt x="399" y="181"/>
                    </a:lnTo>
                    <a:lnTo>
                      <a:pt x="401" y="181"/>
                    </a:lnTo>
                    <a:lnTo>
                      <a:pt x="399" y="181"/>
                    </a:lnTo>
                    <a:lnTo>
                      <a:pt x="399" y="183"/>
                    </a:lnTo>
                    <a:lnTo>
                      <a:pt x="398" y="183"/>
                    </a:lnTo>
                    <a:lnTo>
                      <a:pt x="398" y="185"/>
                    </a:lnTo>
                    <a:lnTo>
                      <a:pt x="396" y="185"/>
                    </a:lnTo>
                    <a:lnTo>
                      <a:pt x="396" y="187"/>
                    </a:lnTo>
                    <a:lnTo>
                      <a:pt x="396" y="185"/>
                    </a:lnTo>
                    <a:lnTo>
                      <a:pt x="394" y="185"/>
                    </a:lnTo>
                    <a:lnTo>
                      <a:pt x="392" y="185"/>
                    </a:lnTo>
                    <a:lnTo>
                      <a:pt x="394" y="185"/>
                    </a:lnTo>
                    <a:lnTo>
                      <a:pt x="392" y="185"/>
                    </a:lnTo>
                    <a:lnTo>
                      <a:pt x="390" y="185"/>
                    </a:lnTo>
                    <a:lnTo>
                      <a:pt x="390" y="187"/>
                    </a:lnTo>
                    <a:lnTo>
                      <a:pt x="388" y="185"/>
                    </a:lnTo>
                    <a:lnTo>
                      <a:pt x="390" y="185"/>
                    </a:lnTo>
                    <a:lnTo>
                      <a:pt x="390" y="183"/>
                    </a:lnTo>
                    <a:lnTo>
                      <a:pt x="392" y="183"/>
                    </a:lnTo>
                    <a:lnTo>
                      <a:pt x="394" y="183"/>
                    </a:lnTo>
                    <a:lnTo>
                      <a:pt x="394" y="181"/>
                    </a:lnTo>
                    <a:lnTo>
                      <a:pt x="396" y="181"/>
                    </a:lnTo>
                    <a:close/>
                    <a:moveTo>
                      <a:pt x="703" y="152"/>
                    </a:moveTo>
                    <a:lnTo>
                      <a:pt x="705" y="154"/>
                    </a:lnTo>
                    <a:lnTo>
                      <a:pt x="703" y="152"/>
                    </a:lnTo>
                    <a:close/>
                    <a:moveTo>
                      <a:pt x="376" y="183"/>
                    </a:moveTo>
                    <a:lnTo>
                      <a:pt x="378" y="183"/>
                    </a:lnTo>
                    <a:lnTo>
                      <a:pt x="380" y="183"/>
                    </a:lnTo>
                    <a:lnTo>
                      <a:pt x="378" y="185"/>
                    </a:lnTo>
                    <a:lnTo>
                      <a:pt x="376" y="185"/>
                    </a:lnTo>
                    <a:lnTo>
                      <a:pt x="374" y="185"/>
                    </a:lnTo>
                    <a:lnTo>
                      <a:pt x="373" y="185"/>
                    </a:lnTo>
                    <a:lnTo>
                      <a:pt x="371" y="185"/>
                    </a:lnTo>
                    <a:lnTo>
                      <a:pt x="369" y="185"/>
                    </a:lnTo>
                    <a:lnTo>
                      <a:pt x="367" y="185"/>
                    </a:lnTo>
                    <a:lnTo>
                      <a:pt x="369" y="183"/>
                    </a:lnTo>
                    <a:lnTo>
                      <a:pt x="371" y="183"/>
                    </a:lnTo>
                    <a:lnTo>
                      <a:pt x="373" y="183"/>
                    </a:lnTo>
                    <a:lnTo>
                      <a:pt x="374" y="183"/>
                    </a:lnTo>
                    <a:lnTo>
                      <a:pt x="373" y="183"/>
                    </a:lnTo>
                    <a:lnTo>
                      <a:pt x="374" y="181"/>
                    </a:lnTo>
                    <a:lnTo>
                      <a:pt x="376" y="181"/>
                    </a:lnTo>
                    <a:lnTo>
                      <a:pt x="376" y="183"/>
                    </a:lnTo>
                    <a:close/>
                    <a:moveTo>
                      <a:pt x="367" y="181"/>
                    </a:moveTo>
                    <a:lnTo>
                      <a:pt x="365" y="181"/>
                    </a:lnTo>
                    <a:lnTo>
                      <a:pt x="367" y="181"/>
                    </a:lnTo>
                    <a:close/>
                    <a:moveTo>
                      <a:pt x="672" y="158"/>
                    </a:moveTo>
                    <a:lnTo>
                      <a:pt x="674" y="158"/>
                    </a:lnTo>
                    <a:lnTo>
                      <a:pt x="672" y="158"/>
                    </a:lnTo>
                    <a:close/>
                    <a:moveTo>
                      <a:pt x="373" y="179"/>
                    </a:moveTo>
                    <a:lnTo>
                      <a:pt x="373" y="181"/>
                    </a:lnTo>
                    <a:lnTo>
                      <a:pt x="373" y="179"/>
                    </a:lnTo>
                    <a:close/>
                    <a:moveTo>
                      <a:pt x="421" y="179"/>
                    </a:moveTo>
                    <a:lnTo>
                      <a:pt x="421" y="181"/>
                    </a:lnTo>
                    <a:lnTo>
                      <a:pt x="421" y="183"/>
                    </a:lnTo>
                    <a:lnTo>
                      <a:pt x="421" y="181"/>
                    </a:lnTo>
                    <a:lnTo>
                      <a:pt x="421" y="183"/>
                    </a:lnTo>
                    <a:lnTo>
                      <a:pt x="421" y="185"/>
                    </a:lnTo>
                    <a:lnTo>
                      <a:pt x="423" y="185"/>
                    </a:lnTo>
                    <a:lnTo>
                      <a:pt x="421" y="185"/>
                    </a:lnTo>
                    <a:lnTo>
                      <a:pt x="419" y="185"/>
                    </a:lnTo>
                    <a:lnTo>
                      <a:pt x="421" y="183"/>
                    </a:lnTo>
                    <a:lnTo>
                      <a:pt x="421" y="185"/>
                    </a:lnTo>
                    <a:lnTo>
                      <a:pt x="421" y="183"/>
                    </a:lnTo>
                    <a:lnTo>
                      <a:pt x="421" y="181"/>
                    </a:lnTo>
                    <a:lnTo>
                      <a:pt x="419" y="181"/>
                    </a:lnTo>
                    <a:lnTo>
                      <a:pt x="417" y="181"/>
                    </a:lnTo>
                    <a:lnTo>
                      <a:pt x="419" y="181"/>
                    </a:lnTo>
                    <a:lnTo>
                      <a:pt x="421" y="181"/>
                    </a:lnTo>
                    <a:lnTo>
                      <a:pt x="419" y="181"/>
                    </a:lnTo>
                    <a:lnTo>
                      <a:pt x="421" y="181"/>
                    </a:lnTo>
                    <a:lnTo>
                      <a:pt x="421" y="179"/>
                    </a:lnTo>
                    <a:lnTo>
                      <a:pt x="419" y="179"/>
                    </a:lnTo>
                    <a:lnTo>
                      <a:pt x="421" y="179"/>
                    </a:lnTo>
                    <a:close/>
                    <a:moveTo>
                      <a:pt x="392" y="179"/>
                    </a:moveTo>
                    <a:lnTo>
                      <a:pt x="394" y="179"/>
                    </a:lnTo>
                    <a:lnTo>
                      <a:pt x="394" y="181"/>
                    </a:lnTo>
                    <a:lnTo>
                      <a:pt x="392" y="181"/>
                    </a:lnTo>
                    <a:lnTo>
                      <a:pt x="394" y="181"/>
                    </a:lnTo>
                    <a:lnTo>
                      <a:pt x="392" y="181"/>
                    </a:lnTo>
                    <a:lnTo>
                      <a:pt x="390" y="181"/>
                    </a:lnTo>
                    <a:lnTo>
                      <a:pt x="390" y="179"/>
                    </a:lnTo>
                    <a:lnTo>
                      <a:pt x="392" y="179"/>
                    </a:lnTo>
                    <a:close/>
                    <a:moveTo>
                      <a:pt x="380" y="179"/>
                    </a:moveTo>
                    <a:lnTo>
                      <a:pt x="380" y="181"/>
                    </a:lnTo>
                    <a:lnTo>
                      <a:pt x="382" y="181"/>
                    </a:lnTo>
                    <a:lnTo>
                      <a:pt x="380" y="181"/>
                    </a:lnTo>
                    <a:lnTo>
                      <a:pt x="380" y="179"/>
                    </a:lnTo>
                    <a:close/>
                    <a:moveTo>
                      <a:pt x="388" y="179"/>
                    </a:moveTo>
                    <a:lnTo>
                      <a:pt x="388" y="181"/>
                    </a:lnTo>
                    <a:lnTo>
                      <a:pt x="386" y="181"/>
                    </a:lnTo>
                    <a:lnTo>
                      <a:pt x="388" y="181"/>
                    </a:lnTo>
                    <a:lnTo>
                      <a:pt x="386" y="181"/>
                    </a:lnTo>
                    <a:lnTo>
                      <a:pt x="384" y="181"/>
                    </a:lnTo>
                    <a:lnTo>
                      <a:pt x="384" y="179"/>
                    </a:lnTo>
                    <a:lnTo>
                      <a:pt x="386" y="179"/>
                    </a:lnTo>
                    <a:lnTo>
                      <a:pt x="384" y="179"/>
                    </a:lnTo>
                    <a:lnTo>
                      <a:pt x="386" y="179"/>
                    </a:lnTo>
                    <a:lnTo>
                      <a:pt x="388" y="179"/>
                    </a:lnTo>
                    <a:close/>
                    <a:moveTo>
                      <a:pt x="655" y="158"/>
                    </a:moveTo>
                    <a:lnTo>
                      <a:pt x="657" y="158"/>
                    </a:lnTo>
                    <a:lnTo>
                      <a:pt x="655" y="158"/>
                    </a:lnTo>
                    <a:close/>
                    <a:moveTo>
                      <a:pt x="359" y="179"/>
                    </a:moveTo>
                    <a:lnTo>
                      <a:pt x="361" y="179"/>
                    </a:lnTo>
                    <a:lnTo>
                      <a:pt x="363" y="179"/>
                    </a:lnTo>
                    <a:lnTo>
                      <a:pt x="363" y="181"/>
                    </a:lnTo>
                    <a:lnTo>
                      <a:pt x="361" y="181"/>
                    </a:lnTo>
                    <a:lnTo>
                      <a:pt x="361" y="179"/>
                    </a:lnTo>
                    <a:lnTo>
                      <a:pt x="359" y="179"/>
                    </a:lnTo>
                    <a:lnTo>
                      <a:pt x="361" y="179"/>
                    </a:lnTo>
                    <a:lnTo>
                      <a:pt x="359" y="179"/>
                    </a:lnTo>
                    <a:close/>
                    <a:moveTo>
                      <a:pt x="369" y="179"/>
                    </a:moveTo>
                    <a:lnTo>
                      <a:pt x="367" y="179"/>
                    </a:lnTo>
                    <a:lnTo>
                      <a:pt x="369" y="179"/>
                    </a:lnTo>
                    <a:close/>
                    <a:moveTo>
                      <a:pt x="661" y="158"/>
                    </a:moveTo>
                    <a:lnTo>
                      <a:pt x="663" y="158"/>
                    </a:lnTo>
                    <a:lnTo>
                      <a:pt x="661" y="158"/>
                    </a:lnTo>
                    <a:close/>
                    <a:moveTo>
                      <a:pt x="386" y="179"/>
                    </a:moveTo>
                    <a:lnTo>
                      <a:pt x="386" y="177"/>
                    </a:lnTo>
                    <a:lnTo>
                      <a:pt x="386" y="179"/>
                    </a:lnTo>
                    <a:close/>
                    <a:moveTo>
                      <a:pt x="693" y="150"/>
                    </a:moveTo>
                    <a:lnTo>
                      <a:pt x="695" y="150"/>
                    </a:lnTo>
                    <a:lnTo>
                      <a:pt x="697" y="150"/>
                    </a:lnTo>
                    <a:lnTo>
                      <a:pt x="697" y="152"/>
                    </a:lnTo>
                    <a:lnTo>
                      <a:pt x="697" y="150"/>
                    </a:lnTo>
                    <a:lnTo>
                      <a:pt x="695" y="150"/>
                    </a:lnTo>
                    <a:lnTo>
                      <a:pt x="693" y="150"/>
                    </a:lnTo>
                    <a:lnTo>
                      <a:pt x="691" y="150"/>
                    </a:lnTo>
                    <a:lnTo>
                      <a:pt x="691" y="152"/>
                    </a:lnTo>
                    <a:lnTo>
                      <a:pt x="691" y="150"/>
                    </a:lnTo>
                    <a:lnTo>
                      <a:pt x="691" y="152"/>
                    </a:lnTo>
                    <a:lnTo>
                      <a:pt x="691" y="150"/>
                    </a:lnTo>
                    <a:lnTo>
                      <a:pt x="693" y="150"/>
                    </a:lnTo>
                    <a:close/>
                    <a:moveTo>
                      <a:pt x="363" y="177"/>
                    </a:moveTo>
                    <a:lnTo>
                      <a:pt x="361" y="177"/>
                    </a:lnTo>
                    <a:lnTo>
                      <a:pt x="363" y="177"/>
                    </a:lnTo>
                    <a:close/>
                    <a:moveTo>
                      <a:pt x="423" y="177"/>
                    </a:moveTo>
                    <a:lnTo>
                      <a:pt x="424" y="177"/>
                    </a:lnTo>
                    <a:lnTo>
                      <a:pt x="424" y="179"/>
                    </a:lnTo>
                    <a:lnTo>
                      <a:pt x="424" y="177"/>
                    </a:lnTo>
                    <a:lnTo>
                      <a:pt x="423" y="177"/>
                    </a:lnTo>
                    <a:lnTo>
                      <a:pt x="421" y="177"/>
                    </a:lnTo>
                    <a:lnTo>
                      <a:pt x="421" y="179"/>
                    </a:lnTo>
                    <a:lnTo>
                      <a:pt x="421" y="177"/>
                    </a:lnTo>
                    <a:lnTo>
                      <a:pt x="419" y="179"/>
                    </a:lnTo>
                    <a:lnTo>
                      <a:pt x="417" y="177"/>
                    </a:lnTo>
                    <a:lnTo>
                      <a:pt x="417" y="179"/>
                    </a:lnTo>
                    <a:lnTo>
                      <a:pt x="415" y="179"/>
                    </a:lnTo>
                    <a:lnTo>
                      <a:pt x="415" y="177"/>
                    </a:lnTo>
                    <a:lnTo>
                      <a:pt x="417" y="177"/>
                    </a:lnTo>
                    <a:lnTo>
                      <a:pt x="419" y="177"/>
                    </a:lnTo>
                    <a:lnTo>
                      <a:pt x="421" y="177"/>
                    </a:lnTo>
                    <a:lnTo>
                      <a:pt x="423" y="177"/>
                    </a:lnTo>
                    <a:close/>
                    <a:moveTo>
                      <a:pt x="688" y="150"/>
                    </a:moveTo>
                    <a:lnTo>
                      <a:pt x="688" y="152"/>
                    </a:lnTo>
                    <a:lnTo>
                      <a:pt x="686" y="152"/>
                    </a:lnTo>
                    <a:lnTo>
                      <a:pt x="686" y="150"/>
                    </a:lnTo>
                    <a:lnTo>
                      <a:pt x="688" y="150"/>
                    </a:lnTo>
                    <a:close/>
                    <a:moveTo>
                      <a:pt x="417" y="175"/>
                    </a:moveTo>
                    <a:lnTo>
                      <a:pt x="415" y="175"/>
                    </a:lnTo>
                    <a:lnTo>
                      <a:pt x="417" y="175"/>
                    </a:lnTo>
                    <a:close/>
                    <a:moveTo>
                      <a:pt x="388" y="175"/>
                    </a:moveTo>
                    <a:lnTo>
                      <a:pt x="386" y="175"/>
                    </a:lnTo>
                    <a:lnTo>
                      <a:pt x="388" y="175"/>
                    </a:lnTo>
                    <a:close/>
                    <a:moveTo>
                      <a:pt x="424" y="173"/>
                    </a:moveTo>
                    <a:lnTo>
                      <a:pt x="424" y="175"/>
                    </a:lnTo>
                    <a:lnTo>
                      <a:pt x="424" y="173"/>
                    </a:lnTo>
                    <a:lnTo>
                      <a:pt x="423" y="173"/>
                    </a:lnTo>
                    <a:lnTo>
                      <a:pt x="424" y="173"/>
                    </a:lnTo>
                    <a:close/>
                    <a:moveTo>
                      <a:pt x="430" y="173"/>
                    </a:moveTo>
                    <a:lnTo>
                      <a:pt x="430" y="175"/>
                    </a:lnTo>
                    <a:lnTo>
                      <a:pt x="428" y="175"/>
                    </a:lnTo>
                    <a:lnTo>
                      <a:pt x="430" y="175"/>
                    </a:lnTo>
                    <a:lnTo>
                      <a:pt x="430" y="177"/>
                    </a:lnTo>
                    <a:lnTo>
                      <a:pt x="428" y="177"/>
                    </a:lnTo>
                    <a:lnTo>
                      <a:pt x="428" y="175"/>
                    </a:lnTo>
                    <a:lnTo>
                      <a:pt x="426" y="175"/>
                    </a:lnTo>
                    <a:lnTo>
                      <a:pt x="424" y="175"/>
                    </a:lnTo>
                    <a:lnTo>
                      <a:pt x="426" y="173"/>
                    </a:lnTo>
                    <a:lnTo>
                      <a:pt x="428" y="173"/>
                    </a:lnTo>
                    <a:lnTo>
                      <a:pt x="430" y="173"/>
                    </a:lnTo>
                    <a:close/>
                    <a:moveTo>
                      <a:pt x="401" y="173"/>
                    </a:moveTo>
                    <a:lnTo>
                      <a:pt x="403" y="173"/>
                    </a:lnTo>
                    <a:lnTo>
                      <a:pt x="401" y="173"/>
                    </a:lnTo>
                    <a:close/>
                    <a:moveTo>
                      <a:pt x="421" y="173"/>
                    </a:moveTo>
                    <a:lnTo>
                      <a:pt x="419" y="173"/>
                    </a:lnTo>
                    <a:lnTo>
                      <a:pt x="417" y="173"/>
                    </a:lnTo>
                    <a:lnTo>
                      <a:pt x="419" y="173"/>
                    </a:lnTo>
                    <a:lnTo>
                      <a:pt x="421" y="173"/>
                    </a:lnTo>
                    <a:close/>
                    <a:moveTo>
                      <a:pt x="423" y="171"/>
                    </a:moveTo>
                    <a:lnTo>
                      <a:pt x="423" y="173"/>
                    </a:lnTo>
                    <a:lnTo>
                      <a:pt x="424" y="173"/>
                    </a:lnTo>
                    <a:lnTo>
                      <a:pt x="423" y="173"/>
                    </a:lnTo>
                    <a:lnTo>
                      <a:pt x="424" y="173"/>
                    </a:lnTo>
                    <a:lnTo>
                      <a:pt x="423" y="173"/>
                    </a:lnTo>
                    <a:lnTo>
                      <a:pt x="421" y="173"/>
                    </a:lnTo>
                    <a:lnTo>
                      <a:pt x="423" y="173"/>
                    </a:lnTo>
                    <a:lnTo>
                      <a:pt x="423" y="171"/>
                    </a:lnTo>
                    <a:close/>
                    <a:moveTo>
                      <a:pt x="407" y="173"/>
                    </a:moveTo>
                    <a:lnTo>
                      <a:pt x="405" y="173"/>
                    </a:lnTo>
                    <a:lnTo>
                      <a:pt x="407" y="173"/>
                    </a:lnTo>
                    <a:lnTo>
                      <a:pt x="405" y="173"/>
                    </a:lnTo>
                    <a:lnTo>
                      <a:pt x="407" y="173"/>
                    </a:lnTo>
                    <a:lnTo>
                      <a:pt x="407" y="171"/>
                    </a:lnTo>
                    <a:lnTo>
                      <a:pt x="407" y="173"/>
                    </a:lnTo>
                    <a:lnTo>
                      <a:pt x="407" y="171"/>
                    </a:lnTo>
                    <a:lnTo>
                      <a:pt x="407" y="173"/>
                    </a:lnTo>
                    <a:close/>
                    <a:moveTo>
                      <a:pt x="388" y="173"/>
                    </a:moveTo>
                    <a:lnTo>
                      <a:pt x="386" y="173"/>
                    </a:lnTo>
                    <a:lnTo>
                      <a:pt x="388" y="173"/>
                    </a:lnTo>
                    <a:close/>
                    <a:moveTo>
                      <a:pt x="428" y="169"/>
                    </a:moveTo>
                    <a:lnTo>
                      <a:pt x="428" y="171"/>
                    </a:lnTo>
                    <a:lnTo>
                      <a:pt x="426" y="171"/>
                    </a:lnTo>
                    <a:lnTo>
                      <a:pt x="426" y="169"/>
                    </a:lnTo>
                    <a:lnTo>
                      <a:pt x="428" y="169"/>
                    </a:lnTo>
                    <a:close/>
                    <a:moveTo>
                      <a:pt x="396" y="171"/>
                    </a:moveTo>
                    <a:lnTo>
                      <a:pt x="398" y="171"/>
                    </a:lnTo>
                    <a:lnTo>
                      <a:pt x="399" y="171"/>
                    </a:lnTo>
                    <a:lnTo>
                      <a:pt x="398" y="171"/>
                    </a:lnTo>
                    <a:lnTo>
                      <a:pt x="396" y="171"/>
                    </a:lnTo>
                    <a:lnTo>
                      <a:pt x="396" y="173"/>
                    </a:lnTo>
                    <a:lnTo>
                      <a:pt x="394" y="173"/>
                    </a:lnTo>
                    <a:lnTo>
                      <a:pt x="392" y="173"/>
                    </a:lnTo>
                    <a:lnTo>
                      <a:pt x="392" y="171"/>
                    </a:lnTo>
                    <a:lnTo>
                      <a:pt x="390" y="171"/>
                    </a:lnTo>
                    <a:lnTo>
                      <a:pt x="388" y="171"/>
                    </a:lnTo>
                    <a:lnTo>
                      <a:pt x="390" y="171"/>
                    </a:lnTo>
                    <a:lnTo>
                      <a:pt x="392" y="171"/>
                    </a:lnTo>
                    <a:lnTo>
                      <a:pt x="394" y="171"/>
                    </a:lnTo>
                    <a:lnTo>
                      <a:pt x="394" y="169"/>
                    </a:lnTo>
                    <a:lnTo>
                      <a:pt x="396" y="169"/>
                    </a:lnTo>
                    <a:lnTo>
                      <a:pt x="396" y="171"/>
                    </a:lnTo>
                    <a:close/>
                    <a:moveTo>
                      <a:pt x="390" y="169"/>
                    </a:moveTo>
                    <a:lnTo>
                      <a:pt x="388" y="171"/>
                    </a:lnTo>
                    <a:lnTo>
                      <a:pt x="388" y="169"/>
                    </a:lnTo>
                    <a:lnTo>
                      <a:pt x="390" y="169"/>
                    </a:lnTo>
                    <a:close/>
                    <a:moveTo>
                      <a:pt x="392" y="167"/>
                    </a:moveTo>
                    <a:lnTo>
                      <a:pt x="392" y="169"/>
                    </a:lnTo>
                    <a:lnTo>
                      <a:pt x="390" y="169"/>
                    </a:lnTo>
                    <a:lnTo>
                      <a:pt x="392" y="167"/>
                    </a:lnTo>
                    <a:close/>
                    <a:moveTo>
                      <a:pt x="386" y="167"/>
                    </a:moveTo>
                    <a:lnTo>
                      <a:pt x="386" y="169"/>
                    </a:lnTo>
                    <a:lnTo>
                      <a:pt x="386" y="167"/>
                    </a:lnTo>
                    <a:lnTo>
                      <a:pt x="384" y="167"/>
                    </a:lnTo>
                    <a:lnTo>
                      <a:pt x="386" y="167"/>
                    </a:lnTo>
                    <a:close/>
                    <a:moveTo>
                      <a:pt x="630" y="150"/>
                    </a:moveTo>
                    <a:lnTo>
                      <a:pt x="630" y="152"/>
                    </a:lnTo>
                    <a:lnTo>
                      <a:pt x="628" y="152"/>
                    </a:lnTo>
                    <a:lnTo>
                      <a:pt x="628" y="150"/>
                    </a:lnTo>
                    <a:lnTo>
                      <a:pt x="630" y="150"/>
                    </a:lnTo>
                    <a:close/>
                    <a:moveTo>
                      <a:pt x="394" y="167"/>
                    </a:moveTo>
                    <a:lnTo>
                      <a:pt x="392" y="169"/>
                    </a:lnTo>
                    <a:lnTo>
                      <a:pt x="392" y="167"/>
                    </a:lnTo>
                    <a:lnTo>
                      <a:pt x="392" y="169"/>
                    </a:lnTo>
                    <a:lnTo>
                      <a:pt x="392" y="167"/>
                    </a:lnTo>
                    <a:lnTo>
                      <a:pt x="394" y="167"/>
                    </a:lnTo>
                    <a:close/>
                    <a:moveTo>
                      <a:pt x="378" y="167"/>
                    </a:moveTo>
                    <a:lnTo>
                      <a:pt x="376" y="167"/>
                    </a:lnTo>
                    <a:lnTo>
                      <a:pt x="378" y="167"/>
                    </a:lnTo>
                    <a:close/>
                    <a:moveTo>
                      <a:pt x="634" y="150"/>
                    </a:moveTo>
                    <a:lnTo>
                      <a:pt x="632" y="150"/>
                    </a:lnTo>
                    <a:lnTo>
                      <a:pt x="634" y="150"/>
                    </a:lnTo>
                    <a:close/>
                    <a:moveTo>
                      <a:pt x="615" y="150"/>
                    </a:moveTo>
                    <a:lnTo>
                      <a:pt x="615" y="152"/>
                    </a:lnTo>
                    <a:lnTo>
                      <a:pt x="615" y="150"/>
                    </a:lnTo>
                    <a:lnTo>
                      <a:pt x="617" y="152"/>
                    </a:lnTo>
                    <a:lnTo>
                      <a:pt x="617" y="150"/>
                    </a:lnTo>
                    <a:lnTo>
                      <a:pt x="617" y="152"/>
                    </a:lnTo>
                    <a:lnTo>
                      <a:pt x="615" y="152"/>
                    </a:lnTo>
                    <a:lnTo>
                      <a:pt x="617" y="152"/>
                    </a:lnTo>
                    <a:lnTo>
                      <a:pt x="615" y="152"/>
                    </a:lnTo>
                    <a:lnTo>
                      <a:pt x="615" y="150"/>
                    </a:lnTo>
                    <a:close/>
                    <a:moveTo>
                      <a:pt x="632" y="148"/>
                    </a:moveTo>
                    <a:lnTo>
                      <a:pt x="632" y="150"/>
                    </a:lnTo>
                    <a:lnTo>
                      <a:pt x="630" y="150"/>
                    </a:lnTo>
                    <a:lnTo>
                      <a:pt x="628" y="150"/>
                    </a:lnTo>
                    <a:lnTo>
                      <a:pt x="630" y="150"/>
                    </a:lnTo>
                    <a:lnTo>
                      <a:pt x="630" y="148"/>
                    </a:lnTo>
                    <a:lnTo>
                      <a:pt x="632" y="148"/>
                    </a:lnTo>
                    <a:close/>
                    <a:moveTo>
                      <a:pt x="248" y="162"/>
                    </a:moveTo>
                    <a:lnTo>
                      <a:pt x="250" y="162"/>
                    </a:lnTo>
                    <a:lnTo>
                      <a:pt x="248" y="162"/>
                    </a:lnTo>
                    <a:close/>
                    <a:moveTo>
                      <a:pt x="496" y="162"/>
                    </a:moveTo>
                    <a:lnTo>
                      <a:pt x="497" y="162"/>
                    </a:lnTo>
                    <a:lnTo>
                      <a:pt x="496" y="162"/>
                    </a:lnTo>
                    <a:lnTo>
                      <a:pt x="496" y="163"/>
                    </a:lnTo>
                    <a:lnTo>
                      <a:pt x="496" y="162"/>
                    </a:lnTo>
                    <a:lnTo>
                      <a:pt x="496" y="160"/>
                    </a:lnTo>
                    <a:lnTo>
                      <a:pt x="496" y="162"/>
                    </a:lnTo>
                    <a:close/>
                    <a:moveTo>
                      <a:pt x="399" y="163"/>
                    </a:moveTo>
                    <a:lnTo>
                      <a:pt x="398" y="163"/>
                    </a:lnTo>
                    <a:lnTo>
                      <a:pt x="399" y="163"/>
                    </a:lnTo>
                    <a:close/>
                    <a:moveTo>
                      <a:pt x="557" y="154"/>
                    </a:moveTo>
                    <a:lnTo>
                      <a:pt x="559" y="154"/>
                    </a:lnTo>
                    <a:lnTo>
                      <a:pt x="557" y="154"/>
                    </a:lnTo>
                    <a:close/>
                    <a:moveTo>
                      <a:pt x="557" y="154"/>
                    </a:moveTo>
                    <a:lnTo>
                      <a:pt x="555" y="154"/>
                    </a:lnTo>
                    <a:lnTo>
                      <a:pt x="557" y="154"/>
                    </a:lnTo>
                    <a:close/>
                    <a:moveTo>
                      <a:pt x="559" y="154"/>
                    </a:moveTo>
                    <a:lnTo>
                      <a:pt x="557" y="154"/>
                    </a:lnTo>
                    <a:lnTo>
                      <a:pt x="559" y="154"/>
                    </a:lnTo>
                    <a:close/>
                    <a:moveTo>
                      <a:pt x="557" y="154"/>
                    </a:moveTo>
                    <a:lnTo>
                      <a:pt x="555" y="154"/>
                    </a:lnTo>
                    <a:lnTo>
                      <a:pt x="557" y="154"/>
                    </a:lnTo>
                    <a:close/>
                    <a:moveTo>
                      <a:pt x="557" y="154"/>
                    </a:moveTo>
                    <a:lnTo>
                      <a:pt x="557" y="152"/>
                    </a:lnTo>
                    <a:lnTo>
                      <a:pt x="559" y="152"/>
                    </a:lnTo>
                    <a:lnTo>
                      <a:pt x="557" y="154"/>
                    </a:lnTo>
                    <a:close/>
                    <a:moveTo>
                      <a:pt x="269" y="158"/>
                    </a:moveTo>
                    <a:lnTo>
                      <a:pt x="271" y="158"/>
                    </a:lnTo>
                    <a:lnTo>
                      <a:pt x="273" y="158"/>
                    </a:lnTo>
                    <a:lnTo>
                      <a:pt x="275" y="158"/>
                    </a:lnTo>
                    <a:lnTo>
                      <a:pt x="275" y="160"/>
                    </a:lnTo>
                    <a:lnTo>
                      <a:pt x="277" y="160"/>
                    </a:lnTo>
                    <a:lnTo>
                      <a:pt x="275" y="160"/>
                    </a:lnTo>
                    <a:lnTo>
                      <a:pt x="273" y="160"/>
                    </a:lnTo>
                    <a:lnTo>
                      <a:pt x="275" y="160"/>
                    </a:lnTo>
                    <a:lnTo>
                      <a:pt x="273" y="160"/>
                    </a:lnTo>
                    <a:lnTo>
                      <a:pt x="271" y="160"/>
                    </a:lnTo>
                    <a:lnTo>
                      <a:pt x="269" y="158"/>
                    </a:lnTo>
                    <a:lnTo>
                      <a:pt x="271" y="158"/>
                    </a:lnTo>
                    <a:lnTo>
                      <a:pt x="271" y="160"/>
                    </a:lnTo>
                    <a:lnTo>
                      <a:pt x="271" y="158"/>
                    </a:lnTo>
                    <a:lnTo>
                      <a:pt x="269" y="158"/>
                    </a:lnTo>
                    <a:close/>
                    <a:moveTo>
                      <a:pt x="252" y="158"/>
                    </a:moveTo>
                    <a:lnTo>
                      <a:pt x="250" y="158"/>
                    </a:lnTo>
                    <a:lnTo>
                      <a:pt x="248" y="158"/>
                    </a:lnTo>
                    <a:lnTo>
                      <a:pt x="246" y="158"/>
                    </a:lnTo>
                    <a:lnTo>
                      <a:pt x="248" y="158"/>
                    </a:lnTo>
                    <a:lnTo>
                      <a:pt x="250" y="160"/>
                    </a:lnTo>
                    <a:lnTo>
                      <a:pt x="250" y="162"/>
                    </a:lnTo>
                    <a:lnTo>
                      <a:pt x="250" y="160"/>
                    </a:lnTo>
                    <a:lnTo>
                      <a:pt x="248" y="160"/>
                    </a:lnTo>
                    <a:lnTo>
                      <a:pt x="246" y="160"/>
                    </a:lnTo>
                    <a:lnTo>
                      <a:pt x="246" y="162"/>
                    </a:lnTo>
                    <a:lnTo>
                      <a:pt x="248" y="162"/>
                    </a:lnTo>
                    <a:lnTo>
                      <a:pt x="250" y="162"/>
                    </a:lnTo>
                    <a:lnTo>
                      <a:pt x="250" y="163"/>
                    </a:lnTo>
                    <a:lnTo>
                      <a:pt x="250" y="162"/>
                    </a:lnTo>
                    <a:lnTo>
                      <a:pt x="248" y="162"/>
                    </a:lnTo>
                    <a:lnTo>
                      <a:pt x="248" y="163"/>
                    </a:lnTo>
                    <a:lnTo>
                      <a:pt x="250" y="163"/>
                    </a:lnTo>
                    <a:lnTo>
                      <a:pt x="252" y="163"/>
                    </a:lnTo>
                    <a:lnTo>
                      <a:pt x="253" y="163"/>
                    </a:lnTo>
                    <a:lnTo>
                      <a:pt x="255" y="163"/>
                    </a:lnTo>
                    <a:lnTo>
                      <a:pt x="253" y="163"/>
                    </a:lnTo>
                    <a:lnTo>
                      <a:pt x="252" y="163"/>
                    </a:lnTo>
                    <a:lnTo>
                      <a:pt x="250" y="163"/>
                    </a:lnTo>
                    <a:lnTo>
                      <a:pt x="248" y="163"/>
                    </a:lnTo>
                    <a:lnTo>
                      <a:pt x="248" y="162"/>
                    </a:lnTo>
                    <a:lnTo>
                      <a:pt x="246" y="162"/>
                    </a:lnTo>
                    <a:lnTo>
                      <a:pt x="246" y="160"/>
                    </a:lnTo>
                    <a:lnTo>
                      <a:pt x="246" y="158"/>
                    </a:lnTo>
                    <a:lnTo>
                      <a:pt x="248" y="158"/>
                    </a:lnTo>
                    <a:lnTo>
                      <a:pt x="250" y="156"/>
                    </a:lnTo>
                    <a:lnTo>
                      <a:pt x="252" y="156"/>
                    </a:lnTo>
                    <a:lnTo>
                      <a:pt x="252" y="158"/>
                    </a:lnTo>
                    <a:close/>
                    <a:moveTo>
                      <a:pt x="474" y="158"/>
                    </a:moveTo>
                    <a:lnTo>
                      <a:pt x="472" y="158"/>
                    </a:lnTo>
                    <a:lnTo>
                      <a:pt x="472" y="156"/>
                    </a:lnTo>
                    <a:lnTo>
                      <a:pt x="474" y="156"/>
                    </a:lnTo>
                    <a:lnTo>
                      <a:pt x="474" y="158"/>
                    </a:lnTo>
                    <a:close/>
                    <a:moveTo>
                      <a:pt x="476" y="156"/>
                    </a:moveTo>
                    <a:lnTo>
                      <a:pt x="474" y="156"/>
                    </a:lnTo>
                    <a:lnTo>
                      <a:pt x="476" y="156"/>
                    </a:lnTo>
                    <a:close/>
                    <a:moveTo>
                      <a:pt x="476" y="154"/>
                    </a:moveTo>
                    <a:lnTo>
                      <a:pt x="476" y="156"/>
                    </a:lnTo>
                    <a:lnTo>
                      <a:pt x="478" y="154"/>
                    </a:lnTo>
                    <a:lnTo>
                      <a:pt x="476" y="154"/>
                    </a:lnTo>
                    <a:close/>
                    <a:moveTo>
                      <a:pt x="588" y="144"/>
                    </a:moveTo>
                    <a:lnTo>
                      <a:pt x="588" y="146"/>
                    </a:lnTo>
                    <a:lnTo>
                      <a:pt x="586" y="146"/>
                    </a:lnTo>
                    <a:lnTo>
                      <a:pt x="588" y="144"/>
                    </a:lnTo>
                    <a:close/>
                    <a:moveTo>
                      <a:pt x="580" y="144"/>
                    </a:moveTo>
                    <a:lnTo>
                      <a:pt x="582" y="144"/>
                    </a:lnTo>
                    <a:lnTo>
                      <a:pt x="580" y="146"/>
                    </a:lnTo>
                    <a:lnTo>
                      <a:pt x="580" y="144"/>
                    </a:lnTo>
                    <a:lnTo>
                      <a:pt x="580" y="146"/>
                    </a:lnTo>
                    <a:lnTo>
                      <a:pt x="580" y="144"/>
                    </a:lnTo>
                    <a:close/>
                    <a:moveTo>
                      <a:pt x="588" y="142"/>
                    </a:moveTo>
                    <a:lnTo>
                      <a:pt x="590" y="142"/>
                    </a:lnTo>
                    <a:lnTo>
                      <a:pt x="588" y="142"/>
                    </a:lnTo>
                    <a:lnTo>
                      <a:pt x="590" y="142"/>
                    </a:lnTo>
                    <a:lnTo>
                      <a:pt x="588" y="142"/>
                    </a:lnTo>
                    <a:lnTo>
                      <a:pt x="588" y="144"/>
                    </a:lnTo>
                    <a:lnTo>
                      <a:pt x="586" y="144"/>
                    </a:lnTo>
                    <a:lnTo>
                      <a:pt x="586" y="142"/>
                    </a:lnTo>
                    <a:lnTo>
                      <a:pt x="588" y="142"/>
                    </a:lnTo>
                    <a:close/>
                    <a:moveTo>
                      <a:pt x="613" y="138"/>
                    </a:moveTo>
                    <a:lnTo>
                      <a:pt x="611" y="138"/>
                    </a:lnTo>
                    <a:lnTo>
                      <a:pt x="613" y="138"/>
                    </a:lnTo>
                    <a:lnTo>
                      <a:pt x="611" y="138"/>
                    </a:lnTo>
                    <a:lnTo>
                      <a:pt x="613" y="138"/>
                    </a:lnTo>
                    <a:close/>
                    <a:moveTo>
                      <a:pt x="595" y="138"/>
                    </a:moveTo>
                    <a:lnTo>
                      <a:pt x="597" y="138"/>
                    </a:lnTo>
                    <a:lnTo>
                      <a:pt x="597" y="140"/>
                    </a:lnTo>
                    <a:lnTo>
                      <a:pt x="597" y="138"/>
                    </a:lnTo>
                    <a:lnTo>
                      <a:pt x="597" y="140"/>
                    </a:lnTo>
                    <a:lnTo>
                      <a:pt x="595" y="140"/>
                    </a:lnTo>
                    <a:lnTo>
                      <a:pt x="595" y="138"/>
                    </a:lnTo>
                    <a:lnTo>
                      <a:pt x="595" y="140"/>
                    </a:lnTo>
                    <a:lnTo>
                      <a:pt x="595" y="138"/>
                    </a:lnTo>
                    <a:close/>
                    <a:moveTo>
                      <a:pt x="590" y="140"/>
                    </a:moveTo>
                    <a:lnTo>
                      <a:pt x="590" y="142"/>
                    </a:lnTo>
                    <a:lnTo>
                      <a:pt x="590" y="140"/>
                    </a:lnTo>
                    <a:lnTo>
                      <a:pt x="590" y="142"/>
                    </a:lnTo>
                    <a:lnTo>
                      <a:pt x="588" y="140"/>
                    </a:lnTo>
                    <a:lnTo>
                      <a:pt x="590" y="140"/>
                    </a:lnTo>
                    <a:lnTo>
                      <a:pt x="588" y="140"/>
                    </a:lnTo>
                    <a:lnTo>
                      <a:pt x="590" y="140"/>
                    </a:lnTo>
                    <a:close/>
                    <a:moveTo>
                      <a:pt x="286" y="150"/>
                    </a:moveTo>
                    <a:lnTo>
                      <a:pt x="288" y="150"/>
                    </a:lnTo>
                    <a:lnTo>
                      <a:pt x="288" y="152"/>
                    </a:lnTo>
                    <a:lnTo>
                      <a:pt x="286" y="152"/>
                    </a:lnTo>
                    <a:lnTo>
                      <a:pt x="286" y="150"/>
                    </a:lnTo>
                    <a:lnTo>
                      <a:pt x="284" y="150"/>
                    </a:lnTo>
                    <a:lnTo>
                      <a:pt x="286" y="150"/>
                    </a:lnTo>
                    <a:close/>
                    <a:moveTo>
                      <a:pt x="594" y="138"/>
                    </a:moveTo>
                    <a:lnTo>
                      <a:pt x="595" y="138"/>
                    </a:lnTo>
                    <a:lnTo>
                      <a:pt x="594" y="138"/>
                    </a:lnTo>
                    <a:close/>
                    <a:moveTo>
                      <a:pt x="617" y="137"/>
                    </a:moveTo>
                    <a:lnTo>
                      <a:pt x="618" y="137"/>
                    </a:lnTo>
                    <a:lnTo>
                      <a:pt x="620" y="137"/>
                    </a:lnTo>
                    <a:lnTo>
                      <a:pt x="618" y="137"/>
                    </a:lnTo>
                    <a:lnTo>
                      <a:pt x="620" y="137"/>
                    </a:lnTo>
                    <a:lnTo>
                      <a:pt x="622" y="137"/>
                    </a:lnTo>
                    <a:lnTo>
                      <a:pt x="622" y="135"/>
                    </a:lnTo>
                    <a:lnTo>
                      <a:pt x="622" y="137"/>
                    </a:lnTo>
                    <a:lnTo>
                      <a:pt x="622" y="135"/>
                    </a:lnTo>
                    <a:lnTo>
                      <a:pt x="622" y="137"/>
                    </a:lnTo>
                    <a:lnTo>
                      <a:pt x="622" y="138"/>
                    </a:lnTo>
                    <a:lnTo>
                      <a:pt x="620" y="138"/>
                    </a:lnTo>
                    <a:lnTo>
                      <a:pt x="620" y="140"/>
                    </a:lnTo>
                    <a:lnTo>
                      <a:pt x="618" y="140"/>
                    </a:lnTo>
                    <a:lnTo>
                      <a:pt x="617" y="140"/>
                    </a:lnTo>
                    <a:lnTo>
                      <a:pt x="617" y="142"/>
                    </a:lnTo>
                    <a:lnTo>
                      <a:pt x="617" y="140"/>
                    </a:lnTo>
                    <a:lnTo>
                      <a:pt x="617" y="142"/>
                    </a:lnTo>
                    <a:lnTo>
                      <a:pt x="617" y="140"/>
                    </a:lnTo>
                    <a:lnTo>
                      <a:pt x="615" y="140"/>
                    </a:lnTo>
                    <a:lnTo>
                      <a:pt x="615" y="142"/>
                    </a:lnTo>
                    <a:lnTo>
                      <a:pt x="613" y="142"/>
                    </a:lnTo>
                    <a:lnTo>
                      <a:pt x="613" y="140"/>
                    </a:lnTo>
                    <a:lnTo>
                      <a:pt x="615" y="140"/>
                    </a:lnTo>
                    <a:lnTo>
                      <a:pt x="617" y="140"/>
                    </a:lnTo>
                    <a:lnTo>
                      <a:pt x="618" y="140"/>
                    </a:lnTo>
                    <a:lnTo>
                      <a:pt x="617" y="140"/>
                    </a:lnTo>
                    <a:lnTo>
                      <a:pt x="618" y="140"/>
                    </a:lnTo>
                    <a:lnTo>
                      <a:pt x="617" y="140"/>
                    </a:lnTo>
                    <a:lnTo>
                      <a:pt x="618" y="140"/>
                    </a:lnTo>
                    <a:lnTo>
                      <a:pt x="618" y="138"/>
                    </a:lnTo>
                    <a:lnTo>
                      <a:pt x="618" y="140"/>
                    </a:lnTo>
                    <a:lnTo>
                      <a:pt x="618" y="138"/>
                    </a:lnTo>
                    <a:lnTo>
                      <a:pt x="617" y="138"/>
                    </a:lnTo>
                    <a:lnTo>
                      <a:pt x="615" y="138"/>
                    </a:lnTo>
                    <a:lnTo>
                      <a:pt x="615" y="137"/>
                    </a:lnTo>
                    <a:lnTo>
                      <a:pt x="617" y="137"/>
                    </a:lnTo>
                    <a:lnTo>
                      <a:pt x="615" y="137"/>
                    </a:lnTo>
                    <a:lnTo>
                      <a:pt x="617" y="137"/>
                    </a:lnTo>
                    <a:lnTo>
                      <a:pt x="615" y="137"/>
                    </a:lnTo>
                    <a:lnTo>
                      <a:pt x="617" y="137"/>
                    </a:lnTo>
                    <a:lnTo>
                      <a:pt x="615" y="137"/>
                    </a:lnTo>
                    <a:lnTo>
                      <a:pt x="617" y="137"/>
                    </a:lnTo>
                    <a:close/>
                    <a:moveTo>
                      <a:pt x="513" y="146"/>
                    </a:moveTo>
                    <a:lnTo>
                      <a:pt x="515" y="146"/>
                    </a:lnTo>
                    <a:lnTo>
                      <a:pt x="513" y="146"/>
                    </a:lnTo>
                    <a:close/>
                    <a:moveTo>
                      <a:pt x="517" y="144"/>
                    </a:moveTo>
                    <a:lnTo>
                      <a:pt x="515" y="144"/>
                    </a:lnTo>
                    <a:lnTo>
                      <a:pt x="517" y="144"/>
                    </a:lnTo>
                    <a:lnTo>
                      <a:pt x="517" y="142"/>
                    </a:lnTo>
                    <a:lnTo>
                      <a:pt x="517" y="144"/>
                    </a:lnTo>
                    <a:close/>
                    <a:moveTo>
                      <a:pt x="605" y="135"/>
                    </a:moveTo>
                    <a:lnTo>
                      <a:pt x="603" y="135"/>
                    </a:lnTo>
                    <a:lnTo>
                      <a:pt x="603" y="137"/>
                    </a:lnTo>
                    <a:lnTo>
                      <a:pt x="601" y="137"/>
                    </a:lnTo>
                    <a:lnTo>
                      <a:pt x="599" y="137"/>
                    </a:lnTo>
                    <a:lnTo>
                      <a:pt x="599" y="135"/>
                    </a:lnTo>
                    <a:lnTo>
                      <a:pt x="599" y="137"/>
                    </a:lnTo>
                    <a:lnTo>
                      <a:pt x="599" y="135"/>
                    </a:lnTo>
                    <a:lnTo>
                      <a:pt x="601" y="135"/>
                    </a:lnTo>
                    <a:lnTo>
                      <a:pt x="601" y="133"/>
                    </a:lnTo>
                    <a:lnTo>
                      <a:pt x="603" y="133"/>
                    </a:lnTo>
                    <a:lnTo>
                      <a:pt x="601" y="133"/>
                    </a:lnTo>
                    <a:lnTo>
                      <a:pt x="603" y="133"/>
                    </a:lnTo>
                    <a:lnTo>
                      <a:pt x="601" y="133"/>
                    </a:lnTo>
                    <a:lnTo>
                      <a:pt x="603" y="133"/>
                    </a:lnTo>
                    <a:lnTo>
                      <a:pt x="603" y="131"/>
                    </a:lnTo>
                    <a:lnTo>
                      <a:pt x="605" y="133"/>
                    </a:lnTo>
                    <a:lnTo>
                      <a:pt x="607" y="133"/>
                    </a:lnTo>
                    <a:lnTo>
                      <a:pt x="605" y="133"/>
                    </a:lnTo>
                    <a:lnTo>
                      <a:pt x="607" y="133"/>
                    </a:lnTo>
                    <a:lnTo>
                      <a:pt x="605" y="133"/>
                    </a:lnTo>
                    <a:lnTo>
                      <a:pt x="605" y="135"/>
                    </a:lnTo>
                    <a:lnTo>
                      <a:pt x="605" y="133"/>
                    </a:lnTo>
                    <a:lnTo>
                      <a:pt x="605" y="135"/>
                    </a:lnTo>
                    <a:close/>
                    <a:moveTo>
                      <a:pt x="519" y="138"/>
                    </a:moveTo>
                    <a:lnTo>
                      <a:pt x="521" y="138"/>
                    </a:lnTo>
                    <a:lnTo>
                      <a:pt x="519" y="138"/>
                    </a:lnTo>
                    <a:close/>
                    <a:moveTo>
                      <a:pt x="595" y="131"/>
                    </a:moveTo>
                    <a:lnTo>
                      <a:pt x="594" y="131"/>
                    </a:lnTo>
                    <a:lnTo>
                      <a:pt x="595" y="131"/>
                    </a:lnTo>
                    <a:close/>
                    <a:moveTo>
                      <a:pt x="123" y="127"/>
                    </a:moveTo>
                    <a:lnTo>
                      <a:pt x="125" y="127"/>
                    </a:lnTo>
                    <a:lnTo>
                      <a:pt x="127" y="129"/>
                    </a:lnTo>
                    <a:lnTo>
                      <a:pt x="127" y="131"/>
                    </a:lnTo>
                    <a:lnTo>
                      <a:pt x="129" y="131"/>
                    </a:lnTo>
                    <a:lnTo>
                      <a:pt x="127" y="131"/>
                    </a:lnTo>
                    <a:lnTo>
                      <a:pt x="125" y="129"/>
                    </a:lnTo>
                    <a:lnTo>
                      <a:pt x="127" y="129"/>
                    </a:lnTo>
                    <a:lnTo>
                      <a:pt x="127" y="131"/>
                    </a:lnTo>
                    <a:lnTo>
                      <a:pt x="127" y="129"/>
                    </a:lnTo>
                    <a:lnTo>
                      <a:pt x="125" y="129"/>
                    </a:lnTo>
                    <a:lnTo>
                      <a:pt x="125" y="127"/>
                    </a:lnTo>
                    <a:lnTo>
                      <a:pt x="123" y="127"/>
                    </a:lnTo>
                    <a:close/>
                    <a:moveTo>
                      <a:pt x="123" y="127"/>
                    </a:moveTo>
                    <a:lnTo>
                      <a:pt x="121" y="127"/>
                    </a:lnTo>
                    <a:lnTo>
                      <a:pt x="123" y="127"/>
                    </a:lnTo>
                    <a:lnTo>
                      <a:pt x="123" y="129"/>
                    </a:lnTo>
                    <a:lnTo>
                      <a:pt x="123" y="127"/>
                    </a:lnTo>
                    <a:lnTo>
                      <a:pt x="123" y="129"/>
                    </a:lnTo>
                    <a:lnTo>
                      <a:pt x="123" y="127"/>
                    </a:lnTo>
                    <a:lnTo>
                      <a:pt x="123" y="129"/>
                    </a:lnTo>
                    <a:lnTo>
                      <a:pt x="121" y="129"/>
                    </a:lnTo>
                    <a:lnTo>
                      <a:pt x="123" y="129"/>
                    </a:lnTo>
                    <a:lnTo>
                      <a:pt x="121" y="129"/>
                    </a:lnTo>
                    <a:lnTo>
                      <a:pt x="119" y="127"/>
                    </a:lnTo>
                    <a:lnTo>
                      <a:pt x="121" y="127"/>
                    </a:lnTo>
                    <a:lnTo>
                      <a:pt x="123" y="127"/>
                    </a:lnTo>
                    <a:close/>
                    <a:moveTo>
                      <a:pt x="501" y="135"/>
                    </a:moveTo>
                    <a:lnTo>
                      <a:pt x="499" y="135"/>
                    </a:lnTo>
                    <a:lnTo>
                      <a:pt x="501" y="135"/>
                    </a:lnTo>
                    <a:close/>
                    <a:moveTo>
                      <a:pt x="497" y="135"/>
                    </a:moveTo>
                    <a:lnTo>
                      <a:pt x="499" y="135"/>
                    </a:lnTo>
                    <a:lnTo>
                      <a:pt x="497" y="135"/>
                    </a:lnTo>
                    <a:lnTo>
                      <a:pt x="496" y="135"/>
                    </a:lnTo>
                    <a:lnTo>
                      <a:pt x="497" y="135"/>
                    </a:lnTo>
                    <a:lnTo>
                      <a:pt x="497" y="133"/>
                    </a:lnTo>
                    <a:lnTo>
                      <a:pt x="499" y="135"/>
                    </a:lnTo>
                    <a:lnTo>
                      <a:pt x="497" y="135"/>
                    </a:lnTo>
                    <a:close/>
                    <a:moveTo>
                      <a:pt x="311" y="138"/>
                    </a:moveTo>
                    <a:lnTo>
                      <a:pt x="309" y="138"/>
                    </a:lnTo>
                    <a:lnTo>
                      <a:pt x="309" y="137"/>
                    </a:lnTo>
                    <a:lnTo>
                      <a:pt x="311" y="137"/>
                    </a:lnTo>
                    <a:lnTo>
                      <a:pt x="313" y="137"/>
                    </a:lnTo>
                    <a:lnTo>
                      <a:pt x="313" y="138"/>
                    </a:lnTo>
                    <a:lnTo>
                      <a:pt x="311" y="138"/>
                    </a:lnTo>
                    <a:close/>
                    <a:moveTo>
                      <a:pt x="499" y="133"/>
                    </a:moveTo>
                    <a:lnTo>
                      <a:pt x="497" y="133"/>
                    </a:lnTo>
                    <a:lnTo>
                      <a:pt x="499" y="133"/>
                    </a:lnTo>
                    <a:close/>
                    <a:moveTo>
                      <a:pt x="492" y="133"/>
                    </a:moveTo>
                    <a:lnTo>
                      <a:pt x="494" y="133"/>
                    </a:lnTo>
                    <a:lnTo>
                      <a:pt x="496" y="133"/>
                    </a:lnTo>
                    <a:lnTo>
                      <a:pt x="494" y="133"/>
                    </a:lnTo>
                    <a:lnTo>
                      <a:pt x="492" y="133"/>
                    </a:lnTo>
                    <a:close/>
                    <a:moveTo>
                      <a:pt x="557" y="127"/>
                    </a:moveTo>
                    <a:lnTo>
                      <a:pt x="555" y="127"/>
                    </a:lnTo>
                    <a:lnTo>
                      <a:pt x="557" y="127"/>
                    </a:lnTo>
                    <a:close/>
                    <a:moveTo>
                      <a:pt x="463" y="123"/>
                    </a:moveTo>
                    <a:lnTo>
                      <a:pt x="465" y="123"/>
                    </a:lnTo>
                    <a:lnTo>
                      <a:pt x="463" y="123"/>
                    </a:lnTo>
                    <a:close/>
                    <a:moveTo>
                      <a:pt x="605" y="100"/>
                    </a:moveTo>
                    <a:lnTo>
                      <a:pt x="607" y="100"/>
                    </a:lnTo>
                    <a:lnTo>
                      <a:pt x="607" y="102"/>
                    </a:lnTo>
                    <a:lnTo>
                      <a:pt x="605" y="102"/>
                    </a:lnTo>
                    <a:lnTo>
                      <a:pt x="605" y="100"/>
                    </a:lnTo>
                    <a:close/>
                    <a:moveTo>
                      <a:pt x="618" y="100"/>
                    </a:moveTo>
                    <a:lnTo>
                      <a:pt x="617" y="100"/>
                    </a:lnTo>
                    <a:lnTo>
                      <a:pt x="618" y="100"/>
                    </a:lnTo>
                    <a:close/>
                    <a:moveTo>
                      <a:pt x="530" y="108"/>
                    </a:moveTo>
                    <a:lnTo>
                      <a:pt x="530" y="110"/>
                    </a:lnTo>
                    <a:lnTo>
                      <a:pt x="530" y="108"/>
                    </a:lnTo>
                    <a:close/>
                    <a:moveTo>
                      <a:pt x="603" y="100"/>
                    </a:moveTo>
                    <a:lnTo>
                      <a:pt x="603" y="102"/>
                    </a:lnTo>
                    <a:lnTo>
                      <a:pt x="603" y="100"/>
                    </a:lnTo>
                    <a:close/>
                    <a:moveTo>
                      <a:pt x="530" y="108"/>
                    </a:moveTo>
                    <a:lnTo>
                      <a:pt x="532" y="108"/>
                    </a:lnTo>
                    <a:lnTo>
                      <a:pt x="530" y="108"/>
                    </a:lnTo>
                    <a:close/>
                    <a:moveTo>
                      <a:pt x="615" y="98"/>
                    </a:moveTo>
                    <a:lnTo>
                      <a:pt x="615" y="100"/>
                    </a:lnTo>
                    <a:lnTo>
                      <a:pt x="615" y="98"/>
                    </a:lnTo>
                    <a:close/>
                    <a:moveTo>
                      <a:pt x="346" y="113"/>
                    </a:moveTo>
                    <a:lnTo>
                      <a:pt x="348" y="113"/>
                    </a:lnTo>
                    <a:lnTo>
                      <a:pt x="348" y="115"/>
                    </a:lnTo>
                    <a:lnTo>
                      <a:pt x="346" y="115"/>
                    </a:lnTo>
                    <a:lnTo>
                      <a:pt x="344" y="115"/>
                    </a:lnTo>
                    <a:lnTo>
                      <a:pt x="344" y="113"/>
                    </a:lnTo>
                    <a:lnTo>
                      <a:pt x="346" y="113"/>
                    </a:lnTo>
                    <a:close/>
                    <a:moveTo>
                      <a:pt x="348" y="113"/>
                    </a:moveTo>
                    <a:lnTo>
                      <a:pt x="350" y="113"/>
                    </a:lnTo>
                    <a:lnTo>
                      <a:pt x="348" y="113"/>
                    </a:lnTo>
                    <a:lnTo>
                      <a:pt x="346" y="113"/>
                    </a:lnTo>
                    <a:lnTo>
                      <a:pt x="348" y="113"/>
                    </a:lnTo>
                    <a:close/>
                    <a:moveTo>
                      <a:pt x="595" y="98"/>
                    </a:moveTo>
                    <a:lnTo>
                      <a:pt x="595" y="100"/>
                    </a:lnTo>
                    <a:lnTo>
                      <a:pt x="595" y="98"/>
                    </a:lnTo>
                    <a:close/>
                    <a:moveTo>
                      <a:pt x="592" y="98"/>
                    </a:moveTo>
                    <a:lnTo>
                      <a:pt x="592" y="96"/>
                    </a:lnTo>
                    <a:lnTo>
                      <a:pt x="594" y="96"/>
                    </a:lnTo>
                    <a:lnTo>
                      <a:pt x="592" y="98"/>
                    </a:lnTo>
                    <a:close/>
                    <a:moveTo>
                      <a:pt x="599" y="98"/>
                    </a:moveTo>
                    <a:lnTo>
                      <a:pt x="601" y="98"/>
                    </a:lnTo>
                    <a:lnTo>
                      <a:pt x="599" y="96"/>
                    </a:lnTo>
                    <a:lnTo>
                      <a:pt x="597" y="94"/>
                    </a:lnTo>
                    <a:lnTo>
                      <a:pt x="599" y="96"/>
                    </a:lnTo>
                    <a:lnTo>
                      <a:pt x="601" y="96"/>
                    </a:lnTo>
                    <a:lnTo>
                      <a:pt x="601" y="98"/>
                    </a:lnTo>
                    <a:lnTo>
                      <a:pt x="599" y="98"/>
                    </a:lnTo>
                    <a:close/>
                    <a:moveTo>
                      <a:pt x="595" y="96"/>
                    </a:moveTo>
                    <a:lnTo>
                      <a:pt x="595" y="94"/>
                    </a:lnTo>
                    <a:lnTo>
                      <a:pt x="597" y="94"/>
                    </a:lnTo>
                    <a:lnTo>
                      <a:pt x="595" y="94"/>
                    </a:lnTo>
                    <a:lnTo>
                      <a:pt x="597" y="94"/>
                    </a:lnTo>
                    <a:lnTo>
                      <a:pt x="597" y="96"/>
                    </a:lnTo>
                    <a:lnTo>
                      <a:pt x="599" y="96"/>
                    </a:lnTo>
                    <a:lnTo>
                      <a:pt x="599" y="98"/>
                    </a:lnTo>
                    <a:lnTo>
                      <a:pt x="597" y="98"/>
                    </a:lnTo>
                    <a:lnTo>
                      <a:pt x="599" y="98"/>
                    </a:lnTo>
                    <a:lnTo>
                      <a:pt x="597" y="98"/>
                    </a:lnTo>
                    <a:lnTo>
                      <a:pt x="597" y="96"/>
                    </a:lnTo>
                    <a:lnTo>
                      <a:pt x="597" y="98"/>
                    </a:lnTo>
                    <a:lnTo>
                      <a:pt x="595" y="98"/>
                    </a:lnTo>
                    <a:lnTo>
                      <a:pt x="597" y="98"/>
                    </a:lnTo>
                    <a:lnTo>
                      <a:pt x="595" y="98"/>
                    </a:lnTo>
                    <a:lnTo>
                      <a:pt x="594" y="98"/>
                    </a:lnTo>
                    <a:lnTo>
                      <a:pt x="594" y="100"/>
                    </a:lnTo>
                    <a:lnTo>
                      <a:pt x="595" y="100"/>
                    </a:lnTo>
                    <a:lnTo>
                      <a:pt x="594" y="100"/>
                    </a:lnTo>
                    <a:lnTo>
                      <a:pt x="595" y="100"/>
                    </a:lnTo>
                    <a:lnTo>
                      <a:pt x="594" y="100"/>
                    </a:lnTo>
                    <a:lnTo>
                      <a:pt x="592" y="102"/>
                    </a:lnTo>
                    <a:lnTo>
                      <a:pt x="590" y="102"/>
                    </a:lnTo>
                    <a:lnTo>
                      <a:pt x="592" y="102"/>
                    </a:lnTo>
                    <a:lnTo>
                      <a:pt x="590" y="102"/>
                    </a:lnTo>
                    <a:lnTo>
                      <a:pt x="588" y="102"/>
                    </a:lnTo>
                    <a:lnTo>
                      <a:pt x="586" y="102"/>
                    </a:lnTo>
                    <a:lnTo>
                      <a:pt x="588" y="102"/>
                    </a:lnTo>
                    <a:lnTo>
                      <a:pt x="588" y="100"/>
                    </a:lnTo>
                    <a:lnTo>
                      <a:pt x="586" y="100"/>
                    </a:lnTo>
                    <a:lnTo>
                      <a:pt x="588" y="100"/>
                    </a:lnTo>
                    <a:lnTo>
                      <a:pt x="590" y="100"/>
                    </a:lnTo>
                    <a:lnTo>
                      <a:pt x="590" y="98"/>
                    </a:lnTo>
                    <a:lnTo>
                      <a:pt x="592" y="98"/>
                    </a:lnTo>
                    <a:lnTo>
                      <a:pt x="592" y="100"/>
                    </a:lnTo>
                    <a:lnTo>
                      <a:pt x="592" y="98"/>
                    </a:lnTo>
                    <a:lnTo>
                      <a:pt x="594" y="98"/>
                    </a:lnTo>
                    <a:lnTo>
                      <a:pt x="594" y="96"/>
                    </a:lnTo>
                    <a:lnTo>
                      <a:pt x="595" y="96"/>
                    </a:lnTo>
                    <a:lnTo>
                      <a:pt x="595" y="94"/>
                    </a:lnTo>
                    <a:lnTo>
                      <a:pt x="595" y="96"/>
                    </a:lnTo>
                    <a:close/>
                    <a:moveTo>
                      <a:pt x="430" y="108"/>
                    </a:moveTo>
                    <a:lnTo>
                      <a:pt x="428" y="108"/>
                    </a:lnTo>
                    <a:lnTo>
                      <a:pt x="430" y="108"/>
                    </a:lnTo>
                    <a:close/>
                    <a:moveTo>
                      <a:pt x="597" y="94"/>
                    </a:moveTo>
                    <a:lnTo>
                      <a:pt x="595" y="94"/>
                    </a:lnTo>
                    <a:lnTo>
                      <a:pt x="595" y="92"/>
                    </a:lnTo>
                    <a:lnTo>
                      <a:pt x="597" y="94"/>
                    </a:lnTo>
                    <a:close/>
                    <a:moveTo>
                      <a:pt x="595" y="92"/>
                    </a:moveTo>
                    <a:lnTo>
                      <a:pt x="595" y="94"/>
                    </a:lnTo>
                    <a:lnTo>
                      <a:pt x="594" y="94"/>
                    </a:lnTo>
                    <a:lnTo>
                      <a:pt x="595" y="94"/>
                    </a:lnTo>
                    <a:lnTo>
                      <a:pt x="594" y="94"/>
                    </a:lnTo>
                    <a:lnTo>
                      <a:pt x="595" y="92"/>
                    </a:lnTo>
                    <a:close/>
                    <a:moveTo>
                      <a:pt x="444" y="100"/>
                    </a:moveTo>
                    <a:lnTo>
                      <a:pt x="442" y="100"/>
                    </a:lnTo>
                    <a:lnTo>
                      <a:pt x="444" y="100"/>
                    </a:lnTo>
                    <a:close/>
                    <a:moveTo>
                      <a:pt x="444" y="98"/>
                    </a:moveTo>
                    <a:lnTo>
                      <a:pt x="442" y="98"/>
                    </a:lnTo>
                    <a:lnTo>
                      <a:pt x="444" y="98"/>
                    </a:lnTo>
                    <a:lnTo>
                      <a:pt x="444" y="100"/>
                    </a:lnTo>
                    <a:lnTo>
                      <a:pt x="442" y="100"/>
                    </a:lnTo>
                    <a:lnTo>
                      <a:pt x="442" y="98"/>
                    </a:lnTo>
                    <a:lnTo>
                      <a:pt x="444" y="98"/>
                    </a:lnTo>
                    <a:close/>
                    <a:moveTo>
                      <a:pt x="444" y="96"/>
                    </a:moveTo>
                    <a:lnTo>
                      <a:pt x="442" y="96"/>
                    </a:lnTo>
                    <a:lnTo>
                      <a:pt x="444" y="96"/>
                    </a:lnTo>
                    <a:close/>
                    <a:moveTo>
                      <a:pt x="444" y="94"/>
                    </a:moveTo>
                    <a:lnTo>
                      <a:pt x="442" y="94"/>
                    </a:lnTo>
                    <a:lnTo>
                      <a:pt x="442" y="96"/>
                    </a:lnTo>
                    <a:lnTo>
                      <a:pt x="442" y="94"/>
                    </a:lnTo>
                    <a:lnTo>
                      <a:pt x="444" y="94"/>
                    </a:lnTo>
                    <a:close/>
                    <a:moveTo>
                      <a:pt x="426" y="90"/>
                    </a:moveTo>
                    <a:lnTo>
                      <a:pt x="428" y="90"/>
                    </a:lnTo>
                    <a:lnTo>
                      <a:pt x="426" y="90"/>
                    </a:lnTo>
                    <a:close/>
                    <a:moveTo>
                      <a:pt x="426" y="90"/>
                    </a:moveTo>
                    <a:lnTo>
                      <a:pt x="424" y="90"/>
                    </a:lnTo>
                    <a:lnTo>
                      <a:pt x="426" y="90"/>
                    </a:lnTo>
                    <a:close/>
                    <a:moveTo>
                      <a:pt x="432" y="90"/>
                    </a:moveTo>
                    <a:lnTo>
                      <a:pt x="432" y="88"/>
                    </a:lnTo>
                    <a:lnTo>
                      <a:pt x="432" y="90"/>
                    </a:lnTo>
                    <a:close/>
                    <a:moveTo>
                      <a:pt x="426" y="88"/>
                    </a:moveTo>
                    <a:lnTo>
                      <a:pt x="426" y="90"/>
                    </a:lnTo>
                    <a:lnTo>
                      <a:pt x="426" y="88"/>
                    </a:lnTo>
                    <a:close/>
                    <a:moveTo>
                      <a:pt x="442" y="88"/>
                    </a:moveTo>
                    <a:lnTo>
                      <a:pt x="440" y="88"/>
                    </a:lnTo>
                    <a:lnTo>
                      <a:pt x="442" y="88"/>
                    </a:lnTo>
                    <a:close/>
                    <a:moveTo>
                      <a:pt x="557" y="77"/>
                    </a:moveTo>
                    <a:lnTo>
                      <a:pt x="555" y="77"/>
                    </a:lnTo>
                    <a:lnTo>
                      <a:pt x="557" y="77"/>
                    </a:lnTo>
                    <a:close/>
                    <a:moveTo>
                      <a:pt x="561" y="77"/>
                    </a:moveTo>
                    <a:lnTo>
                      <a:pt x="561" y="75"/>
                    </a:lnTo>
                    <a:lnTo>
                      <a:pt x="563" y="75"/>
                    </a:lnTo>
                    <a:lnTo>
                      <a:pt x="561" y="77"/>
                    </a:lnTo>
                    <a:close/>
                    <a:moveTo>
                      <a:pt x="388" y="81"/>
                    </a:moveTo>
                    <a:lnTo>
                      <a:pt x="386" y="81"/>
                    </a:lnTo>
                    <a:lnTo>
                      <a:pt x="388" y="81"/>
                    </a:lnTo>
                    <a:lnTo>
                      <a:pt x="386" y="81"/>
                    </a:lnTo>
                    <a:lnTo>
                      <a:pt x="388" y="81"/>
                    </a:lnTo>
                    <a:close/>
                    <a:moveTo>
                      <a:pt x="545" y="71"/>
                    </a:moveTo>
                    <a:lnTo>
                      <a:pt x="545" y="73"/>
                    </a:lnTo>
                    <a:lnTo>
                      <a:pt x="545" y="71"/>
                    </a:lnTo>
                    <a:close/>
                    <a:moveTo>
                      <a:pt x="551" y="71"/>
                    </a:moveTo>
                    <a:lnTo>
                      <a:pt x="549" y="71"/>
                    </a:lnTo>
                    <a:lnTo>
                      <a:pt x="547" y="71"/>
                    </a:lnTo>
                    <a:lnTo>
                      <a:pt x="547" y="73"/>
                    </a:lnTo>
                    <a:lnTo>
                      <a:pt x="547" y="71"/>
                    </a:lnTo>
                    <a:lnTo>
                      <a:pt x="549" y="71"/>
                    </a:lnTo>
                    <a:lnTo>
                      <a:pt x="551" y="71"/>
                    </a:lnTo>
                    <a:close/>
                    <a:moveTo>
                      <a:pt x="373" y="79"/>
                    </a:moveTo>
                    <a:lnTo>
                      <a:pt x="371" y="79"/>
                    </a:lnTo>
                    <a:lnTo>
                      <a:pt x="373" y="79"/>
                    </a:lnTo>
                    <a:close/>
                    <a:moveTo>
                      <a:pt x="330" y="79"/>
                    </a:moveTo>
                    <a:lnTo>
                      <a:pt x="328" y="77"/>
                    </a:lnTo>
                    <a:lnTo>
                      <a:pt x="326" y="77"/>
                    </a:lnTo>
                    <a:lnTo>
                      <a:pt x="325" y="77"/>
                    </a:lnTo>
                    <a:lnTo>
                      <a:pt x="323" y="77"/>
                    </a:lnTo>
                    <a:lnTo>
                      <a:pt x="321" y="75"/>
                    </a:lnTo>
                    <a:lnTo>
                      <a:pt x="319" y="75"/>
                    </a:lnTo>
                    <a:lnTo>
                      <a:pt x="321" y="75"/>
                    </a:lnTo>
                    <a:lnTo>
                      <a:pt x="323" y="75"/>
                    </a:lnTo>
                    <a:lnTo>
                      <a:pt x="325" y="77"/>
                    </a:lnTo>
                    <a:lnTo>
                      <a:pt x="326" y="77"/>
                    </a:lnTo>
                    <a:lnTo>
                      <a:pt x="328" y="77"/>
                    </a:lnTo>
                    <a:lnTo>
                      <a:pt x="330" y="77"/>
                    </a:lnTo>
                    <a:lnTo>
                      <a:pt x="330" y="79"/>
                    </a:lnTo>
                    <a:close/>
                    <a:moveTo>
                      <a:pt x="532" y="67"/>
                    </a:moveTo>
                    <a:lnTo>
                      <a:pt x="532" y="65"/>
                    </a:lnTo>
                    <a:lnTo>
                      <a:pt x="532" y="67"/>
                    </a:lnTo>
                    <a:lnTo>
                      <a:pt x="530" y="67"/>
                    </a:lnTo>
                    <a:lnTo>
                      <a:pt x="530" y="65"/>
                    </a:lnTo>
                    <a:lnTo>
                      <a:pt x="532" y="67"/>
                    </a:lnTo>
                    <a:close/>
                    <a:moveTo>
                      <a:pt x="509" y="67"/>
                    </a:moveTo>
                    <a:lnTo>
                      <a:pt x="507" y="67"/>
                    </a:lnTo>
                    <a:lnTo>
                      <a:pt x="507" y="65"/>
                    </a:lnTo>
                    <a:lnTo>
                      <a:pt x="509" y="67"/>
                    </a:lnTo>
                    <a:close/>
                    <a:moveTo>
                      <a:pt x="463" y="69"/>
                    </a:moveTo>
                    <a:lnTo>
                      <a:pt x="461" y="69"/>
                    </a:lnTo>
                    <a:lnTo>
                      <a:pt x="463" y="69"/>
                    </a:lnTo>
                    <a:close/>
                    <a:moveTo>
                      <a:pt x="509" y="65"/>
                    </a:moveTo>
                    <a:lnTo>
                      <a:pt x="507" y="65"/>
                    </a:lnTo>
                    <a:lnTo>
                      <a:pt x="509" y="65"/>
                    </a:lnTo>
                    <a:close/>
                    <a:moveTo>
                      <a:pt x="311" y="63"/>
                    </a:moveTo>
                    <a:lnTo>
                      <a:pt x="313" y="63"/>
                    </a:lnTo>
                    <a:lnTo>
                      <a:pt x="311" y="63"/>
                    </a:lnTo>
                    <a:close/>
                    <a:moveTo>
                      <a:pt x="311" y="63"/>
                    </a:moveTo>
                    <a:lnTo>
                      <a:pt x="309" y="63"/>
                    </a:lnTo>
                    <a:lnTo>
                      <a:pt x="311" y="63"/>
                    </a:lnTo>
                    <a:close/>
                    <a:moveTo>
                      <a:pt x="467" y="62"/>
                    </a:moveTo>
                    <a:lnTo>
                      <a:pt x="469" y="62"/>
                    </a:lnTo>
                    <a:lnTo>
                      <a:pt x="467" y="62"/>
                    </a:lnTo>
                    <a:lnTo>
                      <a:pt x="467" y="63"/>
                    </a:lnTo>
                    <a:lnTo>
                      <a:pt x="465" y="63"/>
                    </a:lnTo>
                    <a:lnTo>
                      <a:pt x="465" y="62"/>
                    </a:lnTo>
                    <a:lnTo>
                      <a:pt x="467" y="62"/>
                    </a:lnTo>
                    <a:close/>
                    <a:moveTo>
                      <a:pt x="350" y="63"/>
                    </a:moveTo>
                    <a:lnTo>
                      <a:pt x="351" y="63"/>
                    </a:lnTo>
                    <a:lnTo>
                      <a:pt x="350" y="63"/>
                    </a:lnTo>
                    <a:close/>
                    <a:moveTo>
                      <a:pt x="328" y="62"/>
                    </a:moveTo>
                    <a:lnTo>
                      <a:pt x="328" y="63"/>
                    </a:lnTo>
                    <a:lnTo>
                      <a:pt x="330" y="63"/>
                    </a:lnTo>
                    <a:lnTo>
                      <a:pt x="332" y="63"/>
                    </a:lnTo>
                    <a:lnTo>
                      <a:pt x="330" y="63"/>
                    </a:lnTo>
                    <a:lnTo>
                      <a:pt x="332" y="63"/>
                    </a:lnTo>
                    <a:lnTo>
                      <a:pt x="334" y="63"/>
                    </a:lnTo>
                    <a:lnTo>
                      <a:pt x="334" y="65"/>
                    </a:lnTo>
                    <a:lnTo>
                      <a:pt x="332" y="65"/>
                    </a:lnTo>
                    <a:lnTo>
                      <a:pt x="330" y="65"/>
                    </a:lnTo>
                    <a:lnTo>
                      <a:pt x="328" y="65"/>
                    </a:lnTo>
                    <a:lnTo>
                      <a:pt x="328" y="63"/>
                    </a:lnTo>
                    <a:lnTo>
                      <a:pt x="330" y="63"/>
                    </a:lnTo>
                    <a:lnTo>
                      <a:pt x="328" y="63"/>
                    </a:lnTo>
                    <a:lnTo>
                      <a:pt x="325" y="62"/>
                    </a:lnTo>
                    <a:lnTo>
                      <a:pt x="323" y="63"/>
                    </a:lnTo>
                    <a:lnTo>
                      <a:pt x="325" y="63"/>
                    </a:lnTo>
                    <a:lnTo>
                      <a:pt x="323" y="63"/>
                    </a:lnTo>
                    <a:lnTo>
                      <a:pt x="321" y="63"/>
                    </a:lnTo>
                    <a:lnTo>
                      <a:pt x="323" y="63"/>
                    </a:lnTo>
                    <a:lnTo>
                      <a:pt x="321" y="63"/>
                    </a:lnTo>
                    <a:lnTo>
                      <a:pt x="321" y="65"/>
                    </a:lnTo>
                    <a:lnTo>
                      <a:pt x="319" y="65"/>
                    </a:lnTo>
                    <a:lnTo>
                      <a:pt x="319" y="63"/>
                    </a:lnTo>
                    <a:lnTo>
                      <a:pt x="317" y="63"/>
                    </a:lnTo>
                    <a:lnTo>
                      <a:pt x="313" y="63"/>
                    </a:lnTo>
                    <a:lnTo>
                      <a:pt x="315" y="63"/>
                    </a:lnTo>
                    <a:lnTo>
                      <a:pt x="317" y="63"/>
                    </a:lnTo>
                    <a:lnTo>
                      <a:pt x="319" y="63"/>
                    </a:lnTo>
                    <a:lnTo>
                      <a:pt x="321" y="63"/>
                    </a:lnTo>
                    <a:lnTo>
                      <a:pt x="323" y="62"/>
                    </a:lnTo>
                    <a:lnTo>
                      <a:pt x="326" y="62"/>
                    </a:lnTo>
                    <a:lnTo>
                      <a:pt x="328" y="62"/>
                    </a:lnTo>
                    <a:close/>
                    <a:moveTo>
                      <a:pt x="309" y="62"/>
                    </a:moveTo>
                    <a:lnTo>
                      <a:pt x="311" y="63"/>
                    </a:lnTo>
                    <a:lnTo>
                      <a:pt x="309" y="63"/>
                    </a:lnTo>
                    <a:lnTo>
                      <a:pt x="307" y="62"/>
                    </a:lnTo>
                    <a:lnTo>
                      <a:pt x="309" y="62"/>
                    </a:lnTo>
                    <a:close/>
                    <a:moveTo>
                      <a:pt x="346" y="63"/>
                    </a:moveTo>
                    <a:lnTo>
                      <a:pt x="344" y="63"/>
                    </a:lnTo>
                    <a:lnTo>
                      <a:pt x="346" y="63"/>
                    </a:lnTo>
                    <a:close/>
                    <a:moveTo>
                      <a:pt x="305" y="62"/>
                    </a:moveTo>
                    <a:lnTo>
                      <a:pt x="307" y="62"/>
                    </a:lnTo>
                    <a:lnTo>
                      <a:pt x="309" y="62"/>
                    </a:lnTo>
                    <a:lnTo>
                      <a:pt x="309" y="63"/>
                    </a:lnTo>
                    <a:lnTo>
                      <a:pt x="307" y="62"/>
                    </a:lnTo>
                    <a:lnTo>
                      <a:pt x="305" y="62"/>
                    </a:lnTo>
                    <a:lnTo>
                      <a:pt x="303" y="62"/>
                    </a:lnTo>
                    <a:lnTo>
                      <a:pt x="305" y="62"/>
                    </a:lnTo>
                    <a:close/>
                    <a:moveTo>
                      <a:pt x="359" y="62"/>
                    </a:moveTo>
                    <a:lnTo>
                      <a:pt x="357" y="62"/>
                    </a:lnTo>
                    <a:lnTo>
                      <a:pt x="359" y="62"/>
                    </a:lnTo>
                    <a:close/>
                    <a:moveTo>
                      <a:pt x="348" y="62"/>
                    </a:moveTo>
                    <a:lnTo>
                      <a:pt x="346" y="62"/>
                    </a:lnTo>
                    <a:lnTo>
                      <a:pt x="348" y="62"/>
                    </a:lnTo>
                    <a:close/>
                    <a:moveTo>
                      <a:pt x="351" y="62"/>
                    </a:moveTo>
                    <a:lnTo>
                      <a:pt x="350" y="62"/>
                    </a:lnTo>
                    <a:lnTo>
                      <a:pt x="351" y="60"/>
                    </a:lnTo>
                    <a:lnTo>
                      <a:pt x="351" y="62"/>
                    </a:lnTo>
                    <a:close/>
                    <a:moveTo>
                      <a:pt x="296" y="60"/>
                    </a:moveTo>
                    <a:lnTo>
                      <a:pt x="298" y="60"/>
                    </a:lnTo>
                    <a:lnTo>
                      <a:pt x="296" y="60"/>
                    </a:lnTo>
                    <a:lnTo>
                      <a:pt x="294" y="58"/>
                    </a:lnTo>
                    <a:lnTo>
                      <a:pt x="296" y="58"/>
                    </a:lnTo>
                    <a:lnTo>
                      <a:pt x="296" y="60"/>
                    </a:lnTo>
                    <a:close/>
                    <a:moveTo>
                      <a:pt x="348" y="60"/>
                    </a:moveTo>
                    <a:lnTo>
                      <a:pt x="346" y="60"/>
                    </a:lnTo>
                    <a:lnTo>
                      <a:pt x="348" y="60"/>
                    </a:lnTo>
                    <a:close/>
                    <a:moveTo>
                      <a:pt x="290" y="58"/>
                    </a:moveTo>
                    <a:lnTo>
                      <a:pt x="292" y="58"/>
                    </a:lnTo>
                    <a:lnTo>
                      <a:pt x="290" y="58"/>
                    </a:lnTo>
                    <a:lnTo>
                      <a:pt x="288" y="58"/>
                    </a:lnTo>
                    <a:lnTo>
                      <a:pt x="290" y="58"/>
                    </a:lnTo>
                    <a:close/>
                    <a:moveTo>
                      <a:pt x="292" y="58"/>
                    </a:moveTo>
                    <a:lnTo>
                      <a:pt x="296" y="58"/>
                    </a:lnTo>
                    <a:lnTo>
                      <a:pt x="298" y="58"/>
                    </a:lnTo>
                    <a:lnTo>
                      <a:pt x="300" y="60"/>
                    </a:lnTo>
                    <a:lnTo>
                      <a:pt x="301" y="60"/>
                    </a:lnTo>
                    <a:lnTo>
                      <a:pt x="303" y="60"/>
                    </a:lnTo>
                    <a:lnTo>
                      <a:pt x="305" y="62"/>
                    </a:lnTo>
                    <a:lnTo>
                      <a:pt x="303" y="62"/>
                    </a:lnTo>
                    <a:lnTo>
                      <a:pt x="303" y="60"/>
                    </a:lnTo>
                    <a:lnTo>
                      <a:pt x="301" y="60"/>
                    </a:lnTo>
                    <a:lnTo>
                      <a:pt x="300" y="60"/>
                    </a:lnTo>
                    <a:lnTo>
                      <a:pt x="296" y="58"/>
                    </a:lnTo>
                    <a:lnTo>
                      <a:pt x="294" y="58"/>
                    </a:lnTo>
                    <a:lnTo>
                      <a:pt x="292" y="58"/>
                    </a:lnTo>
                    <a:close/>
                    <a:moveTo>
                      <a:pt x="332" y="58"/>
                    </a:moveTo>
                    <a:lnTo>
                      <a:pt x="332" y="60"/>
                    </a:lnTo>
                    <a:lnTo>
                      <a:pt x="330" y="58"/>
                    </a:lnTo>
                    <a:lnTo>
                      <a:pt x="332" y="58"/>
                    </a:lnTo>
                    <a:close/>
                    <a:moveTo>
                      <a:pt x="465" y="58"/>
                    </a:moveTo>
                    <a:lnTo>
                      <a:pt x="465" y="56"/>
                    </a:lnTo>
                    <a:lnTo>
                      <a:pt x="465" y="58"/>
                    </a:lnTo>
                    <a:close/>
                    <a:moveTo>
                      <a:pt x="469" y="56"/>
                    </a:moveTo>
                    <a:lnTo>
                      <a:pt x="467" y="56"/>
                    </a:lnTo>
                    <a:lnTo>
                      <a:pt x="469" y="56"/>
                    </a:lnTo>
                    <a:close/>
                    <a:moveTo>
                      <a:pt x="471" y="54"/>
                    </a:moveTo>
                    <a:lnTo>
                      <a:pt x="469" y="54"/>
                    </a:lnTo>
                    <a:lnTo>
                      <a:pt x="471" y="54"/>
                    </a:lnTo>
                    <a:close/>
                    <a:moveTo>
                      <a:pt x="467" y="50"/>
                    </a:moveTo>
                    <a:lnTo>
                      <a:pt x="469" y="50"/>
                    </a:lnTo>
                    <a:lnTo>
                      <a:pt x="469" y="52"/>
                    </a:lnTo>
                    <a:lnTo>
                      <a:pt x="467" y="52"/>
                    </a:lnTo>
                    <a:lnTo>
                      <a:pt x="469" y="52"/>
                    </a:lnTo>
                    <a:lnTo>
                      <a:pt x="471" y="52"/>
                    </a:lnTo>
                    <a:lnTo>
                      <a:pt x="472" y="52"/>
                    </a:lnTo>
                    <a:lnTo>
                      <a:pt x="471" y="52"/>
                    </a:lnTo>
                    <a:lnTo>
                      <a:pt x="469" y="52"/>
                    </a:lnTo>
                    <a:lnTo>
                      <a:pt x="467" y="54"/>
                    </a:lnTo>
                    <a:lnTo>
                      <a:pt x="467" y="56"/>
                    </a:lnTo>
                    <a:lnTo>
                      <a:pt x="465" y="56"/>
                    </a:lnTo>
                    <a:lnTo>
                      <a:pt x="465" y="54"/>
                    </a:lnTo>
                    <a:lnTo>
                      <a:pt x="467" y="52"/>
                    </a:lnTo>
                    <a:lnTo>
                      <a:pt x="465" y="50"/>
                    </a:lnTo>
                    <a:lnTo>
                      <a:pt x="467" y="50"/>
                    </a:lnTo>
                    <a:close/>
                    <a:moveTo>
                      <a:pt x="301" y="50"/>
                    </a:moveTo>
                    <a:lnTo>
                      <a:pt x="303" y="50"/>
                    </a:lnTo>
                    <a:lnTo>
                      <a:pt x="305" y="50"/>
                    </a:lnTo>
                    <a:lnTo>
                      <a:pt x="305" y="52"/>
                    </a:lnTo>
                    <a:lnTo>
                      <a:pt x="307" y="52"/>
                    </a:lnTo>
                    <a:lnTo>
                      <a:pt x="309" y="52"/>
                    </a:lnTo>
                    <a:lnTo>
                      <a:pt x="311" y="52"/>
                    </a:lnTo>
                    <a:lnTo>
                      <a:pt x="313" y="52"/>
                    </a:lnTo>
                    <a:lnTo>
                      <a:pt x="311" y="52"/>
                    </a:lnTo>
                    <a:lnTo>
                      <a:pt x="313" y="52"/>
                    </a:lnTo>
                    <a:lnTo>
                      <a:pt x="313" y="54"/>
                    </a:lnTo>
                    <a:lnTo>
                      <a:pt x="315" y="54"/>
                    </a:lnTo>
                    <a:lnTo>
                      <a:pt x="313" y="54"/>
                    </a:lnTo>
                    <a:lnTo>
                      <a:pt x="315" y="54"/>
                    </a:lnTo>
                    <a:lnTo>
                      <a:pt x="313" y="54"/>
                    </a:lnTo>
                    <a:lnTo>
                      <a:pt x="311" y="54"/>
                    </a:lnTo>
                    <a:lnTo>
                      <a:pt x="309" y="54"/>
                    </a:lnTo>
                    <a:lnTo>
                      <a:pt x="309" y="56"/>
                    </a:lnTo>
                    <a:lnTo>
                      <a:pt x="309" y="54"/>
                    </a:lnTo>
                    <a:lnTo>
                      <a:pt x="311" y="54"/>
                    </a:lnTo>
                    <a:lnTo>
                      <a:pt x="311" y="56"/>
                    </a:lnTo>
                    <a:lnTo>
                      <a:pt x="309" y="56"/>
                    </a:lnTo>
                    <a:lnTo>
                      <a:pt x="309" y="54"/>
                    </a:lnTo>
                    <a:lnTo>
                      <a:pt x="307" y="54"/>
                    </a:lnTo>
                    <a:lnTo>
                      <a:pt x="305" y="54"/>
                    </a:lnTo>
                    <a:lnTo>
                      <a:pt x="303" y="52"/>
                    </a:lnTo>
                    <a:lnTo>
                      <a:pt x="301" y="52"/>
                    </a:lnTo>
                    <a:lnTo>
                      <a:pt x="300" y="52"/>
                    </a:lnTo>
                    <a:lnTo>
                      <a:pt x="300" y="50"/>
                    </a:lnTo>
                    <a:lnTo>
                      <a:pt x="301" y="50"/>
                    </a:lnTo>
                    <a:close/>
                    <a:moveTo>
                      <a:pt x="323" y="52"/>
                    </a:moveTo>
                    <a:lnTo>
                      <a:pt x="321" y="52"/>
                    </a:lnTo>
                    <a:lnTo>
                      <a:pt x="321" y="50"/>
                    </a:lnTo>
                    <a:lnTo>
                      <a:pt x="323" y="52"/>
                    </a:lnTo>
                    <a:close/>
                    <a:moveTo>
                      <a:pt x="436" y="46"/>
                    </a:moveTo>
                    <a:lnTo>
                      <a:pt x="434" y="46"/>
                    </a:lnTo>
                    <a:lnTo>
                      <a:pt x="436" y="46"/>
                    </a:lnTo>
                    <a:close/>
                    <a:moveTo>
                      <a:pt x="432" y="44"/>
                    </a:moveTo>
                    <a:lnTo>
                      <a:pt x="432" y="46"/>
                    </a:lnTo>
                    <a:lnTo>
                      <a:pt x="432" y="44"/>
                    </a:lnTo>
                    <a:close/>
                    <a:moveTo>
                      <a:pt x="432" y="44"/>
                    </a:moveTo>
                    <a:lnTo>
                      <a:pt x="432" y="46"/>
                    </a:lnTo>
                    <a:lnTo>
                      <a:pt x="430" y="46"/>
                    </a:lnTo>
                    <a:lnTo>
                      <a:pt x="432" y="44"/>
                    </a:lnTo>
                    <a:close/>
                    <a:moveTo>
                      <a:pt x="359" y="44"/>
                    </a:moveTo>
                    <a:lnTo>
                      <a:pt x="357" y="44"/>
                    </a:lnTo>
                    <a:lnTo>
                      <a:pt x="359" y="44"/>
                    </a:lnTo>
                    <a:close/>
                    <a:moveTo>
                      <a:pt x="428" y="42"/>
                    </a:moveTo>
                    <a:lnTo>
                      <a:pt x="426" y="42"/>
                    </a:lnTo>
                    <a:lnTo>
                      <a:pt x="428" y="42"/>
                    </a:lnTo>
                    <a:close/>
                    <a:moveTo>
                      <a:pt x="430" y="44"/>
                    </a:moveTo>
                    <a:lnTo>
                      <a:pt x="428" y="44"/>
                    </a:lnTo>
                    <a:lnTo>
                      <a:pt x="430" y="44"/>
                    </a:lnTo>
                    <a:lnTo>
                      <a:pt x="428" y="44"/>
                    </a:lnTo>
                    <a:lnTo>
                      <a:pt x="430" y="42"/>
                    </a:lnTo>
                    <a:lnTo>
                      <a:pt x="430" y="44"/>
                    </a:lnTo>
                    <a:close/>
                    <a:moveTo>
                      <a:pt x="430" y="42"/>
                    </a:moveTo>
                    <a:lnTo>
                      <a:pt x="432" y="42"/>
                    </a:lnTo>
                    <a:lnTo>
                      <a:pt x="432" y="44"/>
                    </a:lnTo>
                    <a:lnTo>
                      <a:pt x="430" y="44"/>
                    </a:lnTo>
                    <a:lnTo>
                      <a:pt x="432" y="44"/>
                    </a:lnTo>
                    <a:lnTo>
                      <a:pt x="430" y="44"/>
                    </a:lnTo>
                    <a:lnTo>
                      <a:pt x="430" y="42"/>
                    </a:lnTo>
                    <a:close/>
                    <a:moveTo>
                      <a:pt x="363" y="42"/>
                    </a:moveTo>
                    <a:lnTo>
                      <a:pt x="361" y="42"/>
                    </a:lnTo>
                    <a:lnTo>
                      <a:pt x="363" y="42"/>
                    </a:lnTo>
                    <a:close/>
                    <a:moveTo>
                      <a:pt x="361" y="42"/>
                    </a:moveTo>
                    <a:lnTo>
                      <a:pt x="359" y="42"/>
                    </a:lnTo>
                    <a:lnTo>
                      <a:pt x="361" y="42"/>
                    </a:lnTo>
                    <a:close/>
                    <a:moveTo>
                      <a:pt x="357" y="42"/>
                    </a:moveTo>
                    <a:lnTo>
                      <a:pt x="355" y="42"/>
                    </a:lnTo>
                    <a:lnTo>
                      <a:pt x="353" y="42"/>
                    </a:lnTo>
                    <a:lnTo>
                      <a:pt x="351" y="42"/>
                    </a:lnTo>
                    <a:lnTo>
                      <a:pt x="353" y="42"/>
                    </a:lnTo>
                    <a:lnTo>
                      <a:pt x="355" y="40"/>
                    </a:lnTo>
                    <a:lnTo>
                      <a:pt x="357" y="42"/>
                    </a:lnTo>
                    <a:close/>
                    <a:moveTo>
                      <a:pt x="444" y="40"/>
                    </a:moveTo>
                    <a:lnTo>
                      <a:pt x="444" y="38"/>
                    </a:lnTo>
                    <a:lnTo>
                      <a:pt x="444" y="40"/>
                    </a:lnTo>
                    <a:close/>
                    <a:moveTo>
                      <a:pt x="330" y="40"/>
                    </a:moveTo>
                    <a:lnTo>
                      <a:pt x="328" y="40"/>
                    </a:lnTo>
                    <a:lnTo>
                      <a:pt x="330" y="40"/>
                    </a:lnTo>
                    <a:lnTo>
                      <a:pt x="332" y="40"/>
                    </a:lnTo>
                    <a:lnTo>
                      <a:pt x="330" y="40"/>
                    </a:lnTo>
                    <a:close/>
                    <a:moveTo>
                      <a:pt x="359" y="40"/>
                    </a:moveTo>
                    <a:lnTo>
                      <a:pt x="361" y="40"/>
                    </a:lnTo>
                    <a:lnTo>
                      <a:pt x="359" y="40"/>
                    </a:lnTo>
                    <a:lnTo>
                      <a:pt x="359" y="42"/>
                    </a:lnTo>
                    <a:lnTo>
                      <a:pt x="357" y="40"/>
                    </a:lnTo>
                    <a:lnTo>
                      <a:pt x="357" y="42"/>
                    </a:lnTo>
                    <a:lnTo>
                      <a:pt x="355" y="40"/>
                    </a:lnTo>
                    <a:lnTo>
                      <a:pt x="357" y="40"/>
                    </a:lnTo>
                    <a:lnTo>
                      <a:pt x="359" y="40"/>
                    </a:lnTo>
                    <a:close/>
                    <a:moveTo>
                      <a:pt x="430" y="38"/>
                    </a:moveTo>
                    <a:lnTo>
                      <a:pt x="428" y="38"/>
                    </a:lnTo>
                    <a:lnTo>
                      <a:pt x="430" y="38"/>
                    </a:lnTo>
                    <a:close/>
                    <a:moveTo>
                      <a:pt x="442" y="38"/>
                    </a:moveTo>
                    <a:lnTo>
                      <a:pt x="440" y="38"/>
                    </a:lnTo>
                    <a:lnTo>
                      <a:pt x="442" y="38"/>
                    </a:lnTo>
                    <a:close/>
                    <a:moveTo>
                      <a:pt x="440" y="38"/>
                    </a:moveTo>
                    <a:lnTo>
                      <a:pt x="438" y="38"/>
                    </a:lnTo>
                    <a:lnTo>
                      <a:pt x="440" y="38"/>
                    </a:lnTo>
                    <a:close/>
                    <a:moveTo>
                      <a:pt x="371" y="38"/>
                    </a:moveTo>
                    <a:lnTo>
                      <a:pt x="369" y="38"/>
                    </a:lnTo>
                    <a:lnTo>
                      <a:pt x="371" y="38"/>
                    </a:lnTo>
                    <a:close/>
                    <a:moveTo>
                      <a:pt x="426" y="38"/>
                    </a:moveTo>
                    <a:lnTo>
                      <a:pt x="426" y="37"/>
                    </a:lnTo>
                    <a:lnTo>
                      <a:pt x="428" y="37"/>
                    </a:lnTo>
                    <a:lnTo>
                      <a:pt x="428" y="38"/>
                    </a:lnTo>
                    <a:lnTo>
                      <a:pt x="426" y="38"/>
                    </a:lnTo>
                    <a:close/>
                    <a:moveTo>
                      <a:pt x="398" y="38"/>
                    </a:moveTo>
                    <a:lnTo>
                      <a:pt x="396" y="38"/>
                    </a:lnTo>
                    <a:lnTo>
                      <a:pt x="398" y="37"/>
                    </a:lnTo>
                    <a:lnTo>
                      <a:pt x="398" y="38"/>
                    </a:lnTo>
                    <a:close/>
                    <a:moveTo>
                      <a:pt x="403" y="37"/>
                    </a:moveTo>
                    <a:lnTo>
                      <a:pt x="405" y="37"/>
                    </a:lnTo>
                    <a:lnTo>
                      <a:pt x="403" y="37"/>
                    </a:lnTo>
                    <a:close/>
                    <a:moveTo>
                      <a:pt x="394" y="37"/>
                    </a:moveTo>
                    <a:lnTo>
                      <a:pt x="392" y="37"/>
                    </a:lnTo>
                    <a:lnTo>
                      <a:pt x="390" y="37"/>
                    </a:lnTo>
                    <a:lnTo>
                      <a:pt x="392" y="37"/>
                    </a:lnTo>
                    <a:lnTo>
                      <a:pt x="394" y="37"/>
                    </a:lnTo>
                    <a:close/>
                    <a:moveTo>
                      <a:pt x="319" y="35"/>
                    </a:moveTo>
                    <a:lnTo>
                      <a:pt x="317" y="37"/>
                    </a:lnTo>
                    <a:lnTo>
                      <a:pt x="317" y="35"/>
                    </a:lnTo>
                    <a:lnTo>
                      <a:pt x="319" y="35"/>
                    </a:lnTo>
                    <a:close/>
                    <a:moveTo>
                      <a:pt x="398" y="35"/>
                    </a:moveTo>
                    <a:lnTo>
                      <a:pt x="396" y="35"/>
                    </a:lnTo>
                    <a:lnTo>
                      <a:pt x="398" y="35"/>
                    </a:lnTo>
                    <a:close/>
                    <a:moveTo>
                      <a:pt x="411" y="35"/>
                    </a:moveTo>
                    <a:lnTo>
                      <a:pt x="409" y="35"/>
                    </a:lnTo>
                    <a:lnTo>
                      <a:pt x="411" y="35"/>
                    </a:lnTo>
                    <a:close/>
                    <a:moveTo>
                      <a:pt x="417" y="33"/>
                    </a:moveTo>
                    <a:lnTo>
                      <a:pt x="417" y="31"/>
                    </a:lnTo>
                    <a:lnTo>
                      <a:pt x="419" y="31"/>
                    </a:lnTo>
                    <a:lnTo>
                      <a:pt x="417" y="31"/>
                    </a:lnTo>
                    <a:lnTo>
                      <a:pt x="417" y="33"/>
                    </a:lnTo>
                    <a:close/>
                    <a:moveTo>
                      <a:pt x="309" y="27"/>
                    </a:moveTo>
                    <a:lnTo>
                      <a:pt x="311" y="27"/>
                    </a:lnTo>
                    <a:lnTo>
                      <a:pt x="309" y="27"/>
                    </a:lnTo>
                    <a:close/>
                    <a:moveTo>
                      <a:pt x="307" y="27"/>
                    </a:moveTo>
                    <a:lnTo>
                      <a:pt x="309" y="27"/>
                    </a:lnTo>
                    <a:lnTo>
                      <a:pt x="307" y="27"/>
                    </a:lnTo>
                    <a:close/>
                    <a:moveTo>
                      <a:pt x="332" y="23"/>
                    </a:moveTo>
                    <a:lnTo>
                      <a:pt x="330" y="23"/>
                    </a:lnTo>
                    <a:lnTo>
                      <a:pt x="328" y="23"/>
                    </a:lnTo>
                    <a:lnTo>
                      <a:pt x="330" y="23"/>
                    </a:lnTo>
                    <a:lnTo>
                      <a:pt x="328" y="23"/>
                    </a:lnTo>
                    <a:lnTo>
                      <a:pt x="332" y="23"/>
                    </a:lnTo>
                    <a:close/>
                    <a:moveTo>
                      <a:pt x="415" y="19"/>
                    </a:moveTo>
                    <a:lnTo>
                      <a:pt x="413" y="19"/>
                    </a:lnTo>
                    <a:lnTo>
                      <a:pt x="415" y="19"/>
                    </a:lnTo>
                    <a:close/>
                    <a:moveTo>
                      <a:pt x="424" y="17"/>
                    </a:moveTo>
                    <a:lnTo>
                      <a:pt x="426" y="17"/>
                    </a:lnTo>
                    <a:lnTo>
                      <a:pt x="424" y="17"/>
                    </a:lnTo>
                    <a:lnTo>
                      <a:pt x="424" y="19"/>
                    </a:lnTo>
                    <a:lnTo>
                      <a:pt x="424" y="17"/>
                    </a:lnTo>
                    <a:lnTo>
                      <a:pt x="423" y="19"/>
                    </a:lnTo>
                    <a:lnTo>
                      <a:pt x="423" y="17"/>
                    </a:lnTo>
                    <a:lnTo>
                      <a:pt x="424" y="17"/>
                    </a:lnTo>
                    <a:close/>
                    <a:moveTo>
                      <a:pt x="426" y="15"/>
                    </a:moveTo>
                    <a:lnTo>
                      <a:pt x="428" y="17"/>
                    </a:lnTo>
                    <a:lnTo>
                      <a:pt x="426" y="17"/>
                    </a:lnTo>
                    <a:lnTo>
                      <a:pt x="426" y="15"/>
                    </a:lnTo>
                    <a:close/>
                    <a:moveTo>
                      <a:pt x="326" y="15"/>
                    </a:moveTo>
                    <a:lnTo>
                      <a:pt x="325" y="15"/>
                    </a:lnTo>
                    <a:lnTo>
                      <a:pt x="326" y="15"/>
                    </a:lnTo>
                    <a:lnTo>
                      <a:pt x="325" y="15"/>
                    </a:lnTo>
                    <a:lnTo>
                      <a:pt x="326" y="15"/>
                    </a:lnTo>
                    <a:close/>
                    <a:moveTo>
                      <a:pt x="426" y="15"/>
                    </a:moveTo>
                    <a:lnTo>
                      <a:pt x="424" y="15"/>
                    </a:lnTo>
                    <a:lnTo>
                      <a:pt x="426" y="15"/>
                    </a:lnTo>
                    <a:close/>
                    <a:moveTo>
                      <a:pt x="426" y="15"/>
                    </a:moveTo>
                    <a:lnTo>
                      <a:pt x="424" y="15"/>
                    </a:lnTo>
                    <a:lnTo>
                      <a:pt x="426" y="15"/>
                    </a:lnTo>
                    <a:close/>
                    <a:moveTo>
                      <a:pt x="346" y="4"/>
                    </a:moveTo>
                    <a:lnTo>
                      <a:pt x="348" y="4"/>
                    </a:lnTo>
                    <a:lnTo>
                      <a:pt x="346" y="4"/>
                    </a:lnTo>
                    <a:close/>
                    <a:moveTo>
                      <a:pt x="346" y="4"/>
                    </a:moveTo>
                    <a:lnTo>
                      <a:pt x="348" y="4"/>
                    </a:lnTo>
                    <a:lnTo>
                      <a:pt x="346" y="4"/>
                    </a:lnTo>
                    <a:close/>
                    <a:moveTo>
                      <a:pt x="344" y="4"/>
                    </a:moveTo>
                    <a:lnTo>
                      <a:pt x="346" y="4"/>
                    </a:lnTo>
                    <a:lnTo>
                      <a:pt x="344" y="4"/>
                    </a:lnTo>
                    <a:close/>
                    <a:moveTo>
                      <a:pt x="340" y="2"/>
                    </a:moveTo>
                    <a:lnTo>
                      <a:pt x="340" y="4"/>
                    </a:lnTo>
                    <a:lnTo>
                      <a:pt x="340" y="2"/>
                    </a:lnTo>
                    <a:close/>
                    <a:moveTo>
                      <a:pt x="342" y="2"/>
                    </a:moveTo>
                    <a:lnTo>
                      <a:pt x="340" y="2"/>
                    </a:lnTo>
                    <a:lnTo>
                      <a:pt x="342" y="2"/>
                    </a:lnTo>
                    <a:close/>
                    <a:moveTo>
                      <a:pt x="373" y="0"/>
                    </a:moveTo>
                    <a:lnTo>
                      <a:pt x="371" y="0"/>
                    </a:lnTo>
                    <a:lnTo>
                      <a:pt x="373" y="0"/>
                    </a:lnTo>
                    <a:close/>
                    <a:moveTo>
                      <a:pt x="373" y="0"/>
                    </a:moveTo>
                    <a:lnTo>
                      <a:pt x="371" y="0"/>
                    </a:lnTo>
                    <a:lnTo>
                      <a:pt x="373" y="0"/>
                    </a:lnTo>
                    <a:close/>
                    <a:moveTo>
                      <a:pt x="378" y="0"/>
                    </a:moveTo>
                    <a:lnTo>
                      <a:pt x="376" y="0"/>
                    </a:lnTo>
                    <a:lnTo>
                      <a:pt x="378" y="0"/>
                    </a:lnTo>
                    <a:close/>
                    <a:moveTo>
                      <a:pt x="374" y="0"/>
                    </a:moveTo>
                    <a:lnTo>
                      <a:pt x="376" y="0"/>
                    </a:lnTo>
                    <a:lnTo>
                      <a:pt x="374" y="0"/>
                    </a:lnTo>
                    <a:close/>
                    <a:moveTo>
                      <a:pt x="378" y="0"/>
                    </a:moveTo>
                    <a:lnTo>
                      <a:pt x="380" y="0"/>
                    </a:lnTo>
                    <a:lnTo>
                      <a:pt x="378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9" name="Freeform 54">
                <a:extLst>
                  <a:ext uri="{FF2B5EF4-FFF2-40B4-BE49-F238E27FC236}">
                    <a16:creationId xmlns="" xmlns:a16="http://schemas.microsoft.com/office/drawing/2014/main" id="{A1182EC3-0353-4457-B9D6-A9F678FE51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87838" y="2035176"/>
                <a:ext cx="1168400" cy="976313"/>
              </a:xfrm>
              <a:custGeom>
                <a:avLst/>
                <a:gdLst>
                  <a:gd name="T0" fmla="*/ 94 w 736"/>
                  <a:gd name="T1" fmla="*/ 548 h 615"/>
                  <a:gd name="T2" fmla="*/ 340 w 736"/>
                  <a:gd name="T3" fmla="*/ 542 h 615"/>
                  <a:gd name="T4" fmla="*/ 394 w 736"/>
                  <a:gd name="T5" fmla="*/ 538 h 615"/>
                  <a:gd name="T6" fmla="*/ 386 w 736"/>
                  <a:gd name="T7" fmla="*/ 536 h 615"/>
                  <a:gd name="T8" fmla="*/ 383 w 736"/>
                  <a:gd name="T9" fmla="*/ 531 h 615"/>
                  <a:gd name="T10" fmla="*/ 69 w 736"/>
                  <a:gd name="T11" fmla="*/ 509 h 615"/>
                  <a:gd name="T12" fmla="*/ 60 w 736"/>
                  <a:gd name="T13" fmla="*/ 502 h 615"/>
                  <a:gd name="T14" fmla="*/ 83 w 736"/>
                  <a:gd name="T15" fmla="*/ 473 h 615"/>
                  <a:gd name="T16" fmla="*/ 373 w 736"/>
                  <a:gd name="T17" fmla="*/ 484 h 615"/>
                  <a:gd name="T18" fmla="*/ 340 w 736"/>
                  <a:gd name="T19" fmla="*/ 483 h 615"/>
                  <a:gd name="T20" fmla="*/ 429 w 736"/>
                  <a:gd name="T21" fmla="*/ 479 h 615"/>
                  <a:gd name="T22" fmla="*/ 71 w 736"/>
                  <a:gd name="T23" fmla="*/ 458 h 615"/>
                  <a:gd name="T24" fmla="*/ 459 w 736"/>
                  <a:gd name="T25" fmla="*/ 456 h 615"/>
                  <a:gd name="T26" fmla="*/ 64 w 736"/>
                  <a:gd name="T27" fmla="*/ 383 h 615"/>
                  <a:gd name="T28" fmla="*/ 686 w 736"/>
                  <a:gd name="T29" fmla="*/ 369 h 615"/>
                  <a:gd name="T30" fmla="*/ 16 w 736"/>
                  <a:gd name="T31" fmla="*/ 356 h 615"/>
                  <a:gd name="T32" fmla="*/ 644 w 736"/>
                  <a:gd name="T33" fmla="*/ 360 h 615"/>
                  <a:gd name="T34" fmla="*/ 592 w 736"/>
                  <a:gd name="T35" fmla="*/ 358 h 615"/>
                  <a:gd name="T36" fmla="*/ 160 w 736"/>
                  <a:gd name="T37" fmla="*/ 356 h 615"/>
                  <a:gd name="T38" fmla="*/ 240 w 736"/>
                  <a:gd name="T39" fmla="*/ 348 h 615"/>
                  <a:gd name="T40" fmla="*/ 678 w 736"/>
                  <a:gd name="T41" fmla="*/ 317 h 615"/>
                  <a:gd name="T42" fmla="*/ 43 w 736"/>
                  <a:gd name="T43" fmla="*/ 315 h 615"/>
                  <a:gd name="T44" fmla="*/ 146 w 736"/>
                  <a:gd name="T45" fmla="*/ 317 h 615"/>
                  <a:gd name="T46" fmla="*/ 644 w 736"/>
                  <a:gd name="T47" fmla="*/ 308 h 615"/>
                  <a:gd name="T48" fmla="*/ 611 w 736"/>
                  <a:gd name="T49" fmla="*/ 310 h 615"/>
                  <a:gd name="T50" fmla="*/ 162 w 736"/>
                  <a:gd name="T51" fmla="*/ 311 h 615"/>
                  <a:gd name="T52" fmla="*/ 169 w 736"/>
                  <a:gd name="T53" fmla="*/ 310 h 615"/>
                  <a:gd name="T54" fmla="*/ 167 w 736"/>
                  <a:gd name="T55" fmla="*/ 306 h 615"/>
                  <a:gd name="T56" fmla="*/ 169 w 736"/>
                  <a:gd name="T57" fmla="*/ 300 h 615"/>
                  <a:gd name="T58" fmla="*/ 511 w 736"/>
                  <a:gd name="T59" fmla="*/ 296 h 615"/>
                  <a:gd name="T60" fmla="*/ 479 w 736"/>
                  <a:gd name="T61" fmla="*/ 294 h 615"/>
                  <a:gd name="T62" fmla="*/ 676 w 736"/>
                  <a:gd name="T63" fmla="*/ 269 h 615"/>
                  <a:gd name="T64" fmla="*/ 527 w 736"/>
                  <a:gd name="T65" fmla="*/ 285 h 615"/>
                  <a:gd name="T66" fmla="*/ 521 w 736"/>
                  <a:gd name="T67" fmla="*/ 281 h 615"/>
                  <a:gd name="T68" fmla="*/ 671 w 736"/>
                  <a:gd name="T69" fmla="*/ 261 h 615"/>
                  <a:gd name="T70" fmla="*/ 694 w 736"/>
                  <a:gd name="T71" fmla="*/ 254 h 615"/>
                  <a:gd name="T72" fmla="*/ 713 w 736"/>
                  <a:gd name="T73" fmla="*/ 242 h 615"/>
                  <a:gd name="T74" fmla="*/ 657 w 736"/>
                  <a:gd name="T75" fmla="*/ 248 h 615"/>
                  <a:gd name="T76" fmla="*/ 594 w 736"/>
                  <a:gd name="T77" fmla="*/ 248 h 615"/>
                  <a:gd name="T78" fmla="*/ 607 w 736"/>
                  <a:gd name="T79" fmla="*/ 242 h 615"/>
                  <a:gd name="T80" fmla="*/ 215 w 736"/>
                  <a:gd name="T81" fmla="*/ 246 h 615"/>
                  <a:gd name="T82" fmla="*/ 579 w 736"/>
                  <a:gd name="T83" fmla="*/ 233 h 615"/>
                  <a:gd name="T84" fmla="*/ 442 w 736"/>
                  <a:gd name="T85" fmla="*/ 233 h 615"/>
                  <a:gd name="T86" fmla="*/ 315 w 736"/>
                  <a:gd name="T87" fmla="*/ 219 h 615"/>
                  <a:gd name="T88" fmla="*/ 719 w 736"/>
                  <a:gd name="T89" fmla="*/ 177 h 615"/>
                  <a:gd name="T90" fmla="*/ 723 w 736"/>
                  <a:gd name="T91" fmla="*/ 171 h 615"/>
                  <a:gd name="T92" fmla="*/ 402 w 736"/>
                  <a:gd name="T93" fmla="*/ 202 h 615"/>
                  <a:gd name="T94" fmla="*/ 367 w 736"/>
                  <a:gd name="T95" fmla="*/ 194 h 615"/>
                  <a:gd name="T96" fmla="*/ 700 w 736"/>
                  <a:gd name="T97" fmla="*/ 156 h 615"/>
                  <a:gd name="T98" fmla="*/ 628 w 736"/>
                  <a:gd name="T99" fmla="*/ 167 h 615"/>
                  <a:gd name="T100" fmla="*/ 700 w 736"/>
                  <a:gd name="T101" fmla="*/ 154 h 615"/>
                  <a:gd name="T102" fmla="*/ 675 w 736"/>
                  <a:gd name="T103" fmla="*/ 154 h 615"/>
                  <a:gd name="T104" fmla="*/ 673 w 736"/>
                  <a:gd name="T105" fmla="*/ 152 h 615"/>
                  <a:gd name="T106" fmla="*/ 603 w 736"/>
                  <a:gd name="T107" fmla="*/ 154 h 615"/>
                  <a:gd name="T108" fmla="*/ 383 w 736"/>
                  <a:gd name="T109" fmla="*/ 165 h 615"/>
                  <a:gd name="T110" fmla="*/ 555 w 736"/>
                  <a:gd name="T111" fmla="*/ 148 h 615"/>
                  <a:gd name="T112" fmla="*/ 500 w 736"/>
                  <a:gd name="T113" fmla="*/ 146 h 615"/>
                  <a:gd name="T114" fmla="*/ 579 w 736"/>
                  <a:gd name="T115" fmla="*/ 138 h 615"/>
                  <a:gd name="T116" fmla="*/ 446 w 736"/>
                  <a:gd name="T117" fmla="*/ 112 h 615"/>
                  <a:gd name="T118" fmla="*/ 315 w 736"/>
                  <a:gd name="T119" fmla="*/ 77 h 615"/>
                  <a:gd name="T120" fmla="*/ 383 w 736"/>
                  <a:gd name="T121" fmla="*/ 38 h 615"/>
                  <a:gd name="T122" fmla="*/ 356 w 736"/>
                  <a:gd name="T123" fmla="*/ 0 h 6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36" h="615">
                    <a:moveTo>
                      <a:pt x="66" y="613"/>
                    </a:moveTo>
                    <a:lnTo>
                      <a:pt x="66" y="615"/>
                    </a:lnTo>
                    <a:lnTo>
                      <a:pt x="66" y="613"/>
                    </a:lnTo>
                    <a:close/>
                    <a:moveTo>
                      <a:pt x="142" y="613"/>
                    </a:moveTo>
                    <a:lnTo>
                      <a:pt x="142" y="611"/>
                    </a:lnTo>
                    <a:lnTo>
                      <a:pt x="142" y="613"/>
                    </a:lnTo>
                    <a:close/>
                    <a:moveTo>
                      <a:pt x="83" y="598"/>
                    </a:moveTo>
                    <a:lnTo>
                      <a:pt x="85" y="598"/>
                    </a:lnTo>
                    <a:lnTo>
                      <a:pt x="83" y="598"/>
                    </a:lnTo>
                    <a:close/>
                    <a:moveTo>
                      <a:pt x="137" y="583"/>
                    </a:moveTo>
                    <a:lnTo>
                      <a:pt x="137" y="584"/>
                    </a:lnTo>
                    <a:lnTo>
                      <a:pt x="137" y="583"/>
                    </a:lnTo>
                    <a:close/>
                    <a:moveTo>
                      <a:pt x="94" y="550"/>
                    </a:moveTo>
                    <a:lnTo>
                      <a:pt x="94" y="548"/>
                    </a:lnTo>
                    <a:lnTo>
                      <a:pt x="94" y="550"/>
                    </a:lnTo>
                    <a:close/>
                    <a:moveTo>
                      <a:pt x="408" y="548"/>
                    </a:moveTo>
                    <a:lnTo>
                      <a:pt x="406" y="548"/>
                    </a:lnTo>
                    <a:lnTo>
                      <a:pt x="408" y="548"/>
                    </a:lnTo>
                    <a:close/>
                    <a:moveTo>
                      <a:pt x="127" y="536"/>
                    </a:moveTo>
                    <a:lnTo>
                      <a:pt x="127" y="534"/>
                    </a:lnTo>
                    <a:lnTo>
                      <a:pt x="127" y="536"/>
                    </a:lnTo>
                    <a:close/>
                    <a:moveTo>
                      <a:pt x="400" y="542"/>
                    </a:moveTo>
                    <a:lnTo>
                      <a:pt x="400" y="544"/>
                    </a:lnTo>
                    <a:lnTo>
                      <a:pt x="400" y="542"/>
                    </a:lnTo>
                    <a:close/>
                    <a:moveTo>
                      <a:pt x="340" y="542"/>
                    </a:moveTo>
                    <a:lnTo>
                      <a:pt x="340" y="544"/>
                    </a:lnTo>
                    <a:lnTo>
                      <a:pt x="340" y="542"/>
                    </a:lnTo>
                    <a:close/>
                    <a:moveTo>
                      <a:pt x="340" y="542"/>
                    </a:moveTo>
                    <a:lnTo>
                      <a:pt x="338" y="542"/>
                    </a:lnTo>
                    <a:lnTo>
                      <a:pt x="340" y="542"/>
                    </a:lnTo>
                    <a:close/>
                    <a:moveTo>
                      <a:pt x="379" y="540"/>
                    </a:moveTo>
                    <a:lnTo>
                      <a:pt x="379" y="542"/>
                    </a:lnTo>
                    <a:lnTo>
                      <a:pt x="379" y="540"/>
                    </a:lnTo>
                    <a:close/>
                    <a:moveTo>
                      <a:pt x="348" y="540"/>
                    </a:moveTo>
                    <a:lnTo>
                      <a:pt x="346" y="540"/>
                    </a:lnTo>
                    <a:lnTo>
                      <a:pt x="348" y="540"/>
                    </a:lnTo>
                    <a:close/>
                    <a:moveTo>
                      <a:pt x="396" y="538"/>
                    </a:moveTo>
                    <a:lnTo>
                      <a:pt x="396" y="540"/>
                    </a:lnTo>
                    <a:lnTo>
                      <a:pt x="396" y="538"/>
                    </a:lnTo>
                    <a:close/>
                    <a:moveTo>
                      <a:pt x="394" y="538"/>
                    </a:moveTo>
                    <a:lnTo>
                      <a:pt x="392" y="538"/>
                    </a:lnTo>
                    <a:lnTo>
                      <a:pt x="394" y="538"/>
                    </a:lnTo>
                    <a:close/>
                    <a:moveTo>
                      <a:pt x="390" y="536"/>
                    </a:moveTo>
                    <a:lnTo>
                      <a:pt x="390" y="538"/>
                    </a:lnTo>
                    <a:lnTo>
                      <a:pt x="390" y="536"/>
                    </a:lnTo>
                    <a:close/>
                    <a:moveTo>
                      <a:pt x="392" y="536"/>
                    </a:moveTo>
                    <a:lnTo>
                      <a:pt x="392" y="538"/>
                    </a:lnTo>
                    <a:lnTo>
                      <a:pt x="392" y="536"/>
                    </a:lnTo>
                    <a:close/>
                    <a:moveTo>
                      <a:pt x="390" y="536"/>
                    </a:moveTo>
                    <a:lnTo>
                      <a:pt x="390" y="538"/>
                    </a:lnTo>
                    <a:lnTo>
                      <a:pt x="390" y="536"/>
                    </a:lnTo>
                    <a:close/>
                    <a:moveTo>
                      <a:pt x="350" y="538"/>
                    </a:moveTo>
                    <a:lnTo>
                      <a:pt x="350" y="536"/>
                    </a:lnTo>
                    <a:lnTo>
                      <a:pt x="350" y="538"/>
                    </a:lnTo>
                    <a:close/>
                    <a:moveTo>
                      <a:pt x="388" y="536"/>
                    </a:moveTo>
                    <a:lnTo>
                      <a:pt x="386" y="536"/>
                    </a:lnTo>
                    <a:lnTo>
                      <a:pt x="388" y="536"/>
                    </a:lnTo>
                    <a:close/>
                    <a:moveTo>
                      <a:pt x="386" y="536"/>
                    </a:moveTo>
                    <a:lnTo>
                      <a:pt x="388" y="536"/>
                    </a:lnTo>
                    <a:lnTo>
                      <a:pt x="386" y="536"/>
                    </a:lnTo>
                    <a:close/>
                    <a:moveTo>
                      <a:pt x="356" y="536"/>
                    </a:moveTo>
                    <a:lnTo>
                      <a:pt x="356" y="534"/>
                    </a:lnTo>
                    <a:lnTo>
                      <a:pt x="356" y="536"/>
                    </a:lnTo>
                    <a:close/>
                    <a:moveTo>
                      <a:pt x="358" y="534"/>
                    </a:moveTo>
                    <a:lnTo>
                      <a:pt x="356" y="534"/>
                    </a:lnTo>
                    <a:lnTo>
                      <a:pt x="358" y="534"/>
                    </a:lnTo>
                    <a:close/>
                    <a:moveTo>
                      <a:pt x="358" y="533"/>
                    </a:moveTo>
                    <a:lnTo>
                      <a:pt x="358" y="534"/>
                    </a:lnTo>
                    <a:lnTo>
                      <a:pt x="358" y="533"/>
                    </a:lnTo>
                    <a:close/>
                    <a:moveTo>
                      <a:pt x="383" y="531"/>
                    </a:moveTo>
                    <a:lnTo>
                      <a:pt x="383" y="533"/>
                    </a:lnTo>
                    <a:lnTo>
                      <a:pt x="383" y="531"/>
                    </a:lnTo>
                    <a:close/>
                    <a:moveTo>
                      <a:pt x="381" y="529"/>
                    </a:moveTo>
                    <a:lnTo>
                      <a:pt x="383" y="529"/>
                    </a:lnTo>
                    <a:lnTo>
                      <a:pt x="381" y="529"/>
                    </a:lnTo>
                    <a:close/>
                    <a:moveTo>
                      <a:pt x="381" y="529"/>
                    </a:moveTo>
                    <a:lnTo>
                      <a:pt x="381" y="527"/>
                    </a:lnTo>
                    <a:lnTo>
                      <a:pt x="381" y="529"/>
                    </a:lnTo>
                    <a:close/>
                    <a:moveTo>
                      <a:pt x="71" y="509"/>
                    </a:moveTo>
                    <a:lnTo>
                      <a:pt x="69" y="509"/>
                    </a:lnTo>
                    <a:lnTo>
                      <a:pt x="71" y="509"/>
                    </a:lnTo>
                    <a:close/>
                    <a:moveTo>
                      <a:pt x="69" y="509"/>
                    </a:moveTo>
                    <a:lnTo>
                      <a:pt x="71" y="509"/>
                    </a:lnTo>
                    <a:lnTo>
                      <a:pt x="69" y="509"/>
                    </a:lnTo>
                    <a:close/>
                    <a:moveTo>
                      <a:pt x="365" y="525"/>
                    </a:moveTo>
                    <a:lnTo>
                      <a:pt x="365" y="527"/>
                    </a:lnTo>
                    <a:lnTo>
                      <a:pt x="363" y="527"/>
                    </a:lnTo>
                    <a:lnTo>
                      <a:pt x="363" y="525"/>
                    </a:lnTo>
                    <a:lnTo>
                      <a:pt x="365" y="525"/>
                    </a:lnTo>
                    <a:close/>
                    <a:moveTo>
                      <a:pt x="77" y="509"/>
                    </a:moveTo>
                    <a:lnTo>
                      <a:pt x="77" y="508"/>
                    </a:lnTo>
                    <a:lnTo>
                      <a:pt x="77" y="509"/>
                    </a:lnTo>
                    <a:close/>
                    <a:moveTo>
                      <a:pt x="375" y="521"/>
                    </a:moveTo>
                    <a:lnTo>
                      <a:pt x="375" y="519"/>
                    </a:lnTo>
                    <a:lnTo>
                      <a:pt x="375" y="521"/>
                    </a:lnTo>
                    <a:close/>
                    <a:moveTo>
                      <a:pt x="60" y="502"/>
                    </a:moveTo>
                    <a:lnTo>
                      <a:pt x="60" y="500"/>
                    </a:lnTo>
                    <a:lnTo>
                      <a:pt x="60" y="502"/>
                    </a:lnTo>
                    <a:close/>
                    <a:moveTo>
                      <a:pt x="377" y="509"/>
                    </a:moveTo>
                    <a:lnTo>
                      <a:pt x="375" y="509"/>
                    </a:lnTo>
                    <a:lnTo>
                      <a:pt x="377" y="509"/>
                    </a:lnTo>
                    <a:close/>
                    <a:moveTo>
                      <a:pt x="552" y="494"/>
                    </a:moveTo>
                    <a:lnTo>
                      <a:pt x="550" y="494"/>
                    </a:lnTo>
                    <a:lnTo>
                      <a:pt x="552" y="494"/>
                    </a:lnTo>
                    <a:close/>
                    <a:moveTo>
                      <a:pt x="369" y="500"/>
                    </a:moveTo>
                    <a:lnTo>
                      <a:pt x="369" y="502"/>
                    </a:lnTo>
                    <a:lnTo>
                      <a:pt x="369" y="500"/>
                    </a:lnTo>
                    <a:close/>
                    <a:moveTo>
                      <a:pt x="89" y="481"/>
                    </a:moveTo>
                    <a:lnTo>
                      <a:pt x="91" y="481"/>
                    </a:lnTo>
                    <a:lnTo>
                      <a:pt x="89" y="481"/>
                    </a:lnTo>
                    <a:close/>
                    <a:moveTo>
                      <a:pt x="83" y="475"/>
                    </a:moveTo>
                    <a:lnTo>
                      <a:pt x="83" y="473"/>
                    </a:lnTo>
                    <a:lnTo>
                      <a:pt x="83" y="475"/>
                    </a:lnTo>
                    <a:close/>
                    <a:moveTo>
                      <a:pt x="336" y="490"/>
                    </a:moveTo>
                    <a:lnTo>
                      <a:pt x="335" y="490"/>
                    </a:lnTo>
                    <a:lnTo>
                      <a:pt x="336" y="490"/>
                    </a:lnTo>
                    <a:close/>
                    <a:moveTo>
                      <a:pt x="335" y="488"/>
                    </a:moveTo>
                    <a:lnTo>
                      <a:pt x="335" y="490"/>
                    </a:lnTo>
                    <a:lnTo>
                      <a:pt x="335" y="488"/>
                    </a:lnTo>
                    <a:close/>
                    <a:moveTo>
                      <a:pt x="419" y="486"/>
                    </a:moveTo>
                    <a:lnTo>
                      <a:pt x="417" y="486"/>
                    </a:lnTo>
                    <a:lnTo>
                      <a:pt x="419" y="486"/>
                    </a:lnTo>
                    <a:close/>
                    <a:moveTo>
                      <a:pt x="415" y="486"/>
                    </a:moveTo>
                    <a:lnTo>
                      <a:pt x="417" y="486"/>
                    </a:lnTo>
                    <a:lnTo>
                      <a:pt x="415" y="486"/>
                    </a:lnTo>
                    <a:close/>
                    <a:moveTo>
                      <a:pt x="373" y="484"/>
                    </a:moveTo>
                    <a:lnTo>
                      <a:pt x="371" y="484"/>
                    </a:lnTo>
                    <a:lnTo>
                      <a:pt x="373" y="484"/>
                    </a:lnTo>
                    <a:close/>
                    <a:moveTo>
                      <a:pt x="338" y="484"/>
                    </a:moveTo>
                    <a:lnTo>
                      <a:pt x="336" y="484"/>
                    </a:lnTo>
                    <a:lnTo>
                      <a:pt x="338" y="483"/>
                    </a:lnTo>
                    <a:lnTo>
                      <a:pt x="338" y="484"/>
                    </a:lnTo>
                    <a:close/>
                    <a:moveTo>
                      <a:pt x="338" y="481"/>
                    </a:moveTo>
                    <a:lnTo>
                      <a:pt x="338" y="483"/>
                    </a:lnTo>
                    <a:lnTo>
                      <a:pt x="338" y="481"/>
                    </a:lnTo>
                    <a:close/>
                    <a:moveTo>
                      <a:pt x="340" y="483"/>
                    </a:moveTo>
                    <a:lnTo>
                      <a:pt x="340" y="481"/>
                    </a:lnTo>
                    <a:lnTo>
                      <a:pt x="340" y="483"/>
                    </a:lnTo>
                    <a:close/>
                    <a:moveTo>
                      <a:pt x="340" y="481"/>
                    </a:moveTo>
                    <a:lnTo>
                      <a:pt x="340" y="483"/>
                    </a:lnTo>
                    <a:lnTo>
                      <a:pt x="340" y="481"/>
                    </a:lnTo>
                    <a:close/>
                    <a:moveTo>
                      <a:pt x="423" y="481"/>
                    </a:moveTo>
                    <a:lnTo>
                      <a:pt x="421" y="481"/>
                    </a:lnTo>
                    <a:lnTo>
                      <a:pt x="423" y="481"/>
                    </a:lnTo>
                    <a:close/>
                    <a:moveTo>
                      <a:pt x="342" y="481"/>
                    </a:moveTo>
                    <a:lnTo>
                      <a:pt x="340" y="481"/>
                    </a:lnTo>
                    <a:lnTo>
                      <a:pt x="342" y="481"/>
                    </a:lnTo>
                    <a:close/>
                    <a:moveTo>
                      <a:pt x="361" y="481"/>
                    </a:moveTo>
                    <a:lnTo>
                      <a:pt x="363" y="481"/>
                    </a:lnTo>
                    <a:lnTo>
                      <a:pt x="361" y="481"/>
                    </a:lnTo>
                    <a:close/>
                    <a:moveTo>
                      <a:pt x="423" y="479"/>
                    </a:moveTo>
                    <a:lnTo>
                      <a:pt x="423" y="481"/>
                    </a:lnTo>
                    <a:lnTo>
                      <a:pt x="423" y="479"/>
                    </a:lnTo>
                    <a:close/>
                    <a:moveTo>
                      <a:pt x="429" y="479"/>
                    </a:moveTo>
                    <a:lnTo>
                      <a:pt x="429" y="477"/>
                    </a:lnTo>
                    <a:lnTo>
                      <a:pt x="429" y="479"/>
                    </a:lnTo>
                    <a:close/>
                    <a:moveTo>
                      <a:pt x="344" y="479"/>
                    </a:moveTo>
                    <a:lnTo>
                      <a:pt x="342" y="479"/>
                    </a:lnTo>
                    <a:lnTo>
                      <a:pt x="344" y="479"/>
                    </a:lnTo>
                    <a:close/>
                    <a:moveTo>
                      <a:pt x="77" y="460"/>
                    </a:moveTo>
                    <a:lnTo>
                      <a:pt x="75" y="460"/>
                    </a:lnTo>
                    <a:lnTo>
                      <a:pt x="77" y="460"/>
                    </a:lnTo>
                    <a:close/>
                    <a:moveTo>
                      <a:pt x="344" y="477"/>
                    </a:moveTo>
                    <a:lnTo>
                      <a:pt x="344" y="479"/>
                    </a:lnTo>
                    <a:lnTo>
                      <a:pt x="344" y="477"/>
                    </a:lnTo>
                    <a:close/>
                    <a:moveTo>
                      <a:pt x="71" y="458"/>
                    </a:moveTo>
                    <a:lnTo>
                      <a:pt x="73" y="458"/>
                    </a:lnTo>
                    <a:lnTo>
                      <a:pt x="71" y="458"/>
                    </a:lnTo>
                    <a:close/>
                    <a:moveTo>
                      <a:pt x="77" y="458"/>
                    </a:moveTo>
                    <a:lnTo>
                      <a:pt x="77" y="460"/>
                    </a:lnTo>
                    <a:lnTo>
                      <a:pt x="77" y="458"/>
                    </a:lnTo>
                    <a:close/>
                    <a:moveTo>
                      <a:pt x="369" y="475"/>
                    </a:moveTo>
                    <a:lnTo>
                      <a:pt x="367" y="475"/>
                    </a:lnTo>
                    <a:lnTo>
                      <a:pt x="369" y="475"/>
                    </a:lnTo>
                    <a:close/>
                    <a:moveTo>
                      <a:pt x="429" y="473"/>
                    </a:moveTo>
                    <a:lnTo>
                      <a:pt x="429" y="471"/>
                    </a:lnTo>
                    <a:lnTo>
                      <a:pt x="429" y="473"/>
                    </a:lnTo>
                    <a:close/>
                    <a:moveTo>
                      <a:pt x="456" y="460"/>
                    </a:moveTo>
                    <a:lnTo>
                      <a:pt x="456" y="458"/>
                    </a:lnTo>
                    <a:lnTo>
                      <a:pt x="456" y="460"/>
                    </a:lnTo>
                    <a:close/>
                    <a:moveTo>
                      <a:pt x="459" y="454"/>
                    </a:moveTo>
                    <a:lnTo>
                      <a:pt x="459" y="456"/>
                    </a:lnTo>
                    <a:lnTo>
                      <a:pt x="459" y="454"/>
                    </a:lnTo>
                    <a:close/>
                    <a:moveTo>
                      <a:pt x="459" y="448"/>
                    </a:moveTo>
                    <a:lnTo>
                      <a:pt x="461" y="448"/>
                    </a:lnTo>
                    <a:lnTo>
                      <a:pt x="459" y="448"/>
                    </a:lnTo>
                    <a:close/>
                    <a:moveTo>
                      <a:pt x="519" y="421"/>
                    </a:moveTo>
                    <a:lnTo>
                      <a:pt x="517" y="421"/>
                    </a:lnTo>
                    <a:lnTo>
                      <a:pt x="519" y="421"/>
                    </a:lnTo>
                    <a:close/>
                    <a:moveTo>
                      <a:pt x="538" y="398"/>
                    </a:moveTo>
                    <a:lnTo>
                      <a:pt x="536" y="398"/>
                    </a:lnTo>
                    <a:lnTo>
                      <a:pt x="538" y="398"/>
                    </a:lnTo>
                    <a:close/>
                    <a:moveTo>
                      <a:pt x="44" y="383"/>
                    </a:moveTo>
                    <a:lnTo>
                      <a:pt x="44" y="381"/>
                    </a:lnTo>
                    <a:lnTo>
                      <a:pt x="44" y="383"/>
                    </a:lnTo>
                    <a:close/>
                    <a:moveTo>
                      <a:pt x="64" y="383"/>
                    </a:moveTo>
                    <a:lnTo>
                      <a:pt x="62" y="383"/>
                    </a:lnTo>
                    <a:lnTo>
                      <a:pt x="64" y="383"/>
                    </a:lnTo>
                    <a:close/>
                    <a:moveTo>
                      <a:pt x="540" y="392"/>
                    </a:moveTo>
                    <a:lnTo>
                      <a:pt x="538" y="392"/>
                    </a:lnTo>
                    <a:lnTo>
                      <a:pt x="540" y="392"/>
                    </a:lnTo>
                    <a:close/>
                    <a:moveTo>
                      <a:pt x="48" y="377"/>
                    </a:moveTo>
                    <a:lnTo>
                      <a:pt x="48" y="379"/>
                    </a:lnTo>
                    <a:lnTo>
                      <a:pt x="48" y="377"/>
                    </a:lnTo>
                    <a:close/>
                    <a:moveTo>
                      <a:pt x="692" y="373"/>
                    </a:moveTo>
                    <a:lnTo>
                      <a:pt x="692" y="371"/>
                    </a:lnTo>
                    <a:lnTo>
                      <a:pt x="692" y="373"/>
                    </a:lnTo>
                    <a:close/>
                    <a:moveTo>
                      <a:pt x="686" y="369"/>
                    </a:moveTo>
                    <a:lnTo>
                      <a:pt x="686" y="371"/>
                    </a:lnTo>
                    <a:lnTo>
                      <a:pt x="686" y="369"/>
                    </a:lnTo>
                    <a:close/>
                    <a:moveTo>
                      <a:pt x="150" y="383"/>
                    </a:moveTo>
                    <a:lnTo>
                      <a:pt x="150" y="385"/>
                    </a:lnTo>
                    <a:lnTo>
                      <a:pt x="150" y="383"/>
                    </a:lnTo>
                    <a:close/>
                    <a:moveTo>
                      <a:pt x="684" y="369"/>
                    </a:moveTo>
                    <a:lnTo>
                      <a:pt x="682" y="369"/>
                    </a:lnTo>
                    <a:lnTo>
                      <a:pt x="684" y="369"/>
                    </a:lnTo>
                    <a:close/>
                    <a:moveTo>
                      <a:pt x="682" y="367"/>
                    </a:moveTo>
                    <a:lnTo>
                      <a:pt x="682" y="369"/>
                    </a:lnTo>
                    <a:lnTo>
                      <a:pt x="682" y="367"/>
                    </a:lnTo>
                    <a:close/>
                    <a:moveTo>
                      <a:pt x="648" y="361"/>
                    </a:moveTo>
                    <a:lnTo>
                      <a:pt x="648" y="363"/>
                    </a:lnTo>
                    <a:lnTo>
                      <a:pt x="648" y="361"/>
                    </a:lnTo>
                    <a:close/>
                    <a:moveTo>
                      <a:pt x="18" y="356"/>
                    </a:moveTo>
                    <a:lnTo>
                      <a:pt x="16" y="356"/>
                    </a:lnTo>
                    <a:lnTo>
                      <a:pt x="18" y="354"/>
                    </a:lnTo>
                    <a:lnTo>
                      <a:pt x="18" y="356"/>
                    </a:lnTo>
                    <a:close/>
                    <a:moveTo>
                      <a:pt x="273" y="381"/>
                    </a:moveTo>
                    <a:lnTo>
                      <a:pt x="273" y="379"/>
                    </a:lnTo>
                    <a:lnTo>
                      <a:pt x="273" y="381"/>
                    </a:lnTo>
                    <a:close/>
                    <a:moveTo>
                      <a:pt x="4" y="350"/>
                    </a:moveTo>
                    <a:lnTo>
                      <a:pt x="4" y="352"/>
                    </a:lnTo>
                    <a:lnTo>
                      <a:pt x="4" y="350"/>
                    </a:lnTo>
                    <a:lnTo>
                      <a:pt x="2" y="350"/>
                    </a:lnTo>
                    <a:lnTo>
                      <a:pt x="4" y="350"/>
                    </a:lnTo>
                    <a:close/>
                    <a:moveTo>
                      <a:pt x="0" y="348"/>
                    </a:moveTo>
                    <a:lnTo>
                      <a:pt x="0" y="350"/>
                    </a:lnTo>
                    <a:lnTo>
                      <a:pt x="0" y="348"/>
                    </a:lnTo>
                    <a:close/>
                    <a:moveTo>
                      <a:pt x="644" y="360"/>
                    </a:moveTo>
                    <a:lnTo>
                      <a:pt x="644" y="358"/>
                    </a:lnTo>
                    <a:lnTo>
                      <a:pt x="644" y="360"/>
                    </a:lnTo>
                    <a:close/>
                    <a:moveTo>
                      <a:pt x="580" y="363"/>
                    </a:moveTo>
                    <a:lnTo>
                      <a:pt x="580" y="365"/>
                    </a:lnTo>
                    <a:lnTo>
                      <a:pt x="580" y="363"/>
                    </a:lnTo>
                    <a:close/>
                    <a:moveTo>
                      <a:pt x="277" y="373"/>
                    </a:moveTo>
                    <a:lnTo>
                      <a:pt x="277" y="375"/>
                    </a:lnTo>
                    <a:lnTo>
                      <a:pt x="277" y="373"/>
                    </a:lnTo>
                    <a:close/>
                    <a:moveTo>
                      <a:pt x="146" y="363"/>
                    </a:moveTo>
                    <a:lnTo>
                      <a:pt x="144" y="363"/>
                    </a:lnTo>
                    <a:lnTo>
                      <a:pt x="146" y="363"/>
                    </a:lnTo>
                    <a:close/>
                    <a:moveTo>
                      <a:pt x="592" y="358"/>
                    </a:moveTo>
                    <a:lnTo>
                      <a:pt x="592" y="360"/>
                    </a:lnTo>
                    <a:lnTo>
                      <a:pt x="592" y="358"/>
                    </a:lnTo>
                    <a:close/>
                    <a:moveTo>
                      <a:pt x="273" y="371"/>
                    </a:moveTo>
                    <a:lnTo>
                      <a:pt x="273" y="369"/>
                    </a:lnTo>
                    <a:lnTo>
                      <a:pt x="273" y="371"/>
                    </a:lnTo>
                    <a:close/>
                    <a:moveTo>
                      <a:pt x="602" y="354"/>
                    </a:moveTo>
                    <a:lnTo>
                      <a:pt x="602" y="356"/>
                    </a:lnTo>
                    <a:lnTo>
                      <a:pt x="602" y="354"/>
                    </a:lnTo>
                    <a:close/>
                    <a:moveTo>
                      <a:pt x="594" y="356"/>
                    </a:moveTo>
                    <a:lnTo>
                      <a:pt x="592" y="356"/>
                    </a:lnTo>
                    <a:lnTo>
                      <a:pt x="594" y="356"/>
                    </a:lnTo>
                    <a:close/>
                    <a:moveTo>
                      <a:pt x="596" y="354"/>
                    </a:moveTo>
                    <a:lnTo>
                      <a:pt x="596" y="352"/>
                    </a:lnTo>
                    <a:lnTo>
                      <a:pt x="596" y="354"/>
                    </a:lnTo>
                    <a:close/>
                    <a:moveTo>
                      <a:pt x="160" y="358"/>
                    </a:moveTo>
                    <a:lnTo>
                      <a:pt x="160" y="356"/>
                    </a:lnTo>
                    <a:lnTo>
                      <a:pt x="160" y="358"/>
                    </a:lnTo>
                    <a:close/>
                    <a:moveTo>
                      <a:pt x="598" y="350"/>
                    </a:moveTo>
                    <a:lnTo>
                      <a:pt x="598" y="352"/>
                    </a:lnTo>
                    <a:lnTo>
                      <a:pt x="598" y="350"/>
                    </a:lnTo>
                    <a:close/>
                    <a:moveTo>
                      <a:pt x="596" y="348"/>
                    </a:moveTo>
                    <a:lnTo>
                      <a:pt x="594" y="348"/>
                    </a:lnTo>
                    <a:lnTo>
                      <a:pt x="596" y="348"/>
                    </a:lnTo>
                    <a:close/>
                    <a:moveTo>
                      <a:pt x="596" y="346"/>
                    </a:moveTo>
                    <a:lnTo>
                      <a:pt x="594" y="346"/>
                    </a:lnTo>
                    <a:lnTo>
                      <a:pt x="596" y="346"/>
                    </a:lnTo>
                    <a:close/>
                    <a:moveTo>
                      <a:pt x="41" y="329"/>
                    </a:moveTo>
                    <a:lnTo>
                      <a:pt x="41" y="331"/>
                    </a:lnTo>
                    <a:lnTo>
                      <a:pt x="41" y="329"/>
                    </a:lnTo>
                    <a:close/>
                    <a:moveTo>
                      <a:pt x="240" y="348"/>
                    </a:moveTo>
                    <a:lnTo>
                      <a:pt x="238" y="348"/>
                    </a:lnTo>
                    <a:lnTo>
                      <a:pt x="240" y="348"/>
                    </a:lnTo>
                    <a:close/>
                    <a:moveTo>
                      <a:pt x="273" y="346"/>
                    </a:moveTo>
                    <a:lnTo>
                      <a:pt x="271" y="346"/>
                    </a:lnTo>
                    <a:lnTo>
                      <a:pt x="273" y="346"/>
                    </a:lnTo>
                    <a:close/>
                    <a:moveTo>
                      <a:pt x="41" y="323"/>
                    </a:moveTo>
                    <a:lnTo>
                      <a:pt x="41" y="321"/>
                    </a:lnTo>
                    <a:lnTo>
                      <a:pt x="41" y="323"/>
                    </a:lnTo>
                    <a:close/>
                    <a:moveTo>
                      <a:pt x="160" y="333"/>
                    </a:moveTo>
                    <a:lnTo>
                      <a:pt x="158" y="333"/>
                    </a:lnTo>
                    <a:lnTo>
                      <a:pt x="160" y="333"/>
                    </a:lnTo>
                    <a:close/>
                    <a:moveTo>
                      <a:pt x="678" y="317"/>
                    </a:moveTo>
                    <a:lnTo>
                      <a:pt x="678" y="315"/>
                    </a:lnTo>
                    <a:lnTo>
                      <a:pt x="678" y="317"/>
                    </a:lnTo>
                    <a:close/>
                    <a:moveTo>
                      <a:pt x="37" y="315"/>
                    </a:moveTo>
                    <a:lnTo>
                      <a:pt x="35" y="315"/>
                    </a:lnTo>
                    <a:lnTo>
                      <a:pt x="37" y="315"/>
                    </a:lnTo>
                    <a:close/>
                    <a:moveTo>
                      <a:pt x="37" y="315"/>
                    </a:moveTo>
                    <a:lnTo>
                      <a:pt x="35" y="315"/>
                    </a:lnTo>
                    <a:lnTo>
                      <a:pt x="37" y="315"/>
                    </a:lnTo>
                    <a:close/>
                    <a:moveTo>
                      <a:pt x="569" y="327"/>
                    </a:moveTo>
                    <a:lnTo>
                      <a:pt x="569" y="329"/>
                    </a:lnTo>
                    <a:lnTo>
                      <a:pt x="569" y="327"/>
                    </a:lnTo>
                    <a:close/>
                    <a:moveTo>
                      <a:pt x="160" y="329"/>
                    </a:moveTo>
                    <a:lnTo>
                      <a:pt x="162" y="329"/>
                    </a:lnTo>
                    <a:lnTo>
                      <a:pt x="160" y="329"/>
                    </a:lnTo>
                    <a:close/>
                    <a:moveTo>
                      <a:pt x="43" y="313"/>
                    </a:moveTo>
                    <a:lnTo>
                      <a:pt x="43" y="315"/>
                    </a:lnTo>
                    <a:lnTo>
                      <a:pt x="43" y="313"/>
                    </a:lnTo>
                    <a:close/>
                    <a:moveTo>
                      <a:pt x="617" y="317"/>
                    </a:moveTo>
                    <a:lnTo>
                      <a:pt x="617" y="319"/>
                    </a:lnTo>
                    <a:lnTo>
                      <a:pt x="617" y="317"/>
                    </a:lnTo>
                    <a:close/>
                    <a:moveTo>
                      <a:pt x="167" y="325"/>
                    </a:moveTo>
                    <a:lnTo>
                      <a:pt x="165" y="325"/>
                    </a:lnTo>
                    <a:lnTo>
                      <a:pt x="167" y="325"/>
                    </a:lnTo>
                    <a:close/>
                    <a:moveTo>
                      <a:pt x="605" y="317"/>
                    </a:moveTo>
                    <a:lnTo>
                      <a:pt x="603" y="317"/>
                    </a:lnTo>
                    <a:lnTo>
                      <a:pt x="605" y="317"/>
                    </a:lnTo>
                    <a:close/>
                    <a:moveTo>
                      <a:pt x="173" y="325"/>
                    </a:moveTo>
                    <a:lnTo>
                      <a:pt x="173" y="323"/>
                    </a:lnTo>
                    <a:lnTo>
                      <a:pt x="173" y="325"/>
                    </a:lnTo>
                    <a:close/>
                    <a:moveTo>
                      <a:pt x="146" y="317"/>
                    </a:moveTo>
                    <a:lnTo>
                      <a:pt x="146" y="319"/>
                    </a:lnTo>
                    <a:lnTo>
                      <a:pt x="146" y="317"/>
                    </a:lnTo>
                    <a:close/>
                    <a:moveTo>
                      <a:pt x="701" y="300"/>
                    </a:moveTo>
                    <a:lnTo>
                      <a:pt x="700" y="300"/>
                    </a:lnTo>
                    <a:lnTo>
                      <a:pt x="701" y="300"/>
                    </a:lnTo>
                    <a:close/>
                    <a:moveTo>
                      <a:pt x="150" y="317"/>
                    </a:moveTo>
                    <a:lnTo>
                      <a:pt x="148" y="317"/>
                    </a:lnTo>
                    <a:lnTo>
                      <a:pt x="150" y="317"/>
                    </a:lnTo>
                    <a:close/>
                    <a:moveTo>
                      <a:pt x="642" y="308"/>
                    </a:moveTo>
                    <a:lnTo>
                      <a:pt x="644" y="308"/>
                    </a:lnTo>
                    <a:lnTo>
                      <a:pt x="642" y="308"/>
                    </a:lnTo>
                    <a:close/>
                    <a:moveTo>
                      <a:pt x="644" y="308"/>
                    </a:moveTo>
                    <a:lnTo>
                      <a:pt x="642" y="308"/>
                    </a:lnTo>
                    <a:lnTo>
                      <a:pt x="644" y="308"/>
                    </a:lnTo>
                    <a:close/>
                    <a:moveTo>
                      <a:pt x="644" y="306"/>
                    </a:moveTo>
                    <a:lnTo>
                      <a:pt x="644" y="308"/>
                    </a:lnTo>
                    <a:lnTo>
                      <a:pt x="644" y="306"/>
                    </a:lnTo>
                    <a:close/>
                    <a:moveTo>
                      <a:pt x="139" y="315"/>
                    </a:moveTo>
                    <a:lnTo>
                      <a:pt x="140" y="315"/>
                    </a:lnTo>
                    <a:lnTo>
                      <a:pt x="139" y="315"/>
                    </a:lnTo>
                    <a:close/>
                    <a:moveTo>
                      <a:pt x="139" y="315"/>
                    </a:moveTo>
                    <a:lnTo>
                      <a:pt x="140" y="315"/>
                    </a:lnTo>
                    <a:lnTo>
                      <a:pt x="139" y="315"/>
                    </a:lnTo>
                    <a:close/>
                    <a:moveTo>
                      <a:pt x="611" y="310"/>
                    </a:moveTo>
                    <a:lnTo>
                      <a:pt x="611" y="311"/>
                    </a:lnTo>
                    <a:lnTo>
                      <a:pt x="609" y="311"/>
                    </a:lnTo>
                    <a:lnTo>
                      <a:pt x="609" y="310"/>
                    </a:lnTo>
                    <a:lnTo>
                      <a:pt x="611" y="310"/>
                    </a:lnTo>
                    <a:close/>
                    <a:moveTo>
                      <a:pt x="139" y="315"/>
                    </a:moveTo>
                    <a:lnTo>
                      <a:pt x="139" y="313"/>
                    </a:lnTo>
                    <a:lnTo>
                      <a:pt x="139" y="315"/>
                    </a:lnTo>
                    <a:close/>
                    <a:moveTo>
                      <a:pt x="139" y="315"/>
                    </a:moveTo>
                    <a:lnTo>
                      <a:pt x="139" y="313"/>
                    </a:lnTo>
                    <a:lnTo>
                      <a:pt x="140" y="315"/>
                    </a:lnTo>
                    <a:lnTo>
                      <a:pt x="139" y="315"/>
                    </a:lnTo>
                    <a:close/>
                    <a:moveTo>
                      <a:pt x="646" y="304"/>
                    </a:moveTo>
                    <a:lnTo>
                      <a:pt x="646" y="306"/>
                    </a:lnTo>
                    <a:lnTo>
                      <a:pt x="646" y="304"/>
                    </a:lnTo>
                    <a:close/>
                    <a:moveTo>
                      <a:pt x="123" y="310"/>
                    </a:moveTo>
                    <a:lnTo>
                      <a:pt x="121" y="310"/>
                    </a:lnTo>
                    <a:lnTo>
                      <a:pt x="123" y="310"/>
                    </a:lnTo>
                    <a:close/>
                    <a:moveTo>
                      <a:pt x="162" y="311"/>
                    </a:moveTo>
                    <a:lnTo>
                      <a:pt x="160" y="311"/>
                    </a:lnTo>
                    <a:lnTo>
                      <a:pt x="162" y="311"/>
                    </a:lnTo>
                    <a:close/>
                    <a:moveTo>
                      <a:pt x="160" y="311"/>
                    </a:moveTo>
                    <a:lnTo>
                      <a:pt x="160" y="313"/>
                    </a:lnTo>
                    <a:lnTo>
                      <a:pt x="160" y="311"/>
                    </a:lnTo>
                    <a:close/>
                    <a:moveTo>
                      <a:pt x="190" y="313"/>
                    </a:moveTo>
                    <a:lnTo>
                      <a:pt x="190" y="315"/>
                    </a:lnTo>
                    <a:lnTo>
                      <a:pt x="190" y="313"/>
                    </a:lnTo>
                    <a:close/>
                    <a:moveTo>
                      <a:pt x="189" y="311"/>
                    </a:moveTo>
                    <a:lnTo>
                      <a:pt x="187" y="311"/>
                    </a:lnTo>
                    <a:lnTo>
                      <a:pt x="189" y="311"/>
                    </a:lnTo>
                    <a:close/>
                    <a:moveTo>
                      <a:pt x="169" y="310"/>
                    </a:moveTo>
                    <a:lnTo>
                      <a:pt x="171" y="310"/>
                    </a:lnTo>
                    <a:lnTo>
                      <a:pt x="169" y="310"/>
                    </a:lnTo>
                    <a:close/>
                    <a:moveTo>
                      <a:pt x="484" y="313"/>
                    </a:moveTo>
                    <a:lnTo>
                      <a:pt x="484" y="315"/>
                    </a:lnTo>
                    <a:lnTo>
                      <a:pt x="484" y="313"/>
                    </a:lnTo>
                    <a:close/>
                    <a:moveTo>
                      <a:pt x="705" y="288"/>
                    </a:moveTo>
                    <a:lnTo>
                      <a:pt x="703" y="288"/>
                    </a:lnTo>
                    <a:lnTo>
                      <a:pt x="705" y="288"/>
                    </a:lnTo>
                    <a:close/>
                    <a:moveTo>
                      <a:pt x="652" y="296"/>
                    </a:moveTo>
                    <a:lnTo>
                      <a:pt x="650" y="296"/>
                    </a:lnTo>
                    <a:lnTo>
                      <a:pt x="652" y="296"/>
                    </a:lnTo>
                    <a:close/>
                    <a:moveTo>
                      <a:pt x="189" y="308"/>
                    </a:moveTo>
                    <a:lnTo>
                      <a:pt x="187" y="308"/>
                    </a:lnTo>
                    <a:lnTo>
                      <a:pt x="189" y="308"/>
                    </a:lnTo>
                    <a:close/>
                    <a:moveTo>
                      <a:pt x="169" y="306"/>
                    </a:moveTo>
                    <a:lnTo>
                      <a:pt x="167" y="306"/>
                    </a:lnTo>
                    <a:lnTo>
                      <a:pt x="169" y="306"/>
                    </a:lnTo>
                    <a:close/>
                    <a:moveTo>
                      <a:pt x="187" y="308"/>
                    </a:moveTo>
                    <a:lnTo>
                      <a:pt x="185" y="308"/>
                    </a:lnTo>
                    <a:lnTo>
                      <a:pt x="187" y="308"/>
                    </a:lnTo>
                    <a:close/>
                    <a:moveTo>
                      <a:pt x="655" y="290"/>
                    </a:moveTo>
                    <a:lnTo>
                      <a:pt x="653" y="290"/>
                    </a:lnTo>
                    <a:lnTo>
                      <a:pt x="655" y="290"/>
                    </a:lnTo>
                    <a:close/>
                    <a:moveTo>
                      <a:pt x="686" y="286"/>
                    </a:moveTo>
                    <a:lnTo>
                      <a:pt x="684" y="286"/>
                    </a:lnTo>
                    <a:lnTo>
                      <a:pt x="686" y="286"/>
                    </a:lnTo>
                    <a:close/>
                    <a:moveTo>
                      <a:pt x="177" y="302"/>
                    </a:moveTo>
                    <a:lnTo>
                      <a:pt x="179" y="302"/>
                    </a:lnTo>
                    <a:lnTo>
                      <a:pt x="177" y="302"/>
                    </a:lnTo>
                    <a:close/>
                    <a:moveTo>
                      <a:pt x="169" y="300"/>
                    </a:moveTo>
                    <a:lnTo>
                      <a:pt x="171" y="300"/>
                    </a:lnTo>
                    <a:lnTo>
                      <a:pt x="169" y="300"/>
                    </a:lnTo>
                    <a:close/>
                    <a:moveTo>
                      <a:pt x="173" y="300"/>
                    </a:moveTo>
                    <a:lnTo>
                      <a:pt x="175" y="300"/>
                    </a:lnTo>
                    <a:lnTo>
                      <a:pt x="173" y="300"/>
                    </a:lnTo>
                    <a:close/>
                    <a:moveTo>
                      <a:pt x="427" y="302"/>
                    </a:moveTo>
                    <a:lnTo>
                      <a:pt x="427" y="304"/>
                    </a:lnTo>
                    <a:lnTo>
                      <a:pt x="427" y="302"/>
                    </a:lnTo>
                    <a:close/>
                    <a:moveTo>
                      <a:pt x="427" y="304"/>
                    </a:moveTo>
                    <a:lnTo>
                      <a:pt x="427" y="302"/>
                    </a:lnTo>
                    <a:lnTo>
                      <a:pt x="427" y="304"/>
                    </a:lnTo>
                    <a:close/>
                    <a:moveTo>
                      <a:pt x="511" y="296"/>
                    </a:moveTo>
                    <a:lnTo>
                      <a:pt x="509" y="296"/>
                    </a:lnTo>
                    <a:lnTo>
                      <a:pt x="511" y="296"/>
                    </a:lnTo>
                    <a:close/>
                    <a:moveTo>
                      <a:pt x="156" y="288"/>
                    </a:moveTo>
                    <a:lnTo>
                      <a:pt x="154" y="288"/>
                    </a:lnTo>
                    <a:lnTo>
                      <a:pt x="156" y="288"/>
                    </a:lnTo>
                    <a:close/>
                    <a:moveTo>
                      <a:pt x="187" y="290"/>
                    </a:moveTo>
                    <a:lnTo>
                      <a:pt x="185" y="290"/>
                    </a:lnTo>
                    <a:lnTo>
                      <a:pt x="187" y="290"/>
                    </a:lnTo>
                    <a:close/>
                    <a:moveTo>
                      <a:pt x="456" y="294"/>
                    </a:moveTo>
                    <a:lnTo>
                      <a:pt x="456" y="296"/>
                    </a:lnTo>
                    <a:lnTo>
                      <a:pt x="456" y="294"/>
                    </a:lnTo>
                    <a:close/>
                    <a:moveTo>
                      <a:pt x="667" y="273"/>
                    </a:moveTo>
                    <a:lnTo>
                      <a:pt x="667" y="275"/>
                    </a:lnTo>
                    <a:lnTo>
                      <a:pt x="667" y="273"/>
                    </a:lnTo>
                    <a:close/>
                    <a:moveTo>
                      <a:pt x="479" y="292"/>
                    </a:moveTo>
                    <a:lnTo>
                      <a:pt x="479" y="294"/>
                    </a:lnTo>
                    <a:lnTo>
                      <a:pt x="479" y="292"/>
                    </a:lnTo>
                    <a:close/>
                    <a:moveTo>
                      <a:pt x="667" y="273"/>
                    </a:moveTo>
                    <a:lnTo>
                      <a:pt x="665" y="273"/>
                    </a:lnTo>
                    <a:lnTo>
                      <a:pt x="667" y="273"/>
                    </a:lnTo>
                    <a:close/>
                    <a:moveTo>
                      <a:pt x="479" y="292"/>
                    </a:moveTo>
                    <a:lnTo>
                      <a:pt x="477" y="292"/>
                    </a:lnTo>
                    <a:lnTo>
                      <a:pt x="479" y="292"/>
                    </a:lnTo>
                    <a:close/>
                    <a:moveTo>
                      <a:pt x="532" y="288"/>
                    </a:moveTo>
                    <a:lnTo>
                      <a:pt x="530" y="288"/>
                    </a:lnTo>
                    <a:lnTo>
                      <a:pt x="532" y="288"/>
                    </a:lnTo>
                    <a:close/>
                    <a:moveTo>
                      <a:pt x="471" y="292"/>
                    </a:moveTo>
                    <a:lnTo>
                      <a:pt x="471" y="290"/>
                    </a:lnTo>
                    <a:lnTo>
                      <a:pt x="471" y="292"/>
                    </a:lnTo>
                    <a:close/>
                    <a:moveTo>
                      <a:pt x="676" y="269"/>
                    </a:moveTo>
                    <a:lnTo>
                      <a:pt x="678" y="269"/>
                    </a:lnTo>
                    <a:lnTo>
                      <a:pt x="676" y="269"/>
                    </a:lnTo>
                    <a:close/>
                    <a:moveTo>
                      <a:pt x="676" y="269"/>
                    </a:moveTo>
                    <a:lnTo>
                      <a:pt x="678" y="269"/>
                    </a:lnTo>
                    <a:lnTo>
                      <a:pt x="676" y="269"/>
                    </a:lnTo>
                    <a:close/>
                    <a:moveTo>
                      <a:pt x="527" y="286"/>
                    </a:moveTo>
                    <a:lnTo>
                      <a:pt x="529" y="286"/>
                    </a:lnTo>
                    <a:lnTo>
                      <a:pt x="527" y="286"/>
                    </a:lnTo>
                    <a:close/>
                    <a:moveTo>
                      <a:pt x="190" y="286"/>
                    </a:moveTo>
                    <a:lnTo>
                      <a:pt x="189" y="286"/>
                    </a:lnTo>
                    <a:lnTo>
                      <a:pt x="190" y="286"/>
                    </a:lnTo>
                    <a:close/>
                    <a:moveTo>
                      <a:pt x="527" y="285"/>
                    </a:moveTo>
                    <a:lnTo>
                      <a:pt x="527" y="286"/>
                    </a:lnTo>
                    <a:lnTo>
                      <a:pt x="527" y="285"/>
                    </a:lnTo>
                    <a:close/>
                    <a:moveTo>
                      <a:pt x="467" y="290"/>
                    </a:moveTo>
                    <a:lnTo>
                      <a:pt x="467" y="288"/>
                    </a:lnTo>
                    <a:lnTo>
                      <a:pt x="467" y="290"/>
                    </a:lnTo>
                    <a:close/>
                    <a:moveTo>
                      <a:pt x="192" y="286"/>
                    </a:moveTo>
                    <a:lnTo>
                      <a:pt x="192" y="285"/>
                    </a:lnTo>
                    <a:lnTo>
                      <a:pt x="192" y="286"/>
                    </a:lnTo>
                    <a:close/>
                    <a:moveTo>
                      <a:pt x="469" y="288"/>
                    </a:moveTo>
                    <a:lnTo>
                      <a:pt x="471" y="288"/>
                    </a:lnTo>
                    <a:lnTo>
                      <a:pt x="469" y="288"/>
                    </a:lnTo>
                    <a:close/>
                    <a:moveTo>
                      <a:pt x="164" y="281"/>
                    </a:moveTo>
                    <a:lnTo>
                      <a:pt x="164" y="279"/>
                    </a:lnTo>
                    <a:lnTo>
                      <a:pt x="164" y="281"/>
                    </a:lnTo>
                    <a:close/>
                    <a:moveTo>
                      <a:pt x="523" y="281"/>
                    </a:moveTo>
                    <a:lnTo>
                      <a:pt x="521" y="281"/>
                    </a:lnTo>
                    <a:lnTo>
                      <a:pt x="523" y="281"/>
                    </a:lnTo>
                    <a:close/>
                    <a:moveTo>
                      <a:pt x="680" y="261"/>
                    </a:moveTo>
                    <a:lnTo>
                      <a:pt x="678" y="261"/>
                    </a:lnTo>
                    <a:lnTo>
                      <a:pt x="680" y="261"/>
                    </a:lnTo>
                    <a:close/>
                    <a:moveTo>
                      <a:pt x="680" y="261"/>
                    </a:moveTo>
                    <a:lnTo>
                      <a:pt x="678" y="261"/>
                    </a:lnTo>
                    <a:lnTo>
                      <a:pt x="680" y="261"/>
                    </a:lnTo>
                    <a:close/>
                    <a:moveTo>
                      <a:pt x="671" y="261"/>
                    </a:moveTo>
                    <a:lnTo>
                      <a:pt x="673" y="261"/>
                    </a:lnTo>
                    <a:lnTo>
                      <a:pt x="671" y="261"/>
                    </a:lnTo>
                    <a:close/>
                    <a:moveTo>
                      <a:pt x="171" y="277"/>
                    </a:moveTo>
                    <a:lnTo>
                      <a:pt x="169" y="277"/>
                    </a:lnTo>
                    <a:lnTo>
                      <a:pt x="171" y="277"/>
                    </a:lnTo>
                    <a:close/>
                    <a:moveTo>
                      <a:pt x="671" y="261"/>
                    </a:moveTo>
                    <a:lnTo>
                      <a:pt x="669" y="261"/>
                    </a:lnTo>
                    <a:lnTo>
                      <a:pt x="671" y="261"/>
                    </a:lnTo>
                    <a:close/>
                    <a:moveTo>
                      <a:pt x="694" y="258"/>
                    </a:moveTo>
                    <a:lnTo>
                      <a:pt x="692" y="258"/>
                    </a:lnTo>
                    <a:lnTo>
                      <a:pt x="694" y="258"/>
                    </a:lnTo>
                    <a:close/>
                    <a:moveTo>
                      <a:pt x="665" y="260"/>
                    </a:moveTo>
                    <a:lnTo>
                      <a:pt x="667" y="260"/>
                    </a:lnTo>
                    <a:lnTo>
                      <a:pt x="665" y="260"/>
                    </a:lnTo>
                    <a:close/>
                    <a:moveTo>
                      <a:pt x="156" y="273"/>
                    </a:moveTo>
                    <a:lnTo>
                      <a:pt x="154" y="273"/>
                    </a:lnTo>
                    <a:lnTo>
                      <a:pt x="156" y="273"/>
                    </a:lnTo>
                    <a:close/>
                    <a:moveTo>
                      <a:pt x="694" y="254"/>
                    </a:moveTo>
                    <a:lnTo>
                      <a:pt x="694" y="252"/>
                    </a:lnTo>
                    <a:lnTo>
                      <a:pt x="694" y="254"/>
                    </a:lnTo>
                    <a:close/>
                    <a:moveTo>
                      <a:pt x="659" y="254"/>
                    </a:moveTo>
                    <a:lnTo>
                      <a:pt x="657" y="254"/>
                    </a:lnTo>
                    <a:lnTo>
                      <a:pt x="659" y="254"/>
                    </a:lnTo>
                    <a:close/>
                    <a:moveTo>
                      <a:pt x="713" y="244"/>
                    </a:moveTo>
                    <a:lnTo>
                      <a:pt x="711" y="244"/>
                    </a:lnTo>
                    <a:lnTo>
                      <a:pt x="713" y="244"/>
                    </a:lnTo>
                    <a:close/>
                    <a:moveTo>
                      <a:pt x="657" y="252"/>
                    </a:moveTo>
                    <a:lnTo>
                      <a:pt x="657" y="250"/>
                    </a:lnTo>
                    <a:lnTo>
                      <a:pt x="657" y="252"/>
                    </a:lnTo>
                    <a:close/>
                    <a:moveTo>
                      <a:pt x="713" y="240"/>
                    </a:moveTo>
                    <a:lnTo>
                      <a:pt x="713" y="242"/>
                    </a:lnTo>
                    <a:lnTo>
                      <a:pt x="713" y="240"/>
                    </a:lnTo>
                    <a:close/>
                    <a:moveTo>
                      <a:pt x="713" y="240"/>
                    </a:moveTo>
                    <a:lnTo>
                      <a:pt x="713" y="242"/>
                    </a:lnTo>
                    <a:lnTo>
                      <a:pt x="713" y="240"/>
                    </a:lnTo>
                    <a:close/>
                    <a:moveTo>
                      <a:pt x="189" y="263"/>
                    </a:moveTo>
                    <a:lnTo>
                      <a:pt x="189" y="265"/>
                    </a:lnTo>
                    <a:lnTo>
                      <a:pt x="189" y="263"/>
                    </a:lnTo>
                    <a:close/>
                    <a:moveTo>
                      <a:pt x="657" y="248"/>
                    </a:moveTo>
                    <a:lnTo>
                      <a:pt x="657" y="250"/>
                    </a:lnTo>
                    <a:lnTo>
                      <a:pt x="655" y="250"/>
                    </a:lnTo>
                    <a:lnTo>
                      <a:pt x="657" y="248"/>
                    </a:lnTo>
                    <a:close/>
                    <a:moveTo>
                      <a:pt x="598" y="256"/>
                    </a:moveTo>
                    <a:lnTo>
                      <a:pt x="598" y="258"/>
                    </a:lnTo>
                    <a:lnTo>
                      <a:pt x="598" y="256"/>
                    </a:lnTo>
                    <a:close/>
                    <a:moveTo>
                      <a:pt x="657" y="248"/>
                    </a:moveTo>
                    <a:lnTo>
                      <a:pt x="655" y="248"/>
                    </a:lnTo>
                    <a:lnTo>
                      <a:pt x="657" y="248"/>
                    </a:lnTo>
                    <a:close/>
                    <a:moveTo>
                      <a:pt x="577" y="258"/>
                    </a:moveTo>
                    <a:lnTo>
                      <a:pt x="575" y="258"/>
                    </a:lnTo>
                    <a:lnTo>
                      <a:pt x="577" y="258"/>
                    </a:lnTo>
                    <a:close/>
                    <a:moveTo>
                      <a:pt x="657" y="244"/>
                    </a:moveTo>
                    <a:lnTo>
                      <a:pt x="655" y="244"/>
                    </a:lnTo>
                    <a:lnTo>
                      <a:pt x="657" y="244"/>
                    </a:lnTo>
                    <a:close/>
                    <a:moveTo>
                      <a:pt x="598" y="252"/>
                    </a:moveTo>
                    <a:lnTo>
                      <a:pt x="598" y="250"/>
                    </a:lnTo>
                    <a:lnTo>
                      <a:pt x="598" y="252"/>
                    </a:lnTo>
                    <a:close/>
                    <a:moveTo>
                      <a:pt x="544" y="254"/>
                    </a:moveTo>
                    <a:lnTo>
                      <a:pt x="542" y="254"/>
                    </a:lnTo>
                    <a:lnTo>
                      <a:pt x="544" y="254"/>
                    </a:lnTo>
                    <a:close/>
                    <a:moveTo>
                      <a:pt x="594" y="246"/>
                    </a:moveTo>
                    <a:lnTo>
                      <a:pt x="594" y="248"/>
                    </a:lnTo>
                    <a:lnTo>
                      <a:pt x="594" y="246"/>
                    </a:lnTo>
                    <a:close/>
                    <a:moveTo>
                      <a:pt x="598" y="244"/>
                    </a:moveTo>
                    <a:lnTo>
                      <a:pt x="598" y="246"/>
                    </a:lnTo>
                    <a:lnTo>
                      <a:pt x="596" y="244"/>
                    </a:lnTo>
                    <a:lnTo>
                      <a:pt x="598" y="244"/>
                    </a:lnTo>
                    <a:close/>
                    <a:moveTo>
                      <a:pt x="594" y="244"/>
                    </a:moveTo>
                    <a:lnTo>
                      <a:pt x="592" y="244"/>
                    </a:lnTo>
                    <a:lnTo>
                      <a:pt x="594" y="244"/>
                    </a:lnTo>
                    <a:close/>
                    <a:moveTo>
                      <a:pt x="594" y="244"/>
                    </a:moveTo>
                    <a:lnTo>
                      <a:pt x="592" y="244"/>
                    </a:lnTo>
                    <a:lnTo>
                      <a:pt x="594" y="244"/>
                    </a:lnTo>
                    <a:close/>
                    <a:moveTo>
                      <a:pt x="607" y="242"/>
                    </a:moveTo>
                    <a:lnTo>
                      <a:pt x="605" y="242"/>
                    </a:lnTo>
                    <a:lnTo>
                      <a:pt x="607" y="242"/>
                    </a:lnTo>
                    <a:close/>
                    <a:moveTo>
                      <a:pt x="655" y="235"/>
                    </a:moveTo>
                    <a:lnTo>
                      <a:pt x="653" y="235"/>
                    </a:lnTo>
                    <a:lnTo>
                      <a:pt x="655" y="235"/>
                    </a:lnTo>
                    <a:close/>
                    <a:moveTo>
                      <a:pt x="554" y="246"/>
                    </a:moveTo>
                    <a:lnTo>
                      <a:pt x="555" y="246"/>
                    </a:lnTo>
                    <a:lnTo>
                      <a:pt x="554" y="246"/>
                    </a:lnTo>
                    <a:close/>
                    <a:moveTo>
                      <a:pt x="611" y="240"/>
                    </a:moveTo>
                    <a:lnTo>
                      <a:pt x="609" y="240"/>
                    </a:lnTo>
                    <a:lnTo>
                      <a:pt x="611" y="240"/>
                    </a:lnTo>
                    <a:close/>
                    <a:moveTo>
                      <a:pt x="552" y="246"/>
                    </a:moveTo>
                    <a:lnTo>
                      <a:pt x="550" y="246"/>
                    </a:lnTo>
                    <a:lnTo>
                      <a:pt x="552" y="246"/>
                    </a:lnTo>
                    <a:close/>
                    <a:moveTo>
                      <a:pt x="217" y="246"/>
                    </a:moveTo>
                    <a:lnTo>
                      <a:pt x="215" y="246"/>
                    </a:lnTo>
                    <a:lnTo>
                      <a:pt x="217" y="246"/>
                    </a:lnTo>
                    <a:close/>
                    <a:moveTo>
                      <a:pt x="225" y="246"/>
                    </a:moveTo>
                    <a:lnTo>
                      <a:pt x="223" y="246"/>
                    </a:lnTo>
                    <a:lnTo>
                      <a:pt x="223" y="244"/>
                    </a:lnTo>
                    <a:lnTo>
                      <a:pt x="225" y="246"/>
                    </a:lnTo>
                    <a:close/>
                    <a:moveTo>
                      <a:pt x="617" y="233"/>
                    </a:moveTo>
                    <a:lnTo>
                      <a:pt x="617" y="231"/>
                    </a:lnTo>
                    <a:lnTo>
                      <a:pt x="617" y="233"/>
                    </a:lnTo>
                    <a:close/>
                    <a:moveTo>
                      <a:pt x="579" y="235"/>
                    </a:moveTo>
                    <a:lnTo>
                      <a:pt x="577" y="235"/>
                    </a:lnTo>
                    <a:lnTo>
                      <a:pt x="579" y="235"/>
                    </a:lnTo>
                    <a:close/>
                    <a:moveTo>
                      <a:pt x="579" y="233"/>
                    </a:moveTo>
                    <a:lnTo>
                      <a:pt x="579" y="235"/>
                    </a:lnTo>
                    <a:lnTo>
                      <a:pt x="579" y="233"/>
                    </a:lnTo>
                    <a:close/>
                    <a:moveTo>
                      <a:pt x="579" y="233"/>
                    </a:moveTo>
                    <a:lnTo>
                      <a:pt x="577" y="233"/>
                    </a:lnTo>
                    <a:lnTo>
                      <a:pt x="579" y="233"/>
                    </a:lnTo>
                    <a:close/>
                    <a:moveTo>
                      <a:pt x="225" y="240"/>
                    </a:moveTo>
                    <a:lnTo>
                      <a:pt x="227" y="240"/>
                    </a:lnTo>
                    <a:lnTo>
                      <a:pt x="225" y="240"/>
                    </a:lnTo>
                    <a:close/>
                    <a:moveTo>
                      <a:pt x="611" y="227"/>
                    </a:moveTo>
                    <a:lnTo>
                      <a:pt x="609" y="227"/>
                    </a:lnTo>
                    <a:lnTo>
                      <a:pt x="611" y="227"/>
                    </a:lnTo>
                    <a:close/>
                    <a:moveTo>
                      <a:pt x="231" y="238"/>
                    </a:moveTo>
                    <a:lnTo>
                      <a:pt x="229" y="238"/>
                    </a:lnTo>
                    <a:lnTo>
                      <a:pt x="231" y="238"/>
                    </a:lnTo>
                    <a:close/>
                    <a:moveTo>
                      <a:pt x="442" y="235"/>
                    </a:moveTo>
                    <a:lnTo>
                      <a:pt x="442" y="233"/>
                    </a:lnTo>
                    <a:lnTo>
                      <a:pt x="442" y="235"/>
                    </a:lnTo>
                    <a:close/>
                    <a:moveTo>
                      <a:pt x="242" y="231"/>
                    </a:moveTo>
                    <a:lnTo>
                      <a:pt x="244" y="231"/>
                    </a:lnTo>
                    <a:lnTo>
                      <a:pt x="242" y="231"/>
                    </a:lnTo>
                    <a:close/>
                    <a:moveTo>
                      <a:pt x="446" y="227"/>
                    </a:moveTo>
                    <a:lnTo>
                      <a:pt x="444" y="227"/>
                    </a:lnTo>
                    <a:lnTo>
                      <a:pt x="446" y="225"/>
                    </a:lnTo>
                    <a:lnTo>
                      <a:pt x="446" y="227"/>
                    </a:lnTo>
                    <a:close/>
                    <a:moveTo>
                      <a:pt x="709" y="188"/>
                    </a:moveTo>
                    <a:lnTo>
                      <a:pt x="711" y="188"/>
                    </a:lnTo>
                    <a:lnTo>
                      <a:pt x="709" y="188"/>
                    </a:lnTo>
                    <a:close/>
                    <a:moveTo>
                      <a:pt x="315" y="219"/>
                    </a:moveTo>
                    <a:lnTo>
                      <a:pt x="313" y="219"/>
                    </a:lnTo>
                    <a:lnTo>
                      <a:pt x="315" y="219"/>
                    </a:lnTo>
                    <a:close/>
                    <a:moveTo>
                      <a:pt x="736" y="183"/>
                    </a:moveTo>
                    <a:lnTo>
                      <a:pt x="734" y="183"/>
                    </a:lnTo>
                    <a:lnTo>
                      <a:pt x="736" y="183"/>
                    </a:lnTo>
                    <a:close/>
                    <a:moveTo>
                      <a:pt x="734" y="181"/>
                    </a:moveTo>
                    <a:lnTo>
                      <a:pt x="734" y="183"/>
                    </a:lnTo>
                    <a:lnTo>
                      <a:pt x="734" y="181"/>
                    </a:lnTo>
                    <a:close/>
                    <a:moveTo>
                      <a:pt x="404" y="213"/>
                    </a:moveTo>
                    <a:lnTo>
                      <a:pt x="404" y="212"/>
                    </a:lnTo>
                    <a:lnTo>
                      <a:pt x="404" y="213"/>
                    </a:lnTo>
                    <a:close/>
                    <a:moveTo>
                      <a:pt x="717" y="179"/>
                    </a:moveTo>
                    <a:lnTo>
                      <a:pt x="715" y="179"/>
                    </a:lnTo>
                    <a:lnTo>
                      <a:pt x="717" y="179"/>
                    </a:lnTo>
                    <a:close/>
                    <a:moveTo>
                      <a:pt x="719" y="175"/>
                    </a:moveTo>
                    <a:lnTo>
                      <a:pt x="719" y="177"/>
                    </a:lnTo>
                    <a:lnTo>
                      <a:pt x="719" y="175"/>
                    </a:lnTo>
                    <a:close/>
                    <a:moveTo>
                      <a:pt x="719" y="175"/>
                    </a:moveTo>
                    <a:lnTo>
                      <a:pt x="719" y="177"/>
                    </a:lnTo>
                    <a:lnTo>
                      <a:pt x="719" y="175"/>
                    </a:lnTo>
                    <a:lnTo>
                      <a:pt x="719" y="177"/>
                    </a:lnTo>
                    <a:lnTo>
                      <a:pt x="719" y="175"/>
                    </a:lnTo>
                    <a:close/>
                    <a:moveTo>
                      <a:pt x="377" y="208"/>
                    </a:moveTo>
                    <a:lnTo>
                      <a:pt x="377" y="206"/>
                    </a:lnTo>
                    <a:lnTo>
                      <a:pt x="377" y="208"/>
                    </a:lnTo>
                    <a:close/>
                    <a:moveTo>
                      <a:pt x="721" y="173"/>
                    </a:moveTo>
                    <a:lnTo>
                      <a:pt x="723" y="173"/>
                    </a:lnTo>
                    <a:lnTo>
                      <a:pt x="721" y="173"/>
                    </a:lnTo>
                    <a:close/>
                    <a:moveTo>
                      <a:pt x="725" y="171"/>
                    </a:moveTo>
                    <a:lnTo>
                      <a:pt x="723" y="171"/>
                    </a:lnTo>
                    <a:lnTo>
                      <a:pt x="725" y="171"/>
                    </a:lnTo>
                    <a:close/>
                    <a:moveTo>
                      <a:pt x="333" y="206"/>
                    </a:moveTo>
                    <a:lnTo>
                      <a:pt x="333" y="204"/>
                    </a:lnTo>
                    <a:lnTo>
                      <a:pt x="333" y="206"/>
                    </a:lnTo>
                    <a:close/>
                    <a:moveTo>
                      <a:pt x="450" y="202"/>
                    </a:moveTo>
                    <a:lnTo>
                      <a:pt x="448" y="202"/>
                    </a:lnTo>
                    <a:lnTo>
                      <a:pt x="450" y="202"/>
                    </a:lnTo>
                    <a:close/>
                    <a:moveTo>
                      <a:pt x="726" y="169"/>
                    </a:moveTo>
                    <a:lnTo>
                      <a:pt x="728" y="169"/>
                    </a:lnTo>
                    <a:lnTo>
                      <a:pt x="726" y="169"/>
                    </a:lnTo>
                    <a:close/>
                    <a:moveTo>
                      <a:pt x="402" y="202"/>
                    </a:moveTo>
                    <a:lnTo>
                      <a:pt x="400" y="202"/>
                    </a:lnTo>
                    <a:lnTo>
                      <a:pt x="402" y="200"/>
                    </a:lnTo>
                    <a:lnTo>
                      <a:pt x="402" y="202"/>
                    </a:lnTo>
                    <a:close/>
                    <a:moveTo>
                      <a:pt x="352" y="202"/>
                    </a:moveTo>
                    <a:lnTo>
                      <a:pt x="352" y="200"/>
                    </a:lnTo>
                    <a:lnTo>
                      <a:pt x="352" y="202"/>
                    </a:lnTo>
                    <a:close/>
                    <a:moveTo>
                      <a:pt x="356" y="200"/>
                    </a:moveTo>
                    <a:lnTo>
                      <a:pt x="356" y="202"/>
                    </a:lnTo>
                    <a:lnTo>
                      <a:pt x="356" y="200"/>
                    </a:lnTo>
                    <a:close/>
                    <a:moveTo>
                      <a:pt x="523" y="188"/>
                    </a:moveTo>
                    <a:lnTo>
                      <a:pt x="521" y="188"/>
                    </a:lnTo>
                    <a:lnTo>
                      <a:pt x="523" y="188"/>
                    </a:lnTo>
                    <a:close/>
                    <a:moveTo>
                      <a:pt x="726" y="158"/>
                    </a:moveTo>
                    <a:lnTo>
                      <a:pt x="726" y="160"/>
                    </a:lnTo>
                    <a:lnTo>
                      <a:pt x="726" y="158"/>
                    </a:lnTo>
                    <a:close/>
                    <a:moveTo>
                      <a:pt x="367" y="192"/>
                    </a:moveTo>
                    <a:lnTo>
                      <a:pt x="367" y="194"/>
                    </a:lnTo>
                    <a:lnTo>
                      <a:pt x="367" y="192"/>
                    </a:lnTo>
                    <a:close/>
                    <a:moveTo>
                      <a:pt x="713" y="160"/>
                    </a:moveTo>
                    <a:lnTo>
                      <a:pt x="713" y="158"/>
                    </a:lnTo>
                    <a:lnTo>
                      <a:pt x="713" y="160"/>
                    </a:lnTo>
                    <a:close/>
                    <a:moveTo>
                      <a:pt x="711" y="156"/>
                    </a:moveTo>
                    <a:lnTo>
                      <a:pt x="709" y="156"/>
                    </a:lnTo>
                    <a:lnTo>
                      <a:pt x="711" y="156"/>
                    </a:lnTo>
                    <a:close/>
                    <a:moveTo>
                      <a:pt x="709" y="156"/>
                    </a:moveTo>
                    <a:lnTo>
                      <a:pt x="711" y="156"/>
                    </a:lnTo>
                    <a:lnTo>
                      <a:pt x="709" y="156"/>
                    </a:lnTo>
                    <a:close/>
                    <a:moveTo>
                      <a:pt x="711" y="156"/>
                    </a:moveTo>
                    <a:lnTo>
                      <a:pt x="709" y="156"/>
                    </a:lnTo>
                    <a:lnTo>
                      <a:pt x="711" y="156"/>
                    </a:lnTo>
                    <a:close/>
                    <a:moveTo>
                      <a:pt x="700" y="156"/>
                    </a:moveTo>
                    <a:lnTo>
                      <a:pt x="698" y="156"/>
                    </a:lnTo>
                    <a:lnTo>
                      <a:pt x="700" y="156"/>
                    </a:lnTo>
                    <a:close/>
                    <a:moveTo>
                      <a:pt x="388" y="187"/>
                    </a:moveTo>
                    <a:lnTo>
                      <a:pt x="388" y="185"/>
                    </a:lnTo>
                    <a:lnTo>
                      <a:pt x="388" y="187"/>
                    </a:lnTo>
                    <a:close/>
                    <a:moveTo>
                      <a:pt x="384" y="185"/>
                    </a:moveTo>
                    <a:lnTo>
                      <a:pt x="384" y="187"/>
                    </a:lnTo>
                    <a:lnTo>
                      <a:pt x="384" y="185"/>
                    </a:lnTo>
                    <a:close/>
                    <a:moveTo>
                      <a:pt x="386" y="185"/>
                    </a:moveTo>
                    <a:lnTo>
                      <a:pt x="384" y="185"/>
                    </a:lnTo>
                    <a:lnTo>
                      <a:pt x="386" y="185"/>
                    </a:lnTo>
                    <a:close/>
                    <a:moveTo>
                      <a:pt x="628" y="167"/>
                    </a:moveTo>
                    <a:lnTo>
                      <a:pt x="627" y="167"/>
                    </a:lnTo>
                    <a:lnTo>
                      <a:pt x="628" y="167"/>
                    </a:lnTo>
                    <a:close/>
                    <a:moveTo>
                      <a:pt x="698" y="156"/>
                    </a:moveTo>
                    <a:lnTo>
                      <a:pt x="696" y="156"/>
                    </a:lnTo>
                    <a:lnTo>
                      <a:pt x="698" y="156"/>
                    </a:lnTo>
                    <a:close/>
                    <a:moveTo>
                      <a:pt x="384" y="185"/>
                    </a:moveTo>
                    <a:lnTo>
                      <a:pt x="383" y="185"/>
                    </a:lnTo>
                    <a:lnTo>
                      <a:pt x="384" y="185"/>
                    </a:lnTo>
                    <a:close/>
                    <a:moveTo>
                      <a:pt x="394" y="185"/>
                    </a:moveTo>
                    <a:lnTo>
                      <a:pt x="396" y="185"/>
                    </a:lnTo>
                    <a:lnTo>
                      <a:pt x="394" y="185"/>
                    </a:lnTo>
                    <a:close/>
                    <a:moveTo>
                      <a:pt x="386" y="185"/>
                    </a:moveTo>
                    <a:lnTo>
                      <a:pt x="384" y="185"/>
                    </a:lnTo>
                    <a:lnTo>
                      <a:pt x="386" y="185"/>
                    </a:lnTo>
                    <a:close/>
                    <a:moveTo>
                      <a:pt x="701" y="154"/>
                    </a:moveTo>
                    <a:lnTo>
                      <a:pt x="700" y="154"/>
                    </a:lnTo>
                    <a:lnTo>
                      <a:pt x="701" y="154"/>
                    </a:lnTo>
                    <a:close/>
                    <a:moveTo>
                      <a:pt x="623" y="162"/>
                    </a:moveTo>
                    <a:lnTo>
                      <a:pt x="623" y="163"/>
                    </a:lnTo>
                    <a:lnTo>
                      <a:pt x="623" y="162"/>
                    </a:lnTo>
                    <a:close/>
                    <a:moveTo>
                      <a:pt x="659" y="158"/>
                    </a:moveTo>
                    <a:lnTo>
                      <a:pt x="657" y="158"/>
                    </a:lnTo>
                    <a:lnTo>
                      <a:pt x="659" y="158"/>
                    </a:lnTo>
                    <a:close/>
                    <a:moveTo>
                      <a:pt x="650" y="158"/>
                    </a:moveTo>
                    <a:lnTo>
                      <a:pt x="652" y="158"/>
                    </a:lnTo>
                    <a:lnTo>
                      <a:pt x="650" y="158"/>
                    </a:lnTo>
                    <a:close/>
                    <a:moveTo>
                      <a:pt x="659" y="156"/>
                    </a:moveTo>
                    <a:lnTo>
                      <a:pt x="661" y="156"/>
                    </a:lnTo>
                    <a:lnTo>
                      <a:pt x="659" y="156"/>
                    </a:lnTo>
                    <a:close/>
                    <a:moveTo>
                      <a:pt x="675" y="154"/>
                    </a:moveTo>
                    <a:lnTo>
                      <a:pt x="673" y="154"/>
                    </a:lnTo>
                    <a:lnTo>
                      <a:pt x="675" y="154"/>
                    </a:lnTo>
                    <a:close/>
                    <a:moveTo>
                      <a:pt x="663" y="154"/>
                    </a:moveTo>
                    <a:lnTo>
                      <a:pt x="665" y="154"/>
                    </a:lnTo>
                    <a:lnTo>
                      <a:pt x="663" y="154"/>
                    </a:lnTo>
                    <a:close/>
                    <a:moveTo>
                      <a:pt x="646" y="158"/>
                    </a:moveTo>
                    <a:lnTo>
                      <a:pt x="646" y="156"/>
                    </a:lnTo>
                    <a:lnTo>
                      <a:pt x="646" y="158"/>
                    </a:lnTo>
                    <a:close/>
                    <a:moveTo>
                      <a:pt x="669" y="154"/>
                    </a:moveTo>
                    <a:lnTo>
                      <a:pt x="669" y="152"/>
                    </a:lnTo>
                    <a:lnTo>
                      <a:pt x="669" y="154"/>
                    </a:lnTo>
                    <a:close/>
                    <a:moveTo>
                      <a:pt x="673" y="152"/>
                    </a:moveTo>
                    <a:lnTo>
                      <a:pt x="671" y="152"/>
                    </a:lnTo>
                    <a:lnTo>
                      <a:pt x="673" y="152"/>
                    </a:lnTo>
                    <a:close/>
                    <a:moveTo>
                      <a:pt x="409" y="173"/>
                    </a:moveTo>
                    <a:lnTo>
                      <a:pt x="409" y="175"/>
                    </a:lnTo>
                    <a:lnTo>
                      <a:pt x="409" y="173"/>
                    </a:lnTo>
                    <a:close/>
                    <a:moveTo>
                      <a:pt x="404" y="173"/>
                    </a:moveTo>
                    <a:lnTo>
                      <a:pt x="406" y="173"/>
                    </a:lnTo>
                    <a:lnTo>
                      <a:pt x="404" y="173"/>
                    </a:lnTo>
                    <a:close/>
                    <a:moveTo>
                      <a:pt x="602" y="156"/>
                    </a:moveTo>
                    <a:lnTo>
                      <a:pt x="600" y="156"/>
                    </a:lnTo>
                    <a:lnTo>
                      <a:pt x="602" y="156"/>
                    </a:lnTo>
                    <a:close/>
                    <a:moveTo>
                      <a:pt x="371" y="171"/>
                    </a:moveTo>
                    <a:lnTo>
                      <a:pt x="371" y="169"/>
                    </a:lnTo>
                    <a:lnTo>
                      <a:pt x="371" y="171"/>
                    </a:lnTo>
                    <a:close/>
                    <a:moveTo>
                      <a:pt x="603" y="152"/>
                    </a:moveTo>
                    <a:lnTo>
                      <a:pt x="603" y="154"/>
                    </a:lnTo>
                    <a:lnTo>
                      <a:pt x="603" y="152"/>
                    </a:lnTo>
                    <a:close/>
                    <a:moveTo>
                      <a:pt x="481" y="163"/>
                    </a:moveTo>
                    <a:lnTo>
                      <a:pt x="481" y="165"/>
                    </a:lnTo>
                    <a:lnTo>
                      <a:pt x="481" y="163"/>
                    </a:lnTo>
                    <a:close/>
                    <a:moveTo>
                      <a:pt x="602" y="152"/>
                    </a:moveTo>
                    <a:lnTo>
                      <a:pt x="602" y="154"/>
                    </a:lnTo>
                    <a:lnTo>
                      <a:pt x="602" y="152"/>
                    </a:lnTo>
                    <a:close/>
                    <a:moveTo>
                      <a:pt x="586" y="154"/>
                    </a:moveTo>
                    <a:lnTo>
                      <a:pt x="584" y="154"/>
                    </a:lnTo>
                    <a:lnTo>
                      <a:pt x="586" y="154"/>
                    </a:lnTo>
                    <a:close/>
                    <a:moveTo>
                      <a:pt x="588" y="152"/>
                    </a:moveTo>
                    <a:lnTo>
                      <a:pt x="588" y="154"/>
                    </a:lnTo>
                    <a:lnTo>
                      <a:pt x="588" y="152"/>
                    </a:lnTo>
                    <a:close/>
                    <a:moveTo>
                      <a:pt x="383" y="165"/>
                    </a:moveTo>
                    <a:lnTo>
                      <a:pt x="381" y="165"/>
                    </a:lnTo>
                    <a:lnTo>
                      <a:pt x="383" y="165"/>
                    </a:lnTo>
                    <a:close/>
                    <a:moveTo>
                      <a:pt x="555" y="154"/>
                    </a:moveTo>
                    <a:lnTo>
                      <a:pt x="554" y="154"/>
                    </a:lnTo>
                    <a:lnTo>
                      <a:pt x="555" y="154"/>
                    </a:lnTo>
                    <a:close/>
                    <a:moveTo>
                      <a:pt x="557" y="152"/>
                    </a:moveTo>
                    <a:lnTo>
                      <a:pt x="557" y="154"/>
                    </a:lnTo>
                    <a:lnTo>
                      <a:pt x="557" y="152"/>
                    </a:lnTo>
                    <a:close/>
                    <a:moveTo>
                      <a:pt x="546" y="152"/>
                    </a:moveTo>
                    <a:lnTo>
                      <a:pt x="544" y="152"/>
                    </a:lnTo>
                    <a:lnTo>
                      <a:pt x="546" y="152"/>
                    </a:lnTo>
                    <a:close/>
                    <a:moveTo>
                      <a:pt x="555" y="148"/>
                    </a:moveTo>
                    <a:lnTo>
                      <a:pt x="555" y="150"/>
                    </a:lnTo>
                    <a:lnTo>
                      <a:pt x="555" y="148"/>
                    </a:lnTo>
                    <a:close/>
                    <a:moveTo>
                      <a:pt x="565" y="144"/>
                    </a:moveTo>
                    <a:lnTo>
                      <a:pt x="565" y="146"/>
                    </a:lnTo>
                    <a:lnTo>
                      <a:pt x="565" y="144"/>
                    </a:lnTo>
                    <a:close/>
                    <a:moveTo>
                      <a:pt x="603" y="140"/>
                    </a:moveTo>
                    <a:lnTo>
                      <a:pt x="603" y="138"/>
                    </a:lnTo>
                    <a:lnTo>
                      <a:pt x="603" y="140"/>
                    </a:lnTo>
                    <a:close/>
                    <a:moveTo>
                      <a:pt x="575" y="142"/>
                    </a:moveTo>
                    <a:lnTo>
                      <a:pt x="573" y="142"/>
                    </a:lnTo>
                    <a:lnTo>
                      <a:pt x="575" y="142"/>
                    </a:lnTo>
                    <a:close/>
                    <a:moveTo>
                      <a:pt x="607" y="135"/>
                    </a:moveTo>
                    <a:lnTo>
                      <a:pt x="607" y="137"/>
                    </a:lnTo>
                    <a:lnTo>
                      <a:pt x="607" y="135"/>
                    </a:lnTo>
                    <a:close/>
                    <a:moveTo>
                      <a:pt x="502" y="146"/>
                    </a:moveTo>
                    <a:lnTo>
                      <a:pt x="500" y="146"/>
                    </a:lnTo>
                    <a:lnTo>
                      <a:pt x="502" y="146"/>
                    </a:lnTo>
                    <a:close/>
                    <a:moveTo>
                      <a:pt x="500" y="146"/>
                    </a:moveTo>
                    <a:lnTo>
                      <a:pt x="498" y="146"/>
                    </a:lnTo>
                    <a:lnTo>
                      <a:pt x="500" y="146"/>
                    </a:lnTo>
                    <a:close/>
                    <a:moveTo>
                      <a:pt x="571" y="140"/>
                    </a:moveTo>
                    <a:lnTo>
                      <a:pt x="569" y="140"/>
                    </a:lnTo>
                    <a:lnTo>
                      <a:pt x="571" y="140"/>
                    </a:lnTo>
                    <a:close/>
                    <a:moveTo>
                      <a:pt x="569" y="140"/>
                    </a:moveTo>
                    <a:lnTo>
                      <a:pt x="571" y="140"/>
                    </a:lnTo>
                    <a:lnTo>
                      <a:pt x="569" y="140"/>
                    </a:lnTo>
                    <a:close/>
                    <a:moveTo>
                      <a:pt x="571" y="138"/>
                    </a:moveTo>
                    <a:lnTo>
                      <a:pt x="569" y="138"/>
                    </a:lnTo>
                    <a:lnTo>
                      <a:pt x="571" y="138"/>
                    </a:lnTo>
                    <a:close/>
                    <a:moveTo>
                      <a:pt x="579" y="138"/>
                    </a:moveTo>
                    <a:lnTo>
                      <a:pt x="579" y="137"/>
                    </a:lnTo>
                    <a:lnTo>
                      <a:pt x="579" y="138"/>
                    </a:lnTo>
                    <a:close/>
                    <a:moveTo>
                      <a:pt x="502" y="144"/>
                    </a:moveTo>
                    <a:lnTo>
                      <a:pt x="500" y="144"/>
                    </a:lnTo>
                    <a:lnTo>
                      <a:pt x="502" y="144"/>
                    </a:lnTo>
                    <a:close/>
                    <a:moveTo>
                      <a:pt x="507" y="140"/>
                    </a:moveTo>
                    <a:lnTo>
                      <a:pt x="506" y="140"/>
                    </a:lnTo>
                    <a:lnTo>
                      <a:pt x="507" y="140"/>
                    </a:lnTo>
                    <a:close/>
                    <a:moveTo>
                      <a:pt x="509" y="137"/>
                    </a:moveTo>
                    <a:lnTo>
                      <a:pt x="509" y="138"/>
                    </a:lnTo>
                    <a:lnTo>
                      <a:pt x="509" y="137"/>
                    </a:lnTo>
                    <a:close/>
                    <a:moveTo>
                      <a:pt x="446" y="112"/>
                    </a:moveTo>
                    <a:lnTo>
                      <a:pt x="446" y="113"/>
                    </a:lnTo>
                    <a:lnTo>
                      <a:pt x="446" y="112"/>
                    </a:lnTo>
                    <a:close/>
                    <a:moveTo>
                      <a:pt x="600" y="98"/>
                    </a:moveTo>
                    <a:lnTo>
                      <a:pt x="600" y="100"/>
                    </a:lnTo>
                    <a:lnTo>
                      <a:pt x="600" y="98"/>
                    </a:lnTo>
                    <a:close/>
                    <a:moveTo>
                      <a:pt x="580" y="94"/>
                    </a:moveTo>
                    <a:lnTo>
                      <a:pt x="579" y="94"/>
                    </a:lnTo>
                    <a:lnTo>
                      <a:pt x="580" y="94"/>
                    </a:lnTo>
                    <a:close/>
                    <a:moveTo>
                      <a:pt x="580" y="94"/>
                    </a:moveTo>
                    <a:lnTo>
                      <a:pt x="580" y="92"/>
                    </a:lnTo>
                    <a:lnTo>
                      <a:pt x="580" y="94"/>
                    </a:lnTo>
                    <a:close/>
                    <a:moveTo>
                      <a:pt x="358" y="79"/>
                    </a:moveTo>
                    <a:lnTo>
                      <a:pt x="356" y="79"/>
                    </a:lnTo>
                    <a:lnTo>
                      <a:pt x="358" y="79"/>
                    </a:lnTo>
                    <a:close/>
                    <a:moveTo>
                      <a:pt x="317" y="77"/>
                    </a:moveTo>
                    <a:lnTo>
                      <a:pt x="315" y="77"/>
                    </a:lnTo>
                    <a:lnTo>
                      <a:pt x="317" y="77"/>
                    </a:lnTo>
                    <a:close/>
                    <a:moveTo>
                      <a:pt x="519" y="65"/>
                    </a:moveTo>
                    <a:lnTo>
                      <a:pt x="521" y="65"/>
                    </a:lnTo>
                    <a:lnTo>
                      <a:pt x="519" y="65"/>
                    </a:lnTo>
                    <a:close/>
                    <a:moveTo>
                      <a:pt x="300" y="52"/>
                    </a:moveTo>
                    <a:lnTo>
                      <a:pt x="300" y="54"/>
                    </a:lnTo>
                    <a:lnTo>
                      <a:pt x="300" y="52"/>
                    </a:lnTo>
                    <a:close/>
                    <a:moveTo>
                      <a:pt x="300" y="52"/>
                    </a:moveTo>
                    <a:lnTo>
                      <a:pt x="300" y="54"/>
                    </a:lnTo>
                    <a:lnTo>
                      <a:pt x="298" y="52"/>
                    </a:lnTo>
                    <a:lnTo>
                      <a:pt x="300" y="52"/>
                    </a:lnTo>
                    <a:close/>
                    <a:moveTo>
                      <a:pt x="383" y="38"/>
                    </a:moveTo>
                    <a:lnTo>
                      <a:pt x="383" y="37"/>
                    </a:lnTo>
                    <a:lnTo>
                      <a:pt x="383" y="38"/>
                    </a:lnTo>
                    <a:close/>
                    <a:moveTo>
                      <a:pt x="415" y="37"/>
                    </a:moveTo>
                    <a:lnTo>
                      <a:pt x="413" y="37"/>
                    </a:lnTo>
                    <a:lnTo>
                      <a:pt x="415" y="37"/>
                    </a:lnTo>
                    <a:close/>
                    <a:moveTo>
                      <a:pt x="394" y="35"/>
                    </a:moveTo>
                    <a:lnTo>
                      <a:pt x="394" y="33"/>
                    </a:lnTo>
                    <a:lnTo>
                      <a:pt x="394" y="35"/>
                    </a:lnTo>
                    <a:close/>
                    <a:moveTo>
                      <a:pt x="398" y="27"/>
                    </a:moveTo>
                    <a:lnTo>
                      <a:pt x="398" y="25"/>
                    </a:lnTo>
                    <a:lnTo>
                      <a:pt x="398" y="27"/>
                    </a:lnTo>
                    <a:close/>
                    <a:moveTo>
                      <a:pt x="398" y="27"/>
                    </a:moveTo>
                    <a:lnTo>
                      <a:pt x="398" y="25"/>
                    </a:lnTo>
                    <a:lnTo>
                      <a:pt x="398" y="27"/>
                    </a:lnTo>
                    <a:close/>
                    <a:moveTo>
                      <a:pt x="358" y="0"/>
                    </a:moveTo>
                    <a:lnTo>
                      <a:pt x="356" y="0"/>
                    </a:lnTo>
                    <a:lnTo>
                      <a:pt x="358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55">
                <a:extLst>
                  <a:ext uri="{FF2B5EF4-FFF2-40B4-BE49-F238E27FC236}">
                    <a16:creationId xmlns="" xmlns:a16="http://schemas.microsoft.com/office/drawing/2014/main" id="{9086E3FE-E22E-4367-BE01-D5B4CC80D7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38" y="3973513"/>
                <a:ext cx="360363" cy="274638"/>
              </a:xfrm>
              <a:custGeom>
                <a:avLst/>
                <a:gdLst>
                  <a:gd name="T0" fmla="*/ 137 w 227"/>
                  <a:gd name="T1" fmla="*/ 21 h 173"/>
                  <a:gd name="T2" fmla="*/ 133 w 227"/>
                  <a:gd name="T3" fmla="*/ 29 h 173"/>
                  <a:gd name="T4" fmla="*/ 137 w 227"/>
                  <a:gd name="T5" fmla="*/ 40 h 173"/>
                  <a:gd name="T6" fmla="*/ 141 w 227"/>
                  <a:gd name="T7" fmla="*/ 46 h 173"/>
                  <a:gd name="T8" fmla="*/ 150 w 227"/>
                  <a:gd name="T9" fmla="*/ 61 h 173"/>
                  <a:gd name="T10" fmla="*/ 164 w 227"/>
                  <a:gd name="T11" fmla="*/ 69 h 173"/>
                  <a:gd name="T12" fmla="*/ 175 w 227"/>
                  <a:gd name="T13" fmla="*/ 77 h 173"/>
                  <a:gd name="T14" fmla="*/ 185 w 227"/>
                  <a:gd name="T15" fmla="*/ 82 h 173"/>
                  <a:gd name="T16" fmla="*/ 193 w 227"/>
                  <a:gd name="T17" fmla="*/ 92 h 173"/>
                  <a:gd name="T18" fmla="*/ 204 w 227"/>
                  <a:gd name="T19" fmla="*/ 106 h 173"/>
                  <a:gd name="T20" fmla="*/ 210 w 227"/>
                  <a:gd name="T21" fmla="*/ 111 h 173"/>
                  <a:gd name="T22" fmla="*/ 216 w 227"/>
                  <a:gd name="T23" fmla="*/ 119 h 173"/>
                  <a:gd name="T24" fmla="*/ 221 w 227"/>
                  <a:gd name="T25" fmla="*/ 132 h 173"/>
                  <a:gd name="T26" fmla="*/ 223 w 227"/>
                  <a:gd name="T27" fmla="*/ 144 h 173"/>
                  <a:gd name="T28" fmla="*/ 214 w 227"/>
                  <a:gd name="T29" fmla="*/ 146 h 173"/>
                  <a:gd name="T30" fmla="*/ 208 w 227"/>
                  <a:gd name="T31" fmla="*/ 150 h 173"/>
                  <a:gd name="T32" fmla="*/ 204 w 227"/>
                  <a:gd name="T33" fmla="*/ 157 h 173"/>
                  <a:gd name="T34" fmla="*/ 185 w 227"/>
                  <a:gd name="T35" fmla="*/ 161 h 173"/>
                  <a:gd name="T36" fmla="*/ 171 w 227"/>
                  <a:gd name="T37" fmla="*/ 159 h 173"/>
                  <a:gd name="T38" fmla="*/ 152 w 227"/>
                  <a:gd name="T39" fmla="*/ 159 h 173"/>
                  <a:gd name="T40" fmla="*/ 127 w 227"/>
                  <a:gd name="T41" fmla="*/ 156 h 173"/>
                  <a:gd name="T42" fmla="*/ 112 w 227"/>
                  <a:gd name="T43" fmla="*/ 156 h 173"/>
                  <a:gd name="T44" fmla="*/ 104 w 227"/>
                  <a:gd name="T45" fmla="*/ 157 h 173"/>
                  <a:gd name="T46" fmla="*/ 96 w 227"/>
                  <a:gd name="T47" fmla="*/ 169 h 173"/>
                  <a:gd name="T48" fmla="*/ 87 w 227"/>
                  <a:gd name="T49" fmla="*/ 165 h 173"/>
                  <a:gd name="T50" fmla="*/ 77 w 227"/>
                  <a:gd name="T51" fmla="*/ 163 h 173"/>
                  <a:gd name="T52" fmla="*/ 66 w 227"/>
                  <a:gd name="T53" fmla="*/ 163 h 173"/>
                  <a:gd name="T54" fmla="*/ 58 w 227"/>
                  <a:gd name="T55" fmla="*/ 163 h 173"/>
                  <a:gd name="T56" fmla="*/ 50 w 227"/>
                  <a:gd name="T57" fmla="*/ 167 h 173"/>
                  <a:gd name="T58" fmla="*/ 43 w 227"/>
                  <a:gd name="T59" fmla="*/ 163 h 173"/>
                  <a:gd name="T60" fmla="*/ 37 w 227"/>
                  <a:gd name="T61" fmla="*/ 163 h 173"/>
                  <a:gd name="T62" fmla="*/ 33 w 227"/>
                  <a:gd name="T63" fmla="*/ 159 h 173"/>
                  <a:gd name="T64" fmla="*/ 27 w 227"/>
                  <a:gd name="T65" fmla="*/ 150 h 173"/>
                  <a:gd name="T66" fmla="*/ 33 w 227"/>
                  <a:gd name="T67" fmla="*/ 140 h 173"/>
                  <a:gd name="T68" fmla="*/ 37 w 227"/>
                  <a:gd name="T69" fmla="*/ 136 h 173"/>
                  <a:gd name="T70" fmla="*/ 27 w 227"/>
                  <a:gd name="T71" fmla="*/ 125 h 173"/>
                  <a:gd name="T72" fmla="*/ 18 w 227"/>
                  <a:gd name="T73" fmla="*/ 123 h 173"/>
                  <a:gd name="T74" fmla="*/ 14 w 227"/>
                  <a:gd name="T75" fmla="*/ 117 h 173"/>
                  <a:gd name="T76" fmla="*/ 2 w 227"/>
                  <a:gd name="T77" fmla="*/ 117 h 173"/>
                  <a:gd name="T78" fmla="*/ 6 w 227"/>
                  <a:gd name="T79" fmla="*/ 107 h 173"/>
                  <a:gd name="T80" fmla="*/ 6 w 227"/>
                  <a:gd name="T81" fmla="*/ 92 h 173"/>
                  <a:gd name="T82" fmla="*/ 18 w 227"/>
                  <a:gd name="T83" fmla="*/ 90 h 173"/>
                  <a:gd name="T84" fmla="*/ 16 w 227"/>
                  <a:gd name="T85" fmla="*/ 75 h 173"/>
                  <a:gd name="T86" fmla="*/ 23 w 227"/>
                  <a:gd name="T87" fmla="*/ 69 h 173"/>
                  <a:gd name="T88" fmla="*/ 33 w 227"/>
                  <a:gd name="T89" fmla="*/ 69 h 173"/>
                  <a:gd name="T90" fmla="*/ 37 w 227"/>
                  <a:gd name="T91" fmla="*/ 61 h 173"/>
                  <a:gd name="T92" fmla="*/ 39 w 227"/>
                  <a:gd name="T93" fmla="*/ 48 h 173"/>
                  <a:gd name="T94" fmla="*/ 39 w 227"/>
                  <a:gd name="T95" fmla="*/ 38 h 173"/>
                  <a:gd name="T96" fmla="*/ 35 w 227"/>
                  <a:gd name="T97" fmla="*/ 27 h 173"/>
                  <a:gd name="T98" fmla="*/ 39 w 227"/>
                  <a:gd name="T99" fmla="*/ 11 h 173"/>
                  <a:gd name="T100" fmla="*/ 47 w 227"/>
                  <a:gd name="T101" fmla="*/ 6 h 173"/>
                  <a:gd name="T102" fmla="*/ 56 w 227"/>
                  <a:gd name="T103" fmla="*/ 0 h 173"/>
                  <a:gd name="T104" fmla="*/ 62 w 227"/>
                  <a:gd name="T105" fmla="*/ 4 h 173"/>
                  <a:gd name="T106" fmla="*/ 73 w 227"/>
                  <a:gd name="T107" fmla="*/ 2 h 173"/>
                  <a:gd name="T108" fmla="*/ 81 w 227"/>
                  <a:gd name="T109" fmla="*/ 7 h 173"/>
                  <a:gd name="T110" fmla="*/ 87 w 227"/>
                  <a:gd name="T111" fmla="*/ 6 h 173"/>
                  <a:gd name="T112" fmla="*/ 93 w 227"/>
                  <a:gd name="T113" fmla="*/ 11 h 173"/>
                  <a:gd name="T114" fmla="*/ 102 w 227"/>
                  <a:gd name="T115" fmla="*/ 19 h 173"/>
                  <a:gd name="T116" fmla="*/ 112 w 227"/>
                  <a:gd name="T117" fmla="*/ 15 h 173"/>
                  <a:gd name="T118" fmla="*/ 116 w 227"/>
                  <a:gd name="T119" fmla="*/ 7 h 173"/>
                  <a:gd name="T120" fmla="*/ 129 w 227"/>
                  <a:gd name="T121" fmla="*/ 6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27" h="173">
                    <a:moveTo>
                      <a:pt x="137" y="9"/>
                    </a:moveTo>
                    <a:lnTo>
                      <a:pt x="137" y="11"/>
                    </a:lnTo>
                    <a:lnTo>
                      <a:pt x="137" y="13"/>
                    </a:lnTo>
                    <a:lnTo>
                      <a:pt x="137" y="15"/>
                    </a:lnTo>
                    <a:lnTo>
                      <a:pt x="137" y="17"/>
                    </a:lnTo>
                    <a:lnTo>
                      <a:pt x="135" y="19"/>
                    </a:lnTo>
                    <a:lnTo>
                      <a:pt x="137" y="19"/>
                    </a:lnTo>
                    <a:lnTo>
                      <a:pt x="137" y="21"/>
                    </a:lnTo>
                    <a:lnTo>
                      <a:pt x="135" y="21"/>
                    </a:lnTo>
                    <a:lnTo>
                      <a:pt x="135" y="23"/>
                    </a:lnTo>
                    <a:lnTo>
                      <a:pt x="135" y="25"/>
                    </a:lnTo>
                    <a:lnTo>
                      <a:pt x="133" y="25"/>
                    </a:lnTo>
                    <a:lnTo>
                      <a:pt x="135" y="25"/>
                    </a:lnTo>
                    <a:lnTo>
                      <a:pt x="135" y="27"/>
                    </a:lnTo>
                    <a:lnTo>
                      <a:pt x="133" y="27"/>
                    </a:lnTo>
                    <a:lnTo>
                      <a:pt x="133" y="29"/>
                    </a:lnTo>
                    <a:lnTo>
                      <a:pt x="133" y="31"/>
                    </a:lnTo>
                    <a:lnTo>
                      <a:pt x="133" y="32"/>
                    </a:lnTo>
                    <a:lnTo>
                      <a:pt x="135" y="32"/>
                    </a:lnTo>
                    <a:lnTo>
                      <a:pt x="135" y="34"/>
                    </a:lnTo>
                    <a:lnTo>
                      <a:pt x="135" y="36"/>
                    </a:lnTo>
                    <a:lnTo>
                      <a:pt x="135" y="38"/>
                    </a:lnTo>
                    <a:lnTo>
                      <a:pt x="137" y="38"/>
                    </a:lnTo>
                    <a:lnTo>
                      <a:pt x="137" y="40"/>
                    </a:lnTo>
                    <a:lnTo>
                      <a:pt x="137" y="42"/>
                    </a:lnTo>
                    <a:lnTo>
                      <a:pt x="135" y="40"/>
                    </a:lnTo>
                    <a:lnTo>
                      <a:pt x="133" y="40"/>
                    </a:lnTo>
                    <a:lnTo>
                      <a:pt x="133" y="42"/>
                    </a:lnTo>
                    <a:lnTo>
                      <a:pt x="135" y="44"/>
                    </a:lnTo>
                    <a:lnTo>
                      <a:pt x="137" y="46"/>
                    </a:lnTo>
                    <a:lnTo>
                      <a:pt x="139" y="46"/>
                    </a:lnTo>
                    <a:lnTo>
                      <a:pt x="141" y="46"/>
                    </a:lnTo>
                    <a:lnTo>
                      <a:pt x="143" y="48"/>
                    </a:lnTo>
                    <a:lnTo>
                      <a:pt x="146" y="48"/>
                    </a:lnTo>
                    <a:lnTo>
                      <a:pt x="150" y="50"/>
                    </a:lnTo>
                    <a:lnTo>
                      <a:pt x="148" y="54"/>
                    </a:lnTo>
                    <a:lnTo>
                      <a:pt x="148" y="56"/>
                    </a:lnTo>
                    <a:lnTo>
                      <a:pt x="150" y="56"/>
                    </a:lnTo>
                    <a:lnTo>
                      <a:pt x="150" y="59"/>
                    </a:lnTo>
                    <a:lnTo>
                      <a:pt x="150" y="61"/>
                    </a:lnTo>
                    <a:lnTo>
                      <a:pt x="150" y="63"/>
                    </a:lnTo>
                    <a:lnTo>
                      <a:pt x="154" y="69"/>
                    </a:lnTo>
                    <a:lnTo>
                      <a:pt x="154" y="71"/>
                    </a:lnTo>
                    <a:lnTo>
                      <a:pt x="156" y="71"/>
                    </a:lnTo>
                    <a:lnTo>
                      <a:pt x="158" y="71"/>
                    </a:lnTo>
                    <a:lnTo>
                      <a:pt x="160" y="69"/>
                    </a:lnTo>
                    <a:lnTo>
                      <a:pt x="162" y="69"/>
                    </a:lnTo>
                    <a:lnTo>
                      <a:pt x="164" y="69"/>
                    </a:lnTo>
                    <a:lnTo>
                      <a:pt x="166" y="69"/>
                    </a:lnTo>
                    <a:lnTo>
                      <a:pt x="166" y="73"/>
                    </a:lnTo>
                    <a:lnTo>
                      <a:pt x="168" y="75"/>
                    </a:lnTo>
                    <a:lnTo>
                      <a:pt x="168" y="77"/>
                    </a:lnTo>
                    <a:lnTo>
                      <a:pt x="168" y="79"/>
                    </a:lnTo>
                    <a:lnTo>
                      <a:pt x="169" y="77"/>
                    </a:lnTo>
                    <a:lnTo>
                      <a:pt x="173" y="77"/>
                    </a:lnTo>
                    <a:lnTo>
                      <a:pt x="175" y="77"/>
                    </a:lnTo>
                    <a:lnTo>
                      <a:pt x="175" y="75"/>
                    </a:lnTo>
                    <a:lnTo>
                      <a:pt x="177" y="75"/>
                    </a:lnTo>
                    <a:lnTo>
                      <a:pt x="177" y="77"/>
                    </a:lnTo>
                    <a:lnTo>
                      <a:pt x="179" y="77"/>
                    </a:lnTo>
                    <a:lnTo>
                      <a:pt x="177" y="81"/>
                    </a:lnTo>
                    <a:lnTo>
                      <a:pt x="183" y="81"/>
                    </a:lnTo>
                    <a:lnTo>
                      <a:pt x="185" y="81"/>
                    </a:lnTo>
                    <a:lnTo>
                      <a:pt x="185" y="82"/>
                    </a:lnTo>
                    <a:lnTo>
                      <a:pt x="187" y="82"/>
                    </a:lnTo>
                    <a:lnTo>
                      <a:pt x="189" y="84"/>
                    </a:lnTo>
                    <a:lnTo>
                      <a:pt x="193" y="84"/>
                    </a:lnTo>
                    <a:lnTo>
                      <a:pt x="194" y="86"/>
                    </a:lnTo>
                    <a:lnTo>
                      <a:pt x="193" y="86"/>
                    </a:lnTo>
                    <a:lnTo>
                      <a:pt x="193" y="90"/>
                    </a:lnTo>
                    <a:lnTo>
                      <a:pt x="194" y="92"/>
                    </a:lnTo>
                    <a:lnTo>
                      <a:pt x="193" y="92"/>
                    </a:lnTo>
                    <a:lnTo>
                      <a:pt x="194" y="96"/>
                    </a:lnTo>
                    <a:lnTo>
                      <a:pt x="194" y="102"/>
                    </a:lnTo>
                    <a:lnTo>
                      <a:pt x="194" y="104"/>
                    </a:lnTo>
                    <a:lnTo>
                      <a:pt x="198" y="104"/>
                    </a:lnTo>
                    <a:lnTo>
                      <a:pt x="198" y="106"/>
                    </a:lnTo>
                    <a:lnTo>
                      <a:pt x="200" y="104"/>
                    </a:lnTo>
                    <a:lnTo>
                      <a:pt x="200" y="106"/>
                    </a:lnTo>
                    <a:lnTo>
                      <a:pt x="204" y="106"/>
                    </a:lnTo>
                    <a:lnTo>
                      <a:pt x="206" y="106"/>
                    </a:lnTo>
                    <a:lnTo>
                      <a:pt x="208" y="106"/>
                    </a:lnTo>
                    <a:lnTo>
                      <a:pt x="208" y="107"/>
                    </a:lnTo>
                    <a:lnTo>
                      <a:pt x="206" y="107"/>
                    </a:lnTo>
                    <a:lnTo>
                      <a:pt x="206" y="109"/>
                    </a:lnTo>
                    <a:lnTo>
                      <a:pt x="208" y="109"/>
                    </a:lnTo>
                    <a:lnTo>
                      <a:pt x="208" y="111"/>
                    </a:lnTo>
                    <a:lnTo>
                      <a:pt x="210" y="111"/>
                    </a:lnTo>
                    <a:lnTo>
                      <a:pt x="212" y="109"/>
                    </a:lnTo>
                    <a:lnTo>
                      <a:pt x="214" y="109"/>
                    </a:lnTo>
                    <a:lnTo>
                      <a:pt x="216" y="109"/>
                    </a:lnTo>
                    <a:lnTo>
                      <a:pt x="218" y="109"/>
                    </a:lnTo>
                    <a:lnTo>
                      <a:pt x="218" y="111"/>
                    </a:lnTo>
                    <a:lnTo>
                      <a:pt x="216" y="115"/>
                    </a:lnTo>
                    <a:lnTo>
                      <a:pt x="216" y="117"/>
                    </a:lnTo>
                    <a:lnTo>
                      <a:pt x="216" y="119"/>
                    </a:lnTo>
                    <a:lnTo>
                      <a:pt x="218" y="119"/>
                    </a:lnTo>
                    <a:lnTo>
                      <a:pt x="219" y="121"/>
                    </a:lnTo>
                    <a:lnTo>
                      <a:pt x="219" y="123"/>
                    </a:lnTo>
                    <a:lnTo>
                      <a:pt x="219" y="125"/>
                    </a:lnTo>
                    <a:lnTo>
                      <a:pt x="219" y="127"/>
                    </a:lnTo>
                    <a:lnTo>
                      <a:pt x="221" y="129"/>
                    </a:lnTo>
                    <a:lnTo>
                      <a:pt x="221" y="131"/>
                    </a:lnTo>
                    <a:lnTo>
                      <a:pt x="221" y="132"/>
                    </a:lnTo>
                    <a:lnTo>
                      <a:pt x="223" y="132"/>
                    </a:lnTo>
                    <a:lnTo>
                      <a:pt x="225" y="132"/>
                    </a:lnTo>
                    <a:lnTo>
                      <a:pt x="227" y="136"/>
                    </a:lnTo>
                    <a:lnTo>
                      <a:pt x="227" y="138"/>
                    </a:lnTo>
                    <a:lnTo>
                      <a:pt x="227" y="140"/>
                    </a:lnTo>
                    <a:lnTo>
                      <a:pt x="227" y="142"/>
                    </a:lnTo>
                    <a:lnTo>
                      <a:pt x="225" y="142"/>
                    </a:lnTo>
                    <a:lnTo>
                      <a:pt x="223" y="144"/>
                    </a:lnTo>
                    <a:lnTo>
                      <a:pt x="223" y="146"/>
                    </a:lnTo>
                    <a:lnTo>
                      <a:pt x="223" y="148"/>
                    </a:lnTo>
                    <a:lnTo>
                      <a:pt x="221" y="148"/>
                    </a:lnTo>
                    <a:lnTo>
                      <a:pt x="221" y="146"/>
                    </a:lnTo>
                    <a:lnTo>
                      <a:pt x="219" y="146"/>
                    </a:lnTo>
                    <a:lnTo>
                      <a:pt x="218" y="146"/>
                    </a:lnTo>
                    <a:lnTo>
                      <a:pt x="214" y="144"/>
                    </a:lnTo>
                    <a:lnTo>
                      <a:pt x="214" y="146"/>
                    </a:lnTo>
                    <a:lnTo>
                      <a:pt x="212" y="146"/>
                    </a:lnTo>
                    <a:lnTo>
                      <a:pt x="212" y="144"/>
                    </a:lnTo>
                    <a:lnTo>
                      <a:pt x="210" y="144"/>
                    </a:lnTo>
                    <a:lnTo>
                      <a:pt x="208" y="144"/>
                    </a:lnTo>
                    <a:lnTo>
                      <a:pt x="208" y="146"/>
                    </a:lnTo>
                    <a:lnTo>
                      <a:pt x="208" y="148"/>
                    </a:lnTo>
                    <a:lnTo>
                      <a:pt x="208" y="146"/>
                    </a:lnTo>
                    <a:lnTo>
                      <a:pt x="208" y="150"/>
                    </a:lnTo>
                    <a:lnTo>
                      <a:pt x="210" y="150"/>
                    </a:lnTo>
                    <a:lnTo>
                      <a:pt x="208" y="152"/>
                    </a:lnTo>
                    <a:lnTo>
                      <a:pt x="210" y="152"/>
                    </a:lnTo>
                    <a:lnTo>
                      <a:pt x="210" y="154"/>
                    </a:lnTo>
                    <a:lnTo>
                      <a:pt x="208" y="154"/>
                    </a:lnTo>
                    <a:lnTo>
                      <a:pt x="206" y="156"/>
                    </a:lnTo>
                    <a:lnTo>
                      <a:pt x="206" y="157"/>
                    </a:lnTo>
                    <a:lnTo>
                      <a:pt x="204" y="157"/>
                    </a:lnTo>
                    <a:lnTo>
                      <a:pt x="206" y="159"/>
                    </a:lnTo>
                    <a:lnTo>
                      <a:pt x="198" y="159"/>
                    </a:lnTo>
                    <a:lnTo>
                      <a:pt x="196" y="156"/>
                    </a:lnTo>
                    <a:lnTo>
                      <a:pt x="193" y="156"/>
                    </a:lnTo>
                    <a:lnTo>
                      <a:pt x="191" y="157"/>
                    </a:lnTo>
                    <a:lnTo>
                      <a:pt x="189" y="161"/>
                    </a:lnTo>
                    <a:lnTo>
                      <a:pt x="187" y="161"/>
                    </a:lnTo>
                    <a:lnTo>
                      <a:pt x="185" y="161"/>
                    </a:lnTo>
                    <a:lnTo>
                      <a:pt x="183" y="161"/>
                    </a:lnTo>
                    <a:lnTo>
                      <a:pt x="181" y="161"/>
                    </a:lnTo>
                    <a:lnTo>
                      <a:pt x="181" y="159"/>
                    </a:lnTo>
                    <a:lnTo>
                      <a:pt x="179" y="159"/>
                    </a:lnTo>
                    <a:lnTo>
                      <a:pt x="177" y="159"/>
                    </a:lnTo>
                    <a:lnTo>
                      <a:pt x="175" y="157"/>
                    </a:lnTo>
                    <a:lnTo>
                      <a:pt x="173" y="157"/>
                    </a:lnTo>
                    <a:lnTo>
                      <a:pt x="171" y="159"/>
                    </a:lnTo>
                    <a:lnTo>
                      <a:pt x="169" y="159"/>
                    </a:lnTo>
                    <a:lnTo>
                      <a:pt x="168" y="159"/>
                    </a:lnTo>
                    <a:lnTo>
                      <a:pt x="166" y="159"/>
                    </a:lnTo>
                    <a:lnTo>
                      <a:pt x="164" y="161"/>
                    </a:lnTo>
                    <a:lnTo>
                      <a:pt x="162" y="159"/>
                    </a:lnTo>
                    <a:lnTo>
                      <a:pt x="160" y="159"/>
                    </a:lnTo>
                    <a:lnTo>
                      <a:pt x="154" y="159"/>
                    </a:lnTo>
                    <a:lnTo>
                      <a:pt x="152" y="159"/>
                    </a:lnTo>
                    <a:lnTo>
                      <a:pt x="150" y="159"/>
                    </a:lnTo>
                    <a:lnTo>
                      <a:pt x="141" y="159"/>
                    </a:lnTo>
                    <a:lnTo>
                      <a:pt x="129" y="161"/>
                    </a:lnTo>
                    <a:lnTo>
                      <a:pt x="127" y="161"/>
                    </a:lnTo>
                    <a:lnTo>
                      <a:pt x="125" y="159"/>
                    </a:lnTo>
                    <a:lnTo>
                      <a:pt x="127" y="159"/>
                    </a:lnTo>
                    <a:lnTo>
                      <a:pt x="127" y="157"/>
                    </a:lnTo>
                    <a:lnTo>
                      <a:pt x="127" y="156"/>
                    </a:lnTo>
                    <a:lnTo>
                      <a:pt x="125" y="154"/>
                    </a:lnTo>
                    <a:lnTo>
                      <a:pt x="123" y="156"/>
                    </a:lnTo>
                    <a:lnTo>
                      <a:pt x="121" y="157"/>
                    </a:lnTo>
                    <a:lnTo>
                      <a:pt x="120" y="159"/>
                    </a:lnTo>
                    <a:lnTo>
                      <a:pt x="118" y="159"/>
                    </a:lnTo>
                    <a:lnTo>
                      <a:pt x="116" y="156"/>
                    </a:lnTo>
                    <a:lnTo>
                      <a:pt x="114" y="156"/>
                    </a:lnTo>
                    <a:lnTo>
                      <a:pt x="112" y="156"/>
                    </a:lnTo>
                    <a:lnTo>
                      <a:pt x="112" y="154"/>
                    </a:lnTo>
                    <a:lnTo>
                      <a:pt x="110" y="156"/>
                    </a:lnTo>
                    <a:lnTo>
                      <a:pt x="110" y="157"/>
                    </a:lnTo>
                    <a:lnTo>
                      <a:pt x="110" y="159"/>
                    </a:lnTo>
                    <a:lnTo>
                      <a:pt x="108" y="159"/>
                    </a:lnTo>
                    <a:lnTo>
                      <a:pt x="108" y="157"/>
                    </a:lnTo>
                    <a:lnTo>
                      <a:pt x="106" y="157"/>
                    </a:lnTo>
                    <a:lnTo>
                      <a:pt x="104" y="157"/>
                    </a:lnTo>
                    <a:lnTo>
                      <a:pt x="102" y="157"/>
                    </a:lnTo>
                    <a:lnTo>
                      <a:pt x="100" y="157"/>
                    </a:lnTo>
                    <a:lnTo>
                      <a:pt x="100" y="159"/>
                    </a:lnTo>
                    <a:lnTo>
                      <a:pt x="98" y="161"/>
                    </a:lnTo>
                    <a:lnTo>
                      <a:pt x="98" y="163"/>
                    </a:lnTo>
                    <a:lnTo>
                      <a:pt x="98" y="165"/>
                    </a:lnTo>
                    <a:lnTo>
                      <a:pt x="98" y="167"/>
                    </a:lnTo>
                    <a:lnTo>
                      <a:pt x="96" y="169"/>
                    </a:lnTo>
                    <a:lnTo>
                      <a:pt x="98" y="171"/>
                    </a:lnTo>
                    <a:lnTo>
                      <a:pt x="96" y="173"/>
                    </a:lnTo>
                    <a:lnTo>
                      <a:pt x="95" y="171"/>
                    </a:lnTo>
                    <a:lnTo>
                      <a:pt x="93" y="171"/>
                    </a:lnTo>
                    <a:lnTo>
                      <a:pt x="91" y="169"/>
                    </a:lnTo>
                    <a:lnTo>
                      <a:pt x="91" y="165"/>
                    </a:lnTo>
                    <a:lnTo>
                      <a:pt x="89" y="163"/>
                    </a:lnTo>
                    <a:lnTo>
                      <a:pt x="87" y="165"/>
                    </a:lnTo>
                    <a:lnTo>
                      <a:pt x="85" y="165"/>
                    </a:lnTo>
                    <a:lnTo>
                      <a:pt x="83" y="165"/>
                    </a:lnTo>
                    <a:lnTo>
                      <a:pt x="81" y="165"/>
                    </a:lnTo>
                    <a:lnTo>
                      <a:pt x="79" y="165"/>
                    </a:lnTo>
                    <a:lnTo>
                      <a:pt x="77" y="165"/>
                    </a:lnTo>
                    <a:lnTo>
                      <a:pt x="77" y="163"/>
                    </a:lnTo>
                    <a:lnTo>
                      <a:pt x="77" y="161"/>
                    </a:lnTo>
                    <a:lnTo>
                      <a:pt x="77" y="163"/>
                    </a:lnTo>
                    <a:lnTo>
                      <a:pt x="75" y="163"/>
                    </a:lnTo>
                    <a:lnTo>
                      <a:pt x="73" y="163"/>
                    </a:lnTo>
                    <a:lnTo>
                      <a:pt x="72" y="163"/>
                    </a:lnTo>
                    <a:lnTo>
                      <a:pt x="72" y="165"/>
                    </a:lnTo>
                    <a:lnTo>
                      <a:pt x="70" y="165"/>
                    </a:lnTo>
                    <a:lnTo>
                      <a:pt x="70" y="163"/>
                    </a:lnTo>
                    <a:lnTo>
                      <a:pt x="68" y="163"/>
                    </a:lnTo>
                    <a:lnTo>
                      <a:pt x="66" y="163"/>
                    </a:lnTo>
                    <a:lnTo>
                      <a:pt x="64" y="163"/>
                    </a:lnTo>
                    <a:lnTo>
                      <a:pt x="62" y="163"/>
                    </a:lnTo>
                    <a:lnTo>
                      <a:pt x="60" y="163"/>
                    </a:lnTo>
                    <a:lnTo>
                      <a:pt x="60" y="161"/>
                    </a:lnTo>
                    <a:lnTo>
                      <a:pt x="58" y="161"/>
                    </a:lnTo>
                    <a:lnTo>
                      <a:pt x="60" y="161"/>
                    </a:lnTo>
                    <a:lnTo>
                      <a:pt x="58" y="161"/>
                    </a:lnTo>
                    <a:lnTo>
                      <a:pt x="58" y="163"/>
                    </a:lnTo>
                    <a:lnTo>
                      <a:pt x="56" y="163"/>
                    </a:lnTo>
                    <a:lnTo>
                      <a:pt x="56" y="161"/>
                    </a:lnTo>
                    <a:lnTo>
                      <a:pt x="54" y="161"/>
                    </a:lnTo>
                    <a:lnTo>
                      <a:pt x="54" y="163"/>
                    </a:lnTo>
                    <a:lnTo>
                      <a:pt x="54" y="165"/>
                    </a:lnTo>
                    <a:lnTo>
                      <a:pt x="54" y="167"/>
                    </a:lnTo>
                    <a:lnTo>
                      <a:pt x="52" y="167"/>
                    </a:lnTo>
                    <a:lnTo>
                      <a:pt x="50" y="167"/>
                    </a:lnTo>
                    <a:lnTo>
                      <a:pt x="50" y="165"/>
                    </a:lnTo>
                    <a:lnTo>
                      <a:pt x="50" y="163"/>
                    </a:lnTo>
                    <a:lnTo>
                      <a:pt x="48" y="163"/>
                    </a:lnTo>
                    <a:lnTo>
                      <a:pt x="48" y="161"/>
                    </a:lnTo>
                    <a:lnTo>
                      <a:pt x="47" y="161"/>
                    </a:lnTo>
                    <a:lnTo>
                      <a:pt x="45" y="161"/>
                    </a:lnTo>
                    <a:lnTo>
                      <a:pt x="43" y="161"/>
                    </a:lnTo>
                    <a:lnTo>
                      <a:pt x="43" y="163"/>
                    </a:lnTo>
                    <a:lnTo>
                      <a:pt x="41" y="161"/>
                    </a:lnTo>
                    <a:lnTo>
                      <a:pt x="41" y="163"/>
                    </a:lnTo>
                    <a:lnTo>
                      <a:pt x="39" y="163"/>
                    </a:lnTo>
                    <a:lnTo>
                      <a:pt x="39" y="161"/>
                    </a:lnTo>
                    <a:lnTo>
                      <a:pt x="39" y="163"/>
                    </a:lnTo>
                    <a:lnTo>
                      <a:pt x="37" y="163"/>
                    </a:lnTo>
                    <a:lnTo>
                      <a:pt x="37" y="161"/>
                    </a:lnTo>
                    <a:lnTo>
                      <a:pt x="37" y="163"/>
                    </a:lnTo>
                    <a:lnTo>
                      <a:pt x="35" y="163"/>
                    </a:lnTo>
                    <a:lnTo>
                      <a:pt x="35" y="161"/>
                    </a:lnTo>
                    <a:lnTo>
                      <a:pt x="33" y="161"/>
                    </a:lnTo>
                    <a:lnTo>
                      <a:pt x="33" y="163"/>
                    </a:lnTo>
                    <a:lnTo>
                      <a:pt x="33" y="161"/>
                    </a:lnTo>
                    <a:lnTo>
                      <a:pt x="33" y="163"/>
                    </a:lnTo>
                    <a:lnTo>
                      <a:pt x="33" y="161"/>
                    </a:lnTo>
                    <a:lnTo>
                      <a:pt x="33" y="159"/>
                    </a:lnTo>
                    <a:lnTo>
                      <a:pt x="33" y="157"/>
                    </a:lnTo>
                    <a:lnTo>
                      <a:pt x="31" y="157"/>
                    </a:lnTo>
                    <a:lnTo>
                      <a:pt x="31" y="156"/>
                    </a:lnTo>
                    <a:lnTo>
                      <a:pt x="31" y="154"/>
                    </a:lnTo>
                    <a:lnTo>
                      <a:pt x="29" y="154"/>
                    </a:lnTo>
                    <a:lnTo>
                      <a:pt x="29" y="152"/>
                    </a:lnTo>
                    <a:lnTo>
                      <a:pt x="27" y="152"/>
                    </a:lnTo>
                    <a:lnTo>
                      <a:pt x="27" y="150"/>
                    </a:lnTo>
                    <a:lnTo>
                      <a:pt x="29" y="150"/>
                    </a:lnTo>
                    <a:lnTo>
                      <a:pt x="29" y="148"/>
                    </a:lnTo>
                    <a:lnTo>
                      <a:pt x="29" y="146"/>
                    </a:lnTo>
                    <a:lnTo>
                      <a:pt x="31" y="146"/>
                    </a:lnTo>
                    <a:lnTo>
                      <a:pt x="31" y="144"/>
                    </a:lnTo>
                    <a:lnTo>
                      <a:pt x="31" y="142"/>
                    </a:lnTo>
                    <a:lnTo>
                      <a:pt x="31" y="140"/>
                    </a:lnTo>
                    <a:lnTo>
                      <a:pt x="33" y="140"/>
                    </a:lnTo>
                    <a:lnTo>
                      <a:pt x="33" y="142"/>
                    </a:lnTo>
                    <a:lnTo>
                      <a:pt x="35" y="142"/>
                    </a:lnTo>
                    <a:lnTo>
                      <a:pt x="35" y="140"/>
                    </a:lnTo>
                    <a:lnTo>
                      <a:pt x="37" y="138"/>
                    </a:lnTo>
                    <a:lnTo>
                      <a:pt x="39" y="138"/>
                    </a:lnTo>
                    <a:lnTo>
                      <a:pt x="37" y="138"/>
                    </a:lnTo>
                    <a:lnTo>
                      <a:pt x="39" y="136"/>
                    </a:lnTo>
                    <a:lnTo>
                      <a:pt x="37" y="136"/>
                    </a:lnTo>
                    <a:lnTo>
                      <a:pt x="37" y="134"/>
                    </a:lnTo>
                    <a:lnTo>
                      <a:pt x="39" y="131"/>
                    </a:lnTo>
                    <a:lnTo>
                      <a:pt x="39" y="127"/>
                    </a:lnTo>
                    <a:lnTo>
                      <a:pt x="37" y="127"/>
                    </a:lnTo>
                    <a:lnTo>
                      <a:pt x="35" y="127"/>
                    </a:lnTo>
                    <a:lnTo>
                      <a:pt x="33" y="125"/>
                    </a:lnTo>
                    <a:lnTo>
                      <a:pt x="31" y="125"/>
                    </a:lnTo>
                    <a:lnTo>
                      <a:pt x="27" y="125"/>
                    </a:lnTo>
                    <a:lnTo>
                      <a:pt x="25" y="125"/>
                    </a:lnTo>
                    <a:lnTo>
                      <a:pt x="23" y="127"/>
                    </a:lnTo>
                    <a:lnTo>
                      <a:pt x="20" y="127"/>
                    </a:lnTo>
                    <a:lnTo>
                      <a:pt x="20" y="125"/>
                    </a:lnTo>
                    <a:lnTo>
                      <a:pt x="20" y="123"/>
                    </a:lnTo>
                    <a:lnTo>
                      <a:pt x="20" y="125"/>
                    </a:lnTo>
                    <a:lnTo>
                      <a:pt x="18" y="125"/>
                    </a:lnTo>
                    <a:lnTo>
                      <a:pt x="18" y="123"/>
                    </a:lnTo>
                    <a:lnTo>
                      <a:pt x="18" y="121"/>
                    </a:lnTo>
                    <a:lnTo>
                      <a:pt x="16" y="121"/>
                    </a:lnTo>
                    <a:lnTo>
                      <a:pt x="18" y="121"/>
                    </a:lnTo>
                    <a:lnTo>
                      <a:pt x="18" y="119"/>
                    </a:lnTo>
                    <a:lnTo>
                      <a:pt x="20" y="119"/>
                    </a:lnTo>
                    <a:lnTo>
                      <a:pt x="18" y="119"/>
                    </a:lnTo>
                    <a:lnTo>
                      <a:pt x="16" y="117"/>
                    </a:lnTo>
                    <a:lnTo>
                      <a:pt x="14" y="117"/>
                    </a:lnTo>
                    <a:lnTo>
                      <a:pt x="14" y="119"/>
                    </a:lnTo>
                    <a:lnTo>
                      <a:pt x="12" y="119"/>
                    </a:lnTo>
                    <a:lnTo>
                      <a:pt x="10" y="119"/>
                    </a:lnTo>
                    <a:lnTo>
                      <a:pt x="8" y="119"/>
                    </a:lnTo>
                    <a:lnTo>
                      <a:pt x="8" y="117"/>
                    </a:lnTo>
                    <a:lnTo>
                      <a:pt x="6" y="117"/>
                    </a:lnTo>
                    <a:lnTo>
                      <a:pt x="4" y="117"/>
                    </a:lnTo>
                    <a:lnTo>
                      <a:pt x="2" y="117"/>
                    </a:lnTo>
                    <a:lnTo>
                      <a:pt x="2" y="115"/>
                    </a:lnTo>
                    <a:lnTo>
                      <a:pt x="2" y="113"/>
                    </a:lnTo>
                    <a:lnTo>
                      <a:pt x="0" y="113"/>
                    </a:lnTo>
                    <a:lnTo>
                      <a:pt x="2" y="111"/>
                    </a:lnTo>
                    <a:lnTo>
                      <a:pt x="2" y="109"/>
                    </a:lnTo>
                    <a:lnTo>
                      <a:pt x="4" y="109"/>
                    </a:lnTo>
                    <a:lnTo>
                      <a:pt x="6" y="109"/>
                    </a:lnTo>
                    <a:lnTo>
                      <a:pt x="6" y="107"/>
                    </a:lnTo>
                    <a:lnTo>
                      <a:pt x="6" y="106"/>
                    </a:lnTo>
                    <a:lnTo>
                      <a:pt x="8" y="104"/>
                    </a:lnTo>
                    <a:lnTo>
                      <a:pt x="6" y="102"/>
                    </a:lnTo>
                    <a:lnTo>
                      <a:pt x="6" y="100"/>
                    </a:lnTo>
                    <a:lnTo>
                      <a:pt x="6" y="98"/>
                    </a:lnTo>
                    <a:lnTo>
                      <a:pt x="6" y="96"/>
                    </a:lnTo>
                    <a:lnTo>
                      <a:pt x="6" y="94"/>
                    </a:lnTo>
                    <a:lnTo>
                      <a:pt x="6" y="92"/>
                    </a:lnTo>
                    <a:lnTo>
                      <a:pt x="10" y="94"/>
                    </a:lnTo>
                    <a:lnTo>
                      <a:pt x="12" y="94"/>
                    </a:lnTo>
                    <a:lnTo>
                      <a:pt x="14" y="96"/>
                    </a:lnTo>
                    <a:lnTo>
                      <a:pt x="14" y="98"/>
                    </a:lnTo>
                    <a:lnTo>
                      <a:pt x="16" y="92"/>
                    </a:lnTo>
                    <a:lnTo>
                      <a:pt x="16" y="94"/>
                    </a:lnTo>
                    <a:lnTo>
                      <a:pt x="18" y="92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4"/>
                    </a:lnTo>
                    <a:lnTo>
                      <a:pt x="18" y="82"/>
                    </a:lnTo>
                    <a:lnTo>
                      <a:pt x="18" y="81"/>
                    </a:lnTo>
                    <a:lnTo>
                      <a:pt x="16" y="81"/>
                    </a:lnTo>
                    <a:lnTo>
                      <a:pt x="16" y="79"/>
                    </a:lnTo>
                    <a:lnTo>
                      <a:pt x="14" y="79"/>
                    </a:lnTo>
                    <a:lnTo>
                      <a:pt x="16" y="75"/>
                    </a:lnTo>
                    <a:lnTo>
                      <a:pt x="16" y="77"/>
                    </a:lnTo>
                    <a:lnTo>
                      <a:pt x="18" y="77"/>
                    </a:lnTo>
                    <a:lnTo>
                      <a:pt x="20" y="75"/>
                    </a:lnTo>
                    <a:lnTo>
                      <a:pt x="22" y="75"/>
                    </a:lnTo>
                    <a:lnTo>
                      <a:pt x="22" y="73"/>
                    </a:lnTo>
                    <a:lnTo>
                      <a:pt x="22" y="71"/>
                    </a:lnTo>
                    <a:lnTo>
                      <a:pt x="22" y="69"/>
                    </a:lnTo>
                    <a:lnTo>
                      <a:pt x="23" y="69"/>
                    </a:lnTo>
                    <a:lnTo>
                      <a:pt x="23" y="67"/>
                    </a:lnTo>
                    <a:lnTo>
                      <a:pt x="25" y="69"/>
                    </a:lnTo>
                    <a:lnTo>
                      <a:pt x="25" y="71"/>
                    </a:lnTo>
                    <a:lnTo>
                      <a:pt x="27" y="71"/>
                    </a:lnTo>
                    <a:lnTo>
                      <a:pt x="29" y="71"/>
                    </a:lnTo>
                    <a:lnTo>
                      <a:pt x="31" y="71"/>
                    </a:lnTo>
                    <a:lnTo>
                      <a:pt x="31" y="69"/>
                    </a:lnTo>
                    <a:lnTo>
                      <a:pt x="33" y="69"/>
                    </a:lnTo>
                    <a:lnTo>
                      <a:pt x="35" y="69"/>
                    </a:lnTo>
                    <a:lnTo>
                      <a:pt x="37" y="69"/>
                    </a:lnTo>
                    <a:lnTo>
                      <a:pt x="37" y="67"/>
                    </a:lnTo>
                    <a:lnTo>
                      <a:pt x="37" y="65"/>
                    </a:lnTo>
                    <a:lnTo>
                      <a:pt x="37" y="63"/>
                    </a:lnTo>
                    <a:lnTo>
                      <a:pt x="35" y="63"/>
                    </a:lnTo>
                    <a:lnTo>
                      <a:pt x="35" y="61"/>
                    </a:lnTo>
                    <a:lnTo>
                      <a:pt x="37" y="61"/>
                    </a:lnTo>
                    <a:lnTo>
                      <a:pt x="37" y="59"/>
                    </a:lnTo>
                    <a:lnTo>
                      <a:pt x="39" y="59"/>
                    </a:lnTo>
                    <a:lnTo>
                      <a:pt x="39" y="57"/>
                    </a:lnTo>
                    <a:lnTo>
                      <a:pt x="39" y="56"/>
                    </a:lnTo>
                    <a:lnTo>
                      <a:pt x="39" y="54"/>
                    </a:lnTo>
                    <a:lnTo>
                      <a:pt x="41" y="52"/>
                    </a:lnTo>
                    <a:lnTo>
                      <a:pt x="41" y="50"/>
                    </a:lnTo>
                    <a:lnTo>
                      <a:pt x="39" y="48"/>
                    </a:lnTo>
                    <a:lnTo>
                      <a:pt x="39" y="46"/>
                    </a:lnTo>
                    <a:lnTo>
                      <a:pt x="37" y="46"/>
                    </a:lnTo>
                    <a:lnTo>
                      <a:pt x="35" y="44"/>
                    </a:lnTo>
                    <a:lnTo>
                      <a:pt x="35" y="42"/>
                    </a:lnTo>
                    <a:lnTo>
                      <a:pt x="37" y="42"/>
                    </a:lnTo>
                    <a:lnTo>
                      <a:pt x="37" y="40"/>
                    </a:lnTo>
                    <a:lnTo>
                      <a:pt x="39" y="40"/>
                    </a:lnTo>
                    <a:lnTo>
                      <a:pt x="39" y="38"/>
                    </a:lnTo>
                    <a:lnTo>
                      <a:pt x="39" y="36"/>
                    </a:lnTo>
                    <a:lnTo>
                      <a:pt x="37" y="36"/>
                    </a:lnTo>
                    <a:lnTo>
                      <a:pt x="37" y="38"/>
                    </a:lnTo>
                    <a:lnTo>
                      <a:pt x="35" y="36"/>
                    </a:lnTo>
                    <a:lnTo>
                      <a:pt x="35" y="34"/>
                    </a:lnTo>
                    <a:lnTo>
                      <a:pt x="37" y="32"/>
                    </a:lnTo>
                    <a:lnTo>
                      <a:pt x="37" y="31"/>
                    </a:lnTo>
                    <a:lnTo>
                      <a:pt x="35" y="27"/>
                    </a:lnTo>
                    <a:lnTo>
                      <a:pt x="35" y="25"/>
                    </a:lnTo>
                    <a:lnTo>
                      <a:pt x="37" y="25"/>
                    </a:lnTo>
                    <a:lnTo>
                      <a:pt x="35" y="23"/>
                    </a:lnTo>
                    <a:lnTo>
                      <a:pt x="35" y="19"/>
                    </a:lnTo>
                    <a:lnTo>
                      <a:pt x="37" y="17"/>
                    </a:lnTo>
                    <a:lnTo>
                      <a:pt x="37" y="15"/>
                    </a:lnTo>
                    <a:lnTo>
                      <a:pt x="37" y="13"/>
                    </a:lnTo>
                    <a:lnTo>
                      <a:pt x="39" y="11"/>
                    </a:lnTo>
                    <a:lnTo>
                      <a:pt x="39" y="13"/>
                    </a:lnTo>
                    <a:lnTo>
                      <a:pt x="41" y="13"/>
                    </a:lnTo>
                    <a:lnTo>
                      <a:pt x="43" y="13"/>
                    </a:lnTo>
                    <a:lnTo>
                      <a:pt x="43" y="11"/>
                    </a:lnTo>
                    <a:lnTo>
                      <a:pt x="45" y="11"/>
                    </a:lnTo>
                    <a:lnTo>
                      <a:pt x="45" y="9"/>
                    </a:lnTo>
                    <a:lnTo>
                      <a:pt x="47" y="7"/>
                    </a:lnTo>
                    <a:lnTo>
                      <a:pt x="47" y="6"/>
                    </a:lnTo>
                    <a:lnTo>
                      <a:pt x="48" y="6"/>
                    </a:lnTo>
                    <a:lnTo>
                      <a:pt x="50" y="6"/>
                    </a:lnTo>
                    <a:lnTo>
                      <a:pt x="50" y="4"/>
                    </a:lnTo>
                    <a:lnTo>
                      <a:pt x="50" y="6"/>
                    </a:lnTo>
                    <a:lnTo>
                      <a:pt x="52" y="4"/>
                    </a:lnTo>
                    <a:lnTo>
                      <a:pt x="52" y="2"/>
                    </a:lnTo>
                    <a:lnTo>
                      <a:pt x="54" y="2"/>
                    </a:lnTo>
                    <a:lnTo>
                      <a:pt x="56" y="0"/>
                    </a:lnTo>
                    <a:lnTo>
                      <a:pt x="58" y="0"/>
                    </a:lnTo>
                    <a:lnTo>
                      <a:pt x="60" y="0"/>
                    </a:lnTo>
                    <a:lnTo>
                      <a:pt x="60" y="2"/>
                    </a:lnTo>
                    <a:lnTo>
                      <a:pt x="60" y="4"/>
                    </a:lnTo>
                    <a:lnTo>
                      <a:pt x="58" y="4"/>
                    </a:lnTo>
                    <a:lnTo>
                      <a:pt x="60" y="6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2" y="6"/>
                    </a:lnTo>
                    <a:lnTo>
                      <a:pt x="64" y="6"/>
                    </a:lnTo>
                    <a:lnTo>
                      <a:pt x="64" y="2"/>
                    </a:lnTo>
                    <a:lnTo>
                      <a:pt x="66" y="2"/>
                    </a:lnTo>
                    <a:lnTo>
                      <a:pt x="68" y="4"/>
                    </a:lnTo>
                    <a:lnTo>
                      <a:pt x="70" y="2"/>
                    </a:lnTo>
                    <a:lnTo>
                      <a:pt x="72" y="2"/>
                    </a:lnTo>
                    <a:lnTo>
                      <a:pt x="73" y="2"/>
                    </a:lnTo>
                    <a:lnTo>
                      <a:pt x="75" y="4"/>
                    </a:lnTo>
                    <a:lnTo>
                      <a:pt x="77" y="6"/>
                    </a:lnTo>
                    <a:lnTo>
                      <a:pt x="77" y="4"/>
                    </a:lnTo>
                    <a:lnTo>
                      <a:pt x="77" y="6"/>
                    </a:lnTo>
                    <a:lnTo>
                      <a:pt x="79" y="6"/>
                    </a:lnTo>
                    <a:lnTo>
                      <a:pt x="79" y="7"/>
                    </a:lnTo>
                    <a:lnTo>
                      <a:pt x="81" y="6"/>
                    </a:lnTo>
                    <a:lnTo>
                      <a:pt x="81" y="7"/>
                    </a:lnTo>
                    <a:lnTo>
                      <a:pt x="83" y="7"/>
                    </a:lnTo>
                    <a:lnTo>
                      <a:pt x="81" y="9"/>
                    </a:lnTo>
                    <a:lnTo>
                      <a:pt x="83" y="11"/>
                    </a:lnTo>
                    <a:lnTo>
                      <a:pt x="83" y="13"/>
                    </a:lnTo>
                    <a:lnTo>
                      <a:pt x="83" y="11"/>
                    </a:lnTo>
                    <a:lnTo>
                      <a:pt x="83" y="9"/>
                    </a:lnTo>
                    <a:lnTo>
                      <a:pt x="85" y="7"/>
                    </a:lnTo>
                    <a:lnTo>
                      <a:pt x="87" y="6"/>
                    </a:lnTo>
                    <a:lnTo>
                      <a:pt x="87" y="7"/>
                    </a:lnTo>
                    <a:lnTo>
                      <a:pt x="89" y="7"/>
                    </a:lnTo>
                    <a:lnTo>
                      <a:pt x="89" y="6"/>
                    </a:lnTo>
                    <a:lnTo>
                      <a:pt x="91" y="6"/>
                    </a:lnTo>
                    <a:lnTo>
                      <a:pt x="91" y="7"/>
                    </a:lnTo>
                    <a:lnTo>
                      <a:pt x="93" y="9"/>
                    </a:lnTo>
                    <a:lnTo>
                      <a:pt x="91" y="11"/>
                    </a:lnTo>
                    <a:lnTo>
                      <a:pt x="93" y="11"/>
                    </a:lnTo>
                    <a:lnTo>
                      <a:pt x="93" y="13"/>
                    </a:lnTo>
                    <a:lnTo>
                      <a:pt x="95" y="13"/>
                    </a:lnTo>
                    <a:lnTo>
                      <a:pt x="95" y="15"/>
                    </a:lnTo>
                    <a:lnTo>
                      <a:pt x="96" y="15"/>
                    </a:lnTo>
                    <a:lnTo>
                      <a:pt x="96" y="17"/>
                    </a:lnTo>
                    <a:lnTo>
                      <a:pt x="98" y="19"/>
                    </a:lnTo>
                    <a:lnTo>
                      <a:pt x="100" y="19"/>
                    </a:lnTo>
                    <a:lnTo>
                      <a:pt x="102" y="19"/>
                    </a:lnTo>
                    <a:lnTo>
                      <a:pt x="104" y="19"/>
                    </a:lnTo>
                    <a:lnTo>
                      <a:pt x="104" y="21"/>
                    </a:lnTo>
                    <a:lnTo>
                      <a:pt x="108" y="23"/>
                    </a:lnTo>
                    <a:lnTo>
                      <a:pt x="108" y="21"/>
                    </a:lnTo>
                    <a:lnTo>
                      <a:pt x="110" y="19"/>
                    </a:lnTo>
                    <a:lnTo>
                      <a:pt x="108" y="17"/>
                    </a:lnTo>
                    <a:lnTo>
                      <a:pt x="112" y="13"/>
                    </a:lnTo>
                    <a:lnTo>
                      <a:pt x="112" y="15"/>
                    </a:lnTo>
                    <a:lnTo>
                      <a:pt x="114" y="15"/>
                    </a:lnTo>
                    <a:lnTo>
                      <a:pt x="114" y="13"/>
                    </a:lnTo>
                    <a:lnTo>
                      <a:pt x="116" y="13"/>
                    </a:lnTo>
                    <a:lnTo>
                      <a:pt x="118" y="9"/>
                    </a:lnTo>
                    <a:lnTo>
                      <a:pt x="116" y="9"/>
                    </a:lnTo>
                    <a:lnTo>
                      <a:pt x="116" y="7"/>
                    </a:lnTo>
                    <a:lnTo>
                      <a:pt x="118" y="7"/>
                    </a:lnTo>
                    <a:lnTo>
                      <a:pt x="116" y="7"/>
                    </a:lnTo>
                    <a:lnTo>
                      <a:pt x="118" y="6"/>
                    </a:lnTo>
                    <a:lnTo>
                      <a:pt x="123" y="7"/>
                    </a:lnTo>
                    <a:lnTo>
                      <a:pt x="123" y="6"/>
                    </a:lnTo>
                    <a:lnTo>
                      <a:pt x="125" y="6"/>
                    </a:lnTo>
                    <a:lnTo>
                      <a:pt x="125" y="4"/>
                    </a:lnTo>
                    <a:lnTo>
                      <a:pt x="125" y="6"/>
                    </a:lnTo>
                    <a:lnTo>
                      <a:pt x="127" y="6"/>
                    </a:lnTo>
                    <a:lnTo>
                      <a:pt x="129" y="6"/>
                    </a:lnTo>
                    <a:lnTo>
                      <a:pt x="131" y="6"/>
                    </a:lnTo>
                    <a:lnTo>
                      <a:pt x="133" y="6"/>
                    </a:lnTo>
                    <a:lnTo>
                      <a:pt x="135" y="6"/>
                    </a:lnTo>
                    <a:lnTo>
                      <a:pt x="137" y="7"/>
                    </a:lnTo>
                    <a:lnTo>
                      <a:pt x="135" y="9"/>
                    </a:lnTo>
                    <a:lnTo>
                      <a:pt x="137" y="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56">
                <a:extLst>
                  <a:ext uri="{FF2B5EF4-FFF2-40B4-BE49-F238E27FC236}">
                    <a16:creationId xmlns="" xmlns:a16="http://schemas.microsoft.com/office/drawing/2014/main" id="{447FA46F-2B61-46AE-886E-DBCA8994F8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5913" y="3708401"/>
                <a:ext cx="241300" cy="200025"/>
              </a:xfrm>
              <a:custGeom>
                <a:avLst/>
                <a:gdLst>
                  <a:gd name="T0" fmla="*/ 135 w 152"/>
                  <a:gd name="T1" fmla="*/ 76 h 126"/>
                  <a:gd name="T2" fmla="*/ 136 w 152"/>
                  <a:gd name="T3" fmla="*/ 86 h 126"/>
                  <a:gd name="T4" fmla="*/ 148 w 152"/>
                  <a:gd name="T5" fmla="*/ 86 h 126"/>
                  <a:gd name="T6" fmla="*/ 150 w 152"/>
                  <a:gd name="T7" fmla="*/ 92 h 126"/>
                  <a:gd name="T8" fmla="*/ 144 w 152"/>
                  <a:gd name="T9" fmla="*/ 100 h 126"/>
                  <a:gd name="T10" fmla="*/ 140 w 152"/>
                  <a:gd name="T11" fmla="*/ 105 h 126"/>
                  <a:gd name="T12" fmla="*/ 133 w 152"/>
                  <a:gd name="T13" fmla="*/ 101 h 126"/>
                  <a:gd name="T14" fmla="*/ 129 w 152"/>
                  <a:gd name="T15" fmla="*/ 115 h 126"/>
                  <a:gd name="T16" fmla="*/ 127 w 152"/>
                  <a:gd name="T17" fmla="*/ 123 h 126"/>
                  <a:gd name="T18" fmla="*/ 125 w 152"/>
                  <a:gd name="T19" fmla="*/ 126 h 126"/>
                  <a:gd name="T20" fmla="*/ 119 w 152"/>
                  <a:gd name="T21" fmla="*/ 119 h 126"/>
                  <a:gd name="T22" fmla="*/ 119 w 152"/>
                  <a:gd name="T23" fmla="*/ 113 h 126"/>
                  <a:gd name="T24" fmla="*/ 110 w 152"/>
                  <a:gd name="T25" fmla="*/ 109 h 126"/>
                  <a:gd name="T26" fmla="*/ 104 w 152"/>
                  <a:gd name="T27" fmla="*/ 107 h 126"/>
                  <a:gd name="T28" fmla="*/ 98 w 152"/>
                  <a:gd name="T29" fmla="*/ 103 h 126"/>
                  <a:gd name="T30" fmla="*/ 88 w 152"/>
                  <a:gd name="T31" fmla="*/ 101 h 126"/>
                  <a:gd name="T32" fmla="*/ 85 w 152"/>
                  <a:gd name="T33" fmla="*/ 105 h 126"/>
                  <a:gd name="T34" fmla="*/ 77 w 152"/>
                  <a:gd name="T35" fmla="*/ 105 h 126"/>
                  <a:gd name="T36" fmla="*/ 69 w 152"/>
                  <a:gd name="T37" fmla="*/ 103 h 126"/>
                  <a:gd name="T38" fmla="*/ 63 w 152"/>
                  <a:gd name="T39" fmla="*/ 103 h 126"/>
                  <a:gd name="T40" fmla="*/ 60 w 152"/>
                  <a:gd name="T41" fmla="*/ 100 h 126"/>
                  <a:gd name="T42" fmla="*/ 54 w 152"/>
                  <a:gd name="T43" fmla="*/ 96 h 126"/>
                  <a:gd name="T44" fmla="*/ 50 w 152"/>
                  <a:gd name="T45" fmla="*/ 90 h 126"/>
                  <a:gd name="T46" fmla="*/ 44 w 152"/>
                  <a:gd name="T47" fmla="*/ 90 h 126"/>
                  <a:gd name="T48" fmla="*/ 37 w 152"/>
                  <a:gd name="T49" fmla="*/ 96 h 126"/>
                  <a:gd name="T50" fmla="*/ 31 w 152"/>
                  <a:gd name="T51" fmla="*/ 94 h 126"/>
                  <a:gd name="T52" fmla="*/ 27 w 152"/>
                  <a:gd name="T53" fmla="*/ 94 h 126"/>
                  <a:gd name="T54" fmla="*/ 23 w 152"/>
                  <a:gd name="T55" fmla="*/ 88 h 126"/>
                  <a:gd name="T56" fmla="*/ 27 w 152"/>
                  <a:gd name="T57" fmla="*/ 82 h 126"/>
                  <a:gd name="T58" fmla="*/ 19 w 152"/>
                  <a:gd name="T59" fmla="*/ 76 h 126"/>
                  <a:gd name="T60" fmla="*/ 25 w 152"/>
                  <a:gd name="T61" fmla="*/ 67 h 126"/>
                  <a:gd name="T62" fmla="*/ 15 w 152"/>
                  <a:gd name="T63" fmla="*/ 61 h 126"/>
                  <a:gd name="T64" fmla="*/ 10 w 152"/>
                  <a:gd name="T65" fmla="*/ 57 h 126"/>
                  <a:gd name="T66" fmla="*/ 4 w 152"/>
                  <a:gd name="T67" fmla="*/ 48 h 126"/>
                  <a:gd name="T68" fmla="*/ 4 w 152"/>
                  <a:gd name="T69" fmla="*/ 42 h 126"/>
                  <a:gd name="T70" fmla="*/ 6 w 152"/>
                  <a:gd name="T71" fmla="*/ 36 h 126"/>
                  <a:gd name="T72" fmla="*/ 12 w 152"/>
                  <a:gd name="T73" fmla="*/ 30 h 126"/>
                  <a:gd name="T74" fmla="*/ 14 w 152"/>
                  <a:gd name="T75" fmla="*/ 23 h 126"/>
                  <a:gd name="T76" fmla="*/ 15 w 152"/>
                  <a:gd name="T77" fmla="*/ 21 h 126"/>
                  <a:gd name="T78" fmla="*/ 23 w 152"/>
                  <a:gd name="T79" fmla="*/ 23 h 126"/>
                  <a:gd name="T80" fmla="*/ 27 w 152"/>
                  <a:gd name="T81" fmla="*/ 19 h 126"/>
                  <a:gd name="T82" fmla="*/ 31 w 152"/>
                  <a:gd name="T83" fmla="*/ 13 h 126"/>
                  <a:gd name="T84" fmla="*/ 39 w 152"/>
                  <a:gd name="T85" fmla="*/ 7 h 126"/>
                  <a:gd name="T86" fmla="*/ 44 w 152"/>
                  <a:gd name="T87" fmla="*/ 9 h 126"/>
                  <a:gd name="T88" fmla="*/ 52 w 152"/>
                  <a:gd name="T89" fmla="*/ 3 h 126"/>
                  <a:gd name="T90" fmla="*/ 60 w 152"/>
                  <a:gd name="T91" fmla="*/ 1 h 126"/>
                  <a:gd name="T92" fmla="*/ 67 w 152"/>
                  <a:gd name="T93" fmla="*/ 3 h 126"/>
                  <a:gd name="T94" fmla="*/ 75 w 152"/>
                  <a:gd name="T95" fmla="*/ 3 h 126"/>
                  <a:gd name="T96" fmla="*/ 79 w 152"/>
                  <a:gd name="T97" fmla="*/ 5 h 126"/>
                  <a:gd name="T98" fmla="*/ 85 w 152"/>
                  <a:gd name="T99" fmla="*/ 7 h 126"/>
                  <a:gd name="T100" fmla="*/ 81 w 152"/>
                  <a:gd name="T101" fmla="*/ 17 h 126"/>
                  <a:gd name="T102" fmla="*/ 88 w 152"/>
                  <a:gd name="T103" fmla="*/ 23 h 126"/>
                  <a:gd name="T104" fmla="*/ 100 w 152"/>
                  <a:gd name="T105" fmla="*/ 25 h 126"/>
                  <a:gd name="T106" fmla="*/ 106 w 152"/>
                  <a:gd name="T107" fmla="*/ 32 h 126"/>
                  <a:gd name="T108" fmla="*/ 108 w 152"/>
                  <a:gd name="T109" fmla="*/ 44 h 126"/>
                  <a:gd name="T110" fmla="*/ 112 w 152"/>
                  <a:gd name="T111" fmla="*/ 53 h 126"/>
                  <a:gd name="T112" fmla="*/ 117 w 152"/>
                  <a:gd name="T113" fmla="*/ 59 h 126"/>
                  <a:gd name="T114" fmla="*/ 121 w 152"/>
                  <a:gd name="T115" fmla="*/ 65 h 126"/>
                  <a:gd name="T116" fmla="*/ 125 w 152"/>
                  <a:gd name="T117" fmla="*/ 69 h 126"/>
                  <a:gd name="T118" fmla="*/ 133 w 152"/>
                  <a:gd name="T119" fmla="*/ 73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52" h="126">
                    <a:moveTo>
                      <a:pt x="135" y="73"/>
                    </a:moveTo>
                    <a:lnTo>
                      <a:pt x="135" y="75"/>
                    </a:lnTo>
                    <a:lnTo>
                      <a:pt x="133" y="75"/>
                    </a:lnTo>
                    <a:lnTo>
                      <a:pt x="135" y="75"/>
                    </a:lnTo>
                    <a:lnTo>
                      <a:pt x="135" y="76"/>
                    </a:lnTo>
                    <a:lnTo>
                      <a:pt x="133" y="76"/>
                    </a:lnTo>
                    <a:lnTo>
                      <a:pt x="135" y="76"/>
                    </a:lnTo>
                    <a:lnTo>
                      <a:pt x="135" y="78"/>
                    </a:lnTo>
                    <a:lnTo>
                      <a:pt x="133" y="78"/>
                    </a:lnTo>
                    <a:lnTo>
                      <a:pt x="133" y="80"/>
                    </a:lnTo>
                    <a:lnTo>
                      <a:pt x="133" y="82"/>
                    </a:lnTo>
                    <a:lnTo>
                      <a:pt x="135" y="82"/>
                    </a:lnTo>
                    <a:lnTo>
                      <a:pt x="135" y="84"/>
                    </a:lnTo>
                    <a:lnTo>
                      <a:pt x="136" y="86"/>
                    </a:lnTo>
                    <a:lnTo>
                      <a:pt x="138" y="86"/>
                    </a:lnTo>
                    <a:lnTo>
                      <a:pt x="140" y="86"/>
                    </a:lnTo>
                    <a:lnTo>
                      <a:pt x="142" y="86"/>
                    </a:lnTo>
                    <a:lnTo>
                      <a:pt x="142" y="88"/>
                    </a:lnTo>
                    <a:lnTo>
                      <a:pt x="144" y="88"/>
                    </a:lnTo>
                    <a:lnTo>
                      <a:pt x="146" y="88"/>
                    </a:lnTo>
                    <a:lnTo>
                      <a:pt x="148" y="86"/>
                    </a:lnTo>
                    <a:lnTo>
                      <a:pt x="148" y="88"/>
                    </a:lnTo>
                    <a:lnTo>
                      <a:pt x="148" y="90"/>
                    </a:lnTo>
                    <a:lnTo>
                      <a:pt x="146" y="90"/>
                    </a:lnTo>
                    <a:lnTo>
                      <a:pt x="148" y="90"/>
                    </a:lnTo>
                    <a:lnTo>
                      <a:pt x="150" y="90"/>
                    </a:lnTo>
                    <a:lnTo>
                      <a:pt x="152" y="90"/>
                    </a:lnTo>
                    <a:lnTo>
                      <a:pt x="150" y="92"/>
                    </a:lnTo>
                    <a:lnTo>
                      <a:pt x="150" y="94"/>
                    </a:lnTo>
                    <a:lnTo>
                      <a:pt x="148" y="94"/>
                    </a:lnTo>
                    <a:lnTo>
                      <a:pt x="148" y="96"/>
                    </a:lnTo>
                    <a:lnTo>
                      <a:pt x="148" y="98"/>
                    </a:lnTo>
                    <a:lnTo>
                      <a:pt x="146" y="98"/>
                    </a:lnTo>
                    <a:lnTo>
                      <a:pt x="146" y="100"/>
                    </a:lnTo>
                    <a:lnTo>
                      <a:pt x="144" y="100"/>
                    </a:lnTo>
                    <a:lnTo>
                      <a:pt x="144" y="101"/>
                    </a:lnTo>
                    <a:lnTo>
                      <a:pt x="144" y="103"/>
                    </a:lnTo>
                    <a:lnTo>
                      <a:pt x="146" y="103"/>
                    </a:lnTo>
                    <a:lnTo>
                      <a:pt x="146" y="105"/>
                    </a:lnTo>
                    <a:lnTo>
                      <a:pt x="144" y="105"/>
                    </a:lnTo>
                    <a:lnTo>
                      <a:pt x="142" y="105"/>
                    </a:lnTo>
                    <a:lnTo>
                      <a:pt x="140" y="105"/>
                    </a:lnTo>
                    <a:lnTo>
                      <a:pt x="138" y="103"/>
                    </a:lnTo>
                    <a:lnTo>
                      <a:pt x="138" y="101"/>
                    </a:lnTo>
                    <a:lnTo>
                      <a:pt x="136" y="103"/>
                    </a:lnTo>
                    <a:lnTo>
                      <a:pt x="136" y="101"/>
                    </a:lnTo>
                    <a:lnTo>
                      <a:pt x="135" y="101"/>
                    </a:lnTo>
                    <a:lnTo>
                      <a:pt x="135" y="103"/>
                    </a:lnTo>
                    <a:lnTo>
                      <a:pt x="133" y="101"/>
                    </a:lnTo>
                    <a:lnTo>
                      <a:pt x="131" y="103"/>
                    </a:lnTo>
                    <a:lnTo>
                      <a:pt x="131" y="105"/>
                    </a:lnTo>
                    <a:lnTo>
                      <a:pt x="131" y="107"/>
                    </a:lnTo>
                    <a:lnTo>
                      <a:pt x="131" y="109"/>
                    </a:lnTo>
                    <a:lnTo>
                      <a:pt x="131" y="111"/>
                    </a:lnTo>
                    <a:lnTo>
                      <a:pt x="131" y="113"/>
                    </a:lnTo>
                    <a:lnTo>
                      <a:pt x="129" y="115"/>
                    </a:lnTo>
                    <a:lnTo>
                      <a:pt x="131" y="115"/>
                    </a:lnTo>
                    <a:lnTo>
                      <a:pt x="129" y="115"/>
                    </a:lnTo>
                    <a:lnTo>
                      <a:pt x="129" y="117"/>
                    </a:lnTo>
                    <a:lnTo>
                      <a:pt x="127" y="117"/>
                    </a:lnTo>
                    <a:lnTo>
                      <a:pt x="127" y="119"/>
                    </a:lnTo>
                    <a:lnTo>
                      <a:pt x="127" y="121"/>
                    </a:lnTo>
                    <a:lnTo>
                      <a:pt x="127" y="123"/>
                    </a:lnTo>
                    <a:lnTo>
                      <a:pt x="129" y="123"/>
                    </a:lnTo>
                    <a:lnTo>
                      <a:pt x="127" y="123"/>
                    </a:lnTo>
                    <a:lnTo>
                      <a:pt x="127" y="125"/>
                    </a:lnTo>
                    <a:lnTo>
                      <a:pt x="127" y="123"/>
                    </a:lnTo>
                    <a:lnTo>
                      <a:pt x="125" y="123"/>
                    </a:lnTo>
                    <a:lnTo>
                      <a:pt x="125" y="125"/>
                    </a:lnTo>
                    <a:lnTo>
                      <a:pt x="125" y="126"/>
                    </a:lnTo>
                    <a:lnTo>
                      <a:pt x="123" y="126"/>
                    </a:lnTo>
                    <a:lnTo>
                      <a:pt x="123" y="125"/>
                    </a:lnTo>
                    <a:lnTo>
                      <a:pt x="121" y="125"/>
                    </a:lnTo>
                    <a:lnTo>
                      <a:pt x="121" y="123"/>
                    </a:lnTo>
                    <a:lnTo>
                      <a:pt x="121" y="121"/>
                    </a:lnTo>
                    <a:lnTo>
                      <a:pt x="119" y="121"/>
                    </a:lnTo>
                    <a:lnTo>
                      <a:pt x="119" y="119"/>
                    </a:lnTo>
                    <a:lnTo>
                      <a:pt x="119" y="117"/>
                    </a:lnTo>
                    <a:lnTo>
                      <a:pt x="119" y="119"/>
                    </a:lnTo>
                    <a:lnTo>
                      <a:pt x="117" y="119"/>
                    </a:lnTo>
                    <a:lnTo>
                      <a:pt x="117" y="117"/>
                    </a:lnTo>
                    <a:lnTo>
                      <a:pt x="117" y="115"/>
                    </a:lnTo>
                    <a:lnTo>
                      <a:pt x="117" y="113"/>
                    </a:lnTo>
                    <a:lnTo>
                      <a:pt x="119" y="113"/>
                    </a:lnTo>
                    <a:lnTo>
                      <a:pt x="117" y="113"/>
                    </a:lnTo>
                    <a:lnTo>
                      <a:pt x="117" y="111"/>
                    </a:lnTo>
                    <a:lnTo>
                      <a:pt x="115" y="111"/>
                    </a:lnTo>
                    <a:lnTo>
                      <a:pt x="115" y="109"/>
                    </a:lnTo>
                    <a:lnTo>
                      <a:pt x="113" y="109"/>
                    </a:lnTo>
                    <a:lnTo>
                      <a:pt x="112" y="109"/>
                    </a:lnTo>
                    <a:lnTo>
                      <a:pt x="110" y="109"/>
                    </a:lnTo>
                    <a:lnTo>
                      <a:pt x="108" y="111"/>
                    </a:lnTo>
                    <a:lnTo>
                      <a:pt x="106" y="111"/>
                    </a:lnTo>
                    <a:lnTo>
                      <a:pt x="106" y="109"/>
                    </a:lnTo>
                    <a:lnTo>
                      <a:pt x="104" y="109"/>
                    </a:lnTo>
                    <a:lnTo>
                      <a:pt x="104" y="107"/>
                    </a:lnTo>
                    <a:lnTo>
                      <a:pt x="104" y="109"/>
                    </a:lnTo>
                    <a:lnTo>
                      <a:pt x="104" y="107"/>
                    </a:lnTo>
                    <a:lnTo>
                      <a:pt x="104" y="105"/>
                    </a:lnTo>
                    <a:lnTo>
                      <a:pt x="102" y="105"/>
                    </a:lnTo>
                    <a:lnTo>
                      <a:pt x="100" y="105"/>
                    </a:lnTo>
                    <a:lnTo>
                      <a:pt x="100" y="103"/>
                    </a:lnTo>
                    <a:lnTo>
                      <a:pt x="98" y="103"/>
                    </a:lnTo>
                    <a:lnTo>
                      <a:pt x="100" y="103"/>
                    </a:lnTo>
                    <a:lnTo>
                      <a:pt x="98" y="103"/>
                    </a:lnTo>
                    <a:lnTo>
                      <a:pt x="96" y="103"/>
                    </a:lnTo>
                    <a:lnTo>
                      <a:pt x="94" y="103"/>
                    </a:lnTo>
                    <a:lnTo>
                      <a:pt x="92" y="103"/>
                    </a:lnTo>
                    <a:lnTo>
                      <a:pt x="90" y="101"/>
                    </a:lnTo>
                    <a:lnTo>
                      <a:pt x="90" y="100"/>
                    </a:lnTo>
                    <a:lnTo>
                      <a:pt x="90" y="101"/>
                    </a:lnTo>
                    <a:lnTo>
                      <a:pt x="88" y="101"/>
                    </a:lnTo>
                    <a:lnTo>
                      <a:pt x="88" y="103"/>
                    </a:lnTo>
                    <a:lnTo>
                      <a:pt x="87" y="103"/>
                    </a:lnTo>
                    <a:lnTo>
                      <a:pt x="87" y="105"/>
                    </a:lnTo>
                    <a:lnTo>
                      <a:pt x="85" y="107"/>
                    </a:lnTo>
                    <a:lnTo>
                      <a:pt x="85" y="105"/>
                    </a:lnTo>
                    <a:lnTo>
                      <a:pt x="85" y="103"/>
                    </a:lnTo>
                    <a:lnTo>
                      <a:pt x="85" y="105"/>
                    </a:lnTo>
                    <a:lnTo>
                      <a:pt x="83" y="105"/>
                    </a:lnTo>
                    <a:lnTo>
                      <a:pt x="83" y="103"/>
                    </a:lnTo>
                    <a:lnTo>
                      <a:pt x="81" y="105"/>
                    </a:lnTo>
                    <a:lnTo>
                      <a:pt x="79" y="105"/>
                    </a:lnTo>
                    <a:lnTo>
                      <a:pt x="79" y="107"/>
                    </a:lnTo>
                    <a:lnTo>
                      <a:pt x="79" y="105"/>
                    </a:lnTo>
                    <a:lnTo>
                      <a:pt x="77" y="105"/>
                    </a:lnTo>
                    <a:lnTo>
                      <a:pt x="77" y="107"/>
                    </a:lnTo>
                    <a:lnTo>
                      <a:pt x="77" y="105"/>
                    </a:lnTo>
                    <a:lnTo>
                      <a:pt x="75" y="105"/>
                    </a:lnTo>
                    <a:lnTo>
                      <a:pt x="75" y="103"/>
                    </a:lnTo>
                    <a:lnTo>
                      <a:pt x="73" y="103"/>
                    </a:lnTo>
                    <a:lnTo>
                      <a:pt x="71" y="103"/>
                    </a:lnTo>
                    <a:lnTo>
                      <a:pt x="69" y="103"/>
                    </a:lnTo>
                    <a:lnTo>
                      <a:pt x="69" y="105"/>
                    </a:lnTo>
                    <a:lnTo>
                      <a:pt x="67" y="105"/>
                    </a:lnTo>
                    <a:lnTo>
                      <a:pt x="65" y="105"/>
                    </a:lnTo>
                    <a:lnTo>
                      <a:pt x="63" y="105"/>
                    </a:lnTo>
                    <a:lnTo>
                      <a:pt x="62" y="105"/>
                    </a:lnTo>
                    <a:lnTo>
                      <a:pt x="63" y="105"/>
                    </a:lnTo>
                    <a:lnTo>
                      <a:pt x="63" y="103"/>
                    </a:lnTo>
                    <a:lnTo>
                      <a:pt x="63" y="101"/>
                    </a:lnTo>
                    <a:lnTo>
                      <a:pt x="63" y="100"/>
                    </a:lnTo>
                    <a:lnTo>
                      <a:pt x="62" y="101"/>
                    </a:lnTo>
                    <a:lnTo>
                      <a:pt x="60" y="101"/>
                    </a:lnTo>
                    <a:lnTo>
                      <a:pt x="60" y="103"/>
                    </a:lnTo>
                    <a:lnTo>
                      <a:pt x="60" y="101"/>
                    </a:lnTo>
                    <a:lnTo>
                      <a:pt x="60" y="100"/>
                    </a:lnTo>
                    <a:lnTo>
                      <a:pt x="60" y="98"/>
                    </a:lnTo>
                    <a:lnTo>
                      <a:pt x="58" y="100"/>
                    </a:lnTo>
                    <a:lnTo>
                      <a:pt x="58" y="98"/>
                    </a:lnTo>
                    <a:lnTo>
                      <a:pt x="56" y="100"/>
                    </a:lnTo>
                    <a:lnTo>
                      <a:pt x="56" y="98"/>
                    </a:lnTo>
                    <a:lnTo>
                      <a:pt x="54" y="98"/>
                    </a:lnTo>
                    <a:lnTo>
                      <a:pt x="54" y="96"/>
                    </a:lnTo>
                    <a:lnTo>
                      <a:pt x="54" y="94"/>
                    </a:lnTo>
                    <a:lnTo>
                      <a:pt x="52" y="94"/>
                    </a:lnTo>
                    <a:lnTo>
                      <a:pt x="50" y="94"/>
                    </a:lnTo>
                    <a:lnTo>
                      <a:pt x="50" y="92"/>
                    </a:lnTo>
                    <a:lnTo>
                      <a:pt x="50" y="90"/>
                    </a:lnTo>
                    <a:lnTo>
                      <a:pt x="50" y="88"/>
                    </a:lnTo>
                    <a:lnTo>
                      <a:pt x="50" y="90"/>
                    </a:lnTo>
                    <a:lnTo>
                      <a:pt x="48" y="90"/>
                    </a:lnTo>
                    <a:lnTo>
                      <a:pt x="48" y="88"/>
                    </a:lnTo>
                    <a:lnTo>
                      <a:pt x="48" y="90"/>
                    </a:lnTo>
                    <a:lnTo>
                      <a:pt x="46" y="90"/>
                    </a:lnTo>
                    <a:lnTo>
                      <a:pt x="46" y="88"/>
                    </a:lnTo>
                    <a:lnTo>
                      <a:pt x="44" y="88"/>
                    </a:lnTo>
                    <a:lnTo>
                      <a:pt x="44" y="90"/>
                    </a:lnTo>
                    <a:lnTo>
                      <a:pt x="44" y="92"/>
                    </a:lnTo>
                    <a:lnTo>
                      <a:pt x="44" y="94"/>
                    </a:lnTo>
                    <a:lnTo>
                      <a:pt x="42" y="94"/>
                    </a:lnTo>
                    <a:lnTo>
                      <a:pt x="40" y="94"/>
                    </a:lnTo>
                    <a:lnTo>
                      <a:pt x="39" y="94"/>
                    </a:lnTo>
                    <a:lnTo>
                      <a:pt x="39" y="96"/>
                    </a:lnTo>
                    <a:lnTo>
                      <a:pt x="37" y="96"/>
                    </a:lnTo>
                    <a:lnTo>
                      <a:pt x="35" y="96"/>
                    </a:lnTo>
                    <a:lnTo>
                      <a:pt x="35" y="98"/>
                    </a:lnTo>
                    <a:lnTo>
                      <a:pt x="35" y="96"/>
                    </a:lnTo>
                    <a:lnTo>
                      <a:pt x="33" y="96"/>
                    </a:lnTo>
                    <a:lnTo>
                      <a:pt x="35" y="94"/>
                    </a:lnTo>
                    <a:lnTo>
                      <a:pt x="33" y="92"/>
                    </a:lnTo>
                    <a:lnTo>
                      <a:pt x="31" y="94"/>
                    </a:lnTo>
                    <a:lnTo>
                      <a:pt x="31" y="96"/>
                    </a:lnTo>
                    <a:lnTo>
                      <a:pt x="31" y="94"/>
                    </a:lnTo>
                    <a:lnTo>
                      <a:pt x="29" y="96"/>
                    </a:lnTo>
                    <a:lnTo>
                      <a:pt x="29" y="94"/>
                    </a:lnTo>
                    <a:lnTo>
                      <a:pt x="29" y="92"/>
                    </a:lnTo>
                    <a:lnTo>
                      <a:pt x="27" y="92"/>
                    </a:lnTo>
                    <a:lnTo>
                      <a:pt x="27" y="94"/>
                    </a:lnTo>
                    <a:lnTo>
                      <a:pt x="25" y="94"/>
                    </a:lnTo>
                    <a:lnTo>
                      <a:pt x="25" y="92"/>
                    </a:lnTo>
                    <a:lnTo>
                      <a:pt x="23" y="92"/>
                    </a:lnTo>
                    <a:lnTo>
                      <a:pt x="25" y="92"/>
                    </a:lnTo>
                    <a:lnTo>
                      <a:pt x="25" y="90"/>
                    </a:lnTo>
                    <a:lnTo>
                      <a:pt x="23" y="90"/>
                    </a:lnTo>
                    <a:lnTo>
                      <a:pt x="23" y="88"/>
                    </a:lnTo>
                    <a:lnTo>
                      <a:pt x="23" y="86"/>
                    </a:lnTo>
                    <a:lnTo>
                      <a:pt x="21" y="86"/>
                    </a:lnTo>
                    <a:lnTo>
                      <a:pt x="21" y="84"/>
                    </a:lnTo>
                    <a:lnTo>
                      <a:pt x="23" y="82"/>
                    </a:lnTo>
                    <a:lnTo>
                      <a:pt x="23" y="84"/>
                    </a:lnTo>
                    <a:lnTo>
                      <a:pt x="25" y="82"/>
                    </a:lnTo>
                    <a:lnTo>
                      <a:pt x="27" y="82"/>
                    </a:lnTo>
                    <a:lnTo>
                      <a:pt x="27" y="80"/>
                    </a:lnTo>
                    <a:lnTo>
                      <a:pt x="25" y="80"/>
                    </a:lnTo>
                    <a:lnTo>
                      <a:pt x="25" y="78"/>
                    </a:lnTo>
                    <a:lnTo>
                      <a:pt x="23" y="78"/>
                    </a:lnTo>
                    <a:lnTo>
                      <a:pt x="21" y="78"/>
                    </a:lnTo>
                    <a:lnTo>
                      <a:pt x="19" y="78"/>
                    </a:lnTo>
                    <a:lnTo>
                      <a:pt x="19" y="76"/>
                    </a:lnTo>
                    <a:lnTo>
                      <a:pt x="19" y="75"/>
                    </a:lnTo>
                    <a:lnTo>
                      <a:pt x="21" y="75"/>
                    </a:lnTo>
                    <a:lnTo>
                      <a:pt x="21" y="73"/>
                    </a:lnTo>
                    <a:lnTo>
                      <a:pt x="21" y="71"/>
                    </a:lnTo>
                    <a:lnTo>
                      <a:pt x="23" y="69"/>
                    </a:lnTo>
                    <a:lnTo>
                      <a:pt x="23" y="67"/>
                    </a:lnTo>
                    <a:lnTo>
                      <a:pt x="25" y="67"/>
                    </a:lnTo>
                    <a:lnTo>
                      <a:pt x="25" y="65"/>
                    </a:lnTo>
                    <a:lnTo>
                      <a:pt x="23" y="65"/>
                    </a:lnTo>
                    <a:lnTo>
                      <a:pt x="21" y="65"/>
                    </a:lnTo>
                    <a:lnTo>
                      <a:pt x="21" y="63"/>
                    </a:lnTo>
                    <a:lnTo>
                      <a:pt x="19" y="63"/>
                    </a:lnTo>
                    <a:lnTo>
                      <a:pt x="17" y="63"/>
                    </a:lnTo>
                    <a:lnTo>
                      <a:pt x="15" y="61"/>
                    </a:lnTo>
                    <a:lnTo>
                      <a:pt x="15" y="63"/>
                    </a:lnTo>
                    <a:lnTo>
                      <a:pt x="14" y="63"/>
                    </a:lnTo>
                    <a:lnTo>
                      <a:pt x="14" y="61"/>
                    </a:lnTo>
                    <a:lnTo>
                      <a:pt x="12" y="61"/>
                    </a:lnTo>
                    <a:lnTo>
                      <a:pt x="12" y="59"/>
                    </a:lnTo>
                    <a:lnTo>
                      <a:pt x="10" y="59"/>
                    </a:lnTo>
                    <a:lnTo>
                      <a:pt x="10" y="57"/>
                    </a:lnTo>
                    <a:lnTo>
                      <a:pt x="12" y="55"/>
                    </a:lnTo>
                    <a:lnTo>
                      <a:pt x="10" y="53"/>
                    </a:lnTo>
                    <a:lnTo>
                      <a:pt x="8" y="51"/>
                    </a:lnTo>
                    <a:lnTo>
                      <a:pt x="6" y="51"/>
                    </a:lnTo>
                    <a:lnTo>
                      <a:pt x="6" y="50"/>
                    </a:lnTo>
                    <a:lnTo>
                      <a:pt x="6" y="48"/>
                    </a:lnTo>
                    <a:lnTo>
                      <a:pt x="4" y="48"/>
                    </a:lnTo>
                    <a:lnTo>
                      <a:pt x="2" y="48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0" y="44"/>
                    </a:lnTo>
                    <a:lnTo>
                      <a:pt x="2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6" y="42"/>
                    </a:lnTo>
                    <a:lnTo>
                      <a:pt x="8" y="42"/>
                    </a:lnTo>
                    <a:lnTo>
                      <a:pt x="6" y="42"/>
                    </a:lnTo>
                    <a:lnTo>
                      <a:pt x="8" y="42"/>
                    </a:lnTo>
                    <a:lnTo>
                      <a:pt x="6" y="40"/>
                    </a:lnTo>
                    <a:lnTo>
                      <a:pt x="6" y="38"/>
                    </a:lnTo>
                    <a:lnTo>
                      <a:pt x="6" y="36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10" y="34"/>
                    </a:lnTo>
                    <a:lnTo>
                      <a:pt x="12" y="34"/>
                    </a:lnTo>
                    <a:lnTo>
                      <a:pt x="12" y="32"/>
                    </a:lnTo>
                    <a:lnTo>
                      <a:pt x="14" y="30"/>
                    </a:lnTo>
                    <a:lnTo>
                      <a:pt x="12" y="30"/>
                    </a:lnTo>
                    <a:lnTo>
                      <a:pt x="12" y="28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2" y="25"/>
                    </a:lnTo>
                    <a:lnTo>
                      <a:pt x="14" y="23"/>
                    </a:lnTo>
                    <a:lnTo>
                      <a:pt x="12" y="21"/>
                    </a:lnTo>
                    <a:lnTo>
                      <a:pt x="12" y="19"/>
                    </a:lnTo>
                    <a:lnTo>
                      <a:pt x="14" y="19"/>
                    </a:lnTo>
                    <a:lnTo>
                      <a:pt x="15" y="19"/>
                    </a:lnTo>
                    <a:lnTo>
                      <a:pt x="14" y="19"/>
                    </a:lnTo>
                    <a:lnTo>
                      <a:pt x="15" y="19"/>
                    </a:lnTo>
                    <a:lnTo>
                      <a:pt x="15" y="21"/>
                    </a:lnTo>
                    <a:lnTo>
                      <a:pt x="15" y="19"/>
                    </a:lnTo>
                    <a:lnTo>
                      <a:pt x="15" y="21"/>
                    </a:lnTo>
                    <a:lnTo>
                      <a:pt x="17" y="21"/>
                    </a:lnTo>
                    <a:lnTo>
                      <a:pt x="19" y="21"/>
                    </a:lnTo>
                    <a:lnTo>
                      <a:pt x="21" y="21"/>
                    </a:lnTo>
                    <a:lnTo>
                      <a:pt x="21" y="23"/>
                    </a:lnTo>
                    <a:lnTo>
                      <a:pt x="23" y="23"/>
                    </a:lnTo>
                    <a:lnTo>
                      <a:pt x="25" y="23"/>
                    </a:lnTo>
                    <a:lnTo>
                      <a:pt x="25" y="21"/>
                    </a:lnTo>
                    <a:lnTo>
                      <a:pt x="27" y="21"/>
                    </a:lnTo>
                    <a:lnTo>
                      <a:pt x="25" y="21"/>
                    </a:lnTo>
                    <a:lnTo>
                      <a:pt x="27" y="21"/>
                    </a:lnTo>
                    <a:lnTo>
                      <a:pt x="25" y="19"/>
                    </a:lnTo>
                    <a:lnTo>
                      <a:pt x="27" y="19"/>
                    </a:lnTo>
                    <a:lnTo>
                      <a:pt x="27" y="17"/>
                    </a:lnTo>
                    <a:lnTo>
                      <a:pt x="27" y="15"/>
                    </a:lnTo>
                    <a:lnTo>
                      <a:pt x="29" y="15"/>
                    </a:lnTo>
                    <a:lnTo>
                      <a:pt x="29" y="13"/>
                    </a:lnTo>
                    <a:lnTo>
                      <a:pt x="31" y="13"/>
                    </a:lnTo>
                    <a:lnTo>
                      <a:pt x="33" y="13"/>
                    </a:lnTo>
                    <a:lnTo>
                      <a:pt x="31" y="13"/>
                    </a:lnTo>
                    <a:lnTo>
                      <a:pt x="31" y="11"/>
                    </a:lnTo>
                    <a:lnTo>
                      <a:pt x="29" y="9"/>
                    </a:lnTo>
                    <a:lnTo>
                      <a:pt x="31" y="9"/>
                    </a:lnTo>
                    <a:lnTo>
                      <a:pt x="33" y="9"/>
                    </a:lnTo>
                    <a:lnTo>
                      <a:pt x="35" y="7"/>
                    </a:lnTo>
                    <a:lnTo>
                      <a:pt x="37" y="7"/>
                    </a:lnTo>
                    <a:lnTo>
                      <a:pt x="39" y="7"/>
                    </a:lnTo>
                    <a:lnTo>
                      <a:pt x="40" y="5"/>
                    </a:lnTo>
                    <a:lnTo>
                      <a:pt x="42" y="5"/>
                    </a:lnTo>
                    <a:lnTo>
                      <a:pt x="42" y="7"/>
                    </a:lnTo>
                    <a:lnTo>
                      <a:pt x="40" y="7"/>
                    </a:lnTo>
                    <a:lnTo>
                      <a:pt x="40" y="9"/>
                    </a:lnTo>
                    <a:lnTo>
                      <a:pt x="42" y="9"/>
                    </a:lnTo>
                    <a:lnTo>
                      <a:pt x="44" y="9"/>
                    </a:lnTo>
                    <a:lnTo>
                      <a:pt x="46" y="9"/>
                    </a:lnTo>
                    <a:lnTo>
                      <a:pt x="48" y="9"/>
                    </a:lnTo>
                    <a:lnTo>
                      <a:pt x="48" y="7"/>
                    </a:lnTo>
                    <a:lnTo>
                      <a:pt x="50" y="7"/>
                    </a:lnTo>
                    <a:lnTo>
                      <a:pt x="50" y="5"/>
                    </a:lnTo>
                    <a:lnTo>
                      <a:pt x="50" y="3"/>
                    </a:lnTo>
                    <a:lnTo>
                      <a:pt x="52" y="3"/>
                    </a:lnTo>
                    <a:lnTo>
                      <a:pt x="54" y="3"/>
                    </a:lnTo>
                    <a:lnTo>
                      <a:pt x="54" y="5"/>
                    </a:lnTo>
                    <a:lnTo>
                      <a:pt x="56" y="5"/>
                    </a:lnTo>
                    <a:lnTo>
                      <a:pt x="58" y="5"/>
                    </a:lnTo>
                    <a:lnTo>
                      <a:pt x="58" y="3"/>
                    </a:lnTo>
                    <a:lnTo>
                      <a:pt x="58" y="1"/>
                    </a:lnTo>
                    <a:lnTo>
                      <a:pt x="60" y="1"/>
                    </a:lnTo>
                    <a:lnTo>
                      <a:pt x="62" y="1"/>
                    </a:lnTo>
                    <a:lnTo>
                      <a:pt x="62" y="0"/>
                    </a:lnTo>
                    <a:lnTo>
                      <a:pt x="63" y="0"/>
                    </a:lnTo>
                    <a:lnTo>
                      <a:pt x="65" y="0"/>
                    </a:lnTo>
                    <a:lnTo>
                      <a:pt x="67" y="0"/>
                    </a:lnTo>
                    <a:lnTo>
                      <a:pt x="65" y="1"/>
                    </a:lnTo>
                    <a:lnTo>
                      <a:pt x="67" y="3"/>
                    </a:lnTo>
                    <a:lnTo>
                      <a:pt x="67" y="1"/>
                    </a:lnTo>
                    <a:lnTo>
                      <a:pt x="69" y="3"/>
                    </a:lnTo>
                    <a:lnTo>
                      <a:pt x="71" y="3"/>
                    </a:lnTo>
                    <a:lnTo>
                      <a:pt x="73" y="3"/>
                    </a:lnTo>
                    <a:lnTo>
                      <a:pt x="73" y="1"/>
                    </a:lnTo>
                    <a:lnTo>
                      <a:pt x="73" y="3"/>
                    </a:lnTo>
                    <a:lnTo>
                      <a:pt x="75" y="3"/>
                    </a:lnTo>
                    <a:lnTo>
                      <a:pt x="77" y="5"/>
                    </a:lnTo>
                    <a:lnTo>
                      <a:pt x="75" y="5"/>
                    </a:lnTo>
                    <a:lnTo>
                      <a:pt x="77" y="5"/>
                    </a:lnTo>
                    <a:lnTo>
                      <a:pt x="79" y="7"/>
                    </a:lnTo>
                    <a:lnTo>
                      <a:pt x="79" y="5"/>
                    </a:lnTo>
                    <a:lnTo>
                      <a:pt x="79" y="7"/>
                    </a:lnTo>
                    <a:lnTo>
                      <a:pt x="79" y="5"/>
                    </a:lnTo>
                    <a:lnTo>
                      <a:pt x="81" y="3"/>
                    </a:lnTo>
                    <a:lnTo>
                      <a:pt x="81" y="5"/>
                    </a:lnTo>
                    <a:lnTo>
                      <a:pt x="83" y="5"/>
                    </a:lnTo>
                    <a:lnTo>
                      <a:pt x="85" y="5"/>
                    </a:lnTo>
                    <a:lnTo>
                      <a:pt x="87" y="5"/>
                    </a:lnTo>
                    <a:lnTo>
                      <a:pt x="87" y="7"/>
                    </a:lnTo>
                    <a:lnTo>
                      <a:pt x="85" y="7"/>
                    </a:lnTo>
                    <a:lnTo>
                      <a:pt x="85" y="9"/>
                    </a:lnTo>
                    <a:lnTo>
                      <a:pt x="85" y="11"/>
                    </a:lnTo>
                    <a:lnTo>
                      <a:pt x="85" y="13"/>
                    </a:lnTo>
                    <a:lnTo>
                      <a:pt x="85" y="15"/>
                    </a:lnTo>
                    <a:lnTo>
                      <a:pt x="83" y="15"/>
                    </a:lnTo>
                    <a:lnTo>
                      <a:pt x="83" y="17"/>
                    </a:lnTo>
                    <a:lnTo>
                      <a:pt x="81" y="17"/>
                    </a:lnTo>
                    <a:lnTo>
                      <a:pt x="81" y="19"/>
                    </a:lnTo>
                    <a:lnTo>
                      <a:pt x="83" y="19"/>
                    </a:lnTo>
                    <a:lnTo>
                      <a:pt x="85" y="19"/>
                    </a:lnTo>
                    <a:lnTo>
                      <a:pt x="87" y="19"/>
                    </a:lnTo>
                    <a:lnTo>
                      <a:pt x="88" y="19"/>
                    </a:lnTo>
                    <a:lnTo>
                      <a:pt x="88" y="21"/>
                    </a:lnTo>
                    <a:lnTo>
                      <a:pt x="88" y="23"/>
                    </a:lnTo>
                    <a:lnTo>
                      <a:pt x="90" y="23"/>
                    </a:lnTo>
                    <a:lnTo>
                      <a:pt x="92" y="23"/>
                    </a:lnTo>
                    <a:lnTo>
                      <a:pt x="94" y="23"/>
                    </a:lnTo>
                    <a:lnTo>
                      <a:pt x="96" y="23"/>
                    </a:lnTo>
                    <a:lnTo>
                      <a:pt x="96" y="25"/>
                    </a:lnTo>
                    <a:lnTo>
                      <a:pt x="98" y="25"/>
                    </a:lnTo>
                    <a:lnTo>
                      <a:pt x="100" y="25"/>
                    </a:lnTo>
                    <a:lnTo>
                      <a:pt x="102" y="25"/>
                    </a:lnTo>
                    <a:lnTo>
                      <a:pt x="104" y="25"/>
                    </a:lnTo>
                    <a:lnTo>
                      <a:pt x="106" y="25"/>
                    </a:lnTo>
                    <a:lnTo>
                      <a:pt x="106" y="26"/>
                    </a:lnTo>
                    <a:lnTo>
                      <a:pt x="106" y="28"/>
                    </a:lnTo>
                    <a:lnTo>
                      <a:pt x="106" y="30"/>
                    </a:lnTo>
                    <a:lnTo>
                      <a:pt x="106" y="32"/>
                    </a:lnTo>
                    <a:lnTo>
                      <a:pt x="106" y="34"/>
                    </a:lnTo>
                    <a:lnTo>
                      <a:pt x="106" y="36"/>
                    </a:lnTo>
                    <a:lnTo>
                      <a:pt x="106" y="38"/>
                    </a:lnTo>
                    <a:lnTo>
                      <a:pt x="108" y="38"/>
                    </a:lnTo>
                    <a:lnTo>
                      <a:pt x="108" y="40"/>
                    </a:lnTo>
                    <a:lnTo>
                      <a:pt x="108" y="42"/>
                    </a:lnTo>
                    <a:lnTo>
                      <a:pt x="108" y="44"/>
                    </a:lnTo>
                    <a:lnTo>
                      <a:pt x="110" y="44"/>
                    </a:lnTo>
                    <a:lnTo>
                      <a:pt x="110" y="46"/>
                    </a:lnTo>
                    <a:lnTo>
                      <a:pt x="110" y="48"/>
                    </a:lnTo>
                    <a:lnTo>
                      <a:pt x="110" y="50"/>
                    </a:lnTo>
                    <a:lnTo>
                      <a:pt x="112" y="50"/>
                    </a:lnTo>
                    <a:lnTo>
                      <a:pt x="112" y="51"/>
                    </a:lnTo>
                    <a:lnTo>
                      <a:pt x="112" y="53"/>
                    </a:lnTo>
                    <a:lnTo>
                      <a:pt x="113" y="53"/>
                    </a:lnTo>
                    <a:lnTo>
                      <a:pt x="115" y="53"/>
                    </a:lnTo>
                    <a:lnTo>
                      <a:pt x="115" y="55"/>
                    </a:lnTo>
                    <a:lnTo>
                      <a:pt x="115" y="57"/>
                    </a:lnTo>
                    <a:lnTo>
                      <a:pt x="117" y="55"/>
                    </a:lnTo>
                    <a:lnTo>
                      <a:pt x="117" y="57"/>
                    </a:lnTo>
                    <a:lnTo>
                      <a:pt x="117" y="59"/>
                    </a:lnTo>
                    <a:lnTo>
                      <a:pt x="119" y="59"/>
                    </a:lnTo>
                    <a:lnTo>
                      <a:pt x="119" y="61"/>
                    </a:lnTo>
                    <a:lnTo>
                      <a:pt x="117" y="61"/>
                    </a:lnTo>
                    <a:lnTo>
                      <a:pt x="117" y="63"/>
                    </a:lnTo>
                    <a:lnTo>
                      <a:pt x="119" y="63"/>
                    </a:lnTo>
                    <a:lnTo>
                      <a:pt x="119" y="65"/>
                    </a:lnTo>
                    <a:lnTo>
                      <a:pt x="121" y="65"/>
                    </a:lnTo>
                    <a:lnTo>
                      <a:pt x="121" y="67"/>
                    </a:lnTo>
                    <a:lnTo>
                      <a:pt x="119" y="67"/>
                    </a:lnTo>
                    <a:lnTo>
                      <a:pt x="119" y="69"/>
                    </a:lnTo>
                    <a:lnTo>
                      <a:pt x="119" y="71"/>
                    </a:lnTo>
                    <a:lnTo>
                      <a:pt x="121" y="73"/>
                    </a:lnTo>
                    <a:lnTo>
                      <a:pt x="123" y="71"/>
                    </a:lnTo>
                    <a:lnTo>
                      <a:pt x="125" y="69"/>
                    </a:lnTo>
                    <a:lnTo>
                      <a:pt x="127" y="69"/>
                    </a:lnTo>
                    <a:lnTo>
                      <a:pt x="127" y="71"/>
                    </a:lnTo>
                    <a:lnTo>
                      <a:pt x="129" y="73"/>
                    </a:lnTo>
                    <a:lnTo>
                      <a:pt x="129" y="75"/>
                    </a:lnTo>
                    <a:lnTo>
                      <a:pt x="131" y="75"/>
                    </a:lnTo>
                    <a:lnTo>
                      <a:pt x="133" y="75"/>
                    </a:lnTo>
                    <a:lnTo>
                      <a:pt x="133" y="73"/>
                    </a:lnTo>
                    <a:lnTo>
                      <a:pt x="135" y="7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57">
                <a:extLst>
                  <a:ext uri="{FF2B5EF4-FFF2-40B4-BE49-F238E27FC236}">
                    <a16:creationId xmlns="" xmlns:a16="http://schemas.microsoft.com/office/drawing/2014/main" id="{21AA4C76-2785-467E-AF7C-B1C5C5D07C9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17688" y="2759076"/>
                <a:ext cx="442913" cy="344488"/>
              </a:xfrm>
              <a:custGeom>
                <a:avLst/>
                <a:gdLst>
                  <a:gd name="T0" fmla="*/ 140 w 279"/>
                  <a:gd name="T1" fmla="*/ 19 h 217"/>
                  <a:gd name="T2" fmla="*/ 208 w 279"/>
                  <a:gd name="T3" fmla="*/ 94 h 217"/>
                  <a:gd name="T4" fmla="*/ 229 w 279"/>
                  <a:gd name="T5" fmla="*/ 98 h 217"/>
                  <a:gd name="T6" fmla="*/ 225 w 279"/>
                  <a:gd name="T7" fmla="*/ 84 h 217"/>
                  <a:gd name="T8" fmla="*/ 248 w 279"/>
                  <a:gd name="T9" fmla="*/ 94 h 217"/>
                  <a:gd name="T10" fmla="*/ 265 w 279"/>
                  <a:gd name="T11" fmla="*/ 102 h 217"/>
                  <a:gd name="T12" fmla="*/ 271 w 279"/>
                  <a:gd name="T13" fmla="*/ 115 h 217"/>
                  <a:gd name="T14" fmla="*/ 254 w 279"/>
                  <a:gd name="T15" fmla="*/ 130 h 217"/>
                  <a:gd name="T16" fmla="*/ 234 w 279"/>
                  <a:gd name="T17" fmla="*/ 159 h 217"/>
                  <a:gd name="T18" fmla="*/ 225 w 279"/>
                  <a:gd name="T19" fmla="*/ 177 h 217"/>
                  <a:gd name="T20" fmla="*/ 219 w 279"/>
                  <a:gd name="T21" fmla="*/ 203 h 217"/>
                  <a:gd name="T22" fmla="*/ 208 w 279"/>
                  <a:gd name="T23" fmla="*/ 209 h 217"/>
                  <a:gd name="T24" fmla="*/ 192 w 279"/>
                  <a:gd name="T25" fmla="*/ 213 h 217"/>
                  <a:gd name="T26" fmla="*/ 175 w 279"/>
                  <a:gd name="T27" fmla="*/ 211 h 217"/>
                  <a:gd name="T28" fmla="*/ 161 w 279"/>
                  <a:gd name="T29" fmla="*/ 198 h 217"/>
                  <a:gd name="T30" fmla="*/ 160 w 279"/>
                  <a:gd name="T31" fmla="*/ 182 h 217"/>
                  <a:gd name="T32" fmla="*/ 148 w 279"/>
                  <a:gd name="T33" fmla="*/ 171 h 217"/>
                  <a:gd name="T34" fmla="*/ 129 w 279"/>
                  <a:gd name="T35" fmla="*/ 177 h 217"/>
                  <a:gd name="T36" fmla="*/ 121 w 279"/>
                  <a:gd name="T37" fmla="*/ 173 h 217"/>
                  <a:gd name="T38" fmla="*/ 123 w 279"/>
                  <a:gd name="T39" fmla="*/ 159 h 217"/>
                  <a:gd name="T40" fmla="*/ 121 w 279"/>
                  <a:gd name="T41" fmla="*/ 152 h 217"/>
                  <a:gd name="T42" fmla="*/ 112 w 279"/>
                  <a:gd name="T43" fmla="*/ 148 h 217"/>
                  <a:gd name="T44" fmla="*/ 100 w 279"/>
                  <a:gd name="T45" fmla="*/ 153 h 217"/>
                  <a:gd name="T46" fmla="*/ 87 w 279"/>
                  <a:gd name="T47" fmla="*/ 153 h 217"/>
                  <a:gd name="T48" fmla="*/ 69 w 279"/>
                  <a:gd name="T49" fmla="*/ 155 h 217"/>
                  <a:gd name="T50" fmla="*/ 54 w 279"/>
                  <a:gd name="T51" fmla="*/ 155 h 217"/>
                  <a:gd name="T52" fmla="*/ 40 w 279"/>
                  <a:gd name="T53" fmla="*/ 163 h 217"/>
                  <a:gd name="T54" fmla="*/ 29 w 279"/>
                  <a:gd name="T55" fmla="*/ 163 h 217"/>
                  <a:gd name="T56" fmla="*/ 27 w 279"/>
                  <a:gd name="T57" fmla="*/ 150 h 217"/>
                  <a:gd name="T58" fmla="*/ 21 w 279"/>
                  <a:gd name="T59" fmla="*/ 140 h 217"/>
                  <a:gd name="T60" fmla="*/ 21 w 279"/>
                  <a:gd name="T61" fmla="*/ 130 h 217"/>
                  <a:gd name="T62" fmla="*/ 17 w 279"/>
                  <a:gd name="T63" fmla="*/ 117 h 217"/>
                  <a:gd name="T64" fmla="*/ 8 w 279"/>
                  <a:gd name="T65" fmla="*/ 107 h 217"/>
                  <a:gd name="T66" fmla="*/ 2 w 279"/>
                  <a:gd name="T67" fmla="*/ 92 h 217"/>
                  <a:gd name="T68" fmla="*/ 23 w 279"/>
                  <a:gd name="T69" fmla="*/ 84 h 217"/>
                  <a:gd name="T70" fmla="*/ 37 w 279"/>
                  <a:gd name="T71" fmla="*/ 63 h 217"/>
                  <a:gd name="T72" fmla="*/ 42 w 279"/>
                  <a:gd name="T73" fmla="*/ 67 h 217"/>
                  <a:gd name="T74" fmla="*/ 44 w 279"/>
                  <a:gd name="T75" fmla="*/ 69 h 217"/>
                  <a:gd name="T76" fmla="*/ 62 w 279"/>
                  <a:gd name="T77" fmla="*/ 71 h 217"/>
                  <a:gd name="T78" fmla="*/ 75 w 279"/>
                  <a:gd name="T79" fmla="*/ 67 h 217"/>
                  <a:gd name="T80" fmla="*/ 87 w 279"/>
                  <a:gd name="T81" fmla="*/ 80 h 217"/>
                  <a:gd name="T82" fmla="*/ 87 w 279"/>
                  <a:gd name="T83" fmla="*/ 98 h 217"/>
                  <a:gd name="T84" fmla="*/ 92 w 279"/>
                  <a:gd name="T85" fmla="*/ 102 h 217"/>
                  <a:gd name="T86" fmla="*/ 94 w 279"/>
                  <a:gd name="T87" fmla="*/ 107 h 217"/>
                  <a:gd name="T88" fmla="*/ 104 w 279"/>
                  <a:gd name="T89" fmla="*/ 100 h 217"/>
                  <a:gd name="T90" fmla="*/ 108 w 279"/>
                  <a:gd name="T91" fmla="*/ 82 h 217"/>
                  <a:gd name="T92" fmla="*/ 100 w 279"/>
                  <a:gd name="T93" fmla="*/ 65 h 217"/>
                  <a:gd name="T94" fmla="*/ 83 w 279"/>
                  <a:gd name="T95" fmla="*/ 55 h 217"/>
                  <a:gd name="T96" fmla="*/ 83 w 279"/>
                  <a:gd name="T97" fmla="*/ 42 h 217"/>
                  <a:gd name="T98" fmla="*/ 83 w 279"/>
                  <a:gd name="T99" fmla="*/ 27 h 217"/>
                  <a:gd name="T100" fmla="*/ 88 w 279"/>
                  <a:gd name="T101" fmla="*/ 28 h 217"/>
                  <a:gd name="T102" fmla="*/ 94 w 279"/>
                  <a:gd name="T103" fmla="*/ 23 h 217"/>
                  <a:gd name="T104" fmla="*/ 98 w 279"/>
                  <a:gd name="T105" fmla="*/ 19 h 217"/>
                  <a:gd name="T106" fmla="*/ 90 w 279"/>
                  <a:gd name="T107" fmla="*/ 19 h 217"/>
                  <a:gd name="T108" fmla="*/ 83 w 279"/>
                  <a:gd name="T109" fmla="*/ 19 h 217"/>
                  <a:gd name="T110" fmla="*/ 75 w 279"/>
                  <a:gd name="T111" fmla="*/ 21 h 217"/>
                  <a:gd name="T112" fmla="*/ 69 w 279"/>
                  <a:gd name="T113" fmla="*/ 15 h 217"/>
                  <a:gd name="T114" fmla="*/ 81 w 279"/>
                  <a:gd name="T115" fmla="*/ 9 h 217"/>
                  <a:gd name="T116" fmla="*/ 110 w 279"/>
                  <a:gd name="T117" fmla="*/ 4 h 217"/>
                  <a:gd name="T118" fmla="*/ 135 w 279"/>
                  <a:gd name="T119" fmla="*/ 4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79" h="217">
                    <a:moveTo>
                      <a:pt x="63" y="15"/>
                    </a:moveTo>
                    <a:lnTo>
                      <a:pt x="63" y="17"/>
                    </a:lnTo>
                    <a:lnTo>
                      <a:pt x="63" y="15"/>
                    </a:lnTo>
                    <a:lnTo>
                      <a:pt x="63" y="17"/>
                    </a:lnTo>
                    <a:lnTo>
                      <a:pt x="63" y="15"/>
                    </a:lnTo>
                    <a:close/>
                    <a:moveTo>
                      <a:pt x="135" y="5"/>
                    </a:moveTo>
                    <a:lnTo>
                      <a:pt x="136" y="7"/>
                    </a:lnTo>
                    <a:lnTo>
                      <a:pt x="136" y="9"/>
                    </a:lnTo>
                    <a:lnTo>
                      <a:pt x="136" y="11"/>
                    </a:lnTo>
                    <a:lnTo>
                      <a:pt x="135" y="11"/>
                    </a:lnTo>
                    <a:lnTo>
                      <a:pt x="135" y="13"/>
                    </a:lnTo>
                    <a:lnTo>
                      <a:pt x="136" y="11"/>
                    </a:lnTo>
                    <a:lnTo>
                      <a:pt x="136" y="13"/>
                    </a:lnTo>
                    <a:lnTo>
                      <a:pt x="138" y="15"/>
                    </a:lnTo>
                    <a:lnTo>
                      <a:pt x="140" y="17"/>
                    </a:lnTo>
                    <a:lnTo>
                      <a:pt x="140" y="19"/>
                    </a:lnTo>
                    <a:lnTo>
                      <a:pt x="142" y="19"/>
                    </a:lnTo>
                    <a:lnTo>
                      <a:pt x="156" y="28"/>
                    </a:lnTo>
                    <a:lnTo>
                      <a:pt x="194" y="98"/>
                    </a:lnTo>
                    <a:lnTo>
                      <a:pt x="194" y="96"/>
                    </a:lnTo>
                    <a:lnTo>
                      <a:pt x="196" y="98"/>
                    </a:lnTo>
                    <a:lnTo>
                      <a:pt x="198" y="98"/>
                    </a:lnTo>
                    <a:lnTo>
                      <a:pt x="198" y="100"/>
                    </a:lnTo>
                    <a:lnTo>
                      <a:pt x="200" y="100"/>
                    </a:lnTo>
                    <a:lnTo>
                      <a:pt x="202" y="100"/>
                    </a:lnTo>
                    <a:lnTo>
                      <a:pt x="202" y="98"/>
                    </a:lnTo>
                    <a:lnTo>
                      <a:pt x="204" y="98"/>
                    </a:lnTo>
                    <a:lnTo>
                      <a:pt x="206" y="98"/>
                    </a:lnTo>
                    <a:lnTo>
                      <a:pt x="206" y="96"/>
                    </a:lnTo>
                    <a:lnTo>
                      <a:pt x="208" y="94"/>
                    </a:lnTo>
                    <a:lnTo>
                      <a:pt x="208" y="96"/>
                    </a:lnTo>
                    <a:lnTo>
                      <a:pt x="208" y="94"/>
                    </a:lnTo>
                    <a:lnTo>
                      <a:pt x="209" y="94"/>
                    </a:lnTo>
                    <a:lnTo>
                      <a:pt x="211" y="94"/>
                    </a:lnTo>
                    <a:lnTo>
                      <a:pt x="213" y="94"/>
                    </a:lnTo>
                    <a:lnTo>
                      <a:pt x="215" y="94"/>
                    </a:lnTo>
                    <a:lnTo>
                      <a:pt x="217" y="94"/>
                    </a:lnTo>
                    <a:lnTo>
                      <a:pt x="217" y="92"/>
                    </a:lnTo>
                    <a:lnTo>
                      <a:pt x="217" y="90"/>
                    </a:lnTo>
                    <a:lnTo>
                      <a:pt x="219" y="90"/>
                    </a:lnTo>
                    <a:lnTo>
                      <a:pt x="221" y="92"/>
                    </a:lnTo>
                    <a:lnTo>
                      <a:pt x="221" y="94"/>
                    </a:lnTo>
                    <a:lnTo>
                      <a:pt x="221" y="96"/>
                    </a:lnTo>
                    <a:lnTo>
                      <a:pt x="223" y="98"/>
                    </a:lnTo>
                    <a:lnTo>
                      <a:pt x="225" y="100"/>
                    </a:lnTo>
                    <a:lnTo>
                      <a:pt x="227" y="100"/>
                    </a:lnTo>
                    <a:lnTo>
                      <a:pt x="227" y="98"/>
                    </a:lnTo>
                    <a:lnTo>
                      <a:pt x="229" y="98"/>
                    </a:lnTo>
                    <a:lnTo>
                      <a:pt x="231" y="98"/>
                    </a:lnTo>
                    <a:lnTo>
                      <a:pt x="231" y="96"/>
                    </a:lnTo>
                    <a:lnTo>
                      <a:pt x="233" y="96"/>
                    </a:lnTo>
                    <a:lnTo>
                      <a:pt x="233" y="94"/>
                    </a:lnTo>
                    <a:lnTo>
                      <a:pt x="233" y="96"/>
                    </a:lnTo>
                    <a:lnTo>
                      <a:pt x="233" y="94"/>
                    </a:lnTo>
                    <a:lnTo>
                      <a:pt x="234" y="92"/>
                    </a:lnTo>
                    <a:lnTo>
                      <a:pt x="233" y="92"/>
                    </a:lnTo>
                    <a:lnTo>
                      <a:pt x="231" y="90"/>
                    </a:lnTo>
                    <a:lnTo>
                      <a:pt x="231" y="88"/>
                    </a:lnTo>
                    <a:lnTo>
                      <a:pt x="229" y="88"/>
                    </a:lnTo>
                    <a:lnTo>
                      <a:pt x="227" y="90"/>
                    </a:lnTo>
                    <a:lnTo>
                      <a:pt x="225" y="90"/>
                    </a:lnTo>
                    <a:lnTo>
                      <a:pt x="225" y="88"/>
                    </a:lnTo>
                    <a:lnTo>
                      <a:pt x="225" y="86"/>
                    </a:lnTo>
                    <a:lnTo>
                      <a:pt x="225" y="84"/>
                    </a:lnTo>
                    <a:lnTo>
                      <a:pt x="225" y="82"/>
                    </a:lnTo>
                    <a:lnTo>
                      <a:pt x="227" y="82"/>
                    </a:lnTo>
                    <a:lnTo>
                      <a:pt x="229" y="82"/>
                    </a:lnTo>
                    <a:lnTo>
                      <a:pt x="229" y="80"/>
                    </a:lnTo>
                    <a:lnTo>
                      <a:pt x="231" y="80"/>
                    </a:lnTo>
                    <a:lnTo>
                      <a:pt x="231" y="82"/>
                    </a:lnTo>
                    <a:lnTo>
                      <a:pt x="233" y="82"/>
                    </a:lnTo>
                    <a:lnTo>
                      <a:pt x="234" y="82"/>
                    </a:lnTo>
                    <a:lnTo>
                      <a:pt x="234" y="84"/>
                    </a:lnTo>
                    <a:lnTo>
                      <a:pt x="238" y="84"/>
                    </a:lnTo>
                    <a:lnTo>
                      <a:pt x="238" y="86"/>
                    </a:lnTo>
                    <a:lnTo>
                      <a:pt x="240" y="86"/>
                    </a:lnTo>
                    <a:lnTo>
                      <a:pt x="246" y="90"/>
                    </a:lnTo>
                    <a:lnTo>
                      <a:pt x="246" y="92"/>
                    </a:lnTo>
                    <a:lnTo>
                      <a:pt x="248" y="92"/>
                    </a:lnTo>
                    <a:lnTo>
                      <a:pt x="248" y="94"/>
                    </a:lnTo>
                    <a:lnTo>
                      <a:pt x="248" y="96"/>
                    </a:lnTo>
                    <a:lnTo>
                      <a:pt x="248" y="98"/>
                    </a:lnTo>
                    <a:lnTo>
                      <a:pt x="248" y="100"/>
                    </a:lnTo>
                    <a:lnTo>
                      <a:pt x="250" y="100"/>
                    </a:lnTo>
                    <a:lnTo>
                      <a:pt x="250" y="98"/>
                    </a:lnTo>
                    <a:lnTo>
                      <a:pt x="252" y="98"/>
                    </a:lnTo>
                    <a:lnTo>
                      <a:pt x="252" y="96"/>
                    </a:lnTo>
                    <a:lnTo>
                      <a:pt x="254" y="96"/>
                    </a:lnTo>
                    <a:lnTo>
                      <a:pt x="256" y="96"/>
                    </a:lnTo>
                    <a:lnTo>
                      <a:pt x="256" y="94"/>
                    </a:lnTo>
                    <a:lnTo>
                      <a:pt x="258" y="96"/>
                    </a:lnTo>
                    <a:lnTo>
                      <a:pt x="259" y="96"/>
                    </a:lnTo>
                    <a:lnTo>
                      <a:pt x="261" y="96"/>
                    </a:lnTo>
                    <a:lnTo>
                      <a:pt x="261" y="98"/>
                    </a:lnTo>
                    <a:lnTo>
                      <a:pt x="263" y="100"/>
                    </a:lnTo>
                    <a:lnTo>
                      <a:pt x="265" y="102"/>
                    </a:lnTo>
                    <a:lnTo>
                      <a:pt x="267" y="103"/>
                    </a:lnTo>
                    <a:lnTo>
                      <a:pt x="267" y="105"/>
                    </a:lnTo>
                    <a:lnTo>
                      <a:pt x="269" y="105"/>
                    </a:lnTo>
                    <a:lnTo>
                      <a:pt x="269" y="107"/>
                    </a:lnTo>
                    <a:lnTo>
                      <a:pt x="271" y="105"/>
                    </a:lnTo>
                    <a:lnTo>
                      <a:pt x="271" y="107"/>
                    </a:lnTo>
                    <a:lnTo>
                      <a:pt x="273" y="107"/>
                    </a:lnTo>
                    <a:lnTo>
                      <a:pt x="275" y="107"/>
                    </a:lnTo>
                    <a:lnTo>
                      <a:pt x="275" y="109"/>
                    </a:lnTo>
                    <a:lnTo>
                      <a:pt x="275" y="111"/>
                    </a:lnTo>
                    <a:lnTo>
                      <a:pt x="273" y="111"/>
                    </a:lnTo>
                    <a:lnTo>
                      <a:pt x="271" y="111"/>
                    </a:lnTo>
                    <a:lnTo>
                      <a:pt x="271" y="113"/>
                    </a:lnTo>
                    <a:lnTo>
                      <a:pt x="271" y="115"/>
                    </a:lnTo>
                    <a:lnTo>
                      <a:pt x="271" y="117"/>
                    </a:lnTo>
                    <a:lnTo>
                      <a:pt x="271" y="115"/>
                    </a:lnTo>
                    <a:lnTo>
                      <a:pt x="273" y="115"/>
                    </a:lnTo>
                    <a:lnTo>
                      <a:pt x="273" y="117"/>
                    </a:lnTo>
                    <a:lnTo>
                      <a:pt x="275" y="117"/>
                    </a:lnTo>
                    <a:lnTo>
                      <a:pt x="275" y="115"/>
                    </a:lnTo>
                    <a:lnTo>
                      <a:pt x="277" y="117"/>
                    </a:lnTo>
                    <a:lnTo>
                      <a:pt x="279" y="121"/>
                    </a:lnTo>
                    <a:lnTo>
                      <a:pt x="267" y="130"/>
                    </a:lnTo>
                    <a:lnTo>
                      <a:pt x="265" y="130"/>
                    </a:lnTo>
                    <a:lnTo>
                      <a:pt x="265" y="132"/>
                    </a:lnTo>
                    <a:lnTo>
                      <a:pt x="263" y="132"/>
                    </a:lnTo>
                    <a:lnTo>
                      <a:pt x="261" y="132"/>
                    </a:lnTo>
                    <a:lnTo>
                      <a:pt x="259" y="132"/>
                    </a:lnTo>
                    <a:lnTo>
                      <a:pt x="259" y="130"/>
                    </a:lnTo>
                    <a:lnTo>
                      <a:pt x="258" y="130"/>
                    </a:lnTo>
                    <a:lnTo>
                      <a:pt x="256" y="130"/>
                    </a:lnTo>
                    <a:lnTo>
                      <a:pt x="254" y="130"/>
                    </a:lnTo>
                    <a:lnTo>
                      <a:pt x="254" y="132"/>
                    </a:lnTo>
                    <a:lnTo>
                      <a:pt x="252" y="132"/>
                    </a:lnTo>
                    <a:lnTo>
                      <a:pt x="252" y="134"/>
                    </a:lnTo>
                    <a:lnTo>
                      <a:pt x="252" y="136"/>
                    </a:lnTo>
                    <a:lnTo>
                      <a:pt x="250" y="136"/>
                    </a:lnTo>
                    <a:lnTo>
                      <a:pt x="250" y="138"/>
                    </a:lnTo>
                    <a:lnTo>
                      <a:pt x="250" y="140"/>
                    </a:lnTo>
                    <a:lnTo>
                      <a:pt x="250" y="142"/>
                    </a:lnTo>
                    <a:lnTo>
                      <a:pt x="248" y="142"/>
                    </a:lnTo>
                    <a:lnTo>
                      <a:pt x="248" y="144"/>
                    </a:lnTo>
                    <a:lnTo>
                      <a:pt x="240" y="155"/>
                    </a:lnTo>
                    <a:lnTo>
                      <a:pt x="238" y="155"/>
                    </a:lnTo>
                    <a:lnTo>
                      <a:pt x="238" y="157"/>
                    </a:lnTo>
                    <a:lnTo>
                      <a:pt x="236" y="157"/>
                    </a:lnTo>
                    <a:lnTo>
                      <a:pt x="236" y="159"/>
                    </a:lnTo>
                    <a:lnTo>
                      <a:pt x="234" y="159"/>
                    </a:lnTo>
                    <a:lnTo>
                      <a:pt x="233" y="159"/>
                    </a:lnTo>
                    <a:lnTo>
                      <a:pt x="233" y="161"/>
                    </a:lnTo>
                    <a:lnTo>
                      <a:pt x="231" y="161"/>
                    </a:lnTo>
                    <a:lnTo>
                      <a:pt x="231" y="163"/>
                    </a:lnTo>
                    <a:lnTo>
                      <a:pt x="231" y="165"/>
                    </a:lnTo>
                    <a:lnTo>
                      <a:pt x="229" y="165"/>
                    </a:lnTo>
                    <a:lnTo>
                      <a:pt x="227" y="167"/>
                    </a:lnTo>
                    <a:lnTo>
                      <a:pt x="227" y="169"/>
                    </a:lnTo>
                    <a:lnTo>
                      <a:pt x="227" y="171"/>
                    </a:lnTo>
                    <a:lnTo>
                      <a:pt x="225" y="171"/>
                    </a:lnTo>
                    <a:lnTo>
                      <a:pt x="223" y="171"/>
                    </a:lnTo>
                    <a:lnTo>
                      <a:pt x="223" y="173"/>
                    </a:lnTo>
                    <a:lnTo>
                      <a:pt x="221" y="173"/>
                    </a:lnTo>
                    <a:lnTo>
                      <a:pt x="223" y="175"/>
                    </a:lnTo>
                    <a:lnTo>
                      <a:pt x="225" y="175"/>
                    </a:lnTo>
                    <a:lnTo>
                      <a:pt x="225" y="177"/>
                    </a:lnTo>
                    <a:lnTo>
                      <a:pt x="225" y="178"/>
                    </a:lnTo>
                    <a:lnTo>
                      <a:pt x="227" y="178"/>
                    </a:lnTo>
                    <a:lnTo>
                      <a:pt x="229" y="180"/>
                    </a:lnTo>
                    <a:lnTo>
                      <a:pt x="227" y="184"/>
                    </a:lnTo>
                    <a:lnTo>
                      <a:pt x="227" y="182"/>
                    </a:lnTo>
                    <a:lnTo>
                      <a:pt x="225" y="182"/>
                    </a:lnTo>
                    <a:lnTo>
                      <a:pt x="223" y="184"/>
                    </a:lnTo>
                    <a:lnTo>
                      <a:pt x="217" y="192"/>
                    </a:lnTo>
                    <a:lnTo>
                      <a:pt x="217" y="194"/>
                    </a:lnTo>
                    <a:lnTo>
                      <a:pt x="219" y="196"/>
                    </a:lnTo>
                    <a:lnTo>
                      <a:pt x="221" y="196"/>
                    </a:lnTo>
                    <a:lnTo>
                      <a:pt x="221" y="198"/>
                    </a:lnTo>
                    <a:lnTo>
                      <a:pt x="223" y="198"/>
                    </a:lnTo>
                    <a:lnTo>
                      <a:pt x="221" y="198"/>
                    </a:lnTo>
                    <a:lnTo>
                      <a:pt x="221" y="200"/>
                    </a:lnTo>
                    <a:lnTo>
                      <a:pt x="219" y="203"/>
                    </a:lnTo>
                    <a:lnTo>
                      <a:pt x="217" y="200"/>
                    </a:lnTo>
                    <a:lnTo>
                      <a:pt x="215" y="202"/>
                    </a:lnTo>
                    <a:lnTo>
                      <a:pt x="213" y="203"/>
                    </a:lnTo>
                    <a:lnTo>
                      <a:pt x="213" y="205"/>
                    </a:lnTo>
                    <a:lnTo>
                      <a:pt x="211" y="205"/>
                    </a:lnTo>
                    <a:lnTo>
                      <a:pt x="211" y="203"/>
                    </a:lnTo>
                    <a:lnTo>
                      <a:pt x="211" y="205"/>
                    </a:lnTo>
                    <a:lnTo>
                      <a:pt x="211" y="207"/>
                    </a:lnTo>
                    <a:lnTo>
                      <a:pt x="208" y="203"/>
                    </a:lnTo>
                    <a:lnTo>
                      <a:pt x="206" y="203"/>
                    </a:lnTo>
                    <a:lnTo>
                      <a:pt x="206" y="205"/>
                    </a:lnTo>
                    <a:lnTo>
                      <a:pt x="208" y="205"/>
                    </a:lnTo>
                    <a:lnTo>
                      <a:pt x="208" y="209"/>
                    </a:lnTo>
                    <a:lnTo>
                      <a:pt x="206" y="209"/>
                    </a:lnTo>
                    <a:lnTo>
                      <a:pt x="206" y="211"/>
                    </a:lnTo>
                    <a:lnTo>
                      <a:pt x="208" y="209"/>
                    </a:lnTo>
                    <a:lnTo>
                      <a:pt x="208" y="211"/>
                    </a:lnTo>
                    <a:lnTo>
                      <a:pt x="206" y="211"/>
                    </a:lnTo>
                    <a:lnTo>
                      <a:pt x="208" y="211"/>
                    </a:lnTo>
                    <a:lnTo>
                      <a:pt x="206" y="211"/>
                    </a:lnTo>
                    <a:lnTo>
                      <a:pt x="204" y="211"/>
                    </a:lnTo>
                    <a:lnTo>
                      <a:pt x="202" y="211"/>
                    </a:lnTo>
                    <a:lnTo>
                      <a:pt x="200" y="211"/>
                    </a:lnTo>
                    <a:lnTo>
                      <a:pt x="200" y="213"/>
                    </a:lnTo>
                    <a:lnTo>
                      <a:pt x="200" y="215"/>
                    </a:lnTo>
                    <a:lnTo>
                      <a:pt x="202" y="215"/>
                    </a:lnTo>
                    <a:lnTo>
                      <a:pt x="200" y="215"/>
                    </a:lnTo>
                    <a:lnTo>
                      <a:pt x="198" y="215"/>
                    </a:lnTo>
                    <a:lnTo>
                      <a:pt x="196" y="213"/>
                    </a:lnTo>
                    <a:lnTo>
                      <a:pt x="194" y="215"/>
                    </a:lnTo>
                    <a:lnTo>
                      <a:pt x="192" y="215"/>
                    </a:lnTo>
                    <a:lnTo>
                      <a:pt x="192" y="213"/>
                    </a:lnTo>
                    <a:lnTo>
                      <a:pt x="190" y="213"/>
                    </a:lnTo>
                    <a:lnTo>
                      <a:pt x="188" y="213"/>
                    </a:lnTo>
                    <a:lnTo>
                      <a:pt x="186" y="213"/>
                    </a:lnTo>
                    <a:lnTo>
                      <a:pt x="185" y="213"/>
                    </a:lnTo>
                    <a:lnTo>
                      <a:pt x="185" y="211"/>
                    </a:lnTo>
                    <a:lnTo>
                      <a:pt x="185" y="213"/>
                    </a:lnTo>
                    <a:lnTo>
                      <a:pt x="183" y="213"/>
                    </a:lnTo>
                    <a:lnTo>
                      <a:pt x="181" y="215"/>
                    </a:lnTo>
                    <a:lnTo>
                      <a:pt x="181" y="217"/>
                    </a:lnTo>
                    <a:lnTo>
                      <a:pt x="181" y="215"/>
                    </a:lnTo>
                    <a:lnTo>
                      <a:pt x="179" y="215"/>
                    </a:lnTo>
                    <a:lnTo>
                      <a:pt x="177" y="217"/>
                    </a:lnTo>
                    <a:lnTo>
                      <a:pt x="177" y="215"/>
                    </a:lnTo>
                    <a:lnTo>
                      <a:pt x="177" y="213"/>
                    </a:lnTo>
                    <a:lnTo>
                      <a:pt x="175" y="213"/>
                    </a:lnTo>
                    <a:lnTo>
                      <a:pt x="175" y="211"/>
                    </a:lnTo>
                    <a:lnTo>
                      <a:pt x="173" y="211"/>
                    </a:lnTo>
                    <a:lnTo>
                      <a:pt x="173" y="209"/>
                    </a:lnTo>
                    <a:lnTo>
                      <a:pt x="173" y="207"/>
                    </a:lnTo>
                    <a:lnTo>
                      <a:pt x="171" y="207"/>
                    </a:lnTo>
                    <a:lnTo>
                      <a:pt x="171" y="205"/>
                    </a:lnTo>
                    <a:lnTo>
                      <a:pt x="169" y="205"/>
                    </a:lnTo>
                    <a:lnTo>
                      <a:pt x="169" y="203"/>
                    </a:lnTo>
                    <a:lnTo>
                      <a:pt x="169" y="202"/>
                    </a:lnTo>
                    <a:lnTo>
                      <a:pt x="167" y="202"/>
                    </a:lnTo>
                    <a:lnTo>
                      <a:pt x="165" y="202"/>
                    </a:lnTo>
                    <a:lnTo>
                      <a:pt x="163" y="202"/>
                    </a:lnTo>
                    <a:lnTo>
                      <a:pt x="163" y="203"/>
                    </a:lnTo>
                    <a:lnTo>
                      <a:pt x="163" y="202"/>
                    </a:lnTo>
                    <a:lnTo>
                      <a:pt x="161" y="202"/>
                    </a:lnTo>
                    <a:lnTo>
                      <a:pt x="161" y="200"/>
                    </a:lnTo>
                    <a:lnTo>
                      <a:pt x="161" y="198"/>
                    </a:lnTo>
                    <a:lnTo>
                      <a:pt x="161" y="196"/>
                    </a:lnTo>
                    <a:lnTo>
                      <a:pt x="161" y="194"/>
                    </a:lnTo>
                    <a:lnTo>
                      <a:pt x="163" y="194"/>
                    </a:lnTo>
                    <a:lnTo>
                      <a:pt x="161" y="194"/>
                    </a:lnTo>
                    <a:lnTo>
                      <a:pt x="160" y="196"/>
                    </a:lnTo>
                    <a:lnTo>
                      <a:pt x="158" y="194"/>
                    </a:lnTo>
                    <a:lnTo>
                      <a:pt x="158" y="192"/>
                    </a:lnTo>
                    <a:lnTo>
                      <a:pt x="160" y="192"/>
                    </a:lnTo>
                    <a:lnTo>
                      <a:pt x="160" y="190"/>
                    </a:lnTo>
                    <a:lnTo>
                      <a:pt x="160" y="188"/>
                    </a:lnTo>
                    <a:lnTo>
                      <a:pt x="160" y="186"/>
                    </a:lnTo>
                    <a:lnTo>
                      <a:pt x="158" y="186"/>
                    </a:lnTo>
                    <a:lnTo>
                      <a:pt x="160" y="184"/>
                    </a:lnTo>
                    <a:lnTo>
                      <a:pt x="158" y="184"/>
                    </a:lnTo>
                    <a:lnTo>
                      <a:pt x="158" y="182"/>
                    </a:lnTo>
                    <a:lnTo>
                      <a:pt x="160" y="182"/>
                    </a:lnTo>
                    <a:lnTo>
                      <a:pt x="160" y="180"/>
                    </a:lnTo>
                    <a:lnTo>
                      <a:pt x="158" y="178"/>
                    </a:lnTo>
                    <a:lnTo>
                      <a:pt x="158" y="180"/>
                    </a:lnTo>
                    <a:lnTo>
                      <a:pt x="158" y="178"/>
                    </a:lnTo>
                    <a:lnTo>
                      <a:pt x="156" y="178"/>
                    </a:lnTo>
                    <a:lnTo>
                      <a:pt x="154" y="177"/>
                    </a:lnTo>
                    <a:lnTo>
                      <a:pt x="152" y="177"/>
                    </a:lnTo>
                    <a:lnTo>
                      <a:pt x="150" y="178"/>
                    </a:lnTo>
                    <a:lnTo>
                      <a:pt x="148" y="178"/>
                    </a:lnTo>
                    <a:lnTo>
                      <a:pt x="148" y="177"/>
                    </a:lnTo>
                    <a:lnTo>
                      <a:pt x="150" y="177"/>
                    </a:lnTo>
                    <a:lnTo>
                      <a:pt x="150" y="175"/>
                    </a:lnTo>
                    <a:lnTo>
                      <a:pt x="148" y="173"/>
                    </a:lnTo>
                    <a:lnTo>
                      <a:pt x="148" y="171"/>
                    </a:lnTo>
                    <a:lnTo>
                      <a:pt x="146" y="171"/>
                    </a:lnTo>
                    <a:lnTo>
                      <a:pt x="148" y="171"/>
                    </a:lnTo>
                    <a:lnTo>
                      <a:pt x="148" y="169"/>
                    </a:lnTo>
                    <a:lnTo>
                      <a:pt x="146" y="167"/>
                    </a:lnTo>
                    <a:lnTo>
                      <a:pt x="144" y="169"/>
                    </a:lnTo>
                    <a:lnTo>
                      <a:pt x="142" y="169"/>
                    </a:lnTo>
                    <a:lnTo>
                      <a:pt x="142" y="171"/>
                    </a:lnTo>
                    <a:lnTo>
                      <a:pt x="140" y="169"/>
                    </a:lnTo>
                    <a:lnTo>
                      <a:pt x="138" y="169"/>
                    </a:lnTo>
                    <a:lnTo>
                      <a:pt x="136" y="169"/>
                    </a:lnTo>
                    <a:lnTo>
                      <a:pt x="136" y="171"/>
                    </a:lnTo>
                    <a:lnTo>
                      <a:pt x="135" y="171"/>
                    </a:lnTo>
                    <a:lnTo>
                      <a:pt x="133" y="171"/>
                    </a:lnTo>
                    <a:lnTo>
                      <a:pt x="133" y="173"/>
                    </a:lnTo>
                    <a:lnTo>
                      <a:pt x="133" y="175"/>
                    </a:lnTo>
                    <a:lnTo>
                      <a:pt x="131" y="175"/>
                    </a:lnTo>
                    <a:lnTo>
                      <a:pt x="131" y="177"/>
                    </a:lnTo>
                    <a:lnTo>
                      <a:pt x="129" y="177"/>
                    </a:lnTo>
                    <a:lnTo>
                      <a:pt x="127" y="177"/>
                    </a:lnTo>
                    <a:lnTo>
                      <a:pt x="125" y="177"/>
                    </a:lnTo>
                    <a:lnTo>
                      <a:pt x="125" y="178"/>
                    </a:lnTo>
                    <a:lnTo>
                      <a:pt x="125" y="177"/>
                    </a:lnTo>
                    <a:lnTo>
                      <a:pt x="125" y="178"/>
                    </a:lnTo>
                    <a:lnTo>
                      <a:pt x="123" y="177"/>
                    </a:lnTo>
                    <a:lnTo>
                      <a:pt x="125" y="175"/>
                    </a:lnTo>
                    <a:lnTo>
                      <a:pt x="121" y="175"/>
                    </a:lnTo>
                    <a:lnTo>
                      <a:pt x="119" y="175"/>
                    </a:lnTo>
                    <a:lnTo>
                      <a:pt x="121" y="175"/>
                    </a:lnTo>
                    <a:lnTo>
                      <a:pt x="119" y="175"/>
                    </a:lnTo>
                    <a:lnTo>
                      <a:pt x="119" y="173"/>
                    </a:lnTo>
                    <a:lnTo>
                      <a:pt x="121" y="173"/>
                    </a:lnTo>
                    <a:lnTo>
                      <a:pt x="119" y="173"/>
                    </a:lnTo>
                    <a:lnTo>
                      <a:pt x="121" y="171"/>
                    </a:lnTo>
                    <a:lnTo>
                      <a:pt x="121" y="173"/>
                    </a:lnTo>
                    <a:lnTo>
                      <a:pt x="123" y="173"/>
                    </a:lnTo>
                    <a:lnTo>
                      <a:pt x="121" y="171"/>
                    </a:lnTo>
                    <a:lnTo>
                      <a:pt x="121" y="169"/>
                    </a:lnTo>
                    <a:lnTo>
                      <a:pt x="119" y="169"/>
                    </a:lnTo>
                    <a:lnTo>
                      <a:pt x="119" y="167"/>
                    </a:lnTo>
                    <a:lnTo>
                      <a:pt x="121" y="167"/>
                    </a:lnTo>
                    <a:lnTo>
                      <a:pt x="119" y="167"/>
                    </a:lnTo>
                    <a:lnTo>
                      <a:pt x="121" y="165"/>
                    </a:lnTo>
                    <a:lnTo>
                      <a:pt x="123" y="165"/>
                    </a:lnTo>
                    <a:lnTo>
                      <a:pt x="121" y="165"/>
                    </a:lnTo>
                    <a:lnTo>
                      <a:pt x="121" y="163"/>
                    </a:lnTo>
                    <a:lnTo>
                      <a:pt x="123" y="163"/>
                    </a:lnTo>
                    <a:lnTo>
                      <a:pt x="123" y="161"/>
                    </a:lnTo>
                    <a:lnTo>
                      <a:pt x="121" y="161"/>
                    </a:lnTo>
                    <a:lnTo>
                      <a:pt x="121" y="159"/>
                    </a:lnTo>
                    <a:lnTo>
                      <a:pt x="123" y="159"/>
                    </a:lnTo>
                    <a:lnTo>
                      <a:pt x="125" y="159"/>
                    </a:lnTo>
                    <a:lnTo>
                      <a:pt x="123" y="159"/>
                    </a:lnTo>
                    <a:lnTo>
                      <a:pt x="121" y="159"/>
                    </a:lnTo>
                    <a:lnTo>
                      <a:pt x="123" y="159"/>
                    </a:lnTo>
                    <a:lnTo>
                      <a:pt x="123" y="157"/>
                    </a:lnTo>
                    <a:lnTo>
                      <a:pt x="125" y="157"/>
                    </a:lnTo>
                    <a:lnTo>
                      <a:pt x="123" y="157"/>
                    </a:lnTo>
                    <a:lnTo>
                      <a:pt x="123" y="159"/>
                    </a:lnTo>
                    <a:lnTo>
                      <a:pt x="121" y="157"/>
                    </a:lnTo>
                    <a:lnTo>
                      <a:pt x="123" y="157"/>
                    </a:lnTo>
                    <a:lnTo>
                      <a:pt x="123" y="155"/>
                    </a:lnTo>
                    <a:lnTo>
                      <a:pt x="123" y="153"/>
                    </a:lnTo>
                    <a:lnTo>
                      <a:pt x="121" y="153"/>
                    </a:lnTo>
                    <a:lnTo>
                      <a:pt x="123" y="153"/>
                    </a:lnTo>
                    <a:lnTo>
                      <a:pt x="123" y="152"/>
                    </a:lnTo>
                    <a:lnTo>
                      <a:pt x="121" y="152"/>
                    </a:lnTo>
                    <a:lnTo>
                      <a:pt x="121" y="150"/>
                    </a:lnTo>
                    <a:lnTo>
                      <a:pt x="121" y="148"/>
                    </a:lnTo>
                    <a:lnTo>
                      <a:pt x="119" y="148"/>
                    </a:lnTo>
                    <a:lnTo>
                      <a:pt x="119" y="150"/>
                    </a:lnTo>
                    <a:lnTo>
                      <a:pt x="117" y="150"/>
                    </a:lnTo>
                    <a:lnTo>
                      <a:pt x="115" y="150"/>
                    </a:lnTo>
                    <a:lnTo>
                      <a:pt x="115" y="148"/>
                    </a:lnTo>
                    <a:lnTo>
                      <a:pt x="113" y="150"/>
                    </a:lnTo>
                    <a:lnTo>
                      <a:pt x="113" y="152"/>
                    </a:lnTo>
                    <a:lnTo>
                      <a:pt x="112" y="152"/>
                    </a:lnTo>
                    <a:lnTo>
                      <a:pt x="112" y="150"/>
                    </a:lnTo>
                    <a:lnTo>
                      <a:pt x="113" y="150"/>
                    </a:lnTo>
                    <a:lnTo>
                      <a:pt x="112" y="150"/>
                    </a:lnTo>
                    <a:lnTo>
                      <a:pt x="112" y="148"/>
                    </a:lnTo>
                    <a:lnTo>
                      <a:pt x="112" y="150"/>
                    </a:lnTo>
                    <a:lnTo>
                      <a:pt x="112" y="148"/>
                    </a:lnTo>
                    <a:lnTo>
                      <a:pt x="112" y="146"/>
                    </a:lnTo>
                    <a:lnTo>
                      <a:pt x="110" y="146"/>
                    </a:lnTo>
                    <a:lnTo>
                      <a:pt x="110" y="144"/>
                    </a:lnTo>
                    <a:lnTo>
                      <a:pt x="108" y="144"/>
                    </a:lnTo>
                    <a:lnTo>
                      <a:pt x="108" y="146"/>
                    </a:lnTo>
                    <a:lnTo>
                      <a:pt x="106" y="146"/>
                    </a:lnTo>
                    <a:lnTo>
                      <a:pt x="106" y="148"/>
                    </a:lnTo>
                    <a:lnTo>
                      <a:pt x="104" y="148"/>
                    </a:lnTo>
                    <a:lnTo>
                      <a:pt x="104" y="150"/>
                    </a:lnTo>
                    <a:lnTo>
                      <a:pt x="104" y="152"/>
                    </a:lnTo>
                    <a:lnTo>
                      <a:pt x="102" y="153"/>
                    </a:lnTo>
                    <a:lnTo>
                      <a:pt x="102" y="152"/>
                    </a:lnTo>
                    <a:lnTo>
                      <a:pt x="100" y="152"/>
                    </a:lnTo>
                    <a:lnTo>
                      <a:pt x="102" y="152"/>
                    </a:lnTo>
                    <a:lnTo>
                      <a:pt x="100" y="152"/>
                    </a:lnTo>
                    <a:lnTo>
                      <a:pt x="100" y="153"/>
                    </a:lnTo>
                    <a:lnTo>
                      <a:pt x="98" y="153"/>
                    </a:lnTo>
                    <a:lnTo>
                      <a:pt x="98" y="155"/>
                    </a:lnTo>
                    <a:lnTo>
                      <a:pt x="96" y="155"/>
                    </a:lnTo>
                    <a:lnTo>
                      <a:pt x="96" y="157"/>
                    </a:lnTo>
                    <a:lnTo>
                      <a:pt x="94" y="157"/>
                    </a:lnTo>
                    <a:lnTo>
                      <a:pt x="92" y="157"/>
                    </a:lnTo>
                    <a:lnTo>
                      <a:pt x="90" y="157"/>
                    </a:lnTo>
                    <a:lnTo>
                      <a:pt x="92" y="157"/>
                    </a:lnTo>
                    <a:lnTo>
                      <a:pt x="90" y="157"/>
                    </a:lnTo>
                    <a:lnTo>
                      <a:pt x="90" y="159"/>
                    </a:lnTo>
                    <a:lnTo>
                      <a:pt x="90" y="157"/>
                    </a:lnTo>
                    <a:lnTo>
                      <a:pt x="88" y="157"/>
                    </a:lnTo>
                    <a:lnTo>
                      <a:pt x="88" y="159"/>
                    </a:lnTo>
                    <a:lnTo>
                      <a:pt x="87" y="157"/>
                    </a:lnTo>
                    <a:lnTo>
                      <a:pt x="87" y="155"/>
                    </a:lnTo>
                    <a:lnTo>
                      <a:pt x="87" y="153"/>
                    </a:lnTo>
                    <a:lnTo>
                      <a:pt x="87" y="152"/>
                    </a:lnTo>
                    <a:lnTo>
                      <a:pt x="87" y="150"/>
                    </a:lnTo>
                    <a:lnTo>
                      <a:pt x="85" y="152"/>
                    </a:lnTo>
                    <a:lnTo>
                      <a:pt x="85" y="150"/>
                    </a:lnTo>
                    <a:lnTo>
                      <a:pt x="83" y="152"/>
                    </a:lnTo>
                    <a:lnTo>
                      <a:pt x="81" y="152"/>
                    </a:lnTo>
                    <a:lnTo>
                      <a:pt x="81" y="153"/>
                    </a:lnTo>
                    <a:lnTo>
                      <a:pt x="79" y="153"/>
                    </a:lnTo>
                    <a:lnTo>
                      <a:pt x="77" y="153"/>
                    </a:lnTo>
                    <a:lnTo>
                      <a:pt x="79" y="153"/>
                    </a:lnTo>
                    <a:lnTo>
                      <a:pt x="77" y="155"/>
                    </a:lnTo>
                    <a:lnTo>
                      <a:pt x="75" y="155"/>
                    </a:lnTo>
                    <a:lnTo>
                      <a:pt x="73" y="157"/>
                    </a:lnTo>
                    <a:lnTo>
                      <a:pt x="71" y="157"/>
                    </a:lnTo>
                    <a:lnTo>
                      <a:pt x="71" y="155"/>
                    </a:lnTo>
                    <a:lnTo>
                      <a:pt x="69" y="155"/>
                    </a:lnTo>
                    <a:lnTo>
                      <a:pt x="69" y="157"/>
                    </a:lnTo>
                    <a:lnTo>
                      <a:pt x="69" y="155"/>
                    </a:lnTo>
                    <a:lnTo>
                      <a:pt x="67" y="155"/>
                    </a:lnTo>
                    <a:lnTo>
                      <a:pt x="65" y="155"/>
                    </a:lnTo>
                    <a:lnTo>
                      <a:pt x="65" y="157"/>
                    </a:lnTo>
                    <a:lnTo>
                      <a:pt x="63" y="161"/>
                    </a:lnTo>
                    <a:lnTo>
                      <a:pt x="62" y="161"/>
                    </a:lnTo>
                    <a:lnTo>
                      <a:pt x="62" y="163"/>
                    </a:lnTo>
                    <a:lnTo>
                      <a:pt x="62" y="161"/>
                    </a:lnTo>
                    <a:lnTo>
                      <a:pt x="60" y="161"/>
                    </a:lnTo>
                    <a:lnTo>
                      <a:pt x="58" y="161"/>
                    </a:lnTo>
                    <a:lnTo>
                      <a:pt x="58" y="159"/>
                    </a:lnTo>
                    <a:lnTo>
                      <a:pt x="56" y="159"/>
                    </a:lnTo>
                    <a:lnTo>
                      <a:pt x="54" y="159"/>
                    </a:lnTo>
                    <a:lnTo>
                      <a:pt x="54" y="157"/>
                    </a:lnTo>
                    <a:lnTo>
                      <a:pt x="54" y="155"/>
                    </a:lnTo>
                    <a:lnTo>
                      <a:pt x="54" y="153"/>
                    </a:lnTo>
                    <a:lnTo>
                      <a:pt x="52" y="153"/>
                    </a:lnTo>
                    <a:lnTo>
                      <a:pt x="52" y="152"/>
                    </a:lnTo>
                    <a:lnTo>
                      <a:pt x="50" y="152"/>
                    </a:lnTo>
                    <a:lnTo>
                      <a:pt x="48" y="150"/>
                    </a:lnTo>
                    <a:lnTo>
                      <a:pt x="48" y="152"/>
                    </a:lnTo>
                    <a:lnTo>
                      <a:pt x="46" y="152"/>
                    </a:lnTo>
                    <a:lnTo>
                      <a:pt x="46" y="153"/>
                    </a:lnTo>
                    <a:lnTo>
                      <a:pt x="44" y="153"/>
                    </a:lnTo>
                    <a:lnTo>
                      <a:pt x="44" y="155"/>
                    </a:lnTo>
                    <a:lnTo>
                      <a:pt x="44" y="153"/>
                    </a:lnTo>
                    <a:lnTo>
                      <a:pt x="42" y="155"/>
                    </a:lnTo>
                    <a:lnTo>
                      <a:pt x="42" y="157"/>
                    </a:lnTo>
                    <a:lnTo>
                      <a:pt x="40" y="159"/>
                    </a:lnTo>
                    <a:lnTo>
                      <a:pt x="40" y="161"/>
                    </a:lnTo>
                    <a:lnTo>
                      <a:pt x="40" y="163"/>
                    </a:lnTo>
                    <a:lnTo>
                      <a:pt x="40" y="161"/>
                    </a:lnTo>
                    <a:lnTo>
                      <a:pt x="39" y="163"/>
                    </a:lnTo>
                    <a:lnTo>
                      <a:pt x="39" y="161"/>
                    </a:lnTo>
                    <a:lnTo>
                      <a:pt x="39" y="163"/>
                    </a:lnTo>
                    <a:lnTo>
                      <a:pt x="39" y="165"/>
                    </a:lnTo>
                    <a:lnTo>
                      <a:pt x="39" y="163"/>
                    </a:lnTo>
                    <a:lnTo>
                      <a:pt x="37" y="163"/>
                    </a:lnTo>
                    <a:lnTo>
                      <a:pt x="35" y="165"/>
                    </a:lnTo>
                    <a:lnTo>
                      <a:pt x="33" y="165"/>
                    </a:lnTo>
                    <a:lnTo>
                      <a:pt x="31" y="165"/>
                    </a:lnTo>
                    <a:lnTo>
                      <a:pt x="31" y="163"/>
                    </a:lnTo>
                    <a:lnTo>
                      <a:pt x="33" y="163"/>
                    </a:lnTo>
                    <a:lnTo>
                      <a:pt x="31" y="163"/>
                    </a:lnTo>
                    <a:lnTo>
                      <a:pt x="31" y="161"/>
                    </a:lnTo>
                    <a:lnTo>
                      <a:pt x="29" y="161"/>
                    </a:lnTo>
                    <a:lnTo>
                      <a:pt x="29" y="163"/>
                    </a:lnTo>
                    <a:lnTo>
                      <a:pt x="27" y="161"/>
                    </a:lnTo>
                    <a:lnTo>
                      <a:pt x="25" y="161"/>
                    </a:lnTo>
                    <a:lnTo>
                      <a:pt x="25" y="159"/>
                    </a:lnTo>
                    <a:lnTo>
                      <a:pt x="27" y="159"/>
                    </a:lnTo>
                    <a:lnTo>
                      <a:pt x="25" y="159"/>
                    </a:lnTo>
                    <a:lnTo>
                      <a:pt x="27" y="159"/>
                    </a:lnTo>
                    <a:lnTo>
                      <a:pt x="25" y="159"/>
                    </a:lnTo>
                    <a:lnTo>
                      <a:pt x="27" y="159"/>
                    </a:lnTo>
                    <a:lnTo>
                      <a:pt x="27" y="157"/>
                    </a:lnTo>
                    <a:lnTo>
                      <a:pt x="25" y="157"/>
                    </a:lnTo>
                    <a:lnTo>
                      <a:pt x="23" y="155"/>
                    </a:lnTo>
                    <a:lnTo>
                      <a:pt x="23" y="153"/>
                    </a:lnTo>
                    <a:lnTo>
                      <a:pt x="25" y="153"/>
                    </a:lnTo>
                    <a:lnTo>
                      <a:pt x="25" y="152"/>
                    </a:lnTo>
                    <a:lnTo>
                      <a:pt x="27" y="152"/>
                    </a:lnTo>
                    <a:lnTo>
                      <a:pt x="27" y="150"/>
                    </a:lnTo>
                    <a:lnTo>
                      <a:pt x="25" y="150"/>
                    </a:lnTo>
                    <a:lnTo>
                      <a:pt x="25" y="148"/>
                    </a:lnTo>
                    <a:lnTo>
                      <a:pt x="25" y="146"/>
                    </a:lnTo>
                    <a:lnTo>
                      <a:pt x="23" y="146"/>
                    </a:lnTo>
                    <a:lnTo>
                      <a:pt x="23" y="148"/>
                    </a:lnTo>
                    <a:lnTo>
                      <a:pt x="23" y="146"/>
                    </a:lnTo>
                    <a:lnTo>
                      <a:pt x="21" y="146"/>
                    </a:lnTo>
                    <a:lnTo>
                      <a:pt x="21" y="144"/>
                    </a:lnTo>
                    <a:lnTo>
                      <a:pt x="23" y="144"/>
                    </a:lnTo>
                    <a:lnTo>
                      <a:pt x="23" y="146"/>
                    </a:lnTo>
                    <a:lnTo>
                      <a:pt x="23" y="144"/>
                    </a:lnTo>
                    <a:lnTo>
                      <a:pt x="25" y="144"/>
                    </a:lnTo>
                    <a:lnTo>
                      <a:pt x="23" y="144"/>
                    </a:lnTo>
                    <a:lnTo>
                      <a:pt x="23" y="142"/>
                    </a:lnTo>
                    <a:lnTo>
                      <a:pt x="21" y="142"/>
                    </a:lnTo>
                    <a:lnTo>
                      <a:pt x="21" y="140"/>
                    </a:lnTo>
                    <a:lnTo>
                      <a:pt x="23" y="140"/>
                    </a:lnTo>
                    <a:lnTo>
                      <a:pt x="25" y="140"/>
                    </a:lnTo>
                    <a:lnTo>
                      <a:pt x="25" y="138"/>
                    </a:lnTo>
                    <a:lnTo>
                      <a:pt x="25" y="136"/>
                    </a:lnTo>
                    <a:lnTo>
                      <a:pt x="25" y="138"/>
                    </a:lnTo>
                    <a:lnTo>
                      <a:pt x="27" y="136"/>
                    </a:lnTo>
                    <a:lnTo>
                      <a:pt x="25" y="136"/>
                    </a:lnTo>
                    <a:lnTo>
                      <a:pt x="27" y="136"/>
                    </a:lnTo>
                    <a:lnTo>
                      <a:pt x="25" y="136"/>
                    </a:lnTo>
                    <a:lnTo>
                      <a:pt x="25" y="134"/>
                    </a:lnTo>
                    <a:lnTo>
                      <a:pt x="25" y="136"/>
                    </a:lnTo>
                    <a:lnTo>
                      <a:pt x="25" y="134"/>
                    </a:lnTo>
                    <a:lnTo>
                      <a:pt x="23" y="134"/>
                    </a:lnTo>
                    <a:lnTo>
                      <a:pt x="23" y="132"/>
                    </a:lnTo>
                    <a:lnTo>
                      <a:pt x="23" y="130"/>
                    </a:lnTo>
                    <a:lnTo>
                      <a:pt x="21" y="130"/>
                    </a:lnTo>
                    <a:lnTo>
                      <a:pt x="23" y="130"/>
                    </a:lnTo>
                    <a:lnTo>
                      <a:pt x="23" y="128"/>
                    </a:lnTo>
                    <a:lnTo>
                      <a:pt x="25" y="127"/>
                    </a:lnTo>
                    <a:lnTo>
                      <a:pt x="25" y="125"/>
                    </a:lnTo>
                    <a:lnTo>
                      <a:pt x="25" y="127"/>
                    </a:lnTo>
                    <a:lnTo>
                      <a:pt x="23" y="127"/>
                    </a:lnTo>
                    <a:lnTo>
                      <a:pt x="23" y="125"/>
                    </a:lnTo>
                    <a:lnTo>
                      <a:pt x="23" y="127"/>
                    </a:lnTo>
                    <a:lnTo>
                      <a:pt x="21" y="125"/>
                    </a:lnTo>
                    <a:lnTo>
                      <a:pt x="21" y="123"/>
                    </a:lnTo>
                    <a:lnTo>
                      <a:pt x="19" y="121"/>
                    </a:lnTo>
                    <a:lnTo>
                      <a:pt x="19" y="119"/>
                    </a:lnTo>
                    <a:lnTo>
                      <a:pt x="17" y="119"/>
                    </a:lnTo>
                    <a:lnTo>
                      <a:pt x="17" y="117"/>
                    </a:lnTo>
                    <a:lnTo>
                      <a:pt x="19" y="117"/>
                    </a:lnTo>
                    <a:lnTo>
                      <a:pt x="17" y="117"/>
                    </a:lnTo>
                    <a:lnTo>
                      <a:pt x="17" y="115"/>
                    </a:lnTo>
                    <a:lnTo>
                      <a:pt x="15" y="115"/>
                    </a:lnTo>
                    <a:lnTo>
                      <a:pt x="15" y="113"/>
                    </a:lnTo>
                    <a:lnTo>
                      <a:pt x="14" y="113"/>
                    </a:lnTo>
                    <a:lnTo>
                      <a:pt x="14" y="111"/>
                    </a:lnTo>
                    <a:lnTo>
                      <a:pt x="12" y="111"/>
                    </a:lnTo>
                    <a:lnTo>
                      <a:pt x="12" y="113"/>
                    </a:lnTo>
                    <a:lnTo>
                      <a:pt x="12" y="111"/>
                    </a:lnTo>
                    <a:lnTo>
                      <a:pt x="12" y="109"/>
                    </a:lnTo>
                    <a:lnTo>
                      <a:pt x="12" y="111"/>
                    </a:lnTo>
                    <a:lnTo>
                      <a:pt x="10" y="111"/>
                    </a:lnTo>
                    <a:lnTo>
                      <a:pt x="10" y="109"/>
                    </a:lnTo>
                    <a:lnTo>
                      <a:pt x="10" y="111"/>
                    </a:lnTo>
                    <a:lnTo>
                      <a:pt x="8" y="111"/>
                    </a:lnTo>
                    <a:lnTo>
                      <a:pt x="8" y="109"/>
                    </a:lnTo>
                    <a:lnTo>
                      <a:pt x="8" y="107"/>
                    </a:lnTo>
                    <a:lnTo>
                      <a:pt x="10" y="107"/>
                    </a:lnTo>
                    <a:lnTo>
                      <a:pt x="10" y="105"/>
                    </a:lnTo>
                    <a:lnTo>
                      <a:pt x="8" y="105"/>
                    </a:lnTo>
                    <a:lnTo>
                      <a:pt x="10" y="105"/>
                    </a:lnTo>
                    <a:lnTo>
                      <a:pt x="10" y="103"/>
                    </a:lnTo>
                    <a:lnTo>
                      <a:pt x="10" y="102"/>
                    </a:lnTo>
                    <a:lnTo>
                      <a:pt x="10" y="100"/>
                    </a:lnTo>
                    <a:lnTo>
                      <a:pt x="10" y="98"/>
                    </a:lnTo>
                    <a:lnTo>
                      <a:pt x="8" y="98"/>
                    </a:lnTo>
                    <a:lnTo>
                      <a:pt x="8" y="96"/>
                    </a:lnTo>
                    <a:lnTo>
                      <a:pt x="8" y="94"/>
                    </a:lnTo>
                    <a:lnTo>
                      <a:pt x="6" y="94"/>
                    </a:lnTo>
                    <a:lnTo>
                      <a:pt x="4" y="92"/>
                    </a:lnTo>
                    <a:lnTo>
                      <a:pt x="2" y="92"/>
                    </a:lnTo>
                    <a:lnTo>
                      <a:pt x="0" y="92"/>
                    </a:lnTo>
                    <a:lnTo>
                      <a:pt x="2" y="92"/>
                    </a:lnTo>
                    <a:lnTo>
                      <a:pt x="2" y="90"/>
                    </a:lnTo>
                    <a:lnTo>
                      <a:pt x="4" y="90"/>
                    </a:lnTo>
                    <a:lnTo>
                      <a:pt x="4" y="88"/>
                    </a:lnTo>
                    <a:lnTo>
                      <a:pt x="6" y="88"/>
                    </a:lnTo>
                    <a:lnTo>
                      <a:pt x="8" y="86"/>
                    </a:lnTo>
                    <a:lnTo>
                      <a:pt x="10" y="86"/>
                    </a:lnTo>
                    <a:lnTo>
                      <a:pt x="12" y="86"/>
                    </a:lnTo>
                    <a:lnTo>
                      <a:pt x="14" y="84"/>
                    </a:lnTo>
                    <a:lnTo>
                      <a:pt x="14" y="82"/>
                    </a:lnTo>
                    <a:lnTo>
                      <a:pt x="15" y="82"/>
                    </a:lnTo>
                    <a:lnTo>
                      <a:pt x="17" y="82"/>
                    </a:lnTo>
                    <a:lnTo>
                      <a:pt x="17" y="80"/>
                    </a:lnTo>
                    <a:lnTo>
                      <a:pt x="19" y="82"/>
                    </a:lnTo>
                    <a:lnTo>
                      <a:pt x="21" y="82"/>
                    </a:lnTo>
                    <a:lnTo>
                      <a:pt x="23" y="82"/>
                    </a:lnTo>
                    <a:lnTo>
                      <a:pt x="23" y="84"/>
                    </a:lnTo>
                    <a:lnTo>
                      <a:pt x="25" y="82"/>
                    </a:lnTo>
                    <a:lnTo>
                      <a:pt x="27" y="82"/>
                    </a:lnTo>
                    <a:lnTo>
                      <a:pt x="29" y="82"/>
                    </a:lnTo>
                    <a:lnTo>
                      <a:pt x="29" y="80"/>
                    </a:lnTo>
                    <a:lnTo>
                      <a:pt x="29" y="78"/>
                    </a:lnTo>
                    <a:lnTo>
                      <a:pt x="29" y="77"/>
                    </a:lnTo>
                    <a:lnTo>
                      <a:pt x="29" y="75"/>
                    </a:lnTo>
                    <a:lnTo>
                      <a:pt x="29" y="73"/>
                    </a:lnTo>
                    <a:lnTo>
                      <a:pt x="31" y="71"/>
                    </a:lnTo>
                    <a:lnTo>
                      <a:pt x="33" y="71"/>
                    </a:lnTo>
                    <a:lnTo>
                      <a:pt x="33" y="69"/>
                    </a:lnTo>
                    <a:lnTo>
                      <a:pt x="35" y="69"/>
                    </a:lnTo>
                    <a:lnTo>
                      <a:pt x="35" y="67"/>
                    </a:lnTo>
                    <a:lnTo>
                      <a:pt x="35" y="65"/>
                    </a:lnTo>
                    <a:lnTo>
                      <a:pt x="37" y="65"/>
                    </a:lnTo>
                    <a:lnTo>
                      <a:pt x="37" y="63"/>
                    </a:lnTo>
                    <a:lnTo>
                      <a:pt x="37" y="61"/>
                    </a:lnTo>
                    <a:lnTo>
                      <a:pt x="37" y="59"/>
                    </a:lnTo>
                    <a:lnTo>
                      <a:pt x="39" y="59"/>
                    </a:lnTo>
                    <a:lnTo>
                      <a:pt x="40" y="57"/>
                    </a:lnTo>
                    <a:lnTo>
                      <a:pt x="42" y="57"/>
                    </a:lnTo>
                    <a:lnTo>
                      <a:pt x="40" y="57"/>
                    </a:lnTo>
                    <a:lnTo>
                      <a:pt x="42" y="57"/>
                    </a:lnTo>
                    <a:lnTo>
                      <a:pt x="44" y="57"/>
                    </a:lnTo>
                    <a:lnTo>
                      <a:pt x="44" y="59"/>
                    </a:lnTo>
                    <a:lnTo>
                      <a:pt x="44" y="61"/>
                    </a:lnTo>
                    <a:lnTo>
                      <a:pt x="44" y="63"/>
                    </a:lnTo>
                    <a:lnTo>
                      <a:pt x="42" y="63"/>
                    </a:lnTo>
                    <a:lnTo>
                      <a:pt x="42" y="65"/>
                    </a:lnTo>
                    <a:lnTo>
                      <a:pt x="42" y="67"/>
                    </a:lnTo>
                    <a:lnTo>
                      <a:pt x="44" y="67"/>
                    </a:lnTo>
                    <a:lnTo>
                      <a:pt x="42" y="67"/>
                    </a:lnTo>
                    <a:lnTo>
                      <a:pt x="40" y="67"/>
                    </a:lnTo>
                    <a:lnTo>
                      <a:pt x="39" y="67"/>
                    </a:lnTo>
                    <a:lnTo>
                      <a:pt x="37" y="67"/>
                    </a:lnTo>
                    <a:lnTo>
                      <a:pt x="39" y="67"/>
                    </a:lnTo>
                    <a:lnTo>
                      <a:pt x="39" y="69"/>
                    </a:lnTo>
                    <a:lnTo>
                      <a:pt x="37" y="69"/>
                    </a:lnTo>
                    <a:lnTo>
                      <a:pt x="37" y="71"/>
                    </a:lnTo>
                    <a:lnTo>
                      <a:pt x="37" y="69"/>
                    </a:lnTo>
                    <a:lnTo>
                      <a:pt x="39" y="69"/>
                    </a:lnTo>
                    <a:lnTo>
                      <a:pt x="39" y="67"/>
                    </a:lnTo>
                    <a:lnTo>
                      <a:pt x="37" y="67"/>
                    </a:lnTo>
                    <a:lnTo>
                      <a:pt x="39" y="67"/>
                    </a:lnTo>
                    <a:lnTo>
                      <a:pt x="40" y="67"/>
                    </a:lnTo>
                    <a:lnTo>
                      <a:pt x="42" y="67"/>
                    </a:lnTo>
                    <a:lnTo>
                      <a:pt x="44" y="67"/>
                    </a:lnTo>
                    <a:lnTo>
                      <a:pt x="44" y="69"/>
                    </a:lnTo>
                    <a:lnTo>
                      <a:pt x="46" y="69"/>
                    </a:lnTo>
                    <a:lnTo>
                      <a:pt x="48" y="67"/>
                    </a:lnTo>
                    <a:lnTo>
                      <a:pt x="50" y="65"/>
                    </a:lnTo>
                    <a:lnTo>
                      <a:pt x="52" y="65"/>
                    </a:lnTo>
                    <a:lnTo>
                      <a:pt x="52" y="63"/>
                    </a:lnTo>
                    <a:lnTo>
                      <a:pt x="54" y="63"/>
                    </a:lnTo>
                    <a:lnTo>
                      <a:pt x="56" y="63"/>
                    </a:lnTo>
                    <a:lnTo>
                      <a:pt x="56" y="65"/>
                    </a:lnTo>
                    <a:lnTo>
                      <a:pt x="58" y="65"/>
                    </a:lnTo>
                    <a:lnTo>
                      <a:pt x="58" y="67"/>
                    </a:lnTo>
                    <a:lnTo>
                      <a:pt x="58" y="69"/>
                    </a:lnTo>
                    <a:lnTo>
                      <a:pt x="58" y="71"/>
                    </a:lnTo>
                    <a:lnTo>
                      <a:pt x="60" y="71"/>
                    </a:lnTo>
                    <a:lnTo>
                      <a:pt x="60" y="69"/>
                    </a:lnTo>
                    <a:lnTo>
                      <a:pt x="60" y="71"/>
                    </a:lnTo>
                    <a:lnTo>
                      <a:pt x="62" y="71"/>
                    </a:lnTo>
                    <a:lnTo>
                      <a:pt x="63" y="71"/>
                    </a:lnTo>
                    <a:lnTo>
                      <a:pt x="63" y="73"/>
                    </a:lnTo>
                    <a:lnTo>
                      <a:pt x="65" y="73"/>
                    </a:lnTo>
                    <a:lnTo>
                      <a:pt x="67" y="73"/>
                    </a:lnTo>
                    <a:lnTo>
                      <a:pt x="67" y="71"/>
                    </a:lnTo>
                    <a:lnTo>
                      <a:pt x="69" y="71"/>
                    </a:lnTo>
                    <a:lnTo>
                      <a:pt x="71" y="71"/>
                    </a:lnTo>
                    <a:lnTo>
                      <a:pt x="69" y="69"/>
                    </a:lnTo>
                    <a:lnTo>
                      <a:pt x="71" y="69"/>
                    </a:lnTo>
                    <a:lnTo>
                      <a:pt x="69" y="69"/>
                    </a:lnTo>
                    <a:lnTo>
                      <a:pt x="69" y="67"/>
                    </a:lnTo>
                    <a:lnTo>
                      <a:pt x="69" y="69"/>
                    </a:lnTo>
                    <a:lnTo>
                      <a:pt x="71" y="69"/>
                    </a:lnTo>
                    <a:lnTo>
                      <a:pt x="71" y="67"/>
                    </a:lnTo>
                    <a:lnTo>
                      <a:pt x="73" y="67"/>
                    </a:lnTo>
                    <a:lnTo>
                      <a:pt x="75" y="67"/>
                    </a:lnTo>
                    <a:lnTo>
                      <a:pt x="77" y="67"/>
                    </a:lnTo>
                    <a:lnTo>
                      <a:pt x="77" y="69"/>
                    </a:lnTo>
                    <a:lnTo>
                      <a:pt x="77" y="67"/>
                    </a:lnTo>
                    <a:lnTo>
                      <a:pt x="79" y="67"/>
                    </a:lnTo>
                    <a:lnTo>
                      <a:pt x="79" y="69"/>
                    </a:lnTo>
                    <a:lnTo>
                      <a:pt x="79" y="71"/>
                    </a:lnTo>
                    <a:lnTo>
                      <a:pt x="81" y="71"/>
                    </a:lnTo>
                    <a:lnTo>
                      <a:pt x="81" y="73"/>
                    </a:lnTo>
                    <a:lnTo>
                      <a:pt x="83" y="73"/>
                    </a:lnTo>
                    <a:lnTo>
                      <a:pt x="83" y="75"/>
                    </a:lnTo>
                    <a:lnTo>
                      <a:pt x="85" y="75"/>
                    </a:lnTo>
                    <a:lnTo>
                      <a:pt x="85" y="77"/>
                    </a:lnTo>
                    <a:lnTo>
                      <a:pt x="85" y="78"/>
                    </a:lnTo>
                    <a:lnTo>
                      <a:pt x="87" y="78"/>
                    </a:lnTo>
                    <a:lnTo>
                      <a:pt x="85" y="80"/>
                    </a:lnTo>
                    <a:lnTo>
                      <a:pt x="87" y="80"/>
                    </a:lnTo>
                    <a:lnTo>
                      <a:pt x="87" y="82"/>
                    </a:lnTo>
                    <a:lnTo>
                      <a:pt x="85" y="82"/>
                    </a:lnTo>
                    <a:lnTo>
                      <a:pt x="85" y="84"/>
                    </a:lnTo>
                    <a:lnTo>
                      <a:pt x="87" y="84"/>
                    </a:lnTo>
                    <a:lnTo>
                      <a:pt x="87" y="86"/>
                    </a:lnTo>
                    <a:lnTo>
                      <a:pt x="88" y="86"/>
                    </a:lnTo>
                    <a:lnTo>
                      <a:pt x="88" y="88"/>
                    </a:lnTo>
                    <a:lnTo>
                      <a:pt x="88" y="90"/>
                    </a:lnTo>
                    <a:lnTo>
                      <a:pt x="90" y="90"/>
                    </a:lnTo>
                    <a:lnTo>
                      <a:pt x="90" y="92"/>
                    </a:lnTo>
                    <a:lnTo>
                      <a:pt x="90" y="94"/>
                    </a:lnTo>
                    <a:lnTo>
                      <a:pt x="92" y="94"/>
                    </a:lnTo>
                    <a:lnTo>
                      <a:pt x="90" y="94"/>
                    </a:lnTo>
                    <a:lnTo>
                      <a:pt x="90" y="96"/>
                    </a:lnTo>
                    <a:lnTo>
                      <a:pt x="88" y="96"/>
                    </a:lnTo>
                    <a:lnTo>
                      <a:pt x="87" y="98"/>
                    </a:lnTo>
                    <a:lnTo>
                      <a:pt x="87" y="100"/>
                    </a:lnTo>
                    <a:lnTo>
                      <a:pt x="88" y="100"/>
                    </a:lnTo>
                    <a:lnTo>
                      <a:pt x="88" y="98"/>
                    </a:lnTo>
                    <a:lnTo>
                      <a:pt x="90" y="96"/>
                    </a:lnTo>
                    <a:lnTo>
                      <a:pt x="90" y="98"/>
                    </a:lnTo>
                    <a:lnTo>
                      <a:pt x="90" y="96"/>
                    </a:lnTo>
                    <a:lnTo>
                      <a:pt x="92" y="96"/>
                    </a:lnTo>
                    <a:lnTo>
                      <a:pt x="90" y="96"/>
                    </a:lnTo>
                    <a:lnTo>
                      <a:pt x="92" y="96"/>
                    </a:lnTo>
                    <a:lnTo>
                      <a:pt x="94" y="96"/>
                    </a:lnTo>
                    <a:lnTo>
                      <a:pt x="94" y="98"/>
                    </a:lnTo>
                    <a:lnTo>
                      <a:pt x="96" y="98"/>
                    </a:lnTo>
                    <a:lnTo>
                      <a:pt x="94" y="98"/>
                    </a:lnTo>
                    <a:lnTo>
                      <a:pt x="94" y="100"/>
                    </a:lnTo>
                    <a:lnTo>
                      <a:pt x="94" y="102"/>
                    </a:lnTo>
                    <a:lnTo>
                      <a:pt x="92" y="102"/>
                    </a:lnTo>
                    <a:lnTo>
                      <a:pt x="90" y="102"/>
                    </a:lnTo>
                    <a:lnTo>
                      <a:pt x="90" y="103"/>
                    </a:lnTo>
                    <a:lnTo>
                      <a:pt x="88" y="103"/>
                    </a:lnTo>
                    <a:lnTo>
                      <a:pt x="90" y="103"/>
                    </a:lnTo>
                    <a:lnTo>
                      <a:pt x="88" y="103"/>
                    </a:lnTo>
                    <a:lnTo>
                      <a:pt x="88" y="105"/>
                    </a:lnTo>
                    <a:lnTo>
                      <a:pt x="90" y="105"/>
                    </a:lnTo>
                    <a:lnTo>
                      <a:pt x="92" y="105"/>
                    </a:lnTo>
                    <a:lnTo>
                      <a:pt x="90" y="107"/>
                    </a:lnTo>
                    <a:lnTo>
                      <a:pt x="92" y="107"/>
                    </a:lnTo>
                    <a:lnTo>
                      <a:pt x="94" y="107"/>
                    </a:lnTo>
                    <a:lnTo>
                      <a:pt x="94" y="109"/>
                    </a:lnTo>
                    <a:lnTo>
                      <a:pt x="96" y="109"/>
                    </a:lnTo>
                    <a:lnTo>
                      <a:pt x="94" y="109"/>
                    </a:lnTo>
                    <a:lnTo>
                      <a:pt x="96" y="107"/>
                    </a:lnTo>
                    <a:lnTo>
                      <a:pt x="94" y="107"/>
                    </a:lnTo>
                    <a:lnTo>
                      <a:pt x="96" y="107"/>
                    </a:lnTo>
                    <a:lnTo>
                      <a:pt x="98" y="107"/>
                    </a:lnTo>
                    <a:lnTo>
                      <a:pt x="100" y="107"/>
                    </a:lnTo>
                    <a:lnTo>
                      <a:pt x="102" y="107"/>
                    </a:lnTo>
                    <a:lnTo>
                      <a:pt x="102" y="109"/>
                    </a:lnTo>
                    <a:lnTo>
                      <a:pt x="104" y="107"/>
                    </a:lnTo>
                    <a:lnTo>
                      <a:pt x="104" y="109"/>
                    </a:lnTo>
                    <a:lnTo>
                      <a:pt x="106" y="109"/>
                    </a:lnTo>
                    <a:lnTo>
                      <a:pt x="104" y="109"/>
                    </a:lnTo>
                    <a:lnTo>
                      <a:pt x="106" y="107"/>
                    </a:lnTo>
                    <a:lnTo>
                      <a:pt x="106" y="109"/>
                    </a:lnTo>
                    <a:lnTo>
                      <a:pt x="106" y="107"/>
                    </a:lnTo>
                    <a:lnTo>
                      <a:pt x="104" y="105"/>
                    </a:lnTo>
                    <a:lnTo>
                      <a:pt x="104" y="103"/>
                    </a:lnTo>
                    <a:lnTo>
                      <a:pt x="104" y="102"/>
                    </a:lnTo>
                    <a:lnTo>
                      <a:pt x="104" y="100"/>
                    </a:lnTo>
                    <a:lnTo>
                      <a:pt x="102" y="100"/>
                    </a:lnTo>
                    <a:lnTo>
                      <a:pt x="104" y="98"/>
                    </a:lnTo>
                    <a:lnTo>
                      <a:pt x="104" y="100"/>
                    </a:lnTo>
                    <a:lnTo>
                      <a:pt x="104" y="96"/>
                    </a:lnTo>
                    <a:lnTo>
                      <a:pt x="108" y="92"/>
                    </a:lnTo>
                    <a:lnTo>
                      <a:pt x="108" y="94"/>
                    </a:lnTo>
                    <a:lnTo>
                      <a:pt x="110" y="94"/>
                    </a:lnTo>
                    <a:lnTo>
                      <a:pt x="110" y="92"/>
                    </a:lnTo>
                    <a:lnTo>
                      <a:pt x="108" y="92"/>
                    </a:lnTo>
                    <a:lnTo>
                      <a:pt x="110" y="92"/>
                    </a:lnTo>
                    <a:lnTo>
                      <a:pt x="110" y="90"/>
                    </a:lnTo>
                    <a:lnTo>
                      <a:pt x="110" y="88"/>
                    </a:lnTo>
                    <a:lnTo>
                      <a:pt x="110" y="86"/>
                    </a:lnTo>
                    <a:lnTo>
                      <a:pt x="108" y="86"/>
                    </a:lnTo>
                    <a:lnTo>
                      <a:pt x="110" y="84"/>
                    </a:lnTo>
                    <a:lnTo>
                      <a:pt x="108" y="82"/>
                    </a:lnTo>
                    <a:lnTo>
                      <a:pt x="108" y="80"/>
                    </a:lnTo>
                    <a:lnTo>
                      <a:pt x="106" y="80"/>
                    </a:lnTo>
                    <a:lnTo>
                      <a:pt x="106" y="78"/>
                    </a:lnTo>
                    <a:lnTo>
                      <a:pt x="106" y="77"/>
                    </a:lnTo>
                    <a:lnTo>
                      <a:pt x="104" y="77"/>
                    </a:lnTo>
                    <a:lnTo>
                      <a:pt x="104" y="75"/>
                    </a:lnTo>
                    <a:lnTo>
                      <a:pt x="104" y="73"/>
                    </a:lnTo>
                    <a:lnTo>
                      <a:pt x="104" y="71"/>
                    </a:lnTo>
                    <a:lnTo>
                      <a:pt x="102" y="71"/>
                    </a:lnTo>
                    <a:lnTo>
                      <a:pt x="102" y="69"/>
                    </a:lnTo>
                    <a:lnTo>
                      <a:pt x="102" y="67"/>
                    </a:lnTo>
                    <a:lnTo>
                      <a:pt x="100" y="65"/>
                    </a:lnTo>
                    <a:lnTo>
                      <a:pt x="102" y="65"/>
                    </a:lnTo>
                    <a:lnTo>
                      <a:pt x="100" y="65"/>
                    </a:lnTo>
                    <a:lnTo>
                      <a:pt x="100" y="63"/>
                    </a:lnTo>
                    <a:lnTo>
                      <a:pt x="100" y="65"/>
                    </a:lnTo>
                    <a:lnTo>
                      <a:pt x="100" y="63"/>
                    </a:lnTo>
                    <a:lnTo>
                      <a:pt x="98" y="63"/>
                    </a:lnTo>
                    <a:lnTo>
                      <a:pt x="96" y="63"/>
                    </a:lnTo>
                    <a:lnTo>
                      <a:pt x="96" y="61"/>
                    </a:lnTo>
                    <a:lnTo>
                      <a:pt x="94" y="61"/>
                    </a:lnTo>
                    <a:lnTo>
                      <a:pt x="90" y="61"/>
                    </a:lnTo>
                    <a:lnTo>
                      <a:pt x="92" y="61"/>
                    </a:lnTo>
                    <a:lnTo>
                      <a:pt x="92" y="63"/>
                    </a:lnTo>
                    <a:lnTo>
                      <a:pt x="90" y="63"/>
                    </a:lnTo>
                    <a:lnTo>
                      <a:pt x="88" y="61"/>
                    </a:lnTo>
                    <a:lnTo>
                      <a:pt x="87" y="61"/>
                    </a:lnTo>
                    <a:lnTo>
                      <a:pt x="87" y="59"/>
                    </a:lnTo>
                    <a:lnTo>
                      <a:pt x="85" y="59"/>
                    </a:lnTo>
                    <a:lnTo>
                      <a:pt x="85" y="57"/>
                    </a:lnTo>
                    <a:lnTo>
                      <a:pt x="83" y="57"/>
                    </a:lnTo>
                    <a:lnTo>
                      <a:pt x="83" y="55"/>
                    </a:lnTo>
                    <a:lnTo>
                      <a:pt x="81" y="55"/>
                    </a:lnTo>
                    <a:lnTo>
                      <a:pt x="81" y="53"/>
                    </a:lnTo>
                    <a:lnTo>
                      <a:pt x="81" y="52"/>
                    </a:lnTo>
                    <a:lnTo>
                      <a:pt x="83" y="52"/>
                    </a:lnTo>
                    <a:lnTo>
                      <a:pt x="83" y="50"/>
                    </a:lnTo>
                    <a:lnTo>
                      <a:pt x="83" y="52"/>
                    </a:lnTo>
                    <a:lnTo>
                      <a:pt x="83" y="50"/>
                    </a:lnTo>
                    <a:lnTo>
                      <a:pt x="83" y="52"/>
                    </a:lnTo>
                    <a:lnTo>
                      <a:pt x="83" y="50"/>
                    </a:lnTo>
                    <a:lnTo>
                      <a:pt x="83" y="48"/>
                    </a:lnTo>
                    <a:lnTo>
                      <a:pt x="81" y="48"/>
                    </a:lnTo>
                    <a:lnTo>
                      <a:pt x="83" y="46"/>
                    </a:lnTo>
                    <a:lnTo>
                      <a:pt x="81" y="46"/>
                    </a:lnTo>
                    <a:lnTo>
                      <a:pt x="83" y="46"/>
                    </a:lnTo>
                    <a:lnTo>
                      <a:pt x="83" y="44"/>
                    </a:lnTo>
                    <a:lnTo>
                      <a:pt x="83" y="42"/>
                    </a:lnTo>
                    <a:lnTo>
                      <a:pt x="83" y="40"/>
                    </a:lnTo>
                    <a:lnTo>
                      <a:pt x="83" y="42"/>
                    </a:lnTo>
                    <a:lnTo>
                      <a:pt x="81" y="42"/>
                    </a:lnTo>
                    <a:lnTo>
                      <a:pt x="81" y="40"/>
                    </a:lnTo>
                    <a:lnTo>
                      <a:pt x="79" y="38"/>
                    </a:lnTo>
                    <a:lnTo>
                      <a:pt x="79" y="36"/>
                    </a:lnTo>
                    <a:lnTo>
                      <a:pt x="81" y="34"/>
                    </a:lnTo>
                    <a:lnTo>
                      <a:pt x="81" y="32"/>
                    </a:lnTo>
                    <a:lnTo>
                      <a:pt x="81" y="30"/>
                    </a:lnTo>
                    <a:lnTo>
                      <a:pt x="81" y="28"/>
                    </a:lnTo>
                    <a:lnTo>
                      <a:pt x="83" y="28"/>
                    </a:lnTo>
                    <a:lnTo>
                      <a:pt x="83" y="27"/>
                    </a:lnTo>
                    <a:lnTo>
                      <a:pt x="83" y="25"/>
                    </a:lnTo>
                    <a:lnTo>
                      <a:pt x="85" y="25"/>
                    </a:lnTo>
                    <a:lnTo>
                      <a:pt x="85" y="27"/>
                    </a:lnTo>
                    <a:lnTo>
                      <a:pt x="83" y="27"/>
                    </a:lnTo>
                    <a:lnTo>
                      <a:pt x="83" y="28"/>
                    </a:lnTo>
                    <a:lnTo>
                      <a:pt x="83" y="30"/>
                    </a:lnTo>
                    <a:lnTo>
                      <a:pt x="83" y="32"/>
                    </a:lnTo>
                    <a:lnTo>
                      <a:pt x="83" y="34"/>
                    </a:lnTo>
                    <a:lnTo>
                      <a:pt x="85" y="34"/>
                    </a:lnTo>
                    <a:lnTo>
                      <a:pt x="87" y="34"/>
                    </a:lnTo>
                    <a:lnTo>
                      <a:pt x="87" y="32"/>
                    </a:lnTo>
                    <a:lnTo>
                      <a:pt x="87" y="30"/>
                    </a:lnTo>
                    <a:lnTo>
                      <a:pt x="87" y="28"/>
                    </a:lnTo>
                    <a:lnTo>
                      <a:pt x="87" y="30"/>
                    </a:lnTo>
                    <a:lnTo>
                      <a:pt x="87" y="28"/>
                    </a:lnTo>
                    <a:lnTo>
                      <a:pt x="87" y="30"/>
                    </a:lnTo>
                    <a:lnTo>
                      <a:pt x="87" y="28"/>
                    </a:lnTo>
                    <a:lnTo>
                      <a:pt x="87" y="30"/>
                    </a:lnTo>
                    <a:lnTo>
                      <a:pt x="87" y="28"/>
                    </a:lnTo>
                    <a:lnTo>
                      <a:pt x="88" y="28"/>
                    </a:lnTo>
                    <a:lnTo>
                      <a:pt x="88" y="27"/>
                    </a:lnTo>
                    <a:lnTo>
                      <a:pt x="90" y="27"/>
                    </a:lnTo>
                    <a:lnTo>
                      <a:pt x="90" y="25"/>
                    </a:lnTo>
                    <a:lnTo>
                      <a:pt x="92" y="25"/>
                    </a:lnTo>
                    <a:lnTo>
                      <a:pt x="90" y="25"/>
                    </a:lnTo>
                    <a:lnTo>
                      <a:pt x="92" y="25"/>
                    </a:lnTo>
                    <a:lnTo>
                      <a:pt x="92" y="23"/>
                    </a:lnTo>
                    <a:lnTo>
                      <a:pt x="94" y="23"/>
                    </a:lnTo>
                    <a:lnTo>
                      <a:pt x="92" y="23"/>
                    </a:lnTo>
                    <a:lnTo>
                      <a:pt x="92" y="25"/>
                    </a:lnTo>
                    <a:lnTo>
                      <a:pt x="94" y="25"/>
                    </a:lnTo>
                    <a:lnTo>
                      <a:pt x="94" y="23"/>
                    </a:lnTo>
                    <a:lnTo>
                      <a:pt x="94" y="25"/>
                    </a:lnTo>
                    <a:lnTo>
                      <a:pt x="94" y="23"/>
                    </a:lnTo>
                    <a:lnTo>
                      <a:pt x="94" y="25"/>
                    </a:lnTo>
                    <a:lnTo>
                      <a:pt x="94" y="23"/>
                    </a:lnTo>
                    <a:lnTo>
                      <a:pt x="96" y="23"/>
                    </a:lnTo>
                    <a:lnTo>
                      <a:pt x="96" y="25"/>
                    </a:lnTo>
                    <a:lnTo>
                      <a:pt x="96" y="23"/>
                    </a:lnTo>
                    <a:lnTo>
                      <a:pt x="96" y="25"/>
                    </a:lnTo>
                    <a:lnTo>
                      <a:pt x="96" y="23"/>
                    </a:lnTo>
                    <a:lnTo>
                      <a:pt x="96" y="21"/>
                    </a:lnTo>
                    <a:lnTo>
                      <a:pt x="98" y="21"/>
                    </a:lnTo>
                    <a:lnTo>
                      <a:pt x="98" y="23"/>
                    </a:lnTo>
                    <a:lnTo>
                      <a:pt x="98" y="21"/>
                    </a:lnTo>
                    <a:lnTo>
                      <a:pt x="98" y="19"/>
                    </a:lnTo>
                    <a:lnTo>
                      <a:pt x="98" y="17"/>
                    </a:lnTo>
                    <a:lnTo>
                      <a:pt x="98" y="19"/>
                    </a:lnTo>
                    <a:lnTo>
                      <a:pt x="98" y="17"/>
                    </a:lnTo>
                    <a:lnTo>
                      <a:pt x="100" y="17"/>
                    </a:lnTo>
                    <a:lnTo>
                      <a:pt x="98" y="17"/>
                    </a:lnTo>
                    <a:lnTo>
                      <a:pt x="98" y="19"/>
                    </a:lnTo>
                    <a:lnTo>
                      <a:pt x="96" y="19"/>
                    </a:lnTo>
                    <a:lnTo>
                      <a:pt x="94" y="19"/>
                    </a:lnTo>
                    <a:lnTo>
                      <a:pt x="96" y="19"/>
                    </a:lnTo>
                    <a:lnTo>
                      <a:pt x="94" y="19"/>
                    </a:lnTo>
                    <a:lnTo>
                      <a:pt x="94" y="21"/>
                    </a:lnTo>
                    <a:lnTo>
                      <a:pt x="94" y="19"/>
                    </a:lnTo>
                    <a:lnTo>
                      <a:pt x="94" y="21"/>
                    </a:lnTo>
                    <a:lnTo>
                      <a:pt x="94" y="19"/>
                    </a:lnTo>
                    <a:lnTo>
                      <a:pt x="94" y="21"/>
                    </a:lnTo>
                    <a:lnTo>
                      <a:pt x="92" y="21"/>
                    </a:lnTo>
                    <a:lnTo>
                      <a:pt x="92" y="19"/>
                    </a:lnTo>
                    <a:lnTo>
                      <a:pt x="92" y="21"/>
                    </a:lnTo>
                    <a:lnTo>
                      <a:pt x="90" y="21"/>
                    </a:lnTo>
                    <a:lnTo>
                      <a:pt x="90" y="19"/>
                    </a:lnTo>
                    <a:lnTo>
                      <a:pt x="90" y="21"/>
                    </a:lnTo>
                    <a:lnTo>
                      <a:pt x="90" y="19"/>
                    </a:lnTo>
                    <a:lnTo>
                      <a:pt x="90" y="21"/>
                    </a:lnTo>
                    <a:lnTo>
                      <a:pt x="90" y="19"/>
                    </a:lnTo>
                    <a:lnTo>
                      <a:pt x="88" y="19"/>
                    </a:lnTo>
                    <a:lnTo>
                      <a:pt x="88" y="21"/>
                    </a:lnTo>
                    <a:lnTo>
                      <a:pt x="88" y="19"/>
                    </a:lnTo>
                    <a:lnTo>
                      <a:pt x="88" y="21"/>
                    </a:lnTo>
                    <a:lnTo>
                      <a:pt x="88" y="19"/>
                    </a:lnTo>
                    <a:lnTo>
                      <a:pt x="87" y="19"/>
                    </a:lnTo>
                    <a:lnTo>
                      <a:pt x="87" y="17"/>
                    </a:lnTo>
                    <a:lnTo>
                      <a:pt x="87" y="19"/>
                    </a:lnTo>
                    <a:lnTo>
                      <a:pt x="85" y="19"/>
                    </a:lnTo>
                    <a:lnTo>
                      <a:pt x="85" y="21"/>
                    </a:lnTo>
                    <a:lnTo>
                      <a:pt x="85" y="19"/>
                    </a:lnTo>
                    <a:lnTo>
                      <a:pt x="83" y="19"/>
                    </a:lnTo>
                    <a:lnTo>
                      <a:pt x="85" y="19"/>
                    </a:lnTo>
                    <a:lnTo>
                      <a:pt x="83" y="19"/>
                    </a:lnTo>
                    <a:lnTo>
                      <a:pt x="83" y="17"/>
                    </a:lnTo>
                    <a:lnTo>
                      <a:pt x="83" y="19"/>
                    </a:lnTo>
                    <a:lnTo>
                      <a:pt x="83" y="21"/>
                    </a:lnTo>
                    <a:lnTo>
                      <a:pt x="83" y="19"/>
                    </a:lnTo>
                    <a:lnTo>
                      <a:pt x="81" y="19"/>
                    </a:lnTo>
                    <a:lnTo>
                      <a:pt x="81" y="21"/>
                    </a:lnTo>
                    <a:lnTo>
                      <a:pt x="81" y="19"/>
                    </a:lnTo>
                    <a:lnTo>
                      <a:pt x="79" y="21"/>
                    </a:lnTo>
                    <a:lnTo>
                      <a:pt x="79" y="19"/>
                    </a:lnTo>
                    <a:lnTo>
                      <a:pt x="79" y="21"/>
                    </a:lnTo>
                    <a:lnTo>
                      <a:pt x="77" y="21"/>
                    </a:lnTo>
                    <a:lnTo>
                      <a:pt x="77" y="23"/>
                    </a:lnTo>
                    <a:lnTo>
                      <a:pt x="77" y="21"/>
                    </a:lnTo>
                    <a:lnTo>
                      <a:pt x="77" y="19"/>
                    </a:lnTo>
                    <a:lnTo>
                      <a:pt x="75" y="19"/>
                    </a:lnTo>
                    <a:lnTo>
                      <a:pt x="75" y="21"/>
                    </a:lnTo>
                    <a:lnTo>
                      <a:pt x="75" y="19"/>
                    </a:lnTo>
                    <a:lnTo>
                      <a:pt x="73" y="19"/>
                    </a:lnTo>
                    <a:lnTo>
                      <a:pt x="73" y="21"/>
                    </a:lnTo>
                    <a:lnTo>
                      <a:pt x="73" y="19"/>
                    </a:lnTo>
                    <a:lnTo>
                      <a:pt x="73" y="21"/>
                    </a:lnTo>
                    <a:lnTo>
                      <a:pt x="73" y="19"/>
                    </a:lnTo>
                    <a:lnTo>
                      <a:pt x="73" y="17"/>
                    </a:lnTo>
                    <a:lnTo>
                      <a:pt x="71" y="17"/>
                    </a:lnTo>
                    <a:lnTo>
                      <a:pt x="73" y="17"/>
                    </a:lnTo>
                    <a:lnTo>
                      <a:pt x="71" y="17"/>
                    </a:lnTo>
                    <a:lnTo>
                      <a:pt x="71" y="19"/>
                    </a:lnTo>
                    <a:lnTo>
                      <a:pt x="71" y="17"/>
                    </a:lnTo>
                    <a:lnTo>
                      <a:pt x="69" y="17"/>
                    </a:lnTo>
                    <a:lnTo>
                      <a:pt x="69" y="15"/>
                    </a:lnTo>
                    <a:lnTo>
                      <a:pt x="67" y="15"/>
                    </a:lnTo>
                    <a:lnTo>
                      <a:pt x="69" y="15"/>
                    </a:lnTo>
                    <a:lnTo>
                      <a:pt x="69" y="13"/>
                    </a:lnTo>
                    <a:lnTo>
                      <a:pt x="67" y="13"/>
                    </a:lnTo>
                    <a:lnTo>
                      <a:pt x="67" y="15"/>
                    </a:lnTo>
                    <a:lnTo>
                      <a:pt x="67" y="17"/>
                    </a:lnTo>
                    <a:lnTo>
                      <a:pt x="65" y="17"/>
                    </a:lnTo>
                    <a:lnTo>
                      <a:pt x="65" y="15"/>
                    </a:lnTo>
                    <a:lnTo>
                      <a:pt x="65" y="13"/>
                    </a:lnTo>
                    <a:lnTo>
                      <a:pt x="67" y="13"/>
                    </a:lnTo>
                    <a:lnTo>
                      <a:pt x="67" y="15"/>
                    </a:lnTo>
                    <a:lnTo>
                      <a:pt x="65" y="15"/>
                    </a:lnTo>
                    <a:lnTo>
                      <a:pt x="67" y="15"/>
                    </a:lnTo>
                    <a:lnTo>
                      <a:pt x="67" y="13"/>
                    </a:lnTo>
                    <a:lnTo>
                      <a:pt x="69" y="13"/>
                    </a:lnTo>
                    <a:lnTo>
                      <a:pt x="71" y="11"/>
                    </a:lnTo>
                    <a:lnTo>
                      <a:pt x="73" y="11"/>
                    </a:lnTo>
                    <a:lnTo>
                      <a:pt x="81" y="9"/>
                    </a:lnTo>
                    <a:lnTo>
                      <a:pt x="83" y="9"/>
                    </a:lnTo>
                    <a:lnTo>
                      <a:pt x="85" y="9"/>
                    </a:lnTo>
                    <a:lnTo>
                      <a:pt x="87" y="7"/>
                    </a:lnTo>
                    <a:lnTo>
                      <a:pt x="88" y="7"/>
                    </a:lnTo>
                    <a:lnTo>
                      <a:pt x="90" y="7"/>
                    </a:lnTo>
                    <a:lnTo>
                      <a:pt x="92" y="7"/>
                    </a:lnTo>
                    <a:lnTo>
                      <a:pt x="92" y="5"/>
                    </a:lnTo>
                    <a:lnTo>
                      <a:pt x="94" y="7"/>
                    </a:lnTo>
                    <a:lnTo>
                      <a:pt x="98" y="5"/>
                    </a:lnTo>
                    <a:lnTo>
                      <a:pt x="100" y="5"/>
                    </a:lnTo>
                    <a:lnTo>
                      <a:pt x="102" y="5"/>
                    </a:lnTo>
                    <a:lnTo>
                      <a:pt x="104" y="5"/>
                    </a:lnTo>
                    <a:lnTo>
                      <a:pt x="104" y="7"/>
                    </a:lnTo>
                    <a:lnTo>
                      <a:pt x="106" y="7"/>
                    </a:lnTo>
                    <a:lnTo>
                      <a:pt x="110" y="5"/>
                    </a:lnTo>
                    <a:lnTo>
                      <a:pt x="110" y="4"/>
                    </a:lnTo>
                    <a:lnTo>
                      <a:pt x="112" y="4"/>
                    </a:lnTo>
                    <a:lnTo>
                      <a:pt x="113" y="4"/>
                    </a:lnTo>
                    <a:lnTo>
                      <a:pt x="115" y="2"/>
                    </a:lnTo>
                    <a:lnTo>
                      <a:pt x="117" y="2"/>
                    </a:lnTo>
                    <a:lnTo>
                      <a:pt x="119" y="2"/>
                    </a:lnTo>
                    <a:lnTo>
                      <a:pt x="119" y="4"/>
                    </a:lnTo>
                    <a:lnTo>
                      <a:pt x="121" y="2"/>
                    </a:lnTo>
                    <a:lnTo>
                      <a:pt x="123" y="2"/>
                    </a:lnTo>
                    <a:lnTo>
                      <a:pt x="125" y="2"/>
                    </a:lnTo>
                    <a:lnTo>
                      <a:pt x="127" y="2"/>
                    </a:lnTo>
                    <a:lnTo>
                      <a:pt x="129" y="2"/>
                    </a:lnTo>
                    <a:lnTo>
                      <a:pt x="131" y="2"/>
                    </a:lnTo>
                    <a:lnTo>
                      <a:pt x="133" y="2"/>
                    </a:lnTo>
                    <a:lnTo>
                      <a:pt x="135" y="0"/>
                    </a:lnTo>
                    <a:lnTo>
                      <a:pt x="135" y="2"/>
                    </a:lnTo>
                    <a:lnTo>
                      <a:pt x="135" y="4"/>
                    </a:lnTo>
                    <a:lnTo>
                      <a:pt x="135" y="5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Freeform 58">
                <a:extLst>
                  <a:ext uri="{FF2B5EF4-FFF2-40B4-BE49-F238E27FC236}">
                    <a16:creationId xmlns="" xmlns:a16="http://schemas.microsoft.com/office/drawing/2014/main" id="{C2C8616D-CCB4-4BC8-8F63-4B0B0E5E35B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41500" y="2786063"/>
                <a:ext cx="131763" cy="55563"/>
              </a:xfrm>
              <a:custGeom>
                <a:avLst/>
                <a:gdLst>
                  <a:gd name="T0" fmla="*/ 0 w 83"/>
                  <a:gd name="T1" fmla="*/ 17 h 35"/>
                  <a:gd name="T2" fmla="*/ 10 w 83"/>
                  <a:gd name="T3" fmla="*/ 21 h 35"/>
                  <a:gd name="T4" fmla="*/ 10 w 83"/>
                  <a:gd name="T5" fmla="*/ 19 h 35"/>
                  <a:gd name="T6" fmla="*/ 37 w 83"/>
                  <a:gd name="T7" fmla="*/ 27 h 35"/>
                  <a:gd name="T8" fmla="*/ 37 w 83"/>
                  <a:gd name="T9" fmla="*/ 25 h 35"/>
                  <a:gd name="T10" fmla="*/ 45 w 83"/>
                  <a:gd name="T11" fmla="*/ 33 h 35"/>
                  <a:gd name="T12" fmla="*/ 31 w 83"/>
                  <a:gd name="T13" fmla="*/ 25 h 35"/>
                  <a:gd name="T14" fmla="*/ 31 w 83"/>
                  <a:gd name="T15" fmla="*/ 27 h 35"/>
                  <a:gd name="T16" fmla="*/ 29 w 83"/>
                  <a:gd name="T17" fmla="*/ 23 h 35"/>
                  <a:gd name="T18" fmla="*/ 14 w 83"/>
                  <a:gd name="T19" fmla="*/ 4 h 35"/>
                  <a:gd name="T20" fmla="*/ 12 w 83"/>
                  <a:gd name="T21" fmla="*/ 8 h 35"/>
                  <a:gd name="T22" fmla="*/ 14 w 83"/>
                  <a:gd name="T23" fmla="*/ 4 h 35"/>
                  <a:gd name="T24" fmla="*/ 16 w 83"/>
                  <a:gd name="T25" fmla="*/ 4 h 35"/>
                  <a:gd name="T26" fmla="*/ 64 w 83"/>
                  <a:gd name="T27" fmla="*/ 21 h 35"/>
                  <a:gd name="T28" fmla="*/ 64 w 83"/>
                  <a:gd name="T29" fmla="*/ 23 h 35"/>
                  <a:gd name="T30" fmla="*/ 64 w 83"/>
                  <a:gd name="T31" fmla="*/ 25 h 35"/>
                  <a:gd name="T32" fmla="*/ 64 w 83"/>
                  <a:gd name="T33" fmla="*/ 27 h 35"/>
                  <a:gd name="T34" fmla="*/ 60 w 83"/>
                  <a:gd name="T35" fmla="*/ 27 h 35"/>
                  <a:gd name="T36" fmla="*/ 60 w 83"/>
                  <a:gd name="T37" fmla="*/ 21 h 35"/>
                  <a:gd name="T38" fmla="*/ 62 w 83"/>
                  <a:gd name="T39" fmla="*/ 21 h 35"/>
                  <a:gd name="T40" fmla="*/ 60 w 83"/>
                  <a:gd name="T41" fmla="*/ 19 h 35"/>
                  <a:gd name="T42" fmla="*/ 60 w 83"/>
                  <a:gd name="T43" fmla="*/ 21 h 35"/>
                  <a:gd name="T44" fmla="*/ 62 w 83"/>
                  <a:gd name="T45" fmla="*/ 13 h 35"/>
                  <a:gd name="T46" fmla="*/ 70 w 83"/>
                  <a:gd name="T47" fmla="*/ 15 h 35"/>
                  <a:gd name="T48" fmla="*/ 64 w 83"/>
                  <a:gd name="T49" fmla="*/ 11 h 35"/>
                  <a:gd name="T50" fmla="*/ 64 w 83"/>
                  <a:gd name="T51" fmla="*/ 17 h 35"/>
                  <a:gd name="T52" fmla="*/ 62 w 83"/>
                  <a:gd name="T53" fmla="*/ 17 h 35"/>
                  <a:gd name="T54" fmla="*/ 62 w 83"/>
                  <a:gd name="T55" fmla="*/ 15 h 35"/>
                  <a:gd name="T56" fmla="*/ 64 w 83"/>
                  <a:gd name="T57" fmla="*/ 11 h 35"/>
                  <a:gd name="T58" fmla="*/ 50 w 83"/>
                  <a:gd name="T59" fmla="*/ 2 h 35"/>
                  <a:gd name="T60" fmla="*/ 52 w 83"/>
                  <a:gd name="T61" fmla="*/ 0 h 35"/>
                  <a:gd name="T62" fmla="*/ 52 w 83"/>
                  <a:gd name="T63" fmla="*/ 2 h 35"/>
                  <a:gd name="T64" fmla="*/ 70 w 83"/>
                  <a:gd name="T65" fmla="*/ 13 h 35"/>
                  <a:gd name="T66" fmla="*/ 70 w 83"/>
                  <a:gd name="T67" fmla="*/ 15 h 35"/>
                  <a:gd name="T68" fmla="*/ 70 w 83"/>
                  <a:gd name="T69" fmla="*/ 17 h 35"/>
                  <a:gd name="T70" fmla="*/ 70 w 83"/>
                  <a:gd name="T71" fmla="*/ 11 h 35"/>
                  <a:gd name="T72" fmla="*/ 70 w 83"/>
                  <a:gd name="T73" fmla="*/ 11 h 35"/>
                  <a:gd name="T74" fmla="*/ 72 w 83"/>
                  <a:gd name="T75" fmla="*/ 10 h 35"/>
                  <a:gd name="T76" fmla="*/ 72 w 83"/>
                  <a:gd name="T77" fmla="*/ 10 h 35"/>
                  <a:gd name="T78" fmla="*/ 72 w 83"/>
                  <a:gd name="T79" fmla="*/ 8 h 35"/>
                  <a:gd name="T80" fmla="*/ 68 w 83"/>
                  <a:gd name="T81" fmla="*/ 8 h 35"/>
                  <a:gd name="T82" fmla="*/ 70 w 83"/>
                  <a:gd name="T83" fmla="*/ 6 h 35"/>
                  <a:gd name="T84" fmla="*/ 70 w 83"/>
                  <a:gd name="T85" fmla="*/ 4 h 35"/>
                  <a:gd name="T86" fmla="*/ 70 w 83"/>
                  <a:gd name="T87" fmla="*/ 4 h 35"/>
                  <a:gd name="T88" fmla="*/ 73 w 83"/>
                  <a:gd name="T89" fmla="*/ 6 h 35"/>
                  <a:gd name="T90" fmla="*/ 73 w 83"/>
                  <a:gd name="T91" fmla="*/ 8 h 35"/>
                  <a:gd name="T92" fmla="*/ 75 w 83"/>
                  <a:gd name="T93" fmla="*/ 10 h 35"/>
                  <a:gd name="T94" fmla="*/ 73 w 83"/>
                  <a:gd name="T95" fmla="*/ 10 h 35"/>
                  <a:gd name="T96" fmla="*/ 73 w 83"/>
                  <a:gd name="T97" fmla="*/ 8 h 35"/>
                  <a:gd name="T98" fmla="*/ 72 w 83"/>
                  <a:gd name="T99" fmla="*/ 8 h 35"/>
                  <a:gd name="T100" fmla="*/ 73 w 83"/>
                  <a:gd name="T101" fmla="*/ 6 h 35"/>
                  <a:gd name="T102" fmla="*/ 75 w 83"/>
                  <a:gd name="T103" fmla="*/ 6 h 35"/>
                  <a:gd name="T104" fmla="*/ 75 w 83"/>
                  <a:gd name="T105" fmla="*/ 6 h 35"/>
                  <a:gd name="T106" fmla="*/ 75 w 83"/>
                  <a:gd name="T107" fmla="*/ 4 h 35"/>
                  <a:gd name="T108" fmla="*/ 73 w 83"/>
                  <a:gd name="T109" fmla="*/ 6 h 35"/>
                  <a:gd name="T110" fmla="*/ 73 w 83"/>
                  <a:gd name="T111" fmla="*/ 4 h 35"/>
                  <a:gd name="T112" fmla="*/ 73 w 83"/>
                  <a:gd name="T113" fmla="*/ 4 h 35"/>
                  <a:gd name="T114" fmla="*/ 75 w 83"/>
                  <a:gd name="T115" fmla="*/ 6 h 35"/>
                  <a:gd name="T116" fmla="*/ 81 w 83"/>
                  <a:gd name="T117" fmla="*/ 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3" h="35">
                    <a:moveTo>
                      <a:pt x="2" y="15"/>
                    </a:moveTo>
                    <a:lnTo>
                      <a:pt x="2" y="17"/>
                    </a:lnTo>
                    <a:lnTo>
                      <a:pt x="0" y="17"/>
                    </a:lnTo>
                    <a:lnTo>
                      <a:pt x="0" y="15"/>
                    </a:lnTo>
                    <a:lnTo>
                      <a:pt x="2" y="15"/>
                    </a:lnTo>
                    <a:close/>
                    <a:moveTo>
                      <a:pt x="10" y="21"/>
                    </a:moveTo>
                    <a:lnTo>
                      <a:pt x="8" y="21"/>
                    </a:lnTo>
                    <a:lnTo>
                      <a:pt x="8" y="19"/>
                    </a:lnTo>
                    <a:lnTo>
                      <a:pt x="10" y="19"/>
                    </a:lnTo>
                    <a:lnTo>
                      <a:pt x="10" y="21"/>
                    </a:lnTo>
                    <a:close/>
                    <a:moveTo>
                      <a:pt x="37" y="25"/>
                    </a:moveTo>
                    <a:lnTo>
                      <a:pt x="37" y="27"/>
                    </a:lnTo>
                    <a:lnTo>
                      <a:pt x="35" y="27"/>
                    </a:lnTo>
                    <a:lnTo>
                      <a:pt x="35" y="25"/>
                    </a:lnTo>
                    <a:lnTo>
                      <a:pt x="37" y="25"/>
                    </a:lnTo>
                    <a:close/>
                    <a:moveTo>
                      <a:pt x="45" y="33"/>
                    </a:moveTo>
                    <a:lnTo>
                      <a:pt x="45" y="35"/>
                    </a:lnTo>
                    <a:lnTo>
                      <a:pt x="45" y="33"/>
                    </a:lnTo>
                    <a:close/>
                    <a:moveTo>
                      <a:pt x="33" y="23"/>
                    </a:moveTo>
                    <a:lnTo>
                      <a:pt x="31" y="23"/>
                    </a:lnTo>
                    <a:lnTo>
                      <a:pt x="31" y="25"/>
                    </a:lnTo>
                    <a:lnTo>
                      <a:pt x="33" y="25"/>
                    </a:lnTo>
                    <a:lnTo>
                      <a:pt x="31" y="25"/>
                    </a:lnTo>
                    <a:lnTo>
                      <a:pt x="31" y="27"/>
                    </a:lnTo>
                    <a:lnTo>
                      <a:pt x="31" y="25"/>
                    </a:lnTo>
                    <a:lnTo>
                      <a:pt x="29" y="25"/>
                    </a:lnTo>
                    <a:lnTo>
                      <a:pt x="29" y="23"/>
                    </a:lnTo>
                    <a:lnTo>
                      <a:pt x="31" y="23"/>
                    </a:lnTo>
                    <a:lnTo>
                      <a:pt x="33" y="23"/>
                    </a:lnTo>
                    <a:close/>
                    <a:moveTo>
                      <a:pt x="14" y="4"/>
                    </a:moveTo>
                    <a:lnTo>
                      <a:pt x="14" y="6"/>
                    </a:lnTo>
                    <a:lnTo>
                      <a:pt x="14" y="8"/>
                    </a:lnTo>
                    <a:lnTo>
                      <a:pt x="12" y="8"/>
                    </a:lnTo>
                    <a:lnTo>
                      <a:pt x="12" y="6"/>
                    </a:lnTo>
                    <a:lnTo>
                      <a:pt x="14" y="6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16" y="2"/>
                    </a:lnTo>
                    <a:lnTo>
                      <a:pt x="16" y="4"/>
                    </a:lnTo>
                    <a:lnTo>
                      <a:pt x="14" y="4"/>
                    </a:lnTo>
                    <a:close/>
                    <a:moveTo>
                      <a:pt x="62" y="21"/>
                    </a:moveTo>
                    <a:lnTo>
                      <a:pt x="64" y="21"/>
                    </a:lnTo>
                    <a:lnTo>
                      <a:pt x="62" y="21"/>
                    </a:lnTo>
                    <a:lnTo>
                      <a:pt x="62" y="23"/>
                    </a:lnTo>
                    <a:lnTo>
                      <a:pt x="64" y="23"/>
                    </a:lnTo>
                    <a:lnTo>
                      <a:pt x="62" y="23"/>
                    </a:lnTo>
                    <a:lnTo>
                      <a:pt x="64" y="23"/>
                    </a:lnTo>
                    <a:lnTo>
                      <a:pt x="64" y="25"/>
                    </a:lnTo>
                    <a:lnTo>
                      <a:pt x="62" y="25"/>
                    </a:lnTo>
                    <a:lnTo>
                      <a:pt x="64" y="25"/>
                    </a:lnTo>
                    <a:lnTo>
                      <a:pt x="64" y="27"/>
                    </a:lnTo>
                    <a:lnTo>
                      <a:pt x="64" y="25"/>
                    </a:lnTo>
                    <a:lnTo>
                      <a:pt x="62" y="27"/>
                    </a:lnTo>
                    <a:lnTo>
                      <a:pt x="60" y="27"/>
                    </a:lnTo>
                    <a:lnTo>
                      <a:pt x="60" y="25"/>
                    </a:lnTo>
                    <a:lnTo>
                      <a:pt x="60" y="23"/>
                    </a:lnTo>
                    <a:lnTo>
                      <a:pt x="60" y="21"/>
                    </a:lnTo>
                    <a:lnTo>
                      <a:pt x="62" y="21"/>
                    </a:lnTo>
                    <a:lnTo>
                      <a:pt x="62" y="19"/>
                    </a:lnTo>
                    <a:lnTo>
                      <a:pt x="62" y="21"/>
                    </a:lnTo>
                    <a:close/>
                    <a:moveTo>
                      <a:pt x="60" y="17"/>
                    </a:moveTo>
                    <a:lnTo>
                      <a:pt x="62" y="17"/>
                    </a:lnTo>
                    <a:lnTo>
                      <a:pt x="60" y="19"/>
                    </a:lnTo>
                    <a:lnTo>
                      <a:pt x="62" y="19"/>
                    </a:lnTo>
                    <a:lnTo>
                      <a:pt x="60" y="19"/>
                    </a:lnTo>
                    <a:lnTo>
                      <a:pt x="60" y="21"/>
                    </a:lnTo>
                    <a:lnTo>
                      <a:pt x="60" y="19"/>
                    </a:lnTo>
                    <a:lnTo>
                      <a:pt x="60" y="17"/>
                    </a:lnTo>
                    <a:close/>
                    <a:moveTo>
                      <a:pt x="62" y="13"/>
                    </a:moveTo>
                    <a:lnTo>
                      <a:pt x="62" y="15"/>
                    </a:lnTo>
                    <a:lnTo>
                      <a:pt x="62" y="13"/>
                    </a:lnTo>
                    <a:close/>
                    <a:moveTo>
                      <a:pt x="70" y="15"/>
                    </a:moveTo>
                    <a:lnTo>
                      <a:pt x="70" y="17"/>
                    </a:lnTo>
                    <a:lnTo>
                      <a:pt x="70" y="15"/>
                    </a:lnTo>
                    <a:close/>
                    <a:moveTo>
                      <a:pt x="64" y="11"/>
                    </a:moveTo>
                    <a:lnTo>
                      <a:pt x="64" y="13"/>
                    </a:lnTo>
                    <a:lnTo>
                      <a:pt x="64" y="15"/>
                    </a:lnTo>
                    <a:lnTo>
                      <a:pt x="64" y="17"/>
                    </a:lnTo>
                    <a:lnTo>
                      <a:pt x="62" y="17"/>
                    </a:lnTo>
                    <a:lnTo>
                      <a:pt x="62" y="19"/>
                    </a:lnTo>
                    <a:lnTo>
                      <a:pt x="62" y="17"/>
                    </a:lnTo>
                    <a:lnTo>
                      <a:pt x="62" y="15"/>
                    </a:lnTo>
                    <a:lnTo>
                      <a:pt x="62" y="17"/>
                    </a:lnTo>
                    <a:lnTo>
                      <a:pt x="62" y="15"/>
                    </a:lnTo>
                    <a:lnTo>
                      <a:pt x="64" y="15"/>
                    </a:lnTo>
                    <a:lnTo>
                      <a:pt x="64" y="13"/>
                    </a:lnTo>
                    <a:lnTo>
                      <a:pt x="64" y="11"/>
                    </a:lnTo>
                    <a:close/>
                    <a:moveTo>
                      <a:pt x="50" y="0"/>
                    </a:moveTo>
                    <a:lnTo>
                      <a:pt x="52" y="0"/>
                    </a:lnTo>
                    <a:lnTo>
                      <a:pt x="50" y="2"/>
                    </a:lnTo>
                    <a:lnTo>
                      <a:pt x="50" y="0"/>
                    </a:lnTo>
                    <a:close/>
                    <a:moveTo>
                      <a:pt x="50" y="0"/>
                    </a:moveTo>
                    <a:lnTo>
                      <a:pt x="52" y="0"/>
                    </a:lnTo>
                    <a:lnTo>
                      <a:pt x="50" y="0"/>
                    </a:lnTo>
                    <a:close/>
                    <a:moveTo>
                      <a:pt x="52" y="0"/>
                    </a:moveTo>
                    <a:lnTo>
                      <a:pt x="52" y="2"/>
                    </a:lnTo>
                    <a:lnTo>
                      <a:pt x="52" y="0"/>
                    </a:lnTo>
                    <a:close/>
                    <a:moveTo>
                      <a:pt x="70" y="11"/>
                    </a:moveTo>
                    <a:lnTo>
                      <a:pt x="70" y="13"/>
                    </a:lnTo>
                    <a:lnTo>
                      <a:pt x="70" y="15"/>
                    </a:lnTo>
                    <a:lnTo>
                      <a:pt x="72" y="15"/>
                    </a:lnTo>
                    <a:lnTo>
                      <a:pt x="70" y="15"/>
                    </a:lnTo>
                    <a:lnTo>
                      <a:pt x="72" y="15"/>
                    </a:lnTo>
                    <a:lnTo>
                      <a:pt x="70" y="15"/>
                    </a:lnTo>
                    <a:lnTo>
                      <a:pt x="70" y="17"/>
                    </a:lnTo>
                    <a:lnTo>
                      <a:pt x="70" y="15"/>
                    </a:lnTo>
                    <a:lnTo>
                      <a:pt x="70" y="13"/>
                    </a:lnTo>
                    <a:lnTo>
                      <a:pt x="70" y="11"/>
                    </a:lnTo>
                    <a:close/>
                    <a:moveTo>
                      <a:pt x="72" y="10"/>
                    </a:moveTo>
                    <a:lnTo>
                      <a:pt x="72" y="11"/>
                    </a:lnTo>
                    <a:lnTo>
                      <a:pt x="70" y="11"/>
                    </a:lnTo>
                    <a:lnTo>
                      <a:pt x="72" y="10"/>
                    </a:lnTo>
                    <a:lnTo>
                      <a:pt x="70" y="10"/>
                    </a:lnTo>
                    <a:lnTo>
                      <a:pt x="72" y="10"/>
                    </a:lnTo>
                    <a:close/>
                    <a:moveTo>
                      <a:pt x="72" y="10"/>
                    </a:moveTo>
                    <a:lnTo>
                      <a:pt x="72" y="11"/>
                    </a:lnTo>
                    <a:lnTo>
                      <a:pt x="72" y="10"/>
                    </a:lnTo>
                    <a:close/>
                    <a:moveTo>
                      <a:pt x="72" y="8"/>
                    </a:moveTo>
                    <a:lnTo>
                      <a:pt x="72" y="10"/>
                    </a:lnTo>
                    <a:lnTo>
                      <a:pt x="72" y="8"/>
                    </a:lnTo>
                    <a:close/>
                    <a:moveTo>
                      <a:pt x="68" y="6"/>
                    </a:moveTo>
                    <a:lnTo>
                      <a:pt x="70" y="6"/>
                    </a:lnTo>
                    <a:lnTo>
                      <a:pt x="68" y="8"/>
                    </a:lnTo>
                    <a:lnTo>
                      <a:pt x="68" y="6"/>
                    </a:lnTo>
                    <a:close/>
                    <a:moveTo>
                      <a:pt x="70" y="4"/>
                    </a:moveTo>
                    <a:lnTo>
                      <a:pt x="70" y="6"/>
                    </a:lnTo>
                    <a:lnTo>
                      <a:pt x="70" y="4"/>
                    </a:lnTo>
                    <a:close/>
                    <a:moveTo>
                      <a:pt x="72" y="4"/>
                    </a:moveTo>
                    <a:lnTo>
                      <a:pt x="70" y="4"/>
                    </a:lnTo>
                    <a:lnTo>
                      <a:pt x="72" y="4"/>
                    </a:lnTo>
                    <a:close/>
                    <a:moveTo>
                      <a:pt x="70" y="2"/>
                    </a:moveTo>
                    <a:lnTo>
                      <a:pt x="70" y="4"/>
                    </a:lnTo>
                    <a:lnTo>
                      <a:pt x="70" y="2"/>
                    </a:lnTo>
                    <a:close/>
                    <a:moveTo>
                      <a:pt x="75" y="6"/>
                    </a:moveTo>
                    <a:lnTo>
                      <a:pt x="73" y="6"/>
                    </a:lnTo>
                    <a:lnTo>
                      <a:pt x="73" y="8"/>
                    </a:lnTo>
                    <a:lnTo>
                      <a:pt x="75" y="8"/>
                    </a:lnTo>
                    <a:lnTo>
                      <a:pt x="73" y="8"/>
                    </a:lnTo>
                    <a:lnTo>
                      <a:pt x="75" y="8"/>
                    </a:lnTo>
                    <a:lnTo>
                      <a:pt x="73" y="8"/>
                    </a:lnTo>
                    <a:lnTo>
                      <a:pt x="75" y="10"/>
                    </a:lnTo>
                    <a:lnTo>
                      <a:pt x="73" y="10"/>
                    </a:lnTo>
                    <a:lnTo>
                      <a:pt x="73" y="8"/>
                    </a:lnTo>
                    <a:lnTo>
                      <a:pt x="73" y="10"/>
                    </a:lnTo>
                    <a:lnTo>
                      <a:pt x="72" y="10"/>
                    </a:lnTo>
                    <a:lnTo>
                      <a:pt x="72" y="8"/>
                    </a:lnTo>
                    <a:lnTo>
                      <a:pt x="73" y="8"/>
                    </a:lnTo>
                    <a:lnTo>
                      <a:pt x="72" y="8"/>
                    </a:lnTo>
                    <a:lnTo>
                      <a:pt x="73" y="8"/>
                    </a:lnTo>
                    <a:lnTo>
                      <a:pt x="72" y="8"/>
                    </a:lnTo>
                    <a:lnTo>
                      <a:pt x="73" y="8"/>
                    </a:lnTo>
                    <a:lnTo>
                      <a:pt x="72" y="8"/>
                    </a:lnTo>
                    <a:lnTo>
                      <a:pt x="73" y="6"/>
                    </a:lnTo>
                    <a:lnTo>
                      <a:pt x="73" y="8"/>
                    </a:lnTo>
                    <a:lnTo>
                      <a:pt x="73" y="6"/>
                    </a:lnTo>
                    <a:lnTo>
                      <a:pt x="75" y="6"/>
                    </a:lnTo>
                    <a:close/>
                    <a:moveTo>
                      <a:pt x="75" y="6"/>
                    </a:moveTo>
                    <a:lnTo>
                      <a:pt x="73" y="6"/>
                    </a:lnTo>
                    <a:lnTo>
                      <a:pt x="75" y="6"/>
                    </a:lnTo>
                    <a:lnTo>
                      <a:pt x="75" y="4"/>
                    </a:lnTo>
                    <a:lnTo>
                      <a:pt x="75" y="6"/>
                    </a:lnTo>
                    <a:lnTo>
                      <a:pt x="75" y="4"/>
                    </a:lnTo>
                    <a:lnTo>
                      <a:pt x="75" y="6"/>
                    </a:lnTo>
                    <a:close/>
                    <a:moveTo>
                      <a:pt x="73" y="4"/>
                    </a:moveTo>
                    <a:lnTo>
                      <a:pt x="73" y="6"/>
                    </a:lnTo>
                    <a:lnTo>
                      <a:pt x="73" y="4"/>
                    </a:lnTo>
                    <a:lnTo>
                      <a:pt x="73" y="6"/>
                    </a:lnTo>
                    <a:lnTo>
                      <a:pt x="73" y="4"/>
                    </a:lnTo>
                    <a:close/>
                    <a:moveTo>
                      <a:pt x="73" y="4"/>
                    </a:moveTo>
                    <a:lnTo>
                      <a:pt x="75" y="4"/>
                    </a:lnTo>
                    <a:lnTo>
                      <a:pt x="73" y="4"/>
                    </a:lnTo>
                    <a:close/>
                    <a:moveTo>
                      <a:pt x="75" y="6"/>
                    </a:moveTo>
                    <a:lnTo>
                      <a:pt x="75" y="4"/>
                    </a:lnTo>
                    <a:lnTo>
                      <a:pt x="75" y="6"/>
                    </a:lnTo>
                    <a:close/>
                    <a:moveTo>
                      <a:pt x="83" y="4"/>
                    </a:moveTo>
                    <a:lnTo>
                      <a:pt x="81" y="4"/>
                    </a:lnTo>
                    <a:lnTo>
                      <a:pt x="81" y="2"/>
                    </a:lnTo>
                    <a:lnTo>
                      <a:pt x="83" y="2"/>
                    </a:lnTo>
                    <a:lnTo>
                      <a:pt x="83" y="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59">
                <a:extLst>
                  <a:ext uri="{FF2B5EF4-FFF2-40B4-BE49-F238E27FC236}">
                    <a16:creationId xmlns="" xmlns:a16="http://schemas.microsoft.com/office/drawing/2014/main" id="{7722BCCD-62E8-46CE-B01D-6FD6ECB464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73250" y="2779713"/>
                <a:ext cx="100013" cy="79375"/>
              </a:xfrm>
              <a:custGeom>
                <a:avLst/>
                <a:gdLst>
                  <a:gd name="T0" fmla="*/ 0 w 63"/>
                  <a:gd name="T1" fmla="*/ 48 h 50"/>
                  <a:gd name="T2" fmla="*/ 25 w 63"/>
                  <a:gd name="T3" fmla="*/ 37 h 50"/>
                  <a:gd name="T4" fmla="*/ 25 w 63"/>
                  <a:gd name="T5" fmla="*/ 37 h 50"/>
                  <a:gd name="T6" fmla="*/ 23 w 63"/>
                  <a:gd name="T7" fmla="*/ 37 h 50"/>
                  <a:gd name="T8" fmla="*/ 44 w 63"/>
                  <a:gd name="T9" fmla="*/ 27 h 50"/>
                  <a:gd name="T10" fmla="*/ 44 w 63"/>
                  <a:gd name="T11" fmla="*/ 27 h 50"/>
                  <a:gd name="T12" fmla="*/ 44 w 63"/>
                  <a:gd name="T13" fmla="*/ 27 h 50"/>
                  <a:gd name="T14" fmla="*/ 42 w 63"/>
                  <a:gd name="T15" fmla="*/ 23 h 50"/>
                  <a:gd name="T16" fmla="*/ 42 w 63"/>
                  <a:gd name="T17" fmla="*/ 23 h 50"/>
                  <a:gd name="T18" fmla="*/ 25 w 63"/>
                  <a:gd name="T19" fmla="*/ 4 h 50"/>
                  <a:gd name="T20" fmla="*/ 48 w 63"/>
                  <a:gd name="T21" fmla="*/ 19 h 50"/>
                  <a:gd name="T22" fmla="*/ 48 w 63"/>
                  <a:gd name="T23" fmla="*/ 19 h 50"/>
                  <a:gd name="T24" fmla="*/ 32 w 63"/>
                  <a:gd name="T25" fmla="*/ 6 h 50"/>
                  <a:gd name="T26" fmla="*/ 32 w 63"/>
                  <a:gd name="T27" fmla="*/ 4 h 50"/>
                  <a:gd name="T28" fmla="*/ 32 w 63"/>
                  <a:gd name="T29" fmla="*/ 4 h 50"/>
                  <a:gd name="T30" fmla="*/ 38 w 63"/>
                  <a:gd name="T31" fmla="*/ 8 h 50"/>
                  <a:gd name="T32" fmla="*/ 50 w 63"/>
                  <a:gd name="T33" fmla="*/ 19 h 50"/>
                  <a:gd name="T34" fmla="*/ 50 w 63"/>
                  <a:gd name="T35" fmla="*/ 19 h 50"/>
                  <a:gd name="T36" fmla="*/ 32 w 63"/>
                  <a:gd name="T37" fmla="*/ 6 h 50"/>
                  <a:gd name="T38" fmla="*/ 52 w 63"/>
                  <a:gd name="T39" fmla="*/ 19 h 50"/>
                  <a:gd name="T40" fmla="*/ 52 w 63"/>
                  <a:gd name="T41" fmla="*/ 17 h 50"/>
                  <a:gd name="T42" fmla="*/ 34 w 63"/>
                  <a:gd name="T43" fmla="*/ 4 h 50"/>
                  <a:gd name="T44" fmla="*/ 34 w 63"/>
                  <a:gd name="T45" fmla="*/ 4 h 50"/>
                  <a:gd name="T46" fmla="*/ 34 w 63"/>
                  <a:gd name="T47" fmla="*/ 4 h 50"/>
                  <a:gd name="T48" fmla="*/ 34 w 63"/>
                  <a:gd name="T49" fmla="*/ 6 h 50"/>
                  <a:gd name="T50" fmla="*/ 32 w 63"/>
                  <a:gd name="T51" fmla="*/ 2 h 50"/>
                  <a:gd name="T52" fmla="*/ 32 w 63"/>
                  <a:gd name="T53" fmla="*/ 2 h 50"/>
                  <a:gd name="T54" fmla="*/ 32 w 63"/>
                  <a:gd name="T55" fmla="*/ 4 h 50"/>
                  <a:gd name="T56" fmla="*/ 32 w 63"/>
                  <a:gd name="T57" fmla="*/ 2 h 50"/>
                  <a:gd name="T58" fmla="*/ 32 w 63"/>
                  <a:gd name="T59" fmla="*/ 2 h 50"/>
                  <a:gd name="T60" fmla="*/ 34 w 63"/>
                  <a:gd name="T61" fmla="*/ 0 h 50"/>
                  <a:gd name="T62" fmla="*/ 50 w 63"/>
                  <a:gd name="T63" fmla="*/ 14 h 50"/>
                  <a:gd name="T64" fmla="*/ 50 w 63"/>
                  <a:gd name="T65" fmla="*/ 14 h 50"/>
                  <a:gd name="T66" fmla="*/ 52 w 63"/>
                  <a:gd name="T67" fmla="*/ 14 h 50"/>
                  <a:gd name="T68" fmla="*/ 52 w 63"/>
                  <a:gd name="T69" fmla="*/ 14 h 50"/>
                  <a:gd name="T70" fmla="*/ 52 w 63"/>
                  <a:gd name="T71" fmla="*/ 14 h 50"/>
                  <a:gd name="T72" fmla="*/ 50 w 63"/>
                  <a:gd name="T73" fmla="*/ 14 h 50"/>
                  <a:gd name="T74" fmla="*/ 52 w 63"/>
                  <a:gd name="T75" fmla="*/ 14 h 50"/>
                  <a:gd name="T76" fmla="*/ 52 w 63"/>
                  <a:gd name="T77" fmla="*/ 14 h 50"/>
                  <a:gd name="T78" fmla="*/ 46 w 63"/>
                  <a:gd name="T79" fmla="*/ 8 h 50"/>
                  <a:gd name="T80" fmla="*/ 55 w 63"/>
                  <a:gd name="T81" fmla="*/ 14 h 50"/>
                  <a:gd name="T82" fmla="*/ 55 w 63"/>
                  <a:gd name="T83" fmla="*/ 14 h 50"/>
                  <a:gd name="T84" fmla="*/ 52 w 63"/>
                  <a:gd name="T85" fmla="*/ 8 h 50"/>
                  <a:gd name="T86" fmla="*/ 53 w 63"/>
                  <a:gd name="T87" fmla="*/ 10 h 50"/>
                  <a:gd name="T88" fmla="*/ 53 w 63"/>
                  <a:gd name="T89" fmla="*/ 10 h 50"/>
                  <a:gd name="T90" fmla="*/ 55 w 63"/>
                  <a:gd name="T91" fmla="*/ 10 h 50"/>
                  <a:gd name="T92" fmla="*/ 53 w 63"/>
                  <a:gd name="T93" fmla="*/ 8 h 50"/>
                  <a:gd name="T94" fmla="*/ 53 w 63"/>
                  <a:gd name="T95" fmla="*/ 8 h 50"/>
                  <a:gd name="T96" fmla="*/ 55 w 63"/>
                  <a:gd name="T97" fmla="*/ 8 h 50"/>
                  <a:gd name="T98" fmla="*/ 55 w 63"/>
                  <a:gd name="T99" fmla="*/ 8 h 50"/>
                  <a:gd name="T100" fmla="*/ 55 w 63"/>
                  <a:gd name="T101" fmla="*/ 8 h 50"/>
                  <a:gd name="T102" fmla="*/ 61 w 63"/>
                  <a:gd name="T103" fmla="*/ 8 h 50"/>
                  <a:gd name="T104" fmla="*/ 63 w 63"/>
                  <a:gd name="T105" fmla="*/ 6 h 50"/>
                  <a:gd name="T106" fmla="*/ 63 w 63"/>
                  <a:gd name="T107" fmla="*/ 6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3" h="50">
                    <a:moveTo>
                      <a:pt x="0" y="50"/>
                    </a:moveTo>
                    <a:lnTo>
                      <a:pt x="0" y="48"/>
                    </a:lnTo>
                    <a:lnTo>
                      <a:pt x="0" y="50"/>
                    </a:lnTo>
                    <a:close/>
                    <a:moveTo>
                      <a:pt x="25" y="37"/>
                    </a:moveTo>
                    <a:lnTo>
                      <a:pt x="23" y="37"/>
                    </a:lnTo>
                    <a:lnTo>
                      <a:pt x="25" y="37"/>
                    </a:lnTo>
                    <a:close/>
                    <a:moveTo>
                      <a:pt x="25" y="37"/>
                    </a:moveTo>
                    <a:lnTo>
                      <a:pt x="23" y="37"/>
                    </a:lnTo>
                    <a:lnTo>
                      <a:pt x="25" y="37"/>
                    </a:lnTo>
                    <a:close/>
                    <a:moveTo>
                      <a:pt x="44" y="27"/>
                    </a:moveTo>
                    <a:lnTo>
                      <a:pt x="44" y="25"/>
                    </a:lnTo>
                    <a:lnTo>
                      <a:pt x="44" y="27"/>
                    </a:lnTo>
                    <a:close/>
                    <a:moveTo>
                      <a:pt x="44" y="25"/>
                    </a:moveTo>
                    <a:lnTo>
                      <a:pt x="44" y="27"/>
                    </a:lnTo>
                    <a:lnTo>
                      <a:pt x="44" y="25"/>
                    </a:lnTo>
                    <a:close/>
                    <a:moveTo>
                      <a:pt x="42" y="23"/>
                    </a:moveTo>
                    <a:lnTo>
                      <a:pt x="44" y="23"/>
                    </a:lnTo>
                    <a:lnTo>
                      <a:pt x="42" y="23"/>
                    </a:lnTo>
                    <a:close/>
                    <a:moveTo>
                      <a:pt x="27" y="4"/>
                    </a:moveTo>
                    <a:lnTo>
                      <a:pt x="25" y="4"/>
                    </a:lnTo>
                    <a:lnTo>
                      <a:pt x="27" y="4"/>
                    </a:lnTo>
                    <a:close/>
                    <a:moveTo>
                      <a:pt x="48" y="19"/>
                    </a:moveTo>
                    <a:lnTo>
                      <a:pt x="48" y="21"/>
                    </a:lnTo>
                    <a:lnTo>
                      <a:pt x="48" y="19"/>
                    </a:lnTo>
                    <a:close/>
                    <a:moveTo>
                      <a:pt x="30" y="6"/>
                    </a:moveTo>
                    <a:lnTo>
                      <a:pt x="32" y="6"/>
                    </a:lnTo>
                    <a:lnTo>
                      <a:pt x="30" y="6"/>
                    </a:lnTo>
                    <a:close/>
                    <a:moveTo>
                      <a:pt x="32" y="4"/>
                    </a:moveTo>
                    <a:lnTo>
                      <a:pt x="32" y="6"/>
                    </a:lnTo>
                    <a:lnTo>
                      <a:pt x="32" y="4"/>
                    </a:lnTo>
                    <a:close/>
                    <a:moveTo>
                      <a:pt x="36" y="8"/>
                    </a:moveTo>
                    <a:lnTo>
                      <a:pt x="38" y="8"/>
                    </a:lnTo>
                    <a:lnTo>
                      <a:pt x="36" y="8"/>
                    </a:lnTo>
                    <a:close/>
                    <a:moveTo>
                      <a:pt x="50" y="19"/>
                    </a:moveTo>
                    <a:lnTo>
                      <a:pt x="52" y="19"/>
                    </a:lnTo>
                    <a:lnTo>
                      <a:pt x="50" y="19"/>
                    </a:lnTo>
                    <a:close/>
                    <a:moveTo>
                      <a:pt x="34" y="6"/>
                    </a:moveTo>
                    <a:lnTo>
                      <a:pt x="32" y="6"/>
                    </a:lnTo>
                    <a:lnTo>
                      <a:pt x="34" y="6"/>
                    </a:lnTo>
                    <a:close/>
                    <a:moveTo>
                      <a:pt x="52" y="19"/>
                    </a:moveTo>
                    <a:lnTo>
                      <a:pt x="50" y="19"/>
                    </a:lnTo>
                    <a:lnTo>
                      <a:pt x="52" y="17"/>
                    </a:lnTo>
                    <a:lnTo>
                      <a:pt x="52" y="19"/>
                    </a:lnTo>
                    <a:close/>
                    <a:moveTo>
                      <a:pt x="34" y="4"/>
                    </a:moveTo>
                    <a:lnTo>
                      <a:pt x="34" y="6"/>
                    </a:lnTo>
                    <a:lnTo>
                      <a:pt x="34" y="4"/>
                    </a:lnTo>
                    <a:lnTo>
                      <a:pt x="34" y="6"/>
                    </a:lnTo>
                    <a:lnTo>
                      <a:pt x="34" y="4"/>
                    </a:lnTo>
                    <a:close/>
                    <a:moveTo>
                      <a:pt x="34" y="4"/>
                    </a:moveTo>
                    <a:lnTo>
                      <a:pt x="34" y="6"/>
                    </a:lnTo>
                    <a:lnTo>
                      <a:pt x="34" y="4"/>
                    </a:lnTo>
                    <a:close/>
                    <a:moveTo>
                      <a:pt x="32" y="2"/>
                    </a:moveTo>
                    <a:lnTo>
                      <a:pt x="32" y="4"/>
                    </a:lnTo>
                    <a:lnTo>
                      <a:pt x="32" y="2"/>
                    </a:lnTo>
                    <a:close/>
                    <a:moveTo>
                      <a:pt x="34" y="4"/>
                    </a:moveTo>
                    <a:lnTo>
                      <a:pt x="32" y="4"/>
                    </a:lnTo>
                    <a:lnTo>
                      <a:pt x="34" y="4"/>
                    </a:lnTo>
                    <a:close/>
                    <a:moveTo>
                      <a:pt x="32" y="2"/>
                    </a:moveTo>
                    <a:lnTo>
                      <a:pt x="30" y="2"/>
                    </a:lnTo>
                    <a:lnTo>
                      <a:pt x="32" y="2"/>
                    </a:lnTo>
                    <a:close/>
                    <a:moveTo>
                      <a:pt x="34" y="2"/>
                    </a:moveTo>
                    <a:lnTo>
                      <a:pt x="34" y="0"/>
                    </a:lnTo>
                    <a:lnTo>
                      <a:pt x="34" y="2"/>
                    </a:lnTo>
                    <a:close/>
                    <a:moveTo>
                      <a:pt x="50" y="14"/>
                    </a:moveTo>
                    <a:lnTo>
                      <a:pt x="52" y="14"/>
                    </a:lnTo>
                    <a:lnTo>
                      <a:pt x="50" y="14"/>
                    </a:lnTo>
                    <a:close/>
                    <a:moveTo>
                      <a:pt x="53" y="14"/>
                    </a:moveTo>
                    <a:lnTo>
                      <a:pt x="52" y="14"/>
                    </a:lnTo>
                    <a:lnTo>
                      <a:pt x="53" y="14"/>
                    </a:lnTo>
                    <a:close/>
                    <a:moveTo>
                      <a:pt x="52" y="14"/>
                    </a:moveTo>
                    <a:lnTo>
                      <a:pt x="52" y="15"/>
                    </a:lnTo>
                    <a:lnTo>
                      <a:pt x="52" y="14"/>
                    </a:lnTo>
                    <a:close/>
                    <a:moveTo>
                      <a:pt x="52" y="14"/>
                    </a:moveTo>
                    <a:lnTo>
                      <a:pt x="50" y="14"/>
                    </a:lnTo>
                    <a:lnTo>
                      <a:pt x="52" y="14"/>
                    </a:lnTo>
                    <a:close/>
                    <a:moveTo>
                      <a:pt x="52" y="14"/>
                    </a:moveTo>
                    <a:lnTo>
                      <a:pt x="52" y="12"/>
                    </a:lnTo>
                    <a:lnTo>
                      <a:pt x="52" y="14"/>
                    </a:lnTo>
                    <a:close/>
                    <a:moveTo>
                      <a:pt x="46" y="6"/>
                    </a:moveTo>
                    <a:lnTo>
                      <a:pt x="46" y="8"/>
                    </a:lnTo>
                    <a:lnTo>
                      <a:pt x="46" y="6"/>
                    </a:lnTo>
                    <a:close/>
                    <a:moveTo>
                      <a:pt x="55" y="14"/>
                    </a:moveTo>
                    <a:lnTo>
                      <a:pt x="55" y="12"/>
                    </a:lnTo>
                    <a:lnTo>
                      <a:pt x="55" y="14"/>
                    </a:lnTo>
                    <a:close/>
                    <a:moveTo>
                      <a:pt x="53" y="8"/>
                    </a:moveTo>
                    <a:lnTo>
                      <a:pt x="52" y="8"/>
                    </a:lnTo>
                    <a:lnTo>
                      <a:pt x="53" y="8"/>
                    </a:lnTo>
                    <a:close/>
                    <a:moveTo>
                      <a:pt x="53" y="10"/>
                    </a:moveTo>
                    <a:lnTo>
                      <a:pt x="55" y="8"/>
                    </a:lnTo>
                    <a:lnTo>
                      <a:pt x="53" y="10"/>
                    </a:lnTo>
                    <a:close/>
                    <a:moveTo>
                      <a:pt x="55" y="8"/>
                    </a:moveTo>
                    <a:lnTo>
                      <a:pt x="55" y="10"/>
                    </a:lnTo>
                    <a:lnTo>
                      <a:pt x="55" y="8"/>
                    </a:lnTo>
                    <a:close/>
                    <a:moveTo>
                      <a:pt x="53" y="8"/>
                    </a:moveTo>
                    <a:lnTo>
                      <a:pt x="53" y="6"/>
                    </a:lnTo>
                    <a:lnTo>
                      <a:pt x="53" y="8"/>
                    </a:lnTo>
                    <a:close/>
                    <a:moveTo>
                      <a:pt x="53" y="8"/>
                    </a:moveTo>
                    <a:lnTo>
                      <a:pt x="55" y="8"/>
                    </a:lnTo>
                    <a:lnTo>
                      <a:pt x="53" y="8"/>
                    </a:lnTo>
                    <a:close/>
                    <a:moveTo>
                      <a:pt x="55" y="8"/>
                    </a:moveTo>
                    <a:lnTo>
                      <a:pt x="55" y="6"/>
                    </a:lnTo>
                    <a:lnTo>
                      <a:pt x="55" y="8"/>
                    </a:lnTo>
                    <a:close/>
                    <a:moveTo>
                      <a:pt x="61" y="6"/>
                    </a:moveTo>
                    <a:lnTo>
                      <a:pt x="61" y="8"/>
                    </a:lnTo>
                    <a:lnTo>
                      <a:pt x="61" y="6"/>
                    </a:lnTo>
                    <a:close/>
                    <a:moveTo>
                      <a:pt x="63" y="6"/>
                    </a:moveTo>
                    <a:lnTo>
                      <a:pt x="63" y="4"/>
                    </a:lnTo>
                    <a:lnTo>
                      <a:pt x="63" y="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Freeform 60">
                <a:extLst>
                  <a:ext uri="{FF2B5EF4-FFF2-40B4-BE49-F238E27FC236}">
                    <a16:creationId xmlns="" xmlns:a16="http://schemas.microsoft.com/office/drawing/2014/main" id="{15792418-4C31-4D75-8369-5778226F92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97050" y="3716338"/>
                <a:ext cx="195263" cy="198438"/>
              </a:xfrm>
              <a:custGeom>
                <a:avLst/>
                <a:gdLst>
                  <a:gd name="T0" fmla="*/ 113 w 123"/>
                  <a:gd name="T1" fmla="*/ 48 h 125"/>
                  <a:gd name="T2" fmla="*/ 107 w 123"/>
                  <a:gd name="T3" fmla="*/ 56 h 125"/>
                  <a:gd name="T4" fmla="*/ 103 w 123"/>
                  <a:gd name="T5" fmla="*/ 58 h 125"/>
                  <a:gd name="T6" fmla="*/ 98 w 123"/>
                  <a:gd name="T7" fmla="*/ 70 h 125"/>
                  <a:gd name="T8" fmla="*/ 94 w 123"/>
                  <a:gd name="T9" fmla="*/ 70 h 125"/>
                  <a:gd name="T10" fmla="*/ 90 w 123"/>
                  <a:gd name="T11" fmla="*/ 73 h 125"/>
                  <a:gd name="T12" fmla="*/ 90 w 123"/>
                  <a:gd name="T13" fmla="*/ 81 h 125"/>
                  <a:gd name="T14" fmla="*/ 90 w 123"/>
                  <a:gd name="T15" fmla="*/ 89 h 125"/>
                  <a:gd name="T16" fmla="*/ 90 w 123"/>
                  <a:gd name="T17" fmla="*/ 95 h 125"/>
                  <a:gd name="T18" fmla="*/ 96 w 123"/>
                  <a:gd name="T19" fmla="*/ 102 h 125"/>
                  <a:gd name="T20" fmla="*/ 98 w 123"/>
                  <a:gd name="T21" fmla="*/ 112 h 125"/>
                  <a:gd name="T22" fmla="*/ 94 w 123"/>
                  <a:gd name="T23" fmla="*/ 114 h 125"/>
                  <a:gd name="T24" fmla="*/ 88 w 123"/>
                  <a:gd name="T25" fmla="*/ 118 h 125"/>
                  <a:gd name="T26" fmla="*/ 86 w 123"/>
                  <a:gd name="T27" fmla="*/ 121 h 125"/>
                  <a:gd name="T28" fmla="*/ 82 w 123"/>
                  <a:gd name="T29" fmla="*/ 123 h 125"/>
                  <a:gd name="T30" fmla="*/ 75 w 123"/>
                  <a:gd name="T31" fmla="*/ 121 h 125"/>
                  <a:gd name="T32" fmla="*/ 65 w 123"/>
                  <a:gd name="T33" fmla="*/ 116 h 125"/>
                  <a:gd name="T34" fmla="*/ 59 w 123"/>
                  <a:gd name="T35" fmla="*/ 116 h 125"/>
                  <a:gd name="T36" fmla="*/ 52 w 123"/>
                  <a:gd name="T37" fmla="*/ 102 h 125"/>
                  <a:gd name="T38" fmla="*/ 50 w 123"/>
                  <a:gd name="T39" fmla="*/ 96 h 125"/>
                  <a:gd name="T40" fmla="*/ 46 w 123"/>
                  <a:gd name="T41" fmla="*/ 93 h 125"/>
                  <a:gd name="T42" fmla="*/ 38 w 123"/>
                  <a:gd name="T43" fmla="*/ 96 h 125"/>
                  <a:gd name="T44" fmla="*/ 38 w 123"/>
                  <a:gd name="T45" fmla="*/ 87 h 125"/>
                  <a:gd name="T46" fmla="*/ 32 w 123"/>
                  <a:gd name="T47" fmla="*/ 85 h 125"/>
                  <a:gd name="T48" fmla="*/ 25 w 123"/>
                  <a:gd name="T49" fmla="*/ 83 h 125"/>
                  <a:gd name="T50" fmla="*/ 11 w 123"/>
                  <a:gd name="T51" fmla="*/ 83 h 125"/>
                  <a:gd name="T52" fmla="*/ 2 w 123"/>
                  <a:gd name="T53" fmla="*/ 77 h 125"/>
                  <a:gd name="T54" fmla="*/ 2 w 123"/>
                  <a:gd name="T55" fmla="*/ 71 h 125"/>
                  <a:gd name="T56" fmla="*/ 3 w 123"/>
                  <a:gd name="T57" fmla="*/ 66 h 125"/>
                  <a:gd name="T58" fmla="*/ 7 w 123"/>
                  <a:gd name="T59" fmla="*/ 60 h 125"/>
                  <a:gd name="T60" fmla="*/ 17 w 123"/>
                  <a:gd name="T61" fmla="*/ 60 h 125"/>
                  <a:gd name="T62" fmla="*/ 21 w 123"/>
                  <a:gd name="T63" fmla="*/ 52 h 125"/>
                  <a:gd name="T64" fmla="*/ 21 w 123"/>
                  <a:gd name="T65" fmla="*/ 43 h 125"/>
                  <a:gd name="T66" fmla="*/ 23 w 123"/>
                  <a:gd name="T67" fmla="*/ 33 h 125"/>
                  <a:gd name="T68" fmla="*/ 28 w 123"/>
                  <a:gd name="T69" fmla="*/ 33 h 125"/>
                  <a:gd name="T70" fmla="*/ 32 w 123"/>
                  <a:gd name="T71" fmla="*/ 27 h 125"/>
                  <a:gd name="T72" fmla="*/ 36 w 123"/>
                  <a:gd name="T73" fmla="*/ 21 h 125"/>
                  <a:gd name="T74" fmla="*/ 42 w 123"/>
                  <a:gd name="T75" fmla="*/ 14 h 125"/>
                  <a:gd name="T76" fmla="*/ 50 w 123"/>
                  <a:gd name="T77" fmla="*/ 16 h 125"/>
                  <a:gd name="T78" fmla="*/ 53 w 123"/>
                  <a:gd name="T79" fmla="*/ 23 h 125"/>
                  <a:gd name="T80" fmla="*/ 61 w 123"/>
                  <a:gd name="T81" fmla="*/ 23 h 125"/>
                  <a:gd name="T82" fmla="*/ 65 w 123"/>
                  <a:gd name="T83" fmla="*/ 27 h 125"/>
                  <a:gd name="T84" fmla="*/ 71 w 123"/>
                  <a:gd name="T85" fmla="*/ 21 h 125"/>
                  <a:gd name="T86" fmla="*/ 71 w 123"/>
                  <a:gd name="T87" fmla="*/ 16 h 125"/>
                  <a:gd name="T88" fmla="*/ 71 w 123"/>
                  <a:gd name="T89" fmla="*/ 10 h 125"/>
                  <a:gd name="T90" fmla="*/ 76 w 123"/>
                  <a:gd name="T91" fmla="*/ 10 h 125"/>
                  <a:gd name="T92" fmla="*/ 84 w 123"/>
                  <a:gd name="T93" fmla="*/ 4 h 125"/>
                  <a:gd name="T94" fmla="*/ 88 w 123"/>
                  <a:gd name="T95" fmla="*/ 0 h 125"/>
                  <a:gd name="T96" fmla="*/ 98 w 123"/>
                  <a:gd name="T97" fmla="*/ 2 h 125"/>
                  <a:gd name="T98" fmla="*/ 98 w 123"/>
                  <a:gd name="T99" fmla="*/ 10 h 125"/>
                  <a:gd name="T100" fmla="*/ 96 w 123"/>
                  <a:gd name="T101" fmla="*/ 16 h 125"/>
                  <a:gd name="T102" fmla="*/ 98 w 123"/>
                  <a:gd name="T103" fmla="*/ 18 h 125"/>
                  <a:gd name="T104" fmla="*/ 103 w 123"/>
                  <a:gd name="T105" fmla="*/ 21 h 125"/>
                  <a:gd name="T106" fmla="*/ 109 w 123"/>
                  <a:gd name="T107" fmla="*/ 16 h 125"/>
                  <a:gd name="T108" fmla="*/ 119 w 123"/>
                  <a:gd name="T109" fmla="*/ 16 h 125"/>
                  <a:gd name="T110" fmla="*/ 121 w 123"/>
                  <a:gd name="T111" fmla="*/ 23 h 125"/>
                  <a:gd name="T112" fmla="*/ 119 w 123"/>
                  <a:gd name="T113" fmla="*/ 31 h 125"/>
                  <a:gd name="T114" fmla="*/ 121 w 123"/>
                  <a:gd name="T115" fmla="*/ 35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23" h="125">
                    <a:moveTo>
                      <a:pt x="121" y="39"/>
                    </a:moveTo>
                    <a:lnTo>
                      <a:pt x="119" y="39"/>
                    </a:lnTo>
                    <a:lnTo>
                      <a:pt x="117" y="41"/>
                    </a:lnTo>
                    <a:lnTo>
                      <a:pt x="115" y="43"/>
                    </a:lnTo>
                    <a:lnTo>
                      <a:pt x="115" y="45"/>
                    </a:lnTo>
                    <a:lnTo>
                      <a:pt x="113" y="46"/>
                    </a:lnTo>
                    <a:lnTo>
                      <a:pt x="113" y="48"/>
                    </a:lnTo>
                    <a:lnTo>
                      <a:pt x="113" y="50"/>
                    </a:lnTo>
                    <a:lnTo>
                      <a:pt x="111" y="50"/>
                    </a:lnTo>
                    <a:lnTo>
                      <a:pt x="111" y="52"/>
                    </a:lnTo>
                    <a:lnTo>
                      <a:pt x="111" y="54"/>
                    </a:lnTo>
                    <a:lnTo>
                      <a:pt x="109" y="54"/>
                    </a:lnTo>
                    <a:lnTo>
                      <a:pt x="109" y="56"/>
                    </a:lnTo>
                    <a:lnTo>
                      <a:pt x="107" y="56"/>
                    </a:lnTo>
                    <a:lnTo>
                      <a:pt x="107" y="54"/>
                    </a:lnTo>
                    <a:lnTo>
                      <a:pt x="105" y="54"/>
                    </a:lnTo>
                    <a:lnTo>
                      <a:pt x="107" y="56"/>
                    </a:lnTo>
                    <a:lnTo>
                      <a:pt x="107" y="58"/>
                    </a:lnTo>
                    <a:lnTo>
                      <a:pt x="105" y="58"/>
                    </a:lnTo>
                    <a:lnTo>
                      <a:pt x="105" y="60"/>
                    </a:lnTo>
                    <a:lnTo>
                      <a:pt x="103" y="58"/>
                    </a:lnTo>
                    <a:lnTo>
                      <a:pt x="103" y="60"/>
                    </a:lnTo>
                    <a:lnTo>
                      <a:pt x="101" y="60"/>
                    </a:lnTo>
                    <a:lnTo>
                      <a:pt x="101" y="62"/>
                    </a:lnTo>
                    <a:lnTo>
                      <a:pt x="101" y="64"/>
                    </a:lnTo>
                    <a:lnTo>
                      <a:pt x="100" y="68"/>
                    </a:lnTo>
                    <a:lnTo>
                      <a:pt x="98" y="68"/>
                    </a:lnTo>
                    <a:lnTo>
                      <a:pt x="98" y="70"/>
                    </a:lnTo>
                    <a:lnTo>
                      <a:pt x="96" y="70"/>
                    </a:lnTo>
                    <a:lnTo>
                      <a:pt x="98" y="70"/>
                    </a:lnTo>
                    <a:lnTo>
                      <a:pt x="96" y="68"/>
                    </a:lnTo>
                    <a:lnTo>
                      <a:pt x="96" y="70"/>
                    </a:lnTo>
                    <a:lnTo>
                      <a:pt x="94" y="70"/>
                    </a:lnTo>
                    <a:lnTo>
                      <a:pt x="94" y="68"/>
                    </a:lnTo>
                    <a:lnTo>
                      <a:pt x="94" y="70"/>
                    </a:lnTo>
                    <a:lnTo>
                      <a:pt x="92" y="70"/>
                    </a:lnTo>
                    <a:lnTo>
                      <a:pt x="90" y="70"/>
                    </a:lnTo>
                    <a:lnTo>
                      <a:pt x="92" y="70"/>
                    </a:lnTo>
                    <a:lnTo>
                      <a:pt x="90" y="71"/>
                    </a:lnTo>
                    <a:lnTo>
                      <a:pt x="92" y="71"/>
                    </a:lnTo>
                    <a:lnTo>
                      <a:pt x="92" y="73"/>
                    </a:lnTo>
                    <a:lnTo>
                      <a:pt x="90" y="73"/>
                    </a:lnTo>
                    <a:lnTo>
                      <a:pt x="90" y="75"/>
                    </a:lnTo>
                    <a:lnTo>
                      <a:pt x="88" y="77"/>
                    </a:lnTo>
                    <a:lnTo>
                      <a:pt x="90" y="77"/>
                    </a:lnTo>
                    <a:lnTo>
                      <a:pt x="90" y="79"/>
                    </a:lnTo>
                    <a:lnTo>
                      <a:pt x="88" y="79"/>
                    </a:lnTo>
                    <a:lnTo>
                      <a:pt x="88" y="81"/>
                    </a:lnTo>
                    <a:lnTo>
                      <a:pt x="90" y="81"/>
                    </a:lnTo>
                    <a:lnTo>
                      <a:pt x="90" y="83"/>
                    </a:lnTo>
                    <a:lnTo>
                      <a:pt x="90" y="85"/>
                    </a:lnTo>
                    <a:lnTo>
                      <a:pt x="92" y="85"/>
                    </a:lnTo>
                    <a:lnTo>
                      <a:pt x="90" y="87"/>
                    </a:lnTo>
                    <a:lnTo>
                      <a:pt x="92" y="87"/>
                    </a:lnTo>
                    <a:lnTo>
                      <a:pt x="92" y="89"/>
                    </a:lnTo>
                    <a:lnTo>
                      <a:pt x="90" y="89"/>
                    </a:lnTo>
                    <a:lnTo>
                      <a:pt x="92" y="91"/>
                    </a:lnTo>
                    <a:lnTo>
                      <a:pt x="92" y="93"/>
                    </a:lnTo>
                    <a:lnTo>
                      <a:pt x="94" y="91"/>
                    </a:lnTo>
                    <a:lnTo>
                      <a:pt x="94" y="93"/>
                    </a:lnTo>
                    <a:lnTo>
                      <a:pt x="92" y="93"/>
                    </a:lnTo>
                    <a:lnTo>
                      <a:pt x="92" y="95"/>
                    </a:lnTo>
                    <a:lnTo>
                      <a:pt x="90" y="95"/>
                    </a:lnTo>
                    <a:lnTo>
                      <a:pt x="90" y="96"/>
                    </a:lnTo>
                    <a:lnTo>
                      <a:pt x="92" y="96"/>
                    </a:lnTo>
                    <a:lnTo>
                      <a:pt x="92" y="98"/>
                    </a:lnTo>
                    <a:lnTo>
                      <a:pt x="94" y="100"/>
                    </a:lnTo>
                    <a:lnTo>
                      <a:pt x="96" y="102"/>
                    </a:lnTo>
                    <a:lnTo>
                      <a:pt x="94" y="102"/>
                    </a:lnTo>
                    <a:lnTo>
                      <a:pt x="96" y="102"/>
                    </a:lnTo>
                    <a:lnTo>
                      <a:pt x="96" y="104"/>
                    </a:lnTo>
                    <a:lnTo>
                      <a:pt x="96" y="106"/>
                    </a:lnTo>
                    <a:lnTo>
                      <a:pt x="94" y="108"/>
                    </a:lnTo>
                    <a:lnTo>
                      <a:pt x="96" y="108"/>
                    </a:lnTo>
                    <a:lnTo>
                      <a:pt x="98" y="108"/>
                    </a:lnTo>
                    <a:lnTo>
                      <a:pt x="98" y="110"/>
                    </a:lnTo>
                    <a:lnTo>
                      <a:pt x="98" y="112"/>
                    </a:lnTo>
                    <a:lnTo>
                      <a:pt x="98" y="114"/>
                    </a:lnTo>
                    <a:lnTo>
                      <a:pt x="98" y="116"/>
                    </a:lnTo>
                    <a:lnTo>
                      <a:pt x="98" y="114"/>
                    </a:lnTo>
                    <a:lnTo>
                      <a:pt x="96" y="114"/>
                    </a:lnTo>
                    <a:lnTo>
                      <a:pt x="96" y="116"/>
                    </a:lnTo>
                    <a:lnTo>
                      <a:pt x="96" y="114"/>
                    </a:lnTo>
                    <a:lnTo>
                      <a:pt x="94" y="114"/>
                    </a:lnTo>
                    <a:lnTo>
                      <a:pt x="92" y="114"/>
                    </a:lnTo>
                    <a:lnTo>
                      <a:pt x="92" y="116"/>
                    </a:lnTo>
                    <a:lnTo>
                      <a:pt x="94" y="116"/>
                    </a:lnTo>
                    <a:lnTo>
                      <a:pt x="92" y="116"/>
                    </a:lnTo>
                    <a:lnTo>
                      <a:pt x="90" y="116"/>
                    </a:lnTo>
                    <a:lnTo>
                      <a:pt x="90" y="118"/>
                    </a:lnTo>
                    <a:lnTo>
                      <a:pt x="88" y="118"/>
                    </a:lnTo>
                    <a:lnTo>
                      <a:pt x="88" y="120"/>
                    </a:lnTo>
                    <a:lnTo>
                      <a:pt x="90" y="120"/>
                    </a:lnTo>
                    <a:lnTo>
                      <a:pt x="88" y="120"/>
                    </a:lnTo>
                    <a:lnTo>
                      <a:pt x="88" y="121"/>
                    </a:lnTo>
                    <a:lnTo>
                      <a:pt x="88" y="123"/>
                    </a:lnTo>
                    <a:lnTo>
                      <a:pt x="86" y="123"/>
                    </a:lnTo>
                    <a:lnTo>
                      <a:pt x="86" y="121"/>
                    </a:lnTo>
                    <a:lnTo>
                      <a:pt x="86" y="123"/>
                    </a:lnTo>
                    <a:lnTo>
                      <a:pt x="86" y="121"/>
                    </a:lnTo>
                    <a:lnTo>
                      <a:pt x="86" y="123"/>
                    </a:lnTo>
                    <a:lnTo>
                      <a:pt x="84" y="123"/>
                    </a:lnTo>
                    <a:lnTo>
                      <a:pt x="82" y="123"/>
                    </a:lnTo>
                    <a:lnTo>
                      <a:pt x="84" y="123"/>
                    </a:lnTo>
                    <a:lnTo>
                      <a:pt x="82" y="123"/>
                    </a:lnTo>
                    <a:lnTo>
                      <a:pt x="82" y="125"/>
                    </a:lnTo>
                    <a:lnTo>
                      <a:pt x="80" y="125"/>
                    </a:lnTo>
                    <a:lnTo>
                      <a:pt x="80" y="123"/>
                    </a:lnTo>
                    <a:lnTo>
                      <a:pt x="78" y="123"/>
                    </a:lnTo>
                    <a:lnTo>
                      <a:pt x="76" y="123"/>
                    </a:lnTo>
                    <a:lnTo>
                      <a:pt x="76" y="121"/>
                    </a:lnTo>
                    <a:lnTo>
                      <a:pt x="75" y="121"/>
                    </a:lnTo>
                    <a:lnTo>
                      <a:pt x="73" y="120"/>
                    </a:lnTo>
                    <a:lnTo>
                      <a:pt x="73" y="118"/>
                    </a:lnTo>
                    <a:lnTo>
                      <a:pt x="71" y="118"/>
                    </a:lnTo>
                    <a:lnTo>
                      <a:pt x="71" y="116"/>
                    </a:lnTo>
                    <a:lnTo>
                      <a:pt x="69" y="116"/>
                    </a:lnTo>
                    <a:lnTo>
                      <a:pt x="67" y="116"/>
                    </a:lnTo>
                    <a:lnTo>
                      <a:pt x="65" y="116"/>
                    </a:lnTo>
                    <a:lnTo>
                      <a:pt x="65" y="114"/>
                    </a:lnTo>
                    <a:lnTo>
                      <a:pt x="63" y="114"/>
                    </a:lnTo>
                    <a:lnTo>
                      <a:pt x="63" y="112"/>
                    </a:lnTo>
                    <a:lnTo>
                      <a:pt x="63" y="114"/>
                    </a:lnTo>
                    <a:lnTo>
                      <a:pt x="61" y="114"/>
                    </a:lnTo>
                    <a:lnTo>
                      <a:pt x="59" y="114"/>
                    </a:lnTo>
                    <a:lnTo>
                      <a:pt x="59" y="116"/>
                    </a:lnTo>
                    <a:lnTo>
                      <a:pt x="59" y="114"/>
                    </a:lnTo>
                    <a:lnTo>
                      <a:pt x="57" y="112"/>
                    </a:lnTo>
                    <a:lnTo>
                      <a:pt x="55" y="112"/>
                    </a:lnTo>
                    <a:lnTo>
                      <a:pt x="53" y="108"/>
                    </a:lnTo>
                    <a:lnTo>
                      <a:pt x="53" y="106"/>
                    </a:lnTo>
                    <a:lnTo>
                      <a:pt x="52" y="104"/>
                    </a:lnTo>
                    <a:lnTo>
                      <a:pt x="52" y="102"/>
                    </a:lnTo>
                    <a:lnTo>
                      <a:pt x="53" y="102"/>
                    </a:lnTo>
                    <a:lnTo>
                      <a:pt x="53" y="100"/>
                    </a:lnTo>
                    <a:lnTo>
                      <a:pt x="53" y="98"/>
                    </a:lnTo>
                    <a:lnTo>
                      <a:pt x="52" y="96"/>
                    </a:lnTo>
                    <a:lnTo>
                      <a:pt x="52" y="95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5"/>
                    </a:lnTo>
                    <a:lnTo>
                      <a:pt x="52" y="95"/>
                    </a:lnTo>
                    <a:lnTo>
                      <a:pt x="50" y="95"/>
                    </a:lnTo>
                    <a:lnTo>
                      <a:pt x="50" y="93"/>
                    </a:lnTo>
                    <a:lnTo>
                      <a:pt x="48" y="93"/>
                    </a:lnTo>
                    <a:lnTo>
                      <a:pt x="48" y="95"/>
                    </a:lnTo>
                    <a:lnTo>
                      <a:pt x="46" y="93"/>
                    </a:lnTo>
                    <a:lnTo>
                      <a:pt x="44" y="93"/>
                    </a:lnTo>
                    <a:lnTo>
                      <a:pt x="46" y="93"/>
                    </a:lnTo>
                    <a:lnTo>
                      <a:pt x="44" y="95"/>
                    </a:lnTo>
                    <a:lnTo>
                      <a:pt x="42" y="93"/>
                    </a:lnTo>
                    <a:lnTo>
                      <a:pt x="40" y="95"/>
                    </a:lnTo>
                    <a:lnTo>
                      <a:pt x="40" y="96"/>
                    </a:lnTo>
                    <a:lnTo>
                      <a:pt x="38" y="96"/>
                    </a:lnTo>
                    <a:lnTo>
                      <a:pt x="38" y="95"/>
                    </a:lnTo>
                    <a:lnTo>
                      <a:pt x="36" y="95"/>
                    </a:lnTo>
                    <a:lnTo>
                      <a:pt x="38" y="95"/>
                    </a:lnTo>
                    <a:lnTo>
                      <a:pt x="38" y="93"/>
                    </a:lnTo>
                    <a:lnTo>
                      <a:pt x="38" y="91"/>
                    </a:lnTo>
                    <a:lnTo>
                      <a:pt x="38" y="89"/>
                    </a:lnTo>
                    <a:lnTo>
                      <a:pt x="38" y="87"/>
                    </a:lnTo>
                    <a:lnTo>
                      <a:pt x="36" y="85"/>
                    </a:lnTo>
                    <a:lnTo>
                      <a:pt x="34" y="85"/>
                    </a:lnTo>
                    <a:lnTo>
                      <a:pt x="32" y="87"/>
                    </a:lnTo>
                    <a:lnTo>
                      <a:pt x="32" y="89"/>
                    </a:lnTo>
                    <a:lnTo>
                      <a:pt x="30" y="87"/>
                    </a:lnTo>
                    <a:lnTo>
                      <a:pt x="30" y="85"/>
                    </a:lnTo>
                    <a:lnTo>
                      <a:pt x="32" y="85"/>
                    </a:lnTo>
                    <a:lnTo>
                      <a:pt x="32" y="83"/>
                    </a:lnTo>
                    <a:lnTo>
                      <a:pt x="30" y="83"/>
                    </a:lnTo>
                    <a:lnTo>
                      <a:pt x="28" y="85"/>
                    </a:lnTo>
                    <a:lnTo>
                      <a:pt x="27" y="85"/>
                    </a:lnTo>
                    <a:lnTo>
                      <a:pt x="27" y="83"/>
                    </a:lnTo>
                    <a:lnTo>
                      <a:pt x="27" y="81"/>
                    </a:lnTo>
                    <a:lnTo>
                      <a:pt x="25" y="83"/>
                    </a:lnTo>
                    <a:lnTo>
                      <a:pt x="23" y="83"/>
                    </a:lnTo>
                    <a:lnTo>
                      <a:pt x="21" y="83"/>
                    </a:lnTo>
                    <a:lnTo>
                      <a:pt x="19" y="83"/>
                    </a:lnTo>
                    <a:lnTo>
                      <a:pt x="17" y="81"/>
                    </a:lnTo>
                    <a:lnTo>
                      <a:pt x="15" y="81"/>
                    </a:lnTo>
                    <a:lnTo>
                      <a:pt x="13" y="83"/>
                    </a:lnTo>
                    <a:lnTo>
                      <a:pt x="11" y="83"/>
                    </a:lnTo>
                    <a:lnTo>
                      <a:pt x="9" y="83"/>
                    </a:lnTo>
                    <a:lnTo>
                      <a:pt x="9" y="81"/>
                    </a:lnTo>
                    <a:lnTo>
                      <a:pt x="7" y="81"/>
                    </a:lnTo>
                    <a:lnTo>
                      <a:pt x="5" y="81"/>
                    </a:lnTo>
                    <a:lnTo>
                      <a:pt x="3" y="81"/>
                    </a:lnTo>
                    <a:lnTo>
                      <a:pt x="2" y="79"/>
                    </a:lnTo>
                    <a:lnTo>
                      <a:pt x="2" y="77"/>
                    </a:lnTo>
                    <a:lnTo>
                      <a:pt x="0" y="77"/>
                    </a:lnTo>
                    <a:lnTo>
                      <a:pt x="0" y="75"/>
                    </a:lnTo>
                    <a:lnTo>
                      <a:pt x="0" y="73"/>
                    </a:lnTo>
                    <a:lnTo>
                      <a:pt x="2" y="73"/>
                    </a:lnTo>
                    <a:lnTo>
                      <a:pt x="2" y="71"/>
                    </a:lnTo>
                    <a:lnTo>
                      <a:pt x="0" y="71"/>
                    </a:lnTo>
                    <a:lnTo>
                      <a:pt x="2" y="71"/>
                    </a:lnTo>
                    <a:lnTo>
                      <a:pt x="2" y="70"/>
                    </a:lnTo>
                    <a:lnTo>
                      <a:pt x="0" y="70"/>
                    </a:lnTo>
                    <a:lnTo>
                      <a:pt x="2" y="70"/>
                    </a:lnTo>
                    <a:lnTo>
                      <a:pt x="2" y="68"/>
                    </a:lnTo>
                    <a:lnTo>
                      <a:pt x="2" y="66"/>
                    </a:lnTo>
                    <a:lnTo>
                      <a:pt x="2" y="68"/>
                    </a:lnTo>
                    <a:lnTo>
                      <a:pt x="3" y="66"/>
                    </a:lnTo>
                    <a:lnTo>
                      <a:pt x="3" y="64"/>
                    </a:lnTo>
                    <a:lnTo>
                      <a:pt x="5" y="64"/>
                    </a:lnTo>
                    <a:lnTo>
                      <a:pt x="5" y="62"/>
                    </a:lnTo>
                    <a:lnTo>
                      <a:pt x="7" y="62"/>
                    </a:lnTo>
                    <a:lnTo>
                      <a:pt x="5" y="62"/>
                    </a:lnTo>
                    <a:lnTo>
                      <a:pt x="5" y="60"/>
                    </a:lnTo>
                    <a:lnTo>
                      <a:pt x="7" y="60"/>
                    </a:lnTo>
                    <a:lnTo>
                      <a:pt x="9" y="60"/>
                    </a:lnTo>
                    <a:lnTo>
                      <a:pt x="11" y="60"/>
                    </a:lnTo>
                    <a:lnTo>
                      <a:pt x="13" y="60"/>
                    </a:lnTo>
                    <a:lnTo>
                      <a:pt x="13" y="58"/>
                    </a:lnTo>
                    <a:lnTo>
                      <a:pt x="13" y="60"/>
                    </a:lnTo>
                    <a:lnTo>
                      <a:pt x="15" y="60"/>
                    </a:lnTo>
                    <a:lnTo>
                      <a:pt x="17" y="60"/>
                    </a:lnTo>
                    <a:lnTo>
                      <a:pt x="19" y="60"/>
                    </a:lnTo>
                    <a:lnTo>
                      <a:pt x="19" y="58"/>
                    </a:lnTo>
                    <a:lnTo>
                      <a:pt x="21" y="58"/>
                    </a:lnTo>
                    <a:lnTo>
                      <a:pt x="21" y="56"/>
                    </a:lnTo>
                    <a:lnTo>
                      <a:pt x="23" y="56"/>
                    </a:lnTo>
                    <a:lnTo>
                      <a:pt x="21" y="54"/>
                    </a:lnTo>
                    <a:lnTo>
                      <a:pt x="21" y="52"/>
                    </a:lnTo>
                    <a:lnTo>
                      <a:pt x="23" y="50"/>
                    </a:lnTo>
                    <a:lnTo>
                      <a:pt x="21" y="50"/>
                    </a:lnTo>
                    <a:lnTo>
                      <a:pt x="21" y="48"/>
                    </a:lnTo>
                    <a:lnTo>
                      <a:pt x="21" y="46"/>
                    </a:lnTo>
                    <a:lnTo>
                      <a:pt x="23" y="46"/>
                    </a:lnTo>
                    <a:lnTo>
                      <a:pt x="23" y="45"/>
                    </a:lnTo>
                    <a:lnTo>
                      <a:pt x="21" y="43"/>
                    </a:lnTo>
                    <a:lnTo>
                      <a:pt x="21" y="41"/>
                    </a:lnTo>
                    <a:lnTo>
                      <a:pt x="23" y="41"/>
                    </a:lnTo>
                    <a:lnTo>
                      <a:pt x="23" y="39"/>
                    </a:lnTo>
                    <a:lnTo>
                      <a:pt x="23" y="37"/>
                    </a:lnTo>
                    <a:lnTo>
                      <a:pt x="21" y="35"/>
                    </a:lnTo>
                    <a:lnTo>
                      <a:pt x="23" y="35"/>
                    </a:lnTo>
                    <a:lnTo>
                      <a:pt x="23" y="33"/>
                    </a:lnTo>
                    <a:lnTo>
                      <a:pt x="23" y="35"/>
                    </a:lnTo>
                    <a:lnTo>
                      <a:pt x="25" y="35"/>
                    </a:lnTo>
                    <a:lnTo>
                      <a:pt x="25" y="33"/>
                    </a:lnTo>
                    <a:lnTo>
                      <a:pt x="25" y="35"/>
                    </a:lnTo>
                    <a:lnTo>
                      <a:pt x="27" y="35"/>
                    </a:lnTo>
                    <a:lnTo>
                      <a:pt x="27" y="33"/>
                    </a:lnTo>
                    <a:lnTo>
                      <a:pt x="28" y="33"/>
                    </a:lnTo>
                    <a:lnTo>
                      <a:pt x="27" y="33"/>
                    </a:lnTo>
                    <a:lnTo>
                      <a:pt x="27" y="31"/>
                    </a:lnTo>
                    <a:lnTo>
                      <a:pt x="28" y="31"/>
                    </a:lnTo>
                    <a:lnTo>
                      <a:pt x="28" y="29"/>
                    </a:lnTo>
                    <a:lnTo>
                      <a:pt x="30" y="29"/>
                    </a:lnTo>
                    <a:lnTo>
                      <a:pt x="32" y="29"/>
                    </a:lnTo>
                    <a:lnTo>
                      <a:pt x="32" y="27"/>
                    </a:lnTo>
                    <a:lnTo>
                      <a:pt x="34" y="27"/>
                    </a:lnTo>
                    <a:lnTo>
                      <a:pt x="34" y="25"/>
                    </a:lnTo>
                    <a:lnTo>
                      <a:pt x="34" y="23"/>
                    </a:lnTo>
                    <a:lnTo>
                      <a:pt x="34" y="21"/>
                    </a:lnTo>
                    <a:lnTo>
                      <a:pt x="36" y="21"/>
                    </a:lnTo>
                    <a:lnTo>
                      <a:pt x="36" y="20"/>
                    </a:lnTo>
                    <a:lnTo>
                      <a:pt x="36" y="21"/>
                    </a:lnTo>
                    <a:lnTo>
                      <a:pt x="38" y="20"/>
                    </a:lnTo>
                    <a:lnTo>
                      <a:pt x="38" y="18"/>
                    </a:lnTo>
                    <a:lnTo>
                      <a:pt x="38" y="16"/>
                    </a:lnTo>
                    <a:lnTo>
                      <a:pt x="40" y="16"/>
                    </a:lnTo>
                    <a:lnTo>
                      <a:pt x="40" y="14"/>
                    </a:lnTo>
                    <a:lnTo>
                      <a:pt x="40" y="16"/>
                    </a:lnTo>
                    <a:lnTo>
                      <a:pt x="42" y="14"/>
                    </a:lnTo>
                    <a:lnTo>
                      <a:pt x="44" y="14"/>
                    </a:lnTo>
                    <a:lnTo>
                      <a:pt x="44" y="12"/>
                    </a:lnTo>
                    <a:lnTo>
                      <a:pt x="46" y="12"/>
                    </a:lnTo>
                    <a:lnTo>
                      <a:pt x="46" y="14"/>
                    </a:lnTo>
                    <a:lnTo>
                      <a:pt x="48" y="14"/>
                    </a:lnTo>
                    <a:lnTo>
                      <a:pt x="48" y="16"/>
                    </a:lnTo>
                    <a:lnTo>
                      <a:pt x="50" y="16"/>
                    </a:lnTo>
                    <a:lnTo>
                      <a:pt x="52" y="16"/>
                    </a:lnTo>
                    <a:lnTo>
                      <a:pt x="50" y="18"/>
                    </a:lnTo>
                    <a:lnTo>
                      <a:pt x="52" y="18"/>
                    </a:lnTo>
                    <a:lnTo>
                      <a:pt x="52" y="20"/>
                    </a:lnTo>
                    <a:lnTo>
                      <a:pt x="52" y="21"/>
                    </a:lnTo>
                    <a:lnTo>
                      <a:pt x="53" y="21"/>
                    </a:lnTo>
                    <a:lnTo>
                      <a:pt x="53" y="23"/>
                    </a:lnTo>
                    <a:lnTo>
                      <a:pt x="53" y="25"/>
                    </a:lnTo>
                    <a:lnTo>
                      <a:pt x="55" y="25"/>
                    </a:lnTo>
                    <a:lnTo>
                      <a:pt x="55" y="23"/>
                    </a:lnTo>
                    <a:lnTo>
                      <a:pt x="57" y="25"/>
                    </a:lnTo>
                    <a:lnTo>
                      <a:pt x="59" y="25"/>
                    </a:lnTo>
                    <a:lnTo>
                      <a:pt x="59" y="23"/>
                    </a:lnTo>
                    <a:lnTo>
                      <a:pt x="61" y="23"/>
                    </a:lnTo>
                    <a:lnTo>
                      <a:pt x="61" y="25"/>
                    </a:lnTo>
                    <a:lnTo>
                      <a:pt x="61" y="27"/>
                    </a:lnTo>
                    <a:lnTo>
                      <a:pt x="59" y="27"/>
                    </a:lnTo>
                    <a:lnTo>
                      <a:pt x="61" y="27"/>
                    </a:lnTo>
                    <a:lnTo>
                      <a:pt x="63" y="25"/>
                    </a:lnTo>
                    <a:lnTo>
                      <a:pt x="65" y="25"/>
                    </a:lnTo>
                    <a:lnTo>
                      <a:pt x="65" y="27"/>
                    </a:lnTo>
                    <a:lnTo>
                      <a:pt x="65" y="25"/>
                    </a:lnTo>
                    <a:lnTo>
                      <a:pt x="65" y="23"/>
                    </a:lnTo>
                    <a:lnTo>
                      <a:pt x="67" y="25"/>
                    </a:lnTo>
                    <a:lnTo>
                      <a:pt x="67" y="23"/>
                    </a:lnTo>
                    <a:lnTo>
                      <a:pt x="69" y="23"/>
                    </a:lnTo>
                    <a:lnTo>
                      <a:pt x="69" y="21"/>
                    </a:lnTo>
                    <a:lnTo>
                      <a:pt x="71" y="21"/>
                    </a:lnTo>
                    <a:lnTo>
                      <a:pt x="69" y="21"/>
                    </a:lnTo>
                    <a:lnTo>
                      <a:pt x="69" y="20"/>
                    </a:lnTo>
                    <a:lnTo>
                      <a:pt x="69" y="18"/>
                    </a:lnTo>
                    <a:lnTo>
                      <a:pt x="71" y="18"/>
                    </a:lnTo>
                    <a:lnTo>
                      <a:pt x="71" y="16"/>
                    </a:lnTo>
                    <a:lnTo>
                      <a:pt x="71" y="18"/>
                    </a:lnTo>
                    <a:lnTo>
                      <a:pt x="71" y="16"/>
                    </a:lnTo>
                    <a:lnTo>
                      <a:pt x="73" y="16"/>
                    </a:lnTo>
                    <a:lnTo>
                      <a:pt x="71" y="16"/>
                    </a:lnTo>
                    <a:lnTo>
                      <a:pt x="73" y="14"/>
                    </a:lnTo>
                    <a:lnTo>
                      <a:pt x="73" y="12"/>
                    </a:lnTo>
                    <a:lnTo>
                      <a:pt x="71" y="12"/>
                    </a:lnTo>
                    <a:lnTo>
                      <a:pt x="73" y="12"/>
                    </a:lnTo>
                    <a:lnTo>
                      <a:pt x="71" y="10"/>
                    </a:lnTo>
                    <a:lnTo>
                      <a:pt x="73" y="10"/>
                    </a:lnTo>
                    <a:lnTo>
                      <a:pt x="71" y="10"/>
                    </a:lnTo>
                    <a:lnTo>
                      <a:pt x="73" y="10"/>
                    </a:lnTo>
                    <a:lnTo>
                      <a:pt x="73" y="8"/>
                    </a:lnTo>
                    <a:lnTo>
                      <a:pt x="75" y="8"/>
                    </a:lnTo>
                    <a:lnTo>
                      <a:pt x="76" y="8"/>
                    </a:lnTo>
                    <a:lnTo>
                      <a:pt x="76" y="10"/>
                    </a:lnTo>
                    <a:lnTo>
                      <a:pt x="78" y="10"/>
                    </a:lnTo>
                    <a:lnTo>
                      <a:pt x="80" y="10"/>
                    </a:lnTo>
                    <a:lnTo>
                      <a:pt x="82" y="10"/>
                    </a:lnTo>
                    <a:lnTo>
                      <a:pt x="82" y="8"/>
                    </a:lnTo>
                    <a:lnTo>
                      <a:pt x="82" y="6"/>
                    </a:lnTo>
                    <a:lnTo>
                      <a:pt x="82" y="4"/>
                    </a:lnTo>
                    <a:lnTo>
                      <a:pt x="84" y="4"/>
                    </a:lnTo>
                    <a:lnTo>
                      <a:pt x="86" y="4"/>
                    </a:lnTo>
                    <a:lnTo>
                      <a:pt x="84" y="2"/>
                    </a:lnTo>
                    <a:lnTo>
                      <a:pt x="86" y="2"/>
                    </a:lnTo>
                    <a:lnTo>
                      <a:pt x="84" y="2"/>
                    </a:lnTo>
                    <a:lnTo>
                      <a:pt x="84" y="0"/>
                    </a:lnTo>
                    <a:lnTo>
                      <a:pt x="86" y="0"/>
                    </a:lnTo>
                    <a:lnTo>
                      <a:pt x="88" y="0"/>
                    </a:lnTo>
                    <a:lnTo>
                      <a:pt x="90" y="0"/>
                    </a:lnTo>
                    <a:lnTo>
                      <a:pt x="92" y="0"/>
                    </a:lnTo>
                    <a:lnTo>
                      <a:pt x="92" y="2"/>
                    </a:lnTo>
                    <a:lnTo>
                      <a:pt x="94" y="0"/>
                    </a:lnTo>
                    <a:lnTo>
                      <a:pt x="94" y="2"/>
                    </a:lnTo>
                    <a:lnTo>
                      <a:pt x="96" y="2"/>
                    </a:lnTo>
                    <a:lnTo>
                      <a:pt x="98" y="2"/>
                    </a:lnTo>
                    <a:lnTo>
                      <a:pt x="98" y="4"/>
                    </a:lnTo>
                    <a:lnTo>
                      <a:pt x="98" y="6"/>
                    </a:lnTo>
                    <a:lnTo>
                      <a:pt x="96" y="6"/>
                    </a:lnTo>
                    <a:lnTo>
                      <a:pt x="96" y="8"/>
                    </a:lnTo>
                    <a:lnTo>
                      <a:pt x="98" y="8"/>
                    </a:lnTo>
                    <a:lnTo>
                      <a:pt x="96" y="10"/>
                    </a:lnTo>
                    <a:lnTo>
                      <a:pt x="98" y="10"/>
                    </a:lnTo>
                    <a:lnTo>
                      <a:pt x="96" y="10"/>
                    </a:lnTo>
                    <a:lnTo>
                      <a:pt x="98" y="10"/>
                    </a:lnTo>
                    <a:lnTo>
                      <a:pt x="96" y="10"/>
                    </a:lnTo>
                    <a:lnTo>
                      <a:pt x="96" y="12"/>
                    </a:lnTo>
                    <a:lnTo>
                      <a:pt x="96" y="14"/>
                    </a:lnTo>
                    <a:lnTo>
                      <a:pt x="94" y="14"/>
                    </a:lnTo>
                    <a:lnTo>
                      <a:pt x="96" y="16"/>
                    </a:lnTo>
                    <a:lnTo>
                      <a:pt x="94" y="16"/>
                    </a:lnTo>
                    <a:lnTo>
                      <a:pt x="96" y="16"/>
                    </a:lnTo>
                    <a:lnTo>
                      <a:pt x="94" y="16"/>
                    </a:lnTo>
                    <a:lnTo>
                      <a:pt x="96" y="18"/>
                    </a:lnTo>
                    <a:lnTo>
                      <a:pt x="96" y="16"/>
                    </a:lnTo>
                    <a:lnTo>
                      <a:pt x="96" y="18"/>
                    </a:lnTo>
                    <a:lnTo>
                      <a:pt x="98" y="18"/>
                    </a:lnTo>
                    <a:lnTo>
                      <a:pt x="100" y="18"/>
                    </a:lnTo>
                    <a:lnTo>
                      <a:pt x="100" y="20"/>
                    </a:lnTo>
                    <a:lnTo>
                      <a:pt x="98" y="20"/>
                    </a:lnTo>
                    <a:lnTo>
                      <a:pt x="100" y="20"/>
                    </a:lnTo>
                    <a:lnTo>
                      <a:pt x="101" y="20"/>
                    </a:lnTo>
                    <a:lnTo>
                      <a:pt x="101" y="21"/>
                    </a:lnTo>
                    <a:lnTo>
                      <a:pt x="103" y="21"/>
                    </a:lnTo>
                    <a:lnTo>
                      <a:pt x="103" y="20"/>
                    </a:lnTo>
                    <a:lnTo>
                      <a:pt x="105" y="20"/>
                    </a:lnTo>
                    <a:lnTo>
                      <a:pt x="105" y="21"/>
                    </a:lnTo>
                    <a:lnTo>
                      <a:pt x="107" y="21"/>
                    </a:lnTo>
                    <a:lnTo>
                      <a:pt x="107" y="20"/>
                    </a:lnTo>
                    <a:lnTo>
                      <a:pt x="109" y="18"/>
                    </a:lnTo>
                    <a:lnTo>
                      <a:pt x="109" y="16"/>
                    </a:lnTo>
                    <a:lnTo>
                      <a:pt x="111" y="16"/>
                    </a:lnTo>
                    <a:lnTo>
                      <a:pt x="111" y="18"/>
                    </a:lnTo>
                    <a:lnTo>
                      <a:pt x="111" y="16"/>
                    </a:lnTo>
                    <a:lnTo>
                      <a:pt x="113" y="16"/>
                    </a:lnTo>
                    <a:lnTo>
                      <a:pt x="115" y="16"/>
                    </a:lnTo>
                    <a:lnTo>
                      <a:pt x="117" y="16"/>
                    </a:lnTo>
                    <a:lnTo>
                      <a:pt x="119" y="16"/>
                    </a:lnTo>
                    <a:lnTo>
                      <a:pt x="119" y="18"/>
                    </a:lnTo>
                    <a:lnTo>
                      <a:pt x="117" y="18"/>
                    </a:lnTo>
                    <a:lnTo>
                      <a:pt x="119" y="18"/>
                    </a:lnTo>
                    <a:lnTo>
                      <a:pt x="121" y="18"/>
                    </a:lnTo>
                    <a:lnTo>
                      <a:pt x="121" y="20"/>
                    </a:lnTo>
                    <a:lnTo>
                      <a:pt x="121" y="21"/>
                    </a:lnTo>
                    <a:lnTo>
                      <a:pt x="121" y="23"/>
                    </a:lnTo>
                    <a:lnTo>
                      <a:pt x="121" y="25"/>
                    </a:lnTo>
                    <a:lnTo>
                      <a:pt x="119" y="25"/>
                    </a:lnTo>
                    <a:lnTo>
                      <a:pt x="119" y="27"/>
                    </a:lnTo>
                    <a:lnTo>
                      <a:pt x="117" y="27"/>
                    </a:lnTo>
                    <a:lnTo>
                      <a:pt x="119" y="27"/>
                    </a:lnTo>
                    <a:lnTo>
                      <a:pt x="119" y="29"/>
                    </a:lnTo>
                    <a:lnTo>
                      <a:pt x="119" y="31"/>
                    </a:lnTo>
                    <a:lnTo>
                      <a:pt x="119" y="33"/>
                    </a:lnTo>
                    <a:lnTo>
                      <a:pt x="121" y="33"/>
                    </a:lnTo>
                    <a:lnTo>
                      <a:pt x="121" y="35"/>
                    </a:lnTo>
                    <a:lnTo>
                      <a:pt x="121" y="33"/>
                    </a:lnTo>
                    <a:lnTo>
                      <a:pt x="123" y="33"/>
                    </a:lnTo>
                    <a:lnTo>
                      <a:pt x="123" y="35"/>
                    </a:lnTo>
                    <a:lnTo>
                      <a:pt x="121" y="35"/>
                    </a:lnTo>
                    <a:lnTo>
                      <a:pt x="121" y="37"/>
                    </a:lnTo>
                    <a:lnTo>
                      <a:pt x="123" y="35"/>
                    </a:lnTo>
                    <a:lnTo>
                      <a:pt x="123" y="37"/>
                    </a:lnTo>
                    <a:lnTo>
                      <a:pt x="121" y="39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Freeform 61">
                <a:extLst>
                  <a:ext uri="{FF2B5EF4-FFF2-40B4-BE49-F238E27FC236}">
                    <a16:creationId xmlns="" xmlns:a16="http://schemas.microsoft.com/office/drawing/2014/main" id="{AC513A1E-5725-4D29-BE40-1AC7D5462B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65950" y="2405063"/>
                <a:ext cx="754063" cy="890588"/>
              </a:xfrm>
              <a:custGeom>
                <a:avLst/>
                <a:gdLst>
                  <a:gd name="T0" fmla="*/ 382 w 475"/>
                  <a:gd name="T1" fmla="*/ 38 h 561"/>
                  <a:gd name="T2" fmla="*/ 398 w 475"/>
                  <a:gd name="T3" fmla="*/ 65 h 561"/>
                  <a:gd name="T4" fmla="*/ 411 w 475"/>
                  <a:gd name="T5" fmla="*/ 103 h 561"/>
                  <a:gd name="T6" fmla="*/ 453 w 475"/>
                  <a:gd name="T7" fmla="*/ 140 h 561"/>
                  <a:gd name="T8" fmla="*/ 467 w 475"/>
                  <a:gd name="T9" fmla="*/ 167 h 561"/>
                  <a:gd name="T10" fmla="*/ 471 w 475"/>
                  <a:gd name="T11" fmla="*/ 198 h 561"/>
                  <a:gd name="T12" fmla="*/ 471 w 475"/>
                  <a:gd name="T13" fmla="*/ 219 h 561"/>
                  <a:gd name="T14" fmla="*/ 473 w 475"/>
                  <a:gd name="T15" fmla="*/ 251 h 561"/>
                  <a:gd name="T16" fmla="*/ 465 w 475"/>
                  <a:gd name="T17" fmla="*/ 273 h 561"/>
                  <a:gd name="T18" fmla="*/ 455 w 475"/>
                  <a:gd name="T19" fmla="*/ 250 h 561"/>
                  <a:gd name="T20" fmla="*/ 440 w 475"/>
                  <a:gd name="T21" fmla="*/ 257 h 561"/>
                  <a:gd name="T22" fmla="*/ 428 w 475"/>
                  <a:gd name="T23" fmla="*/ 244 h 561"/>
                  <a:gd name="T24" fmla="*/ 428 w 475"/>
                  <a:gd name="T25" fmla="*/ 221 h 561"/>
                  <a:gd name="T26" fmla="*/ 413 w 475"/>
                  <a:gd name="T27" fmla="*/ 196 h 561"/>
                  <a:gd name="T28" fmla="*/ 411 w 475"/>
                  <a:gd name="T29" fmla="*/ 219 h 561"/>
                  <a:gd name="T30" fmla="*/ 384 w 475"/>
                  <a:gd name="T31" fmla="*/ 221 h 561"/>
                  <a:gd name="T32" fmla="*/ 369 w 475"/>
                  <a:gd name="T33" fmla="*/ 250 h 561"/>
                  <a:gd name="T34" fmla="*/ 348 w 475"/>
                  <a:gd name="T35" fmla="*/ 288 h 561"/>
                  <a:gd name="T36" fmla="*/ 354 w 475"/>
                  <a:gd name="T37" fmla="*/ 330 h 561"/>
                  <a:gd name="T38" fmla="*/ 350 w 475"/>
                  <a:gd name="T39" fmla="*/ 373 h 561"/>
                  <a:gd name="T40" fmla="*/ 348 w 475"/>
                  <a:gd name="T41" fmla="*/ 396 h 561"/>
                  <a:gd name="T42" fmla="*/ 359 w 475"/>
                  <a:gd name="T43" fmla="*/ 425 h 561"/>
                  <a:gd name="T44" fmla="*/ 365 w 475"/>
                  <a:gd name="T45" fmla="*/ 432 h 561"/>
                  <a:gd name="T46" fmla="*/ 371 w 475"/>
                  <a:gd name="T47" fmla="*/ 426 h 561"/>
                  <a:gd name="T48" fmla="*/ 398 w 475"/>
                  <a:gd name="T49" fmla="*/ 436 h 561"/>
                  <a:gd name="T50" fmla="*/ 371 w 475"/>
                  <a:gd name="T51" fmla="*/ 463 h 561"/>
                  <a:gd name="T52" fmla="*/ 354 w 475"/>
                  <a:gd name="T53" fmla="*/ 467 h 561"/>
                  <a:gd name="T54" fmla="*/ 342 w 475"/>
                  <a:gd name="T55" fmla="*/ 494 h 561"/>
                  <a:gd name="T56" fmla="*/ 319 w 475"/>
                  <a:gd name="T57" fmla="*/ 517 h 561"/>
                  <a:gd name="T58" fmla="*/ 307 w 475"/>
                  <a:gd name="T59" fmla="*/ 499 h 561"/>
                  <a:gd name="T60" fmla="*/ 305 w 475"/>
                  <a:gd name="T61" fmla="*/ 486 h 561"/>
                  <a:gd name="T62" fmla="*/ 279 w 475"/>
                  <a:gd name="T63" fmla="*/ 490 h 561"/>
                  <a:gd name="T64" fmla="*/ 259 w 475"/>
                  <a:gd name="T65" fmla="*/ 492 h 561"/>
                  <a:gd name="T66" fmla="*/ 227 w 475"/>
                  <a:gd name="T67" fmla="*/ 511 h 561"/>
                  <a:gd name="T68" fmla="*/ 231 w 475"/>
                  <a:gd name="T69" fmla="*/ 515 h 561"/>
                  <a:gd name="T70" fmla="*/ 234 w 475"/>
                  <a:gd name="T71" fmla="*/ 528 h 561"/>
                  <a:gd name="T72" fmla="*/ 206 w 475"/>
                  <a:gd name="T73" fmla="*/ 544 h 561"/>
                  <a:gd name="T74" fmla="*/ 186 w 475"/>
                  <a:gd name="T75" fmla="*/ 561 h 561"/>
                  <a:gd name="T76" fmla="*/ 163 w 475"/>
                  <a:gd name="T77" fmla="*/ 526 h 561"/>
                  <a:gd name="T78" fmla="*/ 121 w 475"/>
                  <a:gd name="T79" fmla="*/ 530 h 561"/>
                  <a:gd name="T80" fmla="*/ 115 w 475"/>
                  <a:gd name="T81" fmla="*/ 496 h 561"/>
                  <a:gd name="T82" fmla="*/ 110 w 475"/>
                  <a:gd name="T83" fmla="*/ 451 h 561"/>
                  <a:gd name="T84" fmla="*/ 58 w 475"/>
                  <a:gd name="T85" fmla="*/ 426 h 561"/>
                  <a:gd name="T86" fmla="*/ 38 w 475"/>
                  <a:gd name="T87" fmla="*/ 421 h 561"/>
                  <a:gd name="T88" fmla="*/ 27 w 475"/>
                  <a:gd name="T89" fmla="*/ 380 h 561"/>
                  <a:gd name="T90" fmla="*/ 8 w 475"/>
                  <a:gd name="T91" fmla="*/ 336 h 561"/>
                  <a:gd name="T92" fmla="*/ 10 w 475"/>
                  <a:gd name="T93" fmla="*/ 301 h 561"/>
                  <a:gd name="T94" fmla="*/ 37 w 475"/>
                  <a:gd name="T95" fmla="*/ 280 h 561"/>
                  <a:gd name="T96" fmla="*/ 52 w 475"/>
                  <a:gd name="T97" fmla="*/ 273 h 561"/>
                  <a:gd name="T98" fmla="*/ 65 w 475"/>
                  <a:gd name="T99" fmla="*/ 246 h 561"/>
                  <a:gd name="T100" fmla="*/ 94 w 475"/>
                  <a:gd name="T101" fmla="*/ 238 h 561"/>
                  <a:gd name="T102" fmla="*/ 135 w 475"/>
                  <a:gd name="T103" fmla="*/ 203 h 561"/>
                  <a:gd name="T104" fmla="*/ 123 w 475"/>
                  <a:gd name="T105" fmla="*/ 165 h 561"/>
                  <a:gd name="T106" fmla="*/ 115 w 475"/>
                  <a:gd name="T107" fmla="*/ 109 h 561"/>
                  <a:gd name="T108" fmla="*/ 123 w 475"/>
                  <a:gd name="T109" fmla="*/ 73 h 561"/>
                  <a:gd name="T110" fmla="*/ 159 w 475"/>
                  <a:gd name="T111" fmla="*/ 57 h 561"/>
                  <a:gd name="T112" fmla="*/ 194 w 475"/>
                  <a:gd name="T113" fmla="*/ 36 h 561"/>
                  <a:gd name="T114" fmla="*/ 208 w 475"/>
                  <a:gd name="T115" fmla="*/ 3 h 561"/>
                  <a:gd name="T116" fmla="*/ 236 w 475"/>
                  <a:gd name="T117" fmla="*/ 28 h 561"/>
                  <a:gd name="T118" fmla="*/ 277 w 475"/>
                  <a:gd name="T119" fmla="*/ 27 h 561"/>
                  <a:gd name="T120" fmla="*/ 315 w 475"/>
                  <a:gd name="T121" fmla="*/ 21 h 561"/>
                  <a:gd name="T122" fmla="*/ 352 w 475"/>
                  <a:gd name="T123" fmla="*/ 19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75" h="561">
                    <a:moveTo>
                      <a:pt x="359" y="7"/>
                    </a:moveTo>
                    <a:lnTo>
                      <a:pt x="359" y="5"/>
                    </a:lnTo>
                    <a:lnTo>
                      <a:pt x="361" y="7"/>
                    </a:lnTo>
                    <a:lnTo>
                      <a:pt x="363" y="7"/>
                    </a:lnTo>
                    <a:lnTo>
                      <a:pt x="365" y="7"/>
                    </a:lnTo>
                    <a:lnTo>
                      <a:pt x="365" y="9"/>
                    </a:lnTo>
                    <a:lnTo>
                      <a:pt x="367" y="9"/>
                    </a:lnTo>
                    <a:lnTo>
                      <a:pt x="367" y="11"/>
                    </a:lnTo>
                    <a:lnTo>
                      <a:pt x="367" y="13"/>
                    </a:lnTo>
                    <a:lnTo>
                      <a:pt x="367" y="15"/>
                    </a:lnTo>
                    <a:lnTo>
                      <a:pt x="369" y="15"/>
                    </a:lnTo>
                    <a:lnTo>
                      <a:pt x="369" y="17"/>
                    </a:lnTo>
                    <a:lnTo>
                      <a:pt x="371" y="17"/>
                    </a:lnTo>
                    <a:lnTo>
                      <a:pt x="373" y="17"/>
                    </a:lnTo>
                    <a:lnTo>
                      <a:pt x="375" y="17"/>
                    </a:lnTo>
                    <a:lnTo>
                      <a:pt x="377" y="17"/>
                    </a:lnTo>
                    <a:lnTo>
                      <a:pt x="379" y="17"/>
                    </a:lnTo>
                    <a:lnTo>
                      <a:pt x="379" y="19"/>
                    </a:lnTo>
                    <a:lnTo>
                      <a:pt x="380" y="19"/>
                    </a:lnTo>
                    <a:lnTo>
                      <a:pt x="380" y="21"/>
                    </a:lnTo>
                    <a:lnTo>
                      <a:pt x="382" y="21"/>
                    </a:lnTo>
                    <a:lnTo>
                      <a:pt x="384" y="21"/>
                    </a:lnTo>
                    <a:lnTo>
                      <a:pt x="382" y="23"/>
                    </a:lnTo>
                    <a:lnTo>
                      <a:pt x="382" y="25"/>
                    </a:lnTo>
                    <a:lnTo>
                      <a:pt x="382" y="27"/>
                    </a:lnTo>
                    <a:lnTo>
                      <a:pt x="380" y="27"/>
                    </a:lnTo>
                    <a:lnTo>
                      <a:pt x="380" y="28"/>
                    </a:lnTo>
                    <a:lnTo>
                      <a:pt x="382" y="28"/>
                    </a:lnTo>
                    <a:lnTo>
                      <a:pt x="382" y="30"/>
                    </a:lnTo>
                    <a:lnTo>
                      <a:pt x="382" y="32"/>
                    </a:lnTo>
                    <a:lnTo>
                      <a:pt x="384" y="32"/>
                    </a:lnTo>
                    <a:lnTo>
                      <a:pt x="384" y="34"/>
                    </a:lnTo>
                    <a:lnTo>
                      <a:pt x="384" y="36"/>
                    </a:lnTo>
                    <a:lnTo>
                      <a:pt x="382" y="38"/>
                    </a:lnTo>
                    <a:lnTo>
                      <a:pt x="380" y="36"/>
                    </a:lnTo>
                    <a:lnTo>
                      <a:pt x="380" y="38"/>
                    </a:lnTo>
                    <a:lnTo>
                      <a:pt x="380" y="40"/>
                    </a:lnTo>
                    <a:lnTo>
                      <a:pt x="379" y="40"/>
                    </a:lnTo>
                    <a:lnTo>
                      <a:pt x="380" y="40"/>
                    </a:lnTo>
                    <a:lnTo>
                      <a:pt x="379" y="40"/>
                    </a:lnTo>
                    <a:lnTo>
                      <a:pt x="379" y="42"/>
                    </a:lnTo>
                    <a:lnTo>
                      <a:pt x="379" y="44"/>
                    </a:lnTo>
                    <a:lnTo>
                      <a:pt x="380" y="46"/>
                    </a:lnTo>
                    <a:lnTo>
                      <a:pt x="382" y="46"/>
                    </a:lnTo>
                    <a:lnTo>
                      <a:pt x="382" y="48"/>
                    </a:lnTo>
                    <a:lnTo>
                      <a:pt x="384" y="48"/>
                    </a:lnTo>
                    <a:lnTo>
                      <a:pt x="384" y="50"/>
                    </a:lnTo>
                    <a:lnTo>
                      <a:pt x="386" y="50"/>
                    </a:lnTo>
                    <a:lnTo>
                      <a:pt x="388" y="50"/>
                    </a:lnTo>
                    <a:lnTo>
                      <a:pt x="388" y="52"/>
                    </a:lnTo>
                    <a:lnTo>
                      <a:pt x="390" y="52"/>
                    </a:lnTo>
                    <a:lnTo>
                      <a:pt x="390" y="53"/>
                    </a:lnTo>
                    <a:lnTo>
                      <a:pt x="392" y="53"/>
                    </a:lnTo>
                    <a:lnTo>
                      <a:pt x="392" y="55"/>
                    </a:lnTo>
                    <a:lnTo>
                      <a:pt x="390" y="55"/>
                    </a:lnTo>
                    <a:lnTo>
                      <a:pt x="390" y="57"/>
                    </a:lnTo>
                    <a:lnTo>
                      <a:pt x="388" y="59"/>
                    </a:lnTo>
                    <a:lnTo>
                      <a:pt x="388" y="61"/>
                    </a:lnTo>
                    <a:lnTo>
                      <a:pt x="390" y="61"/>
                    </a:lnTo>
                    <a:lnTo>
                      <a:pt x="392" y="61"/>
                    </a:lnTo>
                    <a:lnTo>
                      <a:pt x="392" y="63"/>
                    </a:lnTo>
                    <a:lnTo>
                      <a:pt x="392" y="65"/>
                    </a:lnTo>
                    <a:lnTo>
                      <a:pt x="394" y="65"/>
                    </a:lnTo>
                    <a:lnTo>
                      <a:pt x="396" y="65"/>
                    </a:lnTo>
                    <a:lnTo>
                      <a:pt x="394" y="63"/>
                    </a:lnTo>
                    <a:lnTo>
                      <a:pt x="396" y="63"/>
                    </a:lnTo>
                    <a:lnTo>
                      <a:pt x="398" y="63"/>
                    </a:lnTo>
                    <a:lnTo>
                      <a:pt x="398" y="65"/>
                    </a:lnTo>
                    <a:lnTo>
                      <a:pt x="400" y="65"/>
                    </a:lnTo>
                    <a:lnTo>
                      <a:pt x="402" y="65"/>
                    </a:lnTo>
                    <a:lnTo>
                      <a:pt x="403" y="65"/>
                    </a:lnTo>
                    <a:lnTo>
                      <a:pt x="403" y="67"/>
                    </a:lnTo>
                    <a:lnTo>
                      <a:pt x="405" y="69"/>
                    </a:lnTo>
                    <a:lnTo>
                      <a:pt x="405" y="71"/>
                    </a:lnTo>
                    <a:lnTo>
                      <a:pt x="407" y="73"/>
                    </a:lnTo>
                    <a:lnTo>
                      <a:pt x="409" y="73"/>
                    </a:lnTo>
                    <a:lnTo>
                      <a:pt x="409" y="75"/>
                    </a:lnTo>
                    <a:lnTo>
                      <a:pt x="409" y="77"/>
                    </a:lnTo>
                    <a:lnTo>
                      <a:pt x="409" y="78"/>
                    </a:lnTo>
                    <a:lnTo>
                      <a:pt x="407" y="78"/>
                    </a:lnTo>
                    <a:lnTo>
                      <a:pt x="407" y="80"/>
                    </a:lnTo>
                    <a:lnTo>
                      <a:pt x="407" y="82"/>
                    </a:lnTo>
                    <a:lnTo>
                      <a:pt x="405" y="82"/>
                    </a:lnTo>
                    <a:lnTo>
                      <a:pt x="405" y="84"/>
                    </a:lnTo>
                    <a:lnTo>
                      <a:pt x="407" y="84"/>
                    </a:lnTo>
                    <a:lnTo>
                      <a:pt x="409" y="84"/>
                    </a:lnTo>
                    <a:lnTo>
                      <a:pt x="411" y="84"/>
                    </a:lnTo>
                    <a:lnTo>
                      <a:pt x="411" y="86"/>
                    </a:lnTo>
                    <a:lnTo>
                      <a:pt x="413" y="88"/>
                    </a:lnTo>
                    <a:lnTo>
                      <a:pt x="415" y="88"/>
                    </a:lnTo>
                    <a:lnTo>
                      <a:pt x="415" y="90"/>
                    </a:lnTo>
                    <a:lnTo>
                      <a:pt x="417" y="92"/>
                    </a:lnTo>
                    <a:lnTo>
                      <a:pt x="415" y="94"/>
                    </a:lnTo>
                    <a:lnTo>
                      <a:pt x="415" y="96"/>
                    </a:lnTo>
                    <a:lnTo>
                      <a:pt x="413" y="96"/>
                    </a:lnTo>
                    <a:lnTo>
                      <a:pt x="413" y="98"/>
                    </a:lnTo>
                    <a:lnTo>
                      <a:pt x="415" y="98"/>
                    </a:lnTo>
                    <a:lnTo>
                      <a:pt x="415" y="100"/>
                    </a:lnTo>
                    <a:lnTo>
                      <a:pt x="413" y="100"/>
                    </a:lnTo>
                    <a:lnTo>
                      <a:pt x="413" y="102"/>
                    </a:lnTo>
                    <a:lnTo>
                      <a:pt x="411" y="102"/>
                    </a:lnTo>
                    <a:lnTo>
                      <a:pt x="411" y="103"/>
                    </a:lnTo>
                    <a:lnTo>
                      <a:pt x="411" y="105"/>
                    </a:lnTo>
                    <a:lnTo>
                      <a:pt x="413" y="107"/>
                    </a:lnTo>
                    <a:lnTo>
                      <a:pt x="413" y="109"/>
                    </a:lnTo>
                    <a:lnTo>
                      <a:pt x="415" y="109"/>
                    </a:lnTo>
                    <a:lnTo>
                      <a:pt x="415" y="111"/>
                    </a:lnTo>
                    <a:lnTo>
                      <a:pt x="417" y="113"/>
                    </a:lnTo>
                    <a:lnTo>
                      <a:pt x="417" y="115"/>
                    </a:lnTo>
                    <a:lnTo>
                      <a:pt x="419" y="113"/>
                    </a:lnTo>
                    <a:lnTo>
                      <a:pt x="421" y="113"/>
                    </a:lnTo>
                    <a:lnTo>
                      <a:pt x="423" y="113"/>
                    </a:lnTo>
                    <a:lnTo>
                      <a:pt x="425" y="113"/>
                    </a:lnTo>
                    <a:lnTo>
                      <a:pt x="428" y="113"/>
                    </a:lnTo>
                    <a:lnTo>
                      <a:pt x="430" y="115"/>
                    </a:lnTo>
                    <a:lnTo>
                      <a:pt x="434" y="117"/>
                    </a:lnTo>
                    <a:lnTo>
                      <a:pt x="436" y="115"/>
                    </a:lnTo>
                    <a:lnTo>
                      <a:pt x="438" y="115"/>
                    </a:lnTo>
                    <a:lnTo>
                      <a:pt x="438" y="117"/>
                    </a:lnTo>
                    <a:lnTo>
                      <a:pt x="440" y="119"/>
                    </a:lnTo>
                    <a:lnTo>
                      <a:pt x="440" y="121"/>
                    </a:lnTo>
                    <a:lnTo>
                      <a:pt x="438" y="121"/>
                    </a:lnTo>
                    <a:lnTo>
                      <a:pt x="440" y="123"/>
                    </a:lnTo>
                    <a:lnTo>
                      <a:pt x="440" y="125"/>
                    </a:lnTo>
                    <a:lnTo>
                      <a:pt x="442" y="125"/>
                    </a:lnTo>
                    <a:lnTo>
                      <a:pt x="444" y="127"/>
                    </a:lnTo>
                    <a:lnTo>
                      <a:pt x="446" y="127"/>
                    </a:lnTo>
                    <a:lnTo>
                      <a:pt x="448" y="130"/>
                    </a:lnTo>
                    <a:lnTo>
                      <a:pt x="450" y="130"/>
                    </a:lnTo>
                    <a:lnTo>
                      <a:pt x="450" y="132"/>
                    </a:lnTo>
                    <a:lnTo>
                      <a:pt x="452" y="132"/>
                    </a:lnTo>
                    <a:lnTo>
                      <a:pt x="452" y="134"/>
                    </a:lnTo>
                    <a:lnTo>
                      <a:pt x="453" y="134"/>
                    </a:lnTo>
                    <a:lnTo>
                      <a:pt x="453" y="136"/>
                    </a:lnTo>
                    <a:lnTo>
                      <a:pt x="453" y="138"/>
                    </a:lnTo>
                    <a:lnTo>
                      <a:pt x="453" y="140"/>
                    </a:lnTo>
                    <a:lnTo>
                      <a:pt x="452" y="140"/>
                    </a:lnTo>
                    <a:lnTo>
                      <a:pt x="450" y="140"/>
                    </a:lnTo>
                    <a:lnTo>
                      <a:pt x="450" y="142"/>
                    </a:lnTo>
                    <a:lnTo>
                      <a:pt x="450" y="144"/>
                    </a:lnTo>
                    <a:lnTo>
                      <a:pt x="448" y="144"/>
                    </a:lnTo>
                    <a:lnTo>
                      <a:pt x="448" y="146"/>
                    </a:lnTo>
                    <a:lnTo>
                      <a:pt x="448" y="148"/>
                    </a:lnTo>
                    <a:lnTo>
                      <a:pt x="448" y="150"/>
                    </a:lnTo>
                    <a:lnTo>
                      <a:pt x="446" y="150"/>
                    </a:lnTo>
                    <a:lnTo>
                      <a:pt x="446" y="152"/>
                    </a:lnTo>
                    <a:lnTo>
                      <a:pt x="446" y="153"/>
                    </a:lnTo>
                    <a:lnTo>
                      <a:pt x="448" y="153"/>
                    </a:lnTo>
                    <a:lnTo>
                      <a:pt x="450" y="153"/>
                    </a:lnTo>
                    <a:lnTo>
                      <a:pt x="452" y="153"/>
                    </a:lnTo>
                    <a:lnTo>
                      <a:pt x="453" y="153"/>
                    </a:lnTo>
                    <a:lnTo>
                      <a:pt x="453" y="152"/>
                    </a:lnTo>
                    <a:lnTo>
                      <a:pt x="455" y="152"/>
                    </a:lnTo>
                    <a:lnTo>
                      <a:pt x="457" y="152"/>
                    </a:lnTo>
                    <a:lnTo>
                      <a:pt x="457" y="153"/>
                    </a:lnTo>
                    <a:lnTo>
                      <a:pt x="459" y="153"/>
                    </a:lnTo>
                    <a:lnTo>
                      <a:pt x="459" y="155"/>
                    </a:lnTo>
                    <a:lnTo>
                      <a:pt x="461" y="157"/>
                    </a:lnTo>
                    <a:lnTo>
                      <a:pt x="461" y="159"/>
                    </a:lnTo>
                    <a:lnTo>
                      <a:pt x="459" y="159"/>
                    </a:lnTo>
                    <a:lnTo>
                      <a:pt x="457" y="159"/>
                    </a:lnTo>
                    <a:lnTo>
                      <a:pt x="457" y="161"/>
                    </a:lnTo>
                    <a:lnTo>
                      <a:pt x="457" y="163"/>
                    </a:lnTo>
                    <a:lnTo>
                      <a:pt x="459" y="163"/>
                    </a:lnTo>
                    <a:lnTo>
                      <a:pt x="461" y="163"/>
                    </a:lnTo>
                    <a:lnTo>
                      <a:pt x="463" y="165"/>
                    </a:lnTo>
                    <a:lnTo>
                      <a:pt x="463" y="167"/>
                    </a:lnTo>
                    <a:lnTo>
                      <a:pt x="465" y="165"/>
                    </a:lnTo>
                    <a:lnTo>
                      <a:pt x="465" y="167"/>
                    </a:lnTo>
                    <a:lnTo>
                      <a:pt x="467" y="167"/>
                    </a:lnTo>
                    <a:lnTo>
                      <a:pt x="467" y="169"/>
                    </a:lnTo>
                    <a:lnTo>
                      <a:pt x="467" y="171"/>
                    </a:lnTo>
                    <a:lnTo>
                      <a:pt x="469" y="171"/>
                    </a:lnTo>
                    <a:lnTo>
                      <a:pt x="469" y="169"/>
                    </a:lnTo>
                    <a:lnTo>
                      <a:pt x="471" y="171"/>
                    </a:lnTo>
                    <a:lnTo>
                      <a:pt x="471" y="173"/>
                    </a:lnTo>
                    <a:lnTo>
                      <a:pt x="473" y="173"/>
                    </a:lnTo>
                    <a:lnTo>
                      <a:pt x="471" y="175"/>
                    </a:lnTo>
                    <a:lnTo>
                      <a:pt x="471" y="177"/>
                    </a:lnTo>
                    <a:lnTo>
                      <a:pt x="473" y="177"/>
                    </a:lnTo>
                    <a:lnTo>
                      <a:pt x="473" y="178"/>
                    </a:lnTo>
                    <a:lnTo>
                      <a:pt x="471" y="178"/>
                    </a:lnTo>
                    <a:lnTo>
                      <a:pt x="471" y="180"/>
                    </a:lnTo>
                    <a:lnTo>
                      <a:pt x="473" y="178"/>
                    </a:lnTo>
                    <a:lnTo>
                      <a:pt x="473" y="180"/>
                    </a:lnTo>
                    <a:lnTo>
                      <a:pt x="473" y="182"/>
                    </a:lnTo>
                    <a:lnTo>
                      <a:pt x="473" y="184"/>
                    </a:lnTo>
                    <a:lnTo>
                      <a:pt x="473" y="182"/>
                    </a:lnTo>
                    <a:lnTo>
                      <a:pt x="471" y="184"/>
                    </a:lnTo>
                    <a:lnTo>
                      <a:pt x="473" y="184"/>
                    </a:lnTo>
                    <a:lnTo>
                      <a:pt x="473" y="186"/>
                    </a:lnTo>
                    <a:lnTo>
                      <a:pt x="473" y="188"/>
                    </a:lnTo>
                    <a:lnTo>
                      <a:pt x="473" y="190"/>
                    </a:lnTo>
                    <a:lnTo>
                      <a:pt x="473" y="192"/>
                    </a:lnTo>
                    <a:lnTo>
                      <a:pt x="475" y="192"/>
                    </a:lnTo>
                    <a:lnTo>
                      <a:pt x="473" y="192"/>
                    </a:lnTo>
                    <a:lnTo>
                      <a:pt x="473" y="194"/>
                    </a:lnTo>
                    <a:lnTo>
                      <a:pt x="475" y="194"/>
                    </a:lnTo>
                    <a:lnTo>
                      <a:pt x="473" y="194"/>
                    </a:lnTo>
                    <a:lnTo>
                      <a:pt x="473" y="196"/>
                    </a:lnTo>
                    <a:lnTo>
                      <a:pt x="475" y="196"/>
                    </a:lnTo>
                    <a:lnTo>
                      <a:pt x="475" y="198"/>
                    </a:lnTo>
                    <a:lnTo>
                      <a:pt x="473" y="198"/>
                    </a:lnTo>
                    <a:lnTo>
                      <a:pt x="471" y="198"/>
                    </a:lnTo>
                    <a:lnTo>
                      <a:pt x="471" y="196"/>
                    </a:lnTo>
                    <a:lnTo>
                      <a:pt x="471" y="198"/>
                    </a:lnTo>
                    <a:lnTo>
                      <a:pt x="471" y="196"/>
                    </a:lnTo>
                    <a:lnTo>
                      <a:pt x="469" y="196"/>
                    </a:lnTo>
                    <a:lnTo>
                      <a:pt x="471" y="196"/>
                    </a:lnTo>
                    <a:lnTo>
                      <a:pt x="471" y="198"/>
                    </a:lnTo>
                    <a:lnTo>
                      <a:pt x="473" y="200"/>
                    </a:lnTo>
                    <a:lnTo>
                      <a:pt x="473" y="202"/>
                    </a:lnTo>
                    <a:lnTo>
                      <a:pt x="471" y="202"/>
                    </a:lnTo>
                    <a:lnTo>
                      <a:pt x="471" y="200"/>
                    </a:lnTo>
                    <a:lnTo>
                      <a:pt x="471" y="202"/>
                    </a:lnTo>
                    <a:lnTo>
                      <a:pt x="471" y="203"/>
                    </a:lnTo>
                    <a:lnTo>
                      <a:pt x="473" y="203"/>
                    </a:lnTo>
                    <a:lnTo>
                      <a:pt x="473" y="205"/>
                    </a:lnTo>
                    <a:lnTo>
                      <a:pt x="471" y="205"/>
                    </a:lnTo>
                    <a:lnTo>
                      <a:pt x="473" y="205"/>
                    </a:lnTo>
                    <a:lnTo>
                      <a:pt x="471" y="205"/>
                    </a:lnTo>
                    <a:lnTo>
                      <a:pt x="471" y="207"/>
                    </a:lnTo>
                    <a:lnTo>
                      <a:pt x="471" y="209"/>
                    </a:lnTo>
                    <a:lnTo>
                      <a:pt x="471" y="211"/>
                    </a:lnTo>
                    <a:lnTo>
                      <a:pt x="469" y="211"/>
                    </a:lnTo>
                    <a:lnTo>
                      <a:pt x="471" y="211"/>
                    </a:lnTo>
                    <a:lnTo>
                      <a:pt x="471" y="213"/>
                    </a:lnTo>
                    <a:lnTo>
                      <a:pt x="473" y="213"/>
                    </a:lnTo>
                    <a:lnTo>
                      <a:pt x="471" y="213"/>
                    </a:lnTo>
                    <a:lnTo>
                      <a:pt x="473" y="213"/>
                    </a:lnTo>
                    <a:lnTo>
                      <a:pt x="471" y="213"/>
                    </a:lnTo>
                    <a:lnTo>
                      <a:pt x="473" y="213"/>
                    </a:lnTo>
                    <a:lnTo>
                      <a:pt x="473" y="215"/>
                    </a:lnTo>
                    <a:lnTo>
                      <a:pt x="471" y="215"/>
                    </a:lnTo>
                    <a:lnTo>
                      <a:pt x="469" y="215"/>
                    </a:lnTo>
                    <a:lnTo>
                      <a:pt x="471" y="215"/>
                    </a:lnTo>
                    <a:lnTo>
                      <a:pt x="471" y="217"/>
                    </a:lnTo>
                    <a:lnTo>
                      <a:pt x="471" y="219"/>
                    </a:lnTo>
                    <a:lnTo>
                      <a:pt x="469" y="219"/>
                    </a:lnTo>
                    <a:lnTo>
                      <a:pt x="471" y="219"/>
                    </a:lnTo>
                    <a:lnTo>
                      <a:pt x="469" y="219"/>
                    </a:lnTo>
                    <a:lnTo>
                      <a:pt x="471" y="219"/>
                    </a:lnTo>
                    <a:lnTo>
                      <a:pt x="473" y="219"/>
                    </a:lnTo>
                    <a:lnTo>
                      <a:pt x="473" y="221"/>
                    </a:lnTo>
                    <a:lnTo>
                      <a:pt x="471" y="221"/>
                    </a:lnTo>
                    <a:lnTo>
                      <a:pt x="471" y="223"/>
                    </a:lnTo>
                    <a:lnTo>
                      <a:pt x="471" y="225"/>
                    </a:lnTo>
                    <a:lnTo>
                      <a:pt x="473" y="225"/>
                    </a:lnTo>
                    <a:lnTo>
                      <a:pt x="471" y="225"/>
                    </a:lnTo>
                    <a:lnTo>
                      <a:pt x="471" y="227"/>
                    </a:lnTo>
                    <a:lnTo>
                      <a:pt x="471" y="228"/>
                    </a:lnTo>
                    <a:lnTo>
                      <a:pt x="471" y="227"/>
                    </a:lnTo>
                    <a:lnTo>
                      <a:pt x="469" y="227"/>
                    </a:lnTo>
                    <a:lnTo>
                      <a:pt x="469" y="228"/>
                    </a:lnTo>
                    <a:lnTo>
                      <a:pt x="471" y="228"/>
                    </a:lnTo>
                    <a:lnTo>
                      <a:pt x="471" y="230"/>
                    </a:lnTo>
                    <a:lnTo>
                      <a:pt x="471" y="232"/>
                    </a:lnTo>
                    <a:lnTo>
                      <a:pt x="471" y="234"/>
                    </a:lnTo>
                    <a:lnTo>
                      <a:pt x="471" y="236"/>
                    </a:lnTo>
                    <a:lnTo>
                      <a:pt x="471" y="238"/>
                    </a:lnTo>
                    <a:lnTo>
                      <a:pt x="469" y="238"/>
                    </a:lnTo>
                    <a:lnTo>
                      <a:pt x="471" y="238"/>
                    </a:lnTo>
                    <a:lnTo>
                      <a:pt x="471" y="240"/>
                    </a:lnTo>
                    <a:lnTo>
                      <a:pt x="469" y="240"/>
                    </a:lnTo>
                    <a:lnTo>
                      <a:pt x="469" y="242"/>
                    </a:lnTo>
                    <a:lnTo>
                      <a:pt x="471" y="242"/>
                    </a:lnTo>
                    <a:lnTo>
                      <a:pt x="471" y="244"/>
                    </a:lnTo>
                    <a:lnTo>
                      <a:pt x="471" y="246"/>
                    </a:lnTo>
                    <a:lnTo>
                      <a:pt x="471" y="248"/>
                    </a:lnTo>
                    <a:lnTo>
                      <a:pt x="473" y="248"/>
                    </a:lnTo>
                    <a:lnTo>
                      <a:pt x="473" y="250"/>
                    </a:lnTo>
                    <a:lnTo>
                      <a:pt x="473" y="251"/>
                    </a:lnTo>
                    <a:lnTo>
                      <a:pt x="473" y="253"/>
                    </a:lnTo>
                    <a:lnTo>
                      <a:pt x="475" y="253"/>
                    </a:lnTo>
                    <a:lnTo>
                      <a:pt x="473" y="253"/>
                    </a:lnTo>
                    <a:lnTo>
                      <a:pt x="471" y="253"/>
                    </a:lnTo>
                    <a:lnTo>
                      <a:pt x="471" y="251"/>
                    </a:lnTo>
                    <a:lnTo>
                      <a:pt x="469" y="253"/>
                    </a:lnTo>
                    <a:lnTo>
                      <a:pt x="469" y="251"/>
                    </a:lnTo>
                    <a:lnTo>
                      <a:pt x="469" y="253"/>
                    </a:lnTo>
                    <a:lnTo>
                      <a:pt x="469" y="255"/>
                    </a:lnTo>
                    <a:lnTo>
                      <a:pt x="471" y="255"/>
                    </a:lnTo>
                    <a:lnTo>
                      <a:pt x="469" y="255"/>
                    </a:lnTo>
                    <a:lnTo>
                      <a:pt x="469" y="257"/>
                    </a:lnTo>
                    <a:lnTo>
                      <a:pt x="469" y="255"/>
                    </a:lnTo>
                    <a:lnTo>
                      <a:pt x="469" y="257"/>
                    </a:lnTo>
                    <a:lnTo>
                      <a:pt x="467" y="255"/>
                    </a:lnTo>
                    <a:lnTo>
                      <a:pt x="467" y="257"/>
                    </a:lnTo>
                    <a:lnTo>
                      <a:pt x="467" y="259"/>
                    </a:lnTo>
                    <a:lnTo>
                      <a:pt x="467" y="261"/>
                    </a:lnTo>
                    <a:lnTo>
                      <a:pt x="465" y="261"/>
                    </a:lnTo>
                    <a:lnTo>
                      <a:pt x="465" y="259"/>
                    </a:lnTo>
                    <a:lnTo>
                      <a:pt x="465" y="257"/>
                    </a:lnTo>
                    <a:lnTo>
                      <a:pt x="463" y="257"/>
                    </a:lnTo>
                    <a:lnTo>
                      <a:pt x="463" y="259"/>
                    </a:lnTo>
                    <a:lnTo>
                      <a:pt x="463" y="261"/>
                    </a:lnTo>
                    <a:lnTo>
                      <a:pt x="465" y="261"/>
                    </a:lnTo>
                    <a:lnTo>
                      <a:pt x="465" y="263"/>
                    </a:lnTo>
                    <a:lnTo>
                      <a:pt x="467" y="263"/>
                    </a:lnTo>
                    <a:lnTo>
                      <a:pt x="465" y="265"/>
                    </a:lnTo>
                    <a:lnTo>
                      <a:pt x="465" y="267"/>
                    </a:lnTo>
                    <a:lnTo>
                      <a:pt x="467" y="267"/>
                    </a:lnTo>
                    <a:lnTo>
                      <a:pt x="467" y="269"/>
                    </a:lnTo>
                    <a:lnTo>
                      <a:pt x="465" y="269"/>
                    </a:lnTo>
                    <a:lnTo>
                      <a:pt x="465" y="271"/>
                    </a:lnTo>
                    <a:lnTo>
                      <a:pt x="465" y="273"/>
                    </a:lnTo>
                    <a:lnTo>
                      <a:pt x="465" y="271"/>
                    </a:lnTo>
                    <a:lnTo>
                      <a:pt x="463" y="271"/>
                    </a:lnTo>
                    <a:lnTo>
                      <a:pt x="463" y="269"/>
                    </a:lnTo>
                    <a:lnTo>
                      <a:pt x="461" y="269"/>
                    </a:lnTo>
                    <a:lnTo>
                      <a:pt x="461" y="267"/>
                    </a:lnTo>
                    <a:lnTo>
                      <a:pt x="463" y="267"/>
                    </a:lnTo>
                    <a:lnTo>
                      <a:pt x="463" y="265"/>
                    </a:lnTo>
                    <a:lnTo>
                      <a:pt x="461" y="265"/>
                    </a:lnTo>
                    <a:lnTo>
                      <a:pt x="461" y="263"/>
                    </a:lnTo>
                    <a:lnTo>
                      <a:pt x="461" y="261"/>
                    </a:lnTo>
                    <a:lnTo>
                      <a:pt x="459" y="261"/>
                    </a:lnTo>
                    <a:lnTo>
                      <a:pt x="459" y="259"/>
                    </a:lnTo>
                    <a:lnTo>
                      <a:pt x="457" y="259"/>
                    </a:lnTo>
                    <a:lnTo>
                      <a:pt x="455" y="259"/>
                    </a:lnTo>
                    <a:lnTo>
                      <a:pt x="455" y="257"/>
                    </a:lnTo>
                    <a:lnTo>
                      <a:pt x="457" y="257"/>
                    </a:lnTo>
                    <a:lnTo>
                      <a:pt x="455" y="257"/>
                    </a:lnTo>
                    <a:lnTo>
                      <a:pt x="455" y="255"/>
                    </a:lnTo>
                    <a:lnTo>
                      <a:pt x="453" y="255"/>
                    </a:lnTo>
                    <a:lnTo>
                      <a:pt x="453" y="253"/>
                    </a:lnTo>
                    <a:lnTo>
                      <a:pt x="455" y="253"/>
                    </a:lnTo>
                    <a:lnTo>
                      <a:pt x="453" y="253"/>
                    </a:lnTo>
                    <a:lnTo>
                      <a:pt x="453" y="251"/>
                    </a:lnTo>
                    <a:lnTo>
                      <a:pt x="455" y="253"/>
                    </a:lnTo>
                    <a:lnTo>
                      <a:pt x="455" y="251"/>
                    </a:lnTo>
                    <a:lnTo>
                      <a:pt x="455" y="253"/>
                    </a:lnTo>
                    <a:lnTo>
                      <a:pt x="455" y="251"/>
                    </a:lnTo>
                    <a:lnTo>
                      <a:pt x="457" y="251"/>
                    </a:lnTo>
                    <a:lnTo>
                      <a:pt x="455" y="251"/>
                    </a:lnTo>
                    <a:lnTo>
                      <a:pt x="457" y="251"/>
                    </a:lnTo>
                    <a:lnTo>
                      <a:pt x="457" y="250"/>
                    </a:lnTo>
                    <a:lnTo>
                      <a:pt x="455" y="250"/>
                    </a:lnTo>
                    <a:lnTo>
                      <a:pt x="455" y="251"/>
                    </a:lnTo>
                    <a:lnTo>
                      <a:pt x="455" y="250"/>
                    </a:lnTo>
                    <a:lnTo>
                      <a:pt x="455" y="251"/>
                    </a:lnTo>
                    <a:lnTo>
                      <a:pt x="455" y="250"/>
                    </a:lnTo>
                    <a:lnTo>
                      <a:pt x="453" y="250"/>
                    </a:lnTo>
                    <a:lnTo>
                      <a:pt x="455" y="250"/>
                    </a:lnTo>
                    <a:lnTo>
                      <a:pt x="453" y="250"/>
                    </a:lnTo>
                    <a:lnTo>
                      <a:pt x="453" y="248"/>
                    </a:lnTo>
                    <a:lnTo>
                      <a:pt x="453" y="246"/>
                    </a:lnTo>
                    <a:lnTo>
                      <a:pt x="453" y="244"/>
                    </a:lnTo>
                    <a:lnTo>
                      <a:pt x="453" y="242"/>
                    </a:lnTo>
                    <a:lnTo>
                      <a:pt x="452" y="242"/>
                    </a:lnTo>
                    <a:lnTo>
                      <a:pt x="452" y="244"/>
                    </a:lnTo>
                    <a:lnTo>
                      <a:pt x="450" y="244"/>
                    </a:lnTo>
                    <a:lnTo>
                      <a:pt x="452" y="244"/>
                    </a:lnTo>
                    <a:lnTo>
                      <a:pt x="450" y="246"/>
                    </a:lnTo>
                    <a:lnTo>
                      <a:pt x="450" y="244"/>
                    </a:lnTo>
                    <a:lnTo>
                      <a:pt x="450" y="246"/>
                    </a:lnTo>
                    <a:lnTo>
                      <a:pt x="448" y="246"/>
                    </a:lnTo>
                    <a:lnTo>
                      <a:pt x="448" y="248"/>
                    </a:lnTo>
                    <a:lnTo>
                      <a:pt x="446" y="248"/>
                    </a:lnTo>
                    <a:lnTo>
                      <a:pt x="446" y="250"/>
                    </a:lnTo>
                    <a:lnTo>
                      <a:pt x="446" y="251"/>
                    </a:lnTo>
                    <a:lnTo>
                      <a:pt x="446" y="253"/>
                    </a:lnTo>
                    <a:lnTo>
                      <a:pt x="444" y="253"/>
                    </a:lnTo>
                    <a:lnTo>
                      <a:pt x="446" y="253"/>
                    </a:lnTo>
                    <a:lnTo>
                      <a:pt x="446" y="255"/>
                    </a:lnTo>
                    <a:lnTo>
                      <a:pt x="444" y="255"/>
                    </a:lnTo>
                    <a:lnTo>
                      <a:pt x="446" y="257"/>
                    </a:lnTo>
                    <a:lnTo>
                      <a:pt x="444" y="257"/>
                    </a:lnTo>
                    <a:lnTo>
                      <a:pt x="444" y="259"/>
                    </a:lnTo>
                    <a:lnTo>
                      <a:pt x="444" y="257"/>
                    </a:lnTo>
                    <a:lnTo>
                      <a:pt x="444" y="259"/>
                    </a:lnTo>
                    <a:lnTo>
                      <a:pt x="442" y="259"/>
                    </a:lnTo>
                    <a:lnTo>
                      <a:pt x="442" y="257"/>
                    </a:lnTo>
                    <a:lnTo>
                      <a:pt x="440" y="257"/>
                    </a:lnTo>
                    <a:lnTo>
                      <a:pt x="442" y="257"/>
                    </a:lnTo>
                    <a:lnTo>
                      <a:pt x="440" y="257"/>
                    </a:lnTo>
                    <a:lnTo>
                      <a:pt x="442" y="255"/>
                    </a:lnTo>
                    <a:lnTo>
                      <a:pt x="440" y="255"/>
                    </a:lnTo>
                    <a:lnTo>
                      <a:pt x="442" y="255"/>
                    </a:lnTo>
                    <a:lnTo>
                      <a:pt x="440" y="255"/>
                    </a:lnTo>
                    <a:lnTo>
                      <a:pt x="442" y="255"/>
                    </a:lnTo>
                    <a:lnTo>
                      <a:pt x="440" y="255"/>
                    </a:lnTo>
                    <a:lnTo>
                      <a:pt x="442" y="255"/>
                    </a:lnTo>
                    <a:lnTo>
                      <a:pt x="440" y="253"/>
                    </a:lnTo>
                    <a:lnTo>
                      <a:pt x="442" y="253"/>
                    </a:lnTo>
                    <a:lnTo>
                      <a:pt x="440" y="253"/>
                    </a:lnTo>
                    <a:lnTo>
                      <a:pt x="442" y="253"/>
                    </a:lnTo>
                    <a:lnTo>
                      <a:pt x="442" y="251"/>
                    </a:lnTo>
                    <a:lnTo>
                      <a:pt x="440" y="251"/>
                    </a:lnTo>
                    <a:lnTo>
                      <a:pt x="440" y="250"/>
                    </a:lnTo>
                    <a:lnTo>
                      <a:pt x="440" y="248"/>
                    </a:lnTo>
                    <a:lnTo>
                      <a:pt x="440" y="246"/>
                    </a:lnTo>
                    <a:lnTo>
                      <a:pt x="438" y="246"/>
                    </a:lnTo>
                    <a:lnTo>
                      <a:pt x="436" y="244"/>
                    </a:lnTo>
                    <a:lnTo>
                      <a:pt x="434" y="244"/>
                    </a:lnTo>
                    <a:lnTo>
                      <a:pt x="432" y="244"/>
                    </a:lnTo>
                    <a:lnTo>
                      <a:pt x="432" y="242"/>
                    </a:lnTo>
                    <a:lnTo>
                      <a:pt x="434" y="242"/>
                    </a:lnTo>
                    <a:lnTo>
                      <a:pt x="432" y="242"/>
                    </a:lnTo>
                    <a:lnTo>
                      <a:pt x="434" y="242"/>
                    </a:lnTo>
                    <a:lnTo>
                      <a:pt x="432" y="242"/>
                    </a:lnTo>
                    <a:lnTo>
                      <a:pt x="432" y="240"/>
                    </a:lnTo>
                    <a:lnTo>
                      <a:pt x="430" y="240"/>
                    </a:lnTo>
                    <a:lnTo>
                      <a:pt x="430" y="242"/>
                    </a:lnTo>
                    <a:lnTo>
                      <a:pt x="430" y="244"/>
                    </a:lnTo>
                    <a:lnTo>
                      <a:pt x="428" y="244"/>
                    </a:lnTo>
                    <a:lnTo>
                      <a:pt x="428" y="242"/>
                    </a:lnTo>
                    <a:lnTo>
                      <a:pt x="428" y="244"/>
                    </a:lnTo>
                    <a:lnTo>
                      <a:pt x="428" y="242"/>
                    </a:lnTo>
                    <a:lnTo>
                      <a:pt x="428" y="240"/>
                    </a:lnTo>
                    <a:lnTo>
                      <a:pt x="430" y="240"/>
                    </a:lnTo>
                    <a:lnTo>
                      <a:pt x="430" y="238"/>
                    </a:lnTo>
                    <a:lnTo>
                      <a:pt x="430" y="240"/>
                    </a:lnTo>
                    <a:lnTo>
                      <a:pt x="432" y="240"/>
                    </a:lnTo>
                    <a:lnTo>
                      <a:pt x="430" y="240"/>
                    </a:lnTo>
                    <a:lnTo>
                      <a:pt x="432" y="240"/>
                    </a:lnTo>
                    <a:lnTo>
                      <a:pt x="432" y="238"/>
                    </a:lnTo>
                    <a:lnTo>
                      <a:pt x="432" y="236"/>
                    </a:lnTo>
                    <a:lnTo>
                      <a:pt x="432" y="238"/>
                    </a:lnTo>
                    <a:lnTo>
                      <a:pt x="430" y="238"/>
                    </a:lnTo>
                    <a:lnTo>
                      <a:pt x="432" y="238"/>
                    </a:lnTo>
                    <a:lnTo>
                      <a:pt x="430" y="238"/>
                    </a:lnTo>
                    <a:lnTo>
                      <a:pt x="428" y="238"/>
                    </a:lnTo>
                    <a:lnTo>
                      <a:pt x="428" y="236"/>
                    </a:lnTo>
                    <a:lnTo>
                      <a:pt x="428" y="234"/>
                    </a:lnTo>
                    <a:lnTo>
                      <a:pt x="427" y="234"/>
                    </a:lnTo>
                    <a:lnTo>
                      <a:pt x="428" y="234"/>
                    </a:lnTo>
                    <a:lnTo>
                      <a:pt x="428" y="232"/>
                    </a:lnTo>
                    <a:lnTo>
                      <a:pt x="430" y="232"/>
                    </a:lnTo>
                    <a:lnTo>
                      <a:pt x="430" y="230"/>
                    </a:lnTo>
                    <a:lnTo>
                      <a:pt x="430" y="232"/>
                    </a:lnTo>
                    <a:lnTo>
                      <a:pt x="428" y="232"/>
                    </a:lnTo>
                    <a:lnTo>
                      <a:pt x="428" y="230"/>
                    </a:lnTo>
                    <a:lnTo>
                      <a:pt x="428" y="228"/>
                    </a:lnTo>
                    <a:lnTo>
                      <a:pt x="428" y="227"/>
                    </a:lnTo>
                    <a:lnTo>
                      <a:pt x="427" y="227"/>
                    </a:lnTo>
                    <a:lnTo>
                      <a:pt x="427" y="228"/>
                    </a:lnTo>
                    <a:lnTo>
                      <a:pt x="427" y="227"/>
                    </a:lnTo>
                    <a:lnTo>
                      <a:pt x="427" y="225"/>
                    </a:lnTo>
                    <a:lnTo>
                      <a:pt x="427" y="223"/>
                    </a:lnTo>
                    <a:lnTo>
                      <a:pt x="428" y="223"/>
                    </a:lnTo>
                    <a:lnTo>
                      <a:pt x="428" y="221"/>
                    </a:lnTo>
                    <a:lnTo>
                      <a:pt x="427" y="221"/>
                    </a:lnTo>
                    <a:lnTo>
                      <a:pt x="428" y="221"/>
                    </a:lnTo>
                    <a:lnTo>
                      <a:pt x="428" y="219"/>
                    </a:lnTo>
                    <a:lnTo>
                      <a:pt x="427" y="219"/>
                    </a:lnTo>
                    <a:lnTo>
                      <a:pt x="427" y="217"/>
                    </a:lnTo>
                    <a:lnTo>
                      <a:pt x="425" y="217"/>
                    </a:lnTo>
                    <a:lnTo>
                      <a:pt x="427" y="217"/>
                    </a:lnTo>
                    <a:lnTo>
                      <a:pt x="425" y="217"/>
                    </a:lnTo>
                    <a:lnTo>
                      <a:pt x="425" y="215"/>
                    </a:lnTo>
                    <a:lnTo>
                      <a:pt x="425" y="213"/>
                    </a:lnTo>
                    <a:lnTo>
                      <a:pt x="425" y="211"/>
                    </a:lnTo>
                    <a:lnTo>
                      <a:pt x="423" y="211"/>
                    </a:lnTo>
                    <a:lnTo>
                      <a:pt x="423" y="213"/>
                    </a:lnTo>
                    <a:lnTo>
                      <a:pt x="421" y="211"/>
                    </a:lnTo>
                    <a:lnTo>
                      <a:pt x="423" y="211"/>
                    </a:lnTo>
                    <a:lnTo>
                      <a:pt x="423" y="209"/>
                    </a:lnTo>
                    <a:lnTo>
                      <a:pt x="423" y="207"/>
                    </a:lnTo>
                    <a:lnTo>
                      <a:pt x="423" y="205"/>
                    </a:lnTo>
                    <a:lnTo>
                      <a:pt x="421" y="205"/>
                    </a:lnTo>
                    <a:lnTo>
                      <a:pt x="421" y="203"/>
                    </a:lnTo>
                    <a:lnTo>
                      <a:pt x="419" y="203"/>
                    </a:lnTo>
                    <a:lnTo>
                      <a:pt x="419" y="205"/>
                    </a:lnTo>
                    <a:lnTo>
                      <a:pt x="419" y="203"/>
                    </a:lnTo>
                    <a:lnTo>
                      <a:pt x="419" y="202"/>
                    </a:lnTo>
                    <a:lnTo>
                      <a:pt x="417" y="202"/>
                    </a:lnTo>
                    <a:lnTo>
                      <a:pt x="417" y="200"/>
                    </a:lnTo>
                    <a:lnTo>
                      <a:pt x="415" y="200"/>
                    </a:lnTo>
                    <a:lnTo>
                      <a:pt x="415" y="198"/>
                    </a:lnTo>
                    <a:lnTo>
                      <a:pt x="415" y="200"/>
                    </a:lnTo>
                    <a:lnTo>
                      <a:pt x="415" y="198"/>
                    </a:lnTo>
                    <a:lnTo>
                      <a:pt x="413" y="198"/>
                    </a:lnTo>
                    <a:lnTo>
                      <a:pt x="415" y="198"/>
                    </a:lnTo>
                    <a:lnTo>
                      <a:pt x="415" y="196"/>
                    </a:lnTo>
                    <a:lnTo>
                      <a:pt x="413" y="196"/>
                    </a:lnTo>
                    <a:lnTo>
                      <a:pt x="413" y="194"/>
                    </a:lnTo>
                    <a:lnTo>
                      <a:pt x="415" y="194"/>
                    </a:lnTo>
                    <a:lnTo>
                      <a:pt x="415" y="192"/>
                    </a:lnTo>
                    <a:lnTo>
                      <a:pt x="413" y="192"/>
                    </a:lnTo>
                    <a:lnTo>
                      <a:pt x="415" y="192"/>
                    </a:lnTo>
                    <a:lnTo>
                      <a:pt x="415" y="194"/>
                    </a:lnTo>
                    <a:lnTo>
                      <a:pt x="413" y="194"/>
                    </a:lnTo>
                    <a:lnTo>
                      <a:pt x="413" y="196"/>
                    </a:lnTo>
                    <a:lnTo>
                      <a:pt x="415" y="196"/>
                    </a:lnTo>
                    <a:lnTo>
                      <a:pt x="415" y="198"/>
                    </a:lnTo>
                    <a:lnTo>
                      <a:pt x="413" y="198"/>
                    </a:lnTo>
                    <a:lnTo>
                      <a:pt x="415" y="198"/>
                    </a:lnTo>
                    <a:lnTo>
                      <a:pt x="413" y="198"/>
                    </a:lnTo>
                    <a:lnTo>
                      <a:pt x="413" y="200"/>
                    </a:lnTo>
                    <a:lnTo>
                      <a:pt x="411" y="202"/>
                    </a:lnTo>
                    <a:lnTo>
                      <a:pt x="413" y="202"/>
                    </a:lnTo>
                    <a:lnTo>
                      <a:pt x="413" y="203"/>
                    </a:lnTo>
                    <a:lnTo>
                      <a:pt x="411" y="203"/>
                    </a:lnTo>
                    <a:lnTo>
                      <a:pt x="411" y="205"/>
                    </a:lnTo>
                    <a:lnTo>
                      <a:pt x="411" y="207"/>
                    </a:lnTo>
                    <a:lnTo>
                      <a:pt x="411" y="209"/>
                    </a:lnTo>
                    <a:lnTo>
                      <a:pt x="411" y="211"/>
                    </a:lnTo>
                    <a:lnTo>
                      <a:pt x="411" y="213"/>
                    </a:lnTo>
                    <a:lnTo>
                      <a:pt x="413" y="213"/>
                    </a:lnTo>
                    <a:lnTo>
                      <a:pt x="411" y="213"/>
                    </a:lnTo>
                    <a:lnTo>
                      <a:pt x="411" y="215"/>
                    </a:lnTo>
                    <a:lnTo>
                      <a:pt x="413" y="215"/>
                    </a:lnTo>
                    <a:lnTo>
                      <a:pt x="413" y="217"/>
                    </a:lnTo>
                    <a:lnTo>
                      <a:pt x="411" y="217"/>
                    </a:lnTo>
                    <a:lnTo>
                      <a:pt x="413" y="217"/>
                    </a:lnTo>
                    <a:lnTo>
                      <a:pt x="413" y="219"/>
                    </a:lnTo>
                    <a:lnTo>
                      <a:pt x="411" y="219"/>
                    </a:lnTo>
                    <a:lnTo>
                      <a:pt x="409" y="219"/>
                    </a:lnTo>
                    <a:lnTo>
                      <a:pt x="411" y="219"/>
                    </a:lnTo>
                    <a:lnTo>
                      <a:pt x="411" y="221"/>
                    </a:lnTo>
                    <a:lnTo>
                      <a:pt x="409" y="221"/>
                    </a:lnTo>
                    <a:lnTo>
                      <a:pt x="407" y="221"/>
                    </a:lnTo>
                    <a:lnTo>
                      <a:pt x="409" y="221"/>
                    </a:lnTo>
                    <a:lnTo>
                      <a:pt x="409" y="223"/>
                    </a:lnTo>
                    <a:lnTo>
                      <a:pt x="407" y="223"/>
                    </a:lnTo>
                    <a:lnTo>
                      <a:pt x="407" y="225"/>
                    </a:lnTo>
                    <a:lnTo>
                      <a:pt x="407" y="227"/>
                    </a:lnTo>
                    <a:lnTo>
                      <a:pt x="405" y="227"/>
                    </a:lnTo>
                    <a:lnTo>
                      <a:pt x="405" y="225"/>
                    </a:lnTo>
                    <a:lnTo>
                      <a:pt x="403" y="225"/>
                    </a:lnTo>
                    <a:lnTo>
                      <a:pt x="403" y="223"/>
                    </a:lnTo>
                    <a:lnTo>
                      <a:pt x="403" y="221"/>
                    </a:lnTo>
                    <a:lnTo>
                      <a:pt x="402" y="221"/>
                    </a:lnTo>
                    <a:lnTo>
                      <a:pt x="402" y="219"/>
                    </a:lnTo>
                    <a:lnTo>
                      <a:pt x="402" y="217"/>
                    </a:lnTo>
                    <a:lnTo>
                      <a:pt x="400" y="219"/>
                    </a:lnTo>
                    <a:lnTo>
                      <a:pt x="402" y="219"/>
                    </a:lnTo>
                    <a:lnTo>
                      <a:pt x="400" y="221"/>
                    </a:lnTo>
                    <a:lnTo>
                      <a:pt x="402" y="221"/>
                    </a:lnTo>
                    <a:lnTo>
                      <a:pt x="402" y="223"/>
                    </a:lnTo>
                    <a:lnTo>
                      <a:pt x="400" y="223"/>
                    </a:lnTo>
                    <a:lnTo>
                      <a:pt x="400" y="221"/>
                    </a:lnTo>
                    <a:lnTo>
                      <a:pt x="400" y="223"/>
                    </a:lnTo>
                    <a:lnTo>
                      <a:pt x="398" y="223"/>
                    </a:lnTo>
                    <a:lnTo>
                      <a:pt x="398" y="221"/>
                    </a:lnTo>
                    <a:lnTo>
                      <a:pt x="396" y="221"/>
                    </a:lnTo>
                    <a:lnTo>
                      <a:pt x="396" y="219"/>
                    </a:lnTo>
                    <a:lnTo>
                      <a:pt x="394" y="217"/>
                    </a:lnTo>
                    <a:lnTo>
                      <a:pt x="392" y="217"/>
                    </a:lnTo>
                    <a:lnTo>
                      <a:pt x="390" y="219"/>
                    </a:lnTo>
                    <a:lnTo>
                      <a:pt x="388" y="219"/>
                    </a:lnTo>
                    <a:lnTo>
                      <a:pt x="386" y="221"/>
                    </a:lnTo>
                    <a:lnTo>
                      <a:pt x="384" y="221"/>
                    </a:lnTo>
                    <a:lnTo>
                      <a:pt x="384" y="223"/>
                    </a:lnTo>
                    <a:lnTo>
                      <a:pt x="384" y="225"/>
                    </a:lnTo>
                    <a:lnTo>
                      <a:pt x="382" y="225"/>
                    </a:lnTo>
                    <a:lnTo>
                      <a:pt x="382" y="227"/>
                    </a:lnTo>
                    <a:lnTo>
                      <a:pt x="382" y="228"/>
                    </a:lnTo>
                    <a:lnTo>
                      <a:pt x="384" y="228"/>
                    </a:lnTo>
                    <a:lnTo>
                      <a:pt x="382" y="228"/>
                    </a:lnTo>
                    <a:lnTo>
                      <a:pt x="384" y="228"/>
                    </a:lnTo>
                    <a:lnTo>
                      <a:pt x="384" y="230"/>
                    </a:lnTo>
                    <a:lnTo>
                      <a:pt x="384" y="232"/>
                    </a:lnTo>
                    <a:lnTo>
                      <a:pt x="384" y="230"/>
                    </a:lnTo>
                    <a:lnTo>
                      <a:pt x="382" y="230"/>
                    </a:lnTo>
                    <a:lnTo>
                      <a:pt x="382" y="232"/>
                    </a:lnTo>
                    <a:lnTo>
                      <a:pt x="380" y="232"/>
                    </a:lnTo>
                    <a:lnTo>
                      <a:pt x="379" y="232"/>
                    </a:lnTo>
                    <a:lnTo>
                      <a:pt x="379" y="234"/>
                    </a:lnTo>
                    <a:lnTo>
                      <a:pt x="377" y="234"/>
                    </a:lnTo>
                    <a:lnTo>
                      <a:pt x="377" y="236"/>
                    </a:lnTo>
                    <a:lnTo>
                      <a:pt x="377" y="238"/>
                    </a:lnTo>
                    <a:lnTo>
                      <a:pt x="375" y="238"/>
                    </a:lnTo>
                    <a:lnTo>
                      <a:pt x="373" y="238"/>
                    </a:lnTo>
                    <a:lnTo>
                      <a:pt x="371" y="240"/>
                    </a:lnTo>
                    <a:lnTo>
                      <a:pt x="371" y="242"/>
                    </a:lnTo>
                    <a:lnTo>
                      <a:pt x="371" y="244"/>
                    </a:lnTo>
                    <a:lnTo>
                      <a:pt x="371" y="246"/>
                    </a:lnTo>
                    <a:lnTo>
                      <a:pt x="369" y="246"/>
                    </a:lnTo>
                    <a:lnTo>
                      <a:pt x="371" y="246"/>
                    </a:lnTo>
                    <a:lnTo>
                      <a:pt x="371" y="248"/>
                    </a:lnTo>
                    <a:lnTo>
                      <a:pt x="369" y="248"/>
                    </a:lnTo>
                    <a:lnTo>
                      <a:pt x="371" y="248"/>
                    </a:lnTo>
                    <a:lnTo>
                      <a:pt x="369" y="248"/>
                    </a:lnTo>
                    <a:lnTo>
                      <a:pt x="371" y="248"/>
                    </a:lnTo>
                    <a:lnTo>
                      <a:pt x="369" y="248"/>
                    </a:lnTo>
                    <a:lnTo>
                      <a:pt x="369" y="250"/>
                    </a:lnTo>
                    <a:lnTo>
                      <a:pt x="367" y="250"/>
                    </a:lnTo>
                    <a:lnTo>
                      <a:pt x="365" y="250"/>
                    </a:lnTo>
                    <a:lnTo>
                      <a:pt x="363" y="250"/>
                    </a:lnTo>
                    <a:lnTo>
                      <a:pt x="361" y="250"/>
                    </a:lnTo>
                    <a:lnTo>
                      <a:pt x="359" y="251"/>
                    </a:lnTo>
                    <a:lnTo>
                      <a:pt x="359" y="253"/>
                    </a:lnTo>
                    <a:lnTo>
                      <a:pt x="357" y="253"/>
                    </a:lnTo>
                    <a:lnTo>
                      <a:pt x="355" y="253"/>
                    </a:lnTo>
                    <a:lnTo>
                      <a:pt x="355" y="255"/>
                    </a:lnTo>
                    <a:lnTo>
                      <a:pt x="354" y="255"/>
                    </a:lnTo>
                    <a:lnTo>
                      <a:pt x="354" y="257"/>
                    </a:lnTo>
                    <a:lnTo>
                      <a:pt x="354" y="259"/>
                    </a:lnTo>
                    <a:lnTo>
                      <a:pt x="354" y="261"/>
                    </a:lnTo>
                    <a:lnTo>
                      <a:pt x="355" y="261"/>
                    </a:lnTo>
                    <a:lnTo>
                      <a:pt x="355" y="263"/>
                    </a:lnTo>
                    <a:lnTo>
                      <a:pt x="354" y="263"/>
                    </a:lnTo>
                    <a:lnTo>
                      <a:pt x="354" y="265"/>
                    </a:lnTo>
                    <a:lnTo>
                      <a:pt x="352" y="265"/>
                    </a:lnTo>
                    <a:lnTo>
                      <a:pt x="352" y="267"/>
                    </a:lnTo>
                    <a:lnTo>
                      <a:pt x="350" y="269"/>
                    </a:lnTo>
                    <a:lnTo>
                      <a:pt x="350" y="271"/>
                    </a:lnTo>
                    <a:lnTo>
                      <a:pt x="350" y="273"/>
                    </a:lnTo>
                    <a:lnTo>
                      <a:pt x="350" y="275"/>
                    </a:lnTo>
                    <a:lnTo>
                      <a:pt x="350" y="276"/>
                    </a:lnTo>
                    <a:lnTo>
                      <a:pt x="350" y="278"/>
                    </a:lnTo>
                    <a:lnTo>
                      <a:pt x="350" y="280"/>
                    </a:lnTo>
                    <a:lnTo>
                      <a:pt x="348" y="282"/>
                    </a:lnTo>
                    <a:lnTo>
                      <a:pt x="346" y="282"/>
                    </a:lnTo>
                    <a:lnTo>
                      <a:pt x="346" y="284"/>
                    </a:lnTo>
                    <a:lnTo>
                      <a:pt x="346" y="282"/>
                    </a:lnTo>
                    <a:lnTo>
                      <a:pt x="346" y="284"/>
                    </a:lnTo>
                    <a:lnTo>
                      <a:pt x="346" y="286"/>
                    </a:lnTo>
                    <a:lnTo>
                      <a:pt x="348" y="286"/>
                    </a:lnTo>
                    <a:lnTo>
                      <a:pt x="348" y="288"/>
                    </a:lnTo>
                    <a:lnTo>
                      <a:pt x="348" y="290"/>
                    </a:lnTo>
                    <a:lnTo>
                      <a:pt x="350" y="290"/>
                    </a:lnTo>
                    <a:lnTo>
                      <a:pt x="350" y="292"/>
                    </a:lnTo>
                    <a:lnTo>
                      <a:pt x="352" y="294"/>
                    </a:lnTo>
                    <a:lnTo>
                      <a:pt x="354" y="296"/>
                    </a:lnTo>
                    <a:lnTo>
                      <a:pt x="354" y="298"/>
                    </a:lnTo>
                    <a:lnTo>
                      <a:pt x="355" y="298"/>
                    </a:lnTo>
                    <a:lnTo>
                      <a:pt x="355" y="300"/>
                    </a:lnTo>
                    <a:lnTo>
                      <a:pt x="357" y="300"/>
                    </a:lnTo>
                    <a:lnTo>
                      <a:pt x="355" y="300"/>
                    </a:lnTo>
                    <a:lnTo>
                      <a:pt x="357" y="300"/>
                    </a:lnTo>
                    <a:lnTo>
                      <a:pt x="357" y="301"/>
                    </a:lnTo>
                    <a:lnTo>
                      <a:pt x="355" y="301"/>
                    </a:lnTo>
                    <a:lnTo>
                      <a:pt x="354" y="303"/>
                    </a:lnTo>
                    <a:lnTo>
                      <a:pt x="354" y="305"/>
                    </a:lnTo>
                    <a:lnTo>
                      <a:pt x="354" y="307"/>
                    </a:lnTo>
                    <a:lnTo>
                      <a:pt x="354" y="309"/>
                    </a:lnTo>
                    <a:lnTo>
                      <a:pt x="354" y="311"/>
                    </a:lnTo>
                    <a:lnTo>
                      <a:pt x="354" y="313"/>
                    </a:lnTo>
                    <a:lnTo>
                      <a:pt x="354" y="315"/>
                    </a:lnTo>
                    <a:lnTo>
                      <a:pt x="352" y="317"/>
                    </a:lnTo>
                    <a:lnTo>
                      <a:pt x="352" y="319"/>
                    </a:lnTo>
                    <a:lnTo>
                      <a:pt x="352" y="321"/>
                    </a:lnTo>
                    <a:lnTo>
                      <a:pt x="352" y="323"/>
                    </a:lnTo>
                    <a:lnTo>
                      <a:pt x="352" y="325"/>
                    </a:lnTo>
                    <a:lnTo>
                      <a:pt x="352" y="326"/>
                    </a:lnTo>
                    <a:lnTo>
                      <a:pt x="352" y="325"/>
                    </a:lnTo>
                    <a:lnTo>
                      <a:pt x="352" y="326"/>
                    </a:lnTo>
                    <a:lnTo>
                      <a:pt x="352" y="328"/>
                    </a:lnTo>
                    <a:lnTo>
                      <a:pt x="354" y="328"/>
                    </a:lnTo>
                    <a:lnTo>
                      <a:pt x="352" y="328"/>
                    </a:lnTo>
                    <a:lnTo>
                      <a:pt x="354" y="328"/>
                    </a:lnTo>
                    <a:lnTo>
                      <a:pt x="352" y="330"/>
                    </a:lnTo>
                    <a:lnTo>
                      <a:pt x="354" y="330"/>
                    </a:lnTo>
                    <a:lnTo>
                      <a:pt x="354" y="332"/>
                    </a:lnTo>
                    <a:lnTo>
                      <a:pt x="354" y="334"/>
                    </a:lnTo>
                    <a:lnTo>
                      <a:pt x="355" y="334"/>
                    </a:lnTo>
                    <a:lnTo>
                      <a:pt x="354" y="334"/>
                    </a:lnTo>
                    <a:lnTo>
                      <a:pt x="355" y="334"/>
                    </a:lnTo>
                    <a:lnTo>
                      <a:pt x="355" y="336"/>
                    </a:lnTo>
                    <a:lnTo>
                      <a:pt x="355" y="338"/>
                    </a:lnTo>
                    <a:lnTo>
                      <a:pt x="357" y="338"/>
                    </a:lnTo>
                    <a:lnTo>
                      <a:pt x="357" y="340"/>
                    </a:lnTo>
                    <a:lnTo>
                      <a:pt x="359" y="340"/>
                    </a:lnTo>
                    <a:lnTo>
                      <a:pt x="357" y="340"/>
                    </a:lnTo>
                    <a:lnTo>
                      <a:pt x="355" y="340"/>
                    </a:lnTo>
                    <a:lnTo>
                      <a:pt x="355" y="342"/>
                    </a:lnTo>
                    <a:lnTo>
                      <a:pt x="355" y="344"/>
                    </a:lnTo>
                    <a:lnTo>
                      <a:pt x="355" y="346"/>
                    </a:lnTo>
                    <a:lnTo>
                      <a:pt x="355" y="348"/>
                    </a:lnTo>
                    <a:lnTo>
                      <a:pt x="354" y="348"/>
                    </a:lnTo>
                    <a:lnTo>
                      <a:pt x="354" y="350"/>
                    </a:lnTo>
                    <a:lnTo>
                      <a:pt x="354" y="351"/>
                    </a:lnTo>
                    <a:lnTo>
                      <a:pt x="354" y="353"/>
                    </a:lnTo>
                    <a:lnTo>
                      <a:pt x="354" y="355"/>
                    </a:lnTo>
                    <a:lnTo>
                      <a:pt x="355" y="357"/>
                    </a:lnTo>
                    <a:lnTo>
                      <a:pt x="354" y="357"/>
                    </a:lnTo>
                    <a:lnTo>
                      <a:pt x="355" y="359"/>
                    </a:lnTo>
                    <a:lnTo>
                      <a:pt x="354" y="359"/>
                    </a:lnTo>
                    <a:lnTo>
                      <a:pt x="352" y="359"/>
                    </a:lnTo>
                    <a:lnTo>
                      <a:pt x="352" y="361"/>
                    </a:lnTo>
                    <a:lnTo>
                      <a:pt x="352" y="363"/>
                    </a:lnTo>
                    <a:lnTo>
                      <a:pt x="352" y="365"/>
                    </a:lnTo>
                    <a:lnTo>
                      <a:pt x="352" y="367"/>
                    </a:lnTo>
                    <a:lnTo>
                      <a:pt x="352" y="369"/>
                    </a:lnTo>
                    <a:lnTo>
                      <a:pt x="352" y="371"/>
                    </a:lnTo>
                    <a:lnTo>
                      <a:pt x="350" y="371"/>
                    </a:lnTo>
                    <a:lnTo>
                      <a:pt x="350" y="373"/>
                    </a:lnTo>
                    <a:lnTo>
                      <a:pt x="350" y="375"/>
                    </a:lnTo>
                    <a:lnTo>
                      <a:pt x="348" y="375"/>
                    </a:lnTo>
                    <a:lnTo>
                      <a:pt x="348" y="376"/>
                    </a:lnTo>
                    <a:lnTo>
                      <a:pt x="348" y="378"/>
                    </a:lnTo>
                    <a:lnTo>
                      <a:pt x="348" y="380"/>
                    </a:lnTo>
                    <a:lnTo>
                      <a:pt x="348" y="384"/>
                    </a:lnTo>
                    <a:lnTo>
                      <a:pt x="350" y="386"/>
                    </a:lnTo>
                    <a:lnTo>
                      <a:pt x="350" y="388"/>
                    </a:lnTo>
                    <a:lnTo>
                      <a:pt x="348" y="388"/>
                    </a:lnTo>
                    <a:lnTo>
                      <a:pt x="348" y="386"/>
                    </a:lnTo>
                    <a:lnTo>
                      <a:pt x="350" y="388"/>
                    </a:lnTo>
                    <a:lnTo>
                      <a:pt x="350" y="386"/>
                    </a:lnTo>
                    <a:lnTo>
                      <a:pt x="348" y="386"/>
                    </a:lnTo>
                    <a:lnTo>
                      <a:pt x="350" y="386"/>
                    </a:lnTo>
                    <a:lnTo>
                      <a:pt x="348" y="386"/>
                    </a:lnTo>
                    <a:lnTo>
                      <a:pt x="348" y="388"/>
                    </a:lnTo>
                    <a:lnTo>
                      <a:pt x="348" y="390"/>
                    </a:lnTo>
                    <a:lnTo>
                      <a:pt x="348" y="388"/>
                    </a:lnTo>
                    <a:lnTo>
                      <a:pt x="348" y="390"/>
                    </a:lnTo>
                    <a:lnTo>
                      <a:pt x="350" y="394"/>
                    </a:lnTo>
                    <a:lnTo>
                      <a:pt x="350" y="398"/>
                    </a:lnTo>
                    <a:lnTo>
                      <a:pt x="350" y="400"/>
                    </a:lnTo>
                    <a:lnTo>
                      <a:pt x="350" y="401"/>
                    </a:lnTo>
                    <a:lnTo>
                      <a:pt x="352" y="401"/>
                    </a:lnTo>
                    <a:lnTo>
                      <a:pt x="352" y="403"/>
                    </a:lnTo>
                    <a:lnTo>
                      <a:pt x="352" y="405"/>
                    </a:lnTo>
                    <a:lnTo>
                      <a:pt x="354" y="407"/>
                    </a:lnTo>
                    <a:lnTo>
                      <a:pt x="354" y="405"/>
                    </a:lnTo>
                    <a:lnTo>
                      <a:pt x="352" y="405"/>
                    </a:lnTo>
                    <a:lnTo>
                      <a:pt x="352" y="403"/>
                    </a:lnTo>
                    <a:lnTo>
                      <a:pt x="350" y="401"/>
                    </a:lnTo>
                    <a:lnTo>
                      <a:pt x="350" y="400"/>
                    </a:lnTo>
                    <a:lnTo>
                      <a:pt x="350" y="396"/>
                    </a:lnTo>
                    <a:lnTo>
                      <a:pt x="348" y="396"/>
                    </a:lnTo>
                    <a:lnTo>
                      <a:pt x="350" y="398"/>
                    </a:lnTo>
                    <a:lnTo>
                      <a:pt x="348" y="398"/>
                    </a:lnTo>
                    <a:lnTo>
                      <a:pt x="348" y="400"/>
                    </a:lnTo>
                    <a:lnTo>
                      <a:pt x="346" y="400"/>
                    </a:lnTo>
                    <a:lnTo>
                      <a:pt x="346" y="401"/>
                    </a:lnTo>
                    <a:lnTo>
                      <a:pt x="348" y="401"/>
                    </a:lnTo>
                    <a:lnTo>
                      <a:pt x="348" y="403"/>
                    </a:lnTo>
                    <a:lnTo>
                      <a:pt x="350" y="403"/>
                    </a:lnTo>
                    <a:lnTo>
                      <a:pt x="350" y="405"/>
                    </a:lnTo>
                    <a:lnTo>
                      <a:pt x="352" y="405"/>
                    </a:lnTo>
                    <a:lnTo>
                      <a:pt x="354" y="407"/>
                    </a:lnTo>
                    <a:lnTo>
                      <a:pt x="354" y="409"/>
                    </a:lnTo>
                    <a:lnTo>
                      <a:pt x="354" y="407"/>
                    </a:lnTo>
                    <a:lnTo>
                      <a:pt x="355" y="409"/>
                    </a:lnTo>
                    <a:lnTo>
                      <a:pt x="354" y="411"/>
                    </a:lnTo>
                    <a:lnTo>
                      <a:pt x="354" y="409"/>
                    </a:lnTo>
                    <a:lnTo>
                      <a:pt x="355" y="409"/>
                    </a:lnTo>
                    <a:lnTo>
                      <a:pt x="354" y="409"/>
                    </a:lnTo>
                    <a:lnTo>
                      <a:pt x="352" y="409"/>
                    </a:lnTo>
                    <a:lnTo>
                      <a:pt x="352" y="411"/>
                    </a:lnTo>
                    <a:lnTo>
                      <a:pt x="350" y="411"/>
                    </a:lnTo>
                    <a:lnTo>
                      <a:pt x="350" y="413"/>
                    </a:lnTo>
                    <a:lnTo>
                      <a:pt x="350" y="415"/>
                    </a:lnTo>
                    <a:lnTo>
                      <a:pt x="348" y="415"/>
                    </a:lnTo>
                    <a:lnTo>
                      <a:pt x="350" y="415"/>
                    </a:lnTo>
                    <a:lnTo>
                      <a:pt x="348" y="415"/>
                    </a:lnTo>
                    <a:lnTo>
                      <a:pt x="350" y="415"/>
                    </a:lnTo>
                    <a:lnTo>
                      <a:pt x="350" y="417"/>
                    </a:lnTo>
                    <a:lnTo>
                      <a:pt x="352" y="417"/>
                    </a:lnTo>
                    <a:lnTo>
                      <a:pt x="352" y="419"/>
                    </a:lnTo>
                    <a:lnTo>
                      <a:pt x="354" y="421"/>
                    </a:lnTo>
                    <a:lnTo>
                      <a:pt x="355" y="423"/>
                    </a:lnTo>
                    <a:lnTo>
                      <a:pt x="357" y="425"/>
                    </a:lnTo>
                    <a:lnTo>
                      <a:pt x="359" y="425"/>
                    </a:lnTo>
                    <a:lnTo>
                      <a:pt x="359" y="426"/>
                    </a:lnTo>
                    <a:lnTo>
                      <a:pt x="361" y="426"/>
                    </a:lnTo>
                    <a:lnTo>
                      <a:pt x="363" y="428"/>
                    </a:lnTo>
                    <a:lnTo>
                      <a:pt x="361" y="428"/>
                    </a:lnTo>
                    <a:lnTo>
                      <a:pt x="361" y="426"/>
                    </a:lnTo>
                    <a:lnTo>
                      <a:pt x="359" y="426"/>
                    </a:lnTo>
                    <a:lnTo>
                      <a:pt x="359" y="425"/>
                    </a:lnTo>
                    <a:lnTo>
                      <a:pt x="357" y="425"/>
                    </a:lnTo>
                    <a:lnTo>
                      <a:pt x="357" y="426"/>
                    </a:lnTo>
                    <a:lnTo>
                      <a:pt x="357" y="428"/>
                    </a:lnTo>
                    <a:lnTo>
                      <a:pt x="359" y="428"/>
                    </a:lnTo>
                    <a:lnTo>
                      <a:pt x="359" y="430"/>
                    </a:lnTo>
                    <a:lnTo>
                      <a:pt x="359" y="432"/>
                    </a:lnTo>
                    <a:lnTo>
                      <a:pt x="359" y="434"/>
                    </a:lnTo>
                    <a:lnTo>
                      <a:pt x="359" y="436"/>
                    </a:lnTo>
                    <a:lnTo>
                      <a:pt x="357" y="436"/>
                    </a:lnTo>
                    <a:lnTo>
                      <a:pt x="359" y="436"/>
                    </a:lnTo>
                    <a:lnTo>
                      <a:pt x="359" y="438"/>
                    </a:lnTo>
                    <a:lnTo>
                      <a:pt x="361" y="438"/>
                    </a:lnTo>
                    <a:lnTo>
                      <a:pt x="363" y="440"/>
                    </a:lnTo>
                    <a:lnTo>
                      <a:pt x="361" y="440"/>
                    </a:lnTo>
                    <a:lnTo>
                      <a:pt x="363" y="440"/>
                    </a:lnTo>
                    <a:lnTo>
                      <a:pt x="363" y="442"/>
                    </a:lnTo>
                    <a:lnTo>
                      <a:pt x="363" y="444"/>
                    </a:lnTo>
                    <a:lnTo>
                      <a:pt x="363" y="442"/>
                    </a:lnTo>
                    <a:lnTo>
                      <a:pt x="363" y="440"/>
                    </a:lnTo>
                    <a:lnTo>
                      <a:pt x="363" y="438"/>
                    </a:lnTo>
                    <a:lnTo>
                      <a:pt x="363" y="440"/>
                    </a:lnTo>
                    <a:lnTo>
                      <a:pt x="365" y="438"/>
                    </a:lnTo>
                    <a:lnTo>
                      <a:pt x="367" y="438"/>
                    </a:lnTo>
                    <a:lnTo>
                      <a:pt x="367" y="436"/>
                    </a:lnTo>
                    <a:lnTo>
                      <a:pt x="367" y="434"/>
                    </a:lnTo>
                    <a:lnTo>
                      <a:pt x="367" y="432"/>
                    </a:lnTo>
                    <a:lnTo>
                      <a:pt x="365" y="432"/>
                    </a:lnTo>
                    <a:lnTo>
                      <a:pt x="367" y="430"/>
                    </a:lnTo>
                    <a:lnTo>
                      <a:pt x="365" y="430"/>
                    </a:lnTo>
                    <a:lnTo>
                      <a:pt x="367" y="430"/>
                    </a:lnTo>
                    <a:lnTo>
                      <a:pt x="367" y="432"/>
                    </a:lnTo>
                    <a:lnTo>
                      <a:pt x="369" y="432"/>
                    </a:lnTo>
                    <a:lnTo>
                      <a:pt x="367" y="432"/>
                    </a:lnTo>
                    <a:lnTo>
                      <a:pt x="367" y="434"/>
                    </a:lnTo>
                    <a:lnTo>
                      <a:pt x="369" y="434"/>
                    </a:lnTo>
                    <a:lnTo>
                      <a:pt x="371" y="434"/>
                    </a:lnTo>
                    <a:lnTo>
                      <a:pt x="371" y="436"/>
                    </a:lnTo>
                    <a:lnTo>
                      <a:pt x="373" y="436"/>
                    </a:lnTo>
                    <a:lnTo>
                      <a:pt x="373" y="438"/>
                    </a:lnTo>
                    <a:lnTo>
                      <a:pt x="373" y="436"/>
                    </a:lnTo>
                    <a:lnTo>
                      <a:pt x="371" y="436"/>
                    </a:lnTo>
                    <a:lnTo>
                      <a:pt x="373" y="436"/>
                    </a:lnTo>
                    <a:lnTo>
                      <a:pt x="373" y="434"/>
                    </a:lnTo>
                    <a:lnTo>
                      <a:pt x="373" y="436"/>
                    </a:lnTo>
                    <a:lnTo>
                      <a:pt x="373" y="434"/>
                    </a:lnTo>
                    <a:lnTo>
                      <a:pt x="375" y="434"/>
                    </a:lnTo>
                    <a:lnTo>
                      <a:pt x="373" y="434"/>
                    </a:lnTo>
                    <a:lnTo>
                      <a:pt x="375" y="432"/>
                    </a:lnTo>
                    <a:lnTo>
                      <a:pt x="373" y="432"/>
                    </a:lnTo>
                    <a:lnTo>
                      <a:pt x="373" y="434"/>
                    </a:lnTo>
                    <a:lnTo>
                      <a:pt x="371" y="432"/>
                    </a:lnTo>
                    <a:lnTo>
                      <a:pt x="369" y="432"/>
                    </a:lnTo>
                    <a:lnTo>
                      <a:pt x="369" y="430"/>
                    </a:lnTo>
                    <a:lnTo>
                      <a:pt x="367" y="430"/>
                    </a:lnTo>
                    <a:lnTo>
                      <a:pt x="365" y="428"/>
                    </a:lnTo>
                    <a:lnTo>
                      <a:pt x="367" y="428"/>
                    </a:lnTo>
                    <a:lnTo>
                      <a:pt x="369" y="428"/>
                    </a:lnTo>
                    <a:lnTo>
                      <a:pt x="371" y="428"/>
                    </a:lnTo>
                    <a:lnTo>
                      <a:pt x="371" y="426"/>
                    </a:lnTo>
                    <a:lnTo>
                      <a:pt x="373" y="426"/>
                    </a:lnTo>
                    <a:lnTo>
                      <a:pt x="371" y="426"/>
                    </a:lnTo>
                    <a:lnTo>
                      <a:pt x="373" y="426"/>
                    </a:lnTo>
                    <a:lnTo>
                      <a:pt x="373" y="425"/>
                    </a:lnTo>
                    <a:lnTo>
                      <a:pt x="373" y="426"/>
                    </a:lnTo>
                    <a:lnTo>
                      <a:pt x="375" y="426"/>
                    </a:lnTo>
                    <a:lnTo>
                      <a:pt x="377" y="426"/>
                    </a:lnTo>
                    <a:lnTo>
                      <a:pt x="379" y="426"/>
                    </a:lnTo>
                    <a:lnTo>
                      <a:pt x="380" y="426"/>
                    </a:lnTo>
                    <a:lnTo>
                      <a:pt x="380" y="425"/>
                    </a:lnTo>
                    <a:lnTo>
                      <a:pt x="382" y="425"/>
                    </a:lnTo>
                    <a:lnTo>
                      <a:pt x="380" y="425"/>
                    </a:lnTo>
                    <a:lnTo>
                      <a:pt x="380" y="423"/>
                    </a:lnTo>
                    <a:lnTo>
                      <a:pt x="382" y="423"/>
                    </a:lnTo>
                    <a:lnTo>
                      <a:pt x="384" y="423"/>
                    </a:lnTo>
                    <a:lnTo>
                      <a:pt x="384" y="425"/>
                    </a:lnTo>
                    <a:lnTo>
                      <a:pt x="386" y="425"/>
                    </a:lnTo>
                    <a:lnTo>
                      <a:pt x="388" y="425"/>
                    </a:lnTo>
                    <a:lnTo>
                      <a:pt x="388" y="426"/>
                    </a:lnTo>
                    <a:lnTo>
                      <a:pt x="390" y="426"/>
                    </a:lnTo>
                    <a:lnTo>
                      <a:pt x="392" y="425"/>
                    </a:lnTo>
                    <a:lnTo>
                      <a:pt x="392" y="426"/>
                    </a:lnTo>
                    <a:lnTo>
                      <a:pt x="392" y="425"/>
                    </a:lnTo>
                    <a:lnTo>
                      <a:pt x="392" y="426"/>
                    </a:lnTo>
                    <a:lnTo>
                      <a:pt x="394" y="426"/>
                    </a:lnTo>
                    <a:lnTo>
                      <a:pt x="394" y="428"/>
                    </a:lnTo>
                    <a:lnTo>
                      <a:pt x="396" y="428"/>
                    </a:lnTo>
                    <a:lnTo>
                      <a:pt x="394" y="428"/>
                    </a:lnTo>
                    <a:lnTo>
                      <a:pt x="394" y="430"/>
                    </a:lnTo>
                    <a:lnTo>
                      <a:pt x="396" y="430"/>
                    </a:lnTo>
                    <a:lnTo>
                      <a:pt x="396" y="432"/>
                    </a:lnTo>
                    <a:lnTo>
                      <a:pt x="398" y="432"/>
                    </a:lnTo>
                    <a:lnTo>
                      <a:pt x="398" y="434"/>
                    </a:lnTo>
                    <a:lnTo>
                      <a:pt x="396" y="434"/>
                    </a:lnTo>
                    <a:lnTo>
                      <a:pt x="398" y="434"/>
                    </a:lnTo>
                    <a:lnTo>
                      <a:pt x="398" y="436"/>
                    </a:lnTo>
                    <a:lnTo>
                      <a:pt x="400" y="436"/>
                    </a:lnTo>
                    <a:lnTo>
                      <a:pt x="398" y="436"/>
                    </a:lnTo>
                    <a:lnTo>
                      <a:pt x="396" y="438"/>
                    </a:lnTo>
                    <a:lnTo>
                      <a:pt x="396" y="440"/>
                    </a:lnTo>
                    <a:lnTo>
                      <a:pt x="394" y="438"/>
                    </a:lnTo>
                    <a:lnTo>
                      <a:pt x="394" y="440"/>
                    </a:lnTo>
                    <a:lnTo>
                      <a:pt x="392" y="440"/>
                    </a:lnTo>
                    <a:lnTo>
                      <a:pt x="390" y="442"/>
                    </a:lnTo>
                    <a:lnTo>
                      <a:pt x="390" y="444"/>
                    </a:lnTo>
                    <a:lnTo>
                      <a:pt x="392" y="446"/>
                    </a:lnTo>
                    <a:lnTo>
                      <a:pt x="390" y="446"/>
                    </a:lnTo>
                    <a:lnTo>
                      <a:pt x="388" y="446"/>
                    </a:lnTo>
                    <a:lnTo>
                      <a:pt x="386" y="446"/>
                    </a:lnTo>
                    <a:lnTo>
                      <a:pt x="384" y="446"/>
                    </a:lnTo>
                    <a:lnTo>
                      <a:pt x="382" y="446"/>
                    </a:lnTo>
                    <a:lnTo>
                      <a:pt x="380" y="446"/>
                    </a:lnTo>
                    <a:lnTo>
                      <a:pt x="379" y="448"/>
                    </a:lnTo>
                    <a:lnTo>
                      <a:pt x="379" y="450"/>
                    </a:lnTo>
                    <a:lnTo>
                      <a:pt x="377" y="450"/>
                    </a:lnTo>
                    <a:lnTo>
                      <a:pt x="379" y="450"/>
                    </a:lnTo>
                    <a:lnTo>
                      <a:pt x="379" y="451"/>
                    </a:lnTo>
                    <a:lnTo>
                      <a:pt x="380" y="451"/>
                    </a:lnTo>
                    <a:lnTo>
                      <a:pt x="380" y="453"/>
                    </a:lnTo>
                    <a:lnTo>
                      <a:pt x="380" y="455"/>
                    </a:lnTo>
                    <a:lnTo>
                      <a:pt x="380" y="453"/>
                    </a:lnTo>
                    <a:lnTo>
                      <a:pt x="380" y="455"/>
                    </a:lnTo>
                    <a:lnTo>
                      <a:pt x="380" y="457"/>
                    </a:lnTo>
                    <a:lnTo>
                      <a:pt x="379" y="457"/>
                    </a:lnTo>
                    <a:lnTo>
                      <a:pt x="377" y="459"/>
                    </a:lnTo>
                    <a:lnTo>
                      <a:pt x="377" y="461"/>
                    </a:lnTo>
                    <a:lnTo>
                      <a:pt x="377" y="463"/>
                    </a:lnTo>
                    <a:lnTo>
                      <a:pt x="375" y="463"/>
                    </a:lnTo>
                    <a:lnTo>
                      <a:pt x="373" y="463"/>
                    </a:lnTo>
                    <a:lnTo>
                      <a:pt x="371" y="463"/>
                    </a:lnTo>
                    <a:lnTo>
                      <a:pt x="369" y="463"/>
                    </a:lnTo>
                    <a:lnTo>
                      <a:pt x="371" y="463"/>
                    </a:lnTo>
                    <a:lnTo>
                      <a:pt x="369" y="463"/>
                    </a:lnTo>
                    <a:lnTo>
                      <a:pt x="369" y="461"/>
                    </a:lnTo>
                    <a:lnTo>
                      <a:pt x="367" y="461"/>
                    </a:lnTo>
                    <a:lnTo>
                      <a:pt x="367" y="459"/>
                    </a:lnTo>
                    <a:lnTo>
                      <a:pt x="365" y="459"/>
                    </a:lnTo>
                    <a:lnTo>
                      <a:pt x="365" y="461"/>
                    </a:lnTo>
                    <a:lnTo>
                      <a:pt x="363" y="461"/>
                    </a:lnTo>
                    <a:lnTo>
                      <a:pt x="361" y="461"/>
                    </a:lnTo>
                    <a:lnTo>
                      <a:pt x="361" y="459"/>
                    </a:lnTo>
                    <a:lnTo>
                      <a:pt x="363" y="459"/>
                    </a:lnTo>
                    <a:lnTo>
                      <a:pt x="361" y="459"/>
                    </a:lnTo>
                    <a:lnTo>
                      <a:pt x="363" y="459"/>
                    </a:lnTo>
                    <a:lnTo>
                      <a:pt x="361" y="457"/>
                    </a:lnTo>
                    <a:lnTo>
                      <a:pt x="361" y="459"/>
                    </a:lnTo>
                    <a:lnTo>
                      <a:pt x="359" y="459"/>
                    </a:lnTo>
                    <a:lnTo>
                      <a:pt x="361" y="459"/>
                    </a:lnTo>
                    <a:lnTo>
                      <a:pt x="361" y="461"/>
                    </a:lnTo>
                    <a:lnTo>
                      <a:pt x="359" y="461"/>
                    </a:lnTo>
                    <a:lnTo>
                      <a:pt x="359" y="463"/>
                    </a:lnTo>
                    <a:lnTo>
                      <a:pt x="357" y="461"/>
                    </a:lnTo>
                    <a:lnTo>
                      <a:pt x="355" y="461"/>
                    </a:lnTo>
                    <a:lnTo>
                      <a:pt x="355" y="463"/>
                    </a:lnTo>
                    <a:lnTo>
                      <a:pt x="354" y="463"/>
                    </a:lnTo>
                    <a:lnTo>
                      <a:pt x="354" y="465"/>
                    </a:lnTo>
                    <a:lnTo>
                      <a:pt x="352" y="465"/>
                    </a:lnTo>
                    <a:lnTo>
                      <a:pt x="354" y="465"/>
                    </a:lnTo>
                    <a:lnTo>
                      <a:pt x="354" y="463"/>
                    </a:lnTo>
                    <a:lnTo>
                      <a:pt x="352" y="463"/>
                    </a:lnTo>
                    <a:lnTo>
                      <a:pt x="352" y="465"/>
                    </a:lnTo>
                    <a:lnTo>
                      <a:pt x="354" y="465"/>
                    </a:lnTo>
                    <a:lnTo>
                      <a:pt x="352" y="467"/>
                    </a:lnTo>
                    <a:lnTo>
                      <a:pt x="354" y="467"/>
                    </a:lnTo>
                    <a:lnTo>
                      <a:pt x="354" y="469"/>
                    </a:lnTo>
                    <a:lnTo>
                      <a:pt x="354" y="471"/>
                    </a:lnTo>
                    <a:lnTo>
                      <a:pt x="354" y="469"/>
                    </a:lnTo>
                    <a:lnTo>
                      <a:pt x="354" y="471"/>
                    </a:lnTo>
                    <a:lnTo>
                      <a:pt x="354" y="469"/>
                    </a:lnTo>
                    <a:lnTo>
                      <a:pt x="354" y="471"/>
                    </a:lnTo>
                    <a:lnTo>
                      <a:pt x="354" y="473"/>
                    </a:lnTo>
                    <a:lnTo>
                      <a:pt x="354" y="471"/>
                    </a:lnTo>
                    <a:lnTo>
                      <a:pt x="354" y="473"/>
                    </a:lnTo>
                    <a:lnTo>
                      <a:pt x="354" y="471"/>
                    </a:lnTo>
                    <a:lnTo>
                      <a:pt x="355" y="471"/>
                    </a:lnTo>
                    <a:lnTo>
                      <a:pt x="355" y="473"/>
                    </a:lnTo>
                    <a:lnTo>
                      <a:pt x="355" y="471"/>
                    </a:lnTo>
                    <a:lnTo>
                      <a:pt x="355" y="473"/>
                    </a:lnTo>
                    <a:lnTo>
                      <a:pt x="355" y="475"/>
                    </a:lnTo>
                    <a:lnTo>
                      <a:pt x="354" y="475"/>
                    </a:lnTo>
                    <a:lnTo>
                      <a:pt x="354" y="476"/>
                    </a:lnTo>
                    <a:lnTo>
                      <a:pt x="352" y="476"/>
                    </a:lnTo>
                    <a:lnTo>
                      <a:pt x="350" y="476"/>
                    </a:lnTo>
                    <a:lnTo>
                      <a:pt x="350" y="478"/>
                    </a:lnTo>
                    <a:lnTo>
                      <a:pt x="350" y="480"/>
                    </a:lnTo>
                    <a:lnTo>
                      <a:pt x="350" y="482"/>
                    </a:lnTo>
                    <a:lnTo>
                      <a:pt x="350" y="484"/>
                    </a:lnTo>
                    <a:lnTo>
                      <a:pt x="350" y="486"/>
                    </a:lnTo>
                    <a:lnTo>
                      <a:pt x="350" y="488"/>
                    </a:lnTo>
                    <a:lnTo>
                      <a:pt x="352" y="488"/>
                    </a:lnTo>
                    <a:lnTo>
                      <a:pt x="352" y="490"/>
                    </a:lnTo>
                    <a:lnTo>
                      <a:pt x="350" y="490"/>
                    </a:lnTo>
                    <a:lnTo>
                      <a:pt x="350" y="492"/>
                    </a:lnTo>
                    <a:lnTo>
                      <a:pt x="348" y="492"/>
                    </a:lnTo>
                    <a:lnTo>
                      <a:pt x="348" y="494"/>
                    </a:lnTo>
                    <a:lnTo>
                      <a:pt x="346" y="494"/>
                    </a:lnTo>
                    <a:lnTo>
                      <a:pt x="344" y="494"/>
                    </a:lnTo>
                    <a:lnTo>
                      <a:pt x="342" y="494"/>
                    </a:lnTo>
                    <a:lnTo>
                      <a:pt x="340" y="494"/>
                    </a:lnTo>
                    <a:lnTo>
                      <a:pt x="340" y="492"/>
                    </a:lnTo>
                    <a:lnTo>
                      <a:pt x="338" y="492"/>
                    </a:lnTo>
                    <a:lnTo>
                      <a:pt x="336" y="492"/>
                    </a:lnTo>
                    <a:lnTo>
                      <a:pt x="334" y="492"/>
                    </a:lnTo>
                    <a:lnTo>
                      <a:pt x="332" y="492"/>
                    </a:lnTo>
                    <a:lnTo>
                      <a:pt x="334" y="492"/>
                    </a:lnTo>
                    <a:lnTo>
                      <a:pt x="332" y="492"/>
                    </a:lnTo>
                    <a:lnTo>
                      <a:pt x="332" y="494"/>
                    </a:lnTo>
                    <a:lnTo>
                      <a:pt x="334" y="494"/>
                    </a:lnTo>
                    <a:lnTo>
                      <a:pt x="332" y="494"/>
                    </a:lnTo>
                    <a:lnTo>
                      <a:pt x="332" y="496"/>
                    </a:lnTo>
                    <a:lnTo>
                      <a:pt x="332" y="498"/>
                    </a:lnTo>
                    <a:lnTo>
                      <a:pt x="330" y="498"/>
                    </a:lnTo>
                    <a:lnTo>
                      <a:pt x="330" y="499"/>
                    </a:lnTo>
                    <a:lnTo>
                      <a:pt x="330" y="501"/>
                    </a:lnTo>
                    <a:lnTo>
                      <a:pt x="332" y="501"/>
                    </a:lnTo>
                    <a:lnTo>
                      <a:pt x="332" y="503"/>
                    </a:lnTo>
                    <a:lnTo>
                      <a:pt x="332" y="505"/>
                    </a:lnTo>
                    <a:lnTo>
                      <a:pt x="330" y="505"/>
                    </a:lnTo>
                    <a:lnTo>
                      <a:pt x="330" y="507"/>
                    </a:lnTo>
                    <a:lnTo>
                      <a:pt x="329" y="507"/>
                    </a:lnTo>
                    <a:lnTo>
                      <a:pt x="329" y="509"/>
                    </a:lnTo>
                    <a:lnTo>
                      <a:pt x="327" y="509"/>
                    </a:lnTo>
                    <a:lnTo>
                      <a:pt x="327" y="511"/>
                    </a:lnTo>
                    <a:lnTo>
                      <a:pt x="327" y="509"/>
                    </a:lnTo>
                    <a:lnTo>
                      <a:pt x="327" y="511"/>
                    </a:lnTo>
                    <a:lnTo>
                      <a:pt x="325" y="511"/>
                    </a:lnTo>
                    <a:lnTo>
                      <a:pt x="325" y="513"/>
                    </a:lnTo>
                    <a:lnTo>
                      <a:pt x="325" y="515"/>
                    </a:lnTo>
                    <a:lnTo>
                      <a:pt x="323" y="515"/>
                    </a:lnTo>
                    <a:lnTo>
                      <a:pt x="321" y="515"/>
                    </a:lnTo>
                    <a:lnTo>
                      <a:pt x="319" y="515"/>
                    </a:lnTo>
                    <a:lnTo>
                      <a:pt x="319" y="517"/>
                    </a:lnTo>
                    <a:lnTo>
                      <a:pt x="317" y="517"/>
                    </a:lnTo>
                    <a:lnTo>
                      <a:pt x="317" y="519"/>
                    </a:lnTo>
                    <a:lnTo>
                      <a:pt x="315" y="519"/>
                    </a:lnTo>
                    <a:lnTo>
                      <a:pt x="315" y="521"/>
                    </a:lnTo>
                    <a:lnTo>
                      <a:pt x="313" y="519"/>
                    </a:lnTo>
                    <a:lnTo>
                      <a:pt x="311" y="519"/>
                    </a:lnTo>
                    <a:lnTo>
                      <a:pt x="311" y="517"/>
                    </a:lnTo>
                    <a:lnTo>
                      <a:pt x="309" y="517"/>
                    </a:lnTo>
                    <a:lnTo>
                      <a:pt x="307" y="517"/>
                    </a:lnTo>
                    <a:lnTo>
                      <a:pt x="307" y="515"/>
                    </a:lnTo>
                    <a:lnTo>
                      <a:pt x="305" y="515"/>
                    </a:lnTo>
                    <a:lnTo>
                      <a:pt x="305" y="513"/>
                    </a:lnTo>
                    <a:lnTo>
                      <a:pt x="304" y="513"/>
                    </a:lnTo>
                    <a:lnTo>
                      <a:pt x="302" y="513"/>
                    </a:lnTo>
                    <a:lnTo>
                      <a:pt x="302" y="511"/>
                    </a:lnTo>
                    <a:lnTo>
                      <a:pt x="300" y="511"/>
                    </a:lnTo>
                    <a:lnTo>
                      <a:pt x="300" y="509"/>
                    </a:lnTo>
                    <a:lnTo>
                      <a:pt x="298" y="509"/>
                    </a:lnTo>
                    <a:lnTo>
                      <a:pt x="300" y="509"/>
                    </a:lnTo>
                    <a:lnTo>
                      <a:pt x="302" y="509"/>
                    </a:lnTo>
                    <a:lnTo>
                      <a:pt x="302" y="507"/>
                    </a:lnTo>
                    <a:lnTo>
                      <a:pt x="304" y="507"/>
                    </a:lnTo>
                    <a:lnTo>
                      <a:pt x="304" y="505"/>
                    </a:lnTo>
                    <a:lnTo>
                      <a:pt x="305" y="505"/>
                    </a:lnTo>
                    <a:lnTo>
                      <a:pt x="305" y="503"/>
                    </a:lnTo>
                    <a:lnTo>
                      <a:pt x="304" y="503"/>
                    </a:lnTo>
                    <a:lnTo>
                      <a:pt x="304" y="501"/>
                    </a:lnTo>
                    <a:lnTo>
                      <a:pt x="305" y="501"/>
                    </a:lnTo>
                    <a:lnTo>
                      <a:pt x="304" y="501"/>
                    </a:lnTo>
                    <a:lnTo>
                      <a:pt x="305" y="501"/>
                    </a:lnTo>
                    <a:lnTo>
                      <a:pt x="305" y="499"/>
                    </a:lnTo>
                    <a:lnTo>
                      <a:pt x="305" y="501"/>
                    </a:lnTo>
                    <a:lnTo>
                      <a:pt x="305" y="499"/>
                    </a:lnTo>
                    <a:lnTo>
                      <a:pt x="307" y="499"/>
                    </a:lnTo>
                    <a:lnTo>
                      <a:pt x="309" y="499"/>
                    </a:lnTo>
                    <a:lnTo>
                      <a:pt x="309" y="498"/>
                    </a:lnTo>
                    <a:lnTo>
                      <a:pt x="311" y="498"/>
                    </a:lnTo>
                    <a:lnTo>
                      <a:pt x="313" y="498"/>
                    </a:lnTo>
                    <a:lnTo>
                      <a:pt x="315" y="498"/>
                    </a:lnTo>
                    <a:lnTo>
                      <a:pt x="315" y="496"/>
                    </a:lnTo>
                    <a:lnTo>
                      <a:pt x="317" y="496"/>
                    </a:lnTo>
                    <a:lnTo>
                      <a:pt x="319" y="496"/>
                    </a:lnTo>
                    <a:lnTo>
                      <a:pt x="319" y="494"/>
                    </a:lnTo>
                    <a:lnTo>
                      <a:pt x="319" y="492"/>
                    </a:lnTo>
                    <a:lnTo>
                      <a:pt x="321" y="492"/>
                    </a:lnTo>
                    <a:lnTo>
                      <a:pt x="323" y="492"/>
                    </a:lnTo>
                    <a:lnTo>
                      <a:pt x="323" y="490"/>
                    </a:lnTo>
                    <a:lnTo>
                      <a:pt x="323" y="488"/>
                    </a:lnTo>
                    <a:lnTo>
                      <a:pt x="323" y="486"/>
                    </a:lnTo>
                    <a:lnTo>
                      <a:pt x="325" y="486"/>
                    </a:lnTo>
                    <a:lnTo>
                      <a:pt x="325" y="484"/>
                    </a:lnTo>
                    <a:lnTo>
                      <a:pt x="327" y="484"/>
                    </a:lnTo>
                    <a:lnTo>
                      <a:pt x="325" y="482"/>
                    </a:lnTo>
                    <a:lnTo>
                      <a:pt x="323" y="482"/>
                    </a:lnTo>
                    <a:lnTo>
                      <a:pt x="321" y="482"/>
                    </a:lnTo>
                    <a:lnTo>
                      <a:pt x="319" y="482"/>
                    </a:lnTo>
                    <a:lnTo>
                      <a:pt x="319" y="480"/>
                    </a:lnTo>
                    <a:lnTo>
                      <a:pt x="319" y="482"/>
                    </a:lnTo>
                    <a:lnTo>
                      <a:pt x="317" y="482"/>
                    </a:lnTo>
                    <a:lnTo>
                      <a:pt x="317" y="484"/>
                    </a:lnTo>
                    <a:lnTo>
                      <a:pt x="315" y="484"/>
                    </a:lnTo>
                    <a:lnTo>
                      <a:pt x="315" y="486"/>
                    </a:lnTo>
                    <a:lnTo>
                      <a:pt x="313" y="486"/>
                    </a:lnTo>
                    <a:lnTo>
                      <a:pt x="311" y="486"/>
                    </a:lnTo>
                    <a:lnTo>
                      <a:pt x="309" y="486"/>
                    </a:lnTo>
                    <a:lnTo>
                      <a:pt x="307" y="488"/>
                    </a:lnTo>
                    <a:lnTo>
                      <a:pt x="305" y="488"/>
                    </a:lnTo>
                    <a:lnTo>
                      <a:pt x="305" y="486"/>
                    </a:lnTo>
                    <a:lnTo>
                      <a:pt x="307" y="486"/>
                    </a:lnTo>
                    <a:lnTo>
                      <a:pt x="305" y="484"/>
                    </a:lnTo>
                    <a:lnTo>
                      <a:pt x="304" y="484"/>
                    </a:lnTo>
                    <a:lnTo>
                      <a:pt x="304" y="482"/>
                    </a:lnTo>
                    <a:lnTo>
                      <a:pt x="302" y="482"/>
                    </a:lnTo>
                    <a:lnTo>
                      <a:pt x="300" y="480"/>
                    </a:lnTo>
                    <a:lnTo>
                      <a:pt x="298" y="480"/>
                    </a:lnTo>
                    <a:lnTo>
                      <a:pt x="296" y="480"/>
                    </a:lnTo>
                    <a:lnTo>
                      <a:pt x="294" y="480"/>
                    </a:lnTo>
                    <a:lnTo>
                      <a:pt x="292" y="480"/>
                    </a:lnTo>
                    <a:lnTo>
                      <a:pt x="292" y="478"/>
                    </a:lnTo>
                    <a:lnTo>
                      <a:pt x="290" y="478"/>
                    </a:lnTo>
                    <a:lnTo>
                      <a:pt x="292" y="478"/>
                    </a:lnTo>
                    <a:lnTo>
                      <a:pt x="290" y="478"/>
                    </a:lnTo>
                    <a:lnTo>
                      <a:pt x="290" y="476"/>
                    </a:lnTo>
                    <a:lnTo>
                      <a:pt x="288" y="476"/>
                    </a:lnTo>
                    <a:lnTo>
                      <a:pt x="286" y="478"/>
                    </a:lnTo>
                    <a:lnTo>
                      <a:pt x="288" y="478"/>
                    </a:lnTo>
                    <a:lnTo>
                      <a:pt x="288" y="480"/>
                    </a:lnTo>
                    <a:lnTo>
                      <a:pt x="286" y="480"/>
                    </a:lnTo>
                    <a:lnTo>
                      <a:pt x="288" y="480"/>
                    </a:lnTo>
                    <a:lnTo>
                      <a:pt x="286" y="480"/>
                    </a:lnTo>
                    <a:lnTo>
                      <a:pt x="286" y="482"/>
                    </a:lnTo>
                    <a:lnTo>
                      <a:pt x="284" y="482"/>
                    </a:lnTo>
                    <a:lnTo>
                      <a:pt x="282" y="482"/>
                    </a:lnTo>
                    <a:lnTo>
                      <a:pt x="281" y="482"/>
                    </a:lnTo>
                    <a:lnTo>
                      <a:pt x="281" y="484"/>
                    </a:lnTo>
                    <a:lnTo>
                      <a:pt x="279" y="484"/>
                    </a:lnTo>
                    <a:lnTo>
                      <a:pt x="279" y="486"/>
                    </a:lnTo>
                    <a:lnTo>
                      <a:pt x="279" y="488"/>
                    </a:lnTo>
                    <a:lnTo>
                      <a:pt x="277" y="488"/>
                    </a:lnTo>
                    <a:lnTo>
                      <a:pt x="277" y="486"/>
                    </a:lnTo>
                    <a:lnTo>
                      <a:pt x="277" y="488"/>
                    </a:lnTo>
                    <a:lnTo>
                      <a:pt x="279" y="490"/>
                    </a:lnTo>
                    <a:lnTo>
                      <a:pt x="281" y="490"/>
                    </a:lnTo>
                    <a:lnTo>
                      <a:pt x="279" y="490"/>
                    </a:lnTo>
                    <a:lnTo>
                      <a:pt x="279" y="492"/>
                    </a:lnTo>
                    <a:lnTo>
                      <a:pt x="281" y="492"/>
                    </a:lnTo>
                    <a:lnTo>
                      <a:pt x="282" y="494"/>
                    </a:lnTo>
                    <a:lnTo>
                      <a:pt x="281" y="494"/>
                    </a:lnTo>
                    <a:lnTo>
                      <a:pt x="279" y="494"/>
                    </a:lnTo>
                    <a:lnTo>
                      <a:pt x="279" y="496"/>
                    </a:lnTo>
                    <a:lnTo>
                      <a:pt x="279" y="498"/>
                    </a:lnTo>
                    <a:lnTo>
                      <a:pt x="277" y="498"/>
                    </a:lnTo>
                    <a:lnTo>
                      <a:pt x="277" y="496"/>
                    </a:lnTo>
                    <a:lnTo>
                      <a:pt x="277" y="494"/>
                    </a:lnTo>
                    <a:lnTo>
                      <a:pt x="275" y="494"/>
                    </a:lnTo>
                    <a:lnTo>
                      <a:pt x="275" y="496"/>
                    </a:lnTo>
                    <a:lnTo>
                      <a:pt x="273" y="496"/>
                    </a:lnTo>
                    <a:lnTo>
                      <a:pt x="271" y="498"/>
                    </a:lnTo>
                    <a:lnTo>
                      <a:pt x="269" y="498"/>
                    </a:lnTo>
                    <a:lnTo>
                      <a:pt x="269" y="496"/>
                    </a:lnTo>
                    <a:lnTo>
                      <a:pt x="271" y="496"/>
                    </a:lnTo>
                    <a:lnTo>
                      <a:pt x="271" y="494"/>
                    </a:lnTo>
                    <a:lnTo>
                      <a:pt x="273" y="494"/>
                    </a:lnTo>
                    <a:lnTo>
                      <a:pt x="273" y="492"/>
                    </a:lnTo>
                    <a:lnTo>
                      <a:pt x="275" y="492"/>
                    </a:lnTo>
                    <a:lnTo>
                      <a:pt x="275" y="490"/>
                    </a:lnTo>
                    <a:lnTo>
                      <a:pt x="273" y="490"/>
                    </a:lnTo>
                    <a:lnTo>
                      <a:pt x="271" y="492"/>
                    </a:lnTo>
                    <a:lnTo>
                      <a:pt x="271" y="494"/>
                    </a:lnTo>
                    <a:lnTo>
                      <a:pt x="269" y="494"/>
                    </a:lnTo>
                    <a:lnTo>
                      <a:pt x="267" y="494"/>
                    </a:lnTo>
                    <a:lnTo>
                      <a:pt x="265" y="494"/>
                    </a:lnTo>
                    <a:lnTo>
                      <a:pt x="265" y="492"/>
                    </a:lnTo>
                    <a:lnTo>
                      <a:pt x="263" y="492"/>
                    </a:lnTo>
                    <a:lnTo>
                      <a:pt x="261" y="492"/>
                    </a:lnTo>
                    <a:lnTo>
                      <a:pt x="259" y="492"/>
                    </a:lnTo>
                    <a:lnTo>
                      <a:pt x="257" y="492"/>
                    </a:lnTo>
                    <a:lnTo>
                      <a:pt x="259" y="492"/>
                    </a:lnTo>
                    <a:lnTo>
                      <a:pt x="257" y="492"/>
                    </a:lnTo>
                    <a:lnTo>
                      <a:pt x="256" y="494"/>
                    </a:lnTo>
                    <a:lnTo>
                      <a:pt x="254" y="494"/>
                    </a:lnTo>
                    <a:lnTo>
                      <a:pt x="250" y="494"/>
                    </a:lnTo>
                    <a:lnTo>
                      <a:pt x="252" y="494"/>
                    </a:lnTo>
                    <a:lnTo>
                      <a:pt x="254" y="494"/>
                    </a:lnTo>
                    <a:lnTo>
                      <a:pt x="252" y="494"/>
                    </a:lnTo>
                    <a:lnTo>
                      <a:pt x="250" y="494"/>
                    </a:lnTo>
                    <a:lnTo>
                      <a:pt x="248" y="494"/>
                    </a:lnTo>
                    <a:lnTo>
                      <a:pt x="246" y="496"/>
                    </a:lnTo>
                    <a:lnTo>
                      <a:pt x="244" y="496"/>
                    </a:lnTo>
                    <a:lnTo>
                      <a:pt x="242" y="496"/>
                    </a:lnTo>
                    <a:lnTo>
                      <a:pt x="240" y="496"/>
                    </a:lnTo>
                    <a:lnTo>
                      <a:pt x="238" y="498"/>
                    </a:lnTo>
                    <a:lnTo>
                      <a:pt x="236" y="498"/>
                    </a:lnTo>
                    <a:lnTo>
                      <a:pt x="234" y="498"/>
                    </a:lnTo>
                    <a:lnTo>
                      <a:pt x="234" y="499"/>
                    </a:lnTo>
                    <a:lnTo>
                      <a:pt x="232" y="501"/>
                    </a:lnTo>
                    <a:lnTo>
                      <a:pt x="232" y="499"/>
                    </a:lnTo>
                    <a:lnTo>
                      <a:pt x="231" y="499"/>
                    </a:lnTo>
                    <a:lnTo>
                      <a:pt x="231" y="501"/>
                    </a:lnTo>
                    <a:lnTo>
                      <a:pt x="231" y="503"/>
                    </a:lnTo>
                    <a:lnTo>
                      <a:pt x="231" y="501"/>
                    </a:lnTo>
                    <a:lnTo>
                      <a:pt x="232" y="501"/>
                    </a:lnTo>
                    <a:lnTo>
                      <a:pt x="232" y="503"/>
                    </a:lnTo>
                    <a:lnTo>
                      <a:pt x="231" y="503"/>
                    </a:lnTo>
                    <a:lnTo>
                      <a:pt x="231" y="505"/>
                    </a:lnTo>
                    <a:lnTo>
                      <a:pt x="231" y="507"/>
                    </a:lnTo>
                    <a:lnTo>
                      <a:pt x="229" y="509"/>
                    </a:lnTo>
                    <a:lnTo>
                      <a:pt x="229" y="511"/>
                    </a:lnTo>
                    <a:lnTo>
                      <a:pt x="229" y="513"/>
                    </a:lnTo>
                    <a:lnTo>
                      <a:pt x="227" y="511"/>
                    </a:lnTo>
                    <a:lnTo>
                      <a:pt x="227" y="513"/>
                    </a:lnTo>
                    <a:lnTo>
                      <a:pt x="227" y="511"/>
                    </a:lnTo>
                    <a:lnTo>
                      <a:pt x="225" y="511"/>
                    </a:lnTo>
                    <a:lnTo>
                      <a:pt x="223" y="511"/>
                    </a:lnTo>
                    <a:lnTo>
                      <a:pt x="221" y="511"/>
                    </a:lnTo>
                    <a:lnTo>
                      <a:pt x="219" y="509"/>
                    </a:lnTo>
                    <a:lnTo>
                      <a:pt x="219" y="511"/>
                    </a:lnTo>
                    <a:lnTo>
                      <a:pt x="219" y="509"/>
                    </a:lnTo>
                    <a:lnTo>
                      <a:pt x="217" y="509"/>
                    </a:lnTo>
                    <a:lnTo>
                      <a:pt x="217" y="507"/>
                    </a:lnTo>
                    <a:lnTo>
                      <a:pt x="215" y="507"/>
                    </a:lnTo>
                    <a:lnTo>
                      <a:pt x="215" y="509"/>
                    </a:lnTo>
                    <a:lnTo>
                      <a:pt x="215" y="511"/>
                    </a:lnTo>
                    <a:lnTo>
                      <a:pt x="213" y="511"/>
                    </a:lnTo>
                    <a:lnTo>
                      <a:pt x="215" y="511"/>
                    </a:lnTo>
                    <a:lnTo>
                      <a:pt x="215" y="509"/>
                    </a:lnTo>
                    <a:lnTo>
                      <a:pt x="215" y="511"/>
                    </a:lnTo>
                    <a:lnTo>
                      <a:pt x="215" y="509"/>
                    </a:lnTo>
                    <a:lnTo>
                      <a:pt x="217" y="509"/>
                    </a:lnTo>
                    <a:lnTo>
                      <a:pt x="219" y="509"/>
                    </a:lnTo>
                    <a:lnTo>
                      <a:pt x="219" y="511"/>
                    </a:lnTo>
                    <a:lnTo>
                      <a:pt x="221" y="511"/>
                    </a:lnTo>
                    <a:lnTo>
                      <a:pt x="223" y="511"/>
                    </a:lnTo>
                    <a:lnTo>
                      <a:pt x="225" y="511"/>
                    </a:lnTo>
                    <a:lnTo>
                      <a:pt x="227" y="513"/>
                    </a:lnTo>
                    <a:lnTo>
                      <a:pt x="229" y="513"/>
                    </a:lnTo>
                    <a:lnTo>
                      <a:pt x="227" y="513"/>
                    </a:lnTo>
                    <a:lnTo>
                      <a:pt x="227" y="515"/>
                    </a:lnTo>
                    <a:lnTo>
                      <a:pt x="229" y="515"/>
                    </a:lnTo>
                    <a:lnTo>
                      <a:pt x="229" y="513"/>
                    </a:lnTo>
                    <a:lnTo>
                      <a:pt x="229" y="515"/>
                    </a:lnTo>
                    <a:lnTo>
                      <a:pt x="229" y="513"/>
                    </a:lnTo>
                    <a:lnTo>
                      <a:pt x="229" y="515"/>
                    </a:lnTo>
                    <a:lnTo>
                      <a:pt x="231" y="515"/>
                    </a:lnTo>
                    <a:lnTo>
                      <a:pt x="229" y="515"/>
                    </a:lnTo>
                    <a:lnTo>
                      <a:pt x="231" y="515"/>
                    </a:lnTo>
                    <a:lnTo>
                      <a:pt x="231" y="517"/>
                    </a:lnTo>
                    <a:lnTo>
                      <a:pt x="232" y="517"/>
                    </a:lnTo>
                    <a:lnTo>
                      <a:pt x="234" y="517"/>
                    </a:lnTo>
                    <a:lnTo>
                      <a:pt x="236" y="517"/>
                    </a:lnTo>
                    <a:lnTo>
                      <a:pt x="236" y="519"/>
                    </a:lnTo>
                    <a:lnTo>
                      <a:pt x="236" y="521"/>
                    </a:lnTo>
                    <a:lnTo>
                      <a:pt x="234" y="521"/>
                    </a:lnTo>
                    <a:lnTo>
                      <a:pt x="232" y="521"/>
                    </a:lnTo>
                    <a:lnTo>
                      <a:pt x="232" y="523"/>
                    </a:lnTo>
                    <a:lnTo>
                      <a:pt x="231" y="524"/>
                    </a:lnTo>
                    <a:lnTo>
                      <a:pt x="229" y="524"/>
                    </a:lnTo>
                    <a:lnTo>
                      <a:pt x="227" y="524"/>
                    </a:lnTo>
                    <a:lnTo>
                      <a:pt x="227" y="523"/>
                    </a:lnTo>
                    <a:lnTo>
                      <a:pt x="227" y="521"/>
                    </a:lnTo>
                    <a:lnTo>
                      <a:pt x="225" y="521"/>
                    </a:lnTo>
                    <a:lnTo>
                      <a:pt x="225" y="523"/>
                    </a:lnTo>
                    <a:lnTo>
                      <a:pt x="225" y="524"/>
                    </a:lnTo>
                    <a:lnTo>
                      <a:pt x="225" y="526"/>
                    </a:lnTo>
                    <a:lnTo>
                      <a:pt x="225" y="528"/>
                    </a:lnTo>
                    <a:lnTo>
                      <a:pt x="225" y="530"/>
                    </a:lnTo>
                    <a:lnTo>
                      <a:pt x="227" y="532"/>
                    </a:lnTo>
                    <a:lnTo>
                      <a:pt x="227" y="534"/>
                    </a:lnTo>
                    <a:lnTo>
                      <a:pt x="229" y="534"/>
                    </a:lnTo>
                    <a:lnTo>
                      <a:pt x="231" y="532"/>
                    </a:lnTo>
                    <a:lnTo>
                      <a:pt x="231" y="534"/>
                    </a:lnTo>
                    <a:lnTo>
                      <a:pt x="231" y="532"/>
                    </a:lnTo>
                    <a:lnTo>
                      <a:pt x="231" y="530"/>
                    </a:lnTo>
                    <a:lnTo>
                      <a:pt x="232" y="530"/>
                    </a:lnTo>
                    <a:lnTo>
                      <a:pt x="232" y="532"/>
                    </a:lnTo>
                    <a:lnTo>
                      <a:pt x="234" y="530"/>
                    </a:lnTo>
                    <a:lnTo>
                      <a:pt x="232" y="530"/>
                    </a:lnTo>
                    <a:lnTo>
                      <a:pt x="234" y="528"/>
                    </a:lnTo>
                    <a:lnTo>
                      <a:pt x="234" y="530"/>
                    </a:lnTo>
                    <a:lnTo>
                      <a:pt x="234" y="532"/>
                    </a:lnTo>
                    <a:lnTo>
                      <a:pt x="234" y="534"/>
                    </a:lnTo>
                    <a:lnTo>
                      <a:pt x="236" y="534"/>
                    </a:lnTo>
                    <a:lnTo>
                      <a:pt x="236" y="536"/>
                    </a:lnTo>
                    <a:lnTo>
                      <a:pt x="238" y="536"/>
                    </a:lnTo>
                    <a:lnTo>
                      <a:pt x="238" y="538"/>
                    </a:lnTo>
                    <a:lnTo>
                      <a:pt x="236" y="538"/>
                    </a:lnTo>
                    <a:lnTo>
                      <a:pt x="234" y="536"/>
                    </a:lnTo>
                    <a:lnTo>
                      <a:pt x="232" y="536"/>
                    </a:lnTo>
                    <a:lnTo>
                      <a:pt x="232" y="538"/>
                    </a:lnTo>
                    <a:lnTo>
                      <a:pt x="232" y="540"/>
                    </a:lnTo>
                    <a:lnTo>
                      <a:pt x="232" y="542"/>
                    </a:lnTo>
                    <a:lnTo>
                      <a:pt x="231" y="540"/>
                    </a:lnTo>
                    <a:lnTo>
                      <a:pt x="229" y="542"/>
                    </a:lnTo>
                    <a:lnTo>
                      <a:pt x="229" y="544"/>
                    </a:lnTo>
                    <a:lnTo>
                      <a:pt x="227" y="544"/>
                    </a:lnTo>
                    <a:lnTo>
                      <a:pt x="225" y="544"/>
                    </a:lnTo>
                    <a:lnTo>
                      <a:pt x="223" y="546"/>
                    </a:lnTo>
                    <a:lnTo>
                      <a:pt x="223" y="544"/>
                    </a:lnTo>
                    <a:lnTo>
                      <a:pt x="223" y="542"/>
                    </a:lnTo>
                    <a:lnTo>
                      <a:pt x="221" y="542"/>
                    </a:lnTo>
                    <a:lnTo>
                      <a:pt x="221" y="540"/>
                    </a:lnTo>
                    <a:lnTo>
                      <a:pt x="219" y="540"/>
                    </a:lnTo>
                    <a:lnTo>
                      <a:pt x="219" y="538"/>
                    </a:lnTo>
                    <a:lnTo>
                      <a:pt x="217" y="538"/>
                    </a:lnTo>
                    <a:lnTo>
                      <a:pt x="215" y="538"/>
                    </a:lnTo>
                    <a:lnTo>
                      <a:pt x="213" y="538"/>
                    </a:lnTo>
                    <a:lnTo>
                      <a:pt x="213" y="540"/>
                    </a:lnTo>
                    <a:lnTo>
                      <a:pt x="211" y="540"/>
                    </a:lnTo>
                    <a:lnTo>
                      <a:pt x="209" y="542"/>
                    </a:lnTo>
                    <a:lnTo>
                      <a:pt x="209" y="544"/>
                    </a:lnTo>
                    <a:lnTo>
                      <a:pt x="208" y="544"/>
                    </a:lnTo>
                    <a:lnTo>
                      <a:pt x="206" y="544"/>
                    </a:lnTo>
                    <a:lnTo>
                      <a:pt x="206" y="546"/>
                    </a:lnTo>
                    <a:lnTo>
                      <a:pt x="204" y="546"/>
                    </a:lnTo>
                    <a:lnTo>
                      <a:pt x="204" y="548"/>
                    </a:lnTo>
                    <a:lnTo>
                      <a:pt x="204" y="549"/>
                    </a:lnTo>
                    <a:lnTo>
                      <a:pt x="202" y="549"/>
                    </a:lnTo>
                    <a:lnTo>
                      <a:pt x="204" y="549"/>
                    </a:lnTo>
                    <a:lnTo>
                      <a:pt x="206" y="551"/>
                    </a:lnTo>
                    <a:lnTo>
                      <a:pt x="206" y="549"/>
                    </a:lnTo>
                    <a:lnTo>
                      <a:pt x="206" y="551"/>
                    </a:lnTo>
                    <a:lnTo>
                      <a:pt x="208" y="551"/>
                    </a:lnTo>
                    <a:lnTo>
                      <a:pt x="208" y="553"/>
                    </a:lnTo>
                    <a:lnTo>
                      <a:pt x="208" y="555"/>
                    </a:lnTo>
                    <a:lnTo>
                      <a:pt x="206" y="555"/>
                    </a:lnTo>
                    <a:lnTo>
                      <a:pt x="204" y="555"/>
                    </a:lnTo>
                    <a:lnTo>
                      <a:pt x="204" y="553"/>
                    </a:lnTo>
                    <a:lnTo>
                      <a:pt x="202" y="553"/>
                    </a:lnTo>
                    <a:lnTo>
                      <a:pt x="200" y="555"/>
                    </a:lnTo>
                    <a:lnTo>
                      <a:pt x="200" y="557"/>
                    </a:lnTo>
                    <a:lnTo>
                      <a:pt x="200" y="559"/>
                    </a:lnTo>
                    <a:lnTo>
                      <a:pt x="202" y="559"/>
                    </a:lnTo>
                    <a:lnTo>
                      <a:pt x="200" y="559"/>
                    </a:lnTo>
                    <a:lnTo>
                      <a:pt x="200" y="561"/>
                    </a:lnTo>
                    <a:lnTo>
                      <a:pt x="200" y="559"/>
                    </a:lnTo>
                    <a:lnTo>
                      <a:pt x="200" y="561"/>
                    </a:lnTo>
                    <a:lnTo>
                      <a:pt x="198" y="561"/>
                    </a:lnTo>
                    <a:lnTo>
                      <a:pt x="198" y="559"/>
                    </a:lnTo>
                    <a:lnTo>
                      <a:pt x="196" y="559"/>
                    </a:lnTo>
                    <a:lnTo>
                      <a:pt x="194" y="559"/>
                    </a:lnTo>
                    <a:lnTo>
                      <a:pt x="192" y="559"/>
                    </a:lnTo>
                    <a:lnTo>
                      <a:pt x="192" y="557"/>
                    </a:lnTo>
                    <a:lnTo>
                      <a:pt x="190" y="557"/>
                    </a:lnTo>
                    <a:lnTo>
                      <a:pt x="190" y="559"/>
                    </a:lnTo>
                    <a:lnTo>
                      <a:pt x="188" y="561"/>
                    </a:lnTo>
                    <a:lnTo>
                      <a:pt x="186" y="561"/>
                    </a:lnTo>
                    <a:lnTo>
                      <a:pt x="186" y="559"/>
                    </a:lnTo>
                    <a:lnTo>
                      <a:pt x="184" y="559"/>
                    </a:lnTo>
                    <a:lnTo>
                      <a:pt x="184" y="561"/>
                    </a:lnTo>
                    <a:lnTo>
                      <a:pt x="184" y="559"/>
                    </a:lnTo>
                    <a:lnTo>
                      <a:pt x="184" y="561"/>
                    </a:lnTo>
                    <a:lnTo>
                      <a:pt x="184" y="559"/>
                    </a:lnTo>
                    <a:lnTo>
                      <a:pt x="183" y="559"/>
                    </a:lnTo>
                    <a:lnTo>
                      <a:pt x="183" y="561"/>
                    </a:lnTo>
                    <a:lnTo>
                      <a:pt x="183" y="559"/>
                    </a:lnTo>
                    <a:lnTo>
                      <a:pt x="183" y="561"/>
                    </a:lnTo>
                    <a:lnTo>
                      <a:pt x="181" y="561"/>
                    </a:lnTo>
                    <a:lnTo>
                      <a:pt x="181" y="559"/>
                    </a:lnTo>
                    <a:lnTo>
                      <a:pt x="183" y="557"/>
                    </a:lnTo>
                    <a:lnTo>
                      <a:pt x="184" y="557"/>
                    </a:lnTo>
                    <a:lnTo>
                      <a:pt x="183" y="555"/>
                    </a:lnTo>
                    <a:lnTo>
                      <a:pt x="181" y="549"/>
                    </a:lnTo>
                    <a:lnTo>
                      <a:pt x="179" y="548"/>
                    </a:lnTo>
                    <a:lnTo>
                      <a:pt x="179" y="546"/>
                    </a:lnTo>
                    <a:lnTo>
                      <a:pt x="179" y="544"/>
                    </a:lnTo>
                    <a:lnTo>
                      <a:pt x="177" y="542"/>
                    </a:lnTo>
                    <a:lnTo>
                      <a:pt x="175" y="540"/>
                    </a:lnTo>
                    <a:lnTo>
                      <a:pt x="175" y="538"/>
                    </a:lnTo>
                    <a:lnTo>
                      <a:pt x="175" y="536"/>
                    </a:lnTo>
                    <a:lnTo>
                      <a:pt x="173" y="534"/>
                    </a:lnTo>
                    <a:lnTo>
                      <a:pt x="171" y="534"/>
                    </a:lnTo>
                    <a:lnTo>
                      <a:pt x="171" y="532"/>
                    </a:lnTo>
                    <a:lnTo>
                      <a:pt x="171" y="530"/>
                    </a:lnTo>
                    <a:lnTo>
                      <a:pt x="169" y="530"/>
                    </a:lnTo>
                    <a:lnTo>
                      <a:pt x="167" y="528"/>
                    </a:lnTo>
                    <a:lnTo>
                      <a:pt x="165" y="528"/>
                    </a:lnTo>
                    <a:lnTo>
                      <a:pt x="163" y="528"/>
                    </a:lnTo>
                    <a:lnTo>
                      <a:pt x="165" y="528"/>
                    </a:lnTo>
                    <a:lnTo>
                      <a:pt x="165" y="526"/>
                    </a:lnTo>
                    <a:lnTo>
                      <a:pt x="163" y="526"/>
                    </a:lnTo>
                    <a:lnTo>
                      <a:pt x="161" y="528"/>
                    </a:lnTo>
                    <a:lnTo>
                      <a:pt x="159" y="530"/>
                    </a:lnTo>
                    <a:lnTo>
                      <a:pt x="159" y="532"/>
                    </a:lnTo>
                    <a:lnTo>
                      <a:pt x="158" y="532"/>
                    </a:lnTo>
                    <a:lnTo>
                      <a:pt x="156" y="530"/>
                    </a:lnTo>
                    <a:lnTo>
                      <a:pt x="154" y="530"/>
                    </a:lnTo>
                    <a:lnTo>
                      <a:pt x="154" y="528"/>
                    </a:lnTo>
                    <a:lnTo>
                      <a:pt x="152" y="528"/>
                    </a:lnTo>
                    <a:lnTo>
                      <a:pt x="152" y="526"/>
                    </a:lnTo>
                    <a:lnTo>
                      <a:pt x="150" y="524"/>
                    </a:lnTo>
                    <a:lnTo>
                      <a:pt x="150" y="523"/>
                    </a:lnTo>
                    <a:lnTo>
                      <a:pt x="148" y="523"/>
                    </a:lnTo>
                    <a:lnTo>
                      <a:pt x="148" y="524"/>
                    </a:lnTo>
                    <a:lnTo>
                      <a:pt x="146" y="526"/>
                    </a:lnTo>
                    <a:lnTo>
                      <a:pt x="146" y="524"/>
                    </a:lnTo>
                    <a:lnTo>
                      <a:pt x="144" y="524"/>
                    </a:lnTo>
                    <a:lnTo>
                      <a:pt x="142" y="523"/>
                    </a:lnTo>
                    <a:lnTo>
                      <a:pt x="142" y="521"/>
                    </a:lnTo>
                    <a:lnTo>
                      <a:pt x="140" y="521"/>
                    </a:lnTo>
                    <a:lnTo>
                      <a:pt x="138" y="521"/>
                    </a:lnTo>
                    <a:lnTo>
                      <a:pt x="136" y="519"/>
                    </a:lnTo>
                    <a:lnTo>
                      <a:pt x="135" y="521"/>
                    </a:lnTo>
                    <a:lnTo>
                      <a:pt x="135" y="523"/>
                    </a:lnTo>
                    <a:lnTo>
                      <a:pt x="133" y="523"/>
                    </a:lnTo>
                    <a:lnTo>
                      <a:pt x="133" y="524"/>
                    </a:lnTo>
                    <a:lnTo>
                      <a:pt x="131" y="526"/>
                    </a:lnTo>
                    <a:lnTo>
                      <a:pt x="129" y="526"/>
                    </a:lnTo>
                    <a:lnTo>
                      <a:pt x="129" y="528"/>
                    </a:lnTo>
                    <a:lnTo>
                      <a:pt x="127" y="528"/>
                    </a:lnTo>
                    <a:lnTo>
                      <a:pt x="127" y="530"/>
                    </a:lnTo>
                    <a:lnTo>
                      <a:pt x="125" y="532"/>
                    </a:lnTo>
                    <a:lnTo>
                      <a:pt x="125" y="530"/>
                    </a:lnTo>
                    <a:lnTo>
                      <a:pt x="123" y="530"/>
                    </a:lnTo>
                    <a:lnTo>
                      <a:pt x="121" y="530"/>
                    </a:lnTo>
                    <a:lnTo>
                      <a:pt x="119" y="530"/>
                    </a:lnTo>
                    <a:lnTo>
                      <a:pt x="117" y="528"/>
                    </a:lnTo>
                    <a:lnTo>
                      <a:pt x="115" y="528"/>
                    </a:lnTo>
                    <a:lnTo>
                      <a:pt x="113" y="526"/>
                    </a:lnTo>
                    <a:lnTo>
                      <a:pt x="111" y="528"/>
                    </a:lnTo>
                    <a:lnTo>
                      <a:pt x="111" y="526"/>
                    </a:lnTo>
                    <a:lnTo>
                      <a:pt x="111" y="524"/>
                    </a:lnTo>
                    <a:lnTo>
                      <a:pt x="113" y="524"/>
                    </a:lnTo>
                    <a:lnTo>
                      <a:pt x="113" y="523"/>
                    </a:lnTo>
                    <a:lnTo>
                      <a:pt x="111" y="521"/>
                    </a:lnTo>
                    <a:lnTo>
                      <a:pt x="110" y="523"/>
                    </a:lnTo>
                    <a:lnTo>
                      <a:pt x="110" y="521"/>
                    </a:lnTo>
                    <a:lnTo>
                      <a:pt x="108" y="521"/>
                    </a:lnTo>
                    <a:lnTo>
                      <a:pt x="108" y="519"/>
                    </a:lnTo>
                    <a:lnTo>
                      <a:pt x="106" y="517"/>
                    </a:lnTo>
                    <a:lnTo>
                      <a:pt x="108" y="517"/>
                    </a:lnTo>
                    <a:lnTo>
                      <a:pt x="108" y="515"/>
                    </a:lnTo>
                    <a:lnTo>
                      <a:pt x="108" y="513"/>
                    </a:lnTo>
                    <a:lnTo>
                      <a:pt x="108" y="511"/>
                    </a:lnTo>
                    <a:lnTo>
                      <a:pt x="108" y="509"/>
                    </a:lnTo>
                    <a:lnTo>
                      <a:pt x="108" y="507"/>
                    </a:lnTo>
                    <a:lnTo>
                      <a:pt x="110" y="507"/>
                    </a:lnTo>
                    <a:lnTo>
                      <a:pt x="111" y="507"/>
                    </a:lnTo>
                    <a:lnTo>
                      <a:pt x="111" y="505"/>
                    </a:lnTo>
                    <a:lnTo>
                      <a:pt x="113" y="505"/>
                    </a:lnTo>
                    <a:lnTo>
                      <a:pt x="113" y="503"/>
                    </a:lnTo>
                    <a:lnTo>
                      <a:pt x="111" y="503"/>
                    </a:lnTo>
                    <a:lnTo>
                      <a:pt x="111" y="501"/>
                    </a:lnTo>
                    <a:lnTo>
                      <a:pt x="113" y="501"/>
                    </a:lnTo>
                    <a:lnTo>
                      <a:pt x="113" y="499"/>
                    </a:lnTo>
                    <a:lnTo>
                      <a:pt x="113" y="498"/>
                    </a:lnTo>
                    <a:lnTo>
                      <a:pt x="113" y="496"/>
                    </a:lnTo>
                    <a:lnTo>
                      <a:pt x="113" y="494"/>
                    </a:lnTo>
                    <a:lnTo>
                      <a:pt x="115" y="496"/>
                    </a:lnTo>
                    <a:lnTo>
                      <a:pt x="117" y="496"/>
                    </a:lnTo>
                    <a:lnTo>
                      <a:pt x="119" y="496"/>
                    </a:lnTo>
                    <a:lnTo>
                      <a:pt x="121" y="496"/>
                    </a:lnTo>
                    <a:lnTo>
                      <a:pt x="123" y="496"/>
                    </a:lnTo>
                    <a:lnTo>
                      <a:pt x="123" y="492"/>
                    </a:lnTo>
                    <a:lnTo>
                      <a:pt x="123" y="490"/>
                    </a:lnTo>
                    <a:lnTo>
                      <a:pt x="121" y="490"/>
                    </a:lnTo>
                    <a:lnTo>
                      <a:pt x="121" y="488"/>
                    </a:lnTo>
                    <a:lnTo>
                      <a:pt x="121" y="486"/>
                    </a:lnTo>
                    <a:lnTo>
                      <a:pt x="121" y="484"/>
                    </a:lnTo>
                    <a:lnTo>
                      <a:pt x="121" y="482"/>
                    </a:lnTo>
                    <a:lnTo>
                      <a:pt x="119" y="482"/>
                    </a:lnTo>
                    <a:lnTo>
                      <a:pt x="119" y="480"/>
                    </a:lnTo>
                    <a:lnTo>
                      <a:pt x="117" y="480"/>
                    </a:lnTo>
                    <a:lnTo>
                      <a:pt x="117" y="478"/>
                    </a:lnTo>
                    <a:lnTo>
                      <a:pt x="117" y="476"/>
                    </a:lnTo>
                    <a:lnTo>
                      <a:pt x="119" y="476"/>
                    </a:lnTo>
                    <a:lnTo>
                      <a:pt x="121" y="475"/>
                    </a:lnTo>
                    <a:lnTo>
                      <a:pt x="121" y="473"/>
                    </a:lnTo>
                    <a:lnTo>
                      <a:pt x="121" y="471"/>
                    </a:lnTo>
                    <a:lnTo>
                      <a:pt x="119" y="471"/>
                    </a:lnTo>
                    <a:lnTo>
                      <a:pt x="119" y="469"/>
                    </a:lnTo>
                    <a:lnTo>
                      <a:pt x="117" y="469"/>
                    </a:lnTo>
                    <a:lnTo>
                      <a:pt x="117" y="467"/>
                    </a:lnTo>
                    <a:lnTo>
                      <a:pt x="117" y="465"/>
                    </a:lnTo>
                    <a:lnTo>
                      <a:pt x="117" y="463"/>
                    </a:lnTo>
                    <a:lnTo>
                      <a:pt x="115" y="461"/>
                    </a:lnTo>
                    <a:lnTo>
                      <a:pt x="115" y="459"/>
                    </a:lnTo>
                    <a:lnTo>
                      <a:pt x="113" y="459"/>
                    </a:lnTo>
                    <a:lnTo>
                      <a:pt x="113" y="457"/>
                    </a:lnTo>
                    <a:lnTo>
                      <a:pt x="111" y="457"/>
                    </a:lnTo>
                    <a:lnTo>
                      <a:pt x="111" y="455"/>
                    </a:lnTo>
                    <a:lnTo>
                      <a:pt x="110" y="453"/>
                    </a:lnTo>
                    <a:lnTo>
                      <a:pt x="110" y="451"/>
                    </a:lnTo>
                    <a:lnTo>
                      <a:pt x="110" y="450"/>
                    </a:lnTo>
                    <a:lnTo>
                      <a:pt x="108" y="450"/>
                    </a:lnTo>
                    <a:lnTo>
                      <a:pt x="108" y="448"/>
                    </a:lnTo>
                    <a:lnTo>
                      <a:pt x="106" y="448"/>
                    </a:lnTo>
                    <a:lnTo>
                      <a:pt x="106" y="450"/>
                    </a:lnTo>
                    <a:lnTo>
                      <a:pt x="106" y="446"/>
                    </a:lnTo>
                    <a:lnTo>
                      <a:pt x="104" y="444"/>
                    </a:lnTo>
                    <a:lnTo>
                      <a:pt x="102" y="444"/>
                    </a:lnTo>
                    <a:lnTo>
                      <a:pt x="100" y="444"/>
                    </a:lnTo>
                    <a:lnTo>
                      <a:pt x="98" y="442"/>
                    </a:lnTo>
                    <a:lnTo>
                      <a:pt x="98" y="440"/>
                    </a:lnTo>
                    <a:lnTo>
                      <a:pt x="96" y="436"/>
                    </a:lnTo>
                    <a:lnTo>
                      <a:pt x="94" y="436"/>
                    </a:lnTo>
                    <a:lnTo>
                      <a:pt x="90" y="436"/>
                    </a:lnTo>
                    <a:lnTo>
                      <a:pt x="90" y="434"/>
                    </a:lnTo>
                    <a:lnTo>
                      <a:pt x="88" y="432"/>
                    </a:lnTo>
                    <a:lnTo>
                      <a:pt x="86" y="432"/>
                    </a:lnTo>
                    <a:lnTo>
                      <a:pt x="85" y="432"/>
                    </a:lnTo>
                    <a:lnTo>
                      <a:pt x="85" y="430"/>
                    </a:lnTo>
                    <a:lnTo>
                      <a:pt x="83" y="428"/>
                    </a:lnTo>
                    <a:lnTo>
                      <a:pt x="81" y="428"/>
                    </a:lnTo>
                    <a:lnTo>
                      <a:pt x="79" y="426"/>
                    </a:lnTo>
                    <a:lnTo>
                      <a:pt x="77" y="426"/>
                    </a:lnTo>
                    <a:lnTo>
                      <a:pt x="75" y="426"/>
                    </a:lnTo>
                    <a:lnTo>
                      <a:pt x="73" y="426"/>
                    </a:lnTo>
                    <a:lnTo>
                      <a:pt x="71" y="426"/>
                    </a:lnTo>
                    <a:lnTo>
                      <a:pt x="69" y="425"/>
                    </a:lnTo>
                    <a:lnTo>
                      <a:pt x="67" y="425"/>
                    </a:lnTo>
                    <a:lnTo>
                      <a:pt x="65" y="425"/>
                    </a:lnTo>
                    <a:lnTo>
                      <a:pt x="65" y="426"/>
                    </a:lnTo>
                    <a:lnTo>
                      <a:pt x="63" y="426"/>
                    </a:lnTo>
                    <a:lnTo>
                      <a:pt x="62" y="426"/>
                    </a:lnTo>
                    <a:lnTo>
                      <a:pt x="60" y="426"/>
                    </a:lnTo>
                    <a:lnTo>
                      <a:pt x="58" y="426"/>
                    </a:lnTo>
                    <a:lnTo>
                      <a:pt x="60" y="428"/>
                    </a:lnTo>
                    <a:lnTo>
                      <a:pt x="62" y="430"/>
                    </a:lnTo>
                    <a:lnTo>
                      <a:pt x="60" y="432"/>
                    </a:lnTo>
                    <a:lnTo>
                      <a:pt x="58" y="434"/>
                    </a:lnTo>
                    <a:lnTo>
                      <a:pt x="56" y="432"/>
                    </a:lnTo>
                    <a:lnTo>
                      <a:pt x="56" y="434"/>
                    </a:lnTo>
                    <a:lnTo>
                      <a:pt x="54" y="434"/>
                    </a:lnTo>
                    <a:lnTo>
                      <a:pt x="52" y="434"/>
                    </a:lnTo>
                    <a:lnTo>
                      <a:pt x="52" y="436"/>
                    </a:lnTo>
                    <a:lnTo>
                      <a:pt x="50" y="438"/>
                    </a:lnTo>
                    <a:lnTo>
                      <a:pt x="48" y="438"/>
                    </a:lnTo>
                    <a:lnTo>
                      <a:pt x="48" y="436"/>
                    </a:lnTo>
                    <a:lnTo>
                      <a:pt x="46" y="438"/>
                    </a:lnTo>
                    <a:lnTo>
                      <a:pt x="44" y="438"/>
                    </a:lnTo>
                    <a:lnTo>
                      <a:pt x="44" y="436"/>
                    </a:lnTo>
                    <a:lnTo>
                      <a:pt x="42" y="436"/>
                    </a:lnTo>
                    <a:lnTo>
                      <a:pt x="40" y="436"/>
                    </a:lnTo>
                    <a:lnTo>
                      <a:pt x="38" y="436"/>
                    </a:lnTo>
                    <a:lnTo>
                      <a:pt x="38" y="438"/>
                    </a:lnTo>
                    <a:lnTo>
                      <a:pt x="37" y="440"/>
                    </a:lnTo>
                    <a:lnTo>
                      <a:pt x="35" y="438"/>
                    </a:lnTo>
                    <a:lnTo>
                      <a:pt x="35" y="436"/>
                    </a:lnTo>
                    <a:lnTo>
                      <a:pt x="37" y="434"/>
                    </a:lnTo>
                    <a:lnTo>
                      <a:pt x="37" y="432"/>
                    </a:lnTo>
                    <a:lnTo>
                      <a:pt x="37" y="430"/>
                    </a:lnTo>
                    <a:lnTo>
                      <a:pt x="38" y="430"/>
                    </a:lnTo>
                    <a:lnTo>
                      <a:pt x="38" y="428"/>
                    </a:lnTo>
                    <a:lnTo>
                      <a:pt x="38" y="426"/>
                    </a:lnTo>
                    <a:lnTo>
                      <a:pt x="37" y="426"/>
                    </a:lnTo>
                    <a:lnTo>
                      <a:pt x="37" y="425"/>
                    </a:lnTo>
                    <a:lnTo>
                      <a:pt x="38" y="425"/>
                    </a:lnTo>
                    <a:lnTo>
                      <a:pt x="38" y="423"/>
                    </a:lnTo>
                    <a:lnTo>
                      <a:pt x="40" y="423"/>
                    </a:lnTo>
                    <a:lnTo>
                      <a:pt x="38" y="421"/>
                    </a:lnTo>
                    <a:lnTo>
                      <a:pt x="40" y="421"/>
                    </a:lnTo>
                    <a:lnTo>
                      <a:pt x="40" y="419"/>
                    </a:lnTo>
                    <a:lnTo>
                      <a:pt x="38" y="419"/>
                    </a:lnTo>
                    <a:lnTo>
                      <a:pt x="40" y="419"/>
                    </a:lnTo>
                    <a:lnTo>
                      <a:pt x="38" y="419"/>
                    </a:lnTo>
                    <a:lnTo>
                      <a:pt x="38" y="417"/>
                    </a:lnTo>
                    <a:lnTo>
                      <a:pt x="37" y="417"/>
                    </a:lnTo>
                    <a:lnTo>
                      <a:pt x="37" y="415"/>
                    </a:lnTo>
                    <a:lnTo>
                      <a:pt x="35" y="413"/>
                    </a:lnTo>
                    <a:lnTo>
                      <a:pt x="35" y="411"/>
                    </a:lnTo>
                    <a:lnTo>
                      <a:pt x="33" y="409"/>
                    </a:lnTo>
                    <a:lnTo>
                      <a:pt x="35" y="409"/>
                    </a:lnTo>
                    <a:lnTo>
                      <a:pt x="35" y="407"/>
                    </a:lnTo>
                    <a:lnTo>
                      <a:pt x="35" y="405"/>
                    </a:lnTo>
                    <a:lnTo>
                      <a:pt x="35" y="403"/>
                    </a:lnTo>
                    <a:lnTo>
                      <a:pt x="35" y="405"/>
                    </a:lnTo>
                    <a:lnTo>
                      <a:pt x="37" y="405"/>
                    </a:lnTo>
                    <a:lnTo>
                      <a:pt x="38" y="405"/>
                    </a:lnTo>
                    <a:lnTo>
                      <a:pt x="38" y="403"/>
                    </a:lnTo>
                    <a:lnTo>
                      <a:pt x="38" y="401"/>
                    </a:lnTo>
                    <a:lnTo>
                      <a:pt x="38" y="400"/>
                    </a:lnTo>
                    <a:lnTo>
                      <a:pt x="37" y="400"/>
                    </a:lnTo>
                    <a:lnTo>
                      <a:pt x="35" y="398"/>
                    </a:lnTo>
                    <a:lnTo>
                      <a:pt x="35" y="396"/>
                    </a:lnTo>
                    <a:lnTo>
                      <a:pt x="33" y="394"/>
                    </a:lnTo>
                    <a:lnTo>
                      <a:pt x="33" y="392"/>
                    </a:lnTo>
                    <a:lnTo>
                      <a:pt x="31" y="392"/>
                    </a:lnTo>
                    <a:lnTo>
                      <a:pt x="29" y="392"/>
                    </a:lnTo>
                    <a:lnTo>
                      <a:pt x="29" y="390"/>
                    </a:lnTo>
                    <a:lnTo>
                      <a:pt x="29" y="388"/>
                    </a:lnTo>
                    <a:lnTo>
                      <a:pt x="27" y="386"/>
                    </a:lnTo>
                    <a:lnTo>
                      <a:pt x="27" y="384"/>
                    </a:lnTo>
                    <a:lnTo>
                      <a:pt x="27" y="382"/>
                    </a:lnTo>
                    <a:lnTo>
                      <a:pt x="27" y="380"/>
                    </a:lnTo>
                    <a:lnTo>
                      <a:pt x="25" y="380"/>
                    </a:lnTo>
                    <a:lnTo>
                      <a:pt x="23" y="380"/>
                    </a:lnTo>
                    <a:lnTo>
                      <a:pt x="23" y="378"/>
                    </a:lnTo>
                    <a:lnTo>
                      <a:pt x="21" y="378"/>
                    </a:lnTo>
                    <a:lnTo>
                      <a:pt x="21" y="376"/>
                    </a:lnTo>
                    <a:lnTo>
                      <a:pt x="19" y="376"/>
                    </a:lnTo>
                    <a:lnTo>
                      <a:pt x="17" y="376"/>
                    </a:lnTo>
                    <a:lnTo>
                      <a:pt x="19" y="375"/>
                    </a:lnTo>
                    <a:lnTo>
                      <a:pt x="17" y="373"/>
                    </a:lnTo>
                    <a:lnTo>
                      <a:pt x="15" y="371"/>
                    </a:lnTo>
                    <a:lnTo>
                      <a:pt x="13" y="371"/>
                    </a:lnTo>
                    <a:lnTo>
                      <a:pt x="13" y="369"/>
                    </a:lnTo>
                    <a:lnTo>
                      <a:pt x="13" y="367"/>
                    </a:lnTo>
                    <a:lnTo>
                      <a:pt x="12" y="365"/>
                    </a:lnTo>
                    <a:lnTo>
                      <a:pt x="12" y="363"/>
                    </a:lnTo>
                    <a:lnTo>
                      <a:pt x="12" y="361"/>
                    </a:lnTo>
                    <a:lnTo>
                      <a:pt x="12" y="359"/>
                    </a:lnTo>
                    <a:lnTo>
                      <a:pt x="13" y="359"/>
                    </a:lnTo>
                    <a:lnTo>
                      <a:pt x="12" y="359"/>
                    </a:lnTo>
                    <a:lnTo>
                      <a:pt x="12" y="357"/>
                    </a:lnTo>
                    <a:lnTo>
                      <a:pt x="12" y="355"/>
                    </a:lnTo>
                    <a:lnTo>
                      <a:pt x="12" y="357"/>
                    </a:lnTo>
                    <a:lnTo>
                      <a:pt x="12" y="355"/>
                    </a:lnTo>
                    <a:lnTo>
                      <a:pt x="12" y="353"/>
                    </a:lnTo>
                    <a:lnTo>
                      <a:pt x="12" y="351"/>
                    </a:lnTo>
                    <a:lnTo>
                      <a:pt x="10" y="351"/>
                    </a:lnTo>
                    <a:lnTo>
                      <a:pt x="10" y="350"/>
                    </a:lnTo>
                    <a:lnTo>
                      <a:pt x="10" y="348"/>
                    </a:lnTo>
                    <a:lnTo>
                      <a:pt x="8" y="346"/>
                    </a:lnTo>
                    <a:lnTo>
                      <a:pt x="8" y="344"/>
                    </a:lnTo>
                    <a:lnTo>
                      <a:pt x="8" y="342"/>
                    </a:lnTo>
                    <a:lnTo>
                      <a:pt x="8" y="340"/>
                    </a:lnTo>
                    <a:lnTo>
                      <a:pt x="8" y="338"/>
                    </a:lnTo>
                    <a:lnTo>
                      <a:pt x="8" y="336"/>
                    </a:lnTo>
                    <a:lnTo>
                      <a:pt x="8" y="334"/>
                    </a:lnTo>
                    <a:lnTo>
                      <a:pt x="8" y="332"/>
                    </a:lnTo>
                    <a:lnTo>
                      <a:pt x="6" y="334"/>
                    </a:lnTo>
                    <a:lnTo>
                      <a:pt x="6" y="332"/>
                    </a:lnTo>
                    <a:lnTo>
                      <a:pt x="6" y="330"/>
                    </a:lnTo>
                    <a:lnTo>
                      <a:pt x="4" y="330"/>
                    </a:lnTo>
                    <a:lnTo>
                      <a:pt x="4" y="328"/>
                    </a:lnTo>
                    <a:lnTo>
                      <a:pt x="2" y="328"/>
                    </a:lnTo>
                    <a:lnTo>
                      <a:pt x="0" y="328"/>
                    </a:lnTo>
                    <a:lnTo>
                      <a:pt x="0" y="326"/>
                    </a:lnTo>
                    <a:lnTo>
                      <a:pt x="2" y="326"/>
                    </a:lnTo>
                    <a:lnTo>
                      <a:pt x="2" y="325"/>
                    </a:lnTo>
                    <a:lnTo>
                      <a:pt x="4" y="325"/>
                    </a:lnTo>
                    <a:lnTo>
                      <a:pt x="4" y="323"/>
                    </a:lnTo>
                    <a:lnTo>
                      <a:pt x="4" y="321"/>
                    </a:lnTo>
                    <a:lnTo>
                      <a:pt x="6" y="321"/>
                    </a:lnTo>
                    <a:lnTo>
                      <a:pt x="4" y="321"/>
                    </a:lnTo>
                    <a:lnTo>
                      <a:pt x="6" y="321"/>
                    </a:lnTo>
                    <a:lnTo>
                      <a:pt x="6" y="319"/>
                    </a:lnTo>
                    <a:lnTo>
                      <a:pt x="8" y="319"/>
                    </a:lnTo>
                    <a:lnTo>
                      <a:pt x="8" y="317"/>
                    </a:lnTo>
                    <a:lnTo>
                      <a:pt x="10" y="317"/>
                    </a:lnTo>
                    <a:lnTo>
                      <a:pt x="10" y="315"/>
                    </a:lnTo>
                    <a:lnTo>
                      <a:pt x="12" y="315"/>
                    </a:lnTo>
                    <a:lnTo>
                      <a:pt x="12" y="313"/>
                    </a:lnTo>
                    <a:lnTo>
                      <a:pt x="12" y="311"/>
                    </a:lnTo>
                    <a:lnTo>
                      <a:pt x="12" y="309"/>
                    </a:lnTo>
                    <a:lnTo>
                      <a:pt x="10" y="309"/>
                    </a:lnTo>
                    <a:lnTo>
                      <a:pt x="10" y="307"/>
                    </a:lnTo>
                    <a:lnTo>
                      <a:pt x="12" y="307"/>
                    </a:lnTo>
                    <a:lnTo>
                      <a:pt x="12" y="305"/>
                    </a:lnTo>
                    <a:lnTo>
                      <a:pt x="12" y="303"/>
                    </a:lnTo>
                    <a:lnTo>
                      <a:pt x="10" y="303"/>
                    </a:lnTo>
                    <a:lnTo>
                      <a:pt x="10" y="301"/>
                    </a:lnTo>
                    <a:lnTo>
                      <a:pt x="10" y="300"/>
                    </a:lnTo>
                    <a:lnTo>
                      <a:pt x="10" y="298"/>
                    </a:lnTo>
                    <a:lnTo>
                      <a:pt x="8" y="298"/>
                    </a:lnTo>
                    <a:lnTo>
                      <a:pt x="8" y="296"/>
                    </a:lnTo>
                    <a:lnTo>
                      <a:pt x="10" y="296"/>
                    </a:lnTo>
                    <a:lnTo>
                      <a:pt x="8" y="296"/>
                    </a:lnTo>
                    <a:lnTo>
                      <a:pt x="10" y="296"/>
                    </a:lnTo>
                    <a:lnTo>
                      <a:pt x="10" y="294"/>
                    </a:lnTo>
                    <a:lnTo>
                      <a:pt x="12" y="294"/>
                    </a:lnTo>
                    <a:lnTo>
                      <a:pt x="13" y="294"/>
                    </a:lnTo>
                    <a:lnTo>
                      <a:pt x="15" y="294"/>
                    </a:lnTo>
                    <a:lnTo>
                      <a:pt x="17" y="294"/>
                    </a:lnTo>
                    <a:lnTo>
                      <a:pt x="19" y="294"/>
                    </a:lnTo>
                    <a:lnTo>
                      <a:pt x="19" y="292"/>
                    </a:lnTo>
                    <a:lnTo>
                      <a:pt x="21" y="292"/>
                    </a:lnTo>
                    <a:lnTo>
                      <a:pt x="23" y="292"/>
                    </a:lnTo>
                    <a:lnTo>
                      <a:pt x="25" y="290"/>
                    </a:lnTo>
                    <a:lnTo>
                      <a:pt x="27" y="290"/>
                    </a:lnTo>
                    <a:lnTo>
                      <a:pt x="27" y="292"/>
                    </a:lnTo>
                    <a:lnTo>
                      <a:pt x="27" y="290"/>
                    </a:lnTo>
                    <a:lnTo>
                      <a:pt x="29" y="290"/>
                    </a:lnTo>
                    <a:lnTo>
                      <a:pt x="29" y="292"/>
                    </a:lnTo>
                    <a:lnTo>
                      <a:pt x="31" y="292"/>
                    </a:lnTo>
                    <a:lnTo>
                      <a:pt x="33" y="292"/>
                    </a:lnTo>
                    <a:lnTo>
                      <a:pt x="35" y="294"/>
                    </a:lnTo>
                    <a:lnTo>
                      <a:pt x="35" y="292"/>
                    </a:lnTo>
                    <a:lnTo>
                      <a:pt x="35" y="290"/>
                    </a:lnTo>
                    <a:lnTo>
                      <a:pt x="35" y="288"/>
                    </a:lnTo>
                    <a:lnTo>
                      <a:pt x="33" y="288"/>
                    </a:lnTo>
                    <a:lnTo>
                      <a:pt x="33" y="286"/>
                    </a:lnTo>
                    <a:lnTo>
                      <a:pt x="35" y="284"/>
                    </a:lnTo>
                    <a:lnTo>
                      <a:pt x="37" y="284"/>
                    </a:lnTo>
                    <a:lnTo>
                      <a:pt x="37" y="282"/>
                    </a:lnTo>
                    <a:lnTo>
                      <a:pt x="37" y="280"/>
                    </a:lnTo>
                    <a:lnTo>
                      <a:pt x="38" y="280"/>
                    </a:lnTo>
                    <a:lnTo>
                      <a:pt x="38" y="278"/>
                    </a:lnTo>
                    <a:lnTo>
                      <a:pt x="38" y="280"/>
                    </a:lnTo>
                    <a:lnTo>
                      <a:pt x="40" y="280"/>
                    </a:lnTo>
                    <a:lnTo>
                      <a:pt x="42" y="280"/>
                    </a:lnTo>
                    <a:lnTo>
                      <a:pt x="42" y="282"/>
                    </a:lnTo>
                    <a:lnTo>
                      <a:pt x="42" y="284"/>
                    </a:lnTo>
                    <a:lnTo>
                      <a:pt x="42" y="286"/>
                    </a:lnTo>
                    <a:lnTo>
                      <a:pt x="44" y="286"/>
                    </a:lnTo>
                    <a:lnTo>
                      <a:pt x="42" y="286"/>
                    </a:lnTo>
                    <a:lnTo>
                      <a:pt x="44" y="286"/>
                    </a:lnTo>
                    <a:lnTo>
                      <a:pt x="44" y="288"/>
                    </a:lnTo>
                    <a:lnTo>
                      <a:pt x="46" y="288"/>
                    </a:lnTo>
                    <a:lnTo>
                      <a:pt x="46" y="286"/>
                    </a:lnTo>
                    <a:lnTo>
                      <a:pt x="48" y="286"/>
                    </a:lnTo>
                    <a:lnTo>
                      <a:pt x="48" y="288"/>
                    </a:lnTo>
                    <a:lnTo>
                      <a:pt x="48" y="290"/>
                    </a:lnTo>
                    <a:lnTo>
                      <a:pt x="50" y="290"/>
                    </a:lnTo>
                    <a:lnTo>
                      <a:pt x="50" y="288"/>
                    </a:lnTo>
                    <a:lnTo>
                      <a:pt x="52" y="286"/>
                    </a:lnTo>
                    <a:lnTo>
                      <a:pt x="52" y="288"/>
                    </a:lnTo>
                    <a:lnTo>
                      <a:pt x="54" y="288"/>
                    </a:lnTo>
                    <a:lnTo>
                      <a:pt x="56" y="288"/>
                    </a:lnTo>
                    <a:lnTo>
                      <a:pt x="54" y="286"/>
                    </a:lnTo>
                    <a:lnTo>
                      <a:pt x="56" y="284"/>
                    </a:lnTo>
                    <a:lnTo>
                      <a:pt x="54" y="284"/>
                    </a:lnTo>
                    <a:lnTo>
                      <a:pt x="54" y="282"/>
                    </a:lnTo>
                    <a:lnTo>
                      <a:pt x="56" y="282"/>
                    </a:lnTo>
                    <a:lnTo>
                      <a:pt x="56" y="280"/>
                    </a:lnTo>
                    <a:lnTo>
                      <a:pt x="54" y="278"/>
                    </a:lnTo>
                    <a:lnTo>
                      <a:pt x="54" y="276"/>
                    </a:lnTo>
                    <a:lnTo>
                      <a:pt x="54" y="275"/>
                    </a:lnTo>
                    <a:lnTo>
                      <a:pt x="54" y="273"/>
                    </a:lnTo>
                    <a:lnTo>
                      <a:pt x="52" y="273"/>
                    </a:lnTo>
                    <a:lnTo>
                      <a:pt x="54" y="273"/>
                    </a:lnTo>
                    <a:lnTo>
                      <a:pt x="54" y="271"/>
                    </a:lnTo>
                    <a:lnTo>
                      <a:pt x="52" y="271"/>
                    </a:lnTo>
                    <a:lnTo>
                      <a:pt x="52" y="269"/>
                    </a:lnTo>
                    <a:lnTo>
                      <a:pt x="52" y="267"/>
                    </a:lnTo>
                    <a:lnTo>
                      <a:pt x="50" y="267"/>
                    </a:lnTo>
                    <a:lnTo>
                      <a:pt x="48" y="265"/>
                    </a:lnTo>
                    <a:lnTo>
                      <a:pt x="48" y="263"/>
                    </a:lnTo>
                    <a:lnTo>
                      <a:pt x="46" y="263"/>
                    </a:lnTo>
                    <a:lnTo>
                      <a:pt x="44" y="263"/>
                    </a:lnTo>
                    <a:lnTo>
                      <a:pt x="42" y="261"/>
                    </a:lnTo>
                    <a:lnTo>
                      <a:pt x="42" y="263"/>
                    </a:lnTo>
                    <a:lnTo>
                      <a:pt x="42" y="261"/>
                    </a:lnTo>
                    <a:lnTo>
                      <a:pt x="40" y="261"/>
                    </a:lnTo>
                    <a:lnTo>
                      <a:pt x="40" y="259"/>
                    </a:lnTo>
                    <a:lnTo>
                      <a:pt x="42" y="259"/>
                    </a:lnTo>
                    <a:lnTo>
                      <a:pt x="42" y="257"/>
                    </a:lnTo>
                    <a:lnTo>
                      <a:pt x="42" y="253"/>
                    </a:lnTo>
                    <a:lnTo>
                      <a:pt x="42" y="251"/>
                    </a:lnTo>
                    <a:lnTo>
                      <a:pt x="42" y="250"/>
                    </a:lnTo>
                    <a:lnTo>
                      <a:pt x="44" y="250"/>
                    </a:lnTo>
                    <a:lnTo>
                      <a:pt x="46" y="250"/>
                    </a:lnTo>
                    <a:lnTo>
                      <a:pt x="48" y="250"/>
                    </a:lnTo>
                    <a:lnTo>
                      <a:pt x="50" y="251"/>
                    </a:lnTo>
                    <a:lnTo>
                      <a:pt x="52" y="251"/>
                    </a:lnTo>
                    <a:lnTo>
                      <a:pt x="54" y="251"/>
                    </a:lnTo>
                    <a:lnTo>
                      <a:pt x="56" y="251"/>
                    </a:lnTo>
                    <a:lnTo>
                      <a:pt x="58" y="250"/>
                    </a:lnTo>
                    <a:lnTo>
                      <a:pt x="60" y="250"/>
                    </a:lnTo>
                    <a:lnTo>
                      <a:pt x="60" y="248"/>
                    </a:lnTo>
                    <a:lnTo>
                      <a:pt x="62" y="248"/>
                    </a:lnTo>
                    <a:lnTo>
                      <a:pt x="62" y="246"/>
                    </a:lnTo>
                    <a:lnTo>
                      <a:pt x="63" y="246"/>
                    </a:lnTo>
                    <a:lnTo>
                      <a:pt x="65" y="246"/>
                    </a:lnTo>
                    <a:lnTo>
                      <a:pt x="65" y="244"/>
                    </a:lnTo>
                    <a:lnTo>
                      <a:pt x="67" y="244"/>
                    </a:lnTo>
                    <a:lnTo>
                      <a:pt x="67" y="246"/>
                    </a:lnTo>
                    <a:lnTo>
                      <a:pt x="69" y="246"/>
                    </a:lnTo>
                    <a:lnTo>
                      <a:pt x="71" y="246"/>
                    </a:lnTo>
                    <a:lnTo>
                      <a:pt x="71" y="244"/>
                    </a:lnTo>
                    <a:lnTo>
                      <a:pt x="69" y="242"/>
                    </a:lnTo>
                    <a:lnTo>
                      <a:pt x="71" y="242"/>
                    </a:lnTo>
                    <a:lnTo>
                      <a:pt x="73" y="242"/>
                    </a:lnTo>
                    <a:lnTo>
                      <a:pt x="73" y="240"/>
                    </a:lnTo>
                    <a:lnTo>
                      <a:pt x="73" y="238"/>
                    </a:lnTo>
                    <a:lnTo>
                      <a:pt x="75" y="238"/>
                    </a:lnTo>
                    <a:lnTo>
                      <a:pt x="73" y="238"/>
                    </a:lnTo>
                    <a:lnTo>
                      <a:pt x="73" y="236"/>
                    </a:lnTo>
                    <a:lnTo>
                      <a:pt x="75" y="234"/>
                    </a:lnTo>
                    <a:lnTo>
                      <a:pt x="75" y="232"/>
                    </a:lnTo>
                    <a:lnTo>
                      <a:pt x="75" y="230"/>
                    </a:lnTo>
                    <a:lnTo>
                      <a:pt x="75" y="228"/>
                    </a:lnTo>
                    <a:lnTo>
                      <a:pt x="77" y="228"/>
                    </a:lnTo>
                    <a:lnTo>
                      <a:pt x="77" y="227"/>
                    </a:lnTo>
                    <a:lnTo>
                      <a:pt x="79" y="227"/>
                    </a:lnTo>
                    <a:lnTo>
                      <a:pt x="81" y="227"/>
                    </a:lnTo>
                    <a:lnTo>
                      <a:pt x="83" y="228"/>
                    </a:lnTo>
                    <a:lnTo>
                      <a:pt x="85" y="228"/>
                    </a:lnTo>
                    <a:lnTo>
                      <a:pt x="86" y="228"/>
                    </a:lnTo>
                    <a:lnTo>
                      <a:pt x="86" y="230"/>
                    </a:lnTo>
                    <a:lnTo>
                      <a:pt x="86" y="232"/>
                    </a:lnTo>
                    <a:lnTo>
                      <a:pt x="88" y="234"/>
                    </a:lnTo>
                    <a:lnTo>
                      <a:pt x="88" y="236"/>
                    </a:lnTo>
                    <a:lnTo>
                      <a:pt x="90" y="238"/>
                    </a:lnTo>
                    <a:lnTo>
                      <a:pt x="92" y="238"/>
                    </a:lnTo>
                    <a:lnTo>
                      <a:pt x="92" y="240"/>
                    </a:lnTo>
                    <a:lnTo>
                      <a:pt x="92" y="238"/>
                    </a:lnTo>
                    <a:lnTo>
                      <a:pt x="94" y="238"/>
                    </a:lnTo>
                    <a:lnTo>
                      <a:pt x="96" y="240"/>
                    </a:lnTo>
                    <a:lnTo>
                      <a:pt x="98" y="240"/>
                    </a:lnTo>
                    <a:lnTo>
                      <a:pt x="100" y="238"/>
                    </a:lnTo>
                    <a:lnTo>
                      <a:pt x="104" y="238"/>
                    </a:lnTo>
                    <a:lnTo>
                      <a:pt x="108" y="238"/>
                    </a:lnTo>
                    <a:lnTo>
                      <a:pt x="108" y="236"/>
                    </a:lnTo>
                    <a:lnTo>
                      <a:pt x="106" y="234"/>
                    </a:lnTo>
                    <a:lnTo>
                      <a:pt x="106" y="232"/>
                    </a:lnTo>
                    <a:lnTo>
                      <a:pt x="104" y="228"/>
                    </a:lnTo>
                    <a:lnTo>
                      <a:pt x="102" y="228"/>
                    </a:lnTo>
                    <a:lnTo>
                      <a:pt x="104" y="227"/>
                    </a:lnTo>
                    <a:lnTo>
                      <a:pt x="106" y="227"/>
                    </a:lnTo>
                    <a:lnTo>
                      <a:pt x="108" y="225"/>
                    </a:lnTo>
                    <a:lnTo>
                      <a:pt x="111" y="223"/>
                    </a:lnTo>
                    <a:lnTo>
                      <a:pt x="111" y="221"/>
                    </a:lnTo>
                    <a:lnTo>
                      <a:pt x="113" y="219"/>
                    </a:lnTo>
                    <a:lnTo>
                      <a:pt x="115" y="217"/>
                    </a:lnTo>
                    <a:lnTo>
                      <a:pt x="117" y="217"/>
                    </a:lnTo>
                    <a:lnTo>
                      <a:pt x="117" y="215"/>
                    </a:lnTo>
                    <a:lnTo>
                      <a:pt x="119" y="217"/>
                    </a:lnTo>
                    <a:lnTo>
                      <a:pt x="121" y="217"/>
                    </a:lnTo>
                    <a:lnTo>
                      <a:pt x="119" y="215"/>
                    </a:lnTo>
                    <a:lnTo>
                      <a:pt x="119" y="213"/>
                    </a:lnTo>
                    <a:lnTo>
                      <a:pt x="119" y="209"/>
                    </a:lnTo>
                    <a:lnTo>
                      <a:pt x="121" y="209"/>
                    </a:lnTo>
                    <a:lnTo>
                      <a:pt x="125" y="203"/>
                    </a:lnTo>
                    <a:lnTo>
                      <a:pt x="127" y="202"/>
                    </a:lnTo>
                    <a:lnTo>
                      <a:pt x="127" y="200"/>
                    </a:lnTo>
                    <a:lnTo>
                      <a:pt x="129" y="202"/>
                    </a:lnTo>
                    <a:lnTo>
                      <a:pt x="129" y="200"/>
                    </a:lnTo>
                    <a:lnTo>
                      <a:pt x="131" y="200"/>
                    </a:lnTo>
                    <a:lnTo>
                      <a:pt x="133" y="202"/>
                    </a:lnTo>
                    <a:lnTo>
                      <a:pt x="133" y="203"/>
                    </a:lnTo>
                    <a:lnTo>
                      <a:pt x="135" y="203"/>
                    </a:lnTo>
                    <a:lnTo>
                      <a:pt x="136" y="205"/>
                    </a:lnTo>
                    <a:lnTo>
                      <a:pt x="138" y="203"/>
                    </a:lnTo>
                    <a:lnTo>
                      <a:pt x="138" y="202"/>
                    </a:lnTo>
                    <a:lnTo>
                      <a:pt x="140" y="200"/>
                    </a:lnTo>
                    <a:lnTo>
                      <a:pt x="142" y="198"/>
                    </a:lnTo>
                    <a:lnTo>
                      <a:pt x="140" y="198"/>
                    </a:lnTo>
                    <a:lnTo>
                      <a:pt x="142" y="196"/>
                    </a:lnTo>
                    <a:lnTo>
                      <a:pt x="140" y="196"/>
                    </a:lnTo>
                    <a:lnTo>
                      <a:pt x="138" y="196"/>
                    </a:lnTo>
                    <a:lnTo>
                      <a:pt x="136" y="194"/>
                    </a:lnTo>
                    <a:lnTo>
                      <a:pt x="135" y="194"/>
                    </a:lnTo>
                    <a:lnTo>
                      <a:pt x="135" y="192"/>
                    </a:lnTo>
                    <a:lnTo>
                      <a:pt x="136" y="190"/>
                    </a:lnTo>
                    <a:lnTo>
                      <a:pt x="136" y="188"/>
                    </a:lnTo>
                    <a:lnTo>
                      <a:pt x="138" y="188"/>
                    </a:lnTo>
                    <a:lnTo>
                      <a:pt x="138" y="186"/>
                    </a:lnTo>
                    <a:lnTo>
                      <a:pt x="138" y="184"/>
                    </a:lnTo>
                    <a:lnTo>
                      <a:pt x="138" y="182"/>
                    </a:lnTo>
                    <a:lnTo>
                      <a:pt x="140" y="182"/>
                    </a:lnTo>
                    <a:lnTo>
                      <a:pt x="138" y="180"/>
                    </a:lnTo>
                    <a:lnTo>
                      <a:pt x="140" y="180"/>
                    </a:lnTo>
                    <a:lnTo>
                      <a:pt x="140" y="178"/>
                    </a:lnTo>
                    <a:lnTo>
                      <a:pt x="140" y="177"/>
                    </a:lnTo>
                    <a:lnTo>
                      <a:pt x="138" y="177"/>
                    </a:lnTo>
                    <a:lnTo>
                      <a:pt x="136" y="175"/>
                    </a:lnTo>
                    <a:lnTo>
                      <a:pt x="135" y="173"/>
                    </a:lnTo>
                    <a:lnTo>
                      <a:pt x="133" y="173"/>
                    </a:lnTo>
                    <a:lnTo>
                      <a:pt x="131" y="175"/>
                    </a:lnTo>
                    <a:lnTo>
                      <a:pt x="129" y="175"/>
                    </a:lnTo>
                    <a:lnTo>
                      <a:pt x="129" y="173"/>
                    </a:lnTo>
                    <a:lnTo>
                      <a:pt x="127" y="171"/>
                    </a:lnTo>
                    <a:lnTo>
                      <a:pt x="125" y="171"/>
                    </a:lnTo>
                    <a:lnTo>
                      <a:pt x="123" y="167"/>
                    </a:lnTo>
                    <a:lnTo>
                      <a:pt x="123" y="165"/>
                    </a:lnTo>
                    <a:lnTo>
                      <a:pt x="123" y="163"/>
                    </a:lnTo>
                    <a:lnTo>
                      <a:pt x="123" y="161"/>
                    </a:lnTo>
                    <a:lnTo>
                      <a:pt x="123" y="159"/>
                    </a:lnTo>
                    <a:lnTo>
                      <a:pt x="121" y="159"/>
                    </a:lnTo>
                    <a:lnTo>
                      <a:pt x="121" y="157"/>
                    </a:lnTo>
                    <a:lnTo>
                      <a:pt x="119" y="155"/>
                    </a:lnTo>
                    <a:lnTo>
                      <a:pt x="119" y="153"/>
                    </a:lnTo>
                    <a:lnTo>
                      <a:pt x="119" y="152"/>
                    </a:lnTo>
                    <a:lnTo>
                      <a:pt x="119" y="150"/>
                    </a:lnTo>
                    <a:lnTo>
                      <a:pt x="121" y="150"/>
                    </a:lnTo>
                    <a:lnTo>
                      <a:pt x="121" y="148"/>
                    </a:lnTo>
                    <a:lnTo>
                      <a:pt x="123" y="146"/>
                    </a:lnTo>
                    <a:lnTo>
                      <a:pt x="125" y="144"/>
                    </a:lnTo>
                    <a:lnTo>
                      <a:pt x="127" y="142"/>
                    </a:lnTo>
                    <a:lnTo>
                      <a:pt x="127" y="140"/>
                    </a:lnTo>
                    <a:lnTo>
                      <a:pt x="129" y="134"/>
                    </a:lnTo>
                    <a:lnTo>
                      <a:pt x="131" y="132"/>
                    </a:lnTo>
                    <a:lnTo>
                      <a:pt x="131" y="130"/>
                    </a:lnTo>
                    <a:lnTo>
                      <a:pt x="131" y="128"/>
                    </a:lnTo>
                    <a:lnTo>
                      <a:pt x="129" y="127"/>
                    </a:lnTo>
                    <a:lnTo>
                      <a:pt x="127" y="127"/>
                    </a:lnTo>
                    <a:lnTo>
                      <a:pt x="125" y="127"/>
                    </a:lnTo>
                    <a:lnTo>
                      <a:pt x="125" y="125"/>
                    </a:lnTo>
                    <a:lnTo>
                      <a:pt x="123" y="123"/>
                    </a:lnTo>
                    <a:lnTo>
                      <a:pt x="123" y="121"/>
                    </a:lnTo>
                    <a:lnTo>
                      <a:pt x="121" y="119"/>
                    </a:lnTo>
                    <a:lnTo>
                      <a:pt x="121" y="117"/>
                    </a:lnTo>
                    <a:lnTo>
                      <a:pt x="119" y="117"/>
                    </a:lnTo>
                    <a:lnTo>
                      <a:pt x="119" y="115"/>
                    </a:lnTo>
                    <a:lnTo>
                      <a:pt x="119" y="113"/>
                    </a:lnTo>
                    <a:lnTo>
                      <a:pt x="117" y="113"/>
                    </a:lnTo>
                    <a:lnTo>
                      <a:pt x="117" y="111"/>
                    </a:lnTo>
                    <a:lnTo>
                      <a:pt x="115" y="111"/>
                    </a:lnTo>
                    <a:lnTo>
                      <a:pt x="115" y="109"/>
                    </a:lnTo>
                    <a:lnTo>
                      <a:pt x="115" y="107"/>
                    </a:lnTo>
                    <a:lnTo>
                      <a:pt x="117" y="105"/>
                    </a:lnTo>
                    <a:lnTo>
                      <a:pt x="117" y="103"/>
                    </a:lnTo>
                    <a:lnTo>
                      <a:pt x="117" y="102"/>
                    </a:lnTo>
                    <a:lnTo>
                      <a:pt x="121" y="102"/>
                    </a:lnTo>
                    <a:lnTo>
                      <a:pt x="121" y="100"/>
                    </a:lnTo>
                    <a:lnTo>
                      <a:pt x="123" y="100"/>
                    </a:lnTo>
                    <a:lnTo>
                      <a:pt x="123" y="98"/>
                    </a:lnTo>
                    <a:lnTo>
                      <a:pt x="125" y="98"/>
                    </a:lnTo>
                    <a:lnTo>
                      <a:pt x="127" y="98"/>
                    </a:lnTo>
                    <a:lnTo>
                      <a:pt x="129" y="100"/>
                    </a:lnTo>
                    <a:lnTo>
                      <a:pt x="129" y="102"/>
                    </a:lnTo>
                    <a:lnTo>
                      <a:pt x="131" y="100"/>
                    </a:lnTo>
                    <a:lnTo>
                      <a:pt x="131" y="98"/>
                    </a:lnTo>
                    <a:lnTo>
                      <a:pt x="133" y="98"/>
                    </a:lnTo>
                    <a:lnTo>
                      <a:pt x="133" y="96"/>
                    </a:lnTo>
                    <a:lnTo>
                      <a:pt x="131" y="96"/>
                    </a:lnTo>
                    <a:lnTo>
                      <a:pt x="131" y="94"/>
                    </a:lnTo>
                    <a:lnTo>
                      <a:pt x="131" y="92"/>
                    </a:lnTo>
                    <a:lnTo>
                      <a:pt x="131" y="90"/>
                    </a:lnTo>
                    <a:lnTo>
                      <a:pt x="131" y="88"/>
                    </a:lnTo>
                    <a:lnTo>
                      <a:pt x="129" y="86"/>
                    </a:lnTo>
                    <a:lnTo>
                      <a:pt x="129" y="84"/>
                    </a:lnTo>
                    <a:lnTo>
                      <a:pt x="127" y="84"/>
                    </a:lnTo>
                    <a:lnTo>
                      <a:pt x="125" y="84"/>
                    </a:lnTo>
                    <a:lnTo>
                      <a:pt x="123" y="86"/>
                    </a:lnTo>
                    <a:lnTo>
                      <a:pt x="123" y="84"/>
                    </a:lnTo>
                    <a:lnTo>
                      <a:pt x="123" y="82"/>
                    </a:lnTo>
                    <a:lnTo>
                      <a:pt x="123" y="80"/>
                    </a:lnTo>
                    <a:lnTo>
                      <a:pt x="123" y="78"/>
                    </a:lnTo>
                    <a:lnTo>
                      <a:pt x="121" y="77"/>
                    </a:lnTo>
                    <a:lnTo>
                      <a:pt x="121" y="75"/>
                    </a:lnTo>
                    <a:lnTo>
                      <a:pt x="123" y="75"/>
                    </a:lnTo>
                    <a:lnTo>
                      <a:pt x="123" y="73"/>
                    </a:lnTo>
                    <a:lnTo>
                      <a:pt x="123" y="71"/>
                    </a:lnTo>
                    <a:lnTo>
                      <a:pt x="125" y="71"/>
                    </a:lnTo>
                    <a:lnTo>
                      <a:pt x="125" y="73"/>
                    </a:lnTo>
                    <a:lnTo>
                      <a:pt x="127" y="73"/>
                    </a:lnTo>
                    <a:lnTo>
                      <a:pt x="129" y="71"/>
                    </a:lnTo>
                    <a:lnTo>
                      <a:pt x="131" y="71"/>
                    </a:lnTo>
                    <a:lnTo>
                      <a:pt x="131" y="69"/>
                    </a:lnTo>
                    <a:lnTo>
                      <a:pt x="133" y="71"/>
                    </a:lnTo>
                    <a:lnTo>
                      <a:pt x="135" y="71"/>
                    </a:lnTo>
                    <a:lnTo>
                      <a:pt x="135" y="73"/>
                    </a:lnTo>
                    <a:lnTo>
                      <a:pt x="136" y="71"/>
                    </a:lnTo>
                    <a:lnTo>
                      <a:pt x="136" y="69"/>
                    </a:lnTo>
                    <a:lnTo>
                      <a:pt x="138" y="69"/>
                    </a:lnTo>
                    <a:lnTo>
                      <a:pt x="136" y="69"/>
                    </a:lnTo>
                    <a:lnTo>
                      <a:pt x="136" y="67"/>
                    </a:lnTo>
                    <a:lnTo>
                      <a:pt x="136" y="65"/>
                    </a:lnTo>
                    <a:lnTo>
                      <a:pt x="138" y="67"/>
                    </a:lnTo>
                    <a:lnTo>
                      <a:pt x="138" y="65"/>
                    </a:lnTo>
                    <a:lnTo>
                      <a:pt x="138" y="63"/>
                    </a:lnTo>
                    <a:lnTo>
                      <a:pt x="140" y="63"/>
                    </a:lnTo>
                    <a:lnTo>
                      <a:pt x="142" y="63"/>
                    </a:lnTo>
                    <a:lnTo>
                      <a:pt x="144" y="63"/>
                    </a:lnTo>
                    <a:lnTo>
                      <a:pt x="146" y="63"/>
                    </a:lnTo>
                    <a:lnTo>
                      <a:pt x="146" y="61"/>
                    </a:lnTo>
                    <a:lnTo>
                      <a:pt x="148" y="61"/>
                    </a:lnTo>
                    <a:lnTo>
                      <a:pt x="150" y="61"/>
                    </a:lnTo>
                    <a:lnTo>
                      <a:pt x="150" y="57"/>
                    </a:lnTo>
                    <a:lnTo>
                      <a:pt x="152" y="55"/>
                    </a:lnTo>
                    <a:lnTo>
                      <a:pt x="154" y="55"/>
                    </a:lnTo>
                    <a:lnTo>
                      <a:pt x="156" y="57"/>
                    </a:lnTo>
                    <a:lnTo>
                      <a:pt x="156" y="55"/>
                    </a:lnTo>
                    <a:lnTo>
                      <a:pt x="156" y="57"/>
                    </a:lnTo>
                    <a:lnTo>
                      <a:pt x="158" y="57"/>
                    </a:lnTo>
                    <a:lnTo>
                      <a:pt x="159" y="57"/>
                    </a:lnTo>
                    <a:lnTo>
                      <a:pt x="161" y="57"/>
                    </a:lnTo>
                    <a:lnTo>
                      <a:pt x="161" y="55"/>
                    </a:lnTo>
                    <a:lnTo>
                      <a:pt x="163" y="55"/>
                    </a:lnTo>
                    <a:lnTo>
                      <a:pt x="165" y="53"/>
                    </a:lnTo>
                    <a:lnTo>
                      <a:pt x="167" y="53"/>
                    </a:lnTo>
                    <a:lnTo>
                      <a:pt x="169" y="53"/>
                    </a:lnTo>
                    <a:lnTo>
                      <a:pt x="169" y="52"/>
                    </a:lnTo>
                    <a:lnTo>
                      <a:pt x="169" y="50"/>
                    </a:lnTo>
                    <a:lnTo>
                      <a:pt x="169" y="48"/>
                    </a:lnTo>
                    <a:lnTo>
                      <a:pt x="169" y="46"/>
                    </a:lnTo>
                    <a:lnTo>
                      <a:pt x="171" y="44"/>
                    </a:lnTo>
                    <a:lnTo>
                      <a:pt x="169" y="42"/>
                    </a:lnTo>
                    <a:lnTo>
                      <a:pt x="171" y="42"/>
                    </a:lnTo>
                    <a:lnTo>
                      <a:pt x="173" y="42"/>
                    </a:lnTo>
                    <a:lnTo>
                      <a:pt x="175" y="44"/>
                    </a:lnTo>
                    <a:lnTo>
                      <a:pt x="177" y="44"/>
                    </a:lnTo>
                    <a:lnTo>
                      <a:pt x="179" y="44"/>
                    </a:lnTo>
                    <a:lnTo>
                      <a:pt x="181" y="44"/>
                    </a:lnTo>
                    <a:lnTo>
                      <a:pt x="183" y="46"/>
                    </a:lnTo>
                    <a:lnTo>
                      <a:pt x="184" y="46"/>
                    </a:lnTo>
                    <a:lnTo>
                      <a:pt x="184" y="48"/>
                    </a:lnTo>
                    <a:lnTo>
                      <a:pt x="186" y="48"/>
                    </a:lnTo>
                    <a:lnTo>
                      <a:pt x="188" y="48"/>
                    </a:lnTo>
                    <a:lnTo>
                      <a:pt x="190" y="48"/>
                    </a:lnTo>
                    <a:lnTo>
                      <a:pt x="192" y="48"/>
                    </a:lnTo>
                    <a:lnTo>
                      <a:pt x="192" y="46"/>
                    </a:lnTo>
                    <a:lnTo>
                      <a:pt x="194" y="46"/>
                    </a:lnTo>
                    <a:lnTo>
                      <a:pt x="196" y="44"/>
                    </a:lnTo>
                    <a:lnTo>
                      <a:pt x="196" y="42"/>
                    </a:lnTo>
                    <a:lnTo>
                      <a:pt x="194" y="42"/>
                    </a:lnTo>
                    <a:lnTo>
                      <a:pt x="192" y="40"/>
                    </a:lnTo>
                    <a:lnTo>
                      <a:pt x="192" y="38"/>
                    </a:lnTo>
                    <a:lnTo>
                      <a:pt x="194" y="38"/>
                    </a:lnTo>
                    <a:lnTo>
                      <a:pt x="194" y="36"/>
                    </a:lnTo>
                    <a:lnTo>
                      <a:pt x="196" y="36"/>
                    </a:lnTo>
                    <a:lnTo>
                      <a:pt x="196" y="34"/>
                    </a:lnTo>
                    <a:lnTo>
                      <a:pt x="196" y="32"/>
                    </a:lnTo>
                    <a:lnTo>
                      <a:pt x="194" y="30"/>
                    </a:lnTo>
                    <a:lnTo>
                      <a:pt x="196" y="30"/>
                    </a:lnTo>
                    <a:lnTo>
                      <a:pt x="194" y="30"/>
                    </a:lnTo>
                    <a:lnTo>
                      <a:pt x="196" y="28"/>
                    </a:lnTo>
                    <a:lnTo>
                      <a:pt x="200" y="27"/>
                    </a:lnTo>
                    <a:lnTo>
                      <a:pt x="200" y="25"/>
                    </a:lnTo>
                    <a:lnTo>
                      <a:pt x="202" y="25"/>
                    </a:lnTo>
                    <a:lnTo>
                      <a:pt x="202" y="23"/>
                    </a:lnTo>
                    <a:lnTo>
                      <a:pt x="202" y="21"/>
                    </a:lnTo>
                    <a:lnTo>
                      <a:pt x="204" y="21"/>
                    </a:lnTo>
                    <a:lnTo>
                      <a:pt x="206" y="21"/>
                    </a:lnTo>
                    <a:lnTo>
                      <a:pt x="208" y="21"/>
                    </a:lnTo>
                    <a:lnTo>
                      <a:pt x="208" y="19"/>
                    </a:lnTo>
                    <a:lnTo>
                      <a:pt x="209" y="19"/>
                    </a:lnTo>
                    <a:lnTo>
                      <a:pt x="211" y="19"/>
                    </a:lnTo>
                    <a:lnTo>
                      <a:pt x="211" y="17"/>
                    </a:lnTo>
                    <a:lnTo>
                      <a:pt x="209" y="17"/>
                    </a:lnTo>
                    <a:lnTo>
                      <a:pt x="209" y="15"/>
                    </a:lnTo>
                    <a:lnTo>
                      <a:pt x="208" y="15"/>
                    </a:lnTo>
                    <a:lnTo>
                      <a:pt x="208" y="13"/>
                    </a:lnTo>
                    <a:lnTo>
                      <a:pt x="206" y="13"/>
                    </a:lnTo>
                    <a:lnTo>
                      <a:pt x="204" y="13"/>
                    </a:lnTo>
                    <a:lnTo>
                      <a:pt x="206" y="13"/>
                    </a:lnTo>
                    <a:lnTo>
                      <a:pt x="206" y="11"/>
                    </a:lnTo>
                    <a:lnTo>
                      <a:pt x="204" y="11"/>
                    </a:lnTo>
                    <a:lnTo>
                      <a:pt x="204" y="9"/>
                    </a:lnTo>
                    <a:lnTo>
                      <a:pt x="204" y="7"/>
                    </a:lnTo>
                    <a:lnTo>
                      <a:pt x="204" y="5"/>
                    </a:lnTo>
                    <a:lnTo>
                      <a:pt x="204" y="3"/>
                    </a:lnTo>
                    <a:lnTo>
                      <a:pt x="206" y="3"/>
                    </a:lnTo>
                    <a:lnTo>
                      <a:pt x="208" y="3"/>
                    </a:lnTo>
                    <a:lnTo>
                      <a:pt x="209" y="3"/>
                    </a:lnTo>
                    <a:lnTo>
                      <a:pt x="211" y="3"/>
                    </a:lnTo>
                    <a:lnTo>
                      <a:pt x="213" y="3"/>
                    </a:lnTo>
                    <a:lnTo>
                      <a:pt x="215" y="3"/>
                    </a:lnTo>
                    <a:lnTo>
                      <a:pt x="217" y="2"/>
                    </a:lnTo>
                    <a:lnTo>
                      <a:pt x="219" y="2"/>
                    </a:lnTo>
                    <a:lnTo>
                      <a:pt x="221" y="0"/>
                    </a:lnTo>
                    <a:lnTo>
                      <a:pt x="223" y="2"/>
                    </a:lnTo>
                    <a:lnTo>
                      <a:pt x="225" y="2"/>
                    </a:lnTo>
                    <a:lnTo>
                      <a:pt x="225" y="3"/>
                    </a:lnTo>
                    <a:lnTo>
                      <a:pt x="225" y="5"/>
                    </a:lnTo>
                    <a:lnTo>
                      <a:pt x="225" y="7"/>
                    </a:lnTo>
                    <a:lnTo>
                      <a:pt x="227" y="7"/>
                    </a:lnTo>
                    <a:lnTo>
                      <a:pt x="225" y="9"/>
                    </a:lnTo>
                    <a:lnTo>
                      <a:pt x="227" y="9"/>
                    </a:lnTo>
                    <a:lnTo>
                      <a:pt x="225" y="9"/>
                    </a:lnTo>
                    <a:lnTo>
                      <a:pt x="225" y="11"/>
                    </a:lnTo>
                    <a:lnTo>
                      <a:pt x="227" y="11"/>
                    </a:lnTo>
                    <a:lnTo>
                      <a:pt x="227" y="13"/>
                    </a:lnTo>
                    <a:lnTo>
                      <a:pt x="227" y="15"/>
                    </a:lnTo>
                    <a:lnTo>
                      <a:pt x="227" y="17"/>
                    </a:lnTo>
                    <a:lnTo>
                      <a:pt x="229" y="17"/>
                    </a:lnTo>
                    <a:lnTo>
                      <a:pt x="227" y="17"/>
                    </a:lnTo>
                    <a:lnTo>
                      <a:pt x="229" y="17"/>
                    </a:lnTo>
                    <a:lnTo>
                      <a:pt x="229" y="19"/>
                    </a:lnTo>
                    <a:lnTo>
                      <a:pt x="229" y="21"/>
                    </a:lnTo>
                    <a:lnTo>
                      <a:pt x="229" y="23"/>
                    </a:lnTo>
                    <a:lnTo>
                      <a:pt x="231" y="23"/>
                    </a:lnTo>
                    <a:lnTo>
                      <a:pt x="231" y="25"/>
                    </a:lnTo>
                    <a:lnTo>
                      <a:pt x="231" y="27"/>
                    </a:lnTo>
                    <a:lnTo>
                      <a:pt x="232" y="27"/>
                    </a:lnTo>
                    <a:lnTo>
                      <a:pt x="232" y="28"/>
                    </a:lnTo>
                    <a:lnTo>
                      <a:pt x="234" y="28"/>
                    </a:lnTo>
                    <a:lnTo>
                      <a:pt x="236" y="28"/>
                    </a:lnTo>
                    <a:lnTo>
                      <a:pt x="238" y="28"/>
                    </a:lnTo>
                    <a:lnTo>
                      <a:pt x="238" y="27"/>
                    </a:lnTo>
                    <a:lnTo>
                      <a:pt x="240" y="27"/>
                    </a:lnTo>
                    <a:lnTo>
                      <a:pt x="240" y="28"/>
                    </a:lnTo>
                    <a:lnTo>
                      <a:pt x="242" y="27"/>
                    </a:lnTo>
                    <a:lnTo>
                      <a:pt x="244" y="27"/>
                    </a:lnTo>
                    <a:lnTo>
                      <a:pt x="246" y="27"/>
                    </a:lnTo>
                    <a:lnTo>
                      <a:pt x="248" y="27"/>
                    </a:lnTo>
                    <a:lnTo>
                      <a:pt x="248" y="25"/>
                    </a:lnTo>
                    <a:lnTo>
                      <a:pt x="250" y="25"/>
                    </a:lnTo>
                    <a:lnTo>
                      <a:pt x="252" y="25"/>
                    </a:lnTo>
                    <a:lnTo>
                      <a:pt x="252" y="23"/>
                    </a:lnTo>
                    <a:lnTo>
                      <a:pt x="252" y="25"/>
                    </a:lnTo>
                    <a:lnTo>
                      <a:pt x="254" y="25"/>
                    </a:lnTo>
                    <a:lnTo>
                      <a:pt x="254" y="23"/>
                    </a:lnTo>
                    <a:lnTo>
                      <a:pt x="254" y="25"/>
                    </a:lnTo>
                    <a:lnTo>
                      <a:pt x="256" y="25"/>
                    </a:lnTo>
                    <a:lnTo>
                      <a:pt x="256" y="23"/>
                    </a:lnTo>
                    <a:lnTo>
                      <a:pt x="257" y="25"/>
                    </a:lnTo>
                    <a:lnTo>
                      <a:pt x="257" y="23"/>
                    </a:lnTo>
                    <a:lnTo>
                      <a:pt x="257" y="25"/>
                    </a:lnTo>
                    <a:lnTo>
                      <a:pt x="259" y="25"/>
                    </a:lnTo>
                    <a:lnTo>
                      <a:pt x="261" y="25"/>
                    </a:lnTo>
                    <a:lnTo>
                      <a:pt x="263" y="23"/>
                    </a:lnTo>
                    <a:lnTo>
                      <a:pt x="265" y="21"/>
                    </a:lnTo>
                    <a:lnTo>
                      <a:pt x="267" y="21"/>
                    </a:lnTo>
                    <a:lnTo>
                      <a:pt x="267" y="23"/>
                    </a:lnTo>
                    <a:lnTo>
                      <a:pt x="269" y="23"/>
                    </a:lnTo>
                    <a:lnTo>
                      <a:pt x="269" y="21"/>
                    </a:lnTo>
                    <a:lnTo>
                      <a:pt x="271" y="23"/>
                    </a:lnTo>
                    <a:lnTo>
                      <a:pt x="273" y="23"/>
                    </a:lnTo>
                    <a:lnTo>
                      <a:pt x="273" y="25"/>
                    </a:lnTo>
                    <a:lnTo>
                      <a:pt x="275" y="27"/>
                    </a:lnTo>
                    <a:lnTo>
                      <a:pt x="277" y="27"/>
                    </a:lnTo>
                    <a:lnTo>
                      <a:pt x="279" y="27"/>
                    </a:lnTo>
                    <a:lnTo>
                      <a:pt x="281" y="27"/>
                    </a:lnTo>
                    <a:lnTo>
                      <a:pt x="281" y="28"/>
                    </a:lnTo>
                    <a:lnTo>
                      <a:pt x="281" y="27"/>
                    </a:lnTo>
                    <a:lnTo>
                      <a:pt x="281" y="28"/>
                    </a:lnTo>
                    <a:lnTo>
                      <a:pt x="282" y="28"/>
                    </a:lnTo>
                    <a:lnTo>
                      <a:pt x="282" y="27"/>
                    </a:lnTo>
                    <a:lnTo>
                      <a:pt x="282" y="28"/>
                    </a:lnTo>
                    <a:lnTo>
                      <a:pt x="284" y="28"/>
                    </a:lnTo>
                    <a:lnTo>
                      <a:pt x="284" y="30"/>
                    </a:lnTo>
                    <a:lnTo>
                      <a:pt x="286" y="30"/>
                    </a:lnTo>
                    <a:lnTo>
                      <a:pt x="286" y="28"/>
                    </a:lnTo>
                    <a:lnTo>
                      <a:pt x="288" y="30"/>
                    </a:lnTo>
                    <a:lnTo>
                      <a:pt x="290" y="30"/>
                    </a:lnTo>
                    <a:lnTo>
                      <a:pt x="292" y="30"/>
                    </a:lnTo>
                    <a:lnTo>
                      <a:pt x="294" y="30"/>
                    </a:lnTo>
                    <a:lnTo>
                      <a:pt x="294" y="28"/>
                    </a:lnTo>
                    <a:lnTo>
                      <a:pt x="296" y="28"/>
                    </a:lnTo>
                    <a:lnTo>
                      <a:pt x="296" y="27"/>
                    </a:lnTo>
                    <a:lnTo>
                      <a:pt x="298" y="27"/>
                    </a:lnTo>
                    <a:lnTo>
                      <a:pt x="298" y="25"/>
                    </a:lnTo>
                    <a:lnTo>
                      <a:pt x="300" y="25"/>
                    </a:lnTo>
                    <a:lnTo>
                      <a:pt x="300" y="23"/>
                    </a:lnTo>
                    <a:lnTo>
                      <a:pt x="302" y="23"/>
                    </a:lnTo>
                    <a:lnTo>
                      <a:pt x="302" y="21"/>
                    </a:lnTo>
                    <a:lnTo>
                      <a:pt x="304" y="21"/>
                    </a:lnTo>
                    <a:lnTo>
                      <a:pt x="305" y="21"/>
                    </a:lnTo>
                    <a:lnTo>
                      <a:pt x="305" y="19"/>
                    </a:lnTo>
                    <a:lnTo>
                      <a:pt x="307" y="19"/>
                    </a:lnTo>
                    <a:lnTo>
                      <a:pt x="309" y="19"/>
                    </a:lnTo>
                    <a:lnTo>
                      <a:pt x="311" y="19"/>
                    </a:lnTo>
                    <a:lnTo>
                      <a:pt x="311" y="21"/>
                    </a:lnTo>
                    <a:lnTo>
                      <a:pt x="313" y="21"/>
                    </a:lnTo>
                    <a:lnTo>
                      <a:pt x="315" y="21"/>
                    </a:lnTo>
                    <a:lnTo>
                      <a:pt x="315" y="19"/>
                    </a:lnTo>
                    <a:lnTo>
                      <a:pt x="317" y="21"/>
                    </a:lnTo>
                    <a:lnTo>
                      <a:pt x="317" y="19"/>
                    </a:lnTo>
                    <a:lnTo>
                      <a:pt x="319" y="19"/>
                    </a:lnTo>
                    <a:lnTo>
                      <a:pt x="321" y="19"/>
                    </a:lnTo>
                    <a:lnTo>
                      <a:pt x="321" y="21"/>
                    </a:lnTo>
                    <a:lnTo>
                      <a:pt x="323" y="21"/>
                    </a:lnTo>
                    <a:lnTo>
                      <a:pt x="323" y="23"/>
                    </a:lnTo>
                    <a:lnTo>
                      <a:pt x="325" y="23"/>
                    </a:lnTo>
                    <a:lnTo>
                      <a:pt x="327" y="23"/>
                    </a:lnTo>
                    <a:lnTo>
                      <a:pt x="327" y="25"/>
                    </a:lnTo>
                    <a:lnTo>
                      <a:pt x="329" y="25"/>
                    </a:lnTo>
                    <a:lnTo>
                      <a:pt x="329" y="27"/>
                    </a:lnTo>
                    <a:lnTo>
                      <a:pt x="330" y="27"/>
                    </a:lnTo>
                    <a:lnTo>
                      <a:pt x="330" y="25"/>
                    </a:lnTo>
                    <a:lnTo>
                      <a:pt x="332" y="25"/>
                    </a:lnTo>
                    <a:lnTo>
                      <a:pt x="334" y="25"/>
                    </a:lnTo>
                    <a:lnTo>
                      <a:pt x="336" y="25"/>
                    </a:lnTo>
                    <a:lnTo>
                      <a:pt x="336" y="23"/>
                    </a:lnTo>
                    <a:lnTo>
                      <a:pt x="338" y="23"/>
                    </a:lnTo>
                    <a:lnTo>
                      <a:pt x="340" y="21"/>
                    </a:lnTo>
                    <a:lnTo>
                      <a:pt x="340" y="23"/>
                    </a:lnTo>
                    <a:lnTo>
                      <a:pt x="342" y="23"/>
                    </a:lnTo>
                    <a:lnTo>
                      <a:pt x="342" y="21"/>
                    </a:lnTo>
                    <a:lnTo>
                      <a:pt x="342" y="23"/>
                    </a:lnTo>
                    <a:lnTo>
                      <a:pt x="342" y="21"/>
                    </a:lnTo>
                    <a:lnTo>
                      <a:pt x="344" y="23"/>
                    </a:lnTo>
                    <a:lnTo>
                      <a:pt x="344" y="21"/>
                    </a:lnTo>
                    <a:lnTo>
                      <a:pt x="344" y="19"/>
                    </a:lnTo>
                    <a:lnTo>
                      <a:pt x="346" y="19"/>
                    </a:lnTo>
                    <a:lnTo>
                      <a:pt x="348" y="17"/>
                    </a:lnTo>
                    <a:lnTo>
                      <a:pt x="350" y="17"/>
                    </a:lnTo>
                    <a:lnTo>
                      <a:pt x="352" y="17"/>
                    </a:lnTo>
                    <a:lnTo>
                      <a:pt x="352" y="19"/>
                    </a:lnTo>
                    <a:lnTo>
                      <a:pt x="354" y="19"/>
                    </a:lnTo>
                    <a:lnTo>
                      <a:pt x="355" y="19"/>
                    </a:lnTo>
                    <a:lnTo>
                      <a:pt x="355" y="17"/>
                    </a:lnTo>
                    <a:lnTo>
                      <a:pt x="357" y="17"/>
                    </a:lnTo>
                    <a:lnTo>
                      <a:pt x="359" y="15"/>
                    </a:lnTo>
                    <a:lnTo>
                      <a:pt x="361" y="15"/>
                    </a:lnTo>
                    <a:lnTo>
                      <a:pt x="361" y="13"/>
                    </a:lnTo>
                    <a:lnTo>
                      <a:pt x="363" y="13"/>
                    </a:lnTo>
                    <a:lnTo>
                      <a:pt x="361" y="13"/>
                    </a:lnTo>
                    <a:lnTo>
                      <a:pt x="361" y="11"/>
                    </a:lnTo>
                    <a:lnTo>
                      <a:pt x="361" y="9"/>
                    </a:lnTo>
                    <a:lnTo>
                      <a:pt x="359" y="9"/>
                    </a:lnTo>
                    <a:lnTo>
                      <a:pt x="359" y="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Freeform 62">
                <a:extLst>
                  <a:ext uri="{FF2B5EF4-FFF2-40B4-BE49-F238E27FC236}">
                    <a16:creationId xmlns="" xmlns:a16="http://schemas.microsoft.com/office/drawing/2014/main" id="{72365966-DD6C-4311-9877-54B8184B4C9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07263" y="2816226"/>
                <a:ext cx="366713" cy="452438"/>
              </a:xfrm>
              <a:custGeom>
                <a:avLst/>
                <a:gdLst>
                  <a:gd name="T0" fmla="*/ 75 w 231"/>
                  <a:gd name="T1" fmla="*/ 260 h 285"/>
                  <a:gd name="T2" fmla="*/ 75 w 231"/>
                  <a:gd name="T3" fmla="*/ 264 h 285"/>
                  <a:gd name="T4" fmla="*/ 71 w 231"/>
                  <a:gd name="T5" fmla="*/ 267 h 285"/>
                  <a:gd name="T6" fmla="*/ 71 w 231"/>
                  <a:gd name="T7" fmla="*/ 265 h 285"/>
                  <a:gd name="T8" fmla="*/ 69 w 231"/>
                  <a:gd name="T9" fmla="*/ 264 h 285"/>
                  <a:gd name="T10" fmla="*/ 71 w 231"/>
                  <a:gd name="T11" fmla="*/ 260 h 285"/>
                  <a:gd name="T12" fmla="*/ 71 w 231"/>
                  <a:gd name="T13" fmla="*/ 260 h 285"/>
                  <a:gd name="T14" fmla="*/ 71 w 231"/>
                  <a:gd name="T15" fmla="*/ 256 h 285"/>
                  <a:gd name="T16" fmla="*/ 75 w 231"/>
                  <a:gd name="T17" fmla="*/ 256 h 285"/>
                  <a:gd name="T18" fmla="*/ 75 w 231"/>
                  <a:gd name="T19" fmla="*/ 258 h 285"/>
                  <a:gd name="T20" fmla="*/ 29 w 231"/>
                  <a:gd name="T21" fmla="*/ 277 h 285"/>
                  <a:gd name="T22" fmla="*/ 29 w 231"/>
                  <a:gd name="T23" fmla="*/ 279 h 285"/>
                  <a:gd name="T24" fmla="*/ 29 w 231"/>
                  <a:gd name="T25" fmla="*/ 281 h 285"/>
                  <a:gd name="T26" fmla="*/ 29 w 231"/>
                  <a:gd name="T27" fmla="*/ 285 h 285"/>
                  <a:gd name="T28" fmla="*/ 27 w 231"/>
                  <a:gd name="T29" fmla="*/ 285 h 285"/>
                  <a:gd name="T30" fmla="*/ 27 w 231"/>
                  <a:gd name="T31" fmla="*/ 283 h 285"/>
                  <a:gd name="T32" fmla="*/ 27 w 231"/>
                  <a:gd name="T33" fmla="*/ 281 h 285"/>
                  <a:gd name="T34" fmla="*/ 27 w 231"/>
                  <a:gd name="T35" fmla="*/ 279 h 285"/>
                  <a:gd name="T36" fmla="*/ 27 w 231"/>
                  <a:gd name="T37" fmla="*/ 279 h 285"/>
                  <a:gd name="T38" fmla="*/ 192 w 231"/>
                  <a:gd name="T39" fmla="*/ 169 h 285"/>
                  <a:gd name="T40" fmla="*/ 192 w 231"/>
                  <a:gd name="T41" fmla="*/ 169 h 285"/>
                  <a:gd name="T42" fmla="*/ 192 w 231"/>
                  <a:gd name="T43" fmla="*/ 169 h 285"/>
                  <a:gd name="T44" fmla="*/ 23 w 231"/>
                  <a:gd name="T45" fmla="*/ 273 h 285"/>
                  <a:gd name="T46" fmla="*/ 25 w 231"/>
                  <a:gd name="T47" fmla="*/ 271 h 285"/>
                  <a:gd name="T48" fmla="*/ 190 w 231"/>
                  <a:gd name="T49" fmla="*/ 162 h 285"/>
                  <a:gd name="T50" fmla="*/ 188 w 231"/>
                  <a:gd name="T51" fmla="*/ 162 h 285"/>
                  <a:gd name="T52" fmla="*/ 187 w 231"/>
                  <a:gd name="T53" fmla="*/ 164 h 285"/>
                  <a:gd name="T54" fmla="*/ 188 w 231"/>
                  <a:gd name="T55" fmla="*/ 162 h 285"/>
                  <a:gd name="T56" fmla="*/ 75 w 231"/>
                  <a:gd name="T57" fmla="*/ 219 h 285"/>
                  <a:gd name="T58" fmla="*/ 75 w 231"/>
                  <a:gd name="T59" fmla="*/ 221 h 285"/>
                  <a:gd name="T60" fmla="*/ 48 w 231"/>
                  <a:gd name="T61" fmla="*/ 237 h 285"/>
                  <a:gd name="T62" fmla="*/ 48 w 231"/>
                  <a:gd name="T63" fmla="*/ 235 h 285"/>
                  <a:gd name="T64" fmla="*/ 12 w 231"/>
                  <a:gd name="T65" fmla="*/ 252 h 285"/>
                  <a:gd name="T66" fmla="*/ 10 w 231"/>
                  <a:gd name="T67" fmla="*/ 252 h 285"/>
                  <a:gd name="T68" fmla="*/ 10 w 231"/>
                  <a:gd name="T69" fmla="*/ 252 h 285"/>
                  <a:gd name="T70" fmla="*/ 4 w 231"/>
                  <a:gd name="T71" fmla="*/ 252 h 285"/>
                  <a:gd name="T72" fmla="*/ 4 w 231"/>
                  <a:gd name="T73" fmla="*/ 250 h 285"/>
                  <a:gd name="T74" fmla="*/ 2 w 231"/>
                  <a:gd name="T75" fmla="*/ 250 h 285"/>
                  <a:gd name="T76" fmla="*/ 2 w 231"/>
                  <a:gd name="T77" fmla="*/ 250 h 285"/>
                  <a:gd name="T78" fmla="*/ 2 w 231"/>
                  <a:gd name="T79" fmla="*/ 250 h 285"/>
                  <a:gd name="T80" fmla="*/ 0 w 231"/>
                  <a:gd name="T81" fmla="*/ 250 h 285"/>
                  <a:gd name="T82" fmla="*/ 0 w 231"/>
                  <a:gd name="T83" fmla="*/ 250 h 285"/>
                  <a:gd name="T84" fmla="*/ 0 w 231"/>
                  <a:gd name="T85" fmla="*/ 250 h 285"/>
                  <a:gd name="T86" fmla="*/ 2 w 231"/>
                  <a:gd name="T87" fmla="*/ 250 h 285"/>
                  <a:gd name="T88" fmla="*/ 2 w 231"/>
                  <a:gd name="T89" fmla="*/ 250 h 285"/>
                  <a:gd name="T90" fmla="*/ 2 w 231"/>
                  <a:gd name="T91" fmla="*/ 250 h 285"/>
                  <a:gd name="T92" fmla="*/ 0 w 231"/>
                  <a:gd name="T93" fmla="*/ 250 h 285"/>
                  <a:gd name="T94" fmla="*/ 0 w 231"/>
                  <a:gd name="T95" fmla="*/ 250 h 285"/>
                  <a:gd name="T96" fmla="*/ 2 w 231"/>
                  <a:gd name="T97" fmla="*/ 248 h 285"/>
                  <a:gd name="T98" fmla="*/ 0 w 231"/>
                  <a:gd name="T99" fmla="*/ 248 h 285"/>
                  <a:gd name="T100" fmla="*/ 139 w 231"/>
                  <a:gd name="T101" fmla="*/ 154 h 285"/>
                  <a:gd name="T102" fmla="*/ 139 w 231"/>
                  <a:gd name="T103" fmla="*/ 152 h 285"/>
                  <a:gd name="T104" fmla="*/ 135 w 231"/>
                  <a:gd name="T105" fmla="*/ 144 h 285"/>
                  <a:gd name="T106" fmla="*/ 135 w 231"/>
                  <a:gd name="T107" fmla="*/ 144 h 285"/>
                  <a:gd name="T108" fmla="*/ 229 w 231"/>
                  <a:gd name="T109" fmla="*/ 2 h 285"/>
                  <a:gd name="T110" fmla="*/ 229 w 231"/>
                  <a:gd name="T111" fmla="*/ 0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31" h="285">
                    <a:moveTo>
                      <a:pt x="75" y="258"/>
                    </a:moveTo>
                    <a:lnTo>
                      <a:pt x="75" y="258"/>
                    </a:lnTo>
                    <a:lnTo>
                      <a:pt x="75" y="258"/>
                    </a:lnTo>
                    <a:lnTo>
                      <a:pt x="75" y="260"/>
                    </a:lnTo>
                    <a:lnTo>
                      <a:pt x="75" y="260"/>
                    </a:lnTo>
                    <a:lnTo>
                      <a:pt x="75" y="260"/>
                    </a:lnTo>
                    <a:lnTo>
                      <a:pt x="75" y="260"/>
                    </a:lnTo>
                    <a:lnTo>
                      <a:pt x="75" y="260"/>
                    </a:lnTo>
                    <a:lnTo>
                      <a:pt x="75" y="260"/>
                    </a:lnTo>
                    <a:lnTo>
                      <a:pt x="75" y="262"/>
                    </a:lnTo>
                    <a:lnTo>
                      <a:pt x="75" y="262"/>
                    </a:lnTo>
                    <a:lnTo>
                      <a:pt x="75" y="262"/>
                    </a:lnTo>
                    <a:lnTo>
                      <a:pt x="75" y="264"/>
                    </a:lnTo>
                    <a:lnTo>
                      <a:pt x="75" y="264"/>
                    </a:lnTo>
                    <a:lnTo>
                      <a:pt x="75" y="264"/>
                    </a:lnTo>
                    <a:lnTo>
                      <a:pt x="73" y="265"/>
                    </a:lnTo>
                    <a:lnTo>
                      <a:pt x="73" y="265"/>
                    </a:lnTo>
                    <a:lnTo>
                      <a:pt x="73" y="265"/>
                    </a:lnTo>
                    <a:lnTo>
                      <a:pt x="73" y="265"/>
                    </a:lnTo>
                    <a:lnTo>
                      <a:pt x="71" y="265"/>
                    </a:lnTo>
                    <a:lnTo>
                      <a:pt x="71" y="267"/>
                    </a:lnTo>
                    <a:lnTo>
                      <a:pt x="71" y="267"/>
                    </a:lnTo>
                    <a:lnTo>
                      <a:pt x="71" y="267"/>
                    </a:lnTo>
                    <a:lnTo>
                      <a:pt x="71" y="267"/>
                    </a:lnTo>
                    <a:lnTo>
                      <a:pt x="71" y="267"/>
                    </a:lnTo>
                    <a:lnTo>
                      <a:pt x="71" y="265"/>
                    </a:lnTo>
                    <a:lnTo>
                      <a:pt x="71" y="265"/>
                    </a:lnTo>
                    <a:lnTo>
                      <a:pt x="71" y="265"/>
                    </a:lnTo>
                    <a:lnTo>
                      <a:pt x="71" y="265"/>
                    </a:lnTo>
                    <a:lnTo>
                      <a:pt x="69" y="264"/>
                    </a:lnTo>
                    <a:lnTo>
                      <a:pt x="69" y="264"/>
                    </a:lnTo>
                    <a:lnTo>
                      <a:pt x="69" y="264"/>
                    </a:lnTo>
                    <a:lnTo>
                      <a:pt x="69" y="264"/>
                    </a:lnTo>
                    <a:lnTo>
                      <a:pt x="69" y="264"/>
                    </a:lnTo>
                    <a:lnTo>
                      <a:pt x="69" y="264"/>
                    </a:lnTo>
                    <a:lnTo>
                      <a:pt x="71" y="262"/>
                    </a:lnTo>
                    <a:lnTo>
                      <a:pt x="71" y="262"/>
                    </a:lnTo>
                    <a:lnTo>
                      <a:pt x="71" y="260"/>
                    </a:lnTo>
                    <a:lnTo>
                      <a:pt x="71" y="260"/>
                    </a:lnTo>
                    <a:lnTo>
                      <a:pt x="71" y="260"/>
                    </a:lnTo>
                    <a:lnTo>
                      <a:pt x="71" y="260"/>
                    </a:lnTo>
                    <a:lnTo>
                      <a:pt x="71" y="260"/>
                    </a:lnTo>
                    <a:lnTo>
                      <a:pt x="71" y="260"/>
                    </a:lnTo>
                    <a:lnTo>
                      <a:pt x="71" y="260"/>
                    </a:lnTo>
                    <a:lnTo>
                      <a:pt x="71" y="260"/>
                    </a:lnTo>
                    <a:lnTo>
                      <a:pt x="71" y="260"/>
                    </a:lnTo>
                    <a:lnTo>
                      <a:pt x="71" y="260"/>
                    </a:lnTo>
                    <a:lnTo>
                      <a:pt x="73" y="260"/>
                    </a:lnTo>
                    <a:lnTo>
                      <a:pt x="71" y="260"/>
                    </a:lnTo>
                    <a:lnTo>
                      <a:pt x="71" y="258"/>
                    </a:lnTo>
                    <a:lnTo>
                      <a:pt x="71" y="258"/>
                    </a:lnTo>
                    <a:lnTo>
                      <a:pt x="73" y="258"/>
                    </a:lnTo>
                    <a:lnTo>
                      <a:pt x="71" y="258"/>
                    </a:lnTo>
                    <a:lnTo>
                      <a:pt x="71" y="256"/>
                    </a:lnTo>
                    <a:lnTo>
                      <a:pt x="71" y="256"/>
                    </a:lnTo>
                    <a:lnTo>
                      <a:pt x="71" y="256"/>
                    </a:lnTo>
                    <a:lnTo>
                      <a:pt x="71" y="256"/>
                    </a:lnTo>
                    <a:lnTo>
                      <a:pt x="71" y="256"/>
                    </a:lnTo>
                    <a:lnTo>
                      <a:pt x="73" y="256"/>
                    </a:lnTo>
                    <a:lnTo>
                      <a:pt x="73" y="256"/>
                    </a:lnTo>
                    <a:lnTo>
                      <a:pt x="73" y="256"/>
                    </a:lnTo>
                    <a:lnTo>
                      <a:pt x="73" y="256"/>
                    </a:lnTo>
                    <a:lnTo>
                      <a:pt x="75" y="256"/>
                    </a:lnTo>
                    <a:lnTo>
                      <a:pt x="75" y="256"/>
                    </a:lnTo>
                    <a:lnTo>
                      <a:pt x="75" y="256"/>
                    </a:lnTo>
                    <a:lnTo>
                      <a:pt x="75" y="256"/>
                    </a:lnTo>
                    <a:lnTo>
                      <a:pt x="75" y="256"/>
                    </a:lnTo>
                    <a:lnTo>
                      <a:pt x="75" y="256"/>
                    </a:lnTo>
                    <a:lnTo>
                      <a:pt x="75" y="258"/>
                    </a:lnTo>
                    <a:lnTo>
                      <a:pt x="75" y="258"/>
                    </a:lnTo>
                    <a:lnTo>
                      <a:pt x="75" y="258"/>
                    </a:lnTo>
                    <a:lnTo>
                      <a:pt x="75" y="258"/>
                    </a:lnTo>
                    <a:lnTo>
                      <a:pt x="75" y="258"/>
                    </a:lnTo>
                    <a:close/>
                    <a:moveTo>
                      <a:pt x="29" y="277"/>
                    </a:moveTo>
                    <a:lnTo>
                      <a:pt x="29" y="277"/>
                    </a:lnTo>
                    <a:lnTo>
                      <a:pt x="29" y="277"/>
                    </a:lnTo>
                    <a:lnTo>
                      <a:pt x="29" y="277"/>
                    </a:lnTo>
                    <a:lnTo>
                      <a:pt x="29" y="277"/>
                    </a:lnTo>
                    <a:lnTo>
                      <a:pt x="29" y="277"/>
                    </a:lnTo>
                    <a:lnTo>
                      <a:pt x="29" y="277"/>
                    </a:lnTo>
                    <a:lnTo>
                      <a:pt x="29" y="277"/>
                    </a:lnTo>
                    <a:lnTo>
                      <a:pt x="29" y="279"/>
                    </a:lnTo>
                    <a:lnTo>
                      <a:pt x="29" y="279"/>
                    </a:lnTo>
                    <a:lnTo>
                      <a:pt x="29" y="279"/>
                    </a:lnTo>
                    <a:lnTo>
                      <a:pt x="29" y="279"/>
                    </a:lnTo>
                    <a:lnTo>
                      <a:pt x="29" y="279"/>
                    </a:lnTo>
                    <a:lnTo>
                      <a:pt x="29" y="281"/>
                    </a:lnTo>
                    <a:lnTo>
                      <a:pt x="29" y="281"/>
                    </a:lnTo>
                    <a:lnTo>
                      <a:pt x="29" y="281"/>
                    </a:lnTo>
                    <a:lnTo>
                      <a:pt x="29" y="281"/>
                    </a:lnTo>
                    <a:lnTo>
                      <a:pt x="29" y="281"/>
                    </a:lnTo>
                    <a:lnTo>
                      <a:pt x="27" y="283"/>
                    </a:lnTo>
                    <a:lnTo>
                      <a:pt x="27" y="283"/>
                    </a:lnTo>
                    <a:lnTo>
                      <a:pt x="27" y="283"/>
                    </a:lnTo>
                    <a:lnTo>
                      <a:pt x="29" y="285"/>
                    </a:lnTo>
                    <a:lnTo>
                      <a:pt x="29" y="285"/>
                    </a:lnTo>
                    <a:lnTo>
                      <a:pt x="29" y="285"/>
                    </a:lnTo>
                    <a:lnTo>
                      <a:pt x="29" y="285"/>
                    </a:lnTo>
                    <a:lnTo>
                      <a:pt x="27" y="285"/>
                    </a:lnTo>
                    <a:lnTo>
                      <a:pt x="27" y="285"/>
                    </a:lnTo>
                    <a:lnTo>
                      <a:pt x="27" y="285"/>
                    </a:lnTo>
                    <a:lnTo>
                      <a:pt x="27" y="285"/>
                    </a:lnTo>
                    <a:lnTo>
                      <a:pt x="27" y="285"/>
                    </a:lnTo>
                    <a:lnTo>
                      <a:pt x="27" y="285"/>
                    </a:lnTo>
                    <a:lnTo>
                      <a:pt x="27" y="285"/>
                    </a:lnTo>
                    <a:lnTo>
                      <a:pt x="27" y="285"/>
                    </a:lnTo>
                    <a:lnTo>
                      <a:pt x="27" y="285"/>
                    </a:lnTo>
                    <a:lnTo>
                      <a:pt x="27" y="283"/>
                    </a:lnTo>
                    <a:lnTo>
                      <a:pt x="27" y="283"/>
                    </a:lnTo>
                    <a:lnTo>
                      <a:pt x="27" y="283"/>
                    </a:lnTo>
                    <a:lnTo>
                      <a:pt x="27" y="283"/>
                    </a:lnTo>
                    <a:lnTo>
                      <a:pt x="27" y="283"/>
                    </a:lnTo>
                    <a:lnTo>
                      <a:pt x="27" y="283"/>
                    </a:lnTo>
                    <a:lnTo>
                      <a:pt x="27" y="283"/>
                    </a:lnTo>
                    <a:lnTo>
                      <a:pt x="27" y="283"/>
                    </a:lnTo>
                    <a:lnTo>
                      <a:pt x="27" y="283"/>
                    </a:lnTo>
                    <a:lnTo>
                      <a:pt x="27" y="281"/>
                    </a:lnTo>
                    <a:lnTo>
                      <a:pt x="27" y="281"/>
                    </a:lnTo>
                    <a:lnTo>
                      <a:pt x="27" y="281"/>
                    </a:lnTo>
                    <a:lnTo>
                      <a:pt x="27" y="281"/>
                    </a:lnTo>
                    <a:lnTo>
                      <a:pt x="27" y="281"/>
                    </a:lnTo>
                    <a:lnTo>
                      <a:pt x="27" y="279"/>
                    </a:lnTo>
                    <a:lnTo>
                      <a:pt x="27" y="279"/>
                    </a:lnTo>
                    <a:lnTo>
                      <a:pt x="27" y="279"/>
                    </a:lnTo>
                    <a:lnTo>
                      <a:pt x="27" y="279"/>
                    </a:lnTo>
                    <a:lnTo>
                      <a:pt x="27" y="279"/>
                    </a:lnTo>
                    <a:lnTo>
                      <a:pt x="27" y="279"/>
                    </a:lnTo>
                    <a:lnTo>
                      <a:pt x="27" y="279"/>
                    </a:lnTo>
                    <a:lnTo>
                      <a:pt x="27" y="279"/>
                    </a:lnTo>
                    <a:lnTo>
                      <a:pt x="27" y="279"/>
                    </a:lnTo>
                    <a:lnTo>
                      <a:pt x="27" y="279"/>
                    </a:lnTo>
                    <a:lnTo>
                      <a:pt x="27" y="279"/>
                    </a:lnTo>
                    <a:lnTo>
                      <a:pt x="27" y="279"/>
                    </a:lnTo>
                    <a:lnTo>
                      <a:pt x="27" y="277"/>
                    </a:lnTo>
                    <a:lnTo>
                      <a:pt x="27" y="277"/>
                    </a:lnTo>
                    <a:lnTo>
                      <a:pt x="27" y="277"/>
                    </a:lnTo>
                    <a:lnTo>
                      <a:pt x="29" y="277"/>
                    </a:lnTo>
                    <a:close/>
                    <a:moveTo>
                      <a:pt x="192" y="169"/>
                    </a:moveTo>
                    <a:lnTo>
                      <a:pt x="192" y="169"/>
                    </a:lnTo>
                    <a:lnTo>
                      <a:pt x="192" y="169"/>
                    </a:lnTo>
                    <a:lnTo>
                      <a:pt x="192" y="169"/>
                    </a:lnTo>
                    <a:lnTo>
                      <a:pt x="192" y="169"/>
                    </a:lnTo>
                    <a:lnTo>
                      <a:pt x="192" y="169"/>
                    </a:lnTo>
                    <a:lnTo>
                      <a:pt x="192" y="169"/>
                    </a:lnTo>
                    <a:lnTo>
                      <a:pt x="192" y="169"/>
                    </a:lnTo>
                    <a:lnTo>
                      <a:pt x="192" y="169"/>
                    </a:lnTo>
                    <a:lnTo>
                      <a:pt x="192" y="169"/>
                    </a:lnTo>
                    <a:lnTo>
                      <a:pt x="192" y="169"/>
                    </a:lnTo>
                    <a:lnTo>
                      <a:pt x="192" y="169"/>
                    </a:lnTo>
                    <a:lnTo>
                      <a:pt x="192" y="169"/>
                    </a:lnTo>
                    <a:lnTo>
                      <a:pt x="192" y="169"/>
                    </a:lnTo>
                    <a:lnTo>
                      <a:pt x="192" y="169"/>
                    </a:lnTo>
                    <a:lnTo>
                      <a:pt x="192" y="169"/>
                    </a:lnTo>
                    <a:lnTo>
                      <a:pt x="192" y="169"/>
                    </a:lnTo>
                    <a:close/>
                    <a:moveTo>
                      <a:pt x="25" y="271"/>
                    </a:moveTo>
                    <a:lnTo>
                      <a:pt x="25" y="273"/>
                    </a:lnTo>
                    <a:lnTo>
                      <a:pt x="23" y="273"/>
                    </a:lnTo>
                    <a:lnTo>
                      <a:pt x="23" y="273"/>
                    </a:lnTo>
                    <a:lnTo>
                      <a:pt x="23" y="273"/>
                    </a:lnTo>
                    <a:lnTo>
                      <a:pt x="23" y="273"/>
                    </a:lnTo>
                    <a:lnTo>
                      <a:pt x="23" y="273"/>
                    </a:lnTo>
                    <a:lnTo>
                      <a:pt x="23" y="273"/>
                    </a:lnTo>
                    <a:lnTo>
                      <a:pt x="23" y="271"/>
                    </a:lnTo>
                    <a:lnTo>
                      <a:pt x="23" y="271"/>
                    </a:lnTo>
                    <a:lnTo>
                      <a:pt x="23" y="271"/>
                    </a:lnTo>
                    <a:lnTo>
                      <a:pt x="23" y="271"/>
                    </a:lnTo>
                    <a:lnTo>
                      <a:pt x="25" y="271"/>
                    </a:lnTo>
                    <a:lnTo>
                      <a:pt x="25" y="271"/>
                    </a:lnTo>
                    <a:close/>
                    <a:moveTo>
                      <a:pt x="188" y="162"/>
                    </a:moveTo>
                    <a:lnTo>
                      <a:pt x="188" y="162"/>
                    </a:lnTo>
                    <a:lnTo>
                      <a:pt x="188" y="162"/>
                    </a:lnTo>
                    <a:lnTo>
                      <a:pt x="188" y="162"/>
                    </a:lnTo>
                    <a:lnTo>
                      <a:pt x="188" y="162"/>
                    </a:lnTo>
                    <a:lnTo>
                      <a:pt x="188" y="162"/>
                    </a:lnTo>
                    <a:lnTo>
                      <a:pt x="190" y="162"/>
                    </a:lnTo>
                    <a:lnTo>
                      <a:pt x="190" y="162"/>
                    </a:lnTo>
                    <a:lnTo>
                      <a:pt x="188" y="162"/>
                    </a:lnTo>
                    <a:lnTo>
                      <a:pt x="188" y="162"/>
                    </a:lnTo>
                    <a:lnTo>
                      <a:pt x="188" y="162"/>
                    </a:lnTo>
                    <a:lnTo>
                      <a:pt x="188" y="162"/>
                    </a:lnTo>
                    <a:lnTo>
                      <a:pt x="188" y="162"/>
                    </a:lnTo>
                    <a:lnTo>
                      <a:pt x="188" y="162"/>
                    </a:lnTo>
                    <a:lnTo>
                      <a:pt x="188" y="164"/>
                    </a:lnTo>
                    <a:lnTo>
                      <a:pt x="188" y="164"/>
                    </a:lnTo>
                    <a:lnTo>
                      <a:pt x="188" y="164"/>
                    </a:lnTo>
                    <a:lnTo>
                      <a:pt x="187" y="164"/>
                    </a:lnTo>
                    <a:lnTo>
                      <a:pt x="187" y="164"/>
                    </a:lnTo>
                    <a:lnTo>
                      <a:pt x="187" y="164"/>
                    </a:lnTo>
                    <a:lnTo>
                      <a:pt x="187" y="164"/>
                    </a:lnTo>
                    <a:lnTo>
                      <a:pt x="187" y="162"/>
                    </a:lnTo>
                    <a:lnTo>
                      <a:pt x="187" y="162"/>
                    </a:lnTo>
                    <a:lnTo>
                      <a:pt x="187" y="162"/>
                    </a:lnTo>
                    <a:lnTo>
                      <a:pt x="187" y="162"/>
                    </a:lnTo>
                    <a:lnTo>
                      <a:pt x="188" y="162"/>
                    </a:lnTo>
                    <a:lnTo>
                      <a:pt x="188" y="162"/>
                    </a:lnTo>
                    <a:lnTo>
                      <a:pt x="188" y="162"/>
                    </a:lnTo>
                    <a:lnTo>
                      <a:pt x="188" y="162"/>
                    </a:lnTo>
                    <a:lnTo>
                      <a:pt x="188" y="160"/>
                    </a:lnTo>
                    <a:lnTo>
                      <a:pt x="188" y="162"/>
                    </a:lnTo>
                    <a:lnTo>
                      <a:pt x="188" y="162"/>
                    </a:lnTo>
                    <a:lnTo>
                      <a:pt x="188" y="162"/>
                    </a:lnTo>
                    <a:close/>
                    <a:moveTo>
                      <a:pt x="75" y="221"/>
                    </a:moveTo>
                    <a:lnTo>
                      <a:pt x="75" y="219"/>
                    </a:lnTo>
                    <a:lnTo>
                      <a:pt x="75" y="219"/>
                    </a:lnTo>
                    <a:lnTo>
                      <a:pt x="75" y="219"/>
                    </a:lnTo>
                    <a:lnTo>
                      <a:pt x="75" y="219"/>
                    </a:lnTo>
                    <a:lnTo>
                      <a:pt x="75" y="219"/>
                    </a:lnTo>
                    <a:lnTo>
                      <a:pt x="75" y="219"/>
                    </a:lnTo>
                    <a:lnTo>
                      <a:pt x="73" y="221"/>
                    </a:lnTo>
                    <a:lnTo>
                      <a:pt x="75" y="221"/>
                    </a:lnTo>
                    <a:close/>
                    <a:moveTo>
                      <a:pt x="48" y="237"/>
                    </a:moveTo>
                    <a:lnTo>
                      <a:pt x="48" y="237"/>
                    </a:lnTo>
                    <a:lnTo>
                      <a:pt x="48" y="237"/>
                    </a:lnTo>
                    <a:lnTo>
                      <a:pt x="48" y="237"/>
                    </a:lnTo>
                    <a:lnTo>
                      <a:pt x="48" y="237"/>
                    </a:lnTo>
                    <a:lnTo>
                      <a:pt x="48" y="237"/>
                    </a:lnTo>
                    <a:lnTo>
                      <a:pt x="48" y="237"/>
                    </a:lnTo>
                    <a:lnTo>
                      <a:pt x="48" y="235"/>
                    </a:lnTo>
                    <a:lnTo>
                      <a:pt x="48" y="235"/>
                    </a:lnTo>
                    <a:lnTo>
                      <a:pt x="48" y="235"/>
                    </a:lnTo>
                    <a:lnTo>
                      <a:pt x="48" y="235"/>
                    </a:lnTo>
                    <a:lnTo>
                      <a:pt x="48" y="235"/>
                    </a:lnTo>
                    <a:lnTo>
                      <a:pt x="48" y="235"/>
                    </a:lnTo>
                    <a:lnTo>
                      <a:pt x="48" y="235"/>
                    </a:lnTo>
                    <a:lnTo>
                      <a:pt x="48" y="237"/>
                    </a:lnTo>
                    <a:lnTo>
                      <a:pt x="48" y="237"/>
                    </a:lnTo>
                    <a:close/>
                    <a:moveTo>
                      <a:pt x="12" y="254"/>
                    </a:moveTo>
                    <a:lnTo>
                      <a:pt x="12" y="254"/>
                    </a:lnTo>
                    <a:lnTo>
                      <a:pt x="12" y="254"/>
                    </a:lnTo>
                    <a:lnTo>
                      <a:pt x="12" y="252"/>
                    </a:lnTo>
                    <a:lnTo>
                      <a:pt x="12" y="252"/>
                    </a:lnTo>
                    <a:lnTo>
                      <a:pt x="12" y="252"/>
                    </a:lnTo>
                    <a:lnTo>
                      <a:pt x="12" y="254"/>
                    </a:lnTo>
                    <a:lnTo>
                      <a:pt x="12" y="254"/>
                    </a:lnTo>
                    <a:lnTo>
                      <a:pt x="12" y="254"/>
                    </a:lnTo>
                    <a:lnTo>
                      <a:pt x="12" y="254"/>
                    </a:lnTo>
                    <a:lnTo>
                      <a:pt x="12" y="254"/>
                    </a:lnTo>
                    <a:close/>
                    <a:moveTo>
                      <a:pt x="10" y="252"/>
                    </a:moveTo>
                    <a:lnTo>
                      <a:pt x="10" y="252"/>
                    </a:lnTo>
                    <a:lnTo>
                      <a:pt x="10" y="252"/>
                    </a:lnTo>
                    <a:lnTo>
                      <a:pt x="8" y="252"/>
                    </a:lnTo>
                    <a:lnTo>
                      <a:pt x="8" y="252"/>
                    </a:lnTo>
                    <a:lnTo>
                      <a:pt x="8" y="252"/>
                    </a:lnTo>
                    <a:lnTo>
                      <a:pt x="8" y="252"/>
                    </a:lnTo>
                    <a:lnTo>
                      <a:pt x="10" y="252"/>
                    </a:lnTo>
                    <a:lnTo>
                      <a:pt x="10" y="252"/>
                    </a:lnTo>
                    <a:close/>
                    <a:moveTo>
                      <a:pt x="6" y="252"/>
                    </a:moveTo>
                    <a:lnTo>
                      <a:pt x="6" y="252"/>
                    </a:lnTo>
                    <a:lnTo>
                      <a:pt x="6" y="252"/>
                    </a:lnTo>
                    <a:lnTo>
                      <a:pt x="4" y="252"/>
                    </a:lnTo>
                    <a:lnTo>
                      <a:pt x="4" y="252"/>
                    </a:lnTo>
                    <a:lnTo>
                      <a:pt x="4" y="252"/>
                    </a:lnTo>
                    <a:lnTo>
                      <a:pt x="4" y="252"/>
                    </a:lnTo>
                    <a:lnTo>
                      <a:pt x="4" y="252"/>
                    </a:lnTo>
                    <a:lnTo>
                      <a:pt x="4" y="252"/>
                    </a:lnTo>
                    <a:lnTo>
                      <a:pt x="4" y="252"/>
                    </a:lnTo>
                    <a:lnTo>
                      <a:pt x="6" y="252"/>
                    </a:lnTo>
                    <a:close/>
                    <a:moveTo>
                      <a:pt x="4" y="250"/>
                    </a:moveTo>
                    <a:lnTo>
                      <a:pt x="4" y="250"/>
                    </a:lnTo>
                    <a:lnTo>
                      <a:pt x="4" y="250"/>
                    </a:lnTo>
                    <a:lnTo>
                      <a:pt x="4" y="250"/>
                    </a:lnTo>
                    <a:lnTo>
                      <a:pt x="4" y="250"/>
                    </a:lnTo>
                    <a:lnTo>
                      <a:pt x="4" y="250"/>
                    </a:lnTo>
                    <a:lnTo>
                      <a:pt x="4" y="250"/>
                    </a:lnTo>
                    <a:close/>
                    <a:moveTo>
                      <a:pt x="2" y="250"/>
                    </a:move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close/>
                    <a:moveTo>
                      <a:pt x="2" y="250"/>
                    </a:move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close/>
                    <a:moveTo>
                      <a:pt x="0" y="250"/>
                    </a:move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close/>
                    <a:moveTo>
                      <a:pt x="0" y="250"/>
                    </a:move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2" y="250"/>
                    </a:lnTo>
                    <a:lnTo>
                      <a:pt x="2" y="248"/>
                    </a:lnTo>
                    <a:lnTo>
                      <a:pt x="2" y="248"/>
                    </a:lnTo>
                    <a:lnTo>
                      <a:pt x="2" y="248"/>
                    </a:lnTo>
                    <a:lnTo>
                      <a:pt x="2" y="248"/>
                    </a:lnTo>
                    <a:lnTo>
                      <a:pt x="2" y="248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4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2" y="250"/>
                    </a:lnTo>
                    <a:lnTo>
                      <a:pt x="0" y="250"/>
                    </a:lnTo>
                    <a:lnTo>
                      <a:pt x="2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close/>
                    <a:moveTo>
                      <a:pt x="0" y="250"/>
                    </a:move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50"/>
                    </a:lnTo>
                    <a:close/>
                    <a:moveTo>
                      <a:pt x="2" y="248"/>
                    </a:moveTo>
                    <a:lnTo>
                      <a:pt x="2" y="248"/>
                    </a:lnTo>
                    <a:lnTo>
                      <a:pt x="0" y="250"/>
                    </a:lnTo>
                    <a:lnTo>
                      <a:pt x="0" y="250"/>
                    </a:lnTo>
                    <a:lnTo>
                      <a:pt x="0" y="248"/>
                    </a:lnTo>
                    <a:lnTo>
                      <a:pt x="0" y="248"/>
                    </a:lnTo>
                    <a:lnTo>
                      <a:pt x="0" y="248"/>
                    </a:lnTo>
                    <a:lnTo>
                      <a:pt x="0" y="248"/>
                    </a:lnTo>
                    <a:lnTo>
                      <a:pt x="0" y="248"/>
                    </a:lnTo>
                    <a:lnTo>
                      <a:pt x="2" y="248"/>
                    </a:lnTo>
                    <a:close/>
                    <a:moveTo>
                      <a:pt x="140" y="156"/>
                    </a:moveTo>
                    <a:lnTo>
                      <a:pt x="140" y="156"/>
                    </a:lnTo>
                    <a:lnTo>
                      <a:pt x="140" y="156"/>
                    </a:lnTo>
                    <a:lnTo>
                      <a:pt x="140" y="154"/>
                    </a:lnTo>
                    <a:lnTo>
                      <a:pt x="139" y="154"/>
                    </a:lnTo>
                    <a:lnTo>
                      <a:pt x="139" y="154"/>
                    </a:lnTo>
                    <a:lnTo>
                      <a:pt x="139" y="154"/>
                    </a:lnTo>
                    <a:lnTo>
                      <a:pt x="139" y="152"/>
                    </a:lnTo>
                    <a:lnTo>
                      <a:pt x="139" y="152"/>
                    </a:lnTo>
                    <a:lnTo>
                      <a:pt x="139" y="152"/>
                    </a:lnTo>
                    <a:lnTo>
                      <a:pt x="139" y="152"/>
                    </a:lnTo>
                    <a:lnTo>
                      <a:pt x="139" y="152"/>
                    </a:lnTo>
                    <a:lnTo>
                      <a:pt x="139" y="152"/>
                    </a:lnTo>
                    <a:lnTo>
                      <a:pt x="140" y="154"/>
                    </a:lnTo>
                    <a:lnTo>
                      <a:pt x="140" y="154"/>
                    </a:lnTo>
                    <a:lnTo>
                      <a:pt x="140" y="156"/>
                    </a:lnTo>
                    <a:close/>
                    <a:moveTo>
                      <a:pt x="135" y="144"/>
                    </a:moveTo>
                    <a:lnTo>
                      <a:pt x="135" y="144"/>
                    </a:lnTo>
                    <a:lnTo>
                      <a:pt x="135" y="144"/>
                    </a:lnTo>
                    <a:lnTo>
                      <a:pt x="135" y="144"/>
                    </a:lnTo>
                    <a:lnTo>
                      <a:pt x="135" y="144"/>
                    </a:lnTo>
                    <a:lnTo>
                      <a:pt x="135" y="144"/>
                    </a:lnTo>
                    <a:lnTo>
                      <a:pt x="135" y="144"/>
                    </a:lnTo>
                    <a:lnTo>
                      <a:pt x="135" y="144"/>
                    </a:lnTo>
                    <a:lnTo>
                      <a:pt x="135" y="144"/>
                    </a:lnTo>
                    <a:lnTo>
                      <a:pt x="135" y="144"/>
                    </a:lnTo>
                    <a:lnTo>
                      <a:pt x="135" y="144"/>
                    </a:lnTo>
                    <a:close/>
                    <a:moveTo>
                      <a:pt x="229" y="0"/>
                    </a:moveTo>
                    <a:lnTo>
                      <a:pt x="231" y="0"/>
                    </a:lnTo>
                    <a:lnTo>
                      <a:pt x="231" y="2"/>
                    </a:lnTo>
                    <a:lnTo>
                      <a:pt x="231" y="2"/>
                    </a:lnTo>
                    <a:lnTo>
                      <a:pt x="231" y="2"/>
                    </a:lnTo>
                    <a:lnTo>
                      <a:pt x="229" y="2"/>
                    </a:lnTo>
                    <a:lnTo>
                      <a:pt x="229" y="2"/>
                    </a:lnTo>
                    <a:lnTo>
                      <a:pt x="229" y="2"/>
                    </a:lnTo>
                    <a:lnTo>
                      <a:pt x="229" y="0"/>
                    </a:lnTo>
                    <a:lnTo>
                      <a:pt x="229" y="0"/>
                    </a:lnTo>
                    <a:lnTo>
                      <a:pt x="229" y="0"/>
                    </a:lnTo>
                    <a:lnTo>
                      <a:pt x="229" y="0"/>
                    </a:lnTo>
                    <a:lnTo>
                      <a:pt x="229" y="0"/>
                    </a:lnTo>
                    <a:lnTo>
                      <a:pt x="229" y="0"/>
                    </a:lnTo>
                    <a:lnTo>
                      <a:pt x="229" y="0"/>
                    </a:lnTo>
                    <a:lnTo>
                      <a:pt x="229" y="0"/>
                    </a:lnTo>
                    <a:lnTo>
                      <a:pt x="229" y="0"/>
                    </a:lnTo>
                    <a:lnTo>
                      <a:pt x="229" y="0"/>
                    </a:lnTo>
                    <a:lnTo>
                      <a:pt x="229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63">
                <a:extLst>
                  <a:ext uri="{FF2B5EF4-FFF2-40B4-BE49-F238E27FC236}">
                    <a16:creationId xmlns="" xmlns:a16="http://schemas.microsoft.com/office/drawing/2014/main" id="{EE71C896-CF7A-4332-B206-4C4F960B52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10438" y="2792413"/>
                <a:ext cx="384175" cy="444500"/>
              </a:xfrm>
              <a:custGeom>
                <a:avLst/>
                <a:gdLst>
                  <a:gd name="T0" fmla="*/ 98 w 242"/>
                  <a:gd name="T1" fmla="*/ 252 h 280"/>
                  <a:gd name="T2" fmla="*/ 96 w 242"/>
                  <a:gd name="T3" fmla="*/ 252 h 280"/>
                  <a:gd name="T4" fmla="*/ 98 w 242"/>
                  <a:gd name="T5" fmla="*/ 252 h 280"/>
                  <a:gd name="T6" fmla="*/ 183 w 242"/>
                  <a:gd name="T7" fmla="*/ 188 h 280"/>
                  <a:gd name="T8" fmla="*/ 183 w 242"/>
                  <a:gd name="T9" fmla="*/ 190 h 280"/>
                  <a:gd name="T10" fmla="*/ 183 w 242"/>
                  <a:gd name="T11" fmla="*/ 188 h 280"/>
                  <a:gd name="T12" fmla="*/ 156 w 242"/>
                  <a:gd name="T13" fmla="*/ 192 h 280"/>
                  <a:gd name="T14" fmla="*/ 156 w 242"/>
                  <a:gd name="T15" fmla="*/ 194 h 280"/>
                  <a:gd name="T16" fmla="*/ 156 w 242"/>
                  <a:gd name="T17" fmla="*/ 192 h 280"/>
                  <a:gd name="T18" fmla="*/ 15 w 242"/>
                  <a:gd name="T19" fmla="*/ 280 h 280"/>
                  <a:gd name="T20" fmla="*/ 14 w 242"/>
                  <a:gd name="T21" fmla="*/ 280 h 280"/>
                  <a:gd name="T22" fmla="*/ 15 w 242"/>
                  <a:gd name="T23" fmla="*/ 280 h 280"/>
                  <a:gd name="T24" fmla="*/ 64 w 242"/>
                  <a:gd name="T25" fmla="*/ 246 h 280"/>
                  <a:gd name="T26" fmla="*/ 64 w 242"/>
                  <a:gd name="T27" fmla="*/ 248 h 280"/>
                  <a:gd name="T28" fmla="*/ 64 w 242"/>
                  <a:gd name="T29" fmla="*/ 246 h 280"/>
                  <a:gd name="T30" fmla="*/ 71 w 242"/>
                  <a:gd name="T31" fmla="*/ 236 h 280"/>
                  <a:gd name="T32" fmla="*/ 73 w 242"/>
                  <a:gd name="T33" fmla="*/ 236 h 280"/>
                  <a:gd name="T34" fmla="*/ 71 w 242"/>
                  <a:gd name="T35" fmla="*/ 236 h 280"/>
                  <a:gd name="T36" fmla="*/ 142 w 242"/>
                  <a:gd name="T37" fmla="*/ 184 h 280"/>
                  <a:gd name="T38" fmla="*/ 140 w 242"/>
                  <a:gd name="T39" fmla="*/ 184 h 280"/>
                  <a:gd name="T40" fmla="*/ 142 w 242"/>
                  <a:gd name="T41" fmla="*/ 184 h 280"/>
                  <a:gd name="T42" fmla="*/ 10 w 242"/>
                  <a:gd name="T43" fmla="*/ 269 h 280"/>
                  <a:gd name="T44" fmla="*/ 12 w 242"/>
                  <a:gd name="T45" fmla="*/ 269 h 280"/>
                  <a:gd name="T46" fmla="*/ 10 w 242"/>
                  <a:gd name="T47" fmla="*/ 269 h 280"/>
                  <a:gd name="T48" fmla="*/ 15 w 242"/>
                  <a:gd name="T49" fmla="*/ 259 h 280"/>
                  <a:gd name="T50" fmla="*/ 15 w 242"/>
                  <a:gd name="T51" fmla="*/ 257 h 280"/>
                  <a:gd name="T52" fmla="*/ 15 w 242"/>
                  <a:gd name="T53" fmla="*/ 259 h 280"/>
                  <a:gd name="T54" fmla="*/ 14 w 242"/>
                  <a:gd name="T55" fmla="*/ 257 h 280"/>
                  <a:gd name="T56" fmla="*/ 14 w 242"/>
                  <a:gd name="T57" fmla="*/ 259 h 280"/>
                  <a:gd name="T58" fmla="*/ 14 w 242"/>
                  <a:gd name="T59" fmla="*/ 257 h 280"/>
                  <a:gd name="T60" fmla="*/ 2 w 242"/>
                  <a:gd name="T61" fmla="*/ 265 h 280"/>
                  <a:gd name="T62" fmla="*/ 0 w 242"/>
                  <a:gd name="T63" fmla="*/ 265 h 280"/>
                  <a:gd name="T64" fmla="*/ 2 w 242"/>
                  <a:gd name="T65" fmla="*/ 265 h 280"/>
                  <a:gd name="T66" fmla="*/ 138 w 242"/>
                  <a:gd name="T67" fmla="*/ 167 h 280"/>
                  <a:gd name="T68" fmla="*/ 137 w 242"/>
                  <a:gd name="T69" fmla="*/ 167 h 280"/>
                  <a:gd name="T70" fmla="*/ 138 w 242"/>
                  <a:gd name="T71" fmla="*/ 165 h 280"/>
                  <a:gd name="T72" fmla="*/ 138 w 242"/>
                  <a:gd name="T73" fmla="*/ 167 h 280"/>
                  <a:gd name="T74" fmla="*/ 135 w 242"/>
                  <a:gd name="T75" fmla="*/ 161 h 280"/>
                  <a:gd name="T76" fmla="*/ 135 w 242"/>
                  <a:gd name="T77" fmla="*/ 159 h 280"/>
                  <a:gd name="T78" fmla="*/ 135 w 242"/>
                  <a:gd name="T79" fmla="*/ 161 h 280"/>
                  <a:gd name="T80" fmla="*/ 135 w 242"/>
                  <a:gd name="T81" fmla="*/ 159 h 280"/>
                  <a:gd name="T82" fmla="*/ 133 w 242"/>
                  <a:gd name="T83" fmla="*/ 159 h 280"/>
                  <a:gd name="T84" fmla="*/ 133 w 242"/>
                  <a:gd name="T85" fmla="*/ 157 h 280"/>
                  <a:gd name="T86" fmla="*/ 135 w 242"/>
                  <a:gd name="T87" fmla="*/ 159 h 280"/>
                  <a:gd name="T88" fmla="*/ 133 w 242"/>
                  <a:gd name="T89" fmla="*/ 157 h 280"/>
                  <a:gd name="T90" fmla="*/ 133 w 242"/>
                  <a:gd name="T91" fmla="*/ 159 h 280"/>
                  <a:gd name="T92" fmla="*/ 133 w 242"/>
                  <a:gd name="T93" fmla="*/ 157 h 280"/>
                  <a:gd name="T94" fmla="*/ 133 w 242"/>
                  <a:gd name="T95" fmla="*/ 159 h 280"/>
                  <a:gd name="T96" fmla="*/ 133 w 242"/>
                  <a:gd name="T97" fmla="*/ 157 h 280"/>
                  <a:gd name="T98" fmla="*/ 133 w 242"/>
                  <a:gd name="T99" fmla="*/ 159 h 280"/>
                  <a:gd name="T100" fmla="*/ 133 w 242"/>
                  <a:gd name="T101" fmla="*/ 157 h 280"/>
                  <a:gd name="T102" fmla="*/ 131 w 242"/>
                  <a:gd name="T103" fmla="*/ 142 h 280"/>
                  <a:gd name="T104" fmla="*/ 131 w 242"/>
                  <a:gd name="T105" fmla="*/ 144 h 280"/>
                  <a:gd name="T106" fmla="*/ 131 w 242"/>
                  <a:gd name="T107" fmla="*/ 142 h 280"/>
                  <a:gd name="T108" fmla="*/ 242 w 242"/>
                  <a:gd name="T109" fmla="*/ 15 h 280"/>
                  <a:gd name="T110" fmla="*/ 242 w 242"/>
                  <a:gd name="T111" fmla="*/ 17 h 280"/>
                  <a:gd name="T112" fmla="*/ 242 w 242"/>
                  <a:gd name="T113" fmla="*/ 15 h 280"/>
                  <a:gd name="T114" fmla="*/ 236 w 242"/>
                  <a:gd name="T115" fmla="*/ 4 h 280"/>
                  <a:gd name="T116" fmla="*/ 236 w 242"/>
                  <a:gd name="T117" fmla="*/ 6 h 280"/>
                  <a:gd name="T118" fmla="*/ 236 w 242"/>
                  <a:gd name="T119" fmla="*/ 4 h 280"/>
                  <a:gd name="T120" fmla="*/ 211 w 242"/>
                  <a:gd name="T121" fmla="*/ 2 h 280"/>
                  <a:gd name="T122" fmla="*/ 211 w 242"/>
                  <a:gd name="T123" fmla="*/ 0 h 280"/>
                  <a:gd name="T124" fmla="*/ 211 w 242"/>
                  <a:gd name="T125" fmla="*/ 2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42" h="280">
                    <a:moveTo>
                      <a:pt x="98" y="252"/>
                    </a:moveTo>
                    <a:lnTo>
                      <a:pt x="96" y="252"/>
                    </a:lnTo>
                    <a:lnTo>
                      <a:pt x="98" y="252"/>
                    </a:lnTo>
                    <a:close/>
                    <a:moveTo>
                      <a:pt x="183" y="188"/>
                    </a:moveTo>
                    <a:lnTo>
                      <a:pt x="183" y="190"/>
                    </a:lnTo>
                    <a:lnTo>
                      <a:pt x="183" y="188"/>
                    </a:lnTo>
                    <a:close/>
                    <a:moveTo>
                      <a:pt x="156" y="192"/>
                    </a:moveTo>
                    <a:lnTo>
                      <a:pt x="156" y="194"/>
                    </a:lnTo>
                    <a:lnTo>
                      <a:pt x="156" y="192"/>
                    </a:lnTo>
                    <a:close/>
                    <a:moveTo>
                      <a:pt x="15" y="280"/>
                    </a:moveTo>
                    <a:lnTo>
                      <a:pt x="14" y="280"/>
                    </a:lnTo>
                    <a:lnTo>
                      <a:pt x="15" y="280"/>
                    </a:lnTo>
                    <a:close/>
                    <a:moveTo>
                      <a:pt x="64" y="246"/>
                    </a:moveTo>
                    <a:lnTo>
                      <a:pt x="64" y="248"/>
                    </a:lnTo>
                    <a:lnTo>
                      <a:pt x="64" y="246"/>
                    </a:lnTo>
                    <a:close/>
                    <a:moveTo>
                      <a:pt x="71" y="236"/>
                    </a:moveTo>
                    <a:lnTo>
                      <a:pt x="73" y="236"/>
                    </a:lnTo>
                    <a:lnTo>
                      <a:pt x="71" y="236"/>
                    </a:lnTo>
                    <a:close/>
                    <a:moveTo>
                      <a:pt x="142" y="184"/>
                    </a:moveTo>
                    <a:lnTo>
                      <a:pt x="140" y="184"/>
                    </a:lnTo>
                    <a:lnTo>
                      <a:pt x="142" y="184"/>
                    </a:lnTo>
                    <a:close/>
                    <a:moveTo>
                      <a:pt x="10" y="269"/>
                    </a:moveTo>
                    <a:lnTo>
                      <a:pt x="12" y="269"/>
                    </a:lnTo>
                    <a:lnTo>
                      <a:pt x="10" y="269"/>
                    </a:lnTo>
                    <a:close/>
                    <a:moveTo>
                      <a:pt x="15" y="259"/>
                    </a:moveTo>
                    <a:lnTo>
                      <a:pt x="15" y="257"/>
                    </a:lnTo>
                    <a:lnTo>
                      <a:pt x="15" y="259"/>
                    </a:lnTo>
                    <a:close/>
                    <a:moveTo>
                      <a:pt x="14" y="257"/>
                    </a:moveTo>
                    <a:lnTo>
                      <a:pt x="14" y="259"/>
                    </a:lnTo>
                    <a:lnTo>
                      <a:pt x="14" y="257"/>
                    </a:lnTo>
                    <a:close/>
                    <a:moveTo>
                      <a:pt x="2" y="265"/>
                    </a:moveTo>
                    <a:lnTo>
                      <a:pt x="0" y="265"/>
                    </a:lnTo>
                    <a:lnTo>
                      <a:pt x="2" y="265"/>
                    </a:lnTo>
                    <a:close/>
                    <a:moveTo>
                      <a:pt x="138" y="167"/>
                    </a:moveTo>
                    <a:lnTo>
                      <a:pt x="137" y="167"/>
                    </a:lnTo>
                    <a:lnTo>
                      <a:pt x="138" y="165"/>
                    </a:lnTo>
                    <a:lnTo>
                      <a:pt x="138" y="167"/>
                    </a:lnTo>
                    <a:close/>
                    <a:moveTo>
                      <a:pt x="135" y="161"/>
                    </a:moveTo>
                    <a:lnTo>
                      <a:pt x="135" y="159"/>
                    </a:lnTo>
                    <a:lnTo>
                      <a:pt x="135" y="161"/>
                    </a:lnTo>
                    <a:close/>
                    <a:moveTo>
                      <a:pt x="135" y="159"/>
                    </a:moveTo>
                    <a:lnTo>
                      <a:pt x="133" y="159"/>
                    </a:lnTo>
                    <a:lnTo>
                      <a:pt x="133" y="157"/>
                    </a:lnTo>
                    <a:lnTo>
                      <a:pt x="135" y="159"/>
                    </a:lnTo>
                    <a:close/>
                    <a:moveTo>
                      <a:pt x="133" y="157"/>
                    </a:moveTo>
                    <a:lnTo>
                      <a:pt x="133" y="159"/>
                    </a:lnTo>
                    <a:lnTo>
                      <a:pt x="133" y="157"/>
                    </a:lnTo>
                    <a:lnTo>
                      <a:pt x="133" y="159"/>
                    </a:lnTo>
                    <a:lnTo>
                      <a:pt x="133" y="157"/>
                    </a:lnTo>
                    <a:lnTo>
                      <a:pt x="133" y="159"/>
                    </a:lnTo>
                    <a:lnTo>
                      <a:pt x="133" y="157"/>
                    </a:lnTo>
                    <a:close/>
                    <a:moveTo>
                      <a:pt x="131" y="142"/>
                    </a:moveTo>
                    <a:lnTo>
                      <a:pt x="131" y="144"/>
                    </a:lnTo>
                    <a:lnTo>
                      <a:pt x="131" y="142"/>
                    </a:lnTo>
                    <a:close/>
                    <a:moveTo>
                      <a:pt x="242" y="15"/>
                    </a:moveTo>
                    <a:lnTo>
                      <a:pt x="242" y="17"/>
                    </a:lnTo>
                    <a:lnTo>
                      <a:pt x="242" y="15"/>
                    </a:lnTo>
                    <a:close/>
                    <a:moveTo>
                      <a:pt x="236" y="4"/>
                    </a:moveTo>
                    <a:lnTo>
                      <a:pt x="236" y="6"/>
                    </a:lnTo>
                    <a:lnTo>
                      <a:pt x="236" y="4"/>
                    </a:lnTo>
                    <a:close/>
                    <a:moveTo>
                      <a:pt x="211" y="2"/>
                    </a:moveTo>
                    <a:lnTo>
                      <a:pt x="211" y="0"/>
                    </a:lnTo>
                    <a:lnTo>
                      <a:pt x="211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64">
                <a:extLst>
                  <a:ext uri="{FF2B5EF4-FFF2-40B4-BE49-F238E27FC236}">
                    <a16:creationId xmlns="" xmlns:a16="http://schemas.microsoft.com/office/drawing/2014/main" id="{184CF921-7AD6-437A-B6EC-374AB4E1D9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84363" y="3354388"/>
                <a:ext cx="234950" cy="295275"/>
              </a:xfrm>
              <a:custGeom>
                <a:avLst/>
                <a:gdLst>
                  <a:gd name="T0" fmla="*/ 135 w 148"/>
                  <a:gd name="T1" fmla="*/ 46 h 186"/>
                  <a:gd name="T2" fmla="*/ 127 w 148"/>
                  <a:gd name="T3" fmla="*/ 59 h 186"/>
                  <a:gd name="T4" fmla="*/ 123 w 148"/>
                  <a:gd name="T5" fmla="*/ 73 h 186"/>
                  <a:gd name="T6" fmla="*/ 119 w 148"/>
                  <a:gd name="T7" fmla="*/ 82 h 186"/>
                  <a:gd name="T8" fmla="*/ 129 w 148"/>
                  <a:gd name="T9" fmla="*/ 96 h 186"/>
                  <a:gd name="T10" fmla="*/ 127 w 148"/>
                  <a:gd name="T11" fmla="*/ 100 h 186"/>
                  <a:gd name="T12" fmla="*/ 133 w 148"/>
                  <a:gd name="T13" fmla="*/ 107 h 186"/>
                  <a:gd name="T14" fmla="*/ 137 w 148"/>
                  <a:gd name="T15" fmla="*/ 111 h 186"/>
                  <a:gd name="T16" fmla="*/ 146 w 148"/>
                  <a:gd name="T17" fmla="*/ 119 h 186"/>
                  <a:gd name="T18" fmla="*/ 144 w 148"/>
                  <a:gd name="T19" fmla="*/ 134 h 186"/>
                  <a:gd name="T20" fmla="*/ 141 w 148"/>
                  <a:gd name="T21" fmla="*/ 148 h 186"/>
                  <a:gd name="T22" fmla="*/ 125 w 148"/>
                  <a:gd name="T23" fmla="*/ 151 h 186"/>
                  <a:gd name="T24" fmla="*/ 116 w 148"/>
                  <a:gd name="T25" fmla="*/ 159 h 186"/>
                  <a:gd name="T26" fmla="*/ 104 w 148"/>
                  <a:gd name="T27" fmla="*/ 163 h 186"/>
                  <a:gd name="T28" fmla="*/ 93 w 148"/>
                  <a:gd name="T29" fmla="*/ 169 h 186"/>
                  <a:gd name="T30" fmla="*/ 81 w 148"/>
                  <a:gd name="T31" fmla="*/ 169 h 186"/>
                  <a:gd name="T32" fmla="*/ 73 w 148"/>
                  <a:gd name="T33" fmla="*/ 167 h 186"/>
                  <a:gd name="T34" fmla="*/ 70 w 148"/>
                  <a:gd name="T35" fmla="*/ 176 h 186"/>
                  <a:gd name="T36" fmla="*/ 60 w 148"/>
                  <a:gd name="T37" fmla="*/ 180 h 186"/>
                  <a:gd name="T38" fmla="*/ 54 w 148"/>
                  <a:gd name="T39" fmla="*/ 176 h 186"/>
                  <a:gd name="T40" fmla="*/ 56 w 148"/>
                  <a:gd name="T41" fmla="*/ 169 h 186"/>
                  <a:gd name="T42" fmla="*/ 66 w 148"/>
                  <a:gd name="T43" fmla="*/ 161 h 186"/>
                  <a:gd name="T44" fmla="*/ 58 w 148"/>
                  <a:gd name="T45" fmla="*/ 151 h 186"/>
                  <a:gd name="T46" fmla="*/ 58 w 148"/>
                  <a:gd name="T47" fmla="*/ 142 h 186"/>
                  <a:gd name="T48" fmla="*/ 46 w 148"/>
                  <a:gd name="T49" fmla="*/ 140 h 186"/>
                  <a:gd name="T50" fmla="*/ 43 w 148"/>
                  <a:gd name="T51" fmla="*/ 128 h 186"/>
                  <a:gd name="T52" fmla="*/ 39 w 148"/>
                  <a:gd name="T53" fmla="*/ 119 h 186"/>
                  <a:gd name="T54" fmla="*/ 45 w 148"/>
                  <a:gd name="T55" fmla="*/ 109 h 186"/>
                  <a:gd name="T56" fmla="*/ 43 w 148"/>
                  <a:gd name="T57" fmla="*/ 96 h 186"/>
                  <a:gd name="T58" fmla="*/ 37 w 148"/>
                  <a:gd name="T59" fmla="*/ 90 h 186"/>
                  <a:gd name="T60" fmla="*/ 31 w 148"/>
                  <a:gd name="T61" fmla="*/ 84 h 186"/>
                  <a:gd name="T62" fmla="*/ 20 w 148"/>
                  <a:gd name="T63" fmla="*/ 84 h 186"/>
                  <a:gd name="T64" fmla="*/ 14 w 148"/>
                  <a:gd name="T65" fmla="*/ 71 h 186"/>
                  <a:gd name="T66" fmla="*/ 0 w 148"/>
                  <a:gd name="T67" fmla="*/ 63 h 186"/>
                  <a:gd name="T68" fmla="*/ 10 w 148"/>
                  <a:gd name="T69" fmla="*/ 50 h 186"/>
                  <a:gd name="T70" fmla="*/ 18 w 148"/>
                  <a:gd name="T71" fmla="*/ 40 h 186"/>
                  <a:gd name="T72" fmla="*/ 23 w 148"/>
                  <a:gd name="T73" fmla="*/ 25 h 186"/>
                  <a:gd name="T74" fmla="*/ 35 w 148"/>
                  <a:gd name="T75" fmla="*/ 19 h 186"/>
                  <a:gd name="T76" fmla="*/ 45 w 148"/>
                  <a:gd name="T77" fmla="*/ 13 h 186"/>
                  <a:gd name="T78" fmla="*/ 50 w 148"/>
                  <a:gd name="T79" fmla="*/ 1 h 186"/>
                  <a:gd name="T80" fmla="*/ 56 w 148"/>
                  <a:gd name="T81" fmla="*/ 5 h 186"/>
                  <a:gd name="T82" fmla="*/ 64 w 148"/>
                  <a:gd name="T83" fmla="*/ 15 h 186"/>
                  <a:gd name="T84" fmla="*/ 75 w 148"/>
                  <a:gd name="T85" fmla="*/ 17 h 186"/>
                  <a:gd name="T86" fmla="*/ 94 w 148"/>
                  <a:gd name="T87" fmla="*/ 19 h 186"/>
                  <a:gd name="T88" fmla="*/ 102 w 148"/>
                  <a:gd name="T89" fmla="*/ 25 h 186"/>
                  <a:gd name="T90" fmla="*/ 110 w 148"/>
                  <a:gd name="T91" fmla="*/ 15 h 186"/>
                  <a:gd name="T92" fmla="*/ 121 w 148"/>
                  <a:gd name="T93" fmla="*/ 15 h 186"/>
                  <a:gd name="T94" fmla="*/ 135 w 148"/>
                  <a:gd name="T95" fmla="*/ 21 h 186"/>
                  <a:gd name="T96" fmla="*/ 139 w 148"/>
                  <a:gd name="T97" fmla="*/ 34 h 186"/>
                  <a:gd name="T98" fmla="*/ 81 w 148"/>
                  <a:gd name="T99" fmla="*/ 61 h 186"/>
                  <a:gd name="T100" fmla="*/ 81 w 148"/>
                  <a:gd name="T101" fmla="*/ 65 h 186"/>
                  <a:gd name="T102" fmla="*/ 77 w 148"/>
                  <a:gd name="T103" fmla="*/ 73 h 186"/>
                  <a:gd name="T104" fmla="*/ 71 w 148"/>
                  <a:gd name="T105" fmla="*/ 82 h 186"/>
                  <a:gd name="T106" fmla="*/ 71 w 148"/>
                  <a:gd name="T107" fmla="*/ 94 h 186"/>
                  <a:gd name="T108" fmla="*/ 89 w 148"/>
                  <a:gd name="T109" fmla="*/ 88 h 186"/>
                  <a:gd name="T110" fmla="*/ 91 w 148"/>
                  <a:gd name="T111" fmla="*/ 75 h 186"/>
                  <a:gd name="T112" fmla="*/ 83 w 148"/>
                  <a:gd name="T113" fmla="*/ 65 h 186"/>
                  <a:gd name="T114" fmla="*/ 68 w 148"/>
                  <a:gd name="T115" fmla="*/ 82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48" h="186">
                    <a:moveTo>
                      <a:pt x="139" y="32"/>
                    </a:moveTo>
                    <a:lnTo>
                      <a:pt x="139" y="34"/>
                    </a:lnTo>
                    <a:lnTo>
                      <a:pt x="139" y="36"/>
                    </a:lnTo>
                    <a:lnTo>
                      <a:pt x="137" y="36"/>
                    </a:lnTo>
                    <a:lnTo>
                      <a:pt x="137" y="38"/>
                    </a:lnTo>
                    <a:lnTo>
                      <a:pt x="137" y="40"/>
                    </a:lnTo>
                    <a:lnTo>
                      <a:pt x="137" y="42"/>
                    </a:lnTo>
                    <a:lnTo>
                      <a:pt x="135" y="42"/>
                    </a:lnTo>
                    <a:lnTo>
                      <a:pt x="137" y="42"/>
                    </a:lnTo>
                    <a:lnTo>
                      <a:pt x="137" y="44"/>
                    </a:lnTo>
                    <a:lnTo>
                      <a:pt x="135" y="44"/>
                    </a:lnTo>
                    <a:lnTo>
                      <a:pt x="135" y="46"/>
                    </a:lnTo>
                    <a:lnTo>
                      <a:pt x="133" y="46"/>
                    </a:lnTo>
                    <a:lnTo>
                      <a:pt x="131" y="48"/>
                    </a:lnTo>
                    <a:lnTo>
                      <a:pt x="131" y="50"/>
                    </a:lnTo>
                    <a:lnTo>
                      <a:pt x="129" y="50"/>
                    </a:lnTo>
                    <a:lnTo>
                      <a:pt x="129" y="51"/>
                    </a:lnTo>
                    <a:lnTo>
                      <a:pt x="129" y="53"/>
                    </a:lnTo>
                    <a:lnTo>
                      <a:pt x="131" y="53"/>
                    </a:lnTo>
                    <a:lnTo>
                      <a:pt x="131" y="55"/>
                    </a:lnTo>
                    <a:lnTo>
                      <a:pt x="129" y="55"/>
                    </a:lnTo>
                    <a:lnTo>
                      <a:pt x="129" y="57"/>
                    </a:lnTo>
                    <a:lnTo>
                      <a:pt x="129" y="59"/>
                    </a:lnTo>
                    <a:lnTo>
                      <a:pt x="127" y="59"/>
                    </a:lnTo>
                    <a:lnTo>
                      <a:pt x="127" y="61"/>
                    </a:lnTo>
                    <a:lnTo>
                      <a:pt x="125" y="61"/>
                    </a:lnTo>
                    <a:lnTo>
                      <a:pt x="125" y="63"/>
                    </a:lnTo>
                    <a:lnTo>
                      <a:pt x="125" y="65"/>
                    </a:lnTo>
                    <a:lnTo>
                      <a:pt x="123" y="63"/>
                    </a:lnTo>
                    <a:lnTo>
                      <a:pt x="123" y="65"/>
                    </a:lnTo>
                    <a:lnTo>
                      <a:pt x="123" y="67"/>
                    </a:lnTo>
                    <a:lnTo>
                      <a:pt x="121" y="69"/>
                    </a:lnTo>
                    <a:lnTo>
                      <a:pt x="123" y="69"/>
                    </a:lnTo>
                    <a:lnTo>
                      <a:pt x="125" y="71"/>
                    </a:lnTo>
                    <a:lnTo>
                      <a:pt x="123" y="71"/>
                    </a:lnTo>
                    <a:lnTo>
                      <a:pt x="123" y="73"/>
                    </a:lnTo>
                    <a:lnTo>
                      <a:pt x="123" y="75"/>
                    </a:lnTo>
                    <a:lnTo>
                      <a:pt x="121" y="75"/>
                    </a:lnTo>
                    <a:lnTo>
                      <a:pt x="121" y="76"/>
                    </a:lnTo>
                    <a:lnTo>
                      <a:pt x="121" y="78"/>
                    </a:lnTo>
                    <a:lnTo>
                      <a:pt x="119" y="78"/>
                    </a:lnTo>
                    <a:lnTo>
                      <a:pt x="121" y="78"/>
                    </a:lnTo>
                    <a:lnTo>
                      <a:pt x="119" y="78"/>
                    </a:lnTo>
                    <a:lnTo>
                      <a:pt x="121" y="80"/>
                    </a:lnTo>
                    <a:lnTo>
                      <a:pt x="119" y="80"/>
                    </a:lnTo>
                    <a:lnTo>
                      <a:pt x="119" y="82"/>
                    </a:lnTo>
                    <a:lnTo>
                      <a:pt x="119" y="84"/>
                    </a:lnTo>
                    <a:lnTo>
                      <a:pt x="119" y="82"/>
                    </a:lnTo>
                    <a:lnTo>
                      <a:pt x="119" y="84"/>
                    </a:lnTo>
                    <a:lnTo>
                      <a:pt x="118" y="84"/>
                    </a:lnTo>
                    <a:lnTo>
                      <a:pt x="119" y="84"/>
                    </a:lnTo>
                    <a:lnTo>
                      <a:pt x="121" y="86"/>
                    </a:lnTo>
                    <a:lnTo>
                      <a:pt x="121" y="88"/>
                    </a:lnTo>
                    <a:lnTo>
                      <a:pt x="123" y="90"/>
                    </a:lnTo>
                    <a:lnTo>
                      <a:pt x="123" y="92"/>
                    </a:lnTo>
                    <a:lnTo>
                      <a:pt x="125" y="92"/>
                    </a:lnTo>
                    <a:lnTo>
                      <a:pt x="125" y="94"/>
                    </a:lnTo>
                    <a:lnTo>
                      <a:pt x="127" y="94"/>
                    </a:lnTo>
                    <a:lnTo>
                      <a:pt x="129" y="94"/>
                    </a:lnTo>
                    <a:lnTo>
                      <a:pt x="129" y="96"/>
                    </a:lnTo>
                    <a:lnTo>
                      <a:pt x="129" y="94"/>
                    </a:lnTo>
                    <a:lnTo>
                      <a:pt x="127" y="94"/>
                    </a:lnTo>
                    <a:lnTo>
                      <a:pt x="129" y="96"/>
                    </a:lnTo>
                    <a:lnTo>
                      <a:pt x="127" y="96"/>
                    </a:lnTo>
                    <a:lnTo>
                      <a:pt x="129" y="96"/>
                    </a:lnTo>
                    <a:lnTo>
                      <a:pt x="127" y="96"/>
                    </a:lnTo>
                    <a:lnTo>
                      <a:pt x="127" y="98"/>
                    </a:lnTo>
                    <a:lnTo>
                      <a:pt x="129" y="98"/>
                    </a:lnTo>
                    <a:lnTo>
                      <a:pt x="127" y="98"/>
                    </a:lnTo>
                    <a:lnTo>
                      <a:pt x="129" y="98"/>
                    </a:lnTo>
                    <a:lnTo>
                      <a:pt x="127" y="98"/>
                    </a:lnTo>
                    <a:lnTo>
                      <a:pt x="127" y="100"/>
                    </a:lnTo>
                    <a:lnTo>
                      <a:pt x="127" y="101"/>
                    </a:lnTo>
                    <a:lnTo>
                      <a:pt x="129" y="101"/>
                    </a:lnTo>
                    <a:lnTo>
                      <a:pt x="131" y="103"/>
                    </a:lnTo>
                    <a:lnTo>
                      <a:pt x="133" y="103"/>
                    </a:lnTo>
                    <a:lnTo>
                      <a:pt x="133" y="105"/>
                    </a:lnTo>
                    <a:lnTo>
                      <a:pt x="133" y="103"/>
                    </a:lnTo>
                    <a:lnTo>
                      <a:pt x="133" y="105"/>
                    </a:lnTo>
                    <a:lnTo>
                      <a:pt x="133" y="103"/>
                    </a:lnTo>
                    <a:lnTo>
                      <a:pt x="135" y="105"/>
                    </a:lnTo>
                    <a:lnTo>
                      <a:pt x="133" y="105"/>
                    </a:lnTo>
                    <a:lnTo>
                      <a:pt x="131" y="107"/>
                    </a:lnTo>
                    <a:lnTo>
                      <a:pt x="133" y="107"/>
                    </a:lnTo>
                    <a:lnTo>
                      <a:pt x="131" y="107"/>
                    </a:lnTo>
                    <a:lnTo>
                      <a:pt x="131" y="109"/>
                    </a:lnTo>
                    <a:lnTo>
                      <a:pt x="133" y="109"/>
                    </a:lnTo>
                    <a:lnTo>
                      <a:pt x="133" y="111"/>
                    </a:lnTo>
                    <a:lnTo>
                      <a:pt x="133" y="109"/>
                    </a:lnTo>
                    <a:lnTo>
                      <a:pt x="133" y="111"/>
                    </a:lnTo>
                    <a:lnTo>
                      <a:pt x="135" y="111"/>
                    </a:lnTo>
                    <a:lnTo>
                      <a:pt x="135" y="113"/>
                    </a:lnTo>
                    <a:lnTo>
                      <a:pt x="135" y="115"/>
                    </a:lnTo>
                    <a:lnTo>
                      <a:pt x="135" y="113"/>
                    </a:lnTo>
                    <a:lnTo>
                      <a:pt x="137" y="113"/>
                    </a:lnTo>
                    <a:lnTo>
                      <a:pt x="137" y="111"/>
                    </a:lnTo>
                    <a:lnTo>
                      <a:pt x="139" y="113"/>
                    </a:lnTo>
                    <a:lnTo>
                      <a:pt x="141" y="113"/>
                    </a:lnTo>
                    <a:lnTo>
                      <a:pt x="141" y="115"/>
                    </a:lnTo>
                    <a:lnTo>
                      <a:pt x="143" y="115"/>
                    </a:lnTo>
                    <a:lnTo>
                      <a:pt x="143" y="113"/>
                    </a:lnTo>
                    <a:lnTo>
                      <a:pt x="144" y="113"/>
                    </a:lnTo>
                    <a:lnTo>
                      <a:pt x="146" y="113"/>
                    </a:lnTo>
                    <a:lnTo>
                      <a:pt x="146" y="115"/>
                    </a:lnTo>
                    <a:lnTo>
                      <a:pt x="148" y="115"/>
                    </a:lnTo>
                    <a:lnTo>
                      <a:pt x="148" y="117"/>
                    </a:lnTo>
                    <a:lnTo>
                      <a:pt x="148" y="119"/>
                    </a:lnTo>
                    <a:lnTo>
                      <a:pt x="146" y="119"/>
                    </a:lnTo>
                    <a:lnTo>
                      <a:pt x="146" y="121"/>
                    </a:lnTo>
                    <a:lnTo>
                      <a:pt x="146" y="123"/>
                    </a:lnTo>
                    <a:lnTo>
                      <a:pt x="146" y="125"/>
                    </a:lnTo>
                    <a:lnTo>
                      <a:pt x="146" y="126"/>
                    </a:lnTo>
                    <a:lnTo>
                      <a:pt x="146" y="128"/>
                    </a:lnTo>
                    <a:lnTo>
                      <a:pt x="146" y="130"/>
                    </a:lnTo>
                    <a:lnTo>
                      <a:pt x="146" y="132"/>
                    </a:lnTo>
                    <a:lnTo>
                      <a:pt x="144" y="134"/>
                    </a:lnTo>
                    <a:lnTo>
                      <a:pt x="144" y="132"/>
                    </a:lnTo>
                    <a:lnTo>
                      <a:pt x="144" y="134"/>
                    </a:lnTo>
                    <a:lnTo>
                      <a:pt x="143" y="134"/>
                    </a:lnTo>
                    <a:lnTo>
                      <a:pt x="144" y="134"/>
                    </a:lnTo>
                    <a:lnTo>
                      <a:pt x="143" y="136"/>
                    </a:lnTo>
                    <a:lnTo>
                      <a:pt x="144" y="136"/>
                    </a:lnTo>
                    <a:lnTo>
                      <a:pt x="144" y="138"/>
                    </a:lnTo>
                    <a:lnTo>
                      <a:pt x="146" y="138"/>
                    </a:lnTo>
                    <a:lnTo>
                      <a:pt x="144" y="138"/>
                    </a:lnTo>
                    <a:lnTo>
                      <a:pt x="144" y="140"/>
                    </a:lnTo>
                    <a:lnTo>
                      <a:pt x="146" y="140"/>
                    </a:lnTo>
                    <a:lnTo>
                      <a:pt x="144" y="142"/>
                    </a:lnTo>
                    <a:lnTo>
                      <a:pt x="143" y="142"/>
                    </a:lnTo>
                    <a:lnTo>
                      <a:pt x="141" y="144"/>
                    </a:lnTo>
                    <a:lnTo>
                      <a:pt x="141" y="146"/>
                    </a:lnTo>
                    <a:lnTo>
                      <a:pt x="141" y="148"/>
                    </a:lnTo>
                    <a:lnTo>
                      <a:pt x="141" y="149"/>
                    </a:lnTo>
                    <a:lnTo>
                      <a:pt x="139" y="149"/>
                    </a:lnTo>
                    <a:lnTo>
                      <a:pt x="139" y="151"/>
                    </a:lnTo>
                    <a:lnTo>
                      <a:pt x="137" y="151"/>
                    </a:lnTo>
                    <a:lnTo>
                      <a:pt x="137" y="153"/>
                    </a:lnTo>
                    <a:lnTo>
                      <a:pt x="135" y="153"/>
                    </a:lnTo>
                    <a:lnTo>
                      <a:pt x="133" y="153"/>
                    </a:lnTo>
                    <a:lnTo>
                      <a:pt x="131" y="153"/>
                    </a:lnTo>
                    <a:lnTo>
                      <a:pt x="129" y="153"/>
                    </a:lnTo>
                    <a:lnTo>
                      <a:pt x="127" y="153"/>
                    </a:lnTo>
                    <a:lnTo>
                      <a:pt x="127" y="151"/>
                    </a:lnTo>
                    <a:lnTo>
                      <a:pt x="125" y="151"/>
                    </a:lnTo>
                    <a:lnTo>
                      <a:pt x="123" y="151"/>
                    </a:lnTo>
                    <a:lnTo>
                      <a:pt x="121" y="151"/>
                    </a:lnTo>
                    <a:lnTo>
                      <a:pt x="121" y="153"/>
                    </a:lnTo>
                    <a:lnTo>
                      <a:pt x="119" y="153"/>
                    </a:lnTo>
                    <a:lnTo>
                      <a:pt x="118" y="153"/>
                    </a:lnTo>
                    <a:lnTo>
                      <a:pt x="119" y="155"/>
                    </a:lnTo>
                    <a:lnTo>
                      <a:pt x="121" y="153"/>
                    </a:lnTo>
                    <a:lnTo>
                      <a:pt x="121" y="155"/>
                    </a:lnTo>
                    <a:lnTo>
                      <a:pt x="121" y="157"/>
                    </a:lnTo>
                    <a:lnTo>
                      <a:pt x="118" y="161"/>
                    </a:lnTo>
                    <a:lnTo>
                      <a:pt x="116" y="161"/>
                    </a:lnTo>
                    <a:lnTo>
                      <a:pt x="116" y="159"/>
                    </a:lnTo>
                    <a:lnTo>
                      <a:pt x="116" y="161"/>
                    </a:lnTo>
                    <a:lnTo>
                      <a:pt x="114" y="159"/>
                    </a:lnTo>
                    <a:lnTo>
                      <a:pt x="114" y="157"/>
                    </a:lnTo>
                    <a:lnTo>
                      <a:pt x="112" y="157"/>
                    </a:lnTo>
                    <a:lnTo>
                      <a:pt x="110" y="159"/>
                    </a:lnTo>
                    <a:lnTo>
                      <a:pt x="108" y="159"/>
                    </a:lnTo>
                    <a:lnTo>
                      <a:pt x="108" y="157"/>
                    </a:lnTo>
                    <a:lnTo>
                      <a:pt x="108" y="159"/>
                    </a:lnTo>
                    <a:lnTo>
                      <a:pt x="106" y="159"/>
                    </a:lnTo>
                    <a:lnTo>
                      <a:pt x="104" y="159"/>
                    </a:lnTo>
                    <a:lnTo>
                      <a:pt x="104" y="161"/>
                    </a:lnTo>
                    <a:lnTo>
                      <a:pt x="104" y="163"/>
                    </a:lnTo>
                    <a:lnTo>
                      <a:pt x="102" y="161"/>
                    </a:lnTo>
                    <a:lnTo>
                      <a:pt x="102" y="163"/>
                    </a:lnTo>
                    <a:lnTo>
                      <a:pt x="100" y="163"/>
                    </a:lnTo>
                    <a:lnTo>
                      <a:pt x="98" y="163"/>
                    </a:lnTo>
                    <a:lnTo>
                      <a:pt x="98" y="165"/>
                    </a:lnTo>
                    <a:lnTo>
                      <a:pt x="96" y="165"/>
                    </a:lnTo>
                    <a:lnTo>
                      <a:pt x="96" y="167"/>
                    </a:lnTo>
                    <a:lnTo>
                      <a:pt x="94" y="167"/>
                    </a:lnTo>
                    <a:lnTo>
                      <a:pt x="93" y="167"/>
                    </a:lnTo>
                    <a:lnTo>
                      <a:pt x="93" y="169"/>
                    </a:lnTo>
                    <a:lnTo>
                      <a:pt x="94" y="169"/>
                    </a:lnTo>
                    <a:lnTo>
                      <a:pt x="93" y="169"/>
                    </a:lnTo>
                    <a:lnTo>
                      <a:pt x="93" y="171"/>
                    </a:lnTo>
                    <a:lnTo>
                      <a:pt x="93" y="169"/>
                    </a:lnTo>
                    <a:lnTo>
                      <a:pt x="91" y="169"/>
                    </a:lnTo>
                    <a:lnTo>
                      <a:pt x="89" y="169"/>
                    </a:lnTo>
                    <a:lnTo>
                      <a:pt x="89" y="171"/>
                    </a:lnTo>
                    <a:lnTo>
                      <a:pt x="89" y="173"/>
                    </a:lnTo>
                    <a:lnTo>
                      <a:pt x="87" y="173"/>
                    </a:lnTo>
                    <a:lnTo>
                      <a:pt x="85" y="173"/>
                    </a:lnTo>
                    <a:lnTo>
                      <a:pt x="85" y="171"/>
                    </a:lnTo>
                    <a:lnTo>
                      <a:pt x="83" y="171"/>
                    </a:lnTo>
                    <a:lnTo>
                      <a:pt x="81" y="171"/>
                    </a:lnTo>
                    <a:lnTo>
                      <a:pt x="81" y="169"/>
                    </a:lnTo>
                    <a:lnTo>
                      <a:pt x="81" y="171"/>
                    </a:lnTo>
                    <a:lnTo>
                      <a:pt x="81" y="169"/>
                    </a:lnTo>
                    <a:lnTo>
                      <a:pt x="79" y="169"/>
                    </a:lnTo>
                    <a:lnTo>
                      <a:pt x="79" y="171"/>
                    </a:lnTo>
                    <a:lnTo>
                      <a:pt x="77" y="171"/>
                    </a:lnTo>
                    <a:lnTo>
                      <a:pt x="77" y="169"/>
                    </a:lnTo>
                    <a:lnTo>
                      <a:pt x="79" y="169"/>
                    </a:lnTo>
                    <a:lnTo>
                      <a:pt x="79" y="167"/>
                    </a:lnTo>
                    <a:lnTo>
                      <a:pt x="77" y="169"/>
                    </a:lnTo>
                    <a:lnTo>
                      <a:pt x="77" y="167"/>
                    </a:lnTo>
                    <a:lnTo>
                      <a:pt x="75" y="167"/>
                    </a:lnTo>
                    <a:lnTo>
                      <a:pt x="73" y="167"/>
                    </a:lnTo>
                    <a:lnTo>
                      <a:pt x="73" y="169"/>
                    </a:lnTo>
                    <a:lnTo>
                      <a:pt x="73" y="167"/>
                    </a:lnTo>
                    <a:lnTo>
                      <a:pt x="71" y="169"/>
                    </a:lnTo>
                    <a:lnTo>
                      <a:pt x="71" y="171"/>
                    </a:lnTo>
                    <a:lnTo>
                      <a:pt x="71" y="173"/>
                    </a:lnTo>
                    <a:lnTo>
                      <a:pt x="70" y="173"/>
                    </a:lnTo>
                    <a:lnTo>
                      <a:pt x="68" y="173"/>
                    </a:lnTo>
                    <a:lnTo>
                      <a:pt x="68" y="174"/>
                    </a:lnTo>
                    <a:lnTo>
                      <a:pt x="70" y="174"/>
                    </a:lnTo>
                    <a:lnTo>
                      <a:pt x="70" y="176"/>
                    </a:lnTo>
                    <a:lnTo>
                      <a:pt x="68" y="176"/>
                    </a:lnTo>
                    <a:lnTo>
                      <a:pt x="70" y="176"/>
                    </a:lnTo>
                    <a:lnTo>
                      <a:pt x="70" y="178"/>
                    </a:lnTo>
                    <a:lnTo>
                      <a:pt x="71" y="178"/>
                    </a:lnTo>
                    <a:lnTo>
                      <a:pt x="70" y="180"/>
                    </a:lnTo>
                    <a:lnTo>
                      <a:pt x="68" y="180"/>
                    </a:lnTo>
                    <a:lnTo>
                      <a:pt x="68" y="182"/>
                    </a:lnTo>
                    <a:lnTo>
                      <a:pt x="66" y="182"/>
                    </a:lnTo>
                    <a:lnTo>
                      <a:pt x="66" y="180"/>
                    </a:lnTo>
                    <a:lnTo>
                      <a:pt x="68" y="180"/>
                    </a:lnTo>
                    <a:lnTo>
                      <a:pt x="66" y="180"/>
                    </a:lnTo>
                    <a:lnTo>
                      <a:pt x="64" y="180"/>
                    </a:lnTo>
                    <a:lnTo>
                      <a:pt x="62" y="180"/>
                    </a:lnTo>
                    <a:lnTo>
                      <a:pt x="60" y="180"/>
                    </a:lnTo>
                    <a:lnTo>
                      <a:pt x="60" y="182"/>
                    </a:lnTo>
                    <a:lnTo>
                      <a:pt x="60" y="184"/>
                    </a:lnTo>
                    <a:lnTo>
                      <a:pt x="58" y="184"/>
                    </a:lnTo>
                    <a:lnTo>
                      <a:pt x="60" y="184"/>
                    </a:lnTo>
                    <a:lnTo>
                      <a:pt x="58" y="184"/>
                    </a:lnTo>
                    <a:lnTo>
                      <a:pt x="58" y="186"/>
                    </a:lnTo>
                    <a:lnTo>
                      <a:pt x="58" y="184"/>
                    </a:lnTo>
                    <a:lnTo>
                      <a:pt x="56" y="184"/>
                    </a:lnTo>
                    <a:lnTo>
                      <a:pt x="56" y="182"/>
                    </a:lnTo>
                    <a:lnTo>
                      <a:pt x="54" y="180"/>
                    </a:lnTo>
                    <a:lnTo>
                      <a:pt x="54" y="178"/>
                    </a:lnTo>
                    <a:lnTo>
                      <a:pt x="54" y="176"/>
                    </a:lnTo>
                    <a:lnTo>
                      <a:pt x="56" y="176"/>
                    </a:lnTo>
                    <a:lnTo>
                      <a:pt x="54" y="176"/>
                    </a:lnTo>
                    <a:lnTo>
                      <a:pt x="56" y="176"/>
                    </a:lnTo>
                    <a:lnTo>
                      <a:pt x="56" y="174"/>
                    </a:lnTo>
                    <a:lnTo>
                      <a:pt x="58" y="174"/>
                    </a:lnTo>
                    <a:lnTo>
                      <a:pt x="56" y="173"/>
                    </a:lnTo>
                    <a:lnTo>
                      <a:pt x="56" y="171"/>
                    </a:lnTo>
                    <a:lnTo>
                      <a:pt x="58" y="171"/>
                    </a:lnTo>
                    <a:lnTo>
                      <a:pt x="56" y="171"/>
                    </a:lnTo>
                    <a:lnTo>
                      <a:pt x="56" y="169"/>
                    </a:lnTo>
                    <a:lnTo>
                      <a:pt x="58" y="169"/>
                    </a:lnTo>
                    <a:lnTo>
                      <a:pt x="56" y="169"/>
                    </a:lnTo>
                    <a:lnTo>
                      <a:pt x="56" y="167"/>
                    </a:lnTo>
                    <a:lnTo>
                      <a:pt x="58" y="167"/>
                    </a:lnTo>
                    <a:lnTo>
                      <a:pt x="58" y="165"/>
                    </a:lnTo>
                    <a:lnTo>
                      <a:pt x="58" y="163"/>
                    </a:lnTo>
                    <a:lnTo>
                      <a:pt x="60" y="165"/>
                    </a:lnTo>
                    <a:lnTo>
                      <a:pt x="60" y="163"/>
                    </a:lnTo>
                    <a:lnTo>
                      <a:pt x="60" y="165"/>
                    </a:lnTo>
                    <a:lnTo>
                      <a:pt x="62" y="163"/>
                    </a:lnTo>
                    <a:lnTo>
                      <a:pt x="62" y="165"/>
                    </a:lnTo>
                    <a:lnTo>
                      <a:pt x="62" y="163"/>
                    </a:lnTo>
                    <a:lnTo>
                      <a:pt x="64" y="163"/>
                    </a:lnTo>
                    <a:lnTo>
                      <a:pt x="66" y="161"/>
                    </a:lnTo>
                    <a:lnTo>
                      <a:pt x="64" y="161"/>
                    </a:lnTo>
                    <a:lnTo>
                      <a:pt x="66" y="161"/>
                    </a:lnTo>
                    <a:lnTo>
                      <a:pt x="66" y="159"/>
                    </a:lnTo>
                    <a:lnTo>
                      <a:pt x="66" y="157"/>
                    </a:lnTo>
                    <a:lnTo>
                      <a:pt x="64" y="159"/>
                    </a:lnTo>
                    <a:lnTo>
                      <a:pt x="64" y="157"/>
                    </a:lnTo>
                    <a:lnTo>
                      <a:pt x="62" y="157"/>
                    </a:lnTo>
                    <a:lnTo>
                      <a:pt x="64" y="155"/>
                    </a:lnTo>
                    <a:lnTo>
                      <a:pt x="62" y="155"/>
                    </a:lnTo>
                    <a:lnTo>
                      <a:pt x="62" y="153"/>
                    </a:lnTo>
                    <a:lnTo>
                      <a:pt x="60" y="153"/>
                    </a:lnTo>
                    <a:lnTo>
                      <a:pt x="58" y="151"/>
                    </a:lnTo>
                    <a:lnTo>
                      <a:pt x="60" y="151"/>
                    </a:lnTo>
                    <a:lnTo>
                      <a:pt x="60" y="149"/>
                    </a:lnTo>
                    <a:lnTo>
                      <a:pt x="58" y="149"/>
                    </a:lnTo>
                    <a:lnTo>
                      <a:pt x="58" y="151"/>
                    </a:lnTo>
                    <a:lnTo>
                      <a:pt x="58" y="149"/>
                    </a:lnTo>
                    <a:lnTo>
                      <a:pt x="58" y="148"/>
                    </a:lnTo>
                    <a:lnTo>
                      <a:pt x="56" y="148"/>
                    </a:lnTo>
                    <a:lnTo>
                      <a:pt x="56" y="146"/>
                    </a:lnTo>
                    <a:lnTo>
                      <a:pt x="58" y="144"/>
                    </a:lnTo>
                    <a:lnTo>
                      <a:pt x="58" y="142"/>
                    </a:lnTo>
                    <a:lnTo>
                      <a:pt x="56" y="142"/>
                    </a:lnTo>
                    <a:lnTo>
                      <a:pt x="58" y="142"/>
                    </a:lnTo>
                    <a:lnTo>
                      <a:pt x="58" y="140"/>
                    </a:lnTo>
                    <a:lnTo>
                      <a:pt x="58" y="138"/>
                    </a:lnTo>
                    <a:lnTo>
                      <a:pt x="56" y="136"/>
                    </a:lnTo>
                    <a:lnTo>
                      <a:pt x="52" y="136"/>
                    </a:lnTo>
                    <a:lnTo>
                      <a:pt x="52" y="134"/>
                    </a:lnTo>
                    <a:lnTo>
                      <a:pt x="52" y="136"/>
                    </a:lnTo>
                    <a:lnTo>
                      <a:pt x="50" y="136"/>
                    </a:lnTo>
                    <a:lnTo>
                      <a:pt x="52" y="138"/>
                    </a:lnTo>
                    <a:lnTo>
                      <a:pt x="50" y="138"/>
                    </a:lnTo>
                    <a:lnTo>
                      <a:pt x="50" y="140"/>
                    </a:lnTo>
                    <a:lnTo>
                      <a:pt x="48" y="140"/>
                    </a:lnTo>
                    <a:lnTo>
                      <a:pt x="46" y="140"/>
                    </a:lnTo>
                    <a:lnTo>
                      <a:pt x="45" y="138"/>
                    </a:lnTo>
                    <a:lnTo>
                      <a:pt x="45" y="136"/>
                    </a:lnTo>
                    <a:lnTo>
                      <a:pt x="43" y="136"/>
                    </a:lnTo>
                    <a:lnTo>
                      <a:pt x="45" y="136"/>
                    </a:lnTo>
                    <a:lnTo>
                      <a:pt x="45" y="134"/>
                    </a:lnTo>
                    <a:lnTo>
                      <a:pt x="43" y="134"/>
                    </a:lnTo>
                    <a:lnTo>
                      <a:pt x="43" y="132"/>
                    </a:lnTo>
                    <a:lnTo>
                      <a:pt x="45" y="132"/>
                    </a:lnTo>
                    <a:lnTo>
                      <a:pt x="45" y="130"/>
                    </a:lnTo>
                    <a:lnTo>
                      <a:pt x="43" y="128"/>
                    </a:lnTo>
                    <a:lnTo>
                      <a:pt x="45" y="128"/>
                    </a:lnTo>
                    <a:lnTo>
                      <a:pt x="43" y="128"/>
                    </a:lnTo>
                    <a:lnTo>
                      <a:pt x="43" y="126"/>
                    </a:lnTo>
                    <a:lnTo>
                      <a:pt x="41" y="126"/>
                    </a:lnTo>
                    <a:lnTo>
                      <a:pt x="39" y="126"/>
                    </a:lnTo>
                    <a:lnTo>
                      <a:pt x="39" y="125"/>
                    </a:lnTo>
                    <a:lnTo>
                      <a:pt x="37" y="125"/>
                    </a:lnTo>
                    <a:lnTo>
                      <a:pt x="39" y="125"/>
                    </a:lnTo>
                    <a:lnTo>
                      <a:pt x="37" y="123"/>
                    </a:lnTo>
                    <a:lnTo>
                      <a:pt x="37" y="125"/>
                    </a:lnTo>
                    <a:lnTo>
                      <a:pt x="37" y="123"/>
                    </a:lnTo>
                    <a:lnTo>
                      <a:pt x="37" y="121"/>
                    </a:lnTo>
                    <a:lnTo>
                      <a:pt x="39" y="121"/>
                    </a:lnTo>
                    <a:lnTo>
                      <a:pt x="39" y="119"/>
                    </a:lnTo>
                    <a:lnTo>
                      <a:pt x="41" y="119"/>
                    </a:lnTo>
                    <a:lnTo>
                      <a:pt x="39" y="119"/>
                    </a:lnTo>
                    <a:lnTo>
                      <a:pt x="41" y="119"/>
                    </a:lnTo>
                    <a:lnTo>
                      <a:pt x="41" y="117"/>
                    </a:lnTo>
                    <a:lnTo>
                      <a:pt x="39" y="117"/>
                    </a:lnTo>
                    <a:lnTo>
                      <a:pt x="41" y="117"/>
                    </a:lnTo>
                    <a:lnTo>
                      <a:pt x="41" y="115"/>
                    </a:lnTo>
                    <a:lnTo>
                      <a:pt x="41" y="113"/>
                    </a:lnTo>
                    <a:lnTo>
                      <a:pt x="41" y="111"/>
                    </a:lnTo>
                    <a:lnTo>
                      <a:pt x="43" y="111"/>
                    </a:lnTo>
                    <a:lnTo>
                      <a:pt x="43" y="109"/>
                    </a:lnTo>
                    <a:lnTo>
                      <a:pt x="45" y="109"/>
                    </a:lnTo>
                    <a:lnTo>
                      <a:pt x="45" y="107"/>
                    </a:lnTo>
                    <a:lnTo>
                      <a:pt x="45" y="105"/>
                    </a:lnTo>
                    <a:lnTo>
                      <a:pt x="43" y="105"/>
                    </a:lnTo>
                    <a:lnTo>
                      <a:pt x="45" y="105"/>
                    </a:lnTo>
                    <a:lnTo>
                      <a:pt x="45" y="103"/>
                    </a:lnTo>
                    <a:lnTo>
                      <a:pt x="45" y="101"/>
                    </a:lnTo>
                    <a:lnTo>
                      <a:pt x="45" y="100"/>
                    </a:lnTo>
                    <a:lnTo>
                      <a:pt x="45" y="98"/>
                    </a:lnTo>
                    <a:lnTo>
                      <a:pt x="45" y="96"/>
                    </a:lnTo>
                    <a:lnTo>
                      <a:pt x="45" y="98"/>
                    </a:lnTo>
                    <a:lnTo>
                      <a:pt x="45" y="96"/>
                    </a:lnTo>
                    <a:lnTo>
                      <a:pt x="43" y="96"/>
                    </a:lnTo>
                    <a:lnTo>
                      <a:pt x="43" y="98"/>
                    </a:lnTo>
                    <a:lnTo>
                      <a:pt x="41" y="96"/>
                    </a:lnTo>
                    <a:lnTo>
                      <a:pt x="41" y="98"/>
                    </a:lnTo>
                    <a:lnTo>
                      <a:pt x="39" y="96"/>
                    </a:lnTo>
                    <a:lnTo>
                      <a:pt x="41" y="96"/>
                    </a:lnTo>
                    <a:lnTo>
                      <a:pt x="41" y="94"/>
                    </a:lnTo>
                    <a:lnTo>
                      <a:pt x="41" y="92"/>
                    </a:lnTo>
                    <a:lnTo>
                      <a:pt x="39" y="92"/>
                    </a:lnTo>
                    <a:lnTo>
                      <a:pt x="39" y="90"/>
                    </a:lnTo>
                    <a:lnTo>
                      <a:pt x="39" y="88"/>
                    </a:lnTo>
                    <a:lnTo>
                      <a:pt x="39" y="90"/>
                    </a:lnTo>
                    <a:lnTo>
                      <a:pt x="37" y="90"/>
                    </a:lnTo>
                    <a:lnTo>
                      <a:pt x="37" y="88"/>
                    </a:lnTo>
                    <a:lnTo>
                      <a:pt x="39" y="86"/>
                    </a:lnTo>
                    <a:lnTo>
                      <a:pt x="39" y="84"/>
                    </a:lnTo>
                    <a:lnTo>
                      <a:pt x="39" y="82"/>
                    </a:lnTo>
                    <a:lnTo>
                      <a:pt x="37" y="82"/>
                    </a:lnTo>
                    <a:lnTo>
                      <a:pt x="37" y="84"/>
                    </a:lnTo>
                    <a:lnTo>
                      <a:pt x="35" y="86"/>
                    </a:lnTo>
                    <a:lnTo>
                      <a:pt x="35" y="84"/>
                    </a:lnTo>
                    <a:lnTo>
                      <a:pt x="33" y="84"/>
                    </a:lnTo>
                    <a:lnTo>
                      <a:pt x="33" y="82"/>
                    </a:lnTo>
                    <a:lnTo>
                      <a:pt x="31" y="82"/>
                    </a:lnTo>
                    <a:lnTo>
                      <a:pt x="31" y="84"/>
                    </a:lnTo>
                    <a:lnTo>
                      <a:pt x="29" y="84"/>
                    </a:lnTo>
                    <a:lnTo>
                      <a:pt x="29" y="86"/>
                    </a:lnTo>
                    <a:lnTo>
                      <a:pt x="27" y="84"/>
                    </a:lnTo>
                    <a:lnTo>
                      <a:pt x="27" y="86"/>
                    </a:lnTo>
                    <a:lnTo>
                      <a:pt x="25" y="86"/>
                    </a:lnTo>
                    <a:lnTo>
                      <a:pt x="25" y="88"/>
                    </a:lnTo>
                    <a:lnTo>
                      <a:pt x="25" y="86"/>
                    </a:lnTo>
                    <a:lnTo>
                      <a:pt x="23" y="86"/>
                    </a:lnTo>
                    <a:lnTo>
                      <a:pt x="23" y="84"/>
                    </a:lnTo>
                    <a:lnTo>
                      <a:pt x="21" y="84"/>
                    </a:lnTo>
                    <a:lnTo>
                      <a:pt x="20" y="86"/>
                    </a:lnTo>
                    <a:lnTo>
                      <a:pt x="20" y="84"/>
                    </a:lnTo>
                    <a:lnTo>
                      <a:pt x="20" y="82"/>
                    </a:lnTo>
                    <a:lnTo>
                      <a:pt x="21" y="82"/>
                    </a:lnTo>
                    <a:lnTo>
                      <a:pt x="20" y="82"/>
                    </a:lnTo>
                    <a:lnTo>
                      <a:pt x="20" y="80"/>
                    </a:lnTo>
                    <a:lnTo>
                      <a:pt x="18" y="80"/>
                    </a:lnTo>
                    <a:lnTo>
                      <a:pt x="18" y="78"/>
                    </a:lnTo>
                    <a:lnTo>
                      <a:pt x="18" y="76"/>
                    </a:lnTo>
                    <a:lnTo>
                      <a:pt x="16" y="76"/>
                    </a:lnTo>
                    <a:lnTo>
                      <a:pt x="14" y="76"/>
                    </a:lnTo>
                    <a:lnTo>
                      <a:pt x="14" y="75"/>
                    </a:lnTo>
                    <a:lnTo>
                      <a:pt x="14" y="73"/>
                    </a:lnTo>
                    <a:lnTo>
                      <a:pt x="14" y="71"/>
                    </a:lnTo>
                    <a:lnTo>
                      <a:pt x="12" y="71"/>
                    </a:lnTo>
                    <a:lnTo>
                      <a:pt x="10" y="69"/>
                    </a:lnTo>
                    <a:lnTo>
                      <a:pt x="10" y="67"/>
                    </a:lnTo>
                    <a:lnTo>
                      <a:pt x="8" y="69"/>
                    </a:lnTo>
                    <a:lnTo>
                      <a:pt x="8" y="71"/>
                    </a:lnTo>
                    <a:lnTo>
                      <a:pt x="6" y="69"/>
                    </a:lnTo>
                    <a:lnTo>
                      <a:pt x="4" y="69"/>
                    </a:lnTo>
                    <a:lnTo>
                      <a:pt x="2" y="69"/>
                    </a:lnTo>
                    <a:lnTo>
                      <a:pt x="2" y="67"/>
                    </a:lnTo>
                    <a:lnTo>
                      <a:pt x="2" y="65"/>
                    </a:lnTo>
                    <a:lnTo>
                      <a:pt x="0" y="65"/>
                    </a:lnTo>
                    <a:lnTo>
                      <a:pt x="0" y="63"/>
                    </a:lnTo>
                    <a:lnTo>
                      <a:pt x="2" y="63"/>
                    </a:lnTo>
                    <a:lnTo>
                      <a:pt x="2" y="61"/>
                    </a:lnTo>
                    <a:lnTo>
                      <a:pt x="2" y="59"/>
                    </a:lnTo>
                    <a:lnTo>
                      <a:pt x="4" y="59"/>
                    </a:lnTo>
                    <a:lnTo>
                      <a:pt x="4" y="57"/>
                    </a:lnTo>
                    <a:lnTo>
                      <a:pt x="6" y="57"/>
                    </a:lnTo>
                    <a:lnTo>
                      <a:pt x="6" y="55"/>
                    </a:lnTo>
                    <a:lnTo>
                      <a:pt x="8" y="55"/>
                    </a:lnTo>
                    <a:lnTo>
                      <a:pt x="8" y="53"/>
                    </a:lnTo>
                    <a:lnTo>
                      <a:pt x="8" y="51"/>
                    </a:lnTo>
                    <a:lnTo>
                      <a:pt x="10" y="51"/>
                    </a:lnTo>
                    <a:lnTo>
                      <a:pt x="10" y="50"/>
                    </a:lnTo>
                    <a:lnTo>
                      <a:pt x="12" y="50"/>
                    </a:lnTo>
                    <a:lnTo>
                      <a:pt x="12" y="48"/>
                    </a:lnTo>
                    <a:lnTo>
                      <a:pt x="12" y="46"/>
                    </a:lnTo>
                    <a:lnTo>
                      <a:pt x="14" y="46"/>
                    </a:lnTo>
                    <a:lnTo>
                      <a:pt x="14" y="48"/>
                    </a:lnTo>
                    <a:lnTo>
                      <a:pt x="16" y="48"/>
                    </a:lnTo>
                    <a:lnTo>
                      <a:pt x="18" y="46"/>
                    </a:lnTo>
                    <a:lnTo>
                      <a:pt x="18" y="44"/>
                    </a:lnTo>
                    <a:lnTo>
                      <a:pt x="16" y="44"/>
                    </a:lnTo>
                    <a:lnTo>
                      <a:pt x="18" y="44"/>
                    </a:lnTo>
                    <a:lnTo>
                      <a:pt x="18" y="42"/>
                    </a:lnTo>
                    <a:lnTo>
                      <a:pt x="18" y="40"/>
                    </a:lnTo>
                    <a:lnTo>
                      <a:pt x="20" y="40"/>
                    </a:lnTo>
                    <a:lnTo>
                      <a:pt x="18" y="40"/>
                    </a:lnTo>
                    <a:lnTo>
                      <a:pt x="20" y="38"/>
                    </a:lnTo>
                    <a:lnTo>
                      <a:pt x="21" y="38"/>
                    </a:lnTo>
                    <a:lnTo>
                      <a:pt x="21" y="36"/>
                    </a:lnTo>
                    <a:lnTo>
                      <a:pt x="21" y="34"/>
                    </a:lnTo>
                    <a:lnTo>
                      <a:pt x="21" y="32"/>
                    </a:lnTo>
                    <a:lnTo>
                      <a:pt x="21" y="30"/>
                    </a:lnTo>
                    <a:lnTo>
                      <a:pt x="21" y="28"/>
                    </a:lnTo>
                    <a:lnTo>
                      <a:pt x="23" y="28"/>
                    </a:lnTo>
                    <a:lnTo>
                      <a:pt x="23" y="26"/>
                    </a:lnTo>
                    <a:lnTo>
                      <a:pt x="23" y="25"/>
                    </a:lnTo>
                    <a:lnTo>
                      <a:pt x="23" y="23"/>
                    </a:lnTo>
                    <a:lnTo>
                      <a:pt x="23" y="21"/>
                    </a:lnTo>
                    <a:lnTo>
                      <a:pt x="25" y="23"/>
                    </a:lnTo>
                    <a:lnTo>
                      <a:pt x="25" y="21"/>
                    </a:lnTo>
                    <a:lnTo>
                      <a:pt x="27" y="21"/>
                    </a:lnTo>
                    <a:lnTo>
                      <a:pt x="29" y="21"/>
                    </a:lnTo>
                    <a:lnTo>
                      <a:pt x="29" y="19"/>
                    </a:lnTo>
                    <a:lnTo>
                      <a:pt x="31" y="19"/>
                    </a:lnTo>
                    <a:lnTo>
                      <a:pt x="31" y="21"/>
                    </a:lnTo>
                    <a:lnTo>
                      <a:pt x="31" y="19"/>
                    </a:lnTo>
                    <a:lnTo>
                      <a:pt x="33" y="19"/>
                    </a:lnTo>
                    <a:lnTo>
                      <a:pt x="35" y="19"/>
                    </a:lnTo>
                    <a:lnTo>
                      <a:pt x="33" y="17"/>
                    </a:lnTo>
                    <a:lnTo>
                      <a:pt x="33" y="15"/>
                    </a:lnTo>
                    <a:lnTo>
                      <a:pt x="35" y="17"/>
                    </a:lnTo>
                    <a:lnTo>
                      <a:pt x="35" y="15"/>
                    </a:lnTo>
                    <a:lnTo>
                      <a:pt x="37" y="15"/>
                    </a:lnTo>
                    <a:lnTo>
                      <a:pt x="37" y="13"/>
                    </a:lnTo>
                    <a:lnTo>
                      <a:pt x="39" y="13"/>
                    </a:lnTo>
                    <a:lnTo>
                      <a:pt x="39" y="11"/>
                    </a:lnTo>
                    <a:lnTo>
                      <a:pt x="41" y="11"/>
                    </a:lnTo>
                    <a:lnTo>
                      <a:pt x="43" y="11"/>
                    </a:lnTo>
                    <a:lnTo>
                      <a:pt x="43" y="13"/>
                    </a:lnTo>
                    <a:lnTo>
                      <a:pt x="45" y="13"/>
                    </a:lnTo>
                    <a:lnTo>
                      <a:pt x="45" y="11"/>
                    </a:lnTo>
                    <a:lnTo>
                      <a:pt x="46" y="11"/>
                    </a:lnTo>
                    <a:lnTo>
                      <a:pt x="46" y="9"/>
                    </a:lnTo>
                    <a:lnTo>
                      <a:pt x="46" y="7"/>
                    </a:lnTo>
                    <a:lnTo>
                      <a:pt x="48" y="7"/>
                    </a:lnTo>
                    <a:lnTo>
                      <a:pt x="48" y="5"/>
                    </a:lnTo>
                    <a:lnTo>
                      <a:pt x="50" y="5"/>
                    </a:lnTo>
                    <a:lnTo>
                      <a:pt x="50" y="3"/>
                    </a:lnTo>
                    <a:lnTo>
                      <a:pt x="48" y="5"/>
                    </a:lnTo>
                    <a:lnTo>
                      <a:pt x="48" y="3"/>
                    </a:lnTo>
                    <a:lnTo>
                      <a:pt x="48" y="1"/>
                    </a:lnTo>
                    <a:lnTo>
                      <a:pt x="50" y="1"/>
                    </a:lnTo>
                    <a:lnTo>
                      <a:pt x="50" y="0"/>
                    </a:lnTo>
                    <a:lnTo>
                      <a:pt x="52" y="0"/>
                    </a:lnTo>
                    <a:lnTo>
                      <a:pt x="52" y="1"/>
                    </a:lnTo>
                    <a:lnTo>
                      <a:pt x="50" y="1"/>
                    </a:lnTo>
                    <a:lnTo>
                      <a:pt x="52" y="3"/>
                    </a:lnTo>
                    <a:lnTo>
                      <a:pt x="52" y="1"/>
                    </a:lnTo>
                    <a:lnTo>
                      <a:pt x="54" y="1"/>
                    </a:lnTo>
                    <a:lnTo>
                      <a:pt x="54" y="3"/>
                    </a:lnTo>
                    <a:lnTo>
                      <a:pt x="54" y="1"/>
                    </a:lnTo>
                    <a:lnTo>
                      <a:pt x="56" y="1"/>
                    </a:lnTo>
                    <a:lnTo>
                      <a:pt x="56" y="3"/>
                    </a:lnTo>
                    <a:lnTo>
                      <a:pt x="56" y="5"/>
                    </a:lnTo>
                    <a:lnTo>
                      <a:pt x="56" y="7"/>
                    </a:lnTo>
                    <a:lnTo>
                      <a:pt x="56" y="9"/>
                    </a:lnTo>
                    <a:lnTo>
                      <a:pt x="58" y="9"/>
                    </a:lnTo>
                    <a:lnTo>
                      <a:pt x="58" y="11"/>
                    </a:lnTo>
                    <a:lnTo>
                      <a:pt x="60" y="11"/>
                    </a:lnTo>
                    <a:lnTo>
                      <a:pt x="58" y="11"/>
                    </a:lnTo>
                    <a:lnTo>
                      <a:pt x="60" y="11"/>
                    </a:lnTo>
                    <a:lnTo>
                      <a:pt x="60" y="13"/>
                    </a:lnTo>
                    <a:lnTo>
                      <a:pt x="62" y="15"/>
                    </a:lnTo>
                    <a:lnTo>
                      <a:pt x="64" y="15"/>
                    </a:lnTo>
                    <a:lnTo>
                      <a:pt x="64" y="17"/>
                    </a:lnTo>
                    <a:lnTo>
                      <a:pt x="64" y="15"/>
                    </a:lnTo>
                    <a:lnTo>
                      <a:pt x="64" y="17"/>
                    </a:lnTo>
                    <a:lnTo>
                      <a:pt x="62" y="17"/>
                    </a:lnTo>
                    <a:lnTo>
                      <a:pt x="62" y="19"/>
                    </a:lnTo>
                    <a:lnTo>
                      <a:pt x="64" y="17"/>
                    </a:lnTo>
                    <a:lnTo>
                      <a:pt x="64" y="19"/>
                    </a:lnTo>
                    <a:lnTo>
                      <a:pt x="64" y="17"/>
                    </a:lnTo>
                    <a:lnTo>
                      <a:pt x="66" y="17"/>
                    </a:lnTo>
                    <a:lnTo>
                      <a:pt x="68" y="17"/>
                    </a:lnTo>
                    <a:lnTo>
                      <a:pt x="68" y="15"/>
                    </a:lnTo>
                    <a:lnTo>
                      <a:pt x="71" y="17"/>
                    </a:lnTo>
                    <a:lnTo>
                      <a:pt x="73" y="17"/>
                    </a:lnTo>
                    <a:lnTo>
                      <a:pt x="75" y="17"/>
                    </a:lnTo>
                    <a:lnTo>
                      <a:pt x="77" y="17"/>
                    </a:lnTo>
                    <a:lnTo>
                      <a:pt x="79" y="17"/>
                    </a:lnTo>
                    <a:lnTo>
                      <a:pt x="81" y="19"/>
                    </a:lnTo>
                    <a:lnTo>
                      <a:pt x="83" y="19"/>
                    </a:lnTo>
                    <a:lnTo>
                      <a:pt x="85" y="19"/>
                    </a:lnTo>
                    <a:lnTo>
                      <a:pt x="87" y="19"/>
                    </a:lnTo>
                    <a:lnTo>
                      <a:pt x="89" y="19"/>
                    </a:lnTo>
                    <a:lnTo>
                      <a:pt x="91" y="19"/>
                    </a:lnTo>
                    <a:lnTo>
                      <a:pt x="93" y="19"/>
                    </a:lnTo>
                    <a:lnTo>
                      <a:pt x="93" y="17"/>
                    </a:lnTo>
                    <a:lnTo>
                      <a:pt x="93" y="19"/>
                    </a:lnTo>
                    <a:lnTo>
                      <a:pt x="94" y="19"/>
                    </a:lnTo>
                    <a:lnTo>
                      <a:pt x="94" y="21"/>
                    </a:lnTo>
                    <a:lnTo>
                      <a:pt x="96" y="21"/>
                    </a:lnTo>
                    <a:lnTo>
                      <a:pt x="96" y="23"/>
                    </a:lnTo>
                    <a:lnTo>
                      <a:pt x="94" y="23"/>
                    </a:lnTo>
                    <a:lnTo>
                      <a:pt x="96" y="25"/>
                    </a:lnTo>
                    <a:lnTo>
                      <a:pt x="96" y="26"/>
                    </a:lnTo>
                    <a:lnTo>
                      <a:pt x="98" y="26"/>
                    </a:lnTo>
                    <a:lnTo>
                      <a:pt x="98" y="25"/>
                    </a:lnTo>
                    <a:lnTo>
                      <a:pt x="98" y="26"/>
                    </a:lnTo>
                    <a:lnTo>
                      <a:pt x="98" y="25"/>
                    </a:lnTo>
                    <a:lnTo>
                      <a:pt x="100" y="25"/>
                    </a:lnTo>
                    <a:lnTo>
                      <a:pt x="102" y="25"/>
                    </a:lnTo>
                    <a:lnTo>
                      <a:pt x="102" y="23"/>
                    </a:lnTo>
                    <a:lnTo>
                      <a:pt x="102" y="21"/>
                    </a:lnTo>
                    <a:lnTo>
                      <a:pt x="104" y="21"/>
                    </a:lnTo>
                    <a:lnTo>
                      <a:pt x="104" y="19"/>
                    </a:lnTo>
                    <a:lnTo>
                      <a:pt x="106" y="19"/>
                    </a:lnTo>
                    <a:lnTo>
                      <a:pt x="106" y="17"/>
                    </a:lnTo>
                    <a:lnTo>
                      <a:pt x="106" y="15"/>
                    </a:lnTo>
                    <a:lnTo>
                      <a:pt x="108" y="15"/>
                    </a:lnTo>
                    <a:lnTo>
                      <a:pt x="110" y="15"/>
                    </a:lnTo>
                    <a:lnTo>
                      <a:pt x="112" y="13"/>
                    </a:lnTo>
                    <a:lnTo>
                      <a:pt x="112" y="15"/>
                    </a:lnTo>
                    <a:lnTo>
                      <a:pt x="110" y="15"/>
                    </a:lnTo>
                    <a:lnTo>
                      <a:pt x="110" y="17"/>
                    </a:lnTo>
                    <a:lnTo>
                      <a:pt x="112" y="17"/>
                    </a:lnTo>
                    <a:lnTo>
                      <a:pt x="112" y="15"/>
                    </a:lnTo>
                    <a:lnTo>
                      <a:pt x="112" y="17"/>
                    </a:lnTo>
                    <a:lnTo>
                      <a:pt x="114" y="17"/>
                    </a:lnTo>
                    <a:lnTo>
                      <a:pt x="116" y="17"/>
                    </a:lnTo>
                    <a:lnTo>
                      <a:pt x="118" y="17"/>
                    </a:lnTo>
                    <a:lnTo>
                      <a:pt x="118" y="19"/>
                    </a:lnTo>
                    <a:lnTo>
                      <a:pt x="119" y="19"/>
                    </a:lnTo>
                    <a:lnTo>
                      <a:pt x="119" y="17"/>
                    </a:lnTo>
                    <a:lnTo>
                      <a:pt x="121" y="17"/>
                    </a:lnTo>
                    <a:lnTo>
                      <a:pt x="121" y="15"/>
                    </a:lnTo>
                    <a:lnTo>
                      <a:pt x="123" y="15"/>
                    </a:lnTo>
                    <a:lnTo>
                      <a:pt x="123" y="13"/>
                    </a:lnTo>
                    <a:lnTo>
                      <a:pt x="125" y="13"/>
                    </a:lnTo>
                    <a:lnTo>
                      <a:pt x="127" y="13"/>
                    </a:lnTo>
                    <a:lnTo>
                      <a:pt x="129" y="13"/>
                    </a:lnTo>
                    <a:lnTo>
                      <a:pt x="131" y="13"/>
                    </a:lnTo>
                    <a:lnTo>
                      <a:pt x="131" y="15"/>
                    </a:lnTo>
                    <a:lnTo>
                      <a:pt x="131" y="17"/>
                    </a:lnTo>
                    <a:lnTo>
                      <a:pt x="133" y="17"/>
                    </a:lnTo>
                    <a:lnTo>
                      <a:pt x="133" y="19"/>
                    </a:lnTo>
                    <a:lnTo>
                      <a:pt x="133" y="21"/>
                    </a:lnTo>
                    <a:lnTo>
                      <a:pt x="135" y="21"/>
                    </a:lnTo>
                    <a:lnTo>
                      <a:pt x="133" y="23"/>
                    </a:lnTo>
                    <a:lnTo>
                      <a:pt x="135" y="23"/>
                    </a:lnTo>
                    <a:lnTo>
                      <a:pt x="133" y="25"/>
                    </a:lnTo>
                    <a:lnTo>
                      <a:pt x="133" y="26"/>
                    </a:lnTo>
                    <a:lnTo>
                      <a:pt x="131" y="28"/>
                    </a:lnTo>
                    <a:lnTo>
                      <a:pt x="133" y="28"/>
                    </a:lnTo>
                    <a:lnTo>
                      <a:pt x="133" y="30"/>
                    </a:lnTo>
                    <a:lnTo>
                      <a:pt x="135" y="30"/>
                    </a:lnTo>
                    <a:lnTo>
                      <a:pt x="135" y="32"/>
                    </a:lnTo>
                    <a:lnTo>
                      <a:pt x="137" y="32"/>
                    </a:lnTo>
                    <a:lnTo>
                      <a:pt x="137" y="34"/>
                    </a:lnTo>
                    <a:lnTo>
                      <a:pt x="139" y="34"/>
                    </a:lnTo>
                    <a:lnTo>
                      <a:pt x="139" y="32"/>
                    </a:lnTo>
                    <a:close/>
                    <a:moveTo>
                      <a:pt x="81" y="57"/>
                    </a:moveTo>
                    <a:lnTo>
                      <a:pt x="81" y="55"/>
                    </a:lnTo>
                    <a:lnTo>
                      <a:pt x="79" y="55"/>
                    </a:lnTo>
                    <a:lnTo>
                      <a:pt x="79" y="57"/>
                    </a:lnTo>
                    <a:lnTo>
                      <a:pt x="79" y="59"/>
                    </a:lnTo>
                    <a:lnTo>
                      <a:pt x="77" y="59"/>
                    </a:lnTo>
                    <a:lnTo>
                      <a:pt x="79" y="59"/>
                    </a:lnTo>
                    <a:lnTo>
                      <a:pt x="79" y="61"/>
                    </a:lnTo>
                    <a:lnTo>
                      <a:pt x="79" y="59"/>
                    </a:lnTo>
                    <a:lnTo>
                      <a:pt x="81" y="59"/>
                    </a:lnTo>
                    <a:lnTo>
                      <a:pt x="81" y="61"/>
                    </a:lnTo>
                    <a:lnTo>
                      <a:pt x="83" y="61"/>
                    </a:lnTo>
                    <a:lnTo>
                      <a:pt x="83" y="59"/>
                    </a:lnTo>
                    <a:lnTo>
                      <a:pt x="81" y="59"/>
                    </a:lnTo>
                    <a:lnTo>
                      <a:pt x="83" y="59"/>
                    </a:lnTo>
                    <a:lnTo>
                      <a:pt x="81" y="57"/>
                    </a:lnTo>
                    <a:close/>
                    <a:moveTo>
                      <a:pt x="87" y="65"/>
                    </a:moveTo>
                    <a:lnTo>
                      <a:pt x="87" y="63"/>
                    </a:lnTo>
                    <a:lnTo>
                      <a:pt x="85" y="63"/>
                    </a:lnTo>
                    <a:lnTo>
                      <a:pt x="85" y="65"/>
                    </a:lnTo>
                    <a:lnTo>
                      <a:pt x="83" y="63"/>
                    </a:lnTo>
                    <a:lnTo>
                      <a:pt x="83" y="65"/>
                    </a:lnTo>
                    <a:lnTo>
                      <a:pt x="81" y="65"/>
                    </a:lnTo>
                    <a:lnTo>
                      <a:pt x="83" y="65"/>
                    </a:lnTo>
                    <a:lnTo>
                      <a:pt x="81" y="65"/>
                    </a:lnTo>
                    <a:lnTo>
                      <a:pt x="83" y="65"/>
                    </a:lnTo>
                    <a:lnTo>
                      <a:pt x="83" y="67"/>
                    </a:lnTo>
                    <a:lnTo>
                      <a:pt x="81" y="67"/>
                    </a:lnTo>
                    <a:lnTo>
                      <a:pt x="81" y="69"/>
                    </a:lnTo>
                    <a:lnTo>
                      <a:pt x="81" y="71"/>
                    </a:lnTo>
                    <a:lnTo>
                      <a:pt x="81" y="69"/>
                    </a:lnTo>
                    <a:lnTo>
                      <a:pt x="79" y="69"/>
                    </a:lnTo>
                    <a:lnTo>
                      <a:pt x="79" y="71"/>
                    </a:lnTo>
                    <a:lnTo>
                      <a:pt x="79" y="73"/>
                    </a:lnTo>
                    <a:lnTo>
                      <a:pt x="77" y="73"/>
                    </a:lnTo>
                    <a:lnTo>
                      <a:pt x="75" y="73"/>
                    </a:lnTo>
                    <a:lnTo>
                      <a:pt x="75" y="75"/>
                    </a:lnTo>
                    <a:lnTo>
                      <a:pt x="75" y="73"/>
                    </a:lnTo>
                    <a:lnTo>
                      <a:pt x="75" y="75"/>
                    </a:lnTo>
                    <a:lnTo>
                      <a:pt x="77" y="73"/>
                    </a:lnTo>
                    <a:lnTo>
                      <a:pt x="77" y="75"/>
                    </a:lnTo>
                    <a:lnTo>
                      <a:pt x="75" y="76"/>
                    </a:lnTo>
                    <a:lnTo>
                      <a:pt x="75" y="78"/>
                    </a:lnTo>
                    <a:lnTo>
                      <a:pt x="75" y="80"/>
                    </a:lnTo>
                    <a:lnTo>
                      <a:pt x="73" y="80"/>
                    </a:lnTo>
                    <a:lnTo>
                      <a:pt x="71" y="80"/>
                    </a:lnTo>
                    <a:lnTo>
                      <a:pt x="71" y="82"/>
                    </a:lnTo>
                    <a:lnTo>
                      <a:pt x="73" y="82"/>
                    </a:lnTo>
                    <a:lnTo>
                      <a:pt x="75" y="82"/>
                    </a:lnTo>
                    <a:lnTo>
                      <a:pt x="73" y="82"/>
                    </a:lnTo>
                    <a:lnTo>
                      <a:pt x="73" y="84"/>
                    </a:lnTo>
                    <a:lnTo>
                      <a:pt x="73" y="86"/>
                    </a:lnTo>
                    <a:lnTo>
                      <a:pt x="75" y="88"/>
                    </a:lnTo>
                    <a:lnTo>
                      <a:pt x="73" y="88"/>
                    </a:lnTo>
                    <a:lnTo>
                      <a:pt x="73" y="90"/>
                    </a:lnTo>
                    <a:lnTo>
                      <a:pt x="71" y="90"/>
                    </a:lnTo>
                    <a:lnTo>
                      <a:pt x="71" y="92"/>
                    </a:lnTo>
                    <a:lnTo>
                      <a:pt x="73" y="92"/>
                    </a:lnTo>
                    <a:lnTo>
                      <a:pt x="71" y="94"/>
                    </a:lnTo>
                    <a:lnTo>
                      <a:pt x="73" y="94"/>
                    </a:lnTo>
                    <a:lnTo>
                      <a:pt x="73" y="92"/>
                    </a:lnTo>
                    <a:lnTo>
                      <a:pt x="75" y="90"/>
                    </a:lnTo>
                    <a:lnTo>
                      <a:pt x="77" y="92"/>
                    </a:lnTo>
                    <a:lnTo>
                      <a:pt x="79" y="92"/>
                    </a:lnTo>
                    <a:lnTo>
                      <a:pt x="81" y="92"/>
                    </a:lnTo>
                    <a:lnTo>
                      <a:pt x="81" y="90"/>
                    </a:lnTo>
                    <a:lnTo>
                      <a:pt x="83" y="90"/>
                    </a:lnTo>
                    <a:lnTo>
                      <a:pt x="85" y="90"/>
                    </a:lnTo>
                    <a:lnTo>
                      <a:pt x="87" y="88"/>
                    </a:lnTo>
                    <a:lnTo>
                      <a:pt x="87" y="86"/>
                    </a:lnTo>
                    <a:lnTo>
                      <a:pt x="89" y="88"/>
                    </a:lnTo>
                    <a:lnTo>
                      <a:pt x="91" y="88"/>
                    </a:lnTo>
                    <a:lnTo>
                      <a:pt x="91" y="86"/>
                    </a:lnTo>
                    <a:lnTo>
                      <a:pt x="89" y="86"/>
                    </a:lnTo>
                    <a:lnTo>
                      <a:pt x="91" y="84"/>
                    </a:lnTo>
                    <a:lnTo>
                      <a:pt x="91" y="86"/>
                    </a:lnTo>
                    <a:lnTo>
                      <a:pt x="91" y="84"/>
                    </a:lnTo>
                    <a:lnTo>
                      <a:pt x="89" y="84"/>
                    </a:lnTo>
                    <a:lnTo>
                      <a:pt x="91" y="82"/>
                    </a:lnTo>
                    <a:lnTo>
                      <a:pt x="91" y="80"/>
                    </a:lnTo>
                    <a:lnTo>
                      <a:pt x="93" y="80"/>
                    </a:lnTo>
                    <a:lnTo>
                      <a:pt x="91" y="78"/>
                    </a:lnTo>
                    <a:lnTo>
                      <a:pt x="91" y="75"/>
                    </a:lnTo>
                    <a:lnTo>
                      <a:pt x="91" y="73"/>
                    </a:lnTo>
                    <a:lnTo>
                      <a:pt x="89" y="73"/>
                    </a:lnTo>
                    <a:lnTo>
                      <a:pt x="89" y="71"/>
                    </a:lnTo>
                    <a:lnTo>
                      <a:pt x="87" y="69"/>
                    </a:lnTo>
                    <a:lnTo>
                      <a:pt x="89" y="69"/>
                    </a:lnTo>
                    <a:lnTo>
                      <a:pt x="89" y="67"/>
                    </a:lnTo>
                    <a:lnTo>
                      <a:pt x="87" y="67"/>
                    </a:lnTo>
                    <a:lnTo>
                      <a:pt x="87" y="69"/>
                    </a:lnTo>
                    <a:lnTo>
                      <a:pt x="85" y="69"/>
                    </a:lnTo>
                    <a:lnTo>
                      <a:pt x="83" y="69"/>
                    </a:lnTo>
                    <a:lnTo>
                      <a:pt x="83" y="67"/>
                    </a:lnTo>
                    <a:lnTo>
                      <a:pt x="83" y="65"/>
                    </a:lnTo>
                    <a:lnTo>
                      <a:pt x="83" y="67"/>
                    </a:lnTo>
                    <a:lnTo>
                      <a:pt x="83" y="65"/>
                    </a:lnTo>
                    <a:lnTo>
                      <a:pt x="85" y="65"/>
                    </a:lnTo>
                    <a:lnTo>
                      <a:pt x="87" y="65"/>
                    </a:lnTo>
                    <a:close/>
                    <a:moveTo>
                      <a:pt x="93" y="80"/>
                    </a:moveTo>
                    <a:lnTo>
                      <a:pt x="91" y="80"/>
                    </a:lnTo>
                    <a:lnTo>
                      <a:pt x="93" y="80"/>
                    </a:lnTo>
                    <a:lnTo>
                      <a:pt x="93" y="82"/>
                    </a:lnTo>
                    <a:lnTo>
                      <a:pt x="93" y="80"/>
                    </a:lnTo>
                    <a:close/>
                    <a:moveTo>
                      <a:pt x="70" y="80"/>
                    </a:moveTo>
                    <a:lnTo>
                      <a:pt x="68" y="80"/>
                    </a:lnTo>
                    <a:lnTo>
                      <a:pt x="68" y="82"/>
                    </a:lnTo>
                    <a:lnTo>
                      <a:pt x="66" y="82"/>
                    </a:lnTo>
                    <a:lnTo>
                      <a:pt x="68" y="82"/>
                    </a:lnTo>
                    <a:lnTo>
                      <a:pt x="70" y="82"/>
                    </a:lnTo>
                    <a:lnTo>
                      <a:pt x="70" y="80"/>
                    </a:lnTo>
                    <a:close/>
                    <a:moveTo>
                      <a:pt x="68" y="80"/>
                    </a:moveTo>
                    <a:lnTo>
                      <a:pt x="66" y="80"/>
                    </a:lnTo>
                    <a:lnTo>
                      <a:pt x="68" y="80"/>
                    </a:lnTo>
                    <a:close/>
                    <a:moveTo>
                      <a:pt x="77" y="73"/>
                    </a:moveTo>
                    <a:lnTo>
                      <a:pt x="79" y="73"/>
                    </a:lnTo>
                    <a:lnTo>
                      <a:pt x="77" y="7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65">
                <a:extLst>
                  <a:ext uri="{FF2B5EF4-FFF2-40B4-BE49-F238E27FC236}">
                    <a16:creationId xmlns="" xmlns:a16="http://schemas.microsoft.com/office/drawing/2014/main" id="{DD101163-8393-49C0-8E3C-8E0DD5305CB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89138" y="3441701"/>
                <a:ext cx="42863" cy="61913"/>
              </a:xfrm>
              <a:custGeom>
                <a:avLst/>
                <a:gdLst>
                  <a:gd name="T0" fmla="*/ 4 w 27"/>
                  <a:gd name="T1" fmla="*/ 27 h 39"/>
                  <a:gd name="T2" fmla="*/ 0 w 27"/>
                  <a:gd name="T3" fmla="*/ 27 h 39"/>
                  <a:gd name="T4" fmla="*/ 2 w 27"/>
                  <a:gd name="T5" fmla="*/ 25 h 39"/>
                  <a:gd name="T6" fmla="*/ 2 w 27"/>
                  <a:gd name="T7" fmla="*/ 25 h 39"/>
                  <a:gd name="T8" fmla="*/ 2 w 27"/>
                  <a:gd name="T9" fmla="*/ 25 h 39"/>
                  <a:gd name="T10" fmla="*/ 13 w 27"/>
                  <a:gd name="T11" fmla="*/ 18 h 39"/>
                  <a:gd name="T12" fmla="*/ 27 w 27"/>
                  <a:gd name="T13" fmla="*/ 25 h 39"/>
                  <a:gd name="T14" fmla="*/ 27 w 27"/>
                  <a:gd name="T15" fmla="*/ 25 h 39"/>
                  <a:gd name="T16" fmla="*/ 27 w 27"/>
                  <a:gd name="T17" fmla="*/ 25 h 39"/>
                  <a:gd name="T18" fmla="*/ 19 w 27"/>
                  <a:gd name="T19" fmla="*/ 10 h 39"/>
                  <a:gd name="T20" fmla="*/ 17 w 27"/>
                  <a:gd name="T21" fmla="*/ 12 h 39"/>
                  <a:gd name="T22" fmla="*/ 17 w 27"/>
                  <a:gd name="T23" fmla="*/ 12 h 39"/>
                  <a:gd name="T24" fmla="*/ 19 w 27"/>
                  <a:gd name="T25" fmla="*/ 14 h 39"/>
                  <a:gd name="T26" fmla="*/ 21 w 27"/>
                  <a:gd name="T27" fmla="*/ 12 h 39"/>
                  <a:gd name="T28" fmla="*/ 23 w 27"/>
                  <a:gd name="T29" fmla="*/ 14 h 39"/>
                  <a:gd name="T30" fmla="*/ 23 w 27"/>
                  <a:gd name="T31" fmla="*/ 16 h 39"/>
                  <a:gd name="T32" fmla="*/ 25 w 27"/>
                  <a:gd name="T33" fmla="*/ 18 h 39"/>
                  <a:gd name="T34" fmla="*/ 25 w 27"/>
                  <a:gd name="T35" fmla="*/ 23 h 39"/>
                  <a:gd name="T36" fmla="*/ 25 w 27"/>
                  <a:gd name="T37" fmla="*/ 25 h 39"/>
                  <a:gd name="T38" fmla="*/ 23 w 27"/>
                  <a:gd name="T39" fmla="*/ 29 h 39"/>
                  <a:gd name="T40" fmla="*/ 25 w 27"/>
                  <a:gd name="T41" fmla="*/ 31 h 39"/>
                  <a:gd name="T42" fmla="*/ 23 w 27"/>
                  <a:gd name="T43" fmla="*/ 31 h 39"/>
                  <a:gd name="T44" fmla="*/ 25 w 27"/>
                  <a:gd name="T45" fmla="*/ 33 h 39"/>
                  <a:gd name="T46" fmla="*/ 21 w 27"/>
                  <a:gd name="T47" fmla="*/ 31 h 39"/>
                  <a:gd name="T48" fmla="*/ 19 w 27"/>
                  <a:gd name="T49" fmla="*/ 35 h 39"/>
                  <a:gd name="T50" fmla="*/ 15 w 27"/>
                  <a:gd name="T51" fmla="*/ 35 h 39"/>
                  <a:gd name="T52" fmla="*/ 13 w 27"/>
                  <a:gd name="T53" fmla="*/ 37 h 39"/>
                  <a:gd name="T54" fmla="*/ 9 w 27"/>
                  <a:gd name="T55" fmla="*/ 35 h 39"/>
                  <a:gd name="T56" fmla="*/ 7 w 27"/>
                  <a:gd name="T57" fmla="*/ 39 h 39"/>
                  <a:gd name="T58" fmla="*/ 7 w 27"/>
                  <a:gd name="T59" fmla="*/ 37 h 39"/>
                  <a:gd name="T60" fmla="*/ 5 w 27"/>
                  <a:gd name="T61" fmla="*/ 35 h 39"/>
                  <a:gd name="T62" fmla="*/ 7 w 27"/>
                  <a:gd name="T63" fmla="*/ 33 h 39"/>
                  <a:gd name="T64" fmla="*/ 7 w 27"/>
                  <a:gd name="T65" fmla="*/ 31 h 39"/>
                  <a:gd name="T66" fmla="*/ 7 w 27"/>
                  <a:gd name="T67" fmla="*/ 27 h 39"/>
                  <a:gd name="T68" fmla="*/ 7 w 27"/>
                  <a:gd name="T69" fmla="*/ 27 h 39"/>
                  <a:gd name="T70" fmla="*/ 5 w 27"/>
                  <a:gd name="T71" fmla="*/ 25 h 39"/>
                  <a:gd name="T72" fmla="*/ 9 w 27"/>
                  <a:gd name="T73" fmla="*/ 25 h 39"/>
                  <a:gd name="T74" fmla="*/ 9 w 27"/>
                  <a:gd name="T75" fmla="*/ 21 h 39"/>
                  <a:gd name="T76" fmla="*/ 11 w 27"/>
                  <a:gd name="T77" fmla="*/ 18 h 39"/>
                  <a:gd name="T78" fmla="*/ 9 w 27"/>
                  <a:gd name="T79" fmla="*/ 18 h 39"/>
                  <a:gd name="T80" fmla="*/ 9 w 27"/>
                  <a:gd name="T81" fmla="*/ 18 h 39"/>
                  <a:gd name="T82" fmla="*/ 13 w 27"/>
                  <a:gd name="T83" fmla="*/ 18 h 39"/>
                  <a:gd name="T84" fmla="*/ 13 w 27"/>
                  <a:gd name="T85" fmla="*/ 14 h 39"/>
                  <a:gd name="T86" fmla="*/ 15 w 27"/>
                  <a:gd name="T87" fmla="*/ 16 h 39"/>
                  <a:gd name="T88" fmla="*/ 15 w 27"/>
                  <a:gd name="T89" fmla="*/ 12 h 39"/>
                  <a:gd name="T90" fmla="*/ 17 w 27"/>
                  <a:gd name="T91" fmla="*/ 10 h 39"/>
                  <a:gd name="T92" fmla="*/ 17 w 27"/>
                  <a:gd name="T93" fmla="*/ 10 h 39"/>
                  <a:gd name="T94" fmla="*/ 17 w 27"/>
                  <a:gd name="T95" fmla="*/ 10 h 39"/>
                  <a:gd name="T96" fmla="*/ 19 w 27"/>
                  <a:gd name="T97" fmla="*/ 10 h 39"/>
                  <a:gd name="T98" fmla="*/ 21 w 27"/>
                  <a:gd name="T99" fmla="*/ 8 h 39"/>
                  <a:gd name="T100" fmla="*/ 15 w 27"/>
                  <a:gd name="T101" fmla="*/ 2 h 39"/>
                  <a:gd name="T102" fmla="*/ 15 w 27"/>
                  <a:gd name="T103" fmla="*/ 4 h 39"/>
                  <a:gd name="T104" fmla="*/ 17 w 27"/>
                  <a:gd name="T105" fmla="*/ 6 h 39"/>
                  <a:gd name="T106" fmla="*/ 15 w 27"/>
                  <a:gd name="T107" fmla="*/ 4 h 39"/>
                  <a:gd name="T108" fmla="*/ 13 w 27"/>
                  <a:gd name="T109" fmla="*/ 6 h 39"/>
                  <a:gd name="T110" fmla="*/ 11 w 27"/>
                  <a:gd name="T111" fmla="*/ 4 h 39"/>
                  <a:gd name="T112" fmla="*/ 13 w 27"/>
                  <a:gd name="T113" fmla="*/ 2 h 39"/>
                  <a:gd name="T114" fmla="*/ 15 w 27"/>
                  <a:gd name="T115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7" h="39">
                    <a:moveTo>
                      <a:pt x="4" y="25"/>
                    </a:moveTo>
                    <a:lnTo>
                      <a:pt x="4" y="27"/>
                    </a:lnTo>
                    <a:lnTo>
                      <a:pt x="2" y="27"/>
                    </a:lnTo>
                    <a:lnTo>
                      <a:pt x="0" y="27"/>
                    </a:lnTo>
                    <a:lnTo>
                      <a:pt x="2" y="27"/>
                    </a:lnTo>
                    <a:lnTo>
                      <a:pt x="2" y="25"/>
                    </a:lnTo>
                    <a:lnTo>
                      <a:pt x="4" y="25"/>
                    </a:lnTo>
                    <a:close/>
                    <a:moveTo>
                      <a:pt x="2" y="25"/>
                    </a:moveTo>
                    <a:lnTo>
                      <a:pt x="0" y="25"/>
                    </a:lnTo>
                    <a:lnTo>
                      <a:pt x="2" y="25"/>
                    </a:lnTo>
                    <a:close/>
                    <a:moveTo>
                      <a:pt x="11" y="18"/>
                    </a:moveTo>
                    <a:lnTo>
                      <a:pt x="13" y="18"/>
                    </a:lnTo>
                    <a:lnTo>
                      <a:pt x="11" y="18"/>
                    </a:lnTo>
                    <a:close/>
                    <a:moveTo>
                      <a:pt x="27" y="25"/>
                    </a:moveTo>
                    <a:lnTo>
                      <a:pt x="27" y="27"/>
                    </a:lnTo>
                    <a:lnTo>
                      <a:pt x="27" y="25"/>
                    </a:lnTo>
                    <a:lnTo>
                      <a:pt x="25" y="25"/>
                    </a:lnTo>
                    <a:lnTo>
                      <a:pt x="27" y="25"/>
                    </a:lnTo>
                    <a:close/>
                    <a:moveTo>
                      <a:pt x="21" y="10"/>
                    </a:moveTo>
                    <a:lnTo>
                      <a:pt x="19" y="10"/>
                    </a:lnTo>
                    <a:lnTo>
                      <a:pt x="17" y="10"/>
                    </a:lnTo>
                    <a:lnTo>
                      <a:pt x="17" y="12"/>
                    </a:lnTo>
                    <a:lnTo>
                      <a:pt x="17" y="10"/>
                    </a:lnTo>
                    <a:lnTo>
                      <a:pt x="17" y="12"/>
                    </a:lnTo>
                    <a:lnTo>
                      <a:pt x="17" y="14"/>
                    </a:lnTo>
                    <a:lnTo>
                      <a:pt x="19" y="14"/>
                    </a:lnTo>
                    <a:lnTo>
                      <a:pt x="21" y="14"/>
                    </a:lnTo>
                    <a:lnTo>
                      <a:pt x="21" y="12"/>
                    </a:lnTo>
                    <a:lnTo>
                      <a:pt x="23" y="12"/>
                    </a:lnTo>
                    <a:lnTo>
                      <a:pt x="23" y="14"/>
                    </a:lnTo>
                    <a:lnTo>
                      <a:pt x="21" y="14"/>
                    </a:lnTo>
                    <a:lnTo>
                      <a:pt x="23" y="16"/>
                    </a:lnTo>
                    <a:lnTo>
                      <a:pt x="23" y="18"/>
                    </a:lnTo>
                    <a:lnTo>
                      <a:pt x="25" y="18"/>
                    </a:lnTo>
                    <a:lnTo>
                      <a:pt x="25" y="20"/>
                    </a:lnTo>
                    <a:lnTo>
                      <a:pt x="25" y="23"/>
                    </a:lnTo>
                    <a:lnTo>
                      <a:pt x="27" y="25"/>
                    </a:lnTo>
                    <a:lnTo>
                      <a:pt x="25" y="25"/>
                    </a:lnTo>
                    <a:lnTo>
                      <a:pt x="25" y="27"/>
                    </a:lnTo>
                    <a:lnTo>
                      <a:pt x="23" y="29"/>
                    </a:lnTo>
                    <a:lnTo>
                      <a:pt x="25" y="29"/>
                    </a:lnTo>
                    <a:lnTo>
                      <a:pt x="25" y="31"/>
                    </a:lnTo>
                    <a:lnTo>
                      <a:pt x="25" y="29"/>
                    </a:lnTo>
                    <a:lnTo>
                      <a:pt x="23" y="31"/>
                    </a:lnTo>
                    <a:lnTo>
                      <a:pt x="25" y="31"/>
                    </a:lnTo>
                    <a:lnTo>
                      <a:pt x="25" y="33"/>
                    </a:lnTo>
                    <a:lnTo>
                      <a:pt x="23" y="33"/>
                    </a:lnTo>
                    <a:lnTo>
                      <a:pt x="21" y="31"/>
                    </a:lnTo>
                    <a:lnTo>
                      <a:pt x="21" y="33"/>
                    </a:lnTo>
                    <a:lnTo>
                      <a:pt x="19" y="35"/>
                    </a:lnTo>
                    <a:lnTo>
                      <a:pt x="17" y="35"/>
                    </a:lnTo>
                    <a:lnTo>
                      <a:pt x="15" y="35"/>
                    </a:lnTo>
                    <a:lnTo>
                      <a:pt x="15" y="37"/>
                    </a:lnTo>
                    <a:lnTo>
                      <a:pt x="13" y="37"/>
                    </a:lnTo>
                    <a:lnTo>
                      <a:pt x="11" y="37"/>
                    </a:lnTo>
                    <a:lnTo>
                      <a:pt x="9" y="35"/>
                    </a:lnTo>
                    <a:lnTo>
                      <a:pt x="7" y="37"/>
                    </a:lnTo>
                    <a:lnTo>
                      <a:pt x="7" y="39"/>
                    </a:lnTo>
                    <a:lnTo>
                      <a:pt x="5" y="39"/>
                    </a:lnTo>
                    <a:lnTo>
                      <a:pt x="7" y="37"/>
                    </a:lnTo>
                    <a:lnTo>
                      <a:pt x="5" y="37"/>
                    </a:lnTo>
                    <a:lnTo>
                      <a:pt x="5" y="35"/>
                    </a:lnTo>
                    <a:lnTo>
                      <a:pt x="7" y="35"/>
                    </a:lnTo>
                    <a:lnTo>
                      <a:pt x="7" y="33"/>
                    </a:lnTo>
                    <a:lnTo>
                      <a:pt x="9" y="33"/>
                    </a:lnTo>
                    <a:lnTo>
                      <a:pt x="7" y="31"/>
                    </a:lnTo>
                    <a:lnTo>
                      <a:pt x="7" y="29"/>
                    </a:lnTo>
                    <a:lnTo>
                      <a:pt x="7" y="27"/>
                    </a:lnTo>
                    <a:lnTo>
                      <a:pt x="9" y="27"/>
                    </a:lnTo>
                    <a:lnTo>
                      <a:pt x="7" y="27"/>
                    </a:lnTo>
                    <a:lnTo>
                      <a:pt x="5" y="27"/>
                    </a:lnTo>
                    <a:lnTo>
                      <a:pt x="5" y="25"/>
                    </a:lnTo>
                    <a:lnTo>
                      <a:pt x="7" y="25"/>
                    </a:lnTo>
                    <a:lnTo>
                      <a:pt x="9" y="25"/>
                    </a:lnTo>
                    <a:lnTo>
                      <a:pt x="9" y="23"/>
                    </a:lnTo>
                    <a:lnTo>
                      <a:pt x="9" y="21"/>
                    </a:lnTo>
                    <a:lnTo>
                      <a:pt x="11" y="20"/>
                    </a:lnTo>
                    <a:lnTo>
                      <a:pt x="11" y="18"/>
                    </a:lnTo>
                    <a:lnTo>
                      <a:pt x="9" y="20"/>
                    </a:lnTo>
                    <a:lnTo>
                      <a:pt x="9" y="18"/>
                    </a:lnTo>
                    <a:lnTo>
                      <a:pt x="9" y="20"/>
                    </a:lnTo>
                    <a:lnTo>
                      <a:pt x="9" y="18"/>
                    </a:lnTo>
                    <a:lnTo>
                      <a:pt x="11" y="18"/>
                    </a:lnTo>
                    <a:lnTo>
                      <a:pt x="13" y="18"/>
                    </a:lnTo>
                    <a:lnTo>
                      <a:pt x="13" y="16"/>
                    </a:lnTo>
                    <a:lnTo>
                      <a:pt x="13" y="14"/>
                    </a:lnTo>
                    <a:lnTo>
                      <a:pt x="15" y="14"/>
                    </a:lnTo>
                    <a:lnTo>
                      <a:pt x="15" y="16"/>
                    </a:lnTo>
                    <a:lnTo>
                      <a:pt x="15" y="14"/>
                    </a:lnTo>
                    <a:lnTo>
                      <a:pt x="15" y="12"/>
                    </a:lnTo>
                    <a:lnTo>
                      <a:pt x="17" y="12"/>
                    </a:lnTo>
                    <a:lnTo>
                      <a:pt x="17" y="10"/>
                    </a:lnTo>
                    <a:lnTo>
                      <a:pt x="15" y="10"/>
                    </a:lnTo>
                    <a:lnTo>
                      <a:pt x="17" y="10"/>
                    </a:lnTo>
                    <a:lnTo>
                      <a:pt x="15" y="10"/>
                    </a:lnTo>
                    <a:lnTo>
                      <a:pt x="17" y="10"/>
                    </a:lnTo>
                    <a:lnTo>
                      <a:pt x="17" y="8"/>
                    </a:lnTo>
                    <a:lnTo>
                      <a:pt x="19" y="10"/>
                    </a:lnTo>
                    <a:lnTo>
                      <a:pt x="19" y="8"/>
                    </a:lnTo>
                    <a:lnTo>
                      <a:pt x="21" y="8"/>
                    </a:lnTo>
                    <a:lnTo>
                      <a:pt x="21" y="10"/>
                    </a:lnTo>
                    <a:close/>
                    <a:moveTo>
                      <a:pt x="15" y="2"/>
                    </a:moveTo>
                    <a:lnTo>
                      <a:pt x="17" y="4"/>
                    </a:lnTo>
                    <a:lnTo>
                      <a:pt x="15" y="4"/>
                    </a:lnTo>
                    <a:lnTo>
                      <a:pt x="17" y="4"/>
                    </a:lnTo>
                    <a:lnTo>
                      <a:pt x="17" y="6"/>
                    </a:lnTo>
                    <a:lnTo>
                      <a:pt x="15" y="6"/>
                    </a:lnTo>
                    <a:lnTo>
                      <a:pt x="15" y="4"/>
                    </a:lnTo>
                    <a:lnTo>
                      <a:pt x="13" y="4"/>
                    </a:lnTo>
                    <a:lnTo>
                      <a:pt x="13" y="6"/>
                    </a:lnTo>
                    <a:lnTo>
                      <a:pt x="13" y="4"/>
                    </a:lnTo>
                    <a:lnTo>
                      <a:pt x="11" y="4"/>
                    </a:lnTo>
                    <a:lnTo>
                      <a:pt x="13" y="4"/>
                    </a:lnTo>
                    <a:lnTo>
                      <a:pt x="13" y="2"/>
                    </a:lnTo>
                    <a:lnTo>
                      <a:pt x="13" y="0"/>
                    </a:lnTo>
                    <a:lnTo>
                      <a:pt x="15" y="0"/>
                    </a:lnTo>
                    <a:lnTo>
                      <a:pt x="15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Freeform 66">
                <a:extLst>
                  <a:ext uri="{FF2B5EF4-FFF2-40B4-BE49-F238E27FC236}">
                    <a16:creationId xmlns="" xmlns:a16="http://schemas.microsoft.com/office/drawing/2014/main" id="{C891803F-027F-45A9-84CE-9E2191016B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66963" y="2127251"/>
                <a:ext cx="444500" cy="490538"/>
              </a:xfrm>
              <a:custGeom>
                <a:avLst/>
                <a:gdLst>
                  <a:gd name="T0" fmla="*/ 167 w 280"/>
                  <a:gd name="T1" fmla="*/ 44 h 309"/>
                  <a:gd name="T2" fmla="*/ 173 w 280"/>
                  <a:gd name="T3" fmla="*/ 50 h 309"/>
                  <a:gd name="T4" fmla="*/ 169 w 280"/>
                  <a:gd name="T5" fmla="*/ 57 h 309"/>
                  <a:gd name="T6" fmla="*/ 179 w 280"/>
                  <a:gd name="T7" fmla="*/ 65 h 309"/>
                  <a:gd name="T8" fmla="*/ 173 w 280"/>
                  <a:gd name="T9" fmla="*/ 71 h 309"/>
                  <a:gd name="T10" fmla="*/ 159 w 280"/>
                  <a:gd name="T11" fmla="*/ 75 h 309"/>
                  <a:gd name="T12" fmla="*/ 134 w 280"/>
                  <a:gd name="T13" fmla="*/ 75 h 309"/>
                  <a:gd name="T14" fmla="*/ 144 w 280"/>
                  <a:gd name="T15" fmla="*/ 77 h 309"/>
                  <a:gd name="T16" fmla="*/ 165 w 280"/>
                  <a:gd name="T17" fmla="*/ 73 h 309"/>
                  <a:gd name="T18" fmla="*/ 179 w 280"/>
                  <a:gd name="T19" fmla="*/ 69 h 309"/>
                  <a:gd name="T20" fmla="*/ 188 w 280"/>
                  <a:gd name="T21" fmla="*/ 71 h 309"/>
                  <a:gd name="T22" fmla="*/ 198 w 280"/>
                  <a:gd name="T23" fmla="*/ 82 h 309"/>
                  <a:gd name="T24" fmla="*/ 207 w 280"/>
                  <a:gd name="T25" fmla="*/ 96 h 309"/>
                  <a:gd name="T26" fmla="*/ 215 w 280"/>
                  <a:gd name="T27" fmla="*/ 98 h 309"/>
                  <a:gd name="T28" fmla="*/ 217 w 280"/>
                  <a:gd name="T29" fmla="*/ 109 h 309"/>
                  <a:gd name="T30" fmla="*/ 227 w 280"/>
                  <a:gd name="T31" fmla="*/ 115 h 309"/>
                  <a:gd name="T32" fmla="*/ 234 w 280"/>
                  <a:gd name="T33" fmla="*/ 130 h 309"/>
                  <a:gd name="T34" fmla="*/ 242 w 280"/>
                  <a:gd name="T35" fmla="*/ 154 h 309"/>
                  <a:gd name="T36" fmla="*/ 246 w 280"/>
                  <a:gd name="T37" fmla="*/ 177 h 309"/>
                  <a:gd name="T38" fmla="*/ 248 w 280"/>
                  <a:gd name="T39" fmla="*/ 182 h 309"/>
                  <a:gd name="T40" fmla="*/ 253 w 280"/>
                  <a:gd name="T41" fmla="*/ 186 h 309"/>
                  <a:gd name="T42" fmla="*/ 255 w 280"/>
                  <a:gd name="T43" fmla="*/ 198 h 309"/>
                  <a:gd name="T44" fmla="*/ 263 w 280"/>
                  <a:gd name="T45" fmla="*/ 213 h 309"/>
                  <a:gd name="T46" fmla="*/ 271 w 280"/>
                  <a:gd name="T47" fmla="*/ 225 h 309"/>
                  <a:gd name="T48" fmla="*/ 271 w 280"/>
                  <a:gd name="T49" fmla="*/ 240 h 309"/>
                  <a:gd name="T50" fmla="*/ 278 w 280"/>
                  <a:gd name="T51" fmla="*/ 248 h 309"/>
                  <a:gd name="T52" fmla="*/ 271 w 280"/>
                  <a:gd name="T53" fmla="*/ 267 h 309"/>
                  <a:gd name="T54" fmla="*/ 269 w 280"/>
                  <a:gd name="T55" fmla="*/ 284 h 309"/>
                  <a:gd name="T56" fmla="*/ 253 w 280"/>
                  <a:gd name="T57" fmla="*/ 273 h 309"/>
                  <a:gd name="T58" fmla="*/ 261 w 280"/>
                  <a:gd name="T59" fmla="*/ 292 h 309"/>
                  <a:gd name="T60" fmla="*/ 244 w 280"/>
                  <a:gd name="T61" fmla="*/ 302 h 309"/>
                  <a:gd name="T62" fmla="*/ 223 w 280"/>
                  <a:gd name="T63" fmla="*/ 307 h 309"/>
                  <a:gd name="T64" fmla="*/ 186 w 280"/>
                  <a:gd name="T65" fmla="*/ 305 h 309"/>
                  <a:gd name="T66" fmla="*/ 169 w 280"/>
                  <a:gd name="T67" fmla="*/ 296 h 309"/>
                  <a:gd name="T68" fmla="*/ 150 w 280"/>
                  <a:gd name="T69" fmla="*/ 271 h 309"/>
                  <a:gd name="T70" fmla="*/ 144 w 280"/>
                  <a:gd name="T71" fmla="*/ 263 h 309"/>
                  <a:gd name="T72" fmla="*/ 125 w 280"/>
                  <a:gd name="T73" fmla="*/ 246 h 309"/>
                  <a:gd name="T74" fmla="*/ 109 w 280"/>
                  <a:gd name="T75" fmla="*/ 217 h 309"/>
                  <a:gd name="T76" fmla="*/ 107 w 280"/>
                  <a:gd name="T77" fmla="*/ 211 h 309"/>
                  <a:gd name="T78" fmla="*/ 102 w 280"/>
                  <a:gd name="T79" fmla="*/ 205 h 309"/>
                  <a:gd name="T80" fmla="*/ 102 w 280"/>
                  <a:gd name="T81" fmla="*/ 200 h 309"/>
                  <a:gd name="T82" fmla="*/ 96 w 280"/>
                  <a:gd name="T83" fmla="*/ 188 h 309"/>
                  <a:gd name="T84" fmla="*/ 90 w 280"/>
                  <a:gd name="T85" fmla="*/ 194 h 309"/>
                  <a:gd name="T86" fmla="*/ 84 w 280"/>
                  <a:gd name="T87" fmla="*/ 171 h 309"/>
                  <a:gd name="T88" fmla="*/ 81 w 280"/>
                  <a:gd name="T89" fmla="*/ 152 h 309"/>
                  <a:gd name="T90" fmla="*/ 77 w 280"/>
                  <a:gd name="T91" fmla="*/ 155 h 309"/>
                  <a:gd name="T92" fmla="*/ 77 w 280"/>
                  <a:gd name="T93" fmla="*/ 169 h 309"/>
                  <a:gd name="T94" fmla="*/ 77 w 280"/>
                  <a:gd name="T95" fmla="*/ 178 h 309"/>
                  <a:gd name="T96" fmla="*/ 77 w 280"/>
                  <a:gd name="T97" fmla="*/ 186 h 309"/>
                  <a:gd name="T98" fmla="*/ 75 w 280"/>
                  <a:gd name="T99" fmla="*/ 194 h 309"/>
                  <a:gd name="T100" fmla="*/ 50 w 280"/>
                  <a:gd name="T101" fmla="*/ 192 h 309"/>
                  <a:gd name="T102" fmla="*/ 21 w 280"/>
                  <a:gd name="T103" fmla="*/ 105 h 309"/>
                  <a:gd name="T104" fmla="*/ 54 w 280"/>
                  <a:gd name="T105" fmla="*/ 27 h 309"/>
                  <a:gd name="T106" fmla="*/ 98 w 280"/>
                  <a:gd name="T107" fmla="*/ 5 h 309"/>
                  <a:gd name="T108" fmla="*/ 127 w 280"/>
                  <a:gd name="T109" fmla="*/ 2 h 309"/>
                  <a:gd name="T110" fmla="*/ 146 w 280"/>
                  <a:gd name="T111" fmla="*/ 7 h 309"/>
                  <a:gd name="T112" fmla="*/ 154 w 280"/>
                  <a:gd name="T113" fmla="*/ 17 h 309"/>
                  <a:gd name="T114" fmla="*/ 156 w 280"/>
                  <a:gd name="T115" fmla="*/ 19 h 309"/>
                  <a:gd name="T116" fmla="*/ 169 w 280"/>
                  <a:gd name="T117" fmla="*/ 19 h 309"/>
                  <a:gd name="T118" fmla="*/ 177 w 280"/>
                  <a:gd name="T119" fmla="*/ 21 h 309"/>
                  <a:gd name="T120" fmla="*/ 182 w 280"/>
                  <a:gd name="T121" fmla="*/ 32 h 309"/>
                  <a:gd name="T122" fmla="*/ 173 w 280"/>
                  <a:gd name="T123" fmla="*/ 38 h 309"/>
                  <a:gd name="T124" fmla="*/ 161 w 280"/>
                  <a:gd name="T125" fmla="*/ 29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80" h="309">
                    <a:moveTo>
                      <a:pt x="167" y="44"/>
                    </a:moveTo>
                    <a:lnTo>
                      <a:pt x="167" y="42"/>
                    </a:lnTo>
                    <a:lnTo>
                      <a:pt x="165" y="42"/>
                    </a:lnTo>
                    <a:lnTo>
                      <a:pt x="163" y="42"/>
                    </a:lnTo>
                    <a:lnTo>
                      <a:pt x="165" y="44"/>
                    </a:lnTo>
                    <a:lnTo>
                      <a:pt x="163" y="44"/>
                    </a:lnTo>
                    <a:lnTo>
                      <a:pt x="163" y="42"/>
                    </a:lnTo>
                    <a:lnTo>
                      <a:pt x="161" y="42"/>
                    </a:lnTo>
                    <a:lnTo>
                      <a:pt x="159" y="42"/>
                    </a:lnTo>
                    <a:lnTo>
                      <a:pt x="157" y="42"/>
                    </a:lnTo>
                    <a:lnTo>
                      <a:pt x="159" y="42"/>
                    </a:lnTo>
                    <a:lnTo>
                      <a:pt x="159" y="44"/>
                    </a:lnTo>
                    <a:lnTo>
                      <a:pt x="159" y="42"/>
                    </a:lnTo>
                    <a:lnTo>
                      <a:pt x="161" y="42"/>
                    </a:lnTo>
                    <a:lnTo>
                      <a:pt x="161" y="44"/>
                    </a:lnTo>
                    <a:lnTo>
                      <a:pt x="163" y="44"/>
                    </a:lnTo>
                    <a:lnTo>
                      <a:pt x="161" y="44"/>
                    </a:lnTo>
                    <a:lnTo>
                      <a:pt x="163" y="44"/>
                    </a:lnTo>
                    <a:lnTo>
                      <a:pt x="165" y="44"/>
                    </a:lnTo>
                    <a:lnTo>
                      <a:pt x="165" y="42"/>
                    </a:lnTo>
                    <a:lnTo>
                      <a:pt x="165" y="44"/>
                    </a:lnTo>
                    <a:lnTo>
                      <a:pt x="167" y="44"/>
                    </a:lnTo>
                    <a:lnTo>
                      <a:pt x="165" y="44"/>
                    </a:lnTo>
                    <a:lnTo>
                      <a:pt x="167" y="44"/>
                    </a:lnTo>
                    <a:lnTo>
                      <a:pt x="165" y="44"/>
                    </a:lnTo>
                    <a:lnTo>
                      <a:pt x="167" y="44"/>
                    </a:lnTo>
                    <a:lnTo>
                      <a:pt x="169" y="44"/>
                    </a:lnTo>
                    <a:lnTo>
                      <a:pt x="167" y="44"/>
                    </a:lnTo>
                    <a:lnTo>
                      <a:pt x="167" y="46"/>
                    </a:lnTo>
                    <a:lnTo>
                      <a:pt x="167" y="44"/>
                    </a:lnTo>
                    <a:lnTo>
                      <a:pt x="167" y="46"/>
                    </a:lnTo>
                    <a:lnTo>
                      <a:pt x="167" y="48"/>
                    </a:lnTo>
                    <a:lnTo>
                      <a:pt x="167" y="46"/>
                    </a:lnTo>
                    <a:lnTo>
                      <a:pt x="169" y="46"/>
                    </a:lnTo>
                    <a:lnTo>
                      <a:pt x="171" y="46"/>
                    </a:lnTo>
                    <a:lnTo>
                      <a:pt x="169" y="46"/>
                    </a:lnTo>
                    <a:lnTo>
                      <a:pt x="171" y="46"/>
                    </a:lnTo>
                    <a:lnTo>
                      <a:pt x="171" y="48"/>
                    </a:lnTo>
                    <a:lnTo>
                      <a:pt x="171" y="46"/>
                    </a:lnTo>
                    <a:lnTo>
                      <a:pt x="171" y="48"/>
                    </a:lnTo>
                    <a:lnTo>
                      <a:pt x="173" y="48"/>
                    </a:lnTo>
                    <a:lnTo>
                      <a:pt x="173" y="50"/>
                    </a:lnTo>
                    <a:lnTo>
                      <a:pt x="173" y="48"/>
                    </a:lnTo>
                    <a:lnTo>
                      <a:pt x="173" y="50"/>
                    </a:lnTo>
                    <a:lnTo>
                      <a:pt x="171" y="50"/>
                    </a:lnTo>
                    <a:lnTo>
                      <a:pt x="171" y="52"/>
                    </a:lnTo>
                    <a:lnTo>
                      <a:pt x="169" y="52"/>
                    </a:lnTo>
                    <a:lnTo>
                      <a:pt x="169" y="54"/>
                    </a:lnTo>
                    <a:lnTo>
                      <a:pt x="169" y="52"/>
                    </a:lnTo>
                    <a:lnTo>
                      <a:pt x="171" y="52"/>
                    </a:lnTo>
                    <a:lnTo>
                      <a:pt x="173" y="52"/>
                    </a:lnTo>
                    <a:lnTo>
                      <a:pt x="175" y="52"/>
                    </a:lnTo>
                    <a:lnTo>
                      <a:pt x="177" y="52"/>
                    </a:lnTo>
                    <a:lnTo>
                      <a:pt x="177" y="54"/>
                    </a:lnTo>
                    <a:lnTo>
                      <a:pt x="175" y="54"/>
                    </a:lnTo>
                    <a:lnTo>
                      <a:pt x="173" y="54"/>
                    </a:lnTo>
                    <a:lnTo>
                      <a:pt x="171" y="54"/>
                    </a:lnTo>
                    <a:lnTo>
                      <a:pt x="171" y="55"/>
                    </a:lnTo>
                    <a:lnTo>
                      <a:pt x="169" y="55"/>
                    </a:lnTo>
                    <a:lnTo>
                      <a:pt x="167" y="55"/>
                    </a:lnTo>
                    <a:lnTo>
                      <a:pt x="167" y="57"/>
                    </a:lnTo>
                    <a:lnTo>
                      <a:pt x="165" y="57"/>
                    </a:lnTo>
                    <a:lnTo>
                      <a:pt x="167" y="57"/>
                    </a:lnTo>
                    <a:lnTo>
                      <a:pt x="167" y="59"/>
                    </a:lnTo>
                    <a:lnTo>
                      <a:pt x="167" y="57"/>
                    </a:lnTo>
                    <a:lnTo>
                      <a:pt x="169" y="57"/>
                    </a:lnTo>
                    <a:lnTo>
                      <a:pt x="169" y="55"/>
                    </a:lnTo>
                    <a:lnTo>
                      <a:pt x="171" y="57"/>
                    </a:lnTo>
                    <a:lnTo>
                      <a:pt x="171" y="55"/>
                    </a:lnTo>
                    <a:lnTo>
                      <a:pt x="173" y="55"/>
                    </a:lnTo>
                    <a:lnTo>
                      <a:pt x="175" y="55"/>
                    </a:lnTo>
                    <a:lnTo>
                      <a:pt x="177" y="55"/>
                    </a:lnTo>
                    <a:lnTo>
                      <a:pt x="177" y="57"/>
                    </a:lnTo>
                    <a:lnTo>
                      <a:pt x="179" y="57"/>
                    </a:lnTo>
                    <a:lnTo>
                      <a:pt x="180" y="57"/>
                    </a:lnTo>
                    <a:lnTo>
                      <a:pt x="180" y="59"/>
                    </a:lnTo>
                    <a:lnTo>
                      <a:pt x="180" y="57"/>
                    </a:lnTo>
                    <a:lnTo>
                      <a:pt x="180" y="59"/>
                    </a:lnTo>
                    <a:lnTo>
                      <a:pt x="182" y="59"/>
                    </a:lnTo>
                    <a:lnTo>
                      <a:pt x="182" y="61"/>
                    </a:lnTo>
                    <a:lnTo>
                      <a:pt x="180" y="61"/>
                    </a:lnTo>
                    <a:lnTo>
                      <a:pt x="180" y="63"/>
                    </a:lnTo>
                    <a:lnTo>
                      <a:pt x="180" y="65"/>
                    </a:lnTo>
                    <a:lnTo>
                      <a:pt x="179" y="65"/>
                    </a:lnTo>
                    <a:lnTo>
                      <a:pt x="180" y="65"/>
                    </a:lnTo>
                    <a:lnTo>
                      <a:pt x="179" y="65"/>
                    </a:lnTo>
                    <a:lnTo>
                      <a:pt x="180" y="65"/>
                    </a:lnTo>
                    <a:lnTo>
                      <a:pt x="179" y="65"/>
                    </a:lnTo>
                    <a:lnTo>
                      <a:pt x="177" y="65"/>
                    </a:lnTo>
                    <a:lnTo>
                      <a:pt x="175" y="65"/>
                    </a:lnTo>
                    <a:lnTo>
                      <a:pt x="175" y="63"/>
                    </a:lnTo>
                    <a:lnTo>
                      <a:pt x="175" y="65"/>
                    </a:lnTo>
                    <a:lnTo>
                      <a:pt x="175" y="63"/>
                    </a:lnTo>
                    <a:lnTo>
                      <a:pt x="175" y="65"/>
                    </a:lnTo>
                    <a:lnTo>
                      <a:pt x="173" y="65"/>
                    </a:lnTo>
                    <a:lnTo>
                      <a:pt x="173" y="63"/>
                    </a:lnTo>
                    <a:lnTo>
                      <a:pt x="173" y="65"/>
                    </a:lnTo>
                    <a:lnTo>
                      <a:pt x="175" y="65"/>
                    </a:lnTo>
                    <a:lnTo>
                      <a:pt x="177" y="65"/>
                    </a:lnTo>
                    <a:lnTo>
                      <a:pt x="177" y="67"/>
                    </a:lnTo>
                    <a:lnTo>
                      <a:pt x="177" y="69"/>
                    </a:lnTo>
                    <a:lnTo>
                      <a:pt x="177" y="67"/>
                    </a:lnTo>
                    <a:lnTo>
                      <a:pt x="177" y="69"/>
                    </a:lnTo>
                    <a:lnTo>
                      <a:pt x="175" y="69"/>
                    </a:lnTo>
                    <a:lnTo>
                      <a:pt x="175" y="67"/>
                    </a:lnTo>
                    <a:lnTo>
                      <a:pt x="173" y="67"/>
                    </a:lnTo>
                    <a:lnTo>
                      <a:pt x="175" y="67"/>
                    </a:lnTo>
                    <a:lnTo>
                      <a:pt x="175" y="69"/>
                    </a:lnTo>
                    <a:lnTo>
                      <a:pt x="173" y="69"/>
                    </a:lnTo>
                    <a:lnTo>
                      <a:pt x="173" y="71"/>
                    </a:lnTo>
                    <a:lnTo>
                      <a:pt x="173" y="69"/>
                    </a:lnTo>
                    <a:lnTo>
                      <a:pt x="173" y="71"/>
                    </a:lnTo>
                    <a:lnTo>
                      <a:pt x="175" y="69"/>
                    </a:lnTo>
                    <a:lnTo>
                      <a:pt x="175" y="71"/>
                    </a:lnTo>
                    <a:lnTo>
                      <a:pt x="177" y="71"/>
                    </a:lnTo>
                    <a:lnTo>
                      <a:pt x="175" y="71"/>
                    </a:lnTo>
                    <a:lnTo>
                      <a:pt x="175" y="73"/>
                    </a:lnTo>
                    <a:lnTo>
                      <a:pt x="173" y="73"/>
                    </a:lnTo>
                    <a:lnTo>
                      <a:pt x="171" y="73"/>
                    </a:lnTo>
                    <a:lnTo>
                      <a:pt x="169" y="73"/>
                    </a:lnTo>
                    <a:lnTo>
                      <a:pt x="167" y="73"/>
                    </a:lnTo>
                    <a:lnTo>
                      <a:pt x="165" y="73"/>
                    </a:lnTo>
                    <a:lnTo>
                      <a:pt x="165" y="71"/>
                    </a:lnTo>
                    <a:lnTo>
                      <a:pt x="163" y="71"/>
                    </a:lnTo>
                    <a:lnTo>
                      <a:pt x="161" y="71"/>
                    </a:lnTo>
                    <a:lnTo>
                      <a:pt x="161" y="73"/>
                    </a:lnTo>
                    <a:lnTo>
                      <a:pt x="161" y="71"/>
                    </a:lnTo>
                    <a:lnTo>
                      <a:pt x="159" y="71"/>
                    </a:lnTo>
                    <a:lnTo>
                      <a:pt x="161" y="71"/>
                    </a:lnTo>
                    <a:lnTo>
                      <a:pt x="161" y="73"/>
                    </a:lnTo>
                    <a:lnTo>
                      <a:pt x="159" y="73"/>
                    </a:lnTo>
                    <a:lnTo>
                      <a:pt x="159" y="75"/>
                    </a:lnTo>
                    <a:lnTo>
                      <a:pt x="157" y="75"/>
                    </a:lnTo>
                    <a:lnTo>
                      <a:pt x="157" y="77"/>
                    </a:lnTo>
                    <a:lnTo>
                      <a:pt x="157" y="79"/>
                    </a:lnTo>
                    <a:lnTo>
                      <a:pt x="156" y="79"/>
                    </a:lnTo>
                    <a:lnTo>
                      <a:pt x="154" y="79"/>
                    </a:lnTo>
                    <a:lnTo>
                      <a:pt x="152" y="79"/>
                    </a:lnTo>
                    <a:lnTo>
                      <a:pt x="150" y="79"/>
                    </a:lnTo>
                    <a:lnTo>
                      <a:pt x="148" y="79"/>
                    </a:lnTo>
                    <a:lnTo>
                      <a:pt x="146" y="79"/>
                    </a:lnTo>
                    <a:lnTo>
                      <a:pt x="146" y="77"/>
                    </a:lnTo>
                    <a:lnTo>
                      <a:pt x="146" y="79"/>
                    </a:lnTo>
                    <a:lnTo>
                      <a:pt x="146" y="77"/>
                    </a:lnTo>
                    <a:lnTo>
                      <a:pt x="144" y="77"/>
                    </a:lnTo>
                    <a:lnTo>
                      <a:pt x="142" y="77"/>
                    </a:lnTo>
                    <a:lnTo>
                      <a:pt x="140" y="77"/>
                    </a:lnTo>
                    <a:lnTo>
                      <a:pt x="140" y="75"/>
                    </a:lnTo>
                    <a:lnTo>
                      <a:pt x="140" y="77"/>
                    </a:lnTo>
                    <a:lnTo>
                      <a:pt x="138" y="75"/>
                    </a:lnTo>
                    <a:lnTo>
                      <a:pt x="138" y="77"/>
                    </a:lnTo>
                    <a:lnTo>
                      <a:pt x="138" y="75"/>
                    </a:lnTo>
                    <a:lnTo>
                      <a:pt x="136" y="75"/>
                    </a:lnTo>
                    <a:lnTo>
                      <a:pt x="134" y="75"/>
                    </a:lnTo>
                    <a:lnTo>
                      <a:pt x="132" y="75"/>
                    </a:lnTo>
                    <a:lnTo>
                      <a:pt x="131" y="75"/>
                    </a:lnTo>
                    <a:lnTo>
                      <a:pt x="129" y="75"/>
                    </a:lnTo>
                    <a:lnTo>
                      <a:pt x="127" y="75"/>
                    </a:lnTo>
                    <a:lnTo>
                      <a:pt x="127" y="73"/>
                    </a:lnTo>
                    <a:lnTo>
                      <a:pt x="127" y="75"/>
                    </a:lnTo>
                    <a:lnTo>
                      <a:pt x="125" y="75"/>
                    </a:lnTo>
                    <a:lnTo>
                      <a:pt x="127" y="75"/>
                    </a:lnTo>
                    <a:lnTo>
                      <a:pt x="125" y="75"/>
                    </a:lnTo>
                    <a:lnTo>
                      <a:pt x="127" y="75"/>
                    </a:lnTo>
                    <a:lnTo>
                      <a:pt x="127" y="73"/>
                    </a:lnTo>
                    <a:lnTo>
                      <a:pt x="127" y="75"/>
                    </a:lnTo>
                    <a:lnTo>
                      <a:pt x="129" y="75"/>
                    </a:lnTo>
                    <a:lnTo>
                      <a:pt x="131" y="75"/>
                    </a:lnTo>
                    <a:lnTo>
                      <a:pt x="132" y="75"/>
                    </a:lnTo>
                    <a:lnTo>
                      <a:pt x="134" y="75"/>
                    </a:lnTo>
                    <a:lnTo>
                      <a:pt x="136" y="75"/>
                    </a:lnTo>
                    <a:lnTo>
                      <a:pt x="138" y="75"/>
                    </a:lnTo>
                    <a:lnTo>
                      <a:pt x="138" y="77"/>
                    </a:lnTo>
                    <a:lnTo>
                      <a:pt x="140" y="77"/>
                    </a:lnTo>
                    <a:lnTo>
                      <a:pt x="142" y="77"/>
                    </a:lnTo>
                    <a:lnTo>
                      <a:pt x="144" y="77"/>
                    </a:lnTo>
                    <a:lnTo>
                      <a:pt x="144" y="79"/>
                    </a:lnTo>
                    <a:lnTo>
                      <a:pt x="146" y="79"/>
                    </a:lnTo>
                    <a:lnTo>
                      <a:pt x="148" y="79"/>
                    </a:lnTo>
                    <a:lnTo>
                      <a:pt x="150" y="79"/>
                    </a:lnTo>
                    <a:lnTo>
                      <a:pt x="152" y="79"/>
                    </a:lnTo>
                    <a:lnTo>
                      <a:pt x="152" y="80"/>
                    </a:lnTo>
                    <a:lnTo>
                      <a:pt x="152" y="79"/>
                    </a:lnTo>
                    <a:lnTo>
                      <a:pt x="154" y="80"/>
                    </a:lnTo>
                    <a:lnTo>
                      <a:pt x="154" y="79"/>
                    </a:lnTo>
                    <a:lnTo>
                      <a:pt x="156" y="79"/>
                    </a:lnTo>
                    <a:lnTo>
                      <a:pt x="156" y="80"/>
                    </a:lnTo>
                    <a:lnTo>
                      <a:pt x="156" y="79"/>
                    </a:lnTo>
                    <a:lnTo>
                      <a:pt x="157" y="79"/>
                    </a:lnTo>
                    <a:lnTo>
                      <a:pt x="157" y="77"/>
                    </a:lnTo>
                    <a:lnTo>
                      <a:pt x="159" y="77"/>
                    </a:lnTo>
                    <a:lnTo>
                      <a:pt x="159" y="75"/>
                    </a:lnTo>
                    <a:lnTo>
                      <a:pt x="159" y="77"/>
                    </a:lnTo>
                    <a:lnTo>
                      <a:pt x="159" y="75"/>
                    </a:lnTo>
                    <a:lnTo>
                      <a:pt x="161" y="75"/>
                    </a:lnTo>
                    <a:lnTo>
                      <a:pt x="161" y="73"/>
                    </a:lnTo>
                    <a:lnTo>
                      <a:pt x="163" y="73"/>
                    </a:lnTo>
                    <a:lnTo>
                      <a:pt x="165" y="73"/>
                    </a:lnTo>
                    <a:lnTo>
                      <a:pt x="167" y="73"/>
                    </a:lnTo>
                    <a:lnTo>
                      <a:pt x="165" y="75"/>
                    </a:lnTo>
                    <a:lnTo>
                      <a:pt x="167" y="75"/>
                    </a:lnTo>
                    <a:lnTo>
                      <a:pt x="167" y="73"/>
                    </a:lnTo>
                    <a:lnTo>
                      <a:pt x="167" y="75"/>
                    </a:lnTo>
                    <a:lnTo>
                      <a:pt x="169" y="75"/>
                    </a:lnTo>
                    <a:lnTo>
                      <a:pt x="171" y="75"/>
                    </a:lnTo>
                    <a:lnTo>
                      <a:pt x="171" y="77"/>
                    </a:lnTo>
                    <a:lnTo>
                      <a:pt x="171" y="75"/>
                    </a:lnTo>
                    <a:lnTo>
                      <a:pt x="173" y="75"/>
                    </a:lnTo>
                    <a:lnTo>
                      <a:pt x="175" y="75"/>
                    </a:lnTo>
                    <a:lnTo>
                      <a:pt x="175" y="73"/>
                    </a:lnTo>
                    <a:lnTo>
                      <a:pt x="175" y="75"/>
                    </a:lnTo>
                    <a:lnTo>
                      <a:pt x="177" y="75"/>
                    </a:lnTo>
                    <a:lnTo>
                      <a:pt x="175" y="75"/>
                    </a:lnTo>
                    <a:lnTo>
                      <a:pt x="177" y="75"/>
                    </a:lnTo>
                    <a:lnTo>
                      <a:pt x="177" y="73"/>
                    </a:lnTo>
                    <a:lnTo>
                      <a:pt x="179" y="73"/>
                    </a:lnTo>
                    <a:lnTo>
                      <a:pt x="179" y="75"/>
                    </a:lnTo>
                    <a:lnTo>
                      <a:pt x="179" y="73"/>
                    </a:lnTo>
                    <a:lnTo>
                      <a:pt x="179" y="71"/>
                    </a:lnTo>
                    <a:lnTo>
                      <a:pt x="179" y="69"/>
                    </a:lnTo>
                    <a:lnTo>
                      <a:pt x="180" y="69"/>
                    </a:lnTo>
                    <a:lnTo>
                      <a:pt x="179" y="69"/>
                    </a:lnTo>
                    <a:lnTo>
                      <a:pt x="180" y="69"/>
                    </a:lnTo>
                    <a:lnTo>
                      <a:pt x="180" y="67"/>
                    </a:lnTo>
                    <a:lnTo>
                      <a:pt x="182" y="67"/>
                    </a:lnTo>
                    <a:lnTo>
                      <a:pt x="182" y="69"/>
                    </a:lnTo>
                    <a:lnTo>
                      <a:pt x="184" y="69"/>
                    </a:lnTo>
                    <a:lnTo>
                      <a:pt x="182" y="69"/>
                    </a:lnTo>
                    <a:lnTo>
                      <a:pt x="182" y="71"/>
                    </a:lnTo>
                    <a:lnTo>
                      <a:pt x="182" y="69"/>
                    </a:lnTo>
                    <a:lnTo>
                      <a:pt x="182" y="71"/>
                    </a:lnTo>
                    <a:lnTo>
                      <a:pt x="184" y="71"/>
                    </a:lnTo>
                    <a:lnTo>
                      <a:pt x="186" y="71"/>
                    </a:lnTo>
                    <a:lnTo>
                      <a:pt x="184" y="71"/>
                    </a:lnTo>
                    <a:lnTo>
                      <a:pt x="186" y="71"/>
                    </a:lnTo>
                    <a:lnTo>
                      <a:pt x="186" y="73"/>
                    </a:lnTo>
                    <a:lnTo>
                      <a:pt x="184" y="73"/>
                    </a:lnTo>
                    <a:lnTo>
                      <a:pt x="186" y="73"/>
                    </a:lnTo>
                    <a:lnTo>
                      <a:pt x="184" y="73"/>
                    </a:lnTo>
                    <a:lnTo>
                      <a:pt x="186" y="73"/>
                    </a:lnTo>
                    <a:lnTo>
                      <a:pt x="186" y="71"/>
                    </a:lnTo>
                    <a:lnTo>
                      <a:pt x="188" y="71"/>
                    </a:lnTo>
                    <a:lnTo>
                      <a:pt x="186" y="71"/>
                    </a:lnTo>
                    <a:lnTo>
                      <a:pt x="188" y="73"/>
                    </a:lnTo>
                    <a:lnTo>
                      <a:pt x="188" y="71"/>
                    </a:lnTo>
                    <a:lnTo>
                      <a:pt x="188" y="73"/>
                    </a:lnTo>
                    <a:lnTo>
                      <a:pt x="188" y="71"/>
                    </a:lnTo>
                    <a:lnTo>
                      <a:pt x="188" y="73"/>
                    </a:lnTo>
                    <a:lnTo>
                      <a:pt x="190" y="73"/>
                    </a:lnTo>
                    <a:lnTo>
                      <a:pt x="190" y="75"/>
                    </a:lnTo>
                    <a:lnTo>
                      <a:pt x="192" y="75"/>
                    </a:lnTo>
                    <a:lnTo>
                      <a:pt x="190" y="75"/>
                    </a:lnTo>
                    <a:lnTo>
                      <a:pt x="192" y="75"/>
                    </a:lnTo>
                    <a:lnTo>
                      <a:pt x="194" y="75"/>
                    </a:lnTo>
                    <a:lnTo>
                      <a:pt x="194" y="77"/>
                    </a:lnTo>
                    <a:lnTo>
                      <a:pt x="196" y="77"/>
                    </a:lnTo>
                    <a:lnTo>
                      <a:pt x="196" y="79"/>
                    </a:lnTo>
                    <a:lnTo>
                      <a:pt x="198" y="79"/>
                    </a:lnTo>
                    <a:lnTo>
                      <a:pt x="196" y="79"/>
                    </a:lnTo>
                    <a:lnTo>
                      <a:pt x="196" y="80"/>
                    </a:lnTo>
                    <a:lnTo>
                      <a:pt x="198" y="80"/>
                    </a:lnTo>
                    <a:lnTo>
                      <a:pt x="198" y="82"/>
                    </a:lnTo>
                    <a:lnTo>
                      <a:pt x="200" y="82"/>
                    </a:lnTo>
                    <a:lnTo>
                      <a:pt x="198" y="82"/>
                    </a:lnTo>
                    <a:lnTo>
                      <a:pt x="200" y="82"/>
                    </a:lnTo>
                    <a:lnTo>
                      <a:pt x="200" y="84"/>
                    </a:lnTo>
                    <a:lnTo>
                      <a:pt x="200" y="86"/>
                    </a:lnTo>
                    <a:lnTo>
                      <a:pt x="200" y="84"/>
                    </a:lnTo>
                    <a:lnTo>
                      <a:pt x="202" y="84"/>
                    </a:lnTo>
                    <a:lnTo>
                      <a:pt x="202" y="86"/>
                    </a:lnTo>
                    <a:lnTo>
                      <a:pt x="202" y="88"/>
                    </a:lnTo>
                    <a:lnTo>
                      <a:pt x="204" y="88"/>
                    </a:lnTo>
                    <a:lnTo>
                      <a:pt x="202" y="88"/>
                    </a:lnTo>
                    <a:lnTo>
                      <a:pt x="204" y="88"/>
                    </a:lnTo>
                    <a:lnTo>
                      <a:pt x="202" y="88"/>
                    </a:lnTo>
                    <a:lnTo>
                      <a:pt x="204" y="88"/>
                    </a:lnTo>
                    <a:lnTo>
                      <a:pt x="205" y="90"/>
                    </a:lnTo>
                    <a:lnTo>
                      <a:pt x="204" y="90"/>
                    </a:lnTo>
                    <a:lnTo>
                      <a:pt x="205" y="90"/>
                    </a:lnTo>
                    <a:lnTo>
                      <a:pt x="205" y="92"/>
                    </a:lnTo>
                    <a:lnTo>
                      <a:pt x="204" y="92"/>
                    </a:lnTo>
                    <a:lnTo>
                      <a:pt x="205" y="92"/>
                    </a:lnTo>
                    <a:lnTo>
                      <a:pt x="207" y="92"/>
                    </a:lnTo>
                    <a:lnTo>
                      <a:pt x="209" y="94"/>
                    </a:lnTo>
                    <a:lnTo>
                      <a:pt x="207" y="94"/>
                    </a:lnTo>
                    <a:lnTo>
                      <a:pt x="207" y="96"/>
                    </a:lnTo>
                    <a:lnTo>
                      <a:pt x="207" y="98"/>
                    </a:lnTo>
                    <a:lnTo>
                      <a:pt x="207" y="96"/>
                    </a:lnTo>
                    <a:lnTo>
                      <a:pt x="207" y="98"/>
                    </a:lnTo>
                    <a:lnTo>
                      <a:pt x="205" y="98"/>
                    </a:lnTo>
                    <a:lnTo>
                      <a:pt x="207" y="98"/>
                    </a:lnTo>
                    <a:lnTo>
                      <a:pt x="207" y="96"/>
                    </a:lnTo>
                    <a:lnTo>
                      <a:pt x="209" y="96"/>
                    </a:lnTo>
                    <a:lnTo>
                      <a:pt x="207" y="94"/>
                    </a:lnTo>
                    <a:lnTo>
                      <a:pt x="209" y="94"/>
                    </a:lnTo>
                    <a:lnTo>
                      <a:pt x="209" y="96"/>
                    </a:lnTo>
                    <a:lnTo>
                      <a:pt x="209" y="94"/>
                    </a:lnTo>
                    <a:lnTo>
                      <a:pt x="209" y="96"/>
                    </a:lnTo>
                    <a:lnTo>
                      <a:pt x="211" y="96"/>
                    </a:lnTo>
                    <a:lnTo>
                      <a:pt x="211" y="94"/>
                    </a:lnTo>
                    <a:lnTo>
                      <a:pt x="211" y="92"/>
                    </a:lnTo>
                    <a:lnTo>
                      <a:pt x="213" y="92"/>
                    </a:lnTo>
                    <a:lnTo>
                      <a:pt x="213" y="94"/>
                    </a:lnTo>
                    <a:lnTo>
                      <a:pt x="213" y="96"/>
                    </a:lnTo>
                    <a:lnTo>
                      <a:pt x="215" y="96"/>
                    </a:lnTo>
                    <a:lnTo>
                      <a:pt x="215" y="98"/>
                    </a:lnTo>
                    <a:lnTo>
                      <a:pt x="217" y="98"/>
                    </a:lnTo>
                    <a:lnTo>
                      <a:pt x="215" y="98"/>
                    </a:lnTo>
                    <a:lnTo>
                      <a:pt x="217" y="98"/>
                    </a:lnTo>
                    <a:lnTo>
                      <a:pt x="217" y="100"/>
                    </a:lnTo>
                    <a:lnTo>
                      <a:pt x="219" y="100"/>
                    </a:lnTo>
                    <a:lnTo>
                      <a:pt x="219" y="102"/>
                    </a:lnTo>
                    <a:lnTo>
                      <a:pt x="219" y="100"/>
                    </a:lnTo>
                    <a:lnTo>
                      <a:pt x="219" y="102"/>
                    </a:lnTo>
                    <a:lnTo>
                      <a:pt x="221" y="102"/>
                    </a:lnTo>
                    <a:lnTo>
                      <a:pt x="219" y="102"/>
                    </a:lnTo>
                    <a:lnTo>
                      <a:pt x="221" y="102"/>
                    </a:lnTo>
                    <a:lnTo>
                      <a:pt x="219" y="102"/>
                    </a:lnTo>
                    <a:lnTo>
                      <a:pt x="221" y="102"/>
                    </a:lnTo>
                    <a:lnTo>
                      <a:pt x="221" y="104"/>
                    </a:lnTo>
                    <a:lnTo>
                      <a:pt x="221" y="105"/>
                    </a:lnTo>
                    <a:lnTo>
                      <a:pt x="221" y="104"/>
                    </a:lnTo>
                    <a:lnTo>
                      <a:pt x="219" y="105"/>
                    </a:lnTo>
                    <a:lnTo>
                      <a:pt x="217" y="105"/>
                    </a:lnTo>
                    <a:lnTo>
                      <a:pt x="217" y="107"/>
                    </a:lnTo>
                    <a:lnTo>
                      <a:pt x="217" y="109"/>
                    </a:lnTo>
                    <a:lnTo>
                      <a:pt x="215" y="109"/>
                    </a:lnTo>
                    <a:lnTo>
                      <a:pt x="215" y="111"/>
                    </a:lnTo>
                    <a:lnTo>
                      <a:pt x="215" y="109"/>
                    </a:lnTo>
                    <a:lnTo>
                      <a:pt x="217" y="109"/>
                    </a:lnTo>
                    <a:lnTo>
                      <a:pt x="217" y="107"/>
                    </a:lnTo>
                    <a:lnTo>
                      <a:pt x="219" y="107"/>
                    </a:lnTo>
                    <a:lnTo>
                      <a:pt x="217" y="107"/>
                    </a:lnTo>
                    <a:lnTo>
                      <a:pt x="219" y="107"/>
                    </a:lnTo>
                    <a:lnTo>
                      <a:pt x="219" y="105"/>
                    </a:lnTo>
                    <a:lnTo>
                      <a:pt x="221" y="105"/>
                    </a:lnTo>
                    <a:lnTo>
                      <a:pt x="221" y="104"/>
                    </a:lnTo>
                    <a:lnTo>
                      <a:pt x="223" y="104"/>
                    </a:lnTo>
                    <a:lnTo>
                      <a:pt x="223" y="105"/>
                    </a:lnTo>
                    <a:lnTo>
                      <a:pt x="223" y="107"/>
                    </a:lnTo>
                    <a:lnTo>
                      <a:pt x="223" y="109"/>
                    </a:lnTo>
                    <a:lnTo>
                      <a:pt x="223" y="111"/>
                    </a:lnTo>
                    <a:lnTo>
                      <a:pt x="225" y="111"/>
                    </a:lnTo>
                    <a:lnTo>
                      <a:pt x="225" y="109"/>
                    </a:lnTo>
                    <a:lnTo>
                      <a:pt x="225" y="111"/>
                    </a:lnTo>
                    <a:lnTo>
                      <a:pt x="227" y="111"/>
                    </a:lnTo>
                    <a:lnTo>
                      <a:pt x="225" y="111"/>
                    </a:lnTo>
                    <a:lnTo>
                      <a:pt x="227" y="111"/>
                    </a:lnTo>
                    <a:lnTo>
                      <a:pt x="227" y="113"/>
                    </a:lnTo>
                    <a:lnTo>
                      <a:pt x="229" y="113"/>
                    </a:lnTo>
                    <a:lnTo>
                      <a:pt x="229" y="115"/>
                    </a:lnTo>
                    <a:lnTo>
                      <a:pt x="227" y="115"/>
                    </a:lnTo>
                    <a:lnTo>
                      <a:pt x="229" y="115"/>
                    </a:lnTo>
                    <a:lnTo>
                      <a:pt x="227" y="115"/>
                    </a:lnTo>
                    <a:lnTo>
                      <a:pt x="227" y="117"/>
                    </a:lnTo>
                    <a:lnTo>
                      <a:pt x="227" y="119"/>
                    </a:lnTo>
                    <a:lnTo>
                      <a:pt x="227" y="117"/>
                    </a:lnTo>
                    <a:lnTo>
                      <a:pt x="229" y="119"/>
                    </a:lnTo>
                    <a:lnTo>
                      <a:pt x="229" y="117"/>
                    </a:lnTo>
                    <a:lnTo>
                      <a:pt x="229" y="119"/>
                    </a:lnTo>
                    <a:lnTo>
                      <a:pt x="229" y="121"/>
                    </a:lnTo>
                    <a:lnTo>
                      <a:pt x="230" y="121"/>
                    </a:lnTo>
                    <a:lnTo>
                      <a:pt x="229" y="121"/>
                    </a:lnTo>
                    <a:lnTo>
                      <a:pt x="230" y="121"/>
                    </a:lnTo>
                    <a:lnTo>
                      <a:pt x="230" y="123"/>
                    </a:lnTo>
                    <a:lnTo>
                      <a:pt x="229" y="123"/>
                    </a:lnTo>
                    <a:lnTo>
                      <a:pt x="230" y="123"/>
                    </a:lnTo>
                    <a:lnTo>
                      <a:pt x="232" y="123"/>
                    </a:lnTo>
                    <a:lnTo>
                      <a:pt x="230" y="125"/>
                    </a:lnTo>
                    <a:lnTo>
                      <a:pt x="232" y="125"/>
                    </a:lnTo>
                    <a:lnTo>
                      <a:pt x="232" y="127"/>
                    </a:lnTo>
                    <a:lnTo>
                      <a:pt x="232" y="129"/>
                    </a:lnTo>
                    <a:lnTo>
                      <a:pt x="232" y="130"/>
                    </a:lnTo>
                    <a:lnTo>
                      <a:pt x="234" y="130"/>
                    </a:lnTo>
                    <a:lnTo>
                      <a:pt x="234" y="132"/>
                    </a:lnTo>
                    <a:lnTo>
                      <a:pt x="234" y="134"/>
                    </a:lnTo>
                    <a:lnTo>
                      <a:pt x="234" y="136"/>
                    </a:lnTo>
                    <a:lnTo>
                      <a:pt x="236" y="136"/>
                    </a:lnTo>
                    <a:lnTo>
                      <a:pt x="234" y="136"/>
                    </a:lnTo>
                    <a:lnTo>
                      <a:pt x="236" y="136"/>
                    </a:lnTo>
                    <a:lnTo>
                      <a:pt x="236" y="138"/>
                    </a:lnTo>
                    <a:lnTo>
                      <a:pt x="236" y="140"/>
                    </a:lnTo>
                    <a:lnTo>
                      <a:pt x="238" y="140"/>
                    </a:lnTo>
                    <a:lnTo>
                      <a:pt x="238" y="142"/>
                    </a:lnTo>
                    <a:lnTo>
                      <a:pt x="238" y="144"/>
                    </a:lnTo>
                    <a:lnTo>
                      <a:pt x="238" y="146"/>
                    </a:lnTo>
                    <a:lnTo>
                      <a:pt x="240" y="146"/>
                    </a:lnTo>
                    <a:lnTo>
                      <a:pt x="240" y="148"/>
                    </a:lnTo>
                    <a:lnTo>
                      <a:pt x="240" y="150"/>
                    </a:lnTo>
                    <a:lnTo>
                      <a:pt x="242" y="150"/>
                    </a:lnTo>
                    <a:lnTo>
                      <a:pt x="242" y="152"/>
                    </a:lnTo>
                    <a:lnTo>
                      <a:pt x="240" y="152"/>
                    </a:lnTo>
                    <a:lnTo>
                      <a:pt x="242" y="152"/>
                    </a:lnTo>
                    <a:lnTo>
                      <a:pt x="240" y="152"/>
                    </a:lnTo>
                    <a:lnTo>
                      <a:pt x="242" y="152"/>
                    </a:lnTo>
                    <a:lnTo>
                      <a:pt x="242" y="154"/>
                    </a:lnTo>
                    <a:lnTo>
                      <a:pt x="242" y="155"/>
                    </a:lnTo>
                    <a:lnTo>
                      <a:pt x="244" y="155"/>
                    </a:lnTo>
                    <a:lnTo>
                      <a:pt x="244" y="157"/>
                    </a:lnTo>
                    <a:lnTo>
                      <a:pt x="242" y="157"/>
                    </a:lnTo>
                    <a:lnTo>
                      <a:pt x="244" y="157"/>
                    </a:lnTo>
                    <a:lnTo>
                      <a:pt x="244" y="159"/>
                    </a:lnTo>
                    <a:lnTo>
                      <a:pt x="242" y="159"/>
                    </a:lnTo>
                    <a:lnTo>
                      <a:pt x="244" y="159"/>
                    </a:lnTo>
                    <a:lnTo>
                      <a:pt x="244" y="161"/>
                    </a:lnTo>
                    <a:lnTo>
                      <a:pt x="244" y="163"/>
                    </a:lnTo>
                    <a:lnTo>
                      <a:pt x="244" y="165"/>
                    </a:lnTo>
                    <a:lnTo>
                      <a:pt x="244" y="167"/>
                    </a:lnTo>
                    <a:lnTo>
                      <a:pt x="246" y="167"/>
                    </a:lnTo>
                    <a:lnTo>
                      <a:pt x="244" y="167"/>
                    </a:lnTo>
                    <a:lnTo>
                      <a:pt x="244" y="169"/>
                    </a:lnTo>
                    <a:lnTo>
                      <a:pt x="244" y="171"/>
                    </a:lnTo>
                    <a:lnTo>
                      <a:pt x="246" y="171"/>
                    </a:lnTo>
                    <a:lnTo>
                      <a:pt x="246" y="173"/>
                    </a:lnTo>
                    <a:lnTo>
                      <a:pt x="246" y="175"/>
                    </a:lnTo>
                    <a:lnTo>
                      <a:pt x="248" y="175"/>
                    </a:lnTo>
                    <a:lnTo>
                      <a:pt x="248" y="177"/>
                    </a:lnTo>
                    <a:lnTo>
                      <a:pt x="246" y="177"/>
                    </a:lnTo>
                    <a:lnTo>
                      <a:pt x="248" y="177"/>
                    </a:lnTo>
                    <a:lnTo>
                      <a:pt x="248" y="178"/>
                    </a:lnTo>
                    <a:lnTo>
                      <a:pt x="246" y="178"/>
                    </a:lnTo>
                    <a:lnTo>
                      <a:pt x="244" y="178"/>
                    </a:lnTo>
                    <a:lnTo>
                      <a:pt x="246" y="178"/>
                    </a:lnTo>
                    <a:lnTo>
                      <a:pt x="248" y="178"/>
                    </a:lnTo>
                    <a:lnTo>
                      <a:pt x="248" y="180"/>
                    </a:lnTo>
                    <a:lnTo>
                      <a:pt x="246" y="180"/>
                    </a:lnTo>
                    <a:lnTo>
                      <a:pt x="248" y="180"/>
                    </a:lnTo>
                    <a:lnTo>
                      <a:pt x="246" y="180"/>
                    </a:lnTo>
                    <a:lnTo>
                      <a:pt x="248" y="180"/>
                    </a:lnTo>
                    <a:lnTo>
                      <a:pt x="246" y="180"/>
                    </a:lnTo>
                    <a:lnTo>
                      <a:pt x="246" y="182"/>
                    </a:lnTo>
                    <a:lnTo>
                      <a:pt x="246" y="184"/>
                    </a:lnTo>
                    <a:lnTo>
                      <a:pt x="246" y="182"/>
                    </a:lnTo>
                    <a:lnTo>
                      <a:pt x="246" y="184"/>
                    </a:lnTo>
                    <a:lnTo>
                      <a:pt x="246" y="182"/>
                    </a:lnTo>
                    <a:lnTo>
                      <a:pt x="246" y="180"/>
                    </a:lnTo>
                    <a:lnTo>
                      <a:pt x="248" y="180"/>
                    </a:lnTo>
                    <a:lnTo>
                      <a:pt x="248" y="182"/>
                    </a:lnTo>
                    <a:lnTo>
                      <a:pt x="248" y="180"/>
                    </a:lnTo>
                    <a:lnTo>
                      <a:pt x="248" y="182"/>
                    </a:lnTo>
                    <a:lnTo>
                      <a:pt x="248" y="184"/>
                    </a:lnTo>
                    <a:lnTo>
                      <a:pt x="250" y="184"/>
                    </a:lnTo>
                    <a:lnTo>
                      <a:pt x="250" y="186"/>
                    </a:lnTo>
                    <a:lnTo>
                      <a:pt x="250" y="188"/>
                    </a:lnTo>
                    <a:lnTo>
                      <a:pt x="250" y="190"/>
                    </a:lnTo>
                    <a:lnTo>
                      <a:pt x="252" y="190"/>
                    </a:lnTo>
                    <a:lnTo>
                      <a:pt x="252" y="188"/>
                    </a:lnTo>
                    <a:lnTo>
                      <a:pt x="250" y="188"/>
                    </a:lnTo>
                    <a:lnTo>
                      <a:pt x="252" y="188"/>
                    </a:lnTo>
                    <a:lnTo>
                      <a:pt x="252" y="186"/>
                    </a:lnTo>
                    <a:lnTo>
                      <a:pt x="250" y="186"/>
                    </a:lnTo>
                    <a:lnTo>
                      <a:pt x="250" y="184"/>
                    </a:lnTo>
                    <a:lnTo>
                      <a:pt x="248" y="182"/>
                    </a:lnTo>
                    <a:lnTo>
                      <a:pt x="248" y="180"/>
                    </a:lnTo>
                    <a:lnTo>
                      <a:pt x="250" y="180"/>
                    </a:lnTo>
                    <a:lnTo>
                      <a:pt x="250" y="182"/>
                    </a:lnTo>
                    <a:lnTo>
                      <a:pt x="250" y="184"/>
                    </a:lnTo>
                    <a:lnTo>
                      <a:pt x="252" y="184"/>
                    </a:lnTo>
                    <a:lnTo>
                      <a:pt x="252" y="182"/>
                    </a:lnTo>
                    <a:lnTo>
                      <a:pt x="252" y="184"/>
                    </a:lnTo>
                    <a:lnTo>
                      <a:pt x="252" y="186"/>
                    </a:lnTo>
                    <a:lnTo>
                      <a:pt x="253" y="186"/>
                    </a:lnTo>
                    <a:lnTo>
                      <a:pt x="252" y="186"/>
                    </a:lnTo>
                    <a:lnTo>
                      <a:pt x="253" y="186"/>
                    </a:lnTo>
                    <a:lnTo>
                      <a:pt x="253" y="188"/>
                    </a:lnTo>
                    <a:lnTo>
                      <a:pt x="255" y="188"/>
                    </a:lnTo>
                    <a:lnTo>
                      <a:pt x="253" y="188"/>
                    </a:lnTo>
                    <a:lnTo>
                      <a:pt x="255" y="190"/>
                    </a:lnTo>
                    <a:lnTo>
                      <a:pt x="253" y="190"/>
                    </a:lnTo>
                    <a:lnTo>
                      <a:pt x="255" y="190"/>
                    </a:lnTo>
                    <a:lnTo>
                      <a:pt x="255" y="192"/>
                    </a:lnTo>
                    <a:lnTo>
                      <a:pt x="255" y="190"/>
                    </a:lnTo>
                    <a:lnTo>
                      <a:pt x="255" y="192"/>
                    </a:lnTo>
                    <a:lnTo>
                      <a:pt x="253" y="192"/>
                    </a:lnTo>
                    <a:lnTo>
                      <a:pt x="255" y="192"/>
                    </a:lnTo>
                    <a:lnTo>
                      <a:pt x="253" y="192"/>
                    </a:lnTo>
                    <a:lnTo>
                      <a:pt x="255" y="192"/>
                    </a:lnTo>
                    <a:lnTo>
                      <a:pt x="253" y="192"/>
                    </a:lnTo>
                    <a:lnTo>
                      <a:pt x="255" y="192"/>
                    </a:lnTo>
                    <a:lnTo>
                      <a:pt x="253" y="192"/>
                    </a:lnTo>
                    <a:lnTo>
                      <a:pt x="255" y="192"/>
                    </a:lnTo>
                    <a:lnTo>
                      <a:pt x="255" y="194"/>
                    </a:lnTo>
                    <a:lnTo>
                      <a:pt x="255" y="196"/>
                    </a:lnTo>
                    <a:lnTo>
                      <a:pt x="255" y="198"/>
                    </a:lnTo>
                    <a:lnTo>
                      <a:pt x="257" y="198"/>
                    </a:lnTo>
                    <a:lnTo>
                      <a:pt x="257" y="200"/>
                    </a:lnTo>
                    <a:lnTo>
                      <a:pt x="257" y="202"/>
                    </a:lnTo>
                    <a:lnTo>
                      <a:pt x="257" y="203"/>
                    </a:lnTo>
                    <a:lnTo>
                      <a:pt x="259" y="203"/>
                    </a:lnTo>
                    <a:lnTo>
                      <a:pt x="259" y="205"/>
                    </a:lnTo>
                    <a:lnTo>
                      <a:pt x="259" y="207"/>
                    </a:lnTo>
                    <a:lnTo>
                      <a:pt x="259" y="209"/>
                    </a:lnTo>
                    <a:lnTo>
                      <a:pt x="261" y="209"/>
                    </a:lnTo>
                    <a:lnTo>
                      <a:pt x="259" y="209"/>
                    </a:lnTo>
                    <a:lnTo>
                      <a:pt x="261" y="209"/>
                    </a:lnTo>
                    <a:lnTo>
                      <a:pt x="259" y="209"/>
                    </a:lnTo>
                    <a:lnTo>
                      <a:pt x="259" y="211"/>
                    </a:lnTo>
                    <a:lnTo>
                      <a:pt x="261" y="211"/>
                    </a:lnTo>
                    <a:lnTo>
                      <a:pt x="261" y="213"/>
                    </a:lnTo>
                    <a:lnTo>
                      <a:pt x="261" y="215"/>
                    </a:lnTo>
                    <a:lnTo>
                      <a:pt x="263" y="215"/>
                    </a:lnTo>
                    <a:lnTo>
                      <a:pt x="261" y="213"/>
                    </a:lnTo>
                    <a:lnTo>
                      <a:pt x="263" y="211"/>
                    </a:lnTo>
                    <a:lnTo>
                      <a:pt x="263" y="213"/>
                    </a:lnTo>
                    <a:lnTo>
                      <a:pt x="263" y="211"/>
                    </a:lnTo>
                    <a:lnTo>
                      <a:pt x="263" y="213"/>
                    </a:lnTo>
                    <a:lnTo>
                      <a:pt x="263" y="215"/>
                    </a:lnTo>
                    <a:lnTo>
                      <a:pt x="265" y="215"/>
                    </a:lnTo>
                    <a:lnTo>
                      <a:pt x="267" y="215"/>
                    </a:lnTo>
                    <a:lnTo>
                      <a:pt x="267" y="213"/>
                    </a:lnTo>
                    <a:lnTo>
                      <a:pt x="267" y="211"/>
                    </a:lnTo>
                    <a:lnTo>
                      <a:pt x="267" y="209"/>
                    </a:lnTo>
                    <a:lnTo>
                      <a:pt x="267" y="207"/>
                    </a:lnTo>
                    <a:lnTo>
                      <a:pt x="269" y="207"/>
                    </a:lnTo>
                    <a:lnTo>
                      <a:pt x="267" y="207"/>
                    </a:lnTo>
                    <a:lnTo>
                      <a:pt x="269" y="207"/>
                    </a:lnTo>
                    <a:lnTo>
                      <a:pt x="269" y="209"/>
                    </a:lnTo>
                    <a:lnTo>
                      <a:pt x="269" y="211"/>
                    </a:lnTo>
                    <a:lnTo>
                      <a:pt x="269" y="213"/>
                    </a:lnTo>
                    <a:lnTo>
                      <a:pt x="269" y="215"/>
                    </a:lnTo>
                    <a:lnTo>
                      <a:pt x="269" y="217"/>
                    </a:lnTo>
                    <a:lnTo>
                      <a:pt x="269" y="219"/>
                    </a:lnTo>
                    <a:lnTo>
                      <a:pt x="269" y="221"/>
                    </a:lnTo>
                    <a:lnTo>
                      <a:pt x="269" y="223"/>
                    </a:lnTo>
                    <a:lnTo>
                      <a:pt x="269" y="225"/>
                    </a:lnTo>
                    <a:lnTo>
                      <a:pt x="271" y="225"/>
                    </a:lnTo>
                    <a:lnTo>
                      <a:pt x="269" y="225"/>
                    </a:lnTo>
                    <a:lnTo>
                      <a:pt x="271" y="225"/>
                    </a:lnTo>
                    <a:lnTo>
                      <a:pt x="271" y="227"/>
                    </a:lnTo>
                    <a:lnTo>
                      <a:pt x="271" y="228"/>
                    </a:lnTo>
                    <a:lnTo>
                      <a:pt x="271" y="227"/>
                    </a:lnTo>
                    <a:lnTo>
                      <a:pt x="271" y="228"/>
                    </a:lnTo>
                    <a:lnTo>
                      <a:pt x="273" y="228"/>
                    </a:lnTo>
                    <a:lnTo>
                      <a:pt x="273" y="230"/>
                    </a:lnTo>
                    <a:lnTo>
                      <a:pt x="271" y="230"/>
                    </a:lnTo>
                    <a:lnTo>
                      <a:pt x="273" y="230"/>
                    </a:lnTo>
                    <a:lnTo>
                      <a:pt x="273" y="232"/>
                    </a:lnTo>
                    <a:lnTo>
                      <a:pt x="271" y="232"/>
                    </a:lnTo>
                    <a:lnTo>
                      <a:pt x="271" y="230"/>
                    </a:lnTo>
                    <a:lnTo>
                      <a:pt x="269" y="230"/>
                    </a:lnTo>
                    <a:lnTo>
                      <a:pt x="269" y="232"/>
                    </a:lnTo>
                    <a:lnTo>
                      <a:pt x="269" y="230"/>
                    </a:lnTo>
                    <a:lnTo>
                      <a:pt x="269" y="232"/>
                    </a:lnTo>
                    <a:lnTo>
                      <a:pt x="269" y="234"/>
                    </a:lnTo>
                    <a:lnTo>
                      <a:pt x="269" y="236"/>
                    </a:lnTo>
                    <a:lnTo>
                      <a:pt x="269" y="238"/>
                    </a:lnTo>
                    <a:lnTo>
                      <a:pt x="271" y="238"/>
                    </a:lnTo>
                    <a:lnTo>
                      <a:pt x="271" y="240"/>
                    </a:lnTo>
                    <a:lnTo>
                      <a:pt x="269" y="240"/>
                    </a:lnTo>
                    <a:lnTo>
                      <a:pt x="271" y="240"/>
                    </a:lnTo>
                    <a:lnTo>
                      <a:pt x="273" y="240"/>
                    </a:lnTo>
                    <a:lnTo>
                      <a:pt x="273" y="238"/>
                    </a:lnTo>
                    <a:lnTo>
                      <a:pt x="273" y="236"/>
                    </a:lnTo>
                    <a:lnTo>
                      <a:pt x="275" y="236"/>
                    </a:lnTo>
                    <a:lnTo>
                      <a:pt x="275" y="238"/>
                    </a:lnTo>
                    <a:lnTo>
                      <a:pt x="277" y="238"/>
                    </a:lnTo>
                    <a:lnTo>
                      <a:pt x="277" y="240"/>
                    </a:lnTo>
                    <a:lnTo>
                      <a:pt x="275" y="240"/>
                    </a:lnTo>
                    <a:lnTo>
                      <a:pt x="277" y="240"/>
                    </a:lnTo>
                    <a:lnTo>
                      <a:pt x="275" y="240"/>
                    </a:lnTo>
                    <a:lnTo>
                      <a:pt x="275" y="242"/>
                    </a:lnTo>
                    <a:lnTo>
                      <a:pt x="277" y="242"/>
                    </a:lnTo>
                    <a:lnTo>
                      <a:pt x="277" y="244"/>
                    </a:lnTo>
                    <a:lnTo>
                      <a:pt x="278" y="244"/>
                    </a:lnTo>
                    <a:lnTo>
                      <a:pt x="278" y="246"/>
                    </a:lnTo>
                    <a:lnTo>
                      <a:pt x="278" y="244"/>
                    </a:lnTo>
                    <a:lnTo>
                      <a:pt x="278" y="246"/>
                    </a:lnTo>
                    <a:lnTo>
                      <a:pt x="278" y="248"/>
                    </a:lnTo>
                    <a:lnTo>
                      <a:pt x="280" y="248"/>
                    </a:lnTo>
                    <a:lnTo>
                      <a:pt x="278" y="248"/>
                    </a:lnTo>
                    <a:lnTo>
                      <a:pt x="280" y="248"/>
                    </a:lnTo>
                    <a:lnTo>
                      <a:pt x="278" y="248"/>
                    </a:lnTo>
                    <a:lnTo>
                      <a:pt x="280" y="248"/>
                    </a:lnTo>
                    <a:lnTo>
                      <a:pt x="278" y="248"/>
                    </a:lnTo>
                    <a:lnTo>
                      <a:pt x="278" y="250"/>
                    </a:lnTo>
                    <a:lnTo>
                      <a:pt x="278" y="252"/>
                    </a:lnTo>
                    <a:lnTo>
                      <a:pt x="278" y="253"/>
                    </a:lnTo>
                    <a:lnTo>
                      <a:pt x="277" y="253"/>
                    </a:lnTo>
                    <a:lnTo>
                      <a:pt x="277" y="255"/>
                    </a:lnTo>
                    <a:lnTo>
                      <a:pt x="275" y="255"/>
                    </a:lnTo>
                    <a:lnTo>
                      <a:pt x="275" y="257"/>
                    </a:lnTo>
                    <a:lnTo>
                      <a:pt x="275" y="259"/>
                    </a:lnTo>
                    <a:lnTo>
                      <a:pt x="273" y="257"/>
                    </a:lnTo>
                    <a:lnTo>
                      <a:pt x="273" y="259"/>
                    </a:lnTo>
                    <a:lnTo>
                      <a:pt x="271" y="259"/>
                    </a:lnTo>
                    <a:lnTo>
                      <a:pt x="271" y="261"/>
                    </a:lnTo>
                    <a:lnTo>
                      <a:pt x="273" y="261"/>
                    </a:lnTo>
                    <a:lnTo>
                      <a:pt x="273" y="259"/>
                    </a:lnTo>
                    <a:lnTo>
                      <a:pt x="273" y="261"/>
                    </a:lnTo>
                    <a:lnTo>
                      <a:pt x="275" y="261"/>
                    </a:lnTo>
                    <a:lnTo>
                      <a:pt x="275" y="263"/>
                    </a:lnTo>
                    <a:lnTo>
                      <a:pt x="273" y="263"/>
                    </a:lnTo>
                    <a:lnTo>
                      <a:pt x="273" y="265"/>
                    </a:lnTo>
                    <a:lnTo>
                      <a:pt x="271" y="267"/>
                    </a:lnTo>
                    <a:lnTo>
                      <a:pt x="271" y="269"/>
                    </a:lnTo>
                    <a:lnTo>
                      <a:pt x="269" y="269"/>
                    </a:lnTo>
                    <a:lnTo>
                      <a:pt x="269" y="271"/>
                    </a:lnTo>
                    <a:lnTo>
                      <a:pt x="269" y="269"/>
                    </a:lnTo>
                    <a:lnTo>
                      <a:pt x="269" y="271"/>
                    </a:lnTo>
                    <a:lnTo>
                      <a:pt x="267" y="271"/>
                    </a:lnTo>
                    <a:lnTo>
                      <a:pt x="269" y="271"/>
                    </a:lnTo>
                    <a:lnTo>
                      <a:pt x="267" y="271"/>
                    </a:lnTo>
                    <a:lnTo>
                      <a:pt x="267" y="273"/>
                    </a:lnTo>
                    <a:lnTo>
                      <a:pt x="267" y="271"/>
                    </a:lnTo>
                    <a:lnTo>
                      <a:pt x="267" y="273"/>
                    </a:lnTo>
                    <a:lnTo>
                      <a:pt x="267" y="275"/>
                    </a:lnTo>
                    <a:lnTo>
                      <a:pt x="269" y="275"/>
                    </a:lnTo>
                    <a:lnTo>
                      <a:pt x="269" y="277"/>
                    </a:lnTo>
                    <a:lnTo>
                      <a:pt x="271" y="277"/>
                    </a:lnTo>
                    <a:lnTo>
                      <a:pt x="271" y="278"/>
                    </a:lnTo>
                    <a:lnTo>
                      <a:pt x="271" y="280"/>
                    </a:lnTo>
                    <a:lnTo>
                      <a:pt x="269" y="280"/>
                    </a:lnTo>
                    <a:lnTo>
                      <a:pt x="269" y="282"/>
                    </a:lnTo>
                    <a:lnTo>
                      <a:pt x="269" y="284"/>
                    </a:lnTo>
                    <a:lnTo>
                      <a:pt x="271" y="284"/>
                    </a:lnTo>
                    <a:lnTo>
                      <a:pt x="269" y="284"/>
                    </a:lnTo>
                    <a:lnTo>
                      <a:pt x="267" y="284"/>
                    </a:lnTo>
                    <a:lnTo>
                      <a:pt x="267" y="286"/>
                    </a:lnTo>
                    <a:lnTo>
                      <a:pt x="267" y="288"/>
                    </a:lnTo>
                    <a:lnTo>
                      <a:pt x="265" y="288"/>
                    </a:lnTo>
                    <a:lnTo>
                      <a:pt x="267" y="288"/>
                    </a:lnTo>
                    <a:lnTo>
                      <a:pt x="265" y="288"/>
                    </a:lnTo>
                    <a:lnTo>
                      <a:pt x="265" y="290"/>
                    </a:lnTo>
                    <a:lnTo>
                      <a:pt x="263" y="290"/>
                    </a:lnTo>
                    <a:lnTo>
                      <a:pt x="263" y="288"/>
                    </a:lnTo>
                    <a:lnTo>
                      <a:pt x="263" y="286"/>
                    </a:lnTo>
                    <a:lnTo>
                      <a:pt x="263" y="284"/>
                    </a:lnTo>
                    <a:lnTo>
                      <a:pt x="263" y="282"/>
                    </a:lnTo>
                    <a:lnTo>
                      <a:pt x="263" y="280"/>
                    </a:lnTo>
                    <a:lnTo>
                      <a:pt x="263" y="278"/>
                    </a:lnTo>
                    <a:lnTo>
                      <a:pt x="263" y="277"/>
                    </a:lnTo>
                    <a:lnTo>
                      <a:pt x="261" y="277"/>
                    </a:lnTo>
                    <a:lnTo>
                      <a:pt x="259" y="277"/>
                    </a:lnTo>
                    <a:lnTo>
                      <a:pt x="257" y="277"/>
                    </a:lnTo>
                    <a:lnTo>
                      <a:pt x="257" y="275"/>
                    </a:lnTo>
                    <a:lnTo>
                      <a:pt x="255" y="275"/>
                    </a:lnTo>
                    <a:lnTo>
                      <a:pt x="255" y="273"/>
                    </a:lnTo>
                    <a:lnTo>
                      <a:pt x="253" y="273"/>
                    </a:lnTo>
                    <a:lnTo>
                      <a:pt x="253" y="271"/>
                    </a:lnTo>
                    <a:lnTo>
                      <a:pt x="252" y="271"/>
                    </a:lnTo>
                    <a:lnTo>
                      <a:pt x="252" y="273"/>
                    </a:lnTo>
                    <a:lnTo>
                      <a:pt x="252" y="271"/>
                    </a:lnTo>
                    <a:lnTo>
                      <a:pt x="252" y="273"/>
                    </a:lnTo>
                    <a:lnTo>
                      <a:pt x="252" y="271"/>
                    </a:lnTo>
                    <a:lnTo>
                      <a:pt x="253" y="273"/>
                    </a:lnTo>
                    <a:lnTo>
                      <a:pt x="255" y="273"/>
                    </a:lnTo>
                    <a:lnTo>
                      <a:pt x="255" y="275"/>
                    </a:lnTo>
                    <a:lnTo>
                      <a:pt x="257" y="275"/>
                    </a:lnTo>
                    <a:lnTo>
                      <a:pt x="257" y="277"/>
                    </a:lnTo>
                    <a:lnTo>
                      <a:pt x="259" y="277"/>
                    </a:lnTo>
                    <a:lnTo>
                      <a:pt x="261" y="277"/>
                    </a:lnTo>
                    <a:lnTo>
                      <a:pt x="263" y="277"/>
                    </a:lnTo>
                    <a:lnTo>
                      <a:pt x="263" y="278"/>
                    </a:lnTo>
                    <a:lnTo>
                      <a:pt x="263" y="280"/>
                    </a:lnTo>
                    <a:lnTo>
                      <a:pt x="263" y="282"/>
                    </a:lnTo>
                    <a:lnTo>
                      <a:pt x="263" y="284"/>
                    </a:lnTo>
                    <a:lnTo>
                      <a:pt x="263" y="286"/>
                    </a:lnTo>
                    <a:lnTo>
                      <a:pt x="263" y="288"/>
                    </a:lnTo>
                    <a:lnTo>
                      <a:pt x="263" y="290"/>
                    </a:lnTo>
                    <a:lnTo>
                      <a:pt x="261" y="292"/>
                    </a:lnTo>
                    <a:lnTo>
                      <a:pt x="259" y="294"/>
                    </a:lnTo>
                    <a:lnTo>
                      <a:pt x="259" y="296"/>
                    </a:lnTo>
                    <a:lnTo>
                      <a:pt x="257" y="296"/>
                    </a:lnTo>
                    <a:lnTo>
                      <a:pt x="255" y="296"/>
                    </a:lnTo>
                    <a:lnTo>
                      <a:pt x="255" y="298"/>
                    </a:lnTo>
                    <a:lnTo>
                      <a:pt x="253" y="298"/>
                    </a:lnTo>
                    <a:lnTo>
                      <a:pt x="252" y="298"/>
                    </a:lnTo>
                    <a:lnTo>
                      <a:pt x="252" y="300"/>
                    </a:lnTo>
                    <a:lnTo>
                      <a:pt x="250" y="300"/>
                    </a:lnTo>
                    <a:lnTo>
                      <a:pt x="250" y="298"/>
                    </a:lnTo>
                    <a:lnTo>
                      <a:pt x="250" y="300"/>
                    </a:lnTo>
                    <a:lnTo>
                      <a:pt x="248" y="300"/>
                    </a:lnTo>
                    <a:lnTo>
                      <a:pt x="248" y="298"/>
                    </a:lnTo>
                    <a:lnTo>
                      <a:pt x="248" y="300"/>
                    </a:lnTo>
                    <a:lnTo>
                      <a:pt x="246" y="300"/>
                    </a:lnTo>
                    <a:lnTo>
                      <a:pt x="246" y="302"/>
                    </a:lnTo>
                    <a:lnTo>
                      <a:pt x="246" y="300"/>
                    </a:lnTo>
                    <a:lnTo>
                      <a:pt x="246" y="302"/>
                    </a:lnTo>
                    <a:lnTo>
                      <a:pt x="246" y="300"/>
                    </a:lnTo>
                    <a:lnTo>
                      <a:pt x="246" y="302"/>
                    </a:lnTo>
                    <a:lnTo>
                      <a:pt x="246" y="300"/>
                    </a:lnTo>
                    <a:lnTo>
                      <a:pt x="244" y="302"/>
                    </a:lnTo>
                    <a:lnTo>
                      <a:pt x="242" y="302"/>
                    </a:lnTo>
                    <a:lnTo>
                      <a:pt x="244" y="302"/>
                    </a:lnTo>
                    <a:lnTo>
                      <a:pt x="242" y="302"/>
                    </a:lnTo>
                    <a:lnTo>
                      <a:pt x="240" y="302"/>
                    </a:lnTo>
                    <a:lnTo>
                      <a:pt x="240" y="303"/>
                    </a:lnTo>
                    <a:lnTo>
                      <a:pt x="240" y="302"/>
                    </a:lnTo>
                    <a:lnTo>
                      <a:pt x="238" y="302"/>
                    </a:lnTo>
                    <a:lnTo>
                      <a:pt x="236" y="303"/>
                    </a:lnTo>
                    <a:lnTo>
                      <a:pt x="236" y="305"/>
                    </a:lnTo>
                    <a:lnTo>
                      <a:pt x="234" y="305"/>
                    </a:lnTo>
                    <a:lnTo>
                      <a:pt x="232" y="305"/>
                    </a:lnTo>
                    <a:lnTo>
                      <a:pt x="232" y="303"/>
                    </a:lnTo>
                    <a:lnTo>
                      <a:pt x="232" y="305"/>
                    </a:lnTo>
                    <a:lnTo>
                      <a:pt x="230" y="305"/>
                    </a:lnTo>
                    <a:lnTo>
                      <a:pt x="232" y="305"/>
                    </a:lnTo>
                    <a:lnTo>
                      <a:pt x="230" y="305"/>
                    </a:lnTo>
                    <a:lnTo>
                      <a:pt x="230" y="307"/>
                    </a:lnTo>
                    <a:lnTo>
                      <a:pt x="229" y="307"/>
                    </a:lnTo>
                    <a:lnTo>
                      <a:pt x="227" y="307"/>
                    </a:lnTo>
                    <a:lnTo>
                      <a:pt x="225" y="307"/>
                    </a:lnTo>
                    <a:lnTo>
                      <a:pt x="225" y="309"/>
                    </a:lnTo>
                    <a:lnTo>
                      <a:pt x="223" y="307"/>
                    </a:lnTo>
                    <a:lnTo>
                      <a:pt x="221" y="307"/>
                    </a:lnTo>
                    <a:lnTo>
                      <a:pt x="219" y="307"/>
                    </a:lnTo>
                    <a:lnTo>
                      <a:pt x="219" y="309"/>
                    </a:lnTo>
                    <a:lnTo>
                      <a:pt x="217" y="309"/>
                    </a:lnTo>
                    <a:lnTo>
                      <a:pt x="215" y="309"/>
                    </a:lnTo>
                    <a:lnTo>
                      <a:pt x="213" y="309"/>
                    </a:lnTo>
                    <a:lnTo>
                      <a:pt x="211" y="309"/>
                    </a:lnTo>
                    <a:lnTo>
                      <a:pt x="209" y="309"/>
                    </a:lnTo>
                    <a:lnTo>
                      <a:pt x="207" y="309"/>
                    </a:lnTo>
                    <a:lnTo>
                      <a:pt x="205" y="309"/>
                    </a:lnTo>
                    <a:lnTo>
                      <a:pt x="204" y="309"/>
                    </a:lnTo>
                    <a:lnTo>
                      <a:pt x="202" y="307"/>
                    </a:lnTo>
                    <a:lnTo>
                      <a:pt x="200" y="307"/>
                    </a:lnTo>
                    <a:lnTo>
                      <a:pt x="198" y="307"/>
                    </a:lnTo>
                    <a:lnTo>
                      <a:pt x="198" y="305"/>
                    </a:lnTo>
                    <a:lnTo>
                      <a:pt x="196" y="305"/>
                    </a:lnTo>
                    <a:lnTo>
                      <a:pt x="196" y="307"/>
                    </a:lnTo>
                    <a:lnTo>
                      <a:pt x="194" y="305"/>
                    </a:lnTo>
                    <a:lnTo>
                      <a:pt x="192" y="305"/>
                    </a:lnTo>
                    <a:lnTo>
                      <a:pt x="190" y="305"/>
                    </a:lnTo>
                    <a:lnTo>
                      <a:pt x="188" y="305"/>
                    </a:lnTo>
                    <a:lnTo>
                      <a:pt x="186" y="305"/>
                    </a:lnTo>
                    <a:lnTo>
                      <a:pt x="186" y="303"/>
                    </a:lnTo>
                    <a:lnTo>
                      <a:pt x="184" y="303"/>
                    </a:lnTo>
                    <a:lnTo>
                      <a:pt x="182" y="303"/>
                    </a:lnTo>
                    <a:lnTo>
                      <a:pt x="182" y="302"/>
                    </a:lnTo>
                    <a:lnTo>
                      <a:pt x="180" y="302"/>
                    </a:lnTo>
                    <a:lnTo>
                      <a:pt x="179" y="302"/>
                    </a:lnTo>
                    <a:lnTo>
                      <a:pt x="177" y="302"/>
                    </a:lnTo>
                    <a:lnTo>
                      <a:pt x="175" y="302"/>
                    </a:lnTo>
                    <a:lnTo>
                      <a:pt x="177" y="302"/>
                    </a:lnTo>
                    <a:lnTo>
                      <a:pt x="175" y="300"/>
                    </a:lnTo>
                    <a:lnTo>
                      <a:pt x="177" y="300"/>
                    </a:lnTo>
                    <a:lnTo>
                      <a:pt x="175" y="302"/>
                    </a:lnTo>
                    <a:lnTo>
                      <a:pt x="175" y="300"/>
                    </a:lnTo>
                    <a:lnTo>
                      <a:pt x="173" y="300"/>
                    </a:lnTo>
                    <a:lnTo>
                      <a:pt x="173" y="298"/>
                    </a:lnTo>
                    <a:lnTo>
                      <a:pt x="173" y="300"/>
                    </a:lnTo>
                    <a:lnTo>
                      <a:pt x="173" y="298"/>
                    </a:lnTo>
                    <a:lnTo>
                      <a:pt x="173" y="300"/>
                    </a:lnTo>
                    <a:lnTo>
                      <a:pt x="171" y="300"/>
                    </a:lnTo>
                    <a:lnTo>
                      <a:pt x="171" y="298"/>
                    </a:lnTo>
                    <a:lnTo>
                      <a:pt x="169" y="298"/>
                    </a:lnTo>
                    <a:lnTo>
                      <a:pt x="169" y="296"/>
                    </a:lnTo>
                    <a:lnTo>
                      <a:pt x="169" y="298"/>
                    </a:lnTo>
                    <a:lnTo>
                      <a:pt x="169" y="296"/>
                    </a:lnTo>
                    <a:lnTo>
                      <a:pt x="167" y="296"/>
                    </a:lnTo>
                    <a:lnTo>
                      <a:pt x="165" y="294"/>
                    </a:lnTo>
                    <a:lnTo>
                      <a:pt x="165" y="292"/>
                    </a:lnTo>
                    <a:lnTo>
                      <a:pt x="163" y="292"/>
                    </a:lnTo>
                    <a:lnTo>
                      <a:pt x="163" y="290"/>
                    </a:lnTo>
                    <a:lnTo>
                      <a:pt x="161" y="290"/>
                    </a:lnTo>
                    <a:lnTo>
                      <a:pt x="159" y="288"/>
                    </a:lnTo>
                    <a:lnTo>
                      <a:pt x="159" y="286"/>
                    </a:lnTo>
                    <a:lnTo>
                      <a:pt x="157" y="286"/>
                    </a:lnTo>
                    <a:lnTo>
                      <a:pt x="157" y="284"/>
                    </a:lnTo>
                    <a:lnTo>
                      <a:pt x="156" y="284"/>
                    </a:lnTo>
                    <a:lnTo>
                      <a:pt x="156" y="282"/>
                    </a:lnTo>
                    <a:lnTo>
                      <a:pt x="154" y="282"/>
                    </a:lnTo>
                    <a:lnTo>
                      <a:pt x="154" y="280"/>
                    </a:lnTo>
                    <a:lnTo>
                      <a:pt x="154" y="278"/>
                    </a:lnTo>
                    <a:lnTo>
                      <a:pt x="154" y="277"/>
                    </a:lnTo>
                    <a:lnTo>
                      <a:pt x="152" y="277"/>
                    </a:lnTo>
                    <a:lnTo>
                      <a:pt x="152" y="275"/>
                    </a:lnTo>
                    <a:lnTo>
                      <a:pt x="150" y="273"/>
                    </a:lnTo>
                    <a:lnTo>
                      <a:pt x="150" y="271"/>
                    </a:lnTo>
                    <a:lnTo>
                      <a:pt x="148" y="271"/>
                    </a:lnTo>
                    <a:lnTo>
                      <a:pt x="148" y="269"/>
                    </a:lnTo>
                    <a:lnTo>
                      <a:pt x="146" y="267"/>
                    </a:lnTo>
                    <a:lnTo>
                      <a:pt x="146" y="265"/>
                    </a:lnTo>
                    <a:lnTo>
                      <a:pt x="146" y="263"/>
                    </a:lnTo>
                    <a:lnTo>
                      <a:pt x="144" y="263"/>
                    </a:lnTo>
                    <a:lnTo>
                      <a:pt x="144" y="261"/>
                    </a:lnTo>
                    <a:lnTo>
                      <a:pt x="144" y="259"/>
                    </a:lnTo>
                    <a:lnTo>
                      <a:pt x="142" y="259"/>
                    </a:lnTo>
                    <a:lnTo>
                      <a:pt x="142" y="257"/>
                    </a:lnTo>
                    <a:lnTo>
                      <a:pt x="144" y="257"/>
                    </a:lnTo>
                    <a:lnTo>
                      <a:pt x="144" y="255"/>
                    </a:lnTo>
                    <a:lnTo>
                      <a:pt x="144" y="253"/>
                    </a:lnTo>
                    <a:lnTo>
                      <a:pt x="142" y="253"/>
                    </a:lnTo>
                    <a:lnTo>
                      <a:pt x="144" y="253"/>
                    </a:lnTo>
                    <a:lnTo>
                      <a:pt x="144" y="255"/>
                    </a:lnTo>
                    <a:lnTo>
                      <a:pt x="144" y="257"/>
                    </a:lnTo>
                    <a:lnTo>
                      <a:pt x="142" y="257"/>
                    </a:lnTo>
                    <a:lnTo>
                      <a:pt x="142" y="259"/>
                    </a:lnTo>
                    <a:lnTo>
                      <a:pt x="142" y="261"/>
                    </a:lnTo>
                    <a:lnTo>
                      <a:pt x="144" y="261"/>
                    </a:lnTo>
                    <a:lnTo>
                      <a:pt x="144" y="263"/>
                    </a:lnTo>
                    <a:lnTo>
                      <a:pt x="142" y="263"/>
                    </a:lnTo>
                    <a:lnTo>
                      <a:pt x="144" y="263"/>
                    </a:lnTo>
                    <a:lnTo>
                      <a:pt x="144" y="265"/>
                    </a:lnTo>
                    <a:lnTo>
                      <a:pt x="146" y="265"/>
                    </a:lnTo>
                    <a:lnTo>
                      <a:pt x="144" y="265"/>
                    </a:lnTo>
                    <a:lnTo>
                      <a:pt x="144" y="263"/>
                    </a:lnTo>
                    <a:lnTo>
                      <a:pt x="142" y="263"/>
                    </a:lnTo>
                    <a:lnTo>
                      <a:pt x="140" y="261"/>
                    </a:lnTo>
                    <a:lnTo>
                      <a:pt x="138" y="261"/>
                    </a:lnTo>
                    <a:lnTo>
                      <a:pt x="138" y="259"/>
                    </a:lnTo>
                    <a:lnTo>
                      <a:pt x="136" y="259"/>
                    </a:lnTo>
                    <a:lnTo>
                      <a:pt x="136" y="257"/>
                    </a:lnTo>
                    <a:lnTo>
                      <a:pt x="134" y="257"/>
                    </a:lnTo>
                    <a:lnTo>
                      <a:pt x="134" y="255"/>
                    </a:lnTo>
                    <a:lnTo>
                      <a:pt x="132" y="255"/>
                    </a:lnTo>
                    <a:lnTo>
                      <a:pt x="132" y="253"/>
                    </a:lnTo>
                    <a:lnTo>
                      <a:pt x="131" y="252"/>
                    </a:lnTo>
                    <a:lnTo>
                      <a:pt x="129" y="250"/>
                    </a:lnTo>
                    <a:lnTo>
                      <a:pt x="129" y="248"/>
                    </a:lnTo>
                    <a:lnTo>
                      <a:pt x="127" y="248"/>
                    </a:lnTo>
                    <a:lnTo>
                      <a:pt x="127" y="246"/>
                    </a:lnTo>
                    <a:lnTo>
                      <a:pt x="125" y="246"/>
                    </a:lnTo>
                    <a:lnTo>
                      <a:pt x="125" y="244"/>
                    </a:lnTo>
                    <a:lnTo>
                      <a:pt x="123" y="244"/>
                    </a:lnTo>
                    <a:lnTo>
                      <a:pt x="123" y="242"/>
                    </a:lnTo>
                    <a:lnTo>
                      <a:pt x="121" y="242"/>
                    </a:lnTo>
                    <a:lnTo>
                      <a:pt x="121" y="240"/>
                    </a:lnTo>
                    <a:lnTo>
                      <a:pt x="119" y="240"/>
                    </a:lnTo>
                    <a:lnTo>
                      <a:pt x="119" y="238"/>
                    </a:lnTo>
                    <a:lnTo>
                      <a:pt x="119" y="236"/>
                    </a:lnTo>
                    <a:lnTo>
                      <a:pt x="117" y="236"/>
                    </a:lnTo>
                    <a:lnTo>
                      <a:pt x="117" y="234"/>
                    </a:lnTo>
                    <a:lnTo>
                      <a:pt x="117" y="232"/>
                    </a:lnTo>
                    <a:lnTo>
                      <a:pt x="117" y="230"/>
                    </a:lnTo>
                    <a:lnTo>
                      <a:pt x="115" y="230"/>
                    </a:lnTo>
                    <a:lnTo>
                      <a:pt x="115" y="228"/>
                    </a:lnTo>
                    <a:lnTo>
                      <a:pt x="115" y="227"/>
                    </a:lnTo>
                    <a:lnTo>
                      <a:pt x="115" y="225"/>
                    </a:lnTo>
                    <a:lnTo>
                      <a:pt x="113" y="223"/>
                    </a:lnTo>
                    <a:lnTo>
                      <a:pt x="113" y="221"/>
                    </a:lnTo>
                    <a:lnTo>
                      <a:pt x="113" y="219"/>
                    </a:lnTo>
                    <a:lnTo>
                      <a:pt x="111" y="219"/>
                    </a:lnTo>
                    <a:lnTo>
                      <a:pt x="111" y="217"/>
                    </a:lnTo>
                    <a:lnTo>
                      <a:pt x="109" y="217"/>
                    </a:lnTo>
                    <a:lnTo>
                      <a:pt x="107" y="217"/>
                    </a:lnTo>
                    <a:lnTo>
                      <a:pt x="109" y="217"/>
                    </a:lnTo>
                    <a:lnTo>
                      <a:pt x="107" y="217"/>
                    </a:lnTo>
                    <a:lnTo>
                      <a:pt x="109" y="217"/>
                    </a:lnTo>
                    <a:lnTo>
                      <a:pt x="107" y="217"/>
                    </a:lnTo>
                    <a:lnTo>
                      <a:pt x="107" y="219"/>
                    </a:lnTo>
                    <a:lnTo>
                      <a:pt x="107" y="217"/>
                    </a:lnTo>
                    <a:lnTo>
                      <a:pt x="106" y="217"/>
                    </a:lnTo>
                    <a:lnTo>
                      <a:pt x="104" y="217"/>
                    </a:lnTo>
                    <a:lnTo>
                      <a:pt x="102" y="217"/>
                    </a:lnTo>
                    <a:lnTo>
                      <a:pt x="102" y="215"/>
                    </a:lnTo>
                    <a:lnTo>
                      <a:pt x="102" y="213"/>
                    </a:lnTo>
                    <a:lnTo>
                      <a:pt x="102" y="211"/>
                    </a:lnTo>
                    <a:lnTo>
                      <a:pt x="104" y="211"/>
                    </a:lnTo>
                    <a:lnTo>
                      <a:pt x="104" y="209"/>
                    </a:lnTo>
                    <a:lnTo>
                      <a:pt x="104" y="211"/>
                    </a:lnTo>
                    <a:lnTo>
                      <a:pt x="106" y="211"/>
                    </a:lnTo>
                    <a:lnTo>
                      <a:pt x="107" y="211"/>
                    </a:lnTo>
                    <a:lnTo>
                      <a:pt x="107" y="213"/>
                    </a:lnTo>
                    <a:lnTo>
                      <a:pt x="107" y="211"/>
                    </a:lnTo>
                    <a:lnTo>
                      <a:pt x="107" y="209"/>
                    </a:lnTo>
                    <a:lnTo>
                      <a:pt x="107" y="211"/>
                    </a:lnTo>
                    <a:lnTo>
                      <a:pt x="106" y="211"/>
                    </a:lnTo>
                    <a:lnTo>
                      <a:pt x="106" y="209"/>
                    </a:lnTo>
                    <a:lnTo>
                      <a:pt x="104" y="209"/>
                    </a:lnTo>
                    <a:lnTo>
                      <a:pt x="106" y="209"/>
                    </a:lnTo>
                    <a:lnTo>
                      <a:pt x="104" y="209"/>
                    </a:lnTo>
                    <a:lnTo>
                      <a:pt x="106" y="209"/>
                    </a:lnTo>
                    <a:lnTo>
                      <a:pt x="104" y="209"/>
                    </a:lnTo>
                    <a:lnTo>
                      <a:pt x="104" y="207"/>
                    </a:lnTo>
                    <a:lnTo>
                      <a:pt x="106" y="207"/>
                    </a:lnTo>
                    <a:lnTo>
                      <a:pt x="106" y="205"/>
                    </a:lnTo>
                    <a:lnTo>
                      <a:pt x="106" y="207"/>
                    </a:lnTo>
                    <a:lnTo>
                      <a:pt x="104" y="207"/>
                    </a:lnTo>
                    <a:lnTo>
                      <a:pt x="106" y="207"/>
                    </a:lnTo>
                    <a:lnTo>
                      <a:pt x="106" y="205"/>
                    </a:lnTo>
                    <a:lnTo>
                      <a:pt x="106" y="207"/>
                    </a:lnTo>
                    <a:lnTo>
                      <a:pt x="104" y="207"/>
                    </a:lnTo>
                    <a:lnTo>
                      <a:pt x="102" y="207"/>
                    </a:lnTo>
                    <a:lnTo>
                      <a:pt x="102" y="205"/>
                    </a:lnTo>
                    <a:lnTo>
                      <a:pt x="104" y="205"/>
                    </a:lnTo>
                    <a:lnTo>
                      <a:pt x="104" y="203"/>
                    </a:lnTo>
                    <a:lnTo>
                      <a:pt x="104" y="205"/>
                    </a:lnTo>
                    <a:lnTo>
                      <a:pt x="102" y="205"/>
                    </a:lnTo>
                    <a:lnTo>
                      <a:pt x="102" y="203"/>
                    </a:lnTo>
                    <a:lnTo>
                      <a:pt x="102" y="205"/>
                    </a:lnTo>
                    <a:lnTo>
                      <a:pt x="102" y="203"/>
                    </a:lnTo>
                    <a:lnTo>
                      <a:pt x="100" y="203"/>
                    </a:lnTo>
                    <a:lnTo>
                      <a:pt x="102" y="203"/>
                    </a:lnTo>
                    <a:lnTo>
                      <a:pt x="100" y="203"/>
                    </a:lnTo>
                    <a:lnTo>
                      <a:pt x="102" y="203"/>
                    </a:lnTo>
                    <a:lnTo>
                      <a:pt x="102" y="202"/>
                    </a:lnTo>
                    <a:lnTo>
                      <a:pt x="104" y="202"/>
                    </a:lnTo>
                    <a:lnTo>
                      <a:pt x="104" y="200"/>
                    </a:lnTo>
                    <a:lnTo>
                      <a:pt x="104" y="198"/>
                    </a:lnTo>
                    <a:lnTo>
                      <a:pt x="104" y="200"/>
                    </a:lnTo>
                    <a:lnTo>
                      <a:pt x="104" y="202"/>
                    </a:lnTo>
                    <a:lnTo>
                      <a:pt x="102" y="202"/>
                    </a:lnTo>
                    <a:lnTo>
                      <a:pt x="102" y="203"/>
                    </a:lnTo>
                    <a:lnTo>
                      <a:pt x="102" y="202"/>
                    </a:lnTo>
                    <a:lnTo>
                      <a:pt x="100" y="203"/>
                    </a:lnTo>
                    <a:lnTo>
                      <a:pt x="100" y="202"/>
                    </a:lnTo>
                    <a:lnTo>
                      <a:pt x="100" y="203"/>
                    </a:lnTo>
                    <a:lnTo>
                      <a:pt x="100" y="202"/>
                    </a:lnTo>
                    <a:lnTo>
                      <a:pt x="100" y="200"/>
                    </a:lnTo>
                    <a:lnTo>
                      <a:pt x="102" y="200"/>
                    </a:lnTo>
                    <a:lnTo>
                      <a:pt x="102" y="198"/>
                    </a:lnTo>
                    <a:lnTo>
                      <a:pt x="102" y="200"/>
                    </a:lnTo>
                    <a:lnTo>
                      <a:pt x="102" y="198"/>
                    </a:lnTo>
                    <a:lnTo>
                      <a:pt x="100" y="200"/>
                    </a:lnTo>
                    <a:lnTo>
                      <a:pt x="100" y="198"/>
                    </a:lnTo>
                    <a:lnTo>
                      <a:pt x="100" y="200"/>
                    </a:lnTo>
                    <a:lnTo>
                      <a:pt x="100" y="202"/>
                    </a:lnTo>
                    <a:lnTo>
                      <a:pt x="98" y="202"/>
                    </a:lnTo>
                    <a:lnTo>
                      <a:pt x="96" y="202"/>
                    </a:lnTo>
                    <a:lnTo>
                      <a:pt x="96" y="200"/>
                    </a:lnTo>
                    <a:lnTo>
                      <a:pt x="96" y="198"/>
                    </a:lnTo>
                    <a:lnTo>
                      <a:pt x="96" y="200"/>
                    </a:lnTo>
                    <a:lnTo>
                      <a:pt x="96" y="198"/>
                    </a:lnTo>
                    <a:lnTo>
                      <a:pt x="96" y="196"/>
                    </a:lnTo>
                    <a:lnTo>
                      <a:pt x="98" y="196"/>
                    </a:lnTo>
                    <a:lnTo>
                      <a:pt x="96" y="196"/>
                    </a:lnTo>
                    <a:lnTo>
                      <a:pt x="96" y="194"/>
                    </a:lnTo>
                    <a:lnTo>
                      <a:pt x="96" y="192"/>
                    </a:lnTo>
                    <a:lnTo>
                      <a:pt x="96" y="190"/>
                    </a:lnTo>
                    <a:lnTo>
                      <a:pt x="94" y="190"/>
                    </a:lnTo>
                    <a:lnTo>
                      <a:pt x="94" y="188"/>
                    </a:lnTo>
                    <a:lnTo>
                      <a:pt x="96" y="188"/>
                    </a:lnTo>
                    <a:lnTo>
                      <a:pt x="96" y="186"/>
                    </a:lnTo>
                    <a:lnTo>
                      <a:pt x="96" y="188"/>
                    </a:lnTo>
                    <a:lnTo>
                      <a:pt x="94" y="188"/>
                    </a:lnTo>
                    <a:lnTo>
                      <a:pt x="94" y="190"/>
                    </a:lnTo>
                    <a:lnTo>
                      <a:pt x="94" y="188"/>
                    </a:lnTo>
                    <a:lnTo>
                      <a:pt x="94" y="190"/>
                    </a:lnTo>
                    <a:lnTo>
                      <a:pt x="92" y="190"/>
                    </a:lnTo>
                    <a:lnTo>
                      <a:pt x="94" y="190"/>
                    </a:lnTo>
                    <a:lnTo>
                      <a:pt x="94" y="188"/>
                    </a:lnTo>
                    <a:lnTo>
                      <a:pt x="92" y="188"/>
                    </a:lnTo>
                    <a:lnTo>
                      <a:pt x="92" y="190"/>
                    </a:lnTo>
                    <a:lnTo>
                      <a:pt x="92" y="188"/>
                    </a:lnTo>
                    <a:lnTo>
                      <a:pt x="92" y="190"/>
                    </a:lnTo>
                    <a:lnTo>
                      <a:pt x="92" y="192"/>
                    </a:lnTo>
                    <a:lnTo>
                      <a:pt x="92" y="194"/>
                    </a:lnTo>
                    <a:lnTo>
                      <a:pt x="92" y="192"/>
                    </a:lnTo>
                    <a:lnTo>
                      <a:pt x="92" y="190"/>
                    </a:lnTo>
                    <a:lnTo>
                      <a:pt x="92" y="192"/>
                    </a:lnTo>
                    <a:lnTo>
                      <a:pt x="90" y="192"/>
                    </a:lnTo>
                    <a:lnTo>
                      <a:pt x="92" y="192"/>
                    </a:lnTo>
                    <a:lnTo>
                      <a:pt x="92" y="194"/>
                    </a:lnTo>
                    <a:lnTo>
                      <a:pt x="90" y="194"/>
                    </a:lnTo>
                    <a:lnTo>
                      <a:pt x="90" y="192"/>
                    </a:lnTo>
                    <a:lnTo>
                      <a:pt x="90" y="194"/>
                    </a:lnTo>
                    <a:lnTo>
                      <a:pt x="90" y="196"/>
                    </a:lnTo>
                    <a:lnTo>
                      <a:pt x="90" y="194"/>
                    </a:lnTo>
                    <a:lnTo>
                      <a:pt x="90" y="192"/>
                    </a:lnTo>
                    <a:lnTo>
                      <a:pt x="90" y="194"/>
                    </a:lnTo>
                    <a:lnTo>
                      <a:pt x="88" y="192"/>
                    </a:lnTo>
                    <a:lnTo>
                      <a:pt x="88" y="190"/>
                    </a:lnTo>
                    <a:lnTo>
                      <a:pt x="88" y="188"/>
                    </a:lnTo>
                    <a:lnTo>
                      <a:pt x="86" y="188"/>
                    </a:lnTo>
                    <a:lnTo>
                      <a:pt x="86" y="186"/>
                    </a:lnTo>
                    <a:lnTo>
                      <a:pt x="86" y="184"/>
                    </a:lnTo>
                    <a:lnTo>
                      <a:pt x="86" y="182"/>
                    </a:lnTo>
                    <a:lnTo>
                      <a:pt x="84" y="182"/>
                    </a:lnTo>
                    <a:lnTo>
                      <a:pt x="86" y="182"/>
                    </a:lnTo>
                    <a:lnTo>
                      <a:pt x="86" y="180"/>
                    </a:lnTo>
                    <a:lnTo>
                      <a:pt x="86" y="178"/>
                    </a:lnTo>
                    <a:lnTo>
                      <a:pt x="84" y="178"/>
                    </a:lnTo>
                    <a:lnTo>
                      <a:pt x="84" y="177"/>
                    </a:lnTo>
                    <a:lnTo>
                      <a:pt x="84" y="175"/>
                    </a:lnTo>
                    <a:lnTo>
                      <a:pt x="84" y="173"/>
                    </a:lnTo>
                    <a:lnTo>
                      <a:pt x="84" y="171"/>
                    </a:lnTo>
                    <a:lnTo>
                      <a:pt x="84" y="169"/>
                    </a:lnTo>
                    <a:lnTo>
                      <a:pt x="84" y="167"/>
                    </a:lnTo>
                    <a:lnTo>
                      <a:pt x="84" y="165"/>
                    </a:lnTo>
                    <a:lnTo>
                      <a:pt x="86" y="165"/>
                    </a:lnTo>
                    <a:lnTo>
                      <a:pt x="88" y="165"/>
                    </a:lnTo>
                    <a:lnTo>
                      <a:pt x="90" y="165"/>
                    </a:lnTo>
                    <a:lnTo>
                      <a:pt x="90" y="167"/>
                    </a:lnTo>
                    <a:lnTo>
                      <a:pt x="92" y="167"/>
                    </a:lnTo>
                    <a:lnTo>
                      <a:pt x="90" y="167"/>
                    </a:lnTo>
                    <a:lnTo>
                      <a:pt x="90" y="165"/>
                    </a:lnTo>
                    <a:lnTo>
                      <a:pt x="88" y="165"/>
                    </a:lnTo>
                    <a:lnTo>
                      <a:pt x="86" y="163"/>
                    </a:lnTo>
                    <a:lnTo>
                      <a:pt x="86" y="161"/>
                    </a:lnTo>
                    <a:lnTo>
                      <a:pt x="84" y="159"/>
                    </a:lnTo>
                    <a:lnTo>
                      <a:pt x="84" y="157"/>
                    </a:lnTo>
                    <a:lnTo>
                      <a:pt x="83" y="157"/>
                    </a:lnTo>
                    <a:lnTo>
                      <a:pt x="83" y="159"/>
                    </a:lnTo>
                    <a:lnTo>
                      <a:pt x="83" y="157"/>
                    </a:lnTo>
                    <a:lnTo>
                      <a:pt x="81" y="157"/>
                    </a:lnTo>
                    <a:lnTo>
                      <a:pt x="81" y="155"/>
                    </a:lnTo>
                    <a:lnTo>
                      <a:pt x="81" y="154"/>
                    </a:lnTo>
                    <a:lnTo>
                      <a:pt x="81" y="152"/>
                    </a:lnTo>
                    <a:lnTo>
                      <a:pt x="81" y="154"/>
                    </a:lnTo>
                    <a:lnTo>
                      <a:pt x="81" y="152"/>
                    </a:lnTo>
                    <a:lnTo>
                      <a:pt x="81" y="154"/>
                    </a:lnTo>
                    <a:lnTo>
                      <a:pt x="79" y="154"/>
                    </a:lnTo>
                    <a:lnTo>
                      <a:pt x="77" y="154"/>
                    </a:lnTo>
                    <a:lnTo>
                      <a:pt x="77" y="152"/>
                    </a:lnTo>
                    <a:lnTo>
                      <a:pt x="77" y="154"/>
                    </a:lnTo>
                    <a:lnTo>
                      <a:pt x="77" y="152"/>
                    </a:lnTo>
                    <a:lnTo>
                      <a:pt x="75" y="152"/>
                    </a:lnTo>
                    <a:lnTo>
                      <a:pt x="75" y="154"/>
                    </a:lnTo>
                    <a:lnTo>
                      <a:pt x="75" y="152"/>
                    </a:lnTo>
                    <a:lnTo>
                      <a:pt x="77" y="152"/>
                    </a:lnTo>
                    <a:lnTo>
                      <a:pt x="75" y="152"/>
                    </a:lnTo>
                    <a:lnTo>
                      <a:pt x="77" y="152"/>
                    </a:lnTo>
                    <a:lnTo>
                      <a:pt x="75" y="152"/>
                    </a:lnTo>
                    <a:lnTo>
                      <a:pt x="77" y="152"/>
                    </a:lnTo>
                    <a:lnTo>
                      <a:pt x="77" y="154"/>
                    </a:lnTo>
                    <a:lnTo>
                      <a:pt x="75" y="154"/>
                    </a:lnTo>
                    <a:lnTo>
                      <a:pt x="77" y="154"/>
                    </a:lnTo>
                    <a:lnTo>
                      <a:pt x="77" y="155"/>
                    </a:lnTo>
                    <a:lnTo>
                      <a:pt x="77" y="157"/>
                    </a:lnTo>
                    <a:lnTo>
                      <a:pt x="77" y="155"/>
                    </a:lnTo>
                    <a:lnTo>
                      <a:pt x="77" y="157"/>
                    </a:lnTo>
                    <a:lnTo>
                      <a:pt x="77" y="159"/>
                    </a:lnTo>
                    <a:lnTo>
                      <a:pt x="75" y="159"/>
                    </a:lnTo>
                    <a:lnTo>
                      <a:pt x="77" y="159"/>
                    </a:lnTo>
                    <a:lnTo>
                      <a:pt x="79" y="159"/>
                    </a:lnTo>
                    <a:lnTo>
                      <a:pt x="79" y="161"/>
                    </a:lnTo>
                    <a:lnTo>
                      <a:pt x="79" y="163"/>
                    </a:lnTo>
                    <a:lnTo>
                      <a:pt x="79" y="165"/>
                    </a:lnTo>
                    <a:lnTo>
                      <a:pt x="79" y="167"/>
                    </a:lnTo>
                    <a:lnTo>
                      <a:pt x="79" y="165"/>
                    </a:lnTo>
                    <a:lnTo>
                      <a:pt x="79" y="167"/>
                    </a:lnTo>
                    <a:lnTo>
                      <a:pt x="77" y="165"/>
                    </a:lnTo>
                    <a:lnTo>
                      <a:pt x="75" y="165"/>
                    </a:lnTo>
                    <a:lnTo>
                      <a:pt x="77" y="165"/>
                    </a:lnTo>
                    <a:lnTo>
                      <a:pt x="75" y="165"/>
                    </a:lnTo>
                    <a:lnTo>
                      <a:pt x="77" y="165"/>
                    </a:lnTo>
                    <a:lnTo>
                      <a:pt x="77" y="167"/>
                    </a:lnTo>
                    <a:lnTo>
                      <a:pt x="75" y="167"/>
                    </a:lnTo>
                    <a:lnTo>
                      <a:pt x="75" y="165"/>
                    </a:lnTo>
                    <a:lnTo>
                      <a:pt x="75" y="167"/>
                    </a:lnTo>
                    <a:lnTo>
                      <a:pt x="77" y="167"/>
                    </a:lnTo>
                    <a:lnTo>
                      <a:pt x="77" y="169"/>
                    </a:lnTo>
                    <a:lnTo>
                      <a:pt x="75" y="169"/>
                    </a:lnTo>
                    <a:lnTo>
                      <a:pt x="75" y="167"/>
                    </a:lnTo>
                    <a:lnTo>
                      <a:pt x="75" y="169"/>
                    </a:lnTo>
                    <a:lnTo>
                      <a:pt x="75" y="167"/>
                    </a:lnTo>
                    <a:lnTo>
                      <a:pt x="75" y="169"/>
                    </a:lnTo>
                    <a:lnTo>
                      <a:pt x="75" y="167"/>
                    </a:lnTo>
                    <a:lnTo>
                      <a:pt x="75" y="169"/>
                    </a:lnTo>
                    <a:lnTo>
                      <a:pt x="73" y="167"/>
                    </a:lnTo>
                    <a:lnTo>
                      <a:pt x="73" y="169"/>
                    </a:lnTo>
                    <a:lnTo>
                      <a:pt x="73" y="167"/>
                    </a:lnTo>
                    <a:lnTo>
                      <a:pt x="71" y="169"/>
                    </a:lnTo>
                    <a:lnTo>
                      <a:pt x="73" y="169"/>
                    </a:lnTo>
                    <a:lnTo>
                      <a:pt x="75" y="171"/>
                    </a:lnTo>
                    <a:lnTo>
                      <a:pt x="75" y="173"/>
                    </a:lnTo>
                    <a:lnTo>
                      <a:pt x="75" y="175"/>
                    </a:lnTo>
                    <a:lnTo>
                      <a:pt x="75" y="177"/>
                    </a:lnTo>
                    <a:lnTo>
                      <a:pt x="75" y="175"/>
                    </a:lnTo>
                    <a:lnTo>
                      <a:pt x="75" y="177"/>
                    </a:lnTo>
                    <a:lnTo>
                      <a:pt x="75" y="178"/>
                    </a:lnTo>
                    <a:lnTo>
                      <a:pt x="77" y="178"/>
                    </a:lnTo>
                    <a:lnTo>
                      <a:pt x="77" y="180"/>
                    </a:lnTo>
                    <a:lnTo>
                      <a:pt x="77" y="178"/>
                    </a:lnTo>
                    <a:lnTo>
                      <a:pt x="77" y="180"/>
                    </a:lnTo>
                    <a:lnTo>
                      <a:pt x="77" y="182"/>
                    </a:lnTo>
                    <a:lnTo>
                      <a:pt x="77" y="184"/>
                    </a:lnTo>
                    <a:lnTo>
                      <a:pt x="77" y="182"/>
                    </a:lnTo>
                    <a:lnTo>
                      <a:pt x="75" y="182"/>
                    </a:lnTo>
                    <a:lnTo>
                      <a:pt x="75" y="180"/>
                    </a:lnTo>
                    <a:lnTo>
                      <a:pt x="75" y="182"/>
                    </a:lnTo>
                    <a:lnTo>
                      <a:pt x="75" y="180"/>
                    </a:lnTo>
                    <a:lnTo>
                      <a:pt x="75" y="178"/>
                    </a:lnTo>
                    <a:lnTo>
                      <a:pt x="73" y="178"/>
                    </a:lnTo>
                    <a:lnTo>
                      <a:pt x="73" y="180"/>
                    </a:lnTo>
                    <a:lnTo>
                      <a:pt x="75" y="180"/>
                    </a:lnTo>
                    <a:lnTo>
                      <a:pt x="73" y="180"/>
                    </a:lnTo>
                    <a:lnTo>
                      <a:pt x="75" y="180"/>
                    </a:lnTo>
                    <a:lnTo>
                      <a:pt x="75" y="182"/>
                    </a:lnTo>
                    <a:lnTo>
                      <a:pt x="75" y="184"/>
                    </a:lnTo>
                    <a:lnTo>
                      <a:pt x="73" y="184"/>
                    </a:lnTo>
                    <a:lnTo>
                      <a:pt x="75" y="184"/>
                    </a:lnTo>
                    <a:lnTo>
                      <a:pt x="73" y="184"/>
                    </a:lnTo>
                    <a:lnTo>
                      <a:pt x="75" y="184"/>
                    </a:lnTo>
                    <a:lnTo>
                      <a:pt x="75" y="186"/>
                    </a:lnTo>
                    <a:lnTo>
                      <a:pt x="77" y="186"/>
                    </a:lnTo>
                    <a:lnTo>
                      <a:pt x="77" y="188"/>
                    </a:lnTo>
                    <a:lnTo>
                      <a:pt x="79" y="188"/>
                    </a:lnTo>
                    <a:lnTo>
                      <a:pt x="79" y="190"/>
                    </a:lnTo>
                    <a:lnTo>
                      <a:pt x="81" y="190"/>
                    </a:lnTo>
                    <a:lnTo>
                      <a:pt x="81" y="192"/>
                    </a:lnTo>
                    <a:lnTo>
                      <a:pt x="83" y="194"/>
                    </a:lnTo>
                    <a:lnTo>
                      <a:pt x="81" y="194"/>
                    </a:lnTo>
                    <a:lnTo>
                      <a:pt x="81" y="196"/>
                    </a:lnTo>
                    <a:lnTo>
                      <a:pt x="81" y="194"/>
                    </a:lnTo>
                    <a:lnTo>
                      <a:pt x="81" y="192"/>
                    </a:lnTo>
                    <a:lnTo>
                      <a:pt x="79" y="192"/>
                    </a:lnTo>
                    <a:lnTo>
                      <a:pt x="81" y="192"/>
                    </a:lnTo>
                    <a:lnTo>
                      <a:pt x="79" y="192"/>
                    </a:lnTo>
                    <a:lnTo>
                      <a:pt x="79" y="190"/>
                    </a:lnTo>
                    <a:lnTo>
                      <a:pt x="79" y="192"/>
                    </a:lnTo>
                    <a:lnTo>
                      <a:pt x="79" y="190"/>
                    </a:lnTo>
                    <a:lnTo>
                      <a:pt x="77" y="190"/>
                    </a:lnTo>
                    <a:lnTo>
                      <a:pt x="79" y="190"/>
                    </a:lnTo>
                    <a:lnTo>
                      <a:pt x="79" y="192"/>
                    </a:lnTo>
                    <a:lnTo>
                      <a:pt x="77" y="192"/>
                    </a:lnTo>
                    <a:lnTo>
                      <a:pt x="75" y="192"/>
                    </a:lnTo>
                    <a:lnTo>
                      <a:pt x="75" y="194"/>
                    </a:lnTo>
                    <a:lnTo>
                      <a:pt x="75" y="192"/>
                    </a:lnTo>
                    <a:lnTo>
                      <a:pt x="73" y="192"/>
                    </a:lnTo>
                    <a:lnTo>
                      <a:pt x="75" y="192"/>
                    </a:lnTo>
                    <a:lnTo>
                      <a:pt x="73" y="192"/>
                    </a:lnTo>
                    <a:lnTo>
                      <a:pt x="73" y="190"/>
                    </a:lnTo>
                    <a:lnTo>
                      <a:pt x="71" y="190"/>
                    </a:lnTo>
                    <a:lnTo>
                      <a:pt x="71" y="188"/>
                    </a:lnTo>
                    <a:lnTo>
                      <a:pt x="71" y="190"/>
                    </a:lnTo>
                    <a:lnTo>
                      <a:pt x="71" y="188"/>
                    </a:lnTo>
                    <a:lnTo>
                      <a:pt x="69" y="188"/>
                    </a:lnTo>
                    <a:lnTo>
                      <a:pt x="69" y="186"/>
                    </a:lnTo>
                    <a:lnTo>
                      <a:pt x="67" y="186"/>
                    </a:lnTo>
                    <a:lnTo>
                      <a:pt x="65" y="186"/>
                    </a:lnTo>
                    <a:lnTo>
                      <a:pt x="63" y="184"/>
                    </a:lnTo>
                    <a:lnTo>
                      <a:pt x="59" y="190"/>
                    </a:lnTo>
                    <a:lnTo>
                      <a:pt x="59" y="188"/>
                    </a:lnTo>
                    <a:lnTo>
                      <a:pt x="58" y="188"/>
                    </a:lnTo>
                    <a:lnTo>
                      <a:pt x="56" y="188"/>
                    </a:lnTo>
                    <a:lnTo>
                      <a:pt x="56" y="186"/>
                    </a:lnTo>
                    <a:lnTo>
                      <a:pt x="54" y="188"/>
                    </a:lnTo>
                    <a:lnTo>
                      <a:pt x="54" y="190"/>
                    </a:lnTo>
                    <a:lnTo>
                      <a:pt x="50" y="192"/>
                    </a:lnTo>
                    <a:lnTo>
                      <a:pt x="42" y="186"/>
                    </a:lnTo>
                    <a:lnTo>
                      <a:pt x="40" y="184"/>
                    </a:lnTo>
                    <a:lnTo>
                      <a:pt x="44" y="177"/>
                    </a:lnTo>
                    <a:lnTo>
                      <a:pt x="42" y="175"/>
                    </a:lnTo>
                    <a:lnTo>
                      <a:pt x="46" y="167"/>
                    </a:lnTo>
                    <a:lnTo>
                      <a:pt x="46" y="165"/>
                    </a:lnTo>
                    <a:lnTo>
                      <a:pt x="42" y="163"/>
                    </a:lnTo>
                    <a:lnTo>
                      <a:pt x="36" y="157"/>
                    </a:lnTo>
                    <a:lnTo>
                      <a:pt x="33" y="154"/>
                    </a:lnTo>
                    <a:lnTo>
                      <a:pt x="27" y="152"/>
                    </a:lnTo>
                    <a:lnTo>
                      <a:pt x="13" y="142"/>
                    </a:lnTo>
                    <a:lnTo>
                      <a:pt x="0" y="132"/>
                    </a:lnTo>
                    <a:lnTo>
                      <a:pt x="2" y="127"/>
                    </a:lnTo>
                    <a:lnTo>
                      <a:pt x="2" y="123"/>
                    </a:lnTo>
                    <a:lnTo>
                      <a:pt x="2" y="121"/>
                    </a:lnTo>
                    <a:lnTo>
                      <a:pt x="4" y="117"/>
                    </a:lnTo>
                    <a:lnTo>
                      <a:pt x="4" y="113"/>
                    </a:lnTo>
                    <a:lnTo>
                      <a:pt x="6" y="113"/>
                    </a:lnTo>
                    <a:lnTo>
                      <a:pt x="6" y="111"/>
                    </a:lnTo>
                    <a:lnTo>
                      <a:pt x="8" y="111"/>
                    </a:lnTo>
                    <a:lnTo>
                      <a:pt x="10" y="109"/>
                    </a:lnTo>
                    <a:lnTo>
                      <a:pt x="21" y="105"/>
                    </a:lnTo>
                    <a:lnTo>
                      <a:pt x="27" y="104"/>
                    </a:lnTo>
                    <a:lnTo>
                      <a:pt x="29" y="104"/>
                    </a:lnTo>
                    <a:lnTo>
                      <a:pt x="29" y="102"/>
                    </a:lnTo>
                    <a:lnTo>
                      <a:pt x="31" y="102"/>
                    </a:lnTo>
                    <a:lnTo>
                      <a:pt x="31" y="104"/>
                    </a:lnTo>
                    <a:lnTo>
                      <a:pt x="31" y="102"/>
                    </a:lnTo>
                    <a:lnTo>
                      <a:pt x="33" y="104"/>
                    </a:lnTo>
                    <a:lnTo>
                      <a:pt x="33" y="102"/>
                    </a:lnTo>
                    <a:lnTo>
                      <a:pt x="34" y="102"/>
                    </a:lnTo>
                    <a:lnTo>
                      <a:pt x="36" y="102"/>
                    </a:lnTo>
                    <a:lnTo>
                      <a:pt x="38" y="100"/>
                    </a:lnTo>
                    <a:lnTo>
                      <a:pt x="42" y="100"/>
                    </a:lnTo>
                    <a:lnTo>
                      <a:pt x="46" y="98"/>
                    </a:lnTo>
                    <a:lnTo>
                      <a:pt x="50" y="94"/>
                    </a:lnTo>
                    <a:lnTo>
                      <a:pt x="54" y="92"/>
                    </a:lnTo>
                    <a:lnTo>
                      <a:pt x="50" y="82"/>
                    </a:lnTo>
                    <a:lnTo>
                      <a:pt x="50" y="80"/>
                    </a:lnTo>
                    <a:lnTo>
                      <a:pt x="54" y="63"/>
                    </a:lnTo>
                    <a:lnTo>
                      <a:pt x="46" y="48"/>
                    </a:lnTo>
                    <a:lnTo>
                      <a:pt x="46" y="46"/>
                    </a:lnTo>
                    <a:lnTo>
                      <a:pt x="48" y="44"/>
                    </a:lnTo>
                    <a:lnTo>
                      <a:pt x="54" y="27"/>
                    </a:lnTo>
                    <a:lnTo>
                      <a:pt x="59" y="25"/>
                    </a:lnTo>
                    <a:lnTo>
                      <a:pt x="63" y="23"/>
                    </a:lnTo>
                    <a:lnTo>
                      <a:pt x="67" y="23"/>
                    </a:lnTo>
                    <a:lnTo>
                      <a:pt x="73" y="17"/>
                    </a:lnTo>
                    <a:lnTo>
                      <a:pt x="71" y="15"/>
                    </a:lnTo>
                    <a:lnTo>
                      <a:pt x="67" y="11"/>
                    </a:lnTo>
                    <a:lnTo>
                      <a:pt x="67" y="9"/>
                    </a:lnTo>
                    <a:lnTo>
                      <a:pt x="71" y="9"/>
                    </a:lnTo>
                    <a:lnTo>
                      <a:pt x="79" y="11"/>
                    </a:lnTo>
                    <a:lnTo>
                      <a:pt x="83" y="11"/>
                    </a:lnTo>
                    <a:lnTo>
                      <a:pt x="83" y="13"/>
                    </a:lnTo>
                    <a:lnTo>
                      <a:pt x="84" y="13"/>
                    </a:lnTo>
                    <a:lnTo>
                      <a:pt x="84" y="15"/>
                    </a:lnTo>
                    <a:lnTo>
                      <a:pt x="86" y="13"/>
                    </a:lnTo>
                    <a:lnTo>
                      <a:pt x="88" y="13"/>
                    </a:lnTo>
                    <a:lnTo>
                      <a:pt x="90" y="13"/>
                    </a:lnTo>
                    <a:lnTo>
                      <a:pt x="92" y="13"/>
                    </a:lnTo>
                    <a:lnTo>
                      <a:pt x="92" y="11"/>
                    </a:lnTo>
                    <a:lnTo>
                      <a:pt x="94" y="11"/>
                    </a:lnTo>
                    <a:lnTo>
                      <a:pt x="96" y="9"/>
                    </a:lnTo>
                    <a:lnTo>
                      <a:pt x="96" y="7"/>
                    </a:lnTo>
                    <a:lnTo>
                      <a:pt x="98" y="5"/>
                    </a:lnTo>
                    <a:lnTo>
                      <a:pt x="100" y="5"/>
                    </a:lnTo>
                    <a:lnTo>
                      <a:pt x="102" y="5"/>
                    </a:lnTo>
                    <a:lnTo>
                      <a:pt x="104" y="7"/>
                    </a:lnTo>
                    <a:lnTo>
                      <a:pt x="106" y="7"/>
                    </a:lnTo>
                    <a:lnTo>
                      <a:pt x="107" y="7"/>
                    </a:lnTo>
                    <a:lnTo>
                      <a:pt x="109" y="7"/>
                    </a:lnTo>
                    <a:lnTo>
                      <a:pt x="111" y="7"/>
                    </a:lnTo>
                    <a:lnTo>
                      <a:pt x="113" y="7"/>
                    </a:lnTo>
                    <a:lnTo>
                      <a:pt x="115" y="9"/>
                    </a:lnTo>
                    <a:lnTo>
                      <a:pt x="117" y="9"/>
                    </a:lnTo>
                    <a:lnTo>
                      <a:pt x="119" y="9"/>
                    </a:lnTo>
                    <a:lnTo>
                      <a:pt x="121" y="9"/>
                    </a:lnTo>
                    <a:lnTo>
                      <a:pt x="121" y="7"/>
                    </a:lnTo>
                    <a:lnTo>
                      <a:pt x="123" y="7"/>
                    </a:lnTo>
                    <a:lnTo>
                      <a:pt x="125" y="7"/>
                    </a:lnTo>
                    <a:lnTo>
                      <a:pt x="125" y="5"/>
                    </a:lnTo>
                    <a:lnTo>
                      <a:pt x="127" y="4"/>
                    </a:lnTo>
                    <a:lnTo>
                      <a:pt x="127" y="2"/>
                    </a:lnTo>
                    <a:lnTo>
                      <a:pt x="127" y="0"/>
                    </a:lnTo>
                    <a:lnTo>
                      <a:pt x="129" y="0"/>
                    </a:lnTo>
                    <a:lnTo>
                      <a:pt x="127" y="0"/>
                    </a:lnTo>
                    <a:lnTo>
                      <a:pt x="127" y="2"/>
                    </a:lnTo>
                    <a:lnTo>
                      <a:pt x="129" y="2"/>
                    </a:lnTo>
                    <a:lnTo>
                      <a:pt x="129" y="0"/>
                    </a:lnTo>
                    <a:lnTo>
                      <a:pt x="129" y="2"/>
                    </a:lnTo>
                    <a:lnTo>
                      <a:pt x="131" y="4"/>
                    </a:lnTo>
                    <a:lnTo>
                      <a:pt x="131" y="5"/>
                    </a:lnTo>
                    <a:lnTo>
                      <a:pt x="131" y="7"/>
                    </a:lnTo>
                    <a:lnTo>
                      <a:pt x="131" y="11"/>
                    </a:lnTo>
                    <a:lnTo>
                      <a:pt x="132" y="13"/>
                    </a:lnTo>
                    <a:lnTo>
                      <a:pt x="134" y="15"/>
                    </a:lnTo>
                    <a:lnTo>
                      <a:pt x="136" y="17"/>
                    </a:lnTo>
                    <a:lnTo>
                      <a:pt x="138" y="17"/>
                    </a:lnTo>
                    <a:lnTo>
                      <a:pt x="140" y="17"/>
                    </a:lnTo>
                    <a:lnTo>
                      <a:pt x="140" y="15"/>
                    </a:lnTo>
                    <a:lnTo>
                      <a:pt x="142" y="15"/>
                    </a:lnTo>
                    <a:lnTo>
                      <a:pt x="142" y="13"/>
                    </a:lnTo>
                    <a:lnTo>
                      <a:pt x="142" y="11"/>
                    </a:lnTo>
                    <a:lnTo>
                      <a:pt x="144" y="11"/>
                    </a:lnTo>
                    <a:lnTo>
                      <a:pt x="144" y="9"/>
                    </a:lnTo>
                    <a:lnTo>
                      <a:pt x="144" y="7"/>
                    </a:lnTo>
                    <a:lnTo>
                      <a:pt x="146" y="7"/>
                    </a:lnTo>
                    <a:lnTo>
                      <a:pt x="144" y="7"/>
                    </a:lnTo>
                    <a:lnTo>
                      <a:pt x="146" y="7"/>
                    </a:lnTo>
                    <a:lnTo>
                      <a:pt x="144" y="7"/>
                    </a:lnTo>
                    <a:lnTo>
                      <a:pt x="146" y="5"/>
                    </a:lnTo>
                    <a:lnTo>
                      <a:pt x="148" y="5"/>
                    </a:lnTo>
                    <a:lnTo>
                      <a:pt x="146" y="7"/>
                    </a:lnTo>
                    <a:lnTo>
                      <a:pt x="148" y="7"/>
                    </a:lnTo>
                    <a:lnTo>
                      <a:pt x="146" y="7"/>
                    </a:lnTo>
                    <a:lnTo>
                      <a:pt x="148" y="7"/>
                    </a:lnTo>
                    <a:lnTo>
                      <a:pt x="148" y="9"/>
                    </a:lnTo>
                    <a:lnTo>
                      <a:pt x="150" y="9"/>
                    </a:lnTo>
                    <a:lnTo>
                      <a:pt x="150" y="11"/>
                    </a:lnTo>
                    <a:lnTo>
                      <a:pt x="152" y="11"/>
                    </a:lnTo>
                    <a:lnTo>
                      <a:pt x="150" y="13"/>
                    </a:lnTo>
                    <a:lnTo>
                      <a:pt x="152" y="13"/>
                    </a:lnTo>
                    <a:lnTo>
                      <a:pt x="150" y="13"/>
                    </a:lnTo>
                    <a:lnTo>
                      <a:pt x="150" y="15"/>
                    </a:lnTo>
                    <a:lnTo>
                      <a:pt x="150" y="13"/>
                    </a:lnTo>
                    <a:lnTo>
                      <a:pt x="152" y="13"/>
                    </a:lnTo>
                    <a:lnTo>
                      <a:pt x="152" y="15"/>
                    </a:lnTo>
                    <a:lnTo>
                      <a:pt x="154" y="15"/>
                    </a:lnTo>
                    <a:lnTo>
                      <a:pt x="152" y="15"/>
                    </a:lnTo>
                    <a:lnTo>
                      <a:pt x="154" y="15"/>
                    </a:lnTo>
                    <a:lnTo>
                      <a:pt x="154" y="17"/>
                    </a:lnTo>
                    <a:lnTo>
                      <a:pt x="154" y="19"/>
                    </a:lnTo>
                    <a:lnTo>
                      <a:pt x="152" y="19"/>
                    </a:lnTo>
                    <a:lnTo>
                      <a:pt x="150" y="19"/>
                    </a:lnTo>
                    <a:lnTo>
                      <a:pt x="150" y="21"/>
                    </a:lnTo>
                    <a:lnTo>
                      <a:pt x="148" y="21"/>
                    </a:lnTo>
                    <a:lnTo>
                      <a:pt x="146" y="21"/>
                    </a:lnTo>
                    <a:lnTo>
                      <a:pt x="144" y="21"/>
                    </a:lnTo>
                    <a:lnTo>
                      <a:pt x="146" y="23"/>
                    </a:lnTo>
                    <a:lnTo>
                      <a:pt x="146" y="21"/>
                    </a:lnTo>
                    <a:lnTo>
                      <a:pt x="148" y="21"/>
                    </a:lnTo>
                    <a:lnTo>
                      <a:pt x="150" y="21"/>
                    </a:lnTo>
                    <a:lnTo>
                      <a:pt x="152" y="19"/>
                    </a:lnTo>
                    <a:lnTo>
                      <a:pt x="152" y="21"/>
                    </a:lnTo>
                    <a:lnTo>
                      <a:pt x="154" y="21"/>
                    </a:lnTo>
                    <a:lnTo>
                      <a:pt x="154" y="19"/>
                    </a:lnTo>
                    <a:lnTo>
                      <a:pt x="154" y="21"/>
                    </a:lnTo>
                    <a:lnTo>
                      <a:pt x="154" y="19"/>
                    </a:lnTo>
                    <a:lnTo>
                      <a:pt x="154" y="21"/>
                    </a:lnTo>
                    <a:lnTo>
                      <a:pt x="154" y="23"/>
                    </a:lnTo>
                    <a:lnTo>
                      <a:pt x="154" y="21"/>
                    </a:lnTo>
                    <a:lnTo>
                      <a:pt x="154" y="19"/>
                    </a:lnTo>
                    <a:lnTo>
                      <a:pt x="156" y="19"/>
                    </a:lnTo>
                    <a:lnTo>
                      <a:pt x="154" y="21"/>
                    </a:lnTo>
                    <a:lnTo>
                      <a:pt x="156" y="21"/>
                    </a:lnTo>
                    <a:lnTo>
                      <a:pt x="157" y="21"/>
                    </a:lnTo>
                    <a:lnTo>
                      <a:pt x="157" y="23"/>
                    </a:lnTo>
                    <a:lnTo>
                      <a:pt x="157" y="25"/>
                    </a:lnTo>
                    <a:lnTo>
                      <a:pt x="159" y="25"/>
                    </a:lnTo>
                    <a:lnTo>
                      <a:pt x="159" y="23"/>
                    </a:lnTo>
                    <a:lnTo>
                      <a:pt x="159" y="21"/>
                    </a:lnTo>
                    <a:lnTo>
                      <a:pt x="161" y="21"/>
                    </a:lnTo>
                    <a:lnTo>
                      <a:pt x="161" y="19"/>
                    </a:lnTo>
                    <a:lnTo>
                      <a:pt x="161" y="17"/>
                    </a:lnTo>
                    <a:lnTo>
                      <a:pt x="163" y="17"/>
                    </a:lnTo>
                    <a:lnTo>
                      <a:pt x="165" y="17"/>
                    </a:lnTo>
                    <a:lnTo>
                      <a:pt x="165" y="19"/>
                    </a:lnTo>
                    <a:lnTo>
                      <a:pt x="167" y="21"/>
                    </a:lnTo>
                    <a:lnTo>
                      <a:pt x="167" y="23"/>
                    </a:lnTo>
                    <a:lnTo>
                      <a:pt x="167" y="25"/>
                    </a:lnTo>
                    <a:lnTo>
                      <a:pt x="167" y="23"/>
                    </a:lnTo>
                    <a:lnTo>
                      <a:pt x="169" y="25"/>
                    </a:lnTo>
                    <a:lnTo>
                      <a:pt x="169" y="23"/>
                    </a:lnTo>
                    <a:lnTo>
                      <a:pt x="169" y="21"/>
                    </a:lnTo>
                    <a:lnTo>
                      <a:pt x="169" y="19"/>
                    </a:lnTo>
                    <a:lnTo>
                      <a:pt x="169" y="17"/>
                    </a:lnTo>
                    <a:lnTo>
                      <a:pt x="169" y="19"/>
                    </a:lnTo>
                    <a:lnTo>
                      <a:pt x="169" y="17"/>
                    </a:lnTo>
                    <a:lnTo>
                      <a:pt x="171" y="17"/>
                    </a:lnTo>
                    <a:lnTo>
                      <a:pt x="171" y="15"/>
                    </a:lnTo>
                    <a:lnTo>
                      <a:pt x="169" y="15"/>
                    </a:lnTo>
                    <a:lnTo>
                      <a:pt x="171" y="15"/>
                    </a:lnTo>
                    <a:lnTo>
                      <a:pt x="169" y="15"/>
                    </a:lnTo>
                    <a:lnTo>
                      <a:pt x="171" y="15"/>
                    </a:lnTo>
                    <a:lnTo>
                      <a:pt x="171" y="13"/>
                    </a:lnTo>
                    <a:lnTo>
                      <a:pt x="173" y="13"/>
                    </a:lnTo>
                    <a:lnTo>
                      <a:pt x="173" y="15"/>
                    </a:lnTo>
                    <a:lnTo>
                      <a:pt x="173" y="13"/>
                    </a:lnTo>
                    <a:lnTo>
                      <a:pt x="173" y="15"/>
                    </a:lnTo>
                    <a:lnTo>
                      <a:pt x="175" y="15"/>
                    </a:lnTo>
                    <a:lnTo>
                      <a:pt x="173" y="15"/>
                    </a:lnTo>
                    <a:lnTo>
                      <a:pt x="175" y="15"/>
                    </a:lnTo>
                    <a:lnTo>
                      <a:pt x="175" y="17"/>
                    </a:lnTo>
                    <a:lnTo>
                      <a:pt x="175" y="19"/>
                    </a:lnTo>
                    <a:lnTo>
                      <a:pt x="177" y="19"/>
                    </a:lnTo>
                    <a:lnTo>
                      <a:pt x="175" y="21"/>
                    </a:lnTo>
                    <a:lnTo>
                      <a:pt x="177" y="21"/>
                    </a:lnTo>
                    <a:lnTo>
                      <a:pt x="177" y="23"/>
                    </a:lnTo>
                    <a:lnTo>
                      <a:pt x="177" y="21"/>
                    </a:lnTo>
                    <a:lnTo>
                      <a:pt x="177" y="23"/>
                    </a:lnTo>
                    <a:lnTo>
                      <a:pt x="179" y="23"/>
                    </a:lnTo>
                    <a:lnTo>
                      <a:pt x="179" y="25"/>
                    </a:lnTo>
                    <a:lnTo>
                      <a:pt x="177" y="23"/>
                    </a:lnTo>
                    <a:lnTo>
                      <a:pt x="179" y="25"/>
                    </a:lnTo>
                    <a:lnTo>
                      <a:pt x="179" y="27"/>
                    </a:lnTo>
                    <a:lnTo>
                      <a:pt x="177" y="27"/>
                    </a:lnTo>
                    <a:lnTo>
                      <a:pt x="179" y="29"/>
                    </a:lnTo>
                    <a:lnTo>
                      <a:pt x="177" y="29"/>
                    </a:lnTo>
                    <a:lnTo>
                      <a:pt x="179" y="29"/>
                    </a:lnTo>
                    <a:lnTo>
                      <a:pt x="179" y="30"/>
                    </a:lnTo>
                    <a:lnTo>
                      <a:pt x="179" y="32"/>
                    </a:lnTo>
                    <a:lnTo>
                      <a:pt x="180" y="32"/>
                    </a:lnTo>
                    <a:lnTo>
                      <a:pt x="180" y="30"/>
                    </a:lnTo>
                    <a:lnTo>
                      <a:pt x="180" y="32"/>
                    </a:lnTo>
                    <a:lnTo>
                      <a:pt x="180" y="30"/>
                    </a:lnTo>
                    <a:lnTo>
                      <a:pt x="180" y="32"/>
                    </a:lnTo>
                    <a:lnTo>
                      <a:pt x="180" y="30"/>
                    </a:lnTo>
                    <a:lnTo>
                      <a:pt x="180" y="32"/>
                    </a:lnTo>
                    <a:lnTo>
                      <a:pt x="182" y="32"/>
                    </a:lnTo>
                    <a:lnTo>
                      <a:pt x="182" y="34"/>
                    </a:lnTo>
                    <a:lnTo>
                      <a:pt x="184" y="34"/>
                    </a:lnTo>
                    <a:lnTo>
                      <a:pt x="184" y="36"/>
                    </a:lnTo>
                    <a:lnTo>
                      <a:pt x="186" y="38"/>
                    </a:lnTo>
                    <a:lnTo>
                      <a:pt x="186" y="40"/>
                    </a:lnTo>
                    <a:lnTo>
                      <a:pt x="186" y="38"/>
                    </a:lnTo>
                    <a:lnTo>
                      <a:pt x="186" y="40"/>
                    </a:lnTo>
                    <a:lnTo>
                      <a:pt x="186" y="38"/>
                    </a:lnTo>
                    <a:lnTo>
                      <a:pt x="186" y="40"/>
                    </a:lnTo>
                    <a:lnTo>
                      <a:pt x="186" y="42"/>
                    </a:lnTo>
                    <a:lnTo>
                      <a:pt x="186" y="40"/>
                    </a:lnTo>
                    <a:lnTo>
                      <a:pt x="186" y="42"/>
                    </a:lnTo>
                    <a:lnTo>
                      <a:pt x="184" y="42"/>
                    </a:lnTo>
                    <a:lnTo>
                      <a:pt x="184" y="44"/>
                    </a:lnTo>
                    <a:lnTo>
                      <a:pt x="182" y="44"/>
                    </a:lnTo>
                    <a:lnTo>
                      <a:pt x="180" y="44"/>
                    </a:lnTo>
                    <a:lnTo>
                      <a:pt x="179" y="44"/>
                    </a:lnTo>
                    <a:lnTo>
                      <a:pt x="177" y="44"/>
                    </a:lnTo>
                    <a:lnTo>
                      <a:pt x="175" y="44"/>
                    </a:lnTo>
                    <a:lnTo>
                      <a:pt x="175" y="42"/>
                    </a:lnTo>
                    <a:lnTo>
                      <a:pt x="173" y="40"/>
                    </a:lnTo>
                    <a:lnTo>
                      <a:pt x="173" y="38"/>
                    </a:lnTo>
                    <a:lnTo>
                      <a:pt x="171" y="38"/>
                    </a:lnTo>
                    <a:lnTo>
                      <a:pt x="171" y="36"/>
                    </a:lnTo>
                    <a:lnTo>
                      <a:pt x="171" y="34"/>
                    </a:lnTo>
                    <a:lnTo>
                      <a:pt x="169" y="34"/>
                    </a:lnTo>
                    <a:lnTo>
                      <a:pt x="167" y="34"/>
                    </a:lnTo>
                    <a:lnTo>
                      <a:pt x="167" y="32"/>
                    </a:lnTo>
                    <a:lnTo>
                      <a:pt x="165" y="32"/>
                    </a:lnTo>
                    <a:lnTo>
                      <a:pt x="165" y="30"/>
                    </a:lnTo>
                    <a:lnTo>
                      <a:pt x="167" y="30"/>
                    </a:lnTo>
                    <a:lnTo>
                      <a:pt x="167" y="29"/>
                    </a:lnTo>
                    <a:lnTo>
                      <a:pt x="169" y="29"/>
                    </a:lnTo>
                    <a:lnTo>
                      <a:pt x="169" y="27"/>
                    </a:lnTo>
                    <a:lnTo>
                      <a:pt x="169" y="25"/>
                    </a:lnTo>
                    <a:lnTo>
                      <a:pt x="167" y="25"/>
                    </a:lnTo>
                    <a:lnTo>
                      <a:pt x="167" y="27"/>
                    </a:lnTo>
                    <a:lnTo>
                      <a:pt x="167" y="25"/>
                    </a:lnTo>
                    <a:lnTo>
                      <a:pt x="167" y="27"/>
                    </a:lnTo>
                    <a:lnTo>
                      <a:pt x="167" y="29"/>
                    </a:lnTo>
                    <a:lnTo>
                      <a:pt x="165" y="29"/>
                    </a:lnTo>
                    <a:lnTo>
                      <a:pt x="163" y="30"/>
                    </a:lnTo>
                    <a:lnTo>
                      <a:pt x="163" y="29"/>
                    </a:lnTo>
                    <a:lnTo>
                      <a:pt x="161" y="29"/>
                    </a:lnTo>
                    <a:lnTo>
                      <a:pt x="161" y="30"/>
                    </a:lnTo>
                    <a:lnTo>
                      <a:pt x="161" y="32"/>
                    </a:lnTo>
                    <a:lnTo>
                      <a:pt x="159" y="32"/>
                    </a:lnTo>
                    <a:lnTo>
                      <a:pt x="159" y="34"/>
                    </a:lnTo>
                    <a:lnTo>
                      <a:pt x="159" y="32"/>
                    </a:lnTo>
                    <a:lnTo>
                      <a:pt x="161" y="34"/>
                    </a:lnTo>
                    <a:lnTo>
                      <a:pt x="161" y="32"/>
                    </a:lnTo>
                    <a:lnTo>
                      <a:pt x="163" y="32"/>
                    </a:lnTo>
                    <a:lnTo>
                      <a:pt x="163" y="34"/>
                    </a:lnTo>
                    <a:lnTo>
                      <a:pt x="163" y="32"/>
                    </a:lnTo>
                    <a:lnTo>
                      <a:pt x="163" y="34"/>
                    </a:lnTo>
                    <a:lnTo>
                      <a:pt x="165" y="34"/>
                    </a:lnTo>
                    <a:lnTo>
                      <a:pt x="165" y="36"/>
                    </a:lnTo>
                    <a:lnTo>
                      <a:pt x="167" y="38"/>
                    </a:lnTo>
                    <a:lnTo>
                      <a:pt x="167" y="40"/>
                    </a:lnTo>
                    <a:lnTo>
                      <a:pt x="165" y="40"/>
                    </a:lnTo>
                    <a:lnTo>
                      <a:pt x="167" y="40"/>
                    </a:lnTo>
                    <a:lnTo>
                      <a:pt x="165" y="40"/>
                    </a:lnTo>
                    <a:lnTo>
                      <a:pt x="167" y="40"/>
                    </a:lnTo>
                    <a:lnTo>
                      <a:pt x="167" y="42"/>
                    </a:lnTo>
                    <a:lnTo>
                      <a:pt x="167" y="4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Freeform 67">
                <a:extLst>
                  <a:ext uri="{FF2B5EF4-FFF2-40B4-BE49-F238E27FC236}">
                    <a16:creationId xmlns="" xmlns:a16="http://schemas.microsoft.com/office/drawing/2014/main" id="{07047BCD-8A62-45BA-8EB6-07C47866FF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86025" y="2151063"/>
                <a:ext cx="317500" cy="433388"/>
              </a:xfrm>
              <a:custGeom>
                <a:avLst/>
                <a:gdLst>
                  <a:gd name="T0" fmla="*/ 6 w 200"/>
                  <a:gd name="T1" fmla="*/ 179 h 273"/>
                  <a:gd name="T2" fmla="*/ 6 w 200"/>
                  <a:gd name="T3" fmla="*/ 183 h 273"/>
                  <a:gd name="T4" fmla="*/ 8 w 200"/>
                  <a:gd name="T5" fmla="*/ 185 h 273"/>
                  <a:gd name="T6" fmla="*/ 6 w 200"/>
                  <a:gd name="T7" fmla="*/ 185 h 273"/>
                  <a:gd name="T8" fmla="*/ 6 w 200"/>
                  <a:gd name="T9" fmla="*/ 188 h 273"/>
                  <a:gd name="T10" fmla="*/ 2 w 200"/>
                  <a:gd name="T11" fmla="*/ 183 h 273"/>
                  <a:gd name="T12" fmla="*/ 0 w 200"/>
                  <a:gd name="T13" fmla="*/ 179 h 273"/>
                  <a:gd name="T14" fmla="*/ 0 w 200"/>
                  <a:gd name="T15" fmla="*/ 179 h 273"/>
                  <a:gd name="T16" fmla="*/ 2 w 200"/>
                  <a:gd name="T17" fmla="*/ 181 h 273"/>
                  <a:gd name="T18" fmla="*/ 4 w 200"/>
                  <a:gd name="T19" fmla="*/ 179 h 273"/>
                  <a:gd name="T20" fmla="*/ 29 w 200"/>
                  <a:gd name="T21" fmla="*/ 194 h 273"/>
                  <a:gd name="T22" fmla="*/ 2 w 200"/>
                  <a:gd name="T23" fmla="*/ 171 h 273"/>
                  <a:gd name="T24" fmla="*/ 4 w 200"/>
                  <a:gd name="T25" fmla="*/ 171 h 273"/>
                  <a:gd name="T26" fmla="*/ 17 w 200"/>
                  <a:gd name="T27" fmla="*/ 181 h 273"/>
                  <a:gd name="T28" fmla="*/ 17 w 200"/>
                  <a:gd name="T29" fmla="*/ 179 h 273"/>
                  <a:gd name="T30" fmla="*/ 2 w 200"/>
                  <a:gd name="T31" fmla="*/ 162 h 273"/>
                  <a:gd name="T32" fmla="*/ 6 w 200"/>
                  <a:gd name="T33" fmla="*/ 152 h 273"/>
                  <a:gd name="T34" fmla="*/ 4 w 200"/>
                  <a:gd name="T35" fmla="*/ 152 h 273"/>
                  <a:gd name="T36" fmla="*/ 4 w 200"/>
                  <a:gd name="T37" fmla="*/ 152 h 273"/>
                  <a:gd name="T38" fmla="*/ 192 w 200"/>
                  <a:gd name="T39" fmla="*/ 273 h 273"/>
                  <a:gd name="T40" fmla="*/ 6 w 200"/>
                  <a:gd name="T41" fmla="*/ 150 h 273"/>
                  <a:gd name="T42" fmla="*/ 6 w 200"/>
                  <a:gd name="T43" fmla="*/ 148 h 273"/>
                  <a:gd name="T44" fmla="*/ 4 w 200"/>
                  <a:gd name="T45" fmla="*/ 148 h 273"/>
                  <a:gd name="T46" fmla="*/ 6 w 200"/>
                  <a:gd name="T47" fmla="*/ 148 h 273"/>
                  <a:gd name="T48" fmla="*/ 9 w 200"/>
                  <a:gd name="T49" fmla="*/ 146 h 273"/>
                  <a:gd name="T50" fmla="*/ 9 w 200"/>
                  <a:gd name="T51" fmla="*/ 146 h 273"/>
                  <a:gd name="T52" fmla="*/ 8 w 200"/>
                  <a:gd name="T53" fmla="*/ 144 h 273"/>
                  <a:gd name="T54" fmla="*/ 6 w 200"/>
                  <a:gd name="T55" fmla="*/ 140 h 273"/>
                  <a:gd name="T56" fmla="*/ 4 w 200"/>
                  <a:gd name="T57" fmla="*/ 140 h 273"/>
                  <a:gd name="T58" fmla="*/ 196 w 200"/>
                  <a:gd name="T59" fmla="*/ 269 h 273"/>
                  <a:gd name="T60" fmla="*/ 4 w 200"/>
                  <a:gd name="T61" fmla="*/ 140 h 273"/>
                  <a:gd name="T62" fmla="*/ 2 w 200"/>
                  <a:gd name="T63" fmla="*/ 139 h 273"/>
                  <a:gd name="T64" fmla="*/ 198 w 200"/>
                  <a:gd name="T65" fmla="*/ 221 h 273"/>
                  <a:gd name="T66" fmla="*/ 200 w 200"/>
                  <a:gd name="T67" fmla="*/ 219 h 273"/>
                  <a:gd name="T68" fmla="*/ 188 w 200"/>
                  <a:gd name="T69" fmla="*/ 196 h 273"/>
                  <a:gd name="T70" fmla="*/ 186 w 200"/>
                  <a:gd name="T71" fmla="*/ 194 h 273"/>
                  <a:gd name="T72" fmla="*/ 184 w 200"/>
                  <a:gd name="T73" fmla="*/ 192 h 273"/>
                  <a:gd name="T74" fmla="*/ 173 w 200"/>
                  <a:gd name="T75" fmla="*/ 165 h 273"/>
                  <a:gd name="T76" fmla="*/ 167 w 200"/>
                  <a:gd name="T77" fmla="*/ 133 h 273"/>
                  <a:gd name="T78" fmla="*/ 165 w 200"/>
                  <a:gd name="T79" fmla="*/ 131 h 273"/>
                  <a:gd name="T80" fmla="*/ 165 w 200"/>
                  <a:gd name="T81" fmla="*/ 127 h 273"/>
                  <a:gd name="T82" fmla="*/ 155 w 200"/>
                  <a:gd name="T83" fmla="*/ 104 h 273"/>
                  <a:gd name="T84" fmla="*/ 154 w 200"/>
                  <a:gd name="T85" fmla="*/ 102 h 273"/>
                  <a:gd name="T86" fmla="*/ 102 w 200"/>
                  <a:gd name="T87" fmla="*/ 54 h 273"/>
                  <a:gd name="T88" fmla="*/ 102 w 200"/>
                  <a:gd name="T89" fmla="*/ 54 h 273"/>
                  <a:gd name="T90" fmla="*/ 127 w 200"/>
                  <a:gd name="T91" fmla="*/ 69 h 273"/>
                  <a:gd name="T92" fmla="*/ 127 w 200"/>
                  <a:gd name="T93" fmla="*/ 69 h 273"/>
                  <a:gd name="T94" fmla="*/ 94 w 200"/>
                  <a:gd name="T95" fmla="*/ 42 h 273"/>
                  <a:gd name="T96" fmla="*/ 121 w 200"/>
                  <a:gd name="T97" fmla="*/ 58 h 273"/>
                  <a:gd name="T98" fmla="*/ 121 w 200"/>
                  <a:gd name="T99" fmla="*/ 60 h 273"/>
                  <a:gd name="T100" fmla="*/ 117 w 200"/>
                  <a:gd name="T101" fmla="*/ 56 h 273"/>
                  <a:gd name="T102" fmla="*/ 119 w 200"/>
                  <a:gd name="T103" fmla="*/ 56 h 273"/>
                  <a:gd name="T104" fmla="*/ 100 w 200"/>
                  <a:gd name="T105" fmla="*/ 40 h 273"/>
                  <a:gd name="T106" fmla="*/ 98 w 200"/>
                  <a:gd name="T107" fmla="*/ 39 h 273"/>
                  <a:gd name="T108" fmla="*/ 100 w 200"/>
                  <a:gd name="T109" fmla="*/ 39 h 273"/>
                  <a:gd name="T110" fmla="*/ 104 w 200"/>
                  <a:gd name="T111" fmla="*/ 39 h 273"/>
                  <a:gd name="T112" fmla="*/ 90 w 200"/>
                  <a:gd name="T113" fmla="*/ 29 h 273"/>
                  <a:gd name="T114" fmla="*/ 94 w 200"/>
                  <a:gd name="T115" fmla="*/ 27 h 273"/>
                  <a:gd name="T116" fmla="*/ 86 w 200"/>
                  <a:gd name="T117" fmla="*/ 17 h 273"/>
                  <a:gd name="T118" fmla="*/ 86 w 200"/>
                  <a:gd name="T119" fmla="*/ 0 h 2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00" h="273">
                    <a:moveTo>
                      <a:pt x="69" y="244"/>
                    </a:moveTo>
                    <a:lnTo>
                      <a:pt x="67" y="244"/>
                    </a:lnTo>
                    <a:lnTo>
                      <a:pt x="69" y="244"/>
                    </a:lnTo>
                    <a:close/>
                    <a:moveTo>
                      <a:pt x="6" y="179"/>
                    </a:moveTo>
                    <a:lnTo>
                      <a:pt x="4" y="179"/>
                    </a:lnTo>
                    <a:lnTo>
                      <a:pt x="6" y="179"/>
                    </a:lnTo>
                    <a:lnTo>
                      <a:pt x="6" y="181"/>
                    </a:lnTo>
                    <a:lnTo>
                      <a:pt x="6" y="183"/>
                    </a:lnTo>
                    <a:lnTo>
                      <a:pt x="8" y="183"/>
                    </a:lnTo>
                    <a:lnTo>
                      <a:pt x="6" y="183"/>
                    </a:lnTo>
                    <a:lnTo>
                      <a:pt x="8" y="183"/>
                    </a:lnTo>
                    <a:lnTo>
                      <a:pt x="8" y="185"/>
                    </a:lnTo>
                    <a:lnTo>
                      <a:pt x="6" y="183"/>
                    </a:lnTo>
                    <a:lnTo>
                      <a:pt x="6" y="185"/>
                    </a:lnTo>
                    <a:lnTo>
                      <a:pt x="8" y="185"/>
                    </a:lnTo>
                    <a:lnTo>
                      <a:pt x="6" y="185"/>
                    </a:lnTo>
                    <a:lnTo>
                      <a:pt x="6" y="187"/>
                    </a:lnTo>
                    <a:lnTo>
                      <a:pt x="8" y="187"/>
                    </a:lnTo>
                    <a:lnTo>
                      <a:pt x="8" y="188"/>
                    </a:lnTo>
                    <a:lnTo>
                      <a:pt x="6" y="188"/>
                    </a:lnTo>
                    <a:lnTo>
                      <a:pt x="6" y="187"/>
                    </a:lnTo>
                    <a:lnTo>
                      <a:pt x="4" y="185"/>
                    </a:lnTo>
                    <a:lnTo>
                      <a:pt x="4" y="183"/>
                    </a:lnTo>
                    <a:lnTo>
                      <a:pt x="2" y="183"/>
                    </a:lnTo>
                    <a:lnTo>
                      <a:pt x="2" y="181"/>
                    </a:lnTo>
                    <a:lnTo>
                      <a:pt x="2" y="183"/>
                    </a:lnTo>
                    <a:lnTo>
                      <a:pt x="2" y="181"/>
                    </a:lnTo>
                    <a:lnTo>
                      <a:pt x="0" y="179"/>
                    </a:lnTo>
                    <a:lnTo>
                      <a:pt x="0" y="181"/>
                    </a:lnTo>
                    <a:lnTo>
                      <a:pt x="0" y="179"/>
                    </a:lnTo>
                    <a:lnTo>
                      <a:pt x="2" y="179"/>
                    </a:lnTo>
                    <a:lnTo>
                      <a:pt x="0" y="179"/>
                    </a:lnTo>
                    <a:lnTo>
                      <a:pt x="2" y="179"/>
                    </a:lnTo>
                    <a:lnTo>
                      <a:pt x="2" y="181"/>
                    </a:lnTo>
                    <a:lnTo>
                      <a:pt x="2" y="179"/>
                    </a:lnTo>
                    <a:lnTo>
                      <a:pt x="2" y="181"/>
                    </a:lnTo>
                    <a:lnTo>
                      <a:pt x="4" y="181"/>
                    </a:lnTo>
                    <a:lnTo>
                      <a:pt x="4" y="179"/>
                    </a:lnTo>
                    <a:lnTo>
                      <a:pt x="2" y="179"/>
                    </a:lnTo>
                    <a:lnTo>
                      <a:pt x="4" y="179"/>
                    </a:lnTo>
                    <a:lnTo>
                      <a:pt x="6" y="179"/>
                    </a:lnTo>
                    <a:lnTo>
                      <a:pt x="4" y="179"/>
                    </a:lnTo>
                    <a:lnTo>
                      <a:pt x="6" y="179"/>
                    </a:lnTo>
                    <a:close/>
                    <a:moveTo>
                      <a:pt x="29" y="194"/>
                    </a:moveTo>
                    <a:lnTo>
                      <a:pt x="27" y="196"/>
                    </a:lnTo>
                    <a:lnTo>
                      <a:pt x="27" y="194"/>
                    </a:lnTo>
                    <a:lnTo>
                      <a:pt x="29" y="194"/>
                    </a:lnTo>
                    <a:close/>
                    <a:moveTo>
                      <a:pt x="2" y="171"/>
                    </a:moveTo>
                    <a:lnTo>
                      <a:pt x="2" y="169"/>
                    </a:lnTo>
                    <a:lnTo>
                      <a:pt x="2" y="171"/>
                    </a:lnTo>
                    <a:close/>
                    <a:moveTo>
                      <a:pt x="2" y="171"/>
                    </a:moveTo>
                    <a:lnTo>
                      <a:pt x="4" y="171"/>
                    </a:lnTo>
                    <a:lnTo>
                      <a:pt x="2" y="171"/>
                    </a:lnTo>
                    <a:lnTo>
                      <a:pt x="2" y="169"/>
                    </a:lnTo>
                    <a:lnTo>
                      <a:pt x="2" y="171"/>
                    </a:lnTo>
                    <a:close/>
                    <a:moveTo>
                      <a:pt x="17" y="181"/>
                    </a:moveTo>
                    <a:lnTo>
                      <a:pt x="17" y="179"/>
                    </a:lnTo>
                    <a:lnTo>
                      <a:pt x="17" y="181"/>
                    </a:lnTo>
                    <a:close/>
                    <a:moveTo>
                      <a:pt x="17" y="181"/>
                    </a:moveTo>
                    <a:lnTo>
                      <a:pt x="17" y="179"/>
                    </a:lnTo>
                    <a:lnTo>
                      <a:pt x="17" y="181"/>
                    </a:lnTo>
                    <a:close/>
                    <a:moveTo>
                      <a:pt x="2" y="162"/>
                    </a:moveTo>
                    <a:lnTo>
                      <a:pt x="2" y="160"/>
                    </a:lnTo>
                    <a:lnTo>
                      <a:pt x="2" y="162"/>
                    </a:lnTo>
                    <a:close/>
                    <a:moveTo>
                      <a:pt x="2" y="152"/>
                    </a:moveTo>
                    <a:lnTo>
                      <a:pt x="4" y="152"/>
                    </a:lnTo>
                    <a:lnTo>
                      <a:pt x="2" y="152"/>
                    </a:lnTo>
                    <a:close/>
                    <a:moveTo>
                      <a:pt x="6" y="152"/>
                    </a:moveTo>
                    <a:lnTo>
                      <a:pt x="6" y="154"/>
                    </a:lnTo>
                    <a:lnTo>
                      <a:pt x="6" y="152"/>
                    </a:lnTo>
                    <a:close/>
                    <a:moveTo>
                      <a:pt x="6" y="152"/>
                    </a:moveTo>
                    <a:lnTo>
                      <a:pt x="4" y="152"/>
                    </a:lnTo>
                    <a:lnTo>
                      <a:pt x="6" y="152"/>
                    </a:lnTo>
                    <a:close/>
                    <a:moveTo>
                      <a:pt x="4" y="152"/>
                    </a:moveTo>
                    <a:lnTo>
                      <a:pt x="4" y="150"/>
                    </a:lnTo>
                    <a:lnTo>
                      <a:pt x="4" y="152"/>
                    </a:lnTo>
                    <a:close/>
                    <a:moveTo>
                      <a:pt x="6" y="152"/>
                    </a:moveTo>
                    <a:lnTo>
                      <a:pt x="6" y="150"/>
                    </a:lnTo>
                    <a:lnTo>
                      <a:pt x="6" y="152"/>
                    </a:lnTo>
                    <a:close/>
                    <a:moveTo>
                      <a:pt x="192" y="273"/>
                    </a:moveTo>
                    <a:lnTo>
                      <a:pt x="190" y="273"/>
                    </a:lnTo>
                    <a:lnTo>
                      <a:pt x="192" y="273"/>
                    </a:lnTo>
                    <a:close/>
                    <a:moveTo>
                      <a:pt x="8" y="150"/>
                    </a:moveTo>
                    <a:lnTo>
                      <a:pt x="6" y="150"/>
                    </a:lnTo>
                    <a:lnTo>
                      <a:pt x="6" y="148"/>
                    </a:lnTo>
                    <a:lnTo>
                      <a:pt x="8" y="148"/>
                    </a:lnTo>
                    <a:lnTo>
                      <a:pt x="8" y="150"/>
                    </a:lnTo>
                    <a:close/>
                    <a:moveTo>
                      <a:pt x="6" y="148"/>
                    </a:moveTo>
                    <a:lnTo>
                      <a:pt x="6" y="150"/>
                    </a:lnTo>
                    <a:lnTo>
                      <a:pt x="6" y="148"/>
                    </a:lnTo>
                    <a:lnTo>
                      <a:pt x="6" y="150"/>
                    </a:lnTo>
                    <a:lnTo>
                      <a:pt x="4" y="148"/>
                    </a:lnTo>
                    <a:lnTo>
                      <a:pt x="6" y="148"/>
                    </a:lnTo>
                    <a:close/>
                    <a:moveTo>
                      <a:pt x="6" y="146"/>
                    </a:moveTo>
                    <a:lnTo>
                      <a:pt x="8" y="148"/>
                    </a:lnTo>
                    <a:lnTo>
                      <a:pt x="6" y="148"/>
                    </a:lnTo>
                    <a:lnTo>
                      <a:pt x="6" y="146"/>
                    </a:lnTo>
                    <a:close/>
                    <a:moveTo>
                      <a:pt x="9" y="146"/>
                    </a:moveTo>
                    <a:lnTo>
                      <a:pt x="9" y="148"/>
                    </a:lnTo>
                    <a:lnTo>
                      <a:pt x="9" y="146"/>
                    </a:lnTo>
                    <a:lnTo>
                      <a:pt x="9" y="148"/>
                    </a:lnTo>
                    <a:lnTo>
                      <a:pt x="9" y="146"/>
                    </a:lnTo>
                    <a:lnTo>
                      <a:pt x="11" y="146"/>
                    </a:lnTo>
                    <a:lnTo>
                      <a:pt x="9" y="146"/>
                    </a:lnTo>
                    <a:close/>
                    <a:moveTo>
                      <a:pt x="6" y="142"/>
                    </a:moveTo>
                    <a:lnTo>
                      <a:pt x="6" y="144"/>
                    </a:lnTo>
                    <a:lnTo>
                      <a:pt x="6" y="142"/>
                    </a:lnTo>
                    <a:close/>
                    <a:moveTo>
                      <a:pt x="8" y="144"/>
                    </a:moveTo>
                    <a:lnTo>
                      <a:pt x="8" y="142"/>
                    </a:lnTo>
                    <a:lnTo>
                      <a:pt x="8" y="144"/>
                    </a:lnTo>
                    <a:close/>
                    <a:moveTo>
                      <a:pt x="4" y="140"/>
                    </a:moveTo>
                    <a:lnTo>
                      <a:pt x="6" y="140"/>
                    </a:lnTo>
                    <a:lnTo>
                      <a:pt x="4" y="142"/>
                    </a:lnTo>
                    <a:lnTo>
                      <a:pt x="6" y="142"/>
                    </a:lnTo>
                    <a:lnTo>
                      <a:pt x="4" y="142"/>
                    </a:lnTo>
                    <a:lnTo>
                      <a:pt x="4" y="140"/>
                    </a:lnTo>
                    <a:lnTo>
                      <a:pt x="4" y="142"/>
                    </a:lnTo>
                    <a:lnTo>
                      <a:pt x="4" y="140"/>
                    </a:lnTo>
                    <a:close/>
                    <a:moveTo>
                      <a:pt x="194" y="269"/>
                    </a:moveTo>
                    <a:lnTo>
                      <a:pt x="196" y="269"/>
                    </a:lnTo>
                    <a:lnTo>
                      <a:pt x="194" y="269"/>
                    </a:lnTo>
                    <a:close/>
                    <a:moveTo>
                      <a:pt x="4" y="140"/>
                    </a:moveTo>
                    <a:lnTo>
                      <a:pt x="4" y="139"/>
                    </a:lnTo>
                    <a:lnTo>
                      <a:pt x="4" y="140"/>
                    </a:lnTo>
                    <a:close/>
                    <a:moveTo>
                      <a:pt x="4" y="139"/>
                    </a:moveTo>
                    <a:lnTo>
                      <a:pt x="2" y="139"/>
                    </a:lnTo>
                    <a:lnTo>
                      <a:pt x="4" y="139"/>
                    </a:lnTo>
                    <a:lnTo>
                      <a:pt x="2" y="139"/>
                    </a:lnTo>
                    <a:lnTo>
                      <a:pt x="4" y="139"/>
                    </a:lnTo>
                    <a:close/>
                    <a:moveTo>
                      <a:pt x="200" y="219"/>
                    </a:moveTo>
                    <a:lnTo>
                      <a:pt x="200" y="221"/>
                    </a:lnTo>
                    <a:lnTo>
                      <a:pt x="198" y="221"/>
                    </a:lnTo>
                    <a:lnTo>
                      <a:pt x="198" y="219"/>
                    </a:lnTo>
                    <a:lnTo>
                      <a:pt x="198" y="221"/>
                    </a:lnTo>
                    <a:lnTo>
                      <a:pt x="198" y="219"/>
                    </a:lnTo>
                    <a:lnTo>
                      <a:pt x="200" y="219"/>
                    </a:lnTo>
                    <a:close/>
                    <a:moveTo>
                      <a:pt x="186" y="198"/>
                    </a:moveTo>
                    <a:lnTo>
                      <a:pt x="186" y="196"/>
                    </a:lnTo>
                    <a:lnTo>
                      <a:pt x="186" y="198"/>
                    </a:lnTo>
                    <a:close/>
                    <a:moveTo>
                      <a:pt x="188" y="196"/>
                    </a:moveTo>
                    <a:lnTo>
                      <a:pt x="186" y="196"/>
                    </a:lnTo>
                    <a:lnTo>
                      <a:pt x="188" y="196"/>
                    </a:lnTo>
                    <a:close/>
                    <a:moveTo>
                      <a:pt x="188" y="194"/>
                    </a:moveTo>
                    <a:lnTo>
                      <a:pt x="186" y="194"/>
                    </a:lnTo>
                    <a:lnTo>
                      <a:pt x="188" y="194"/>
                    </a:lnTo>
                    <a:close/>
                    <a:moveTo>
                      <a:pt x="186" y="192"/>
                    </a:moveTo>
                    <a:lnTo>
                      <a:pt x="186" y="194"/>
                    </a:lnTo>
                    <a:lnTo>
                      <a:pt x="184" y="192"/>
                    </a:lnTo>
                    <a:lnTo>
                      <a:pt x="186" y="192"/>
                    </a:lnTo>
                    <a:close/>
                    <a:moveTo>
                      <a:pt x="175" y="163"/>
                    </a:moveTo>
                    <a:lnTo>
                      <a:pt x="175" y="165"/>
                    </a:lnTo>
                    <a:lnTo>
                      <a:pt x="173" y="165"/>
                    </a:lnTo>
                    <a:lnTo>
                      <a:pt x="173" y="163"/>
                    </a:lnTo>
                    <a:lnTo>
                      <a:pt x="175" y="163"/>
                    </a:lnTo>
                    <a:close/>
                    <a:moveTo>
                      <a:pt x="167" y="131"/>
                    </a:moveTo>
                    <a:lnTo>
                      <a:pt x="167" y="133"/>
                    </a:lnTo>
                    <a:lnTo>
                      <a:pt x="167" y="131"/>
                    </a:lnTo>
                    <a:close/>
                    <a:moveTo>
                      <a:pt x="165" y="131"/>
                    </a:moveTo>
                    <a:lnTo>
                      <a:pt x="165" y="129"/>
                    </a:lnTo>
                    <a:lnTo>
                      <a:pt x="165" y="131"/>
                    </a:lnTo>
                    <a:close/>
                    <a:moveTo>
                      <a:pt x="165" y="127"/>
                    </a:moveTo>
                    <a:lnTo>
                      <a:pt x="165" y="129"/>
                    </a:lnTo>
                    <a:lnTo>
                      <a:pt x="163" y="127"/>
                    </a:lnTo>
                    <a:lnTo>
                      <a:pt x="165" y="127"/>
                    </a:lnTo>
                    <a:close/>
                    <a:moveTo>
                      <a:pt x="154" y="102"/>
                    </a:moveTo>
                    <a:lnTo>
                      <a:pt x="154" y="104"/>
                    </a:lnTo>
                    <a:lnTo>
                      <a:pt x="154" y="102"/>
                    </a:lnTo>
                    <a:lnTo>
                      <a:pt x="155" y="104"/>
                    </a:lnTo>
                    <a:lnTo>
                      <a:pt x="154" y="104"/>
                    </a:lnTo>
                    <a:lnTo>
                      <a:pt x="154" y="102"/>
                    </a:lnTo>
                    <a:lnTo>
                      <a:pt x="154" y="100"/>
                    </a:lnTo>
                    <a:lnTo>
                      <a:pt x="154" y="102"/>
                    </a:lnTo>
                    <a:close/>
                    <a:moveTo>
                      <a:pt x="142" y="92"/>
                    </a:moveTo>
                    <a:lnTo>
                      <a:pt x="142" y="94"/>
                    </a:lnTo>
                    <a:lnTo>
                      <a:pt x="142" y="92"/>
                    </a:lnTo>
                    <a:close/>
                    <a:moveTo>
                      <a:pt x="102" y="54"/>
                    </a:moveTo>
                    <a:lnTo>
                      <a:pt x="102" y="56"/>
                    </a:lnTo>
                    <a:lnTo>
                      <a:pt x="102" y="54"/>
                    </a:lnTo>
                    <a:lnTo>
                      <a:pt x="100" y="54"/>
                    </a:lnTo>
                    <a:lnTo>
                      <a:pt x="102" y="54"/>
                    </a:lnTo>
                    <a:close/>
                    <a:moveTo>
                      <a:pt x="98" y="50"/>
                    </a:moveTo>
                    <a:lnTo>
                      <a:pt x="100" y="50"/>
                    </a:lnTo>
                    <a:lnTo>
                      <a:pt x="98" y="50"/>
                    </a:lnTo>
                    <a:close/>
                    <a:moveTo>
                      <a:pt x="127" y="69"/>
                    </a:moveTo>
                    <a:lnTo>
                      <a:pt x="127" y="71"/>
                    </a:lnTo>
                    <a:lnTo>
                      <a:pt x="129" y="71"/>
                    </a:lnTo>
                    <a:lnTo>
                      <a:pt x="127" y="71"/>
                    </a:lnTo>
                    <a:lnTo>
                      <a:pt x="127" y="69"/>
                    </a:lnTo>
                    <a:lnTo>
                      <a:pt x="125" y="69"/>
                    </a:lnTo>
                    <a:lnTo>
                      <a:pt x="127" y="69"/>
                    </a:lnTo>
                    <a:close/>
                    <a:moveTo>
                      <a:pt x="92" y="42"/>
                    </a:moveTo>
                    <a:lnTo>
                      <a:pt x="94" y="42"/>
                    </a:lnTo>
                    <a:lnTo>
                      <a:pt x="92" y="42"/>
                    </a:lnTo>
                    <a:close/>
                    <a:moveTo>
                      <a:pt x="119" y="56"/>
                    </a:moveTo>
                    <a:lnTo>
                      <a:pt x="121" y="56"/>
                    </a:lnTo>
                    <a:lnTo>
                      <a:pt x="121" y="58"/>
                    </a:lnTo>
                    <a:lnTo>
                      <a:pt x="123" y="60"/>
                    </a:lnTo>
                    <a:lnTo>
                      <a:pt x="123" y="62"/>
                    </a:lnTo>
                    <a:lnTo>
                      <a:pt x="121" y="62"/>
                    </a:lnTo>
                    <a:lnTo>
                      <a:pt x="121" y="60"/>
                    </a:lnTo>
                    <a:lnTo>
                      <a:pt x="119" y="60"/>
                    </a:lnTo>
                    <a:lnTo>
                      <a:pt x="117" y="60"/>
                    </a:lnTo>
                    <a:lnTo>
                      <a:pt x="117" y="58"/>
                    </a:lnTo>
                    <a:lnTo>
                      <a:pt x="117" y="56"/>
                    </a:lnTo>
                    <a:lnTo>
                      <a:pt x="115" y="56"/>
                    </a:lnTo>
                    <a:lnTo>
                      <a:pt x="117" y="54"/>
                    </a:lnTo>
                    <a:lnTo>
                      <a:pt x="119" y="54"/>
                    </a:lnTo>
                    <a:lnTo>
                      <a:pt x="119" y="56"/>
                    </a:lnTo>
                    <a:close/>
                    <a:moveTo>
                      <a:pt x="102" y="40"/>
                    </a:moveTo>
                    <a:lnTo>
                      <a:pt x="104" y="40"/>
                    </a:lnTo>
                    <a:lnTo>
                      <a:pt x="102" y="40"/>
                    </a:lnTo>
                    <a:lnTo>
                      <a:pt x="100" y="40"/>
                    </a:lnTo>
                    <a:lnTo>
                      <a:pt x="98" y="40"/>
                    </a:lnTo>
                    <a:lnTo>
                      <a:pt x="98" y="39"/>
                    </a:lnTo>
                    <a:lnTo>
                      <a:pt x="98" y="40"/>
                    </a:lnTo>
                    <a:lnTo>
                      <a:pt x="98" y="39"/>
                    </a:lnTo>
                    <a:lnTo>
                      <a:pt x="100" y="40"/>
                    </a:lnTo>
                    <a:lnTo>
                      <a:pt x="100" y="39"/>
                    </a:lnTo>
                    <a:lnTo>
                      <a:pt x="100" y="40"/>
                    </a:lnTo>
                    <a:lnTo>
                      <a:pt x="100" y="39"/>
                    </a:lnTo>
                    <a:lnTo>
                      <a:pt x="100" y="40"/>
                    </a:lnTo>
                    <a:lnTo>
                      <a:pt x="102" y="40"/>
                    </a:lnTo>
                    <a:lnTo>
                      <a:pt x="102" y="39"/>
                    </a:lnTo>
                    <a:lnTo>
                      <a:pt x="104" y="39"/>
                    </a:lnTo>
                    <a:lnTo>
                      <a:pt x="102" y="40"/>
                    </a:lnTo>
                    <a:close/>
                    <a:moveTo>
                      <a:pt x="90" y="29"/>
                    </a:moveTo>
                    <a:lnTo>
                      <a:pt x="88" y="29"/>
                    </a:lnTo>
                    <a:lnTo>
                      <a:pt x="90" y="29"/>
                    </a:lnTo>
                    <a:close/>
                    <a:moveTo>
                      <a:pt x="100" y="35"/>
                    </a:moveTo>
                    <a:lnTo>
                      <a:pt x="98" y="35"/>
                    </a:lnTo>
                    <a:lnTo>
                      <a:pt x="100" y="35"/>
                    </a:lnTo>
                    <a:close/>
                    <a:moveTo>
                      <a:pt x="94" y="27"/>
                    </a:moveTo>
                    <a:lnTo>
                      <a:pt x="92" y="29"/>
                    </a:lnTo>
                    <a:lnTo>
                      <a:pt x="92" y="27"/>
                    </a:lnTo>
                    <a:lnTo>
                      <a:pt x="94" y="27"/>
                    </a:lnTo>
                    <a:close/>
                    <a:moveTo>
                      <a:pt x="86" y="17"/>
                    </a:moveTo>
                    <a:lnTo>
                      <a:pt x="86" y="15"/>
                    </a:lnTo>
                    <a:lnTo>
                      <a:pt x="88" y="17"/>
                    </a:lnTo>
                    <a:lnTo>
                      <a:pt x="86" y="17"/>
                    </a:lnTo>
                    <a:close/>
                    <a:moveTo>
                      <a:pt x="86" y="0"/>
                    </a:moveTo>
                    <a:lnTo>
                      <a:pt x="88" y="0"/>
                    </a:lnTo>
                    <a:lnTo>
                      <a:pt x="86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68">
                <a:extLst>
                  <a:ext uri="{FF2B5EF4-FFF2-40B4-BE49-F238E27FC236}">
                    <a16:creationId xmlns="" xmlns:a16="http://schemas.microsoft.com/office/drawing/2014/main" id="{5FCD0C46-69B7-4A31-AA8F-97D54F7095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79675" y="2147888"/>
                <a:ext cx="320675" cy="460375"/>
              </a:xfrm>
              <a:custGeom>
                <a:avLst/>
                <a:gdLst>
                  <a:gd name="T0" fmla="*/ 108 w 202"/>
                  <a:gd name="T1" fmla="*/ 289 h 290"/>
                  <a:gd name="T2" fmla="*/ 71 w 202"/>
                  <a:gd name="T3" fmla="*/ 246 h 290"/>
                  <a:gd name="T4" fmla="*/ 12 w 202"/>
                  <a:gd name="T5" fmla="*/ 190 h 290"/>
                  <a:gd name="T6" fmla="*/ 4 w 202"/>
                  <a:gd name="T7" fmla="*/ 179 h 290"/>
                  <a:gd name="T8" fmla="*/ 6 w 202"/>
                  <a:gd name="T9" fmla="*/ 181 h 290"/>
                  <a:gd name="T10" fmla="*/ 12 w 202"/>
                  <a:gd name="T11" fmla="*/ 187 h 290"/>
                  <a:gd name="T12" fmla="*/ 2 w 202"/>
                  <a:gd name="T13" fmla="*/ 177 h 290"/>
                  <a:gd name="T14" fmla="*/ 0 w 202"/>
                  <a:gd name="T15" fmla="*/ 177 h 290"/>
                  <a:gd name="T16" fmla="*/ 0 w 202"/>
                  <a:gd name="T17" fmla="*/ 175 h 290"/>
                  <a:gd name="T18" fmla="*/ 10 w 202"/>
                  <a:gd name="T19" fmla="*/ 179 h 290"/>
                  <a:gd name="T20" fmla="*/ 21 w 202"/>
                  <a:gd name="T21" fmla="*/ 185 h 290"/>
                  <a:gd name="T22" fmla="*/ 29 w 202"/>
                  <a:gd name="T23" fmla="*/ 190 h 290"/>
                  <a:gd name="T24" fmla="*/ 25 w 202"/>
                  <a:gd name="T25" fmla="*/ 187 h 290"/>
                  <a:gd name="T26" fmla="*/ 21 w 202"/>
                  <a:gd name="T27" fmla="*/ 181 h 290"/>
                  <a:gd name="T28" fmla="*/ 19 w 202"/>
                  <a:gd name="T29" fmla="*/ 179 h 290"/>
                  <a:gd name="T30" fmla="*/ 4 w 202"/>
                  <a:gd name="T31" fmla="*/ 169 h 290"/>
                  <a:gd name="T32" fmla="*/ 23 w 202"/>
                  <a:gd name="T33" fmla="*/ 185 h 290"/>
                  <a:gd name="T34" fmla="*/ 4 w 202"/>
                  <a:gd name="T35" fmla="*/ 167 h 290"/>
                  <a:gd name="T36" fmla="*/ 2 w 202"/>
                  <a:gd name="T37" fmla="*/ 165 h 290"/>
                  <a:gd name="T38" fmla="*/ 8 w 202"/>
                  <a:gd name="T39" fmla="*/ 169 h 290"/>
                  <a:gd name="T40" fmla="*/ 2 w 202"/>
                  <a:gd name="T41" fmla="*/ 167 h 290"/>
                  <a:gd name="T42" fmla="*/ 181 w 202"/>
                  <a:gd name="T43" fmla="*/ 287 h 290"/>
                  <a:gd name="T44" fmla="*/ 21 w 202"/>
                  <a:gd name="T45" fmla="*/ 179 h 290"/>
                  <a:gd name="T46" fmla="*/ 23 w 202"/>
                  <a:gd name="T47" fmla="*/ 177 h 290"/>
                  <a:gd name="T48" fmla="*/ 23 w 202"/>
                  <a:gd name="T49" fmla="*/ 179 h 290"/>
                  <a:gd name="T50" fmla="*/ 15 w 202"/>
                  <a:gd name="T51" fmla="*/ 173 h 290"/>
                  <a:gd name="T52" fmla="*/ 23 w 202"/>
                  <a:gd name="T53" fmla="*/ 175 h 290"/>
                  <a:gd name="T54" fmla="*/ 23 w 202"/>
                  <a:gd name="T55" fmla="*/ 175 h 290"/>
                  <a:gd name="T56" fmla="*/ 12 w 202"/>
                  <a:gd name="T57" fmla="*/ 158 h 290"/>
                  <a:gd name="T58" fmla="*/ 8 w 202"/>
                  <a:gd name="T59" fmla="*/ 154 h 290"/>
                  <a:gd name="T60" fmla="*/ 10 w 202"/>
                  <a:gd name="T61" fmla="*/ 154 h 290"/>
                  <a:gd name="T62" fmla="*/ 10 w 202"/>
                  <a:gd name="T63" fmla="*/ 146 h 290"/>
                  <a:gd name="T64" fmla="*/ 8 w 202"/>
                  <a:gd name="T65" fmla="*/ 144 h 290"/>
                  <a:gd name="T66" fmla="*/ 10 w 202"/>
                  <a:gd name="T67" fmla="*/ 146 h 290"/>
                  <a:gd name="T68" fmla="*/ 15 w 202"/>
                  <a:gd name="T69" fmla="*/ 148 h 290"/>
                  <a:gd name="T70" fmla="*/ 15 w 202"/>
                  <a:gd name="T71" fmla="*/ 148 h 290"/>
                  <a:gd name="T72" fmla="*/ 13 w 202"/>
                  <a:gd name="T73" fmla="*/ 148 h 290"/>
                  <a:gd name="T74" fmla="*/ 10 w 202"/>
                  <a:gd name="T75" fmla="*/ 144 h 290"/>
                  <a:gd name="T76" fmla="*/ 10 w 202"/>
                  <a:gd name="T77" fmla="*/ 142 h 290"/>
                  <a:gd name="T78" fmla="*/ 202 w 202"/>
                  <a:gd name="T79" fmla="*/ 215 h 290"/>
                  <a:gd name="T80" fmla="*/ 200 w 202"/>
                  <a:gd name="T81" fmla="*/ 212 h 290"/>
                  <a:gd name="T82" fmla="*/ 192 w 202"/>
                  <a:gd name="T83" fmla="*/ 200 h 290"/>
                  <a:gd name="T84" fmla="*/ 188 w 202"/>
                  <a:gd name="T85" fmla="*/ 194 h 290"/>
                  <a:gd name="T86" fmla="*/ 186 w 202"/>
                  <a:gd name="T87" fmla="*/ 190 h 290"/>
                  <a:gd name="T88" fmla="*/ 184 w 202"/>
                  <a:gd name="T89" fmla="*/ 175 h 290"/>
                  <a:gd name="T90" fmla="*/ 179 w 202"/>
                  <a:gd name="T91" fmla="*/ 165 h 290"/>
                  <a:gd name="T92" fmla="*/ 173 w 202"/>
                  <a:gd name="T93" fmla="*/ 142 h 290"/>
                  <a:gd name="T94" fmla="*/ 60 w 202"/>
                  <a:gd name="T95" fmla="*/ 62 h 290"/>
                  <a:gd name="T96" fmla="*/ 63 w 202"/>
                  <a:gd name="T97" fmla="*/ 62 h 290"/>
                  <a:gd name="T98" fmla="*/ 169 w 202"/>
                  <a:gd name="T99" fmla="*/ 135 h 290"/>
                  <a:gd name="T100" fmla="*/ 171 w 202"/>
                  <a:gd name="T101" fmla="*/ 137 h 290"/>
                  <a:gd name="T102" fmla="*/ 163 w 202"/>
                  <a:gd name="T103" fmla="*/ 117 h 290"/>
                  <a:gd name="T104" fmla="*/ 161 w 202"/>
                  <a:gd name="T105" fmla="*/ 117 h 290"/>
                  <a:gd name="T106" fmla="*/ 158 w 202"/>
                  <a:gd name="T107" fmla="*/ 104 h 290"/>
                  <a:gd name="T108" fmla="*/ 152 w 202"/>
                  <a:gd name="T109" fmla="*/ 94 h 290"/>
                  <a:gd name="T110" fmla="*/ 136 w 202"/>
                  <a:gd name="T111" fmla="*/ 85 h 290"/>
                  <a:gd name="T112" fmla="*/ 152 w 202"/>
                  <a:gd name="T113" fmla="*/ 92 h 290"/>
                  <a:gd name="T114" fmla="*/ 152 w 202"/>
                  <a:gd name="T115" fmla="*/ 91 h 290"/>
                  <a:gd name="T116" fmla="*/ 150 w 202"/>
                  <a:gd name="T117" fmla="*/ 91 h 290"/>
                  <a:gd name="T118" fmla="*/ 108 w 202"/>
                  <a:gd name="T119" fmla="*/ 54 h 290"/>
                  <a:gd name="T120" fmla="*/ 79 w 202"/>
                  <a:gd name="T121" fmla="*/ 2 h 290"/>
                  <a:gd name="T122" fmla="*/ 111 w 202"/>
                  <a:gd name="T123" fmla="*/ 21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02" h="290">
                    <a:moveTo>
                      <a:pt x="108" y="289"/>
                    </a:moveTo>
                    <a:lnTo>
                      <a:pt x="106" y="289"/>
                    </a:lnTo>
                    <a:lnTo>
                      <a:pt x="108" y="289"/>
                    </a:lnTo>
                    <a:close/>
                    <a:moveTo>
                      <a:pt x="108" y="289"/>
                    </a:moveTo>
                    <a:lnTo>
                      <a:pt x="108" y="290"/>
                    </a:lnTo>
                    <a:lnTo>
                      <a:pt x="108" y="289"/>
                    </a:lnTo>
                    <a:close/>
                    <a:moveTo>
                      <a:pt x="71" y="244"/>
                    </a:moveTo>
                    <a:lnTo>
                      <a:pt x="71" y="246"/>
                    </a:lnTo>
                    <a:lnTo>
                      <a:pt x="71" y="244"/>
                    </a:lnTo>
                    <a:close/>
                    <a:moveTo>
                      <a:pt x="12" y="190"/>
                    </a:moveTo>
                    <a:lnTo>
                      <a:pt x="10" y="190"/>
                    </a:lnTo>
                    <a:lnTo>
                      <a:pt x="12" y="190"/>
                    </a:lnTo>
                    <a:close/>
                    <a:moveTo>
                      <a:pt x="12" y="190"/>
                    </a:moveTo>
                    <a:lnTo>
                      <a:pt x="12" y="189"/>
                    </a:lnTo>
                    <a:lnTo>
                      <a:pt x="12" y="190"/>
                    </a:lnTo>
                    <a:close/>
                    <a:moveTo>
                      <a:pt x="4" y="179"/>
                    </a:moveTo>
                    <a:lnTo>
                      <a:pt x="2" y="181"/>
                    </a:lnTo>
                    <a:lnTo>
                      <a:pt x="4" y="179"/>
                    </a:lnTo>
                    <a:close/>
                    <a:moveTo>
                      <a:pt x="6" y="183"/>
                    </a:moveTo>
                    <a:lnTo>
                      <a:pt x="6" y="181"/>
                    </a:lnTo>
                    <a:lnTo>
                      <a:pt x="6" y="183"/>
                    </a:lnTo>
                    <a:close/>
                    <a:moveTo>
                      <a:pt x="12" y="187"/>
                    </a:moveTo>
                    <a:lnTo>
                      <a:pt x="12" y="185"/>
                    </a:lnTo>
                    <a:lnTo>
                      <a:pt x="12" y="187"/>
                    </a:lnTo>
                    <a:close/>
                    <a:moveTo>
                      <a:pt x="8" y="181"/>
                    </a:moveTo>
                    <a:lnTo>
                      <a:pt x="6" y="181"/>
                    </a:lnTo>
                    <a:lnTo>
                      <a:pt x="8" y="181"/>
                    </a:lnTo>
                    <a:close/>
                    <a:moveTo>
                      <a:pt x="2" y="177"/>
                    </a:moveTo>
                    <a:lnTo>
                      <a:pt x="2" y="179"/>
                    </a:lnTo>
                    <a:lnTo>
                      <a:pt x="2" y="177"/>
                    </a:lnTo>
                    <a:close/>
                    <a:moveTo>
                      <a:pt x="0" y="175"/>
                    </a:moveTo>
                    <a:lnTo>
                      <a:pt x="0" y="177"/>
                    </a:lnTo>
                    <a:lnTo>
                      <a:pt x="0" y="175"/>
                    </a:lnTo>
                    <a:close/>
                    <a:moveTo>
                      <a:pt x="0" y="175"/>
                    </a:moveTo>
                    <a:lnTo>
                      <a:pt x="0" y="177"/>
                    </a:lnTo>
                    <a:lnTo>
                      <a:pt x="0" y="175"/>
                    </a:lnTo>
                    <a:close/>
                    <a:moveTo>
                      <a:pt x="6" y="179"/>
                    </a:moveTo>
                    <a:lnTo>
                      <a:pt x="6" y="181"/>
                    </a:lnTo>
                    <a:lnTo>
                      <a:pt x="6" y="179"/>
                    </a:lnTo>
                    <a:close/>
                    <a:moveTo>
                      <a:pt x="10" y="179"/>
                    </a:moveTo>
                    <a:lnTo>
                      <a:pt x="10" y="181"/>
                    </a:lnTo>
                    <a:lnTo>
                      <a:pt x="10" y="179"/>
                    </a:lnTo>
                    <a:close/>
                    <a:moveTo>
                      <a:pt x="21" y="187"/>
                    </a:moveTo>
                    <a:lnTo>
                      <a:pt x="21" y="185"/>
                    </a:lnTo>
                    <a:lnTo>
                      <a:pt x="21" y="187"/>
                    </a:lnTo>
                    <a:close/>
                    <a:moveTo>
                      <a:pt x="31" y="190"/>
                    </a:moveTo>
                    <a:lnTo>
                      <a:pt x="29" y="192"/>
                    </a:lnTo>
                    <a:lnTo>
                      <a:pt x="29" y="190"/>
                    </a:lnTo>
                    <a:lnTo>
                      <a:pt x="31" y="190"/>
                    </a:lnTo>
                    <a:close/>
                    <a:moveTo>
                      <a:pt x="25" y="187"/>
                    </a:moveTo>
                    <a:lnTo>
                      <a:pt x="23" y="187"/>
                    </a:lnTo>
                    <a:lnTo>
                      <a:pt x="25" y="187"/>
                    </a:lnTo>
                    <a:close/>
                    <a:moveTo>
                      <a:pt x="6" y="171"/>
                    </a:moveTo>
                    <a:lnTo>
                      <a:pt x="4" y="171"/>
                    </a:lnTo>
                    <a:lnTo>
                      <a:pt x="6" y="171"/>
                    </a:lnTo>
                    <a:close/>
                    <a:moveTo>
                      <a:pt x="21" y="181"/>
                    </a:moveTo>
                    <a:lnTo>
                      <a:pt x="19" y="183"/>
                    </a:lnTo>
                    <a:lnTo>
                      <a:pt x="19" y="181"/>
                    </a:lnTo>
                    <a:lnTo>
                      <a:pt x="21" y="181"/>
                    </a:lnTo>
                    <a:close/>
                    <a:moveTo>
                      <a:pt x="19" y="179"/>
                    </a:moveTo>
                    <a:lnTo>
                      <a:pt x="17" y="179"/>
                    </a:lnTo>
                    <a:lnTo>
                      <a:pt x="19" y="179"/>
                    </a:lnTo>
                    <a:close/>
                    <a:moveTo>
                      <a:pt x="6" y="169"/>
                    </a:moveTo>
                    <a:lnTo>
                      <a:pt x="4" y="169"/>
                    </a:lnTo>
                    <a:lnTo>
                      <a:pt x="6" y="169"/>
                    </a:lnTo>
                    <a:close/>
                    <a:moveTo>
                      <a:pt x="23" y="185"/>
                    </a:moveTo>
                    <a:lnTo>
                      <a:pt x="23" y="183"/>
                    </a:lnTo>
                    <a:lnTo>
                      <a:pt x="23" y="185"/>
                    </a:lnTo>
                    <a:close/>
                    <a:moveTo>
                      <a:pt x="25" y="185"/>
                    </a:moveTo>
                    <a:lnTo>
                      <a:pt x="25" y="183"/>
                    </a:lnTo>
                    <a:lnTo>
                      <a:pt x="25" y="185"/>
                    </a:lnTo>
                    <a:close/>
                    <a:moveTo>
                      <a:pt x="4" y="167"/>
                    </a:moveTo>
                    <a:lnTo>
                      <a:pt x="2" y="167"/>
                    </a:lnTo>
                    <a:lnTo>
                      <a:pt x="4" y="167"/>
                    </a:lnTo>
                    <a:close/>
                    <a:moveTo>
                      <a:pt x="2" y="167"/>
                    </a:moveTo>
                    <a:lnTo>
                      <a:pt x="2" y="165"/>
                    </a:lnTo>
                    <a:lnTo>
                      <a:pt x="2" y="167"/>
                    </a:lnTo>
                    <a:close/>
                    <a:moveTo>
                      <a:pt x="8" y="169"/>
                    </a:moveTo>
                    <a:lnTo>
                      <a:pt x="8" y="171"/>
                    </a:lnTo>
                    <a:lnTo>
                      <a:pt x="8" y="169"/>
                    </a:lnTo>
                    <a:lnTo>
                      <a:pt x="8" y="171"/>
                    </a:lnTo>
                    <a:lnTo>
                      <a:pt x="8" y="169"/>
                    </a:lnTo>
                    <a:close/>
                    <a:moveTo>
                      <a:pt x="4" y="167"/>
                    </a:moveTo>
                    <a:lnTo>
                      <a:pt x="2" y="167"/>
                    </a:lnTo>
                    <a:lnTo>
                      <a:pt x="2" y="165"/>
                    </a:lnTo>
                    <a:lnTo>
                      <a:pt x="4" y="167"/>
                    </a:lnTo>
                    <a:close/>
                    <a:moveTo>
                      <a:pt x="181" y="285"/>
                    </a:moveTo>
                    <a:lnTo>
                      <a:pt x="181" y="287"/>
                    </a:lnTo>
                    <a:lnTo>
                      <a:pt x="181" y="285"/>
                    </a:lnTo>
                    <a:close/>
                    <a:moveTo>
                      <a:pt x="21" y="179"/>
                    </a:moveTo>
                    <a:lnTo>
                      <a:pt x="21" y="177"/>
                    </a:lnTo>
                    <a:lnTo>
                      <a:pt x="21" y="179"/>
                    </a:lnTo>
                    <a:close/>
                    <a:moveTo>
                      <a:pt x="23" y="177"/>
                    </a:moveTo>
                    <a:lnTo>
                      <a:pt x="21" y="177"/>
                    </a:lnTo>
                    <a:lnTo>
                      <a:pt x="23" y="177"/>
                    </a:lnTo>
                    <a:close/>
                    <a:moveTo>
                      <a:pt x="23" y="177"/>
                    </a:moveTo>
                    <a:lnTo>
                      <a:pt x="23" y="179"/>
                    </a:lnTo>
                    <a:lnTo>
                      <a:pt x="23" y="177"/>
                    </a:lnTo>
                    <a:close/>
                    <a:moveTo>
                      <a:pt x="23" y="177"/>
                    </a:moveTo>
                    <a:lnTo>
                      <a:pt x="23" y="179"/>
                    </a:lnTo>
                    <a:lnTo>
                      <a:pt x="23" y="177"/>
                    </a:lnTo>
                    <a:close/>
                    <a:moveTo>
                      <a:pt x="15" y="173"/>
                    </a:moveTo>
                    <a:lnTo>
                      <a:pt x="15" y="171"/>
                    </a:lnTo>
                    <a:lnTo>
                      <a:pt x="15" y="173"/>
                    </a:lnTo>
                    <a:close/>
                    <a:moveTo>
                      <a:pt x="23" y="177"/>
                    </a:moveTo>
                    <a:lnTo>
                      <a:pt x="21" y="177"/>
                    </a:lnTo>
                    <a:lnTo>
                      <a:pt x="23" y="177"/>
                    </a:lnTo>
                    <a:close/>
                    <a:moveTo>
                      <a:pt x="23" y="175"/>
                    </a:moveTo>
                    <a:lnTo>
                      <a:pt x="21" y="175"/>
                    </a:lnTo>
                    <a:lnTo>
                      <a:pt x="23" y="175"/>
                    </a:lnTo>
                    <a:close/>
                    <a:moveTo>
                      <a:pt x="21" y="175"/>
                    </a:moveTo>
                    <a:lnTo>
                      <a:pt x="23" y="175"/>
                    </a:lnTo>
                    <a:lnTo>
                      <a:pt x="21" y="175"/>
                    </a:lnTo>
                    <a:lnTo>
                      <a:pt x="23" y="175"/>
                    </a:lnTo>
                    <a:lnTo>
                      <a:pt x="21" y="175"/>
                    </a:lnTo>
                    <a:close/>
                    <a:moveTo>
                      <a:pt x="12" y="158"/>
                    </a:moveTo>
                    <a:lnTo>
                      <a:pt x="12" y="160"/>
                    </a:lnTo>
                    <a:lnTo>
                      <a:pt x="12" y="158"/>
                    </a:lnTo>
                    <a:close/>
                    <a:moveTo>
                      <a:pt x="10" y="154"/>
                    </a:moveTo>
                    <a:lnTo>
                      <a:pt x="8" y="154"/>
                    </a:lnTo>
                    <a:lnTo>
                      <a:pt x="10" y="154"/>
                    </a:lnTo>
                    <a:close/>
                    <a:moveTo>
                      <a:pt x="10" y="154"/>
                    </a:moveTo>
                    <a:lnTo>
                      <a:pt x="10" y="152"/>
                    </a:lnTo>
                    <a:lnTo>
                      <a:pt x="10" y="154"/>
                    </a:lnTo>
                    <a:close/>
                    <a:moveTo>
                      <a:pt x="192" y="277"/>
                    </a:moveTo>
                    <a:lnTo>
                      <a:pt x="192" y="275"/>
                    </a:lnTo>
                    <a:lnTo>
                      <a:pt x="192" y="277"/>
                    </a:lnTo>
                    <a:close/>
                    <a:moveTo>
                      <a:pt x="10" y="146"/>
                    </a:moveTo>
                    <a:lnTo>
                      <a:pt x="8" y="146"/>
                    </a:lnTo>
                    <a:lnTo>
                      <a:pt x="10" y="146"/>
                    </a:lnTo>
                    <a:close/>
                    <a:moveTo>
                      <a:pt x="6" y="144"/>
                    </a:moveTo>
                    <a:lnTo>
                      <a:pt x="8" y="144"/>
                    </a:lnTo>
                    <a:lnTo>
                      <a:pt x="6" y="144"/>
                    </a:lnTo>
                    <a:close/>
                    <a:moveTo>
                      <a:pt x="10" y="146"/>
                    </a:moveTo>
                    <a:lnTo>
                      <a:pt x="10" y="144"/>
                    </a:lnTo>
                    <a:lnTo>
                      <a:pt x="10" y="146"/>
                    </a:lnTo>
                    <a:close/>
                    <a:moveTo>
                      <a:pt x="15" y="148"/>
                    </a:moveTo>
                    <a:lnTo>
                      <a:pt x="15" y="150"/>
                    </a:lnTo>
                    <a:lnTo>
                      <a:pt x="15" y="148"/>
                    </a:lnTo>
                    <a:close/>
                    <a:moveTo>
                      <a:pt x="15" y="148"/>
                    </a:moveTo>
                    <a:lnTo>
                      <a:pt x="13" y="148"/>
                    </a:lnTo>
                    <a:lnTo>
                      <a:pt x="15" y="148"/>
                    </a:lnTo>
                    <a:close/>
                    <a:moveTo>
                      <a:pt x="13" y="148"/>
                    </a:moveTo>
                    <a:lnTo>
                      <a:pt x="15" y="148"/>
                    </a:lnTo>
                    <a:lnTo>
                      <a:pt x="13" y="148"/>
                    </a:lnTo>
                    <a:lnTo>
                      <a:pt x="15" y="148"/>
                    </a:lnTo>
                    <a:lnTo>
                      <a:pt x="13" y="148"/>
                    </a:lnTo>
                    <a:close/>
                    <a:moveTo>
                      <a:pt x="13" y="148"/>
                    </a:moveTo>
                    <a:lnTo>
                      <a:pt x="13" y="146"/>
                    </a:lnTo>
                    <a:lnTo>
                      <a:pt x="13" y="148"/>
                    </a:lnTo>
                    <a:close/>
                    <a:moveTo>
                      <a:pt x="10" y="142"/>
                    </a:moveTo>
                    <a:lnTo>
                      <a:pt x="10" y="144"/>
                    </a:lnTo>
                    <a:lnTo>
                      <a:pt x="10" y="142"/>
                    </a:lnTo>
                    <a:close/>
                    <a:moveTo>
                      <a:pt x="10" y="142"/>
                    </a:moveTo>
                    <a:lnTo>
                      <a:pt x="8" y="142"/>
                    </a:lnTo>
                    <a:lnTo>
                      <a:pt x="10" y="142"/>
                    </a:lnTo>
                    <a:close/>
                    <a:moveTo>
                      <a:pt x="6" y="139"/>
                    </a:moveTo>
                    <a:lnTo>
                      <a:pt x="4" y="139"/>
                    </a:lnTo>
                    <a:lnTo>
                      <a:pt x="6" y="139"/>
                    </a:lnTo>
                    <a:close/>
                    <a:moveTo>
                      <a:pt x="202" y="215"/>
                    </a:moveTo>
                    <a:lnTo>
                      <a:pt x="200" y="215"/>
                    </a:lnTo>
                    <a:lnTo>
                      <a:pt x="202" y="215"/>
                    </a:lnTo>
                    <a:close/>
                    <a:moveTo>
                      <a:pt x="200" y="214"/>
                    </a:moveTo>
                    <a:lnTo>
                      <a:pt x="200" y="212"/>
                    </a:lnTo>
                    <a:lnTo>
                      <a:pt x="200" y="214"/>
                    </a:lnTo>
                    <a:close/>
                    <a:moveTo>
                      <a:pt x="192" y="200"/>
                    </a:moveTo>
                    <a:lnTo>
                      <a:pt x="192" y="202"/>
                    </a:lnTo>
                    <a:lnTo>
                      <a:pt x="192" y="200"/>
                    </a:lnTo>
                    <a:close/>
                    <a:moveTo>
                      <a:pt x="192" y="196"/>
                    </a:moveTo>
                    <a:lnTo>
                      <a:pt x="190" y="196"/>
                    </a:lnTo>
                    <a:lnTo>
                      <a:pt x="192" y="196"/>
                    </a:lnTo>
                    <a:close/>
                    <a:moveTo>
                      <a:pt x="188" y="194"/>
                    </a:moveTo>
                    <a:lnTo>
                      <a:pt x="188" y="192"/>
                    </a:lnTo>
                    <a:lnTo>
                      <a:pt x="188" y="194"/>
                    </a:lnTo>
                    <a:close/>
                    <a:moveTo>
                      <a:pt x="188" y="190"/>
                    </a:moveTo>
                    <a:lnTo>
                      <a:pt x="186" y="190"/>
                    </a:lnTo>
                    <a:lnTo>
                      <a:pt x="188" y="190"/>
                    </a:lnTo>
                    <a:close/>
                    <a:moveTo>
                      <a:pt x="184" y="175"/>
                    </a:moveTo>
                    <a:lnTo>
                      <a:pt x="182" y="175"/>
                    </a:lnTo>
                    <a:lnTo>
                      <a:pt x="184" y="175"/>
                    </a:lnTo>
                    <a:close/>
                    <a:moveTo>
                      <a:pt x="179" y="171"/>
                    </a:moveTo>
                    <a:lnTo>
                      <a:pt x="179" y="169"/>
                    </a:lnTo>
                    <a:lnTo>
                      <a:pt x="179" y="171"/>
                    </a:lnTo>
                    <a:close/>
                    <a:moveTo>
                      <a:pt x="179" y="165"/>
                    </a:moveTo>
                    <a:lnTo>
                      <a:pt x="177" y="165"/>
                    </a:lnTo>
                    <a:lnTo>
                      <a:pt x="179" y="165"/>
                    </a:lnTo>
                    <a:close/>
                    <a:moveTo>
                      <a:pt x="173" y="144"/>
                    </a:moveTo>
                    <a:lnTo>
                      <a:pt x="173" y="142"/>
                    </a:lnTo>
                    <a:lnTo>
                      <a:pt x="173" y="144"/>
                    </a:lnTo>
                    <a:close/>
                    <a:moveTo>
                      <a:pt x="60" y="62"/>
                    </a:moveTo>
                    <a:lnTo>
                      <a:pt x="58" y="62"/>
                    </a:lnTo>
                    <a:lnTo>
                      <a:pt x="60" y="62"/>
                    </a:lnTo>
                    <a:close/>
                    <a:moveTo>
                      <a:pt x="173" y="142"/>
                    </a:moveTo>
                    <a:lnTo>
                      <a:pt x="173" y="141"/>
                    </a:lnTo>
                    <a:lnTo>
                      <a:pt x="173" y="142"/>
                    </a:lnTo>
                    <a:close/>
                    <a:moveTo>
                      <a:pt x="63" y="62"/>
                    </a:moveTo>
                    <a:lnTo>
                      <a:pt x="61" y="62"/>
                    </a:lnTo>
                    <a:lnTo>
                      <a:pt x="63" y="62"/>
                    </a:lnTo>
                    <a:close/>
                    <a:moveTo>
                      <a:pt x="169" y="137"/>
                    </a:moveTo>
                    <a:lnTo>
                      <a:pt x="169" y="135"/>
                    </a:lnTo>
                    <a:lnTo>
                      <a:pt x="169" y="137"/>
                    </a:lnTo>
                    <a:close/>
                    <a:moveTo>
                      <a:pt x="171" y="137"/>
                    </a:moveTo>
                    <a:lnTo>
                      <a:pt x="171" y="135"/>
                    </a:lnTo>
                    <a:lnTo>
                      <a:pt x="171" y="137"/>
                    </a:lnTo>
                    <a:close/>
                    <a:moveTo>
                      <a:pt x="171" y="133"/>
                    </a:moveTo>
                    <a:lnTo>
                      <a:pt x="169" y="133"/>
                    </a:lnTo>
                    <a:lnTo>
                      <a:pt x="171" y="133"/>
                    </a:lnTo>
                    <a:close/>
                    <a:moveTo>
                      <a:pt x="163" y="117"/>
                    </a:moveTo>
                    <a:lnTo>
                      <a:pt x="161" y="117"/>
                    </a:lnTo>
                    <a:lnTo>
                      <a:pt x="163" y="117"/>
                    </a:lnTo>
                    <a:close/>
                    <a:moveTo>
                      <a:pt x="163" y="117"/>
                    </a:moveTo>
                    <a:lnTo>
                      <a:pt x="161" y="117"/>
                    </a:lnTo>
                    <a:lnTo>
                      <a:pt x="163" y="117"/>
                    </a:lnTo>
                    <a:close/>
                    <a:moveTo>
                      <a:pt x="158" y="104"/>
                    </a:moveTo>
                    <a:lnTo>
                      <a:pt x="156" y="104"/>
                    </a:lnTo>
                    <a:lnTo>
                      <a:pt x="158" y="104"/>
                    </a:lnTo>
                    <a:close/>
                    <a:moveTo>
                      <a:pt x="154" y="98"/>
                    </a:moveTo>
                    <a:lnTo>
                      <a:pt x="154" y="96"/>
                    </a:lnTo>
                    <a:lnTo>
                      <a:pt x="154" y="98"/>
                    </a:lnTo>
                    <a:close/>
                    <a:moveTo>
                      <a:pt x="152" y="94"/>
                    </a:moveTo>
                    <a:lnTo>
                      <a:pt x="152" y="96"/>
                    </a:lnTo>
                    <a:lnTo>
                      <a:pt x="152" y="94"/>
                    </a:lnTo>
                    <a:close/>
                    <a:moveTo>
                      <a:pt x="136" y="83"/>
                    </a:moveTo>
                    <a:lnTo>
                      <a:pt x="136" y="85"/>
                    </a:lnTo>
                    <a:lnTo>
                      <a:pt x="136" y="83"/>
                    </a:lnTo>
                    <a:close/>
                    <a:moveTo>
                      <a:pt x="152" y="92"/>
                    </a:moveTo>
                    <a:lnTo>
                      <a:pt x="152" y="94"/>
                    </a:lnTo>
                    <a:lnTo>
                      <a:pt x="152" y="92"/>
                    </a:lnTo>
                    <a:close/>
                    <a:moveTo>
                      <a:pt x="150" y="92"/>
                    </a:moveTo>
                    <a:lnTo>
                      <a:pt x="150" y="91"/>
                    </a:lnTo>
                    <a:lnTo>
                      <a:pt x="150" y="92"/>
                    </a:lnTo>
                    <a:close/>
                    <a:moveTo>
                      <a:pt x="152" y="91"/>
                    </a:moveTo>
                    <a:lnTo>
                      <a:pt x="150" y="91"/>
                    </a:lnTo>
                    <a:lnTo>
                      <a:pt x="152" y="91"/>
                    </a:lnTo>
                    <a:close/>
                    <a:moveTo>
                      <a:pt x="152" y="91"/>
                    </a:moveTo>
                    <a:lnTo>
                      <a:pt x="150" y="91"/>
                    </a:lnTo>
                    <a:lnTo>
                      <a:pt x="152" y="91"/>
                    </a:lnTo>
                    <a:close/>
                    <a:moveTo>
                      <a:pt x="108" y="54"/>
                    </a:moveTo>
                    <a:lnTo>
                      <a:pt x="106" y="54"/>
                    </a:lnTo>
                    <a:lnTo>
                      <a:pt x="108" y="54"/>
                    </a:lnTo>
                    <a:close/>
                    <a:moveTo>
                      <a:pt x="96" y="27"/>
                    </a:moveTo>
                    <a:lnTo>
                      <a:pt x="96" y="25"/>
                    </a:lnTo>
                    <a:lnTo>
                      <a:pt x="96" y="27"/>
                    </a:lnTo>
                    <a:close/>
                    <a:moveTo>
                      <a:pt x="79" y="2"/>
                    </a:moveTo>
                    <a:lnTo>
                      <a:pt x="79" y="0"/>
                    </a:lnTo>
                    <a:lnTo>
                      <a:pt x="79" y="2"/>
                    </a:lnTo>
                    <a:close/>
                    <a:moveTo>
                      <a:pt x="111" y="19"/>
                    </a:moveTo>
                    <a:lnTo>
                      <a:pt x="111" y="21"/>
                    </a:lnTo>
                    <a:lnTo>
                      <a:pt x="111" y="1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69">
                <a:extLst>
                  <a:ext uri="{FF2B5EF4-FFF2-40B4-BE49-F238E27FC236}">
                    <a16:creationId xmlns="" xmlns:a16="http://schemas.microsoft.com/office/drawing/2014/main" id="{2ADC5421-95AA-4550-B2CE-AAB3E724D1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11500" y="2524126"/>
                <a:ext cx="469900" cy="155575"/>
              </a:xfrm>
              <a:custGeom>
                <a:avLst/>
                <a:gdLst>
                  <a:gd name="T0" fmla="*/ 46 w 296"/>
                  <a:gd name="T1" fmla="*/ 32 h 98"/>
                  <a:gd name="T2" fmla="*/ 44 w 296"/>
                  <a:gd name="T3" fmla="*/ 32 h 98"/>
                  <a:gd name="T4" fmla="*/ 44 w 296"/>
                  <a:gd name="T5" fmla="*/ 32 h 98"/>
                  <a:gd name="T6" fmla="*/ 42 w 296"/>
                  <a:gd name="T7" fmla="*/ 34 h 98"/>
                  <a:gd name="T8" fmla="*/ 40 w 296"/>
                  <a:gd name="T9" fmla="*/ 36 h 98"/>
                  <a:gd name="T10" fmla="*/ 38 w 296"/>
                  <a:gd name="T11" fmla="*/ 38 h 98"/>
                  <a:gd name="T12" fmla="*/ 38 w 296"/>
                  <a:gd name="T13" fmla="*/ 38 h 98"/>
                  <a:gd name="T14" fmla="*/ 32 w 296"/>
                  <a:gd name="T15" fmla="*/ 40 h 98"/>
                  <a:gd name="T16" fmla="*/ 32 w 296"/>
                  <a:gd name="T17" fmla="*/ 40 h 98"/>
                  <a:gd name="T18" fmla="*/ 27 w 296"/>
                  <a:gd name="T19" fmla="*/ 42 h 98"/>
                  <a:gd name="T20" fmla="*/ 23 w 296"/>
                  <a:gd name="T21" fmla="*/ 40 h 98"/>
                  <a:gd name="T22" fmla="*/ 13 w 296"/>
                  <a:gd name="T23" fmla="*/ 40 h 98"/>
                  <a:gd name="T24" fmla="*/ 13 w 296"/>
                  <a:gd name="T25" fmla="*/ 40 h 98"/>
                  <a:gd name="T26" fmla="*/ 11 w 296"/>
                  <a:gd name="T27" fmla="*/ 42 h 98"/>
                  <a:gd name="T28" fmla="*/ 7 w 296"/>
                  <a:gd name="T29" fmla="*/ 40 h 98"/>
                  <a:gd name="T30" fmla="*/ 7 w 296"/>
                  <a:gd name="T31" fmla="*/ 36 h 98"/>
                  <a:gd name="T32" fmla="*/ 5 w 296"/>
                  <a:gd name="T33" fmla="*/ 38 h 98"/>
                  <a:gd name="T34" fmla="*/ 4 w 296"/>
                  <a:gd name="T35" fmla="*/ 34 h 98"/>
                  <a:gd name="T36" fmla="*/ 4 w 296"/>
                  <a:gd name="T37" fmla="*/ 34 h 98"/>
                  <a:gd name="T38" fmla="*/ 4 w 296"/>
                  <a:gd name="T39" fmla="*/ 27 h 98"/>
                  <a:gd name="T40" fmla="*/ 0 w 296"/>
                  <a:gd name="T41" fmla="*/ 30 h 98"/>
                  <a:gd name="T42" fmla="*/ 0 w 296"/>
                  <a:gd name="T43" fmla="*/ 32 h 98"/>
                  <a:gd name="T44" fmla="*/ 2 w 296"/>
                  <a:gd name="T45" fmla="*/ 21 h 98"/>
                  <a:gd name="T46" fmla="*/ 7 w 296"/>
                  <a:gd name="T47" fmla="*/ 11 h 98"/>
                  <a:gd name="T48" fmla="*/ 17 w 296"/>
                  <a:gd name="T49" fmla="*/ 2 h 98"/>
                  <a:gd name="T50" fmla="*/ 28 w 296"/>
                  <a:gd name="T51" fmla="*/ 0 h 98"/>
                  <a:gd name="T52" fmla="*/ 36 w 296"/>
                  <a:gd name="T53" fmla="*/ 2 h 98"/>
                  <a:gd name="T54" fmla="*/ 42 w 296"/>
                  <a:gd name="T55" fmla="*/ 7 h 98"/>
                  <a:gd name="T56" fmla="*/ 46 w 296"/>
                  <a:gd name="T57" fmla="*/ 15 h 98"/>
                  <a:gd name="T58" fmla="*/ 52 w 296"/>
                  <a:gd name="T59" fmla="*/ 23 h 98"/>
                  <a:gd name="T60" fmla="*/ 53 w 296"/>
                  <a:gd name="T61" fmla="*/ 32 h 98"/>
                  <a:gd name="T62" fmla="*/ 46 w 296"/>
                  <a:gd name="T63" fmla="*/ 38 h 98"/>
                  <a:gd name="T64" fmla="*/ 50 w 296"/>
                  <a:gd name="T65" fmla="*/ 32 h 98"/>
                  <a:gd name="T66" fmla="*/ 274 w 296"/>
                  <a:gd name="T67" fmla="*/ 46 h 98"/>
                  <a:gd name="T68" fmla="*/ 280 w 296"/>
                  <a:gd name="T69" fmla="*/ 55 h 98"/>
                  <a:gd name="T70" fmla="*/ 282 w 296"/>
                  <a:gd name="T71" fmla="*/ 65 h 98"/>
                  <a:gd name="T72" fmla="*/ 286 w 296"/>
                  <a:gd name="T73" fmla="*/ 73 h 98"/>
                  <a:gd name="T74" fmla="*/ 290 w 296"/>
                  <a:gd name="T75" fmla="*/ 80 h 98"/>
                  <a:gd name="T76" fmla="*/ 296 w 296"/>
                  <a:gd name="T77" fmla="*/ 88 h 98"/>
                  <a:gd name="T78" fmla="*/ 294 w 296"/>
                  <a:gd name="T79" fmla="*/ 94 h 98"/>
                  <a:gd name="T80" fmla="*/ 288 w 296"/>
                  <a:gd name="T81" fmla="*/ 98 h 98"/>
                  <a:gd name="T82" fmla="*/ 282 w 296"/>
                  <a:gd name="T83" fmla="*/ 96 h 98"/>
                  <a:gd name="T84" fmla="*/ 280 w 296"/>
                  <a:gd name="T85" fmla="*/ 96 h 98"/>
                  <a:gd name="T86" fmla="*/ 272 w 296"/>
                  <a:gd name="T87" fmla="*/ 92 h 98"/>
                  <a:gd name="T88" fmla="*/ 274 w 296"/>
                  <a:gd name="T89" fmla="*/ 86 h 98"/>
                  <a:gd name="T90" fmla="*/ 274 w 296"/>
                  <a:gd name="T91" fmla="*/ 86 h 98"/>
                  <a:gd name="T92" fmla="*/ 271 w 296"/>
                  <a:gd name="T93" fmla="*/ 80 h 98"/>
                  <a:gd name="T94" fmla="*/ 265 w 296"/>
                  <a:gd name="T95" fmla="*/ 77 h 98"/>
                  <a:gd name="T96" fmla="*/ 265 w 296"/>
                  <a:gd name="T97" fmla="*/ 78 h 98"/>
                  <a:gd name="T98" fmla="*/ 261 w 296"/>
                  <a:gd name="T99" fmla="*/ 71 h 98"/>
                  <a:gd name="T100" fmla="*/ 257 w 296"/>
                  <a:gd name="T101" fmla="*/ 63 h 98"/>
                  <a:gd name="T102" fmla="*/ 257 w 296"/>
                  <a:gd name="T103" fmla="*/ 59 h 98"/>
                  <a:gd name="T104" fmla="*/ 259 w 296"/>
                  <a:gd name="T105" fmla="*/ 57 h 98"/>
                  <a:gd name="T106" fmla="*/ 259 w 296"/>
                  <a:gd name="T107" fmla="*/ 57 h 98"/>
                  <a:gd name="T108" fmla="*/ 257 w 296"/>
                  <a:gd name="T109" fmla="*/ 55 h 98"/>
                  <a:gd name="T110" fmla="*/ 257 w 296"/>
                  <a:gd name="T111" fmla="*/ 55 h 98"/>
                  <a:gd name="T112" fmla="*/ 259 w 296"/>
                  <a:gd name="T113" fmla="*/ 53 h 98"/>
                  <a:gd name="T114" fmla="*/ 265 w 296"/>
                  <a:gd name="T115" fmla="*/ 55 h 98"/>
                  <a:gd name="T116" fmla="*/ 259 w 296"/>
                  <a:gd name="T117" fmla="*/ 48 h 98"/>
                  <a:gd name="T118" fmla="*/ 265 w 296"/>
                  <a:gd name="T119" fmla="*/ 50 h 98"/>
                  <a:gd name="T120" fmla="*/ 269 w 296"/>
                  <a:gd name="T121" fmla="*/ 46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96" h="98">
                    <a:moveTo>
                      <a:pt x="48" y="32"/>
                    </a:moveTo>
                    <a:lnTo>
                      <a:pt x="46" y="32"/>
                    </a:lnTo>
                    <a:lnTo>
                      <a:pt x="48" y="32"/>
                    </a:lnTo>
                    <a:lnTo>
                      <a:pt x="46" y="32"/>
                    </a:lnTo>
                    <a:lnTo>
                      <a:pt x="46" y="34"/>
                    </a:lnTo>
                    <a:lnTo>
                      <a:pt x="46" y="32"/>
                    </a:lnTo>
                    <a:lnTo>
                      <a:pt x="46" y="34"/>
                    </a:lnTo>
                    <a:lnTo>
                      <a:pt x="46" y="32"/>
                    </a:lnTo>
                    <a:lnTo>
                      <a:pt x="46" y="34"/>
                    </a:lnTo>
                    <a:lnTo>
                      <a:pt x="46" y="32"/>
                    </a:lnTo>
                    <a:lnTo>
                      <a:pt x="46" y="34"/>
                    </a:lnTo>
                    <a:lnTo>
                      <a:pt x="44" y="32"/>
                    </a:lnTo>
                    <a:lnTo>
                      <a:pt x="44" y="34"/>
                    </a:lnTo>
                    <a:lnTo>
                      <a:pt x="44" y="32"/>
                    </a:lnTo>
                    <a:lnTo>
                      <a:pt x="44" y="34"/>
                    </a:lnTo>
                    <a:lnTo>
                      <a:pt x="44" y="32"/>
                    </a:lnTo>
                    <a:lnTo>
                      <a:pt x="44" y="34"/>
                    </a:lnTo>
                    <a:lnTo>
                      <a:pt x="44" y="32"/>
                    </a:lnTo>
                    <a:lnTo>
                      <a:pt x="44" y="34"/>
                    </a:lnTo>
                    <a:lnTo>
                      <a:pt x="44" y="32"/>
                    </a:lnTo>
                    <a:lnTo>
                      <a:pt x="42" y="32"/>
                    </a:lnTo>
                    <a:lnTo>
                      <a:pt x="42" y="34"/>
                    </a:lnTo>
                    <a:lnTo>
                      <a:pt x="40" y="34"/>
                    </a:lnTo>
                    <a:lnTo>
                      <a:pt x="42" y="34"/>
                    </a:lnTo>
                    <a:lnTo>
                      <a:pt x="42" y="36"/>
                    </a:lnTo>
                    <a:lnTo>
                      <a:pt x="40" y="36"/>
                    </a:lnTo>
                    <a:lnTo>
                      <a:pt x="42" y="36"/>
                    </a:lnTo>
                    <a:lnTo>
                      <a:pt x="40" y="36"/>
                    </a:lnTo>
                    <a:lnTo>
                      <a:pt x="42" y="36"/>
                    </a:lnTo>
                    <a:lnTo>
                      <a:pt x="40" y="36"/>
                    </a:lnTo>
                    <a:lnTo>
                      <a:pt x="40" y="38"/>
                    </a:lnTo>
                    <a:lnTo>
                      <a:pt x="40" y="36"/>
                    </a:lnTo>
                    <a:lnTo>
                      <a:pt x="40" y="38"/>
                    </a:lnTo>
                    <a:lnTo>
                      <a:pt x="38" y="38"/>
                    </a:lnTo>
                    <a:lnTo>
                      <a:pt x="40" y="38"/>
                    </a:lnTo>
                    <a:lnTo>
                      <a:pt x="38" y="38"/>
                    </a:lnTo>
                    <a:lnTo>
                      <a:pt x="38" y="36"/>
                    </a:lnTo>
                    <a:lnTo>
                      <a:pt x="38" y="38"/>
                    </a:lnTo>
                    <a:lnTo>
                      <a:pt x="40" y="38"/>
                    </a:lnTo>
                    <a:lnTo>
                      <a:pt x="40" y="36"/>
                    </a:lnTo>
                    <a:lnTo>
                      <a:pt x="38" y="36"/>
                    </a:lnTo>
                    <a:lnTo>
                      <a:pt x="38" y="38"/>
                    </a:lnTo>
                    <a:lnTo>
                      <a:pt x="36" y="38"/>
                    </a:lnTo>
                    <a:lnTo>
                      <a:pt x="34" y="38"/>
                    </a:lnTo>
                    <a:lnTo>
                      <a:pt x="34" y="40"/>
                    </a:lnTo>
                    <a:lnTo>
                      <a:pt x="34" y="42"/>
                    </a:lnTo>
                    <a:lnTo>
                      <a:pt x="32" y="42"/>
                    </a:lnTo>
                    <a:lnTo>
                      <a:pt x="32" y="40"/>
                    </a:lnTo>
                    <a:lnTo>
                      <a:pt x="32" y="42"/>
                    </a:lnTo>
                    <a:lnTo>
                      <a:pt x="32" y="40"/>
                    </a:lnTo>
                    <a:lnTo>
                      <a:pt x="30" y="40"/>
                    </a:lnTo>
                    <a:lnTo>
                      <a:pt x="30" y="42"/>
                    </a:lnTo>
                    <a:lnTo>
                      <a:pt x="32" y="42"/>
                    </a:lnTo>
                    <a:lnTo>
                      <a:pt x="32" y="40"/>
                    </a:lnTo>
                    <a:lnTo>
                      <a:pt x="32" y="42"/>
                    </a:lnTo>
                    <a:lnTo>
                      <a:pt x="30" y="42"/>
                    </a:lnTo>
                    <a:lnTo>
                      <a:pt x="30" y="40"/>
                    </a:lnTo>
                    <a:lnTo>
                      <a:pt x="30" y="42"/>
                    </a:lnTo>
                    <a:lnTo>
                      <a:pt x="28" y="42"/>
                    </a:lnTo>
                    <a:lnTo>
                      <a:pt x="27" y="42"/>
                    </a:lnTo>
                    <a:lnTo>
                      <a:pt x="28" y="42"/>
                    </a:lnTo>
                    <a:lnTo>
                      <a:pt x="27" y="42"/>
                    </a:lnTo>
                    <a:lnTo>
                      <a:pt x="25" y="42"/>
                    </a:lnTo>
                    <a:lnTo>
                      <a:pt x="23" y="40"/>
                    </a:lnTo>
                    <a:lnTo>
                      <a:pt x="23" y="42"/>
                    </a:lnTo>
                    <a:lnTo>
                      <a:pt x="23" y="40"/>
                    </a:lnTo>
                    <a:lnTo>
                      <a:pt x="21" y="42"/>
                    </a:lnTo>
                    <a:lnTo>
                      <a:pt x="21" y="40"/>
                    </a:lnTo>
                    <a:lnTo>
                      <a:pt x="19" y="40"/>
                    </a:lnTo>
                    <a:lnTo>
                      <a:pt x="17" y="40"/>
                    </a:lnTo>
                    <a:lnTo>
                      <a:pt x="15" y="40"/>
                    </a:lnTo>
                    <a:lnTo>
                      <a:pt x="13" y="40"/>
                    </a:lnTo>
                    <a:lnTo>
                      <a:pt x="11" y="40"/>
                    </a:lnTo>
                    <a:lnTo>
                      <a:pt x="11" y="42"/>
                    </a:lnTo>
                    <a:lnTo>
                      <a:pt x="11" y="40"/>
                    </a:lnTo>
                    <a:lnTo>
                      <a:pt x="11" y="42"/>
                    </a:lnTo>
                    <a:lnTo>
                      <a:pt x="11" y="40"/>
                    </a:lnTo>
                    <a:lnTo>
                      <a:pt x="13" y="40"/>
                    </a:lnTo>
                    <a:lnTo>
                      <a:pt x="11" y="40"/>
                    </a:lnTo>
                    <a:lnTo>
                      <a:pt x="13" y="40"/>
                    </a:lnTo>
                    <a:lnTo>
                      <a:pt x="13" y="42"/>
                    </a:lnTo>
                    <a:lnTo>
                      <a:pt x="11" y="42"/>
                    </a:lnTo>
                    <a:lnTo>
                      <a:pt x="13" y="42"/>
                    </a:lnTo>
                    <a:lnTo>
                      <a:pt x="11" y="42"/>
                    </a:lnTo>
                    <a:lnTo>
                      <a:pt x="13" y="42"/>
                    </a:lnTo>
                    <a:lnTo>
                      <a:pt x="13" y="44"/>
                    </a:lnTo>
                    <a:lnTo>
                      <a:pt x="15" y="44"/>
                    </a:lnTo>
                    <a:lnTo>
                      <a:pt x="13" y="44"/>
                    </a:lnTo>
                    <a:lnTo>
                      <a:pt x="9" y="42"/>
                    </a:lnTo>
                    <a:lnTo>
                      <a:pt x="7" y="40"/>
                    </a:lnTo>
                    <a:lnTo>
                      <a:pt x="7" y="38"/>
                    </a:lnTo>
                    <a:lnTo>
                      <a:pt x="9" y="40"/>
                    </a:lnTo>
                    <a:lnTo>
                      <a:pt x="7" y="38"/>
                    </a:lnTo>
                    <a:lnTo>
                      <a:pt x="9" y="38"/>
                    </a:lnTo>
                    <a:lnTo>
                      <a:pt x="7" y="38"/>
                    </a:lnTo>
                    <a:lnTo>
                      <a:pt x="7" y="36"/>
                    </a:lnTo>
                    <a:lnTo>
                      <a:pt x="9" y="36"/>
                    </a:lnTo>
                    <a:lnTo>
                      <a:pt x="7" y="36"/>
                    </a:lnTo>
                    <a:lnTo>
                      <a:pt x="7" y="38"/>
                    </a:lnTo>
                    <a:lnTo>
                      <a:pt x="7" y="40"/>
                    </a:lnTo>
                    <a:lnTo>
                      <a:pt x="7" y="38"/>
                    </a:lnTo>
                    <a:lnTo>
                      <a:pt x="5" y="38"/>
                    </a:lnTo>
                    <a:lnTo>
                      <a:pt x="4" y="38"/>
                    </a:lnTo>
                    <a:lnTo>
                      <a:pt x="4" y="36"/>
                    </a:lnTo>
                    <a:lnTo>
                      <a:pt x="2" y="36"/>
                    </a:lnTo>
                    <a:lnTo>
                      <a:pt x="2" y="34"/>
                    </a:lnTo>
                    <a:lnTo>
                      <a:pt x="2" y="32"/>
                    </a:lnTo>
                    <a:lnTo>
                      <a:pt x="4" y="34"/>
                    </a:lnTo>
                    <a:lnTo>
                      <a:pt x="4" y="36"/>
                    </a:lnTo>
                    <a:lnTo>
                      <a:pt x="5" y="36"/>
                    </a:lnTo>
                    <a:lnTo>
                      <a:pt x="4" y="36"/>
                    </a:lnTo>
                    <a:lnTo>
                      <a:pt x="5" y="36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2" y="30"/>
                    </a:lnTo>
                    <a:lnTo>
                      <a:pt x="2" y="28"/>
                    </a:lnTo>
                    <a:lnTo>
                      <a:pt x="2" y="27"/>
                    </a:lnTo>
                    <a:lnTo>
                      <a:pt x="4" y="27"/>
                    </a:lnTo>
                    <a:lnTo>
                      <a:pt x="2" y="27"/>
                    </a:lnTo>
                    <a:lnTo>
                      <a:pt x="2" y="25"/>
                    </a:lnTo>
                    <a:lnTo>
                      <a:pt x="0" y="25"/>
                    </a:lnTo>
                    <a:lnTo>
                      <a:pt x="0" y="27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0" y="30"/>
                    </a:lnTo>
                    <a:lnTo>
                      <a:pt x="2" y="30"/>
                    </a:lnTo>
                    <a:lnTo>
                      <a:pt x="2" y="32"/>
                    </a:lnTo>
                    <a:lnTo>
                      <a:pt x="2" y="34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0" y="27"/>
                    </a:lnTo>
                    <a:lnTo>
                      <a:pt x="2" y="25"/>
                    </a:lnTo>
                    <a:lnTo>
                      <a:pt x="2" y="23"/>
                    </a:lnTo>
                    <a:lnTo>
                      <a:pt x="2" y="21"/>
                    </a:lnTo>
                    <a:lnTo>
                      <a:pt x="4" y="19"/>
                    </a:lnTo>
                    <a:lnTo>
                      <a:pt x="4" y="17"/>
                    </a:lnTo>
                    <a:lnTo>
                      <a:pt x="5" y="15"/>
                    </a:lnTo>
                    <a:lnTo>
                      <a:pt x="5" y="13"/>
                    </a:lnTo>
                    <a:lnTo>
                      <a:pt x="7" y="13"/>
                    </a:lnTo>
                    <a:lnTo>
                      <a:pt x="7" y="11"/>
                    </a:lnTo>
                    <a:lnTo>
                      <a:pt x="9" y="11"/>
                    </a:lnTo>
                    <a:lnTo>
                      <a:pt x="11" y="7"/>
                    </a:lnTo>
                    <a:lnTo>
                      <a:pt x="13" y="7"/>
                    </a:lnTo>
                    <a:lnTo>
                      <a:pt x="13" y="5"/>
                    </a:lnTo>
                    <a:lnTo>
                      <a:pt x="15" y="3"/>
                    </a:lnTo>
                    <a:lnTo>
                      <a:pt x="17" y="2"/>
                    </a:lnTo>
                    <a:lnTo>
                      <a:pt x="19" y="2"/>
                    </a:lnTo>
                    <a:lnTo>
                      <a:pt x="21" y="2"/>
                    </a:lnTo>
                    <a:lnTo>
                      <a:pt x="23" y="0"/>
                    </a:lnTo>
                    <a:lnTo>
                      <a:pt x="25" y="0"/>
                    </a:lnTo>
                    <a:lnTo>
                      <a:pt x="27" y="0"/>
                    </a:lnTo>
                    <a:lnTo>
                      <a:pt x="28" y="0"/>
                    </a:lnTo>
                    <a:lnTo>
                      <a:pt x="30" y="0"/>
                    </a:lnTo>
                    <a:lnTo>
                      <a:pt x="32" y="0"/>
                    </a:lnTo>
                    <a:lnTo>
                      <a:pt x="34" y="0"/>
                    </a:lnTo>
                    <a:lnTo>
                      <a:pt x="36" y="0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38" y="2"/>
                    </a:lnTo>
                    <a:lnTo>
                      <a:pt x="40" y="2"/>
                    </a:lnTo>
                    <a:lnTo>
                      <a:pt x="40" y="3"/>
                    </a:lnTo>
                    <a:lnTo>
                      <a:pt x="42" y="3"/>
                    </a:lnTo>
                    <a:lnTo>
                      <a:pt x="42" y="5"/>
                    </a:lnTo>
                    <a:lnTo>
                      <a:pt x="42" y="7"/>
                    </a:lnTo>
                    <a:lnTo>
                      <a:pt x="44" y="7"/>
                    </a:lnTo>
                    <a:lnTo>
                      <a:pt x="44" y="9"/>
                    </a:lnTo>
                    <a:lnTo>
                      <a:pt x="44" y="11"/>
                    </a:lnTo>
                    <a:lnTo>
                      <a:pt x="46" y="11"/>
                    </a:lnTo>
                    <a:lnTo>
                      <a:pt x="46" y="13"/>
                    </a:lnTo>
                    <a:lnTo>
                      <a:pt x="46" y="15"/>
                    </a:lnTo>
                    <a:lnTo>
                      <a:pt x="48" y="15"/>
                    </a:lnTo>
                    <a:lnTo>
                      <a:pt x="48" y="17"/>
                    </a:lnTo>
                    <a:lnTo>
                      <a:pt x="50" y="19"/>
                    </a:lnTo>
                    <a:lnTo>
                      <a:pt x="50" y="21"/>
                    </a:lnTo>
                    <a:lnTo>
                      <a:pt x="52" y="21"/>
                    </a:lnTo>
                    <a:lnTo>
                      <a:pt x="52" y="23"/>
                    </a:lnTo>
                    <a:lnTo>
                      <a:pt x="52" y="25"/>
                    </a:lnTo>
                    <a:lnTo>
                      <a:pt x="53" y="25"/>
                    </a:lnTo>
                    <a:lnTo>
                      <a:pt x="53" y="27"/>
                    </a:lnTo>
                    <a:lnTo>
                      <a:pt x="53" y="28"/>
                    </a:lnTo>
                    <a:lnTo>
                      <a:pt x="53" y="30"/>
                    </a:lnTo>
                    <a:lnTo>
                      <a:pt x="53" y="32"/>
                    </a:lnTo>
                    <a:lnTo>
                      <a:pt x="53" y="34"/>
                    </a:lnTo>
                    <a:lnTo>
                      <a:pt x="52" y="34"/>
                    </a:lnTo>
                    <a:lnTo>
                      <a:pt x="52" y="36"/>
                    </a:lnTo>
                    <a:lnTo>
                      <a:pt x="48" y="38"/>
                    </a:lnTo>
                    <a:lnTo>
                      <a:pt x="46" y="40"/>
                    </a:lnTo>
                    <a:lnTo>
                      <a:pt x="46" y="38"/>
                    </a:lnTo>
                    <a:lnTo>
                      <a:pt x="46" y="36"/>
                    </a:lnTo>
                    <a:lnTo>
                      <a:pt x="48" y="36"/>
                    </a:lnTo>
                    <a:lnTo>
                      <a:pt x="50" y="34"/>
                    </a:lnTo>
                    <a:lnTo>
                      <a:pt x="50" y="32"/>
                    </a:lnTo>
                    <a:lnTo>
                      <a:pt x="52" y="32"/>
                    </a:lnTo>
                    <a:lnTo>
                      <a:pt x="50" y="32"/>
                    </a:lnTo>
                    <a:lnTo>
                      <a:pt x="52" y="32"/>
                    </a:lnTo>
                    <a:lnTo>
                      <a:pt x="50" y="32"/>
                    </a:lnTo>
                    <a:lnTo>
                      <a:pt x="48" y="32"/>
                    </a:lnTo>
                    <a:lnTo>
                      <a:pt x="50" y="32"/>
                    </a:lnTo>
                    <a:lnTo>
                      <a:pt x="48" y="32"/>
                    </a:lnTo>
                    <a:close/>
                    <a:moveTo>
                      <a:pt x="274" y="46"/>
                    </a:moveTo>
                    <a:lnTo>
                      <a:pt x="274" y="48"/>
                    </a:lnTo>
                    <a:lnTo>
                      <a:pt x="276" y="48"/>
                    </a:lnTo>
                    <a:lnTo>
                      <a:pt x="276" y="50"/>
                    </a:lnTo>
                    <a:lnTo>
                      <a:pt x="278" y="52"/>
                    </a:lnTo>
                    <a:lnTo>
                      <a:pt x="278" y="53"/>
                    </a:lnTo>
                    <a:lnTo>
                      <a:pt x="280" y="55"/>
                    </a:lnTo>
                    <a:lnTo>
                      <a:pt x="278" y="55"/>
                    </a:lnTo>
                    <a:lnTo>
                      <a:pt x="280" y="57"/>
                    </a:lnTo>
                    <a:lnTo>
                      <a:pt x="280" y="59"/>
                    </a:lnTo>
                    <a:lnTo>
                      <a:pt x="280" y="61"/>
                    </a:lnTo>
                    <a:lnTo>
                      <a:pt x="282" y="63"/>
                    </a:lnTo>
                    <a:lnTo>
                      <a:pt x="282" y="65"/>
                    </a:lnTo>
                    <a:lnTo>
                      <a:pt x="284" y="65"/>
                    </a:lnTo>
                    <a:lnTo>
                      <a:pt x="284" y="67"/>
                    </a:lnTo>
                    <a:lnTo>
                      <a:pt x="284" y="69"/>
                    </a:lnTo>
                    <a:lnTo>
                      <a:pt x="284" y="71"/>
                    </a:lnTo>
                    <a:lnTo>
                      <a:pt x="286" y="71"/>
                    </a:lnTo>
                    <a:lnTo>
                      <a:pt x="286" y="73"/>
                    </a:lnTo>
                    <a:lnTo>
                      <a:pt x="288" y="73"/>
                    </a:lnTo>
                    <a:lnTo>
                      <a:pt x="290" y="75"/>
                    </a:lnTo>
                    <a:lnTo>
                      <a:pt x="288" y="75"/>
                    </a:lnTo>
                    <a:lnTo>
                      <a:pt x="290" y="77"/>
                    </a:lnTo>
                    <a:lnTo>
                      <a:pt x="290" y="78"/>
                    </a:lnTo>
                    <a:lnTo>
                      <a:pt x="290" y="80"/>
                    </a:lnTo>
                    <a:lnTo>
                      <a:pt x="292" y="82"/>
                    </a:lnTo>
                    <a:lnTo>
                      <a:pt x="292" y="84"/>
                    </a:lnTo>
                    <a:lnTo>
                      <a:pt x="294" y="84"/>
                    </a:lnTo>
                    <a:lnTo>
                      <a:pt x="294" y="86"/>
                    </a:lnTo>
                    <a:lnTo>
                      <a:pt x="296" y="86"/>
                    </a:lnTo>
                    <a:lnTo>
                      <a:pt x="296" y="88"/>
                    </a:lnTo>
                    <a:lnTo>
                      <a:pt x="294" y="88"/>
                    </a:lnTo>
                    <a:lnTo>
                      <a:pt x="294" y="90"/>
                    </a:lnTo>
                    <a:lnTo>
                      <a:pt x="294" y="92"/>
                    </a:lnTo>
                    <a:lnTo>
                      <a:pt x="296" y="92"/>
                    </a:lnTo>
                    <a:lnTo>
                      <a:pt x="294" y="92"/>
                    </a:lnTo>
                    <a:lnTo>
                      <a:pt x="294" y="94"/>
                    </a:lnTo>
                    <a:lnTo>
                      <a:pt x="292" y="96"/>
                    </a:lnTo>
                    <a:lnTo>
                      <a:pt x="292" y="98"/>
                    </a:lnTo>
                    <a:lnTo>
                      <a:pt x="290" y="98"/>
                    </a:lnTo>
                    <a:lnTo>
                      <a:pt x="290" y="96"/>
                    </a:lnTo>
                    <a:lnTo>
                      <a:pt x="290" y="98"/>
                    </a:lnTo>
                    <a:lnTo>
                      <a:pt x="288" y="98"/>
                    </a:lnTo>
                    <a:lnTo>
                      <a:pt x="286" y="98"/>
                    </a:lnTo>
                    <a:lnTo>
                      <a:pt x="284" y="98"/>
                    </a:lnTo>
                    <a:lnTo>
                      <a:pt x="284" y="96"/>
                    </a:lnTo>
                    <a:lnTo>
                      <a:pt x="282" y="96"/>
                    </a:lnTo>
                    <a:lnTo>
                      <a:pt x="282" y="94"/>
                    </a:lnTo>
                    <a:lnTo>
                      <a:pt x="282" y="96"/>
                    </a:lnTo>
                    <a:lnTo>
                      <a:pt x="282" y="94"/>
                    </a:lnTo>
                    <a:lnTo>
                      <a:pt x="280" y="94"/>
                    </a:lnTo>
                    <a:lnTo>
                      <a:pt x="280" y="96"/>
                    </a:lnTo>
                    <a:lnTo>
                      <a:pt x="280" y="94"/>
                    </a:lnTo>
                    <a:lnTo>
                      <a:pt x="278" y="94"/>
                    </a:lnTo>
                    <a:lnTo>
                      <a:pt x="280" y="96"/>
                    </a:lnTo>
                    <a:lnTo>
                      <a:pt x="278" y="96"/>
                    </a:lnTo>
                    <a:lnTo>
                      <a:pt x="278" y="94"/>
                    </a:lnTo>
                    <a:lnTo>
                      <a:pt x="276" y="94"/>
                    </a:lnTo>
                    <a:lnTo>
                      <a:pt x="274" y="94"/>
                    </a:lnTo>
                    <a:lnTo>
                      <a:pt x="274" y="92"/>
                    </a:lnTo>
                    <a:lnTo>
                      <a:pt x="272" y="92"/>
                    </a:lnTo>
                    <a:lnTo>
                      <a:pt x="272" y="90"/>
                    </a:lnTo>
                    <a:lnTo>
                      <a:pt x="271" y="90"/>
                    </a:lnTo>
                    <a:lnTo>
                      <a:pt x="272" y="90"/>
                    </a:lnTo>
                    <a:lnTo>
                      <a:pt x="272" y="88"/>
                    </a:lnTo>
                    <a:lnTo>
                      <a:pt x="272" y="86"/>
                    </a:lnTo>
                    <a:lnTo>
                      <a:pt x="274" y="86"/>
                    </a:lnTo>
                    <a:lnTo>
                      <a:pt x="274" y="88"/>
                    </a:lnTo>
                    <a:lnTo>
                      <a:pt x="276" y="88"/>
                    </a:lnTo>
                    <a:lnTo>
                      <a:pt x="276" y="86"/>
                    </a:lnTo>
                    <a:lnTo>
                      <a:pt x="274" y="86"/>
                    </a:lnTo>
                    <a:lnTo>
                      <a:pt x="274" y="88"/>
                    </a:lnTo>
                    <a:lnTo>
                      <a:pt x="274" y="86"/>
                    </a:lnTo>
                    <a:lnTo>
                      <a:pt x="274" y="84"/>
                    </a:lnTo>
                    <a:lnTo>
                      <a:pt x="274" y="82"/>
                    </a:lnTo>
                    <a:lnTo>
                      <a:pt x="272" y="82"/>
                    </a:lnTo>
                    <a:lnTo>
                      <a:pt x="272" y="80"/>
                    </a:lnTo>
                    <a:lnTo>
                      <a:pt x="271" y="78"/>
                    </a:lnTo>
                    <a:lnTo>
                      <a:pt x="271" y="80"/>
                    </a:lnTo>
                    <a:lnTo>
                      <a:pt x="271" y="78"/>
                    </a:lnTo>
                    <a:lnTo>
                      <a:pt x="269" y="78"/>
                    </a:lnTo>
                    <a:lnTo>
                      <a:pt x="267" y="78"/>
                    </a:lnTo>
                    <a:lnTo>
                      <a:pt x="267" y="77"/>
                    </a:lnTo>
                    <a:lnTo>
                      <a:pt x="267" y="75"/>
                    </a:lnTo>
                    <a:lnTo>
                      <a:pt x="265" y="77"/>
                    </a:lnTo>
                    <a:lnTo>
                      <a:pt x="265" y="75"/>
                    </a:lnTo>
                    <a:lnTo>
                      <a:pt x="263" y="75"/>
                    </a:lnTo>
                    <a:lnTo>
                      <a:pt x="263" y="73"/>
                    </a:lnTo>
                    <a:lnTo>
                      <a:pt x="263" y="75"/>
                    </a:lnTo>
                    <a:lnTo>
                      <a:pt x="265" y="77"/>
                    </a:lnTo>
                    <a:lnTo>
                      <a:pt x="265" y="78"/>
                    </a:lnTo>
                    <a:lnTo>
                      <a:pt x="263" y="78"/>
                    </a:lnTo>
                    <a:lnTo>
                      <a:pt x="263" y="77"/>
                    </a:lnTo>
                    <a:lnTo>
                      <a:pt x="261" y="77"/>
                    </a:lnTo>
                    <a:lnTo>
                      <a:pt x="263" y="75"/>
                    </a:lnTo>
                    <a:lnTo>
                      <a:pt x="261" y="73"/>
                    </a:lnTo>
                    <a:lnTo>
                      <a:pt x="261" y="71"/>
                    </a:lnTo>
                    <a:lnTo>
                      <a:pt x="259" y="71"/>
                    </a:lnTo>
                    <a:lnTo>
                      <a:pt x="259" y="69"/>
                    </a:lnTo>
                    <a:lnTo>
                      <a:pt x="259" y="67"/>
                    </a:lnTo>
                    <a:lnTo>
                      <a:pt x="257" y="67"/>
                    </a:lnTo>
                    <a:lnTo>
                      <a:pt x="257" y="65"/>
                    </a:lnTo>
                    <a:lnTo>
                      <a:pt x="257" y="63"/>
                    </a:lnTo>
                    <a:lnTo>
                      <a:pt x="257" y="61"/>
                    </a:lnTo>
                    <a:lnTo>
                      <a:pt x="259" y="61"/>
                    </a:lnTo>
                    <a:lnTo>
                      <a:pt x="257" y="61"/>
                    </a:lnTo>
                    <a:lnTo>
                      <a:pt x="257" y="59"/>
                    </a:lnTo>
                    <a:lnTo>
                      <a:pt x="257" y="61"/>
                    </a:lnTo>
                    <a:lnTo>
                      <a:pt x="257" y="59"/>
                    </a:lnTo>
                    <a:lnTo>
                      <a:pt x="257" y="61"/>
                    </a:lnTo>
                    <a:lnTo>
                      <a:pt x="257" y="59"/>
                    </a:lnTo>
                    <a:lnTo>
                      <a:pt x="259" y="59"/>
                    </a:lnTo>
                    <a:lnTo>
                      <a:pt x="257" y="59"/>
                    </a:lnTo>
                    <a:lnTo>
                      <a:pt x="257" y="57"/>
                    </a:lnTo>
                    <a:lnTo>
                      <a:pt x="259" y="57"/>
                    </a:lnTo>
                    <a:lnTo>
                      <a:pt x="259" y="59"/>
                    </a:lnTo>
                    <a:lnTo>
                      <a:pt x="259" y="57"/>
                    </a:lnTo>
                    <a:lnTo>
                      <a:pt x="257" y="57"/>
                    </a:lnTo>
                    <a:lnTo>
                      <a:pt x="259" y="57"/>
                    </a:lnTo>
                    <a:lnTo>
                      <a:pt x="257" y="57"/>
                    </a:lnTo>
                    <a:lnTo>
                      <a:pt x="259" y="57"/>
                    </a:lnTo>
                    <a:lnTo>
                      <a:pt x="257" y="57"/>
                    </a:lnTo>
                    <a:lnTo>
                      <a:pt x="257" y="55"/>
                    </a:lnTo>
                    <a:lnTo>
                      <a:pt x="257" y="57"/>
                    </a:lnTo>
                    <a:lnTo>
                      <a:pt x="257" y="55"/>
                    </a:lnTo>
                    <a:lnTo>
                      <a:pt x="255" y="55"/>
                    </a:lnTo>
                    <a:lnTo>
                      <a:pt x="257" y="55"/>
                    </a:lnTo>
                    <a:lnTo>
                      <a:pt x="259" y="55"/>
                    </a:lnTo>
                    <a:lnTo>
                      <a:pt x="259" y="53"/>
                    </a:lnTo>
                    <a:lnTo>
                      <a:pt x="257" y="53"/>
                    </a:lnTo>
                    <a:lnTo>
                      <a:pt x="257" y="55"/>
                    </a:lnTo>
                    <a:lnTo>
                      <a:pt x="257" y="53"/>
                    </a:lnTo>
                    <a:lnTo>
                      <a:pt x="257" y="55"/>
                    </a:lnTo>
                    <a:lnTo>
                      <a:pt x="257" y="53"/>
                    </a:lnTo>
                    <a:lnTo>
                      <a:pt x="257" y="52"/>
                    </a:lnTo>
                    <a:lnTo>
                      <a:pt x="255" y="52"/>
                    </a:lnTo>
                    <a:lnTo>
                      <a:pt x="257" y="52"/>
                    </a:lnTo>
                    <a:lnTo>
                      <a:pt x="259" y="52"/>
                    </a:lnTo>
                    <a:lnTo>
                      <a:pt x="259" y="53"/>
                    </a:lnTo>
                    <a:lnTo>
                      <a:pt x="261" y="53"/>
                    </a:lnTo>
                    <a:lnTo>
                      <a:pt x="261" y="55"/>
                    </a:lnTo>
                    <a:lnTo>
                      <a:pt x="263" y="55"/>
                    </a:lnTo>
                    <a:lnTo>
                      <a:pt x="263" y="57"/>
                    </a:lnTo>
                    <a:lnTo>
                      <a:pt x="265" y="57"/>
                    </a:lnTo>
                    <a:lnTo>
                      <a:pt x="265" y="55"/>
                    </a:lnTo>
                    <a:lnTo>
                      <a:pt x="263" y="53"/>
                    </a:lnTo>
                    <a:lnTo>
                      <a:pt x="263" y="52"/>
                    </a:lnTo>
                    <a:lnTo>
                      <a:pt x="261" y="52"/>
                    </a:lnTo>
                    <a:lnTo>
                      <a:pt x="261" y="50"/>
                    </a:lnTo>
                    <a:lnTo>
                      <a:pt x="261" y="48"/>
                    </a:lnTo>
                    <a:lnTo>
                      <a:pt x="259" y="48"/>
                    </a:lnTo>
                    <a:lnTo>
                      <a:pt x="261" y="48"/>
                    </a:lnTo>
                    <a:lnTo>
                      <a:pt x="261" y="50"/>
                    </a:lnTo>
                    <a:lnTo>
                      <a:pt x="263" y="50"/>
                    </a:lnTo>
                    <a:lnTo>
                      <a:pt x="263" y="48"/>
                    </a:lnTo>
                    <a:lnTo>
                      <a:pt x="265" y="48"/>
                    </a:lnTo>
                    <a:lnTo>
                      <a:pt x="265" y="50"/>
                    </a:lnTo>
                    <a:lnTo>
                      <a:pt x="265" y="48"/>
                    </a:lnTo>
                    <a:lnTo>
                      <a:pt x="267" y="48"/>
                    </a:lnTo>
                    <a:lnTo>
                      <a:pt x="267" y="50"/>
                    </a:lnTo>
                    <a:lnTo>
                      <a:pt x="267" y="48"/>
                    </a:lnTo>
                    <a:lnTo>
                      <a:pt x="267" y="46"/>
                    </a:lnTo>
                    <a:lnTo>
                      <a:pt x="269" y="46"/>
                    </a:lnTo>
                    <a:lnTo>
                      <a:pt x="271" y="46"/>
                    </a:lnTo>
                    <a:lnTo>
                      <a:pt x="272" y="46"/>
                    </a:lnTo>
                    <a:lnTo>
                      <a:pt x="274" y="4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70">
                <a:extLst>
                  <a:ext uri="{FF2B5EF4-FFF2-40B4-BE49-F238E27FC236}">
                    <a16:creationId xmlns="" xmlns:a16="http://schemas.microsoft.com/office/drawing/2014/main" id="{E7DC610F-5CC8-4651-A20C-4703F232204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60675" y="2487613"/>
                <a:ext cx="866775" cy="450850"/>
              </a:xfrm>
              <a:custGeom>
                <a:avLst/>
                <a:gdLst>
                  <a:gd name="T0" fmla="*/ 196 w 546"/>
                  <a:gd name="T1" fmla="*/ 175 h 284"/>
                  <a:gd name="T2" fmla="*/ 208 w 546"/>
                  <a:gd name="T3" fmla="*/ 169 h 284"/>
                  <a:gd name="T4" fmla="*/ 238 w 546"/>
                  <a:gd name="T5" fmla="*/ 159 h 284"/>
                  <a:gd name="T6" fmla="*/ 236 w 546"/>
                  <a:gd name="T7" fmla="*/ 157 h 284"/>
                  <a:gd name="T8" fmla="*/ 275 w 546"/>
                  <a:gd name="T9" fmla="*/ 146 h 284"/>
                  <a:gd name="T10" fmla="*/ 244 w 546"/>
                  <a:gd name="T11" fmla="*/ 155 h 284"/>
                  <a:gd name="T12" fmla="*/ 271 w 546"/>
                  <a:gd name="T13" fmla="*/ 146 h 284"/>
                  <a:gd name="T14" fmla="*/ 258 w 546"/>
                  <a:gd name="T15" fmla="*/ 150 h 284"/>
                  <a:gd name="T16" fmla="*/ 250 w 546"/>
                  <a:gd name="T17" fmla="*/ 140 h 284"/>
                  <a:gd name="T18" fmla="*/ 256 w 546"/>
                  <a:gd name="T19" fmla="*/ 140 h 284"/>
                  <a:gd name="T20" fmla="*/ 267 w 546"/>
                  <a:gd name="T21" fmla="*/ 144 h 284"/>
                  <a:gd name="T22" fmla="*/ 279 w 546"/>
                  <a:gd name="T23" fmla="*/ 144 h 284"/>
                  <a:gd name="T24" fmla="*/ 284 w 546"/>
                  <a:gd name="T25" fmla="*/ 111 h 284"/>
                  <a:gd name="T26" fmla="*/ 252 w 546"/>
                  <a:gd name="T27" fmla="*/ 134 h 284"/>
                  <a:gd name="T28" fmla="*/ 221 w 546"/>
                  <a:gd name="T29" fmla="*/ 151 h 284"/>
                  <a:gd name="T30" fmla="*/ 231 w 546"/>
                  <a:gd name="T31" fmla="*/ 155 h 284"/>
                  <a:gd name="T32" fmla="*/ 194 w 546"/>
                  <a:gd name="T33" fmla="*/ 178 h 284"/>
                  <a:gd name="T34" fmla="*/ 200 w 546"/>
                  <a:gd name="T35" fmla="*/ 180 h 284"/>
                  <a:gd name="T36" fmla="*/ 77 w 546"/>
                  <a:gd name="T37" fmla="*/ 198 h 284"/>
                  <a:gd name="T38" fmla="*/ 14 w 546"/>
                  <a:gd name="T39" fmla="*/ 117 h 284"/>
                  <a:gd name="T40" fmla="*/ 19 w 546"/>
                  <a:gd name="T41" fmla="*/ 76 h 284"/>
                  <a:gd name="T42" fmla="*/ 50 w 546"/>
                  <a:gd name="T43" fmla="*/ 53 h 284"/>
                  <a:gd name="T44" fmla="*/ 48 w 546"/>
                  <a:gd name="T45" fmla="*/ 5 h 284"/>
                  <a:gd name="T46" fmla="*/ 100 w 546"/>
                  <a:gd name="T47" fmla="*/ 61 h 284"/>
                  <a:gd name="T48" fmla="*/ 60 w 546"/>
                  <a:gd name="T49" fmla="*/ 76 h 284"/>
                  <a:gd name="T50" fmla="*/ 44 w 546"/>
                  <a:gd name="T51" fmla="*/ 138 h 284"/>
                  <a:gd name="T52" fmla="*/ 56 w 546"/>
                  <a:gd name="T53" fmla="*/ 146 h 284"/>
                  <a:gd name="T54" fmla="*/ 89 w 546"/>
                  <a:gd name="T55" fmla="*/ 151 h 284"/>
                  <a:gd name="T56" fmla="*/ 94 w 546"/>
                  <a:gd name="T57" fmla="*/ 144 h 284"/>
                  <a:gd name="T58" fmla="*/ 121 w 546"/>
                  <a:gd name="T59" fmla="*/ 115 h 284"/>
                  <a:gd name="T60" fmla="*/ 142 w 546"/>
                  <a:gd name="T61" fmla="*/ 123 h 284"/>
                  <a:gd name="T62" fmla="*/ 196 w 546"/>
                  <a:gd name="T63" fmla="*/ 105 h 284"/>
                  <a:gd name="T64" fmla="*/ 235 w 546"/>
                  <a:gd name="T65" fmla="*/ 113 h 284"/>
                  <a:gd name="T66" fmla="*/ 244 w 546"/>
                  <a:gd name="T67" fmla="*/ 107 h 284"/>
                  <a:gd name="T68" fmla="*/ 263 w 546"/>
                  <a:gd name="T69" fmla="*/ 107 h 284"/>
                  <a:gd name="T70" fmla="*/ 200 w 546"/>
                  <a:gd name="T71" fmla="*/ 59 h 284"/>
                  <a:gd name="T72" fmla="*/ 494 w 546"/>
                  <a:gd name="T73" fmla="*/ 140 h 284"/>
                  <a:gd name="T74" fmla="*/ 542 w 546"/>
                  <a:gd name="T75" fmla="*/ 176 h 284"/>
                  <a:gd name="T76" fmla="*/ 528 w 546"/>
                  <a:gd name="T77" fmla="*/ 190 h 284"/>
                  <a:gd name="T78" fmla="*/ 544 w 546"/>
                  <a:gd name="T79" fmla="*/ 219 h 284"/>
                  <a:gd name="T80" fmla="*/ 503 w 546"/>
                  <a:gd name="T81" fmla="*/ 240 h 284"/>
                  <a:gd name="T82" fmla="*/ 457 w 546"/>
                  <a:gd name="T83" fmla="*/ 273 h 284"/>
                  <a:gd name="T84" fmla="*/ 204 w 546"/>
                  <a:gd name="T85" fmla="*/ 178 h 284"/>
                  <a:gd name="T86" fmla="*/ 225 w 546"/>
                  <a:gd name="T87" fmla="*/ 163 h 284"/>
                  <a:gd name="T88" fmla="*/ 229 w 546"/>
                  <a:gd name="T89" fmla="*/ 167 h 284"/>
                  <a:gd name="T90" fmla="*/ 258 w 546"/>
                  <a:gd name="T91" fmla="*/ 157 h 284"/>
                  <a:gd name="T92" fmla="*/ 296 w 546"/>
                  <a:gd name="T93" fmla="*/ 146 h 284"/>
                  <a:gd name="T94" fmla="*/ 336 w 546"/>
                  <a:gd name="T95" fmla="*/ 153 h 284"/>
                  <a:gd name="T96" fmla="*/ 329 w 546"/>
                  <a:gd name="T97" fmla="*/ 173 h 284"/>
                  <a:gd name="T98" fmla="*/ 334 w 546"/>
                  <a:gd name="T99" fmla="*/ 153 h 284"/>
                  <a:gd name="T100" fmla="*/ 357 w 546"/>
                  <a:gd name="T101" fmla="*/ 157 h 284"/>
                  <a:gd name="T102" fmla="*/ 400 w 546"/>
                  <a:gd name="T103" fmla="*/ 151 h 284"/>
                  <a:gd name="T104" fmla="*/ 396 w 546"/>
                  <a:gd name="T105" fmla="*/ 169 h 284"/>
                  <a:gd name="T106" fmla="*/ 390 w 546"/>
                  <a:gd name="T107" fmla="*/ 180 h 284"/>
                  <a:gd name="T108" fmla="*/ 409 w 546"/>
                  <a:gd name="T109" fmla="*/ 190 h 284"/>
                  <a:gd name="T110" fmla="*/ 436 w 546"/>
                  <a:gd name="T111" fmla="*/ 178 h 284"/>
                  <a:gd name="T112" fmla="*/ 448 w 546"/>
                  <a:gd name="T113" fmla="*/ 180 h 284"/>
                  <a:gd name="T114" fmla="*/ 452 w 546"/>
                  <a:gd name="T115" fmla="*/ 182 h 284"/>
                  <a:gd name="T116" fmla="*/ 446 w 546"/>
                  <a:gd name="T117" fmla="*/ 155 h 284"/>
                  <a:gd name="T118" fmla="*/ 442 w 546"/>
                  <a:gd name="T119" fmla="*/ 123 h 284"/>
                  <a:gd name="T120" fmla="*/ 473 w 546"/>
                  <a:gd name="T121" fmla="*/ 157 h 284"/>
                  <a:gd name="T122" fmla="*/ 455 w 546"/>
                  <a:gd name="T123" fmla="*/ 121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46" h="284">
                    <a:moveTo>
                      <a:pt x="200" y="186"/>
                    </a:moveTo>
                    <a:lnTo>
                      <a:pt x="198" y="186"/>
                    </a:lnTo>
                    <a:lnTo>
                      <a:pt x="198" y="188"/>
                    </a:lnTo>
                    <a:lnTo>
                      <a:pt x="198" y="186"/>
                    </a:lnTo>
                    <a:lnTo>
                      <a:pt x="196" y="186"/>
                    </a:lnTo>
                    <a:lnTo>
                      <a:pt x="198" y="186"/>
                    </a:lnTo>
                    <a:lnTo>
                      <a:pt x="196" y="184"/>
                    </a:lnTo>
                    <a:lnTo>
                      <a:pt x="196" y="186"/>
                    </a:lnTo>
                    <a:lnTo>
                      <a:pt x="196" y="184"/>
                    </a:lnTo>
                    <a:lnTo>
                      <a:pt x="198" y="184"/>
                    </a:lnTo>
                    <a:lnTo>
                      <a:pt x="198" y="186"/>
                    </a:lnTo>
                    <a:lnTo>
                      <a:pt x="200" y="186"/>
                    </a:lnTo>
                    <a:lnTo>
                      <a:pt x="198" y="186"/>
                    </a:lnTo>
                    <a:lnTo>
                      <a:pt x="200" y="186"/>
                    </a:lnTo>
                    <a:close/>
                    <a:moveTo>
                      <a:pt x="206" y="188"/>
                    </a:moveTo>
                    <a:lnTo>
                      <a:pt x="206" y="190"/>
                    </a:lnTo>
                    <a:lnTo>
                      <a:pt x="206" y="188"/>
                    </a:lnTo>
                    <a:lnTo>
                      <a:pt x="206" y="190"/>
                    </a:lnTo>
                    <a:lnTo>
                      <a:pt x="206" y="188"/>
                    </a:lnTo>
                    <a:lnTo>
                      <a:pt x="206" y="190"/>
                    </a:lnTo>
                    <a:lnTo>
                      <a:pt x="206" y="188"/>
                    </a:lnTo>
                    <a:close/>
                    <a:moveTo>
                      <a:pt x="204" y="188"/>
                    </a:moveTo>
                    <a:lnTo>
                      <a:pt x="204" y="186"/>
                    </a:lnTo>
                    <a:lnTo>
                      <a:pt x="206" y="188"/>
                    </a:lnTo>
                    <a:lnTo>
                      <a:pt x="204" y="188"/>
                    </a:lnTo>
                    <a:lnTo>
                      <a:pt x="204" y="190"/>
                    </a:lnTo>
                    <a:lnTo>
                      <a:pt x="200" y="186"/>
                    </a:lnTo>
                    <a:lnTo>
                      <a:pt x="200" y="184"/>
                    </a:lnTo>
                    <a:lnTo>
                      <a:pt x="202" y="184"/>
                    </a:lnTo>
                    <a:lnTo>
                      <a:pt x="200" y="184"/>
                    </a:lnTo>
                    <a:lnTo>
                      <a:pt x="202" y="184"/>
                    </a:lnTo>
                    <a:lnTo>
                      <a:pt x="202" y="182"/>
                    </a:lnTo>
                    <a:lnTo>
                      <a:pt x="202" y="180"/>
                    </a:lnTo>
                    <a:lnTo>
                      <a:pt x="202" y="182"/>
                    </a:lnTo>
                    <a:lnTo>
                      <a:pt x="202" y="184"/>
                    </a:lnTo>
                    <a:lnTo>
                      <a:pt x="204" y="184"/>
                    </a:lnTo>
                    <a:lnTo>
                      <a:pt x="204" y="186"/>
                    </a:lnTo>
                    <a:lnTo>
                      <a:pt x="204" y="184"/>
                    </a:lnTo>
                    <a:lnTo>
                      <a:pt x="204" y="186"/>
                    </a:lnTo>
                    <a:lnTo>
                      <a:pt x="204" y="188"/>
                    </a:lnTo>
                    <a:close/>
                    <a:moveTo>
                      <a:pt x="202" y="184"/>
                    </a:moveTo>
                    <a:lnTo>
                      <a:pt x="202" y="182"/>
                    </a:lnTo>
                    <a:lnTo>
                      <a:pt x="202" y="184"/>
                    </a:lnTo>
                    <a:close/>
                    <a:moveTo>
                      <a:pt x="194" y="176"/>
                    </a:moveTo>
                    <a:lnTo>
                      <a:pt x="194" y="175"/>
                    </a:lnTo>
                    <a:lnTo>
                      <a:pt x="194" y="176"/>
                    </a:lnTo>
                    <a:close/>
                    <a:moveTo>
                      <a:pt x="194" y="176"/>
                    </a:moveTo>
                    <a:lnTo>
                      <a:pt x="192" y="176"/>
                    </a:lnTo>
                    <a:lnTo>
                      <a:pt x="192" y="175"/>
                    </a:lnTo>
                    <a:lnTo>
                      <a:pt x="194" y="175"/>
                    </a:lnTo>
                    <a:lnTo>
                      <a:pt x="192" y="175"/>
                    </a:lnTo>
                    <a:lnTo>
                      <a:pt x="194" y="175"/>
                    </a:lnTo>
                    <a:lnTo>
                      <a:pt x="192" y="176"/>
                    </a:lnTo>
                    <a:lnTo>
                      <a:pt x="194" y="176"/>
                    </a:lnTo>
                    <a:close/>
                    <a:moveTo>
                      <a:pt x="196" y="175"/>
                    </a:moveTo>
                    <a:lnTo>
                      <a:pt x="194" y="175"/>
                    </a:lnTo>
                    <a:lnTo>
                      <a:pt x="196" y="175"/>
                    </a:lnTo>
                    <a:close/>
                    <a:moveTo>
                      <a:pt x="196" y="175"/>
                    </a:moveTo>
                    <a:lnTo>
                      <a:pt x="194" y="175"/>
                    </a:lnTo>
                    <a:lnTo>
                      <a:pt x="194" y="173"/>
                    </a:lnTo>
                    <a:lnTo>
                      <a:pt x="196" y="175"/>
                    </a:lnTo>
                    <a:close/>
                    <a:moveTo>
                      <a:pt x="204" y="178"/>
                    </a:moveTo>
                    <a:lnTo>
                      <a:pt x="202" y="176"/>
                    </a:lnTo>
                    <a:lnTo>
                      <a:pt x="204" y="176"/>
                    </a:lnTo>
                    <a:lnTo>
                      <a:pt x="204" y="178"/>
                    </a:lnTo>
                    <a:lnTo>
                      <a:pt x="206" y="178"/>
                    </a:lnTo>
                    <a:lnTo>
                      <a:pt x="206" y="180"/>
                    </a:lnTo>
                    <a:lnTo>
                      <a:pt x="204" y="180"/>
                    </a:lnTo>
                    <a:lnTo>
                      <a:pt x="204" y="178"/>
                    </a:lnTo>
                    <a:close/>
                    <a:moveTo>
                      <a:pt x="206" y="173"/>
                    </a:moveTo>
                    <a:lnTo>
                      <a:pt x="206" y="171"/>
                    </a:lnTo>
                    <a:lnTo>
                      <a:pt x="206" y="173"/>
                    </a:lnTo>
                    <a:close/>
                    <a:moveTo>
                      <a:pt x="210" y="171"/>
                    </a:moveTo>
                    <a:lnTo>
                      <a:pt x="208" y="173"/>
                    </a:lnTo>
                    <a:lnTo>
                      <a:pt x="208" y="171"/>
                    </a:lnTo>
                    <a:lnTo>
                      <a:pt x="210" y="171"/>
                    </a:lnTo>
                    <a:close/>
                    <a:moveTo>
                      <a:pt x="198" y="167"/>
                    </a:moveTo>
                    <a:lnTo>
                      <a:pt x="198" y="165"/>
                    </a:lnTo>
                    <a:lnTo>
                      <a:pt x="198" y="167"/>
                    </a:lnTo>
                    <a:close/>
                    <a:moveTo>
                      <a:pt x="198" y="167"/>
                    </a:moveTo>
                    <a:lnTo>
                      <a:pt x="200" y="167"/>
                    </a:lnTo>
                    <a:lnTo>
                      <a:pt x="198" y="167"/>
                    </a:lnTo>
                    <a:close/>
                    <a:moveTo>
                      <a:pt x="198" y="167"/>
                    </a:moveTo>
                    <a:lnTo>
                      <a:pt x="198" y="165"/>
                    </a:lnTo>
                    <a:lnTo>
                      <a:pt x="198" y="167"/>
                    </a:lnTo>
                    <a:lnTo>
                      <a:pt x="198" y="165"/>
                    </a:lnTo>
                    <a:lnTo>
                      <a:pt x="198" y="167"/>
                    </a:lnTo>
                    <a:lnTo>
                      <a:pt x="198" y="165"/>
                    </a:lnTo>
                    <a:lnTo>
                      <a:pt x="198" y="167"/>
                    </a:lnTo>
                    <a:close/>
                    <a:moveTo>
                      <a:pt x="210" y="171"/>
                    </a:moveTo>
                    <a:lnTo>
                      <a:pt x="208" y="171"/>
                    </a:lnTo>
                    <a:lnTo>
                      <a:pt x="208" y="173"/>
                    </a:lnTo>
                    <a:lnTo>
                      <a:pt x="206" y="173"/>
                    </a:lnTo>
                    <a:lnTo>
                      <a:pt x="208" y="171"/>
                    </a:lnTo>
                    <a:lnTo>
                      <a:pt x="210" y="171"/>
                    </a:lnTo>
                    <a:lnTo>
                      <a:pt x="208" y="171"/>
                    </a:lnTo>
                    <a:lnTo>
                      <a:pt x="210" y="171"/>
                    </a:lnTo>
                    <a:close/>
                    <a:moveTo>
                      <a:pt x="202" y="163"/>
                    </a:moveTo>
                    <a:lnTo>
                      <a:pt x="202" y="165"/>
                    </a:lnTo>
                    <a:lnTo>
                      <a:pt x="202" y="163"/>
                    </a:lnTo>
                    <a:lnTo>
                      <a:pt x="202" y="165"/>
                    </a:lnTo>
                    <a:lnTo>
                      <a:pt x="202" y="163"/>
                    </a:lnTo>
                    <a:close/>
                    <a:moveTo>
                      <a:pt x="208" y="161"/>
                    </a:moveTo>
                    <a:lnTo>
                      <a:pt x="208" y="163"/>
                    </a:lnTo>
                    <a:lnTo>
                      <a:pt x="208" y="161"/>
                    </a:lnTo>
                    <a:lnTo>
                      <a:pt x="208" y="163"/>
                    </a:lnTo>
                    <a:lnTo>
                      <a:pt x="208" y="161"/>
                    </a:lnTo>
                    <a:lnTo>
                      <a:pt x="208" y="163"/>
                    </a:lnTo>
                    <a:lnTo>
                      <a:pt x="208" y="161"/>
                    </a:lnTo>
                    <a:lnTo>
                      <a:pt x="208" y="163"/>
                    </a:lnTo>
                    <a:lnTo>
                      <a:pt x="208" y="161"/>
                    </a:lnTo>
                    <a:close/>
                    <a:moveTo>
                      <a:pt x="210" y="167"/>
                    </a:moveTo>
                    <a:lnTo>
                      <a:pt x="210" y="169"/>
                    </a:lnTo>
                    <a:lnTo>
                      <a:pt x="208" y="169"/>
                    </a:lnTo>
                    <a:lnTo>
                      <a:pt x="208" y="171"/>
                    </a:lnTo>
                    <a:lnTo>
                      <a:pt x="206" y="171"/>
                    </a:lnTo>
                    <a:lnTo>
                      <a:pt x="204" y="173"/>
                    </a:lnTo>
                    <a:lnTo>
                      <a:pt x="202" y="173"/>
                    </a:lnTo>
                    <a:lnTo>
                      <a:pt x="200" y="173"/>
                    </a:lnTo>
                    <a:lnTo>
                      <a:pt x="200" y="171"/>
                    </a:lnTo>
                    <a:lnTo>
                      <a:pt x="200" y="169"/>
                    </a:lnTo>
                    <a:lnTo>
                      <a:pt x="202" y="169"/>
                    </a:lnTo>
                    <a:lnTo>
                      <a:pt x="200" y="171"/>
                    </a:lnTo>
                    <a:lnTo>
                      <a:pt x="202" y="171"/>
                    </a:lnTo>
                    <a:lnTo>
                      <a:pt x="202" y="169"/>
                    </a:lnTo>
                    <a:lnTo>
                      <a:pt x="200" y="169"/>
                    </a:lnTo>
                    <a:lnTo>
                      <a:pt x="200" y="167"/>
                    </a:lnTo>
                    <a:lnTo>
                      <a:pt x="202" y="167"/>
                    </a:lnTo>
                    <a:lnTo>
                      <a:pt x="202" y="165"/>
                    </a:lnTo>
                    <a:lnTo>
                      <a:pt x="202" y="163"/>
                    </a:lnTo>
                    <a:lnTo>
                      <a:pt x="204" y="163"/>
                    </a:lnTo>
                    <a:lnTo>
                      <a:pt x="204" y="161"/>
                    </a:lnTo>
                    <a:lnTo>
                      <a:pt x="204" y="163"/>
                    </a:lnTo>
                    <a:lnTo>
                      <a:pt x="206" y="161"/>
                    </a:lnTo>
                    <a:lnTo>
                      <a:pt x="206" y="159"/>
                    </a:lnTo>
                    <a:lnTo>
                      <a:pt x="208" y="159"/>
                    </a:lnTo>
                    <a:lnTo>
                      <a:pt x="208" y="161"/>
                    </a:lnTo>
                    <a:lnTo>
                      <a:pt x="208" y="159"/>
                    </a:lnTo>
                    <a:lnTo>
                      <a:pt x="208" y="161"/>
                    </a:lnTo>
                    <a:lnTo>
                      <a:pt x="208" y="159"/>
                    </a:lnTo>
                    <a:lnTo>
                      <a:pt x="208" y="161"/>
                    </a:lnTo>
                    <a:lnTo>
                      <a:pt x="208" y="163"/>
                    </a:lnTo>
                    <a:lnTo>
                      <a:pt x="208" y="161"/>
                    </a:lnTo>
                    <a:lnTo>
                      <a:pt x="210" y="159"/>
                    </a:lnTo>
                    <a:lnTo>
                      <a:pt x="210" y="161"/>
                    </a:lnTo>
                    <a:lnTo>
                      <a:pt x="210" y="159"/>
                    </a:lnTo>
                    <a:lnTo>
                      <a:pt x="210" y="161"/>
                    </a:lnTo>
                    <a:lnTo>
                      <a:pt x="210" y="159"/>
                    </a:lnTo>
                    <a:lnTo>
                      <a:pt x="210" y="161"/>
                    </a:lnTo>
                    <a:lnTo>
                      <a:pt x="211" y="161"/>
                    </a:lnTo>
                    <a:lnTo>
                      <a:pt x="210" y="161"/>
                    </a:lnTo>
                    <a:lnTo>
                      <a:pt x="210" y="163"/>
                    </a:lnTo>
                    <a:lnTo>
                      <a:pt x="210" y="165"/>
                    </a:lnTo>
                    <a:lnTo>
                      <a:pt x="208" y="165"/>
                    </a:lnTo>
                    <a:lnTo>
                      <a:pt x="208" y="167"/>
                    </a:lnTo>
                    <a:lnTo>
                      <a:pt x="210" y="167"/>
                    </a:lnTo>
                    <a:close/>
                    <a:moveTo>
                      <a:pt x="204" y="165"/>
                    </a:moveTo>
                    <a:lnTo>
                      <a:pt x="206" y="165"/>
                    </a:lnTo>
                    <a:lnTo>
                      <a:pt x="204" y="163"/>
                    </a:lnTo>
                    <a:lnTo>
                      <a:pt x="206" y="163"/>
                    </a:lnTo>
                    <a:lnTo>
                      <a:pt x="204" y="163"/>
                    </a:lnTo>
                    <a:lnTo>
                      <a:pt x="204" y="165"/>
                    </a:lnTo>
                    <a:close/>
                    <a:moveTo>
                      <a:pt x="208" y="163"/>
                    </a:moveTo>
                    <a:lnTo>
                      <a:pt x="208" y="161"/>
                    </a:lnTo>
                    <a:lnTo>
                      <a:pt x="208" y="163"/>
                    </a:lnTo>
                    <a:close/>
                    <a:moveTo>
                      <a:pt x="231" y="163"/>
                    </a:moveTo>
                    <a:lnTo>
                      <a:pt x="229" y="161"/>
                    </a:lnTo>
                    <a:lnTo>
                      <a:pt x="231" y="161"/>
                    </a:lnTo>
                    <a:lnTo>
                      <a:pt x="231" y="163"/>
                    </a:lnTo>
                    <a:close/>
                    <a:moveTo>
                      <a:pt x="240" y="157"/>
                    </a:moveTo>
                    <a:lnTo>
                      <a:pt x="238" y="159"/>
                    </a:lnTo>
                    <a:lnTo>
                      <a:pt x="240" y="159"/>
                    </a:lnTo>
                    <a:lnTo>
                      <a:pt x="238" y="159"/>
                    </a:lnTo>
                    <a:lnTo>
                      <a:pt x="240" y="159"/>
                    </a:lnTo>
                    <a:lnTo>
                      <a:pt x="240" y="157"/>
                    </a:lnTo>
                    <a:lnTo>
                      <a:pt x="240" y="159"/>
                    </a:lnTo>
                    <a:lnTo>
                      <a:pt x="240" y="157"/>
                    </a:lnTo>
                    <a:lnTo>
                      <a:pt x="242" y="157"/>
                    </a:lnTo>
                    <a:lnTo>
                      <a:pt x="242" y="159"/>
                    </a:lnTo>
                    <a:lnTo>
                      <a:pt x="240" y="159"/>
                    </a:lnTo>
                    <a:lnTo>
                      <a:pt x="238" y="159"/>
                    </a:lnTo>
                    <a:lnTo>
                      <a:pt x="236" y="159"/>
                    </a:lnTo>
                    <a:lnTo>
                      <a:pt x="238" y="159"/>
                    </a:lnTo>
                    <a:lnTo>
                      <a:pt x="240" y="159"/>
                    </a:lnTo>
                    <a:lnTo>
                      <a:pt x="242" y="159"/>
                    </a:lnTo>
                    <a:lnTo>
                      <a:pt x="242" y="157"/>
                    </a:lnTo>
                    <a:lnTo>
                      <a:pt x="244" y="157"/>
                    </a:lnTo>
                    <a:lnTo>
                      <a:pt x="242" y="157"/>
                    </a:lnTo>
                    <a:lnTo>
                      <a:pt x="242" y="159"/>
                    </a:lnTo>
                    <a:lnTo>
                      <a:pt x="240" y="161"/>
                    </a:lnTo>
                    <a:lnTo>
                      <a:pt x="240" y="159"/>
                    </a:lnTo>
                    <a:lnTo>
                      <a:pt x="240" y="161"/>
                    </a:lnTo>
                    <a:lnTo>
                      <a:pt x="238" y="161"/>
                    </a:lnTo>
                    <a:lnTo>
                      <a:pt x="238" y="159"/>
                    </a:lnTo>
                    <a:lnTo>
                      <a:pt x="236" y="161"/>
                    </a:lnTo>
                    <a:lnTo>
                      <a:pt x="238" y="159"/>
                    </a:lnTo>
                    <a:lnTo>
                      <a:pt x="238" y="161"/>
                    </a:lnTo>
                    <a:lnTo>
                      <a:pt x="240" y="161"/>
                    </a:lnTo>
                    <a:lnTo>
                      <a:pt x="238" y="161"/>
                    </a:lnTo>
                    <a:lnTo>
                      <a:pt x="236" y="161"/>
                    </a:lnTo>
                    <a:lnTo>
                      <a:pt x="235" y="163"/>
                    </a:lnTo>
                    <a:lnTo>
                      <a:pt x="236" y="161"/>
                    </a:lnTo>
                    <a:lnTo>
                      <a:pt x="236" y="163"/>
                    </a:lnTo>
                    <a:lnTo>
                      <a:pt x="235" y="163"/>
                    </a:lnTo>
                    <a:lnTo>
                      <a:pt x="233" y="163"/>
                    </a:lnTo>
                    <a:lnTo>
                      <a:pt x="235" y="163"/>
                    </a:lnTo>
                    <a:lnTo>
                      <a:pt x="233" y="163"/>
                    </a:lnTo>
                    <a:lnTo>
                      <a:pt x="231" y="163"/>
                    </a:lnTo>
                    <a:lnTo>
                      <a:pt x="231" y="161"/>
                    </a:lnTo>
                    <a:lnTo>
                      <a:pt x="229" y="161"/>
                    </a:lnTo>
                    <a:lnTo>
                      <a:pt x="229" y="159"/>
                    </a:lnTo>
                    <a:lnTo>
                      <a:pt x="227" y="159"/>
                    </a:lnTo>
                    <a:lnTo>
                      <a:pt x="229" y="159"/>
                    </a:lnTo>
                    <a:lnTo>
                      <a:pt x="231" y="159"/>
                    </a:lnTo>
                    <a:lnTo>
                      <a:pt x="229" y="159"/>
                    </a:lnTo>
                    <a:lnTo>
                      <a:pt x="227" y="159"/>
                    </a:lnTo>
                    <a:lnTo>
                      <a:pt x="225" y="159"/>
                    </a:lnTo>
                    <a:lnTo>
                      <a:pt x="225" y="157"/>
                    </a:lnTo>
                    <a:lnTo>
                      <a:pt x="227" y="157"/>
                    </a:lnTo>
                    <a:lnTo>
                      <a:pt x="227" y="155"/>
                    </a:lnTo>
                    <a:lnTo>
                      <a:pt x="227" y="157"/>
                    </a:lnTo>
                    <a:lnTo>
                      <a:pt x="229" y="157"/>
                    </a:lnTo>
                    <a:lnTo>
                      <a:pt x="231" y="157"/>
                    </a:lnTo>
                    <a:lnTo>
                      <a:pt x="229" y="157"/>
                    </a:lnTo>
                    <a:lnTo>
                      <a:pt x="231" y="157"/>
                    </a:lnTo>
                    <a:lnTo>
                      <a:pt x="233" y="157"/>
                    </a:lnTo>
                    <a:lnTo>
                      <a:pt x="235" y="157"/>
                    </a:lnTo>
                    <a:lnTo>
                      <a:pt x="236" y="157"/>
                    </a:lnTo>
                    <a:lnTo>
                      <a:pt x="238" y="157"/>
                    </a:lnTo>
                    <a:lnTo>
                      <a:pt x="236" y="157"/>
                    </a:lnTo>
                    <a:lnTo>
                      <a:pt x="235" y="157"/>
                    </a:lnTo>
                    <a:lnTo>
                      <a:pt x="235" y="159"/>
                    </a:lnTo>
                    <a:lnTo>
                      <a:pt x="233" y="159"/>
                    </a:lnTo>
                    <a:lnTo>
                      <a:pt x="235" y="159"/>
                    </a:lnTo>
                    <a:lnTo>
                      <a:pt x="235" y="157"/>
                    </a:lnTo>
                    <a:lnTo>
                      <a:pt x="236" y="157"/>
                    </a:lnTo>
                    <a:lnTo>
                      <a:pt x="238" y="157"/>
                    </a:lnTo>
                    <a:lnTo>
                      <a:pt x="240" y="157"/>
                    </a:lnTo>
                    <a:lnTo>
                      <a:pt x="240" y="155"/>
                    </a:lnTo>
                    <a:lnTo>
                      <a:pt x="242" y="155"/>
                    </a:lnTo>
                    <a:lnTo>
                      <a:pt x="244" y="153"/>
                    </a:lnTo>
                    <a:lnTo>
                      <a:pt x="244" y="155"/>
                    </a:lnTo>
                    <a:lnTo>
                      <a:pt x="244" y="157"/>
                    </a:lnTo>
                    <a:lnTo>
                      <a:pt x="242" y="157"/>
                    </a:lnTo>
                    <a:lnTo>
                      <a:pt x="240" y="157"/>
                    </a:lnTo>
                    <a:lnTo>
                      <a:pt x="242" y="157"/>
                    </a:lnTo>
                    <a:lnTo>
                      <a:pt x="240" y="157"/>
                    </a:lnTo>
                    <a:close/>
                    <a:moveTo>
                      <a:pt x="256" y="159"/>
                    </a:moveTo>
                    <a:lnTo>
                      <a:pt x="254" y="157"/>
                    </a:lnTo>
                    <a:lnTo>
                      <a:pt x="256" y="157"/>
                    </a:lnTo>
                    <a:lnTo>
                      <a:pt x="254" y="157"/>
                    </a:lnTo>
                    <a:lnTo>
                      <a:pt x="254" y="159"/>
                    </a:lnTo>
                    <a:lnTo>
                      <a:pt x="254" y="157"/>
                    </a:lnTo>
                    <a:lnTo>
                      <a:pt x="254" y="159"/>
                    </a:lnTo>
                    <a:lnTo>
                      <a:pt x="256" y="159"/>
                    </a:lnTo>
                    <a:lnTo>
                      <a:pt x="254" y="159"/>
                    </a:lnTo>
                    <a:lnTo>
                      <a:pt x="252" y="159"/>
                    </a:lnTo>
                    <a:lnTo>
                      <a:pt x="254" y="159"/>
                    </a:lnTo>
                    <a:lnTo>
                      <a:pt x="256" y="159"/>
                    </a:lnTo>
                    <a:lnTo>
                      <a:pt x="254" y="159"/>
                    </a:lnTo>
                    <a:lnTo>
                      <a:pt x="252" y="159"/>
                    </a:lnTo>
                    <a:lnTo>
                      <a:pt x="250" y="159"/>
                    </a:lnTo>
                    <a:lnTo>
                      <a:pt x="250" y="161"/>
                    </a:lnTo>
                    <a:lnTo>
                      <a:pt x="248" y="161"/>
                    </a:lnTo>
                    <a:lnTo>
                      <a:pt x="248" y="163"/>
                    </a:lnTo>
                    <a:lnTo>
                      <a:pt x="246" y="161"/>
                    </a:lnTo>
                    <a:lnTo>
                      <a:pt x="244" y="161"/>
                    </a:lnTo>
                    <a:lnTo>
                      <a:pt x="242" y="161"/>
                    </a:lnTo>
                    <a:lnTo>
                      <a:pt x="242" y="159"/>
                    </a:lnTo>
                    <a:lnTo>
                      <a:pt x="244" y="159"/>
                    </a:lnTo>
                    <a:lnTo>
                      <a:pt x="244" y="157"/>
                    </a:lnTo>
                    <a:lnTo>
                      <a:pt x="246" y="157"/>
                    </a:lnTo>
                    <a:lnTo>
                      <a:pt x="248" y="157"/>
                    </a:lnTo>
                    <a:lnTo>
                      <a:pt x="250" y="157"/>
                    </a:lnTo>
                    <a:lnTo>
                      <a:pt x="252" y="157"/>
                    </a:lnTo>
                    <a:lnTo>
                      <a:pt x="254" y="157"/>
                    </a:lnTo>
                    <a:lnTo>
                      <a:pt x="256" y="157"/>
                    </a:lnTo>
                    <a:lnTo>
                      <a:pt x="256" y="159"/>
                    </a:lnTo>
                    <a:lnTo>
                      <a:pt x="254" y="159"/>
                    </a:lnTo>
                    <a:lnTo>
                      <a:pt x="256" y="159"/>
                    </a:lnTo>
                    <a:close/>
                    <a:moveTo>
                      <a:pt x="273" y="144"/>
                    </a:moveTo>
                    <a:lnTo>
                      <a:pt x="275" y="144"/>
                    </a:lnTo>
                    <a:lnTo>
                      <a:pt x="275" y="146"/>
                    </a:lnTo>
                    <a:lnTo>
                      <a:pt x="273" y="146"/>
                    </a:lnTo>
                    <a:lnTo>
                      <a:pt x="275" y="146"/>
                    </a:lnTo>
                    <a:lnTo>
                      <a:pt x="273" y="146"/>
                    </a:lnTo>
                    <a:lnTo>
                      <a:pt x="273" y="148"/>
                    </a:lnTo>
                    <a:lnTo>
                      <a:pt x="271" y="150"/>
                    </a:lnTo>
                    <a:lnTo>
                      <a:pt x="271" y="146"/>
                    </a:lnTo>
                    <a:lnTo>
                      <a:pt x="271" y="148"/>
                    </a:lnTo>
                    <a:lnTo>
                      <a:pt x="271" y="146"/>
                    </a:lnTo>
                    <a:lnTo>
                      <a:pt x="273" y="146"/>
                    </a:lnTo>
                    <a:lnTo>
                      <a:pt x="273" y="144"/>
                    </a:lnTo>
                    <a:close/>
                    <a:moveTo>
                      <a:pt x="271" y="148"/>
                    </a:moveTo>
                    <a:lnTo>
                      <a:pt x="271" y="150"/>
                    </a:lnTo>
                    <a:lnTo>
                      <a:pt x="271" y="148"/>
                    </a:lnTo>
                    <a:lnTo>
                      <a:pt x="271" y="150"/>
                    </a:lnTo>
                    <a:lnTo>
                      <a:pt x="269" y="150"/>
                    </a:lnTo>
                    <a:lnTo>
                      <a:pt x="271" y="150"/>
                    </a:lnTo>
                    <a:lnTo>
                      <a:pt x="271" y="151"/>
                    </a:lnTo>
                    <a:lnTo>
                      <a:pt x="267" y="153"/>
                    </a:lnTo>
                    <a:lnTo>
                      <a:pt x="265" y="153"/>
                    </a:lnTo>
                    <a:lnTo>
                      <a:pt x="265" y="155"/>
                    </a:lnTo>
                    <a:lnTo>
                      <a:pt x="263" y="155"/>
                    </a:lnTo>
                    <a:lnTo>
                      <a:pt x="261" y="153"/>
                    </a:lnTo>
                    <a:lnTo>
                      <a:pt x="263" y="155"/>
                    </a:lnTo>
                    <a:lnTo>
                      <a:pt x="261" y="155"/>
                    </a:lnTo>
                    <a:lnTo>
                      <a:pt x="259" y="155"/>
                    </a:lnTo>
                    <a:lnTo>
                      <a:pt x="261" y="153"/>
                    </a:lnTo>
                    <a:lnTo>
                      <a:pt x="259" y="153"/>
                    </a:lnTo>
                    <a:lnTo>
                      <a:pt x="259" y="151"/>
                    </a:lnTo>
                    <a:lnTo>
                      <a:pt x="261" y="151"/>
                    </a:lnTo>
                    <a:lnTo>
                      <a:pt x="261" y="150"/>
                    </a:lnTo>
                    <a:lnTo>
                      <a:pt x="263" y="150"/>
                    </a:lnTo>
                    <a:lnTo>
                      <a:pt x="265" y="150"/>
                    </a:lnTo>
                    <a:lnTo>
                      <a:pt x="267" y="148"/>
                    </a:lnTo>
                    <a:lnTo>
                      <a:pt x="265" y="148"/>
                    </a:lnTo>
                    <a:lnTo>
                      <a:pt x="267" y="148"/>
                    </a:lnTo>
                    <a:lnTo>
                      <a:pt x="267" y="146"/>
                    </a:lnTo>
                    <a:lnTo>
                      <a:pt x="265" y="148"/>
                    </a:lnTo>
                    <a:lnTo>
                      <a:pt x="265" y="150"/>
                    </a:lnTo>
                    <a:lnTo>
                      <a:pt x="263" y="150"/>
                    </a:lnTo>
                    <a:lnTo>
                      <a:pt x="261" y="150"/>
                    </a:lnTo>
                    <a:lnTo>
                      <a:pt x="261" y="151"/>
                    </a:lnTo>
                    <a:lnTo>
                      <a:pt x="259" y="151"/>
                    </a:lnTo>
                    <a:lnTo>
                      <a:pt x="259" y="153"/>
                    </a:lnTo>
                    <a:lnTo>
                      <a:pt x="259" y="155"/>
                    </a:lnTo>
                    <a:lnTo>
                      <a:pt x="259" y="153"/>
                    </a:lnTo>
                    <a:lnTo>
                      <a:pt x="259" y="155"/>
                    </a:lnTo>
                    <a:lnTo>
                      <a:pt x="258" y="155"/>
                    </a:lnTo>
                    <a:lnTo>
                      <a:pt x="256" y="157"/>
                    </a:lnTo>
                    <a:lnTo>
                      <a:pt x="252" y="155"/>
                    </a:lnTo>
                    <a:lnTo>
                      <a:pt x="250" y="155"/>
                    </a:lnTo>
                    <a:lnTo>
                      <a:pt x="248" y="155"/>
                    </a:lnTo>
                    <a:lnTo>
                      <a:pt x="250" y="155"/>
                    </a:lnTo>
                    <a:lnTo>
                      <a:pt x="252" y="155"/>
                    </a:lnTo>
                    <a:lnTo>
                      <a:pt x="250" y="155"/>
                    </a:lnTo>
                    <a:lnTo>
                      <a:pt x="248" y="155"/>
                    </a:lnTo>
                    <a:lnTo>
                      <a:pt x="246" y="155"/>
                    </a:lnTo>
                    <a:lnTo>
                      <a:pt x="244" y="155"/>
                    </a:lnTo>
                    <a:lnTo>
                      <a:pt x="246" y="155"/>
                    </a:lnTo>
                    <a:lnTo>
                      <a:pt x="244" y="155"/>
                    </a:lnTo>
                    <a:lnTo>
                      <a:pt x="246" y="155"/>
                    </a:lnTo>
                    <a:lnTo>
                      <a:pt x="248" y="153"/>
                    </a:lnTo>
                    <a:lnTo>
                      <a:pt x="250" y="153"/>
                    </a:lnTo>
                    <a:lnTo>
                      <a:pt x="250" y="151"/>
                    </a:lnTo>
                    <a:lnTo>
                      <a:pt x="252" y="151"/>
                    </a:lnTo>
                    <a:lnTo>
                      <a:pt x="254" y="151"/>
                    </a:lnTo>
                    <a:lnTo>
                      <a:pt x="256" y="151"/>
                    </a:lnTo>
                    <a:lnTo>
                      <a:pt x="258" y="150"/>
                    </a:lnTo>
                    <a:lnTo>
                      <a:pt x="258" y="148"/>
                    </a:lnTo>
                    <a:lnTo>
                      <a:pt x="258" y="146"/>
                    </a:lnTo>
                    <a:lnTo>
                      <a:pt x="259" y="146"/>
                    </a:lnTo>
                    <a:lnTo>
                      <a:pt x="259" y="148"/>
                    </a:lnTo>
                    <a:lnTo>
                      <a:pt x="259" y="146"/>
                    </a:lnTo>
                    <a:lnTo>
                      <a:pt x="261" y="144"/>
                    </a:lnTo>
                    <a:lnTo>
                      <a:pt x="263" y="144"/>
                    </a:lnTo>
                    <a:lnTo>
                      <a:pt x="265" y="144"/>
                    </a:lnTo>
                    <a:lnTo>
                      <a:pt x="263" y="146"/>
                    </a:lnTo>
                    <a:lnTo>
                      <a:pt x="265" y="144"/>
                    </a:lnTo>
                    <a:lnTo>
                      <a:pt x="265" y="146"/>
                    </a:lnTo>
                    <a:lnTo>
                      <a:pt x="267" y="144"/>
                    </a:lnTo>
                    <a:lnTo>
                      <a:pt x="267" y="146"/>
                    </a:lnTo>
                    <a:lnTo>
                      <a:pt x="267" y="144"/>
                    </a:lnTo>
                    <a:lnTo>
                      <a:pt x="269" y="144"/>
                    </a:lnTo>
                    <a:lnTo>
                      <a:pt x="271" y="144"/>
                    </a:lnTo>
                    <a:lnTo>
                      <a:pt x="269" y="144"/>
                    </a:lnTo>
                    <a:lnTo>
                      <a:pt x="267" y="144"/>
                    </a:lnTo>
                    <a:lnTo>
                      <a:pt x="267" y="146"/>
                    </a:lnTo>
                    <a:lnTo>
                      <a:pt x="269" y="146"/>
                    </a:lnTo>
                    <a:lnTo>
                      <a:pt x="267" y="146"/>
                    </a:lnTo>
                    <a:lnTo>
                      <a:pt x="269" y="146"/>
                    </a:lnTo>
                    <a:lnTo>
                      <a:pt x="267" y="146"/>
                    </a:lnTo>
                    <a:lnTo>
                      <a:pt x="267" y="144"/>
                    </a:lnTo>
                    <a:lnTo>
                      <a:pt x="269" y="144"/>
                    </a:lnTo>
                    <a:lnTo>
                      <a:pt x="271" y="144"/>
                    </a:lnTo>
                    <a:lnTo>
                      <a:pt x="269" y="144"/>
                    </a:lnTo>
                    <a:lnTo>
                      <a:pt x="269" y="146"/>
                    </a:lnTo>
                    <a:lnTo>
                      <a:pt x="267" y="148"/>
                    </a:lnTo>
                    <a:lnTo>
                      <a:pt x="269" y="146"/>
                    </a:lnTo>
                    <a:lnTo>
                      <a:pt x="269" y="148"/>
                    </a:lnTo>
                    <a:lnTo>
                      <a:pt x="267" y="148"/>
                    </a:lnTo>
                    <a:lnTo>
                      <a:pt x="267" y="150"/>
                    </a:lnTo>
                    <a:lnTo>
                      <a:pt x="265" y="150"/>
                    </a:lnTo>
                    <a:lnTo>
                      <a:pt x="265" y="151"/>
                    </a:lnTo>
                    <a:lnTo>
                      <a:pt x="265" y="150"/>
                    </a:lnTo>
                    <a:lnTo>
                      <a:pt x="267" y="150"/>
                    </a:lnTo>
                    <a:lnTo>
                      <a:pt x="267" y="148"/>
                    </a:lnTo>
                    <a:lnTo>
                      <a:pt x="269" y="148"/>
                    </a:lnTo>
                    <a:lnTo>
                      <a:pt x="269" y="146"/>
                    </a:lnTo>
                    <a:lnTo>
                      <a:pt x="269" y="144"/>
                    </a:lnTo>
                    <a:lnTo>
                      <a:pt x="269" y="146"/>
                    </a:lnTo>
                    <a:lnTo>
                      <a:pt x="269" y="148"/>
                    </a:lnTo>
                    <a:lnTo>
                      <a:pt x="269" y="146"/>
                    </a:lnTo>
                    <a:lnTo>
                      <a:pt x="269" y="144"/>
                    </a:lnTo>
                    <a:lnTo>
                      <a:pt x="271" y="144"/>
                    </a:lnTo>
                    <a:lnTo>
                      <a:pt x="271" y="146"/>
                    </a:lnTo>
                    <a:lnTo>
                      <a:pt x="269" y="146"/>
                    </a:lnTo>
                    <a:lnTo>
                      <a:pt x="271" y="146"/>
                    </a:lnTo>
                    <a:lnTo>
                      <a:pt x="271" y="148"/>
                    </a:lnTo>
                    <a:lnTo>
                      <a:pt x="271" y="146"/>
                    </a:lnTo>
                    <a:lnTo>
                      <a:pt x="269" y="146"/>
                    </a:lnTo>
                    <a:lnTo>
                      <a:pt x="271" y="146"/>
                    </a:lnTo>
                    <a:lnTo>
                      <a:pt x="271" y="144"/>
                    </a:lnTo>
                    <a:lnTo>
                      <a:pt x="271" y="146"/>
                    </a:lnTo>
                    <a:lnTo>
                      <a:pt x="271" y="144"/>
                    </a:lnTo>
                    <a:lnTo>
                      <a:pt x="273" y="144"/>
                    </a:lnTo>
                    <a:lnTo>
                      <a:pt x="271" y="144"/>
                    </a:lnTo>
                    <a:lnTo>
                      <a:pt x="273" y="144"/>
                    </a:lnTo>
                    <a:lnTo>
                      <a:pt x="273" y="146"/>
                    </a:lnTo>
                    <a:lnTo>
                      <a:pt x="271" y="146"/>
                    </a:lnTo>
                    <a:lnTo>
                      <a:pt x="271" y="148"/>
                    </a:lnTo>
                    <a:close/>
                    <a:moveTo>
                      <a:pt x="267" y="148"/>
                    </a:moveTo>
                    <a:lnTo>
                      <a:pt x="267" y="150"/>
                    </a:lnTo>
                    <a:lnTo>
                      <a:pt x="267" y="148"/>
                    </a:lnTo>
                    <a:close/>
                    <a:moveTo>
                      <a:pt x="263" y="146"/>
                    </a:moveTo>
                    <a:lnTo>
                      <a:pt x="261" y="144"/>
                    </a:lnTo>
                    <a:lnTo>
                      <a:pt x="263" y="146"/>
                    </a:lnTo>
                    <a:lnTo>
                      <a:pt x="261" y="146"/>
                    </a:lnTo>
                    <a:lnTo>
                      <a:pt x="261" y="148"/>
                    </a:lnTo>
                    <a:lnTo>
                      <a:pt x="263" y="148"/>
                    </a:lnTo>
                    <a:lnTo>
                      <a:pt x="261" y="148"/>
                    </a:lnTo>
                    <a:lnTo>
                      <a:pt x="261" y="146"/>
                    </a:lnTo>
                    <a:lnTo>
                      <a:pt x="263" y="146"/>
                    </a:lnTo>
                    <a:close/>
                    <a:moveTo>
                      <a:pt x="261" y="148"/>
                    </a:moveTo>
                    <a:lnTo>
                      <a:pt x="263" y="148"/>
                    </a:lnTo>
                    <a:lnTo>
                      <a:pt x="261" y="148"/>
                    </a:lnTo>
                    <a:close/>
                    <a:moveTo>
                      <a:pt x="261" y="148"/>
                    </a:moveTo>
                    <a:lnTo>
                      <a:pt x="259" y="148"/>
                    </a:lnTo>
                    <a:lnTo>
                      <a:pt x="261" y="148"/>
                    </a:lnTo>
                    <a:close/>
                    <a:moveTo>
                      <a:pt x="252" y="153"/>
                    </a:moveTo>
                    <a:lnTo>
                      <a:pt x="250" y="153"/>
                    </a:lnTo>
                    <a:lnTo>
                      <a:pt x="252" y="153"/>
                    </a:lnTo>
                    <a:lnTo>
                      <a:pt x="254" y="153"/>
                    </a:lnTo>
                    <a:lnTo>
                      <a:pt x="254" y="151"/>
                    </a:lnTo>
                    <a:lnTo>
                      <a:pt x="252" y="153"/>
                    </a:lnTo>
                    <a:close/>
                    <a:moveTo>
                      <a:pt x="259" y="155"/>
                    </a:moveTo>
                    <a:lnTo>
                      <a:pt x="258" y="155"/>
                    </a:lnTo>
                    <a:lnTo>
                      <a:pt x="259" y="155"/>
                    </a:lnTo>
                    <a:close/>
                    <a:moveTo>
                      <a:pt x="258" y="144"/>
                    </a:moveTo>
                    <a:lnTo>
                      <a:pt x="258" y="142"/>
                    </a:lnTo>
                    <a:lnTo>
                      <a:pt x="258" y="144"/>
                    </a:lnTo>
                    <a:lnTo>
                      <a:pt x="258" y="142"/>
                    </a:lnTo>
                    <a:lnTo>
                      <a:pt x="258" y="144"/>
                    </a:lnTo>
                    <a:lnTo>
                      <a:pt x="258" y="146"/>
                    </a:lnTo>
                    <a:lnTo>
                      <a:pt x="256" y="146"/>
                    </a:lnTo>
                    <a:lnTo>
                      <a:pt x="258" y="146"/>
                    </a:lnTo>
                    <a:lnTo>
                      <a:pt x="258" y="144"/>
                    </a:lnTo>
                    <a:lnTo>
                      <a:pt x="259" y="144"/>
                    </a:lnTo>
                    <a:lnTo>
                      <a:pt x="258" y="144"/>
                    </a:lnTo>
                    <a:lnTo>
                      <a:pt x="259" y="146"/>
                    </a:lnTo>
                    <a:lnTo>
                      <a:pt x="258" y="146"/>
                    </a:lnTo>
                    <a:lnTo>
                      <a:pt x="258" y="148"/>
                    </a:lnTo>
                    <a:lnTo>
                      <a:pt x="256" y="148"/>
                    </a:lnTo>
                    <a:lnTo>
                      <a:pt x="258" y="148"/>
                    </a:lnTo>
                    <a:lnTo>
                      <a:pt x="258" y="150"/>
                    </a:lnTo>
                    <a:lnTo>
                      <a:pt x="256" y="150"/>
                    </a:lnTo>
                    <a:lnTo>
                      <a:pt x="254" y="150"/>
                    </a:lnTo>
                    <a:lnTo>
                      <a:pt x="254" y="151"/>
                    </a:lnTo>
                    <a:lnTo>
                      <a:pt x="252" y="151"/>
                    </a:lnTo>
                    <a:lnTo>
                      <a:pt x="250" y="151"/>
                    </a:lnTo>
                    <a:lnTo>
                      <a:pt x="250" y="150"/>
                    </a:lnTo>
                    <a:lnTo>
                      <a:pt x="250" y="148"/>
                    </a:lnTo>
                    <a:lnTo>
                      <a:pt x="252" y="148"/>
                    </a:lnTo>
                    <a:lnTo>
                      <a:pt x="252" y="146"/>
                    </a:lnTo>
                    <a:lnTo>
                      <a:pt x="252" y="148"/>
                    </a:lnTo>
                    <a:lnTo>
                      <a:pt x="252" y="146"/>
                    </a:lnTo>
                    <a:lnTo>
                      <a:pt x="254" y="146"/>
                    </a:lnTo>
                    <a:lnTo>
                      <a:pt x="252" y="146"/>
                    </a:lnTo>
                    <a:lnTo>
                      <a:pt x="252" y="148"/>
                    </a:lnTo>
                    <a:lnTo>
                      <a:pt x="252" y="146"/>
                    </a:lnTo>
                    <a:lnTo>
                      <a:pt x="252" y="148"/>
                    </a:lnTo>
                    <a:lnTo>
                      <a:pt x="250" y="148"/>
                    </a:lnTo>
                    <a:lnTo>
                      <a:pt x="248" y="148"/>
                    </a:lnTo>
                    <a:lnTo>
                      <a:pt x="248" y="146"/>
                    </a:lnTo>
                    <a:lnTo>
                      <a:pt x="250" y="146"/>
                    </a:lnTo>
                    <a:lnTo>
                      <a:pt x="248" y="146"/>
                    </a:lnTo>
                    <a:lnTo>
                      <a:pt x="248" y="148"/>
                    </a:lnTo>
                    <a:lnTo>
                      <a:pt x="250" y="148"/>
                    </a:lnTo>
                    <a:lnTo>
                      <a:pt x="250" y="150"/>
                    </a:lnTo>
                    <a:lnTo>
                      <a:pt x="250" y="151"/>
                    </a:lnTo>
                    <a:lnTo>
                      <a:pt x="248" y="151"/>
                    </a:lnTo>
                    <a:lnTo>
                      <a:pt x="248" y="153"/>
                    </a:lnTo>
                    <a:lnTo>
                      <a:pt x="246" y="155"/>
                    </a:lnTo>
                    <a:lnTo>
                      <a:pt x="244" y="153"/>
                    </a:lnTo>
                    <a:lnTo>
                      <a:pt x="246" y="153"/>
                    </a:lnTo>
                    <a:lnTo>
                      <a:pt x="246" y="151"/>
                    </a:lnTo>
                    <a:lnTo>
                      <a:pt x="244" y="151"/>
                    </a:lnTo>
                    <a:lnTo>
                      <a:pt x="244" y="150"/>
                    </a:lnTo>
                    <a:lnTo>
                      <a:pt x="242" y="150"/>
                    </a:lnTo>
                    <a:lnTo>
                      <a:pt x="242" y="148"/>
                    </a:lnTo>
                    <a:lnTo>
                      <a:pt x="244" y="148"/>
                    </a:lnTo>
                    <a:lnTo>
                      <a:pt x="244" y="146"/>
                    </a:lnTo>
                    <a:lnTo>
                      <a:pt x="244" y="144"/>
                    </a:lnTo>
                    <a:lnTo>
                      <a:pt x="244" y="146"/>
                    </a:lnTo>
                    <a:lnTo>
                      <a:pt x="244" y="144"/>
                    </a:lnTo>
                    <a:lnTo>
                      <a:pt x="244" y="142"/>
                    </a:lnTo>
                    <a:lnTo>
                      <a:pt x="246" y="142"/>
                    </a:lnTo>
                    <a:lnTo>
                      <a:pt x="244" y="142"/>
                    </a:lnTo>
                    <a:lnTo>
                      <a:pt x="244" y="144"/>
                    </a:lnTo>
                    <a:lnTo>
                      <a:pt x="244" y="142"/>
                    </a:lnTo>
                    <a:lnTo>
                      <a:pt x="246" y="142"/>
                    </a:lnTo>
                    <a:lnTo>
                      <a:pt x="246" y="140"/>
                    </a:lnTo>
                    <a:lnTo>
                      <a:pt x="246" y="142"/>
                    </a:lnTo>
                    <a:lnTo>
                      <a:pt x="246" y="140"/>
                    </a:lnTo>
                    <a:lnTo>
                      <a:pt x="248" y="140"/>
                    </a:lnTo>
                    <a:lnTo>
                      <a:pt x="250" y="140"/>
                    </a:lnTo>
                    <a:lnTo>
                      <a:pt x="248" y="140"/>
                    </a:lnTo>
                    <a:lnTo>
                      <a:pt x="250" y="140"/>
                    </a:lnTo>
                    <a:lnTo>
                      <a:pt x="248" y="140"/>
                    </a:lnTo>
                    <a:lnTo>
                      <a:pt x="250" y="140"/>
                    </a:lnTo>
                    <a:lnTo>
                      <a:pt x="248" y="140"/>
                    </a:lnTo>
                    <a:lnTo>
                      <a:pt x="250" y="140"/>
                    </a:lnTo>
                    <a:lnTo>
                      <a:pt x="252" y="138"/>
                    </a:lnTo>
                    <a:lnTo>
                      <a:pt x="252" y="140"/>
                    </a:lnTo>
                    <a:lnTo>
                      <a:pt x="252" y="138"/>
                    </a:lnTo>
                    <a:lnTo>
                      <a:pt x="252" y="140"/>
                    </a:lnTo>
                    <a:lnTo>
                      <a:pt x="250" y="140"/>
                    </a:lnTo>
                    <a:lnTo>
                      <a:pt x="252" y="140"/>
                    </a:lnTo>
                    <a:lnTo>
                      <a:pt x="252" y="138"/>
                    </a:lnTo>
                    <a:lnTo>
                      <a:pt x="252" y="140"/>
                    </a:lnTo>
                    <a:lnTo>
                      <a:pt x="250" y="140"/>
                    </a:lnTo>
                    <a:lnTo>
                      <a:pt x="250" y="142"/>
                    </a:lnTo>
                    <a:lnTo>
                      <a:pt x="248" y="142"/>
                    </a:lnTo>
                    <a:lnTo>
                      <a:pt x="250" y="142"/>
                    </a:lnTo>
                    <a:lnTo>
                      <a:pt x="248" y="142"/>
                    </a:lnTo>
                    <a:lnTo>
                      <a:pt x="250" y="142"/>
                    </a:lnTo>
                    <a:lnTo>
                      <a:pt x="248" y="144"/>
                    </a:lnTo>
                    <a:lnTo>
                      <a:pt x="250" y="144"/>
                    </a:lnTo>
                    <a:lnTo>
                      <a:pt x="250" y="142"/>
                    </a:lnTo>
                    <a:lnTo>
                      <a:pt x="250" y="140"/>
                    </a:lnTo>
                    <a:lnTo>
                      <a:pt x="252" y="140"/>
                    </a:lnTo>
                    <a:lnTo>
                      <a:pt x="254" y="140"/>
                    </a:lnTo>
                    <a:lnTo>
                      <a:pt x="252" y="140"/>
                    </a:lnTo>
                    <a:lnTo>
                      <a:pt x="252" y="138"/>
                    </a:lnTo>
                    <a:lnTo>
                      <a:pt x="252" y="136"/>
                    </a:lnTo>
                    <a:lnTo>
                      <a:pt x="254" y="136"/>
                    </a:lnTo>
                    <a:lnTo>
                      <a:pt x="256" y="136"/>
                    </a:lnTo>
                    <a:lnTo>
                      <a:pt x="254" y="136"/>
                    </a:lnTo>
                    <a:lnTo>
                      <a:pt x="256" y="136"/>
                    </a:lnTo>
                    <a:lnTo>
                      <a:pt x="254" y="136"/>
                    </a:lnTo>
                    <a:lnTo>
                      <a:pt x="256" y="136"/>
                    </a:lnTo>
                    <a:lnTo>
                      <a:pt x="258" y="136"/>
                    </a:lnTo>
                    <a:lnTo>
                      <a:pt x="258" y="138"/>
                    </a:lnTo>
                    <a:lnTo>
                      <a:pt x="256" y="138"/>
                    </a:lnTo>
                    <a:lnTo>
                      <a:pt x="258" y="138"/>
                    </a:lnTo>
                    <a:lnTo>
                      <a:pt x="258" y="136"/>
                    </a:lnTo>
                    <a:lnTo>
                      <a:pt x="258" y="138"/>
                    </a:lnTo>
                    <a:lnTo>
                      <a:pt x="258" y="136"/>
                    </a:lnTo>
                    <a:lnTo>
                      <a:pt x="258" y="138"/>
                    </a:lnTo>
                    <a:lnTo>
                      <a:pt x="258" y="136"/>
                    </a:lnTo>
                    <a:lnTo>
                      <a:pt x="259" y="136"/>
                    </a:lnTo>
                    <a:lnTo>
                      <a:pt x="259" y="138"/>
                    </a:lnTo>
                    <a:lnTo>
                      <a:pt x="258" y="138"/>
                    </a:lnTo>
                    <a:lnTo>
                      <a:pt x="258" y="140"/>
                    </a:lnTo>
                    <a:lnTo>
                      <a:pt x="258" y="138"/>
                    </a:lnTo>
                    <a:lnTo>
                      <a:pt x="258" y="140"/>
                    </a:lnTo>
                    <a:lnTo>
                      <a:pt x="258" y="138"/>
                    </a:lnTo>
                    <a:lnTo>
                      <a:pt x="258" y="140"/>
                    </a:lnTo>
                    <a:lnTo>
                      <a:pt x="258" y="142"/>
                    </a:lnTo>
                    <a:lnTo>
                      <a:pt x="258" y="144"/>
                    </a:lnTo>
                    <a:close/>
                    <a:moveTo>
                      <a:pt x="254" y="140"/>
                    </a:moveTo>
                    <a:lnTo>
                      <a:pt x="254" y="142"/>
                    </a:lnTo>
                    <a:lnTo>
                      <a:pt x="254" y="140"/>
                    </a:lnTo>
                    <a:close/>
                    <a:moveTo>
                      <a:pt x="256" y="140"/>
                    </a:moveTo>
                    <a:lnTo>
                      <a:pt x="254" y="140"/>
                    </a:lnTo>
                    <a:lnTo>
                      <a:pt x="256" y="140"/>
                    </a:lnTo>
                    <a:close/>
                    <a:moveTo>
                      <a:pt x="256" y="140"/>
                    </a:moveTo>
                    <a:lnTo>
                      <a:pt x="256" y="138"/>
                    </a:lnTo>
                    <a:lnTo>
                      <a:pt x="256" y="140"/>
                    </a:lnTo>
                    <a:lnTo>
                      <a:pt x="256" y="138"/>
                    </a:lnTo>
                    <a:lnTo>
                      <a:pt x="256" y="140"/>
                    </a:lnTo>
                    <a:close/>
                    <a:moveTo>
                      <a:pt x="258" y="138"/>
                    </a:moveTo>
                    <a:lnTo>
                      <a:pt x="258" y="140"/>
                    </a:lnTo>
                    <a:lnTo>
                      <a:pt x="258" y="138"/>
                    </a:lnTo>
                    <a:close/>
                    <a:moveTo>
                      <a:pt x="254" y="144"/>
                    </a:moveTo>
                    <a:lnTo>
                      <a:pt x="254" y="142"/>
                    </a:lnTo>
                    <a:lnTo>
                      <a:pt x="254" y="144"/>
                    </a:lnTo>
                    <a:close/>
                    <a:moveTo>
                      <a:pt x="248" y="146"/>
                    </a:moveTo>
                    <a:lnTo>
                      <a:pt x="250" y="146"/>
                    </a:lnTo>
                    <a:lnTo>
                      <a:pt x="252" y="144"/>
                    </a:lnTo>
                    <a:lnTo>
                      <a:pt x="254" y="144"/>
                    </a:lnTo>
                    <a:lnTo>
                      <a:pt x="252" y="144"/>
                    </a:lnTo>
                    <a:lnTo>
                      <a:pt x="250" y="146"/>
                    </a:lnTo>
                    <a:lnTo>
                      <a:pt x="248" y="146"/>
                    </a:lnTo>
                    <a:close/>
                    <a:moveTo>
                      <a:pt x="256" y="146"/>
                    </a:moveTo>
                    <a:lnTo>
                      <a:pt x="254" y="146"/>
                    </a:lnTo>
                    <a:lnTo>
                      <a:pt x="256" y="146"/>
                    </a:lnTo>
                    <a:close/>
                    <a:moveTo>
                      <a:pt x="248" y="148"/>
                    </a:moveTo>
                    <a:lnTo>
                      <a:pt x="250" y="148"/>
                    </a:lnTo>
                    <a:lnTo>
                      <a:pt x="248" y="148"/>
                    </a:lnTo>
                    <a:lnTo>
                      <a:pt x="248" y="146"/>
                    </a:lnTo>
                    <a:lnTo>
                      <a:pt x="248" y="148"/>
                    </a:lnTo>
                    <a:close/>
                    <a:moveTo>
                      <a:pt x="244" y="146"/>
                    </a:moveTo>
                    <a:lnTo>
                      <a:pt x="246" y="146"/>
                    </a:lnTo>
                    <a:lnTo>
                      <a:pt x="244" y="146"/>
                    </a:lnTo>
                    <a:close/>
                    <a:moveTo>
                      <a:pt x="246" y="148"/>
                    </a:moveTo>
                    <a:lnTo>
                      <a:pt x="244" y="148"/>
                    </a:lnTo>
                    <a:lnTo>
                      <a:pt x="244" y="150"/>
                    </a:lnTo>
                    <a:lnTo>
                      <a:pt x="244" y="148"/>
                    </a:lnTo>
                    <a:lnTo>
                      <a:pt x="246" y="148"/>
                    </a:lnTo>
                    <a:close/>
                    <a:moveTo>
                      <a:pt x="246" y="148"/>
                    </a:moveTo>
                    <a:lnTo>
                      <a:pt x="244" y="148"/>
                    </a:lnTo>
                    <a:lnTo>
                      <a:pt x="246" y="150"/>
                    </a:lnTo>
                    <a:lnTo>
                      <a:pt x="244" y="150"/>
                    </a:lnTo>
                    <a:lnTo>
                      <a:pt x="246" y="150"/>
                    </a:lnTo>
                    <a:lnTo>
                      <a:pt x="246" y="148"/>
                    </a:lnTo>
                    <a:close/>
                    <a:moveTo>
                      <a:pt x="248" y="151"/>
                    </a:moveTo>
                    <a:lnTo>
                      <a:pt x="248" y="153"/>
                    </a:lnTo>
                    <a:lnTo>
                      <a:pt x="246" y="153"/>
                    </a:lnTo>
                    <a:lnTo>
                      <a:pt x="248" y="153"/>
                    </a:lnTo>
                    <a:lnTo>
                      <a:pt x="248" y="151"/>
                    </a:lnTo>
                    <a:lnTo>
                      <a:pt x="250" y="151"/>
                    </a:lnTo>
                    <a:lnTo>
                      <a:pt x="250" y="150"/>
                    </a:lnTo>
                    <a:lnTo>
                      <a:pt x="250" y="151"/>
                    </a:lnTo>
                    <a:lnTo>
                      <a:pt x="248" y="151"/>
                    </a:lnTo>
                    <a:close/>
                    <a:moveTo>
                      <a:pt x="265" y="142"/>
                    </a:moveTo>
                    <a:lnTo>
                      <a:pt x="267" y="142"/>
                    </a:lnTo>
                    <a:lnTo>
                      <a:pt x="265" y="142"/>
                    </a:lnTo>
                    <a:lnTo>
                      <a:pt x="265" y="144"/>
                    </a:lnTo>
                    <a:lnTo>
                      <a:pt x="267" y="144"/>
                    </a:lnTo>
                    <a:lnTo>
                      <a:pt x="267" y="142"/>
                    </a:lnTo>
                    <a:lnTo>
                      <a:pt x="267" y="144"/>
                    </a:lnTo>
                    <a:lnTo>
                      <a:pt x="267" y="142"/>
                    </a:lnTo>
                    <a:lnTo>
                      <a:pt x="267" y="144"/>
                    </a:lnTo>
                    <a:lnTo>
                      <a:pt x="267" y="142"/>
                    </a:lnTo>
                    <a:lnTo>
                      <a:pt x="267" y="144"/>
                    </a:lnTo>
                    <a:lnTo>
                      <a:pt x="265" y="144"/>
                    </a:lnTo>
                    <a:lnTo>
                      <a:pt x="263" y="144"/>
                    </a:lnTo>
                    <a:lnTo>
                      <a:pt x="261" y="144"/>
                    </a:lnTo>
                    <a:lnTo>
                      <a:pt x="261" y="142"/>
                    </a:lnTo>
                    <a:lnTo>
                      <a:pt x="263" y="142"/>
                    </a:lnTo>
                    <a:lnTo>
                      <a:pt x="261" y="142"/>
                    </a:lnTo>
                    <a:lnTo>
                      <a:pt x="261" y="140"/>
                    </a:lnTo>
                    <a:lnTo>
                      <a:pt x="263" y="140"/>
                    </a:lnTo>
                    <a:lnTo>
                      <a:pt x="265" y="140"/>
                    </a:lnTo>
                    <a:lnTo>
                      <a:pt x="265" y="142"/>
                    </a:lnTo>
                    <a:lnTo>
                      <a:pt x="263" y="142"/>
                    </a:lnTo>
                    <a:lnTo>
                      <a:pt x="265" y="142"/>
                    </a:lnTo>
                    <a:lnTo>
                      <a:pt x="265" y="140"/>
                    </a:lnTo>
                    <a:lnTo>
                      <a:pt x="267" y="140"/>
                    </a:lnTo>
                    <a:lnTo>
                      <a:pt x="265" y="140"/>
                    </a:lnTo>
                    <a:lnTo>
                      <a:pt x="267" y="142"/>
                    </a:lnTo>
                    <a:lnTo>
                      <a:pt x="265" y="142"/>
                    </a:lnTo>
                    <a:close/>
                    <a:moveTo>
                      <a:pt x="261" y="140"/>
                    </a:moveTo>
                    <a:lnTo>
                      <a:pt x="259" y="140"/>
                    </a:lnTo>
                    <a:lnTo>
                      <a:pt x="261" y="140"/>
                    </a:lnTo>
                    <a:lnTo>
                      <a:pt x="261" y="138"/>
                    </a:lnTo>
                    <a:lnTo>
                      <a:pt x="261" y="140"/>
                    </a:lnTo>
                    <a:lnTo>
                      <a:pt x="261" y="138"/>
                    </a:lnTo>
                    <a:lnTo>
                      <a:pt x="263" y="140"/>
                    </a:lnTo>
                    <a:lnTo>
                      <a:pt x="263" y="138"/>
                    </a:lnTo>
                    <a:lnTo>
                      <a:pt x="263" y="140"/>
                    </a:lnTo>
                    <a:lnTo>
                      <a:pt x="261" y="140"/>
                    </a:lnTo>
                    <a:lnTo>
                      <a:pt x="259" y="142"/>
                    </a:lnTo>
                    <a:lnTo>
                      <a:pt x="261" y="142"/>
                    </a:lnTo>
                    <a:lnTo>
                      <a:pt x="261" y="144"/>
                    </a:lnTo>
                    <a:lnTo>
                      <a:pt x="261" y="142"/>
                    </a:lnTo>
                    <a:lnTo>
                      <a:pt x="261" y="144"/>
                    </a:lnTo>
                    <a:lnTo>
                      <a:pt x="259" y="146"/>
                    </a:lnTo>
                    <a:lnTo>
                      <a:pt x="259" y="144"/>
                    </a:lnTo>
                    <a:lnTo>
                      <a:pt x="258" y="144"/>
                    </a:lnTo>
                    <a:lnTo>
                      <a:pt x="258" y="142"/>
                    </a:lnTo>
                    <a:lnTo>
                      <a:pt x="259" y="140"/>
                    </a:lnTo>
                    <a:lnTo>
                      <a:pt x="261" y="140"/>
                    </a:lnTo>
                    <a:lnTo>
                      <a:pt x="261" y="138"/>
                    </a:lnTo>
                    <a:lnTo>
                      <a:pt x="261" y="140"/>
                    </a:lnTo>
                    <a:close/>
                    <a:moveTo>
                      <a:pt x="261" y="138"/>
                    </a:moveTo>
                    <a:lnTo>
                      <a:pt x="259" y="140"/>
                    </a:lnTo>
                    <a:lnTo>
                      <a:pt x="259" y="138"/>
                    </a:lnTo>
                    <a:lnTo>
                      <a:pt x="259" y="136"/>
                    </a:lnTo>
                    <a:lnTo>
                      <a:pt x="259" y="138"/>
                    </a:lnTo>
                    <a:lnTo>
                      <a:pt x="261" y="138"/>
                    </a:lnTo>
                    <a:close/>
                    <a:moveTo>
                      <a:pt x="267" y="140"/>
                    </a:moveTo>
                    <a:lnTo>
                      <a:pt x="269" y="140"/>
                    </a:lnTo>
                    <a:lnTo>
                      <a:pt x="267" y="140"/>
                    </a:lnTo>
                    <a:lnTo>
                      <a:pt x="269" y="140"/>
                    </a:lnTo>
                    <a:lnTo>
                      <a:pt x="267" y="142"/>
                    </a:lnTo>
                    <a:lnTo>
                      <a:pt x="267" y="140"/>
                    </a:lnTo>
                    <a:close/>
                    <a:moveTo>
                      <a:pt x="279" y="142"/>
                    </a:moveTo>
                    <a:lnTo>
                      <a:pt x="281" y="142"/>
                    </a:lnTo>
                    <a:lnTo>
                      <a:pt x="279" y="144"/>
                    </a:lnTo>
                    <a:lnTo>
                      <a:pt x="277" y="144"/>
                    </a:lnTo>
                    <a:lnTo>
                      <a:pt x="279" y="144"/>
                    </a:lnTo>
                    <a:lnTo>
                      <a:pt x="277" y="146"/>
                    </a:lnTo>
                    <a:lnTo>
                      <a:pt x="277" y="144"/>
                    </a:lnTo>
                    <a:lnTo>
                      <a:pt x="275" y="144"/>
                    </a:lnTo>
                    <a:lnTo>
                      <a:pt x="275" y="142"/>
                    </a:lnTo>
                    <a:lnTo>
                      <a:pt x="277" y="142"/>
                    </a:lnTo>
                    <a:lnTo>
                      <a:pt x="275" y="144"/>
                    </a:lnTo>
                    <a:lnTo>
                      <a:pt x="277" y="142"/>
                    </a:lnTo>
                    <a:lnTo>
                      <a:pt x="279" y="142"/>
                    </a:lnTo>
                    <a:lnTo>
                      <a:pt x="281" y="142"/>
                    </a:lnTo>
                    <a:lnTo>
                      <a:pt x="279" y="142"/>
                    </a:lnTo>
                    <a:close/>
                    <a:moveTo>
                      <a:pt x="279" y="142"/>
                    </a:moveTo>
                    <a:lnTo>
                      <a:pt x="277" y="142"/>
                    </a:lnTo>
                    <a:lnTo>
                      <a:pt x="279" y="142"/>
                    </a:lnTo>
                    <a:lnTo>
                      <a:pt x="279" y="140"/>
                    </a:lnTo>
                    <a:lnTo>
                      <a:pt x="281" y="140"/>
                    </a:lnTo>
                    <a:lnTo>
                      <a:pt x="281" y="142"/>
                    </a:lnTo>
                    <a:lnTo>
                      <a:pt x="281" y="140"/>
                    </a:lnTo>
                    <a:lnTo>
                      <a:pt x="281" y="142"/>
                    </a:lnTo>
                    <a:lnTo>
                      <a:pt x="279" y="142"/>
                    </a:lnTo>
                    <a:lnTo>
                      <a:pt x="281" y="142"/>
                    </a:lnTo>
                    <a:lnTo>
                      <a:pt x="279" y="142"/>
                    </a:lnTo>
                    <a:close/>
                    <a:moveTo>
                      <a:pt x="238" y="113"/>
                    </a:moveTo>
                    <a:lnTo>
                      <a:pt x="240" y="113"/>
                    </a:lnTo>
                    <a:lnTo>
                      <a:pt x="238" y="113"/>
                    </a:lnTo>
                    <a:close/>
                    <a:moveTo>
                      <a:pt x="394" y="171"/>
                    </a:moveTo>
                    <a:lnTo>
                      <a:pt x="396" y="171"/>
                    </a:lnTo>
                    <a:lnTo>
                      <a:pt x="394" y="171"/>
                    </a:lnTo>
                    <a:close/>
                    <a:moveTo>
                      <a:pt x="396" y="171"/>
                    </a:moveTo>
                    <a:lnTo>
                      <a:pt x="396" y="169"/>
                    </a:lnTo>
                    <a:lnTo>
                      <a:pt x="396" y="171"/>
                    </a:lnTo>
                    <a:lnTo>
                      <a:pt x="396" y="169"/>
                    </a:lnTo>
                    <a:lnTo>
                      <a:pt x="396" y="171"/>
                    </a:lnTo>
                    <a:lnTo>
                      <a:pt x="394" y="171"/>
                    </a:lnTo>
                    <a:lnTo>
                      <a:pt x="396" y="171"/>
                    </a:lnTo>
                    <a:lnTo>
                      <a:pt x="394" y="171"/>
                    </a:lnTo>
                    <a:lnTo>
                      <a:pt x="396" y="169"/>
                    </a:lnTo>
                    <a:lnTo>
                      <a:pt x="396" y="171"/>
                    </a:lnTo>
                    <a:close/>
                    <a:moveTo>
                      <a:pt x="325" y="140"/>
                    </a:moveTo>
                    <a:lnTo>
                      <a:pt x="327" y="140"/>
                    </a:lnTo>
                    <a:lnTo>
                      <a:pt x="325" y="140"/>
                    </a:lnTo>
                    <a:close/>
                    <a:moveTo>
                      <a:pt x="398" y="167"/>
                    </a:moveTo>
                    <a:lnTo>
                      <a:pt x="398" y="169"/>
                    </a:lnTo>
                    <a:lnTo>
                      <a:pt x="398" y="167"/>
                    </a:lnTo>
                    <a:close/>
                    <a:moveTo>
                      <a:pt x="413" y="159"/>
                    </a:moveTo>
                    <a:lnTo>
                      <a:pt x="411" y="159"/>
                    </a:lnTo>
                    <a:lnTo>
                      <a:pt x="413" y="159"/>
                    </a:lnTo>
                    <a:lnTo>
                      <a:pt x="411" y="159"/>
                    </a:lnTo>
                    <a:lnTo>
                      <a:pt x="413" y="159"/>
                    </a:lnTo>
                    <a:close/>
                    <a:moveTo>
                      <a:pt x="411" y="157"/>
                    </a:moveTo>
                    <a:lnTo>
                      <a:pt x="411" y="155"/>
                    </a:lnTo>
                    <a:lnTo>
                      <a:pt x="411" y="157"/>
                    </a:lnTo>
                    <a:close/>
                    <a:moveTo>
                      <a:pt x="279" y="107"/>
                    </a:moveTo>
                    <a:lnTo>
                      <a:pt x="279" y="105"/>
                    </a:lnTo>
                    <a:lnTo>
                      <a:pt x="281" y="105"/>
                    </a:lnTo>
                    <a:lnTo>
                      <a:pt x="283" y="107"/>
                    </a:lnTo>
                    <a:lnTo>
                      <a:pt x="284" y="109"/>
                    </a:lnTo>
                    <a:lnTo>
                      <a:pt x="284" y="111"/>
                    </a:lnTo>
                    <a:lnTo>
                      <a:pt x="284" y="109"/>
                    </a:lnTo>
                    <a:lnTo>
                      <a:pt x="284" y="111"/>
                    </a:lnTo>
                    <a:lnTo>
                      <a:pt x="283" y="111"/>
                    </a:lnTo>
                    <a:lnTo>
                      <a:pt x="281" y="111"/>
                    </a:lnTo>
                    <a:lnTo>
                      <a:pt x="281" y="113"/>
                    </a:lnTo>
                    <a:lnTo>
                      <a:pt x="279" y="113"/>
                    </a:lnTo>
                    <a:lnTo>
                      <a:pt x="279" y="115"/>
                    </a:lnTo>
                    <a:lnTo>
                      <a:pt x="279" y="117"/>
                    </a:lnTo>
                    <a:lnTo>
                      <a:pt x="277" y="117"/>
                    </a:lnTo>
                    <a:lnTo>
                      <a:pt x="275" y="117"/>
                    </a:lnTo>
                    <a:lnTo>
                      <a:pt x="275" y="119"/>
                    </a:lnTo>
                    <a:lnTo>
                      <a:pt x="273" y="119"/>
                    </a:lnTo>
                    <a:lnTo>
                      <a:pt x="273" y="121"/>
                    </a:lnTo>
                    <a:lnTo>
                      <a:pt x="275" y="121"/>
                    </a:lnTo>
                    <a:lnTo>
                      <a:pt x="275" y="123"/>
                    </a:lnTo>
                    <a:lnTo>
                      <a:pt x="273" y="123"/>
                    </a:lnTo>
                    <a:lnTo>
                      <a:pt x="275" y="123"/>
                    </a:lnTo>
                    <a:lnTo>
                      <a:pt x="275" y="125"/>
                    </a:lnTo>
                    <a:lnTo>
                      <a:pt x="275" y="126"/>
                    </a:lnTo>
                    <a:lnTo>
                      <a:pt x="275" y="128"/>
                    </a:lnTo>
                    <a:lnTo>
                      <a:pt x="275" y="130"/>
                    </a:lnTo>
                    <a:lnTo>
                      <a:pt x="273" y="130"/>
                    </a:lnTo>
                    <a:lnTo>
                      <a:pt x="273" y="132"/>
                    </a:lnTo>
                    <a:lnTo>
                      <a:pt x="273" y="134"/>
                    </a:lnTo>
                    <a:lnTo>
                      <a:pt x="271" y="134"/>
                    </a:lnTo>
                    <a:lnTo>
                      <a:pt x="273" y="134"/>
                    </a:lnTo>
                    <a:lnTo>
                      <a:pt x="271" y="134"/>
                    </a:lnTo>
                    <a:lnTo>
                      <a:pt x="273" y="134"/>
                    </a:lnTo>
                    <a:lnTo>
                      <a:pt x="271" y="134"/>
                    </a:lnTo>
                    <a:lnTo>
                      <a:pt x="269" y="134"/>
                    </a:lnTo>
                    <a:lnTo>
                      <a:pt x="269" y="136"/>
                    </a:lnTo>
                    <a:lnTo>
                      <a:pt x="267" y="134"/>
                    </a:lnTo>
                    <a:lnTo>
                      <a:pt x="267" y="132"/>
                    </a:lnTo>
                    <a:lnTo>
                      <a:pt x="267" y="130"/>
                    </a:lnTo>
                    <a:lnTo>
                      <a:pt x="265" y="130"/>
                    </a:lnTo>
                    <a:lnTo>
                      <a:pt x="263" y="130"/>
                    </a:lnTo>
                    <a:lnTo>
                      <a:pt x="265" y="130"/>
                    </a:lnTo>
                    <a:lnTo>
                      <a:pt x="265" y="132"/>
                    </a:lnTo>
                    <a:lnTo>
                      <a:pt x="265" y="134"/>
                    </a:lnTo>
                    <a:lnTo>
                      <a:pt x="263" y="134"/>
                    </a:lnTo>
                    <a:lnTo>
                      <a:pt x="263" y="132"/>
                    </a:lnTo>
                    <a:lnTo>
                      <a:pt x="265" y="132"/>
                    </a:lnTo>
                    <a:lnTo>
                      <a:pt x="263" y="132"/>
                    </a:lnTo>
                    <a:lnTo>
                      <a:pt x="265" y="132"/>
                    </a:lnTo>
                    <a:lnTo>
                      <a:pt x="263" y="132"/>
                    </a:lnTo>
                    <a:lnTo>
                      <a:pt x="261" y="130"/>
                    </a:lnTo>
                    <a:lnTo>
                      <a:pt x="261" y="128"/>
                    </a:lnTo>
                    <a:lnTo>
                      <a:pt x="261" y="130"/>
                    </a:lnTo>
                    <a:lnTo>
                      <a:pt x="259" y="130"/>
                    </a:lnTo>
                    <a:lnTo>
                      <a:pt x="258" y="130"/>
                    </a:lnTo>
                    <a:lnTo>
                      <a:pt x="259" y="130"/>
                    </a:lnTo>
                    <a:lnTo>
                      <a:pt x="258" y="130"/>
                    </a:lnTo>
                    <a:lnTo>
                      <a:pt x="256" y="130"/>
                    </a:lnTo>
                    <a:lnTo>
                      <a:pt x="256" y="132"/>
                    </a:lnTo>
                    <a:lnTo>
                      <a:pt x="254" y="132"/>
                    </a:lnTo>
                    <a:lnTo>
                      <a:pt x="254" y="134"/>
                    </a:lnTo>
                    <a:lnTo>
                      <a:pt x="252" y="134"/>
                    </a:lnTo>
                    <a:lnTo>
                      <a:pt x="252" y="136"/>
                    </a:lnTo>
                    <a:lnTo>
                      <a:pt x="252" y="134"/>
                    </a:lnTo>
                    <a:lnTo>
                      <a:pt x="252" y="136"/>
                    </a:lnTo>
                    <a:lnTo>
                      <a:pt x="250" y="136"/>
                    </a:lnTo>
                    <a:lnTo>
                      <a:pt x="250" y="138"/>
                    </a:lnTo>
                    <a:lnTo>
                      <a:pt x="250" y="136"/>
                    </a:lnTo>
                    <a:lnTo>
                      <a:pt x="248" y="136"/>
                    </a:lnTo>
                    <a:lnTo>
                      <a:pt x="248" y="138"/>
                    </a:lnTo>
                    <a:lnTo>
                      <a:pt x="250" y="138"/>
                    </a:lnTo>
                    <a:lnTo>
                      <a:pt x="250" y="140"/>
                    </a:lnTo>
                    <a:lnTo>
                      <a:pt x="248" y="140"/>
                    </a:lnTo>
                    <a:lnTo>
                      <a:pt x="248" y="138"/>
                    </a:lnTo>
                    <a:lnTo>
                      <a:pt x="248" y="140"/>
                    </a:lnTo>
                    <a:lnTo>
                      <a:pt x="250" y="140"/>
                    </a:lnTo>
                    <a:lnTo>
                      <a:pt x="248" y="140"/>
                    </a:lnTo>
                    <a:lnTo>
                      <a:pt x="246" y="140"/>
                    </a:lnTo>
                    <a:lnTo>
                      <a:pt x="248" y="140"/>
                    </a:lnTo>
                    <a:lnTo>
                      <a:pt x="246" y="140"/>
                    </a:lnTo>
                    <a:lnTo>
                      <a:pt x="244" y="140"/>
                    </a:lnTo>
                    <a:lnTo>
                      <a:pt x="244" y="142"/>
                    </a:lnTo>
                    <a:lnTo>
                      <a:pt x="244" y="140"/>
                    </a:lnTo>
                    <a:lnTo>
                      <a:pt x="246" y="140"/>
                    </a:lnTo>
                    <a:lnTo>
                      <a:pt x="244" y="142"/>
                    </a:lnTo>
                    <a:lnTo>
                      <a:pt x="244" y="144"/>
                    </a:lnTo>
                    <a:lnTo>
                      <a:pt x="242" y="144"/>
                    </a:lnTo>
                    <a:lnTo>
                      <a:pt x="242" y="146"/>
                    </a:lnTo>
                    <a:lnTo>
                      <a:pt x="240" y="146"/>
                    </a:lnTo>
                    <a:lnTo>
                      <a:pt x="240" y="148"/>
                    </a:lnTo>
                    <a:lnTo>
                      <a:pt x="238" y="148"/>
                    </a:lnTo>
                    <a:lnTo>
                      <a:pt x="238" y="146"/>
                    </a:lnTo>
                    <a:lnTo>
                      <a:pt x="240" y="146"/>
                    </a:lnTo>
                    <a:lnTo>
                      <a:pt x="240" y="148"/>
                    </a:lnTo>
                    <a:lnTo>
                      <a:pt x="240" y="146"/>
                    </a:lnTo>
                    <a:lnTo>
                      <a:pt x="238" y="146"/>
                    </a:lnTo>
                    <a:lnTo>
                      <a:pt x="236" y="146"/>
                    </a:lnTo>
                    <a:lnTo>
                      <a:pt x="236" y="148"/>
                    </a:lnTo>
                    <a:lnTo>
                      <a:pt x="235" y="148"/>
                    </a:lnTo>
                    <a:lnTo>
                      <a:pt x="235" y="146"/>
                    </a:lnTo>
                    <a:lnTo>
                      <a:pt x="235" y="148"/>
                    </a:lnTo>
                    <a:lnTo>
                      <a:pt x="233" y="148"/>
                    </a:lnTo>
                    <a:lnTo>
                      <a:pt x="235" y="148"/>
                    </a:lnTo>
                    <a:lnTo>
                      <a:pt x="233" y="148"/>
                    </a:lnTo>
                    <a:lnTo>
                      <a:pt x="233" y="150"/>
                    </a:lnTo>
                    <a:lnTo>
                      <a:pt x="231" y="150"/>
                    </a:lnTo>
                    <a:lnTo>
                      <a:pt x="229" y="150"/>
                    </a:lnTo>
                    <a:lnTo>
                      <a:pt x="227" y="150"/>
                    </a:lnTo>
                    <a:lnTo>
                      <a:pt x="229" y="150"/>
                    </a:lnTo>
                    <a:lnTo>
                      <a:pt x="229" y="151"/>
                    </a:lnTo>
                    <a:lnTo>
                      <a:pt x="227" y="151"/>
                    </a:lnTo>
                    <a:lnTo>
                      <a:pt x="225" y="150"/>
                    </a:lnTo>
                    <a:lnTo>
                      <a:pt x="223" y="150"/>
                    </a:lnTo>
                    <a:lnTo>
                      <a:pt x="221" y="150"/>
                    </a:lnTo>
                    <a:lnTo>
                      <a:pt x="221" y="151"/>
                    </a:lnTo>
                    <a:lnTo>
                      <a:pt x="219" y="151"/>
                    </a:lnTo>
                    <a:lnTo>
                      <a:pt x="221" y="151"/>
                    </a:lnTo>
                    <a:lnTo>
                      <a:pt x="219" y="151"/>
                    </a:lnTo>
                    <a:lnTo>
                      <a:pt x="221" y="151"/>
                    </a:lnTo>
                    <a:lnTo>
                      <a:pt x="223" y="151"/>
                    </a:lnTo>
                    <a:lnTo>
                      <a:pt x="225" y="151"/>
                    </a:lnTo>
                    <a:lnTo>
                      <a:pt x="227" y="151"/>
                    </a:lnTo>
                    <a:lnTo>
                      <a:pt x="229" y="151"/>
                    </a:lnTo>
                    <a:lnTo>
                      <a:pt x="231" y="151"/>
                    </a:lnTo>
                    <a:lnTo>
                      <a:pt x="231" y="150"/>
                    </a:lnTo>
                    <a:lnTo>
                      <a:pt x="233" y="151"/>
                    </a:lnTo>
                    <a:lnTo>
                      <a:pt x="235" y="151"/>
                    </a:lnTo>
                    <a:lnTo>
                      <a:pt x="236" y="151"/>
                    </a:lnTo>
                    <a:lnTo>
                      <a:pt x="238" y="151"/>
                    </a:lnTo>
                    <a:lnTo>
                      <a:pt x="240" y="151"/>
                    </a:lnTo>
                    <a:lnTo>
                      <a:pt x="240" y="150"/>
                    </a:lnTo>
                    <a:lnTo>
                      <a:pt x="240" y="151"/>
                    </a:lnTo>
                    <a:lnTo>
                      <a:pt x="240" y="150"/>
                    </a:lnTo>
                    <a:lnTo>
                      <a:pt x="238" y="150"/>
                    </a:lnTo>
                    <a:lnTo>
                      <a:pt x="240" y="150"/>
                    </a:lnTo>
                    <a:lnTo>
                      <a:pt x="240" y="148"/>
                    </a:lnTo>
                    <a:lnTo>
                      <a:pt x="240" y="150"/>
                    </a:lnTo>
                    <a:lnTo>
                      <a:pt x="240" y="148"/>
                    </a:lnTo>
                    <a:lnTo>
                      <a:pt x="238" y="148"/>
                    </a:lnTo>
                    <a:lnTo>
                      <a:pt x="240" y="148"/>
                    </a:lnTo>
                    <a:lnTo>
                      <a:pt x="238" y="148"/>
                    </a:lnTo>
                    <a:lnTo>
                      <a:pt x="240" y="148"/>
                    </a:lnTo>
                    <a:lnTo>
                      <a:pt x="238" y="148"/>
                    </a:lnTo>
                    <a:lnTo>
                      <a:pt x="240" y="148"/>
                    </a:lnTo>
                    <a:lnTo>
                      <a:pt x="238" y="148"/>
                    </a:lnTo>
                    <a:lnTo>
                      <a:pt x="240" y="148"/>
                    </a:lnTo>
                    <a:lnTo>
                      <a:pt x="242" y="150"/>
                    </a:lnTo>
                    <a:lnTo>
                      <a:pt x="244" y="150"/>
                    </a:lnTo>
                    <a:lnTo>
                      <a:pt x="244" y="151"/>
                    </a:lnTo>
                    <a:lnTo>
                      <a:pt x="244" y="153"/>
                    </a:lnTo>
                    <a:lnTo>
                      <a:pt x="244" y="151"/>
                    </a:lnTo>
                    <a:lnTo>
                      <a:pt x="246" y="151"/>
                    </a:lnTo>
                    <a:lnTo>
                      <a:pt x="246" y="153"/>
                    </a:lnTo>
                    <a:lnTo>
                      <a:pt x="244" y="153"/>
                    </a:lnTo>
                    <a:lnTo>
                      <a:pt x="242" y="153"/>
                    </a:lnTo>
                    <a:lnTo>
                      <a:pt x="242" y="155"/>
                    </a:lnTo>
                    <a:lnTo>
                      <a:pt x="240" y="155"/>
                    </a:lnTo>
                    <a:lnTo>
                      <a:pt x="238" y="155"/>
                    </a:lnTo>
                    <a:lnTo>
                      <a:pt x="236" y="155"/>
                    </a:lnTo>
                    <a:lnTo>
                      <a:pt x="238" y="155"/>
                    </a:lnTo>
                    <a:lnTo>
                      <a:pt x="240" y="155"/>
                    </a:lnTo>
                    <a:lnTo>
                      <a:pt x="238" y="155"/>
                    </a:lnTo>
                    <a:lnTo>
                      <a:pt x="240" y="155"/>
                    </a:lnTo>
                    <a:lnTo>
                      <a:pt x="242" y="155"/>
                    </a:lnTo>
                    <a:lnTo>
                      <a:pt x="240" y="155"/>
                    </a:lnTo>
                    <a:lnTo>
                      <a:pt x="238" y="155"/>
                    </a:lnTo>
                    <a:lnTo>
                      <a:pt x="236" y="155"/>
                    </a:lnTo>
                    <a:lnTo>
                      <a:pt x="238" y="155"/>
                    </a:lnTo>
                    <a:lnTo>
                      <a:pt x="236" y="155"/>
                    </a:lnTo>
                    <a:lnTo>
                      <a:pt x="235" y="155"/>
                    </a:lnTo>
                    <a:lnTo>
                      <a:pt x="233" y="155"/>
                    </a:lnTo>
                    <a:lnTo>
                      <a:pt x="235" y="155"/>
                    </a:lnTo>
                    <a:lnTo>
                      <a:pt x="236" y="155"/>
                    </a:lnTo>
                    <a:lnTo>
                      <a:pt x="235" y="155"/>
                    </a:lnTo>
                    <a:lnTo>
                      <a:pt x="233" y="155"/>
                    </a:lnTo>
                    <a:lnTo>
                      <a:pt x="231" y="155"/>
                    </a:lnTo>
                    <a:lnTo>
                      <a:pt x="229" y="155"/>
                    </a:lnTo>
                    <a:lnTo>
                      <a:pt x="227" y="155"/>
                    </a:lnTo>
                    <a:lnTo>
                      <a:pt x="225" y="155"/>
                    </a:lnTo>
                    <a:lnTo>
                      <a:pt x="225" y="157"/>
                    </a:lnTo>
                    <a:lnTo>
                      <a:pt x="225" y="155"/>
                    </a:lnTo>
                    <a:lnTo>
                      <a:pt x="225" y="157"/>
                    </a:lnTo>
                    <a:lnTo>
                      <a:pt x="223" y="157"/>
                    </a:lnTo>
                    <a:lnTo>
                      <a:pt x="221" y="157"/>
                    </a:lnTo>
                    <a:lnTo>
                      <a:pt x="219" y="157"/>
                    </a:lnTo>
                    <a:lnTo>
                      <a:pt x="217" y="157"/>
                    </a:lnTo>
                    <a:lnTo>
                      <a:pt x="215" y="157"/>
                    </a:lnTo>
                    <a:lnTo>
                      <a:pt x="213" y="159"/>
                    </a:lnTo>
                    <a:lnTo>
                      <a:pt x="211" y="159"/>
                    </a:lnTo>
                    <a:lnTo>
                      <a:pt x="210" y="159"/>
                    </a:lnTo>
                    <a:lnTo>
                      <a:pt x="208" y="159"/>
                    </a:lnTo>
                    <a:lnTo>
                      <a:pt x="206" y="159"/>
                    </a:lnTo>
                    <a:lnTo>
                      <a:pt x="206" y="161"/>
                    </a:lnTo>
                    <a:lnTo>
                      <a:pt x="204" y="161"/>
                    </a:lnTo>
                    <a:lnTo>
                      <a:pt x="204" y="163"/>
                    </a:lnTo>
                    <a:lnTo>
                      <a:pt x="202" y="163"/>
                    </a:lnTo>
                    <a:lnTo>
                      <a:pt x="200" y="163"/>
                    </a:lnTo>
                    <a:lnTo>
                      <a:pt x="200" y="165"/>
                    </a:lnTo>
                    <a:lnTo>
                      <a:pt x="202" y="165"/>
                    </a:lnTo>
                    <a:lnTo>
                      <a:pt x="200" y="165"/>
                    </a:lnTo>
                    <a:lnTo>
                      <a:pt x="202" y="165"/>
                    </a:lnTo>
                    <a:lnTo>
                      <a:pt x="200" y="165"/>
                    </a:lnTo>
                    <a:lnTo>
                      <a:pt x="200" y="163"/>
                    </a:lnTo>
                    <a:lnTo>
                      <a:pt x="202" y="163"/>
                    </a:lnTo>
                    <a:lnTo>
                      <a:pt x="202" y="165"/>
                    </a:lnTo>
                    <a:lnTo>
                      <a:pt x="200" y="165"/>
                    </a:lnTo>
                    <a:lnTo>
                      <a:pt x="200" y="167"/>
                    </a:lnTo>
                    <a:lnTo>
                      <a:pt x="198" y="167"/>
                    </a:lnTo>
                    <a:lnTo>
                      <a:pt x="200" y="165"/>
                    </a:lnTo>
                    <a:lnTo>
                      <a:pt x="198" y="165"/>
                    </a:lnTo>
                    <a:lnTo>
                      <a:pt x="200" y="165"/>
                    </a:lnTo>
                    <a:lnTo>
                      <a:pt x="198" y="165"/>
                    </a:lnTo>
                    <a:lnTo>
                      <a:pt x="198" y="167"/>
                    </a:lnTo>
                    <a:lnTo>
                      <a:pt x="198" y="165"/>
                    </a:lnTo>
                    <a:lnTo>
                      <a:pt x="198" y="167"/>
                    </a:lnTo>
                    <a:lnTo>
                      <a:pt x="198" y="165"/>
                    </a:lnTo>
                    <a:lnTo>
                      <a:pt x="196" y="165"/>
                    </a:lnTo>
                    <a:lnTo>
                      <a:pt x="196" y="167"/>
                    </a:lnTo>
                    <a:lnTo>
                      <a:pt x="194" y="167"/>
                    </a:lnTo>
                    <a:lnTo>
                      <a:pt x="196" y="167"/>
                    </a:lnTo>
                    <a:lnTo>
                      <a:pt x="196" y="169"/>
                    </a:lnTo>
                    <a:lnTo>
                      <a:pt x="194" y="169"/>
                    </a:lnTo>
                    <a:lnTo>
                      <a:pt x="196" y="169"/>
                    </a:lnTo>
                    <a:lnTo>
                      <a:pt x="194" y="169"/>
                    </a:lnTo>
                    <a:lnTo>
                      <a:pt x="194" y="171"/>
                    </a:lnTo>
                    <a:lnTo>
                      <a:pt x="192" y="171"/>
                    </a:lnTo>
                    <a:lnTo>
                      <a:pt x="192" y="173"/>
                    </a:lnTo>
                    <a:lnTo>
                      <a:pt x="192" y="175"/>
                    </a:lnTo>
                    <a:lnTo>
                      <a:pt x="192" y="176"/>
                    </a:lnTo>
                    <a:lnTo>
                      <a:pt x="192" y="178"/>
                    </a:lnTo>
                    <a:lnTo>
                      <a:pt x="192" y="180"/>
                    </a:lnTo>
                    <a:lnTo>
                      <a:pt x="194" y="180"/>
                    </a:lnTo>
                    <a:lnTo>
                      <a:pt x="194" y="178"/>
                    </a:lnTo>
                    <a:lnTo>
                      <a:pt x="194" y="180"/>
                    </a:lnTo>
                    <a:lnTo>
                      <a:pt x="192" y="180"/>
                    </a:lnTo>
                    <a:lnTo>
                      <a:pt x="194" y="180"/>
                    </a:lnTo>
                    <a:lnTo>
                      <a:pt x="194" y="178"/>
                    </a:lnTo>
                    <a:lnTo>
                      <a:pt x="194" y="176"/>
                    </a:lnTo>
                    <a:lnTo>
                      <a:pt x="196" y="176"/>
                    </a:lnTo>
                    <a:lnTo>
                      <a:pt x="198" y="176"/>
                    </a:lnTo>
                    <a:lnTo>
                      <a:pt x="198" y="178"/>
                    </a:lnTo>
                    <a:lnTo>
                      <a:pt x="198" y="176"/>
                    </a:lnTo>
                    <a:lnTo>
                      <a:pt x="198" y="178"/>
                    </a:lnTo>
                    <a:lnTo>
                      <a:pt x="198" y="176"/>
                    </a:lnTo>
                    <a:lnTo>
                      <a:pt x="200" y="176"/>
                    </a:lnTo>
                    <a:lnTo>
                      <a:pt x="198" y="176"/>
                    </a:lnTo>
                    <a:lnTo>
                      <a:pt x="196" y="176"/>
                    </a:lnTo>
                    <a:lnTo>
                      <a:pt x="196" y="175"/>
                    </a:lnTo>
                    <a:lnTo>
                      <a:pt x="198" y="175"/>
                    </a:lnTo>
                    <a:lnTo>
                      <a:pt x="196" y="175"/>
                    </a:lnTo>
                    <a:lnTo>
                      <a:pt x="198" y="175"/>
                    </a:lnTo>
                    <a:lnTo>
                      <a:pt x="196" y="175"/>
                    </a:lnTo>
                    <a:lnTo>
                      <a:pt x="198" y="175"/>
                    </a:lnTo>
                    <a:lnTo>
                      <a:pt x="196" y="175"/>
                    </a:lnTo>
                    <a:lnTo>
                      <a:pt x="196" y="173"/>
                    </a:lnTo>
                    <a:lnTo>
                      <a:pt x="196" y="175"/>
                    </a:lnTo>
                    <a:lnTo>
                      <a:pt x="196" y="173"/>
                    </a:lnTo>
                    <a:lnTo>
                      <a:pt x="194" y="173"/>
                    </a:lnTo>
                    <a:lnTo>
                      <a:pt x="196" y="173"/>
                    </a:lnTo>
                    <a:lnTo>
                      <a:pt x="196" y="175"/>
                    </a:lnTo>
                    <a:lnTo>
                      <a:pt x="196" y="173"/>
                    </a:lnTo>
                    <a:lnTo>
                      <a:pt x="198" y="173"/>
                    </a:lnTo>
                    <a:lnTo>
                      <a:pt x="196" y="173"/>
                    </a:lnTo>
                    <a:lnTo>
                      <a:pt x="196" y="171"/>
                    </a:lnTo>
                    <a:lnTo>
                      <a:pt x="198" y="171"/>
                    </a:lnTo>
                    <a:lnTo>
                      <a:pt x="198" y="173"/>
                    </a:lnTo>
                    <a:lnTo>
                      <a:pt x="198" y="171"/>
                    </a:lnTo>
                    <a:lnTo>
                      <a:pt x="198" y="169"/>
                    </a:lnTo>
                    <a:lnTo>
                      <a:pt x="198" y="171"/>
                    </a:lnTo>
                    <a:lnTo>
                      <a:pt x="198" y="169"/>
                    </a:lnTo>
                    <a:lnTo>
                      <a:pt x="198" y="171"/>
                    </a:lnTo>
                    <a:lnTo>
                      <a:pt x="198" y="169"/>
                    </a:lnTo>
                    <a:lnTo>
                      <a:pt x="200" y="169"/>
                    </a:lnTo>
                    <a:lnTo>
                      <a:pt x="200" y="167"/>
                    </a:lnTo>
                    <a:lnTo>
                      <a:pt x="200" y="165"/>
                    </a:lnTo>
                    <a:lnTo>
                      <a:pt x="202" y="165"/>
                    </a:lnTo>
                    <a:lnTo>
                      <a:pt x="200" y="167"/>
                    </a:lnTo>
                    <a:lnTo>
                      <a:pt x="200" y="169"/>
                    </a:lnTo>
                    <a:lnTo>
                      <a:pt x="200" y="171"/>
                    </a:lnTo>
                    <a:lnTo>
                      <a:pt x="200" y="173"/>
                    </a:lnTo>
                    <a:lnTo>
                      <a:pt x="202" y="173"/>
                    </a:lnTo>
                    <a:lnTo>
                      <a:pt x="200" y="173"/>
                    </a:lnTo>
                    <a:lnTo>
                      <a:pt x="202" y="173"/>
                    </a:lnTo>
                    <a:lnTo>
                      <a:pt x="202" y="175"/>
                    </a:lnTo>
                    <a:lnTo>
                      <a:pt x="202" y="176"/>
                    </a:lnTo>
                    <a:lnTo>
                      <a:pt x="200" y="176"/>
                    </a:lnTo>
                    <a:lnTo>
                      <a:pt x="202" y="176"/>
                    </a:lnTo>
                    <a:lnTo>
                      <a:pt x="202" y="178"/>
                    </a:lnTo>
                    <a:lnTo>
                      <a:pt x="200" y="178"/>
                    </a:lnTo>
                    <a:lnTo>
                      <a:pt x="200" y="180"/>
                    </a:lnTo>
                    <a:lnTo>
                      <a:pt x="200" y="178"/>
                    </a:lnTo>
                    <a:lnTo>
                      <a:pt x="202" y="180"/>
                    </a:lnTo>
                    <a:lnTo>
                      <a:pt x="202" y="182"/>
                    </a:lnTo>
                    <a:lnTo>
                      <a:pt x="200" y="184"/>
                    </a:lnTo>
                    <a:lnTo>
                      <a:pt x="200" y="186"/>
                    </a:lnTo>
                    <a:lnTo>
                      <a:pt x="198" y="186"/>
                    </a:lnTo>
                    <a:lnTo>
                      <a:pt x="198" y="184"/>
                    </a:lnTo>
                    <a:lnTo>
                      <a:pt x="196" y="184"/>
                    </a:lnTo>
                    <a:lnTo>
                      <a:pt x="196" y="186"/>
                    </a:lnTo>
                    <a:lnTo>
                      <a:pt x="198" y="186"/>
                    </a:lnTo>
                    <a:lnTo>
                      <a:pt x="198" y="188"/>
                    </a:lnTo>
                    <a:lnTo>
                      <a:pt x="196" y="188"/>
                    </a:lnTo>
                    <a:lnTo>
                      <a:pt x="196" y="190"/>
                    </a:lnTo>
                    <a:lnTo>
                      <a:pt x="194" y="188"/>
                    </a:lnTo>
                    <a:lnTo>
                      <a:pt x="192" y="188"/>
                    </a:lnTo>
                    <a:lnTo>
                      <a:pt x="192" y="190"/>
                    </a:lnTo>
                    <a:lnTo>
                      <a:pt x="190" y="190"/>
                    </a:lnTo>
                    <a:lnTo>
                      <a:pt x="190" y="188"/>
                    </a:lnTo>
                    <a:lnTo>
                      <a:pt x="190" y="190"/>
                    </a:lnTo>
                    <a:lnTo>
                      <a:pt x="188" y="190"/>
                    </a:lnTo>
                    <a:lnTo>
                      <a:pt x="188" y="192"/>
                    </a:lnTo>
                    <a:lnTo>
                      <a:pt x="188" y="190"/>
                    </a:lnTo>
                    <a:lnTo>
                      <a:pt x="186" y="190"/>
                    </a:lnTo>
                    <a:lnTo>
                      <a:pt x="188" y="192"/>
                    </a:lnTo>
                    <a:lnTo>
                      <a:pt x="186" y="192"/>
                    </a:lnTo>
                    <a:lnTo>
                      <a:pt x="185" y="192"/>
                    </a:lnTo>
                    <a:lnTo>
                      <a:pt x="185" y="190"/>
                    </a:lnTo>
                    <a:lnTo>
                      <a:pt x="183" y="190"/>
                    </a:lnTo>
                    <a:lnTo>
                      <a:pt x="181" y="188"/>
                    </a:lnTo>
                    <a:lnTo>
                      <a:pt x="181" y="190"/>
                    </a:lnTo>
                    <a:lnTo>
                      <a:pt x="179" y="190"/>
                    </a:lnTo>
                    <a:lnTo>
                      <a:pt x="181" y="190"/>
                    </a:lnTo>
                    <a:lnTo>
                      <a:pt x="179" y="190"/>
                    </a:lnTo>
                    <a:lnTo>
                      <a:pt x="179" y="192"/>
                    </a:lnTo>
                    <a:lnTo>
                      <a:pt x="181" y="192"/>
                    </a:lnTo>
                    <a:lnTo>
                      <a:pt x="179" y="192"/>
                    </a:lnTo>
                    <a:lnTo>
                      <a:pt x="179" y="194"/>
                    </a:lnTo>
                    <a:lnTo>
                      <a:pt x="177" y="194"/>
                    </a:lnTo>
                    <a:lnTo>
                      <a:pt x="177" y="196"/>
                    </a:lnTo>
                    <a:lnTo>
                      <a:pt x="177" y="198"/>
                    </a:lnTo>
                    <a:lnTo>
                      <a:pt x="175" y="198"/>
                    </a:lnTo>
                    <a:lnTo>
                      <a:pt x="165" y="198"/>
                    </a:lnTo>
                    <a:lnTo>
                      <a:pt x="150" y="199"/>
                    </a:lnTo>
                    <a:lnTo>
                      <a:pt x="146" y="201"/>
                    </a:lnTo>
                    <a:lnTo>
                      <a:pt x="140" y="201"/>
                    </a:lnTo>
                    <a:lnTo>
                      <a:pt x="135" y="201"/>
                    </a:lnTo>
                    <a:lnTo>
                      <a:pt x="125" y="203"/>
                    </a:lnTo>
                    <a:lnTo>
                      <a:pt x="119" y="203"/>
                    </a:lnTo>
                    <a:lnTo>
                      <a:pt x="108" y="205"/>
                    </a:lnTo>
                    <a:lnTo>
                      <a:pt x="100" y="205"/>
                    </a:lnTo>
                    <a:lnTo>
                      <a:pt x="98" y="203"/>
                    </a:lnTo>
                    <a:lnTo>
                      <a:pt x="94" y="201"/>
                    </a:lnTo>
                    <a:lnTo>
                      <a:pt x="90" y="199"/>
                    </a:lnTo>
                    <a:lnTo>
                      <a:pt x="89" y="199"/>
                    </a:lnTo>
                    <a:lnTo>
                      <a:pt x="85" y="198"/>
                    </a:lnTo>
                    <a:lnTo>
                      <a:pt x="79" y="194"/>
                    </a:lnTo>
                    <a:lnTo>
                      <a:pt x="77" y="198"/>
                    </a:lnTo>
                    <a:lnTo>
                      <a:pt x="75" y="199"/>
                    </a:lnTo>
                    <a:lnTo>
                      <a:pt x="73" y="198"/>
                    </a:lnTo>
                    <a:lnTo>
                      <a:pt x="71" y="198"/>
                    </a:lnTo>
                    <a:lnTo>
                      <a:pt x="69" y="199"/>
                    </a:lnTo>
                    <a:lnTo>
                      <a:pt x="65" y="201"/>
                    </a:lnTo>
                    <a:lnTo>
                      <a:pt x="65" y="205"/>
                    </a:lnTo>
                    <a:lnTo>
                      <a:pt x="62" y="207"/>
                    </a:lnTo>
                    <a:lnTo>
                      <a:pt x="56" y="203"/>
                    </a:lnTo>
                    <a:lnTo>
                      <a:pt x="48" y="199"/>
                    </a:lnTo>
                    <a:lnTo>
                      <a:pt x="46" y="194"/>
                    </a:lnTo>
                    <a:lnTo>
                      <a:pt x="42" y="188"/>
                    </a:lnTo>
                    <a:lnTo>
                      <a:pt x="40" y="184"/>
                    </a:lnTo>
                    <a:lnTo>
                      <a:pt x="39" y="180"/>
                    </a:lnTo>
                    <a:lnTo>
                      <a:pt x="37" y="178"/>
                    </a:lnTo>
                    <a:lnTo>
                      <a:pt x="35" y="176"/>
                    </a:lnTo>
                    <a:lnTo>
                      <a:pt x="33" y="175"/>
                    </a:lnTo>
                    <a:lnTo>
                      <a:pt x="31" y="175"/>
                    </a:lnTo>
                    <a:lnTo>
                      <a:pt x="31" y="173"/>
                    </a:lnTo>
                    <a:lnTo>
                      <a:pt x="29" y="173"/>
                    </a:lnTo>
                    <a:lnTo>
                      <a:pt x="29" y="171"/>
                    </a:lnTo>
                    <a:lnTo>
                      <a:pt x="27" y="169"/>
                    </a:lnTo>
                    <a:lnTo>
                      <a:pt x="23" y="169"/>
                    </a:lnTo>
                    <a:lnTo>
                      <a:pt x="23" y="167"/>
                    </a:lnTo>
                    <a:lnTo>
                      <a:pt x="21" y="165"/>
                    </a:lnTo>
                    <a:lnTo>
                      <a:pt x="19" y="163"/>
                    </a:lnTo>
                    <a:lnTo>
                      <a:pt x="17" y="157"/>
                    </a:lnTo>
                    <a:lnTo>
                      <a:pt x="15" y="155"/>
                    </a:lnTo>
                    <a:lnTo>
                      <a:pt x="12" y="151"/>
                    </a:lnTo>
                    <a:lnTo>
                      <a:pt x="8" y="148"/>
                    </a:lnTo>
                    <a:lnTo>
                      <a:pt x="4" y="142"/>
                    </a:lnTo>
                    <a:lnTo>
                      <a:pt x="4" y="136"/>
                    </a:lnTo>
                    <a:lnTo>
                      <a:pt x="0" y="130"/>
                    </a:lnTo>
                    <a:lnTo>
                      <a:pt x="2" y="128"/>
                    </a:lnTo>
                    <a:lnTo>
                      <a:pt x="4" y="128"/>
                    </a:lnTo>
                    <a:lnTo>
                      <a:pt x="6" y="128"/>
                    </a:lnTo>
                    <a:lnTo>
                      <a:pt x="6" y="126"/>
                    </a:lnTo>
                    <a:lnTo>
                      <a:pt x="8" y="126"/>
                    </a:lnTo>
                    <a:lnTo>
                      <a:pt x="8" y="125"/>
                    </a:lnTo>
                    <a:lnTo>
                      <a:pt x="10" y="123"/>
                    </a:lnTo>
                    <a:lnTo>
                      <a:pt x="12" y="121"/>
                    </a:lnTo>
                    <a:lnTo>
                      <a:pt x="14" y="121"/>
                    </a:lnTo>
                    <a:lnTo>
                      <a:pt x="14" y="123"/>
                    </a:lnTo>
                    <a:lnTo>
                      <a:pt x="15" y="123"/>
                    </a:lnTo>
                    <a:lnTo>
                      <a:pt x="14" y="123"/>
                    </a:lnTo>
                    <a:lnTo>
                      <a:pt x="15" y="123"/>
                    </a:lnTo>
                    <a:lnTo>
                      <a:pt x="15" y="125"/>
                    </a:lnTo>
                    <a:lnTo>
                      <a:pt x="14" y="125"/>
                    </a:lnTo>
                    <a:lnTo>
                      <a:pt x="15" y="125"/>
                    </a:lnTo>
                    <a:lnTo>
                      <a:pt x="15" y="123"/>
                    </a:lnTo>
                    <a:lnTo>
                      <a:pt x="14" y="123"/>
                    </a:lnTo>
                    <a:lnTo>
                      <a:pt x="15" y="123"/>
                    </a:lnTo>
                    <a:lnTo>
                      <a:pt x="14" y="123"/>
                    </a:lnTo>
                    <a:lnTo>
                      <a:pt x="15" y="123"/>
                    </a:lnTo>
                    <a:lnTo>
                      <a:pt x="14" y="123"/>
                    </a:lnTo>
                    <a:lnTo>
                      <a:pt x="14" y="121"/>
                    </a:lnTo>
                    <a:lnTo>
                      <a:pt x="14" y="119"/>
                    </a:lnTo>
                    <a:lnTo>
                      <a:pt x="14" y="117"/>
                    </a:lnTo>
                    <a:lnTo>
                      <a:pt x="14" y="115"/>
                    </a:lnTo>
                    <a:lnTo>
                      <a:pt x="14" y="113"/>
                    </a:lnTo>
                    <a:lnTo>
                      <a:pt x="15" y="113"/>
                    </a:lnTo>
                    <a:lnTo>
                      <a:pt x="15" y="111"/>
                    </a:lnTo>
                    <a:lnTo>
                      <a:pt x="15" y="113"/>
                    </a:lnTo>
                    <a:lnTo>
                      <a:pt x="15" y="111"/>
                    </a:lnTo>
                    <a:lnTo>
                      <a:pt x="17" y="111"/>
                    </a:lnTo>
                    <a:lnTo>
                      <a:pt x="17" y="113"/>
                    </a:lnTo>
                    <a:lnTo>
                      <a:pt x="17" y="111"/>
                    </a:lnTo>
                    <a:lnTo>
                      <a:pt x="17" y="113"/>
                    </a:lnTo>
                    <a:lnTo>
                      <a:pt x="17" y="111"/>
                    </a:lnTo>
                    <a:lnTo>
                      <a:pt x="19" y="111"/>
                    </a:lnTo>
                    <a:lnTo>
                      <a:pt x="17" y="111"/>
                    </a:lnTo>
                    <a:lnTo>
                      <a:pt x="19" y="111"/>
                    </a:lnTo>
                    <a:lnTo>
                      <a:pt x="19" y="109"/>
                    </a:lnTo>
                    <a:lnTo>
                      <a:pt x="19" y="107"/>
                    </a:lnTo>
                    <a:lnTo>
                      <a:pt x="19" y="109"/>
                    </a:lnTo>
                    <a:lnTo>
                      <a:pt x="19" y="107"/>
                    </a:lnTo>
                    <a:lnTo>
                      <a:pt x="21" y="107"/>
                    </a:lnTo>
                    <a:lnTo>
                      <a:pt x="21" y="109"/>
                    </a:lnTo>
                    <a:lnTo>
                      <a:pt x="21" y="107"/>
                    </a:lnTo>
                    <a:lnTo>
                      <a:pt x="21" y="105"/>
                    </a:lnTo>
                    <a:lnTo>
                      <a:pt x="21" y="107"/>
                    </a:lnTo>
                    <a:lnTo>
                      <a:pt x="21" y="105"/>
                    </a:lnTo>
                    <a:lnTo>
                      <a:pt x="21" y="103"/>
                    </a:lnTo>
                    <a:lnTo>
                      <a:pt x="21" y="101"/>
                    </a:lnTo>
                    <a:lnTo>
                      <a:pt x="21" y="100"/>
                    </a:lnTo>
                    <a:lnTo>
                      <a:pt x="21" y="98"/>
                    </a:lnTo>
                    <a:lnTo>
                      <a:pt x="23" y="98"/>
                    </a:lnTo>
                    <a:lnTo>
                      <a:pt x="23" y="96"/>
                    </a:lnTo>
                    <a:lnTo>
                      <a:pt x="25" y="96"/>
                    </a:lnTo>
                    <a:lnTo>
                      <a:pt x="23" y="96"/>
                    </a:lnTo>
                    <a:lnTo>
                      <a:pt x="23" y="98"/>
                    </a:lnTo>
                    <a:lnTo>
                      <a:pt x="21" y="96"/>
                    </a:lnTo>
                    <a:lnTo>
                      <a:pt x="21" y="98"/>
                    </a:lnTo>
                    <a:lnTo>
                      <a:pt x="21" y="96"/>
                    </a:lnTo>
                    <a:lnTo>
                      <a:pt x="21" y="94"/>
                    </a:lnTo>
                    <a:lnTo>
                      <a:pt x="19" y="94"/>
                    </a:lnTo>
                    <a:lnTo>
                      <a:pt x="19" y="92"/>
                    </a:lnTo>
                    <a:lnTo>
                      <a:pt x="21" y="94"/>
                    </a:lnTo>
                    <a:lnTo>
                      <a:pt x="19" y="92"/>
                    </a:lnTo>
                    <a:lnTo>
                      <a:pt x="21" y="92"/>
                    </a:lnTo>
                    <a:lnTo>
                      <a:pt x="19" y="92"/>
                    </a:lnTo>
                    <a:lnTo>
                      <a:pt x="19" y="90"/>
                    </a:lnTo>
                    <a:lnTo>
                      <a:pt x="19" y="88"/>
                    </a:lnTo>
                    <a:lnTo>
                      <a:pt x="17" y="88"/>
                    </a:lnTo>
                    <a:lnTo>
                      <a:pt x="17" y="86"/>
                    </a:lnTo>
                    <a:lnTo>
                      <a:pt x="15" y="88"/>
                    </a:lnTo>
                    <a:lnTo>
                      <a:pt x="15" y="86"/>
                    </a:lnTo>
                    <a:lnTo>
                      <a:pt x="15" y="88"/>
                    </a:lnTo>
                    <a:lnTo>
                      <a:pt x="14" y="84"/>
                    </a:lnTo>
                    <a:lnTo>
                      <a:pt x="14" y="82"/>
                    </a:lnTo>
                    <a:lnTo>
                      <a:pt x="15" y="80"/>
                    </a:lnTo>
                    <a:lnTo>
                      <a:pt x="15" y="78"/>
                    </a:lnTo>
                    <a:lnTo>
                      <a:pt x="17" y="78"/>
                    </a:lnTo>
                    <a:lnTo>
                      <a:pt x="17" y="76"/>
                    </a:lnTo>
                    <a:lnTo>
                      <a:pt x="19" y="76"/>
                    </a:lnTo>
                    <a:lnTo>
                      <a:pt x="19" y="75"/>
                    </a:lnTo>
                    <a:lnTo>
                      <a:pt x="21" y="73"/>
                    </a:lnTo>
                    <a:lnTo>
                      <a:pt x="23" y="71"/>
                    </a:lnTo>
                    <a:lnTo>
                      <a:pt x="25" y="71"/>
                    </a:lnTo>
                    <a:lnTo>
                      <a:pt x="25" y="69"/>
                    </a:lnTo>
                    <a:lnTo>
                      <a:pt x="27" y="69"/>
                    </a:lnTo>
                    <a:lnTo>
                      <a:pt x="27" y="67"/>
                    </a:lnTo>
                    <a:lnTo>
                      <a:pt x="31" y="65"/>
                    </a:lnTo>
                    <a:lnTo>
                      <a:pt x="33" y="63"/>
                    </a:lnTo>
                    <a:lnTo>
                      <a:pt x="35" y="63"/>
                    </a:lnTo>
                    <a:lnTo>
                      <a:pt x="35" y="61"/>
                    </a:lnTo>
                    <a:lnTo>
                      <a:pt x="35" y="63"/>
                    </a:lnTo>
                    <a:lnTo>
                      <a:pt x="37" y="63"/>
                    </a:lnTo>
                    <a:lnTo>
                      <a:pt x="35" y="63"/>
                    </a:lnTo>
                    <a:lnTo>
                      <a:pt x="35" y="65"/>
                    </a:lnTo>
                    <a:lnTo>
                      <a:pt x="33" y="65"/>
                    </a:lnTo>
                    <a:lnTo>
                      <a:pt x="35" y="65"/>
                    </a:lnTo>
                    <a:lnTo>
                      <a:pt x="33" y="65"/>
                    </a:lnTo>
                    <a:lnTo>
                      <a:pt x="33" y="67"/>
                    </a:lnTo>
                    <a:lnTo>
                      <a:pt x="35" y="67"/>
                    </a:lnTo>
                    <a:lnTo>
                      <a:pt x="33" y="67"/>
                    </a:lnTo>
                    <a:lnTo>
                      <a:pt x="35" y="67"/>
                    </a:lnTo>
                    <a:lnTo>
                      <a:pt x="33" y="65"/>
                    </a:lnTo>
                    <a:lnTo>
                      <a:pt x="35" y="65"/>
                    </a:lnTo>
                    <a:lnTo>
                      <a:pt x="33" y="65"/>
                    </a:lnTo>
                    <a:lnTo>
                      <a:pt x="35" y="65"/>
                    </a:lnTo>
                    <a:lnTo>
                      <a:pt x="35" y="63"/>
                    </a:lnTo>
                    <a:lnTo>
                      <a:pt x="37" y="63"/>
                    </a:lnTo>
                    <a:lnTo>
                      <a:pt x="39" y="63"/>
                    </a:lnTo>
                    <a:lnTo>
                      <a:pt x="37" y="63"/>
                    </a:lnTo>
                    <a:lnTo>
                      <a:pt x="37" y="61"/>
                    </a:lnTo>
                    <a:lnTo>
                      <a:pt x="35" y="61"/>
                    </a:lnTo>
                    <a:lnTo>
                      <a:pt x="37" y="59"/>
                    </a:lnTo>
                    <a:lnTo>
                      <a:pt x="39" y="59"/>
                    </a:lnTo>
                    <a:lnTo>
                      <a:pt x="39" y="57"/>
                    </a:lnTo>
                    <a:lnTo>
                      <a:pt x="39" y="59"/>
                    </a:lnTo>
                    <a:lnTo>
                      <a:pt x="39" y="57"/>
                    </a:lnTo>
                    <a:lnTo>
                      <a:pt x="40" y="55"/>
                    </a:lnTo>
                    <a:lnTo>
                      <a:pt x="39" y="55"/>
                    </a:lnTo>
                    <a:lnTo>
                      <a:pt x="40" y="53"/>
                    </a:lnTo>
                    <a:lnTo>
                      <a:pt x="40" y="51"/>
                    </a:lnTo>
                    <a:lnTo>
                      <a:pt x="42" y="51"/>
                    </a:lnTo>
                    <a:lnTo>
                      <a:pt x="44" y="51"/>
                    </a:lnTo>
                    <a:lnTo>
                      <a:pt x="42" y="51"/>
                    </a:lnTo>
                    <a:lnTo>
                      <a:pt x="44" y="51"/>
                    </a:lnTo>
                    <a:lnTo>
                      <a:pt x="44" y="53"/>
                    </a:lnTo>
                    <a:lnTo>
                      <a:pt x="44" y="51"/>
                    </a:lnTo>
                    <a:lnTo>
                      <a:pt x="44" y="53"/>
                    </a:lnTo>
                    <a:lnTo>
                      <a:pt x="44" y="51"/>
                    </a:lnTo>
                    <a:lnTo>
                      <a:pt x="44" y="53"/>
                    </a:lnTo>
                    <a:lnTo>
                      <a:pt x="44" y="51"/>
                    </a:lnTo>
                    <a:lnTo>
                      <a:pt x="46" y="51"/>
                    </a:lnTo>
                    <a:lnTo>
                      <a:pt x="48" y="51"/>
                    </a:lnTo>
                    <a:lnTo>
                      <a:pt x="46" y="53"/>
                    </a:lnTo>
                    <a:lnTo>
                      <a:pt x="48" y="51"/>
                    </a:lnTo>
                    <a:lnTo>
                      <a:pt x="48" y="53"/>
                    </a:lnTo>
                    <a:lnTo>
                      <a:pt x="50" y="53"/>
                    </a:lnTo>
                    <a:lnTo>
                      <a:pt x="48" y="53"/>
                    </a:lnTo>
                    <a:lnTo>
                      <a:pt x="48" y="51"/>
                    </a:lnTo>
                    <a:lnTo>
                      <a:pt x="46" y="51"/>
                    </a:lnTo>
                    <a:lnTo>
                      <a:pt x="46" y="50"/>
                    </a:lnTo>
                    <a:lnTo>
                      <a:pt x="46" y="51"/>
                    </a:lnTo>
                    <a:lnTo>
                      <a:pt x="46" y="50"/>
                    </a:lnTo>
                    <a:lnTo>
                      <a:pt x="46" y="51"/>
                    </a:lnTo>
                    <a:lnTo>
                      <a:pt x="46" y="50"/>
                    </a:lnTo>
                    <a:lnTo>
                      <a:pt x="44" y="51"/>
                    </a:lnTo>
                    <a:lnTo>
                      <a:pt x="44" y="50"/>
                    </a:lnTo>
                    <a:lnTo>
                      <a:pt x="44" y="51"/>
                    </a:lnTo>
                    <a:lnTo>
                      <a:pt x="42" y="51"/>
                    </a:lnTo>
                    <a:lnTo>
                      <a:pt x="42" y="50"/>
                    </a:lnTo>
                    <a:lnTo>
                      <a:pt x="44" y="50"/>
                    </a:lnTo>
                    <a:lnTo>
                      <a:pt x="44" y="48"/>
                    </a:lnTo>
                    <a:lnTo>
                      <a:pt x="46" y="48"/>
                    </a:lnTo>
                    <a:lnTo>
                      <a:pt x="48" y="48"/>
                    </a:lnTo>
                    <a:lnTo>
                      <a:pt x="46" y="48"/>
                    </a:lnTo>
                    <a:lnTo>
                      <a:pt x="48" y="48"/>
                    </a:lnTo>
                    <a:lnTo>
                      <a:pt x="46" y="48"/>
                    </a:lnTo>
                    <a:lnTo>
                      <a:pt x="44" y="48"/>
                    </a:lnTo>
                    <a:lnTo>
                      <a:pt x="46" y="46"/>
                    </a:lnTo>
                    <a:lnTo>
                      <a:pt x="46" y="44"/>
                    </a:lnTo>
                    <a:lnTo>
                      <a:pt x="46" y="46"/>
                    </a:lnTo>
                    <a:lnTo>
                      <a:pt x="48" y="46"/>
                    </a:lnTo>
                    <a:lnTo>
                      <a:pt x="50" y="46"/>
                    </a:lnTo>
                    <a:lnTo>
                      <a:pt x="48" y="46"/>
                    </a:lnTo>
                    <a:lnTo>
                      <a:pt x="48" y="44"/>
                    </a:lnTo>
                    <a:lnTo>
                      <a:pt x="50" y="44"/>
                    </a:lnTo>
                    <a:lnTo>
                      <a:pt x="48" y="44"/>
                    </a:lnTo>
                    <a:lnTo>
                      <a:pt x="50" y="44"/>
                    </a:lnTo>
                    <a:lnTo>
                      <a:pt x="48" y="44"/>
                    </a:lnTo>
                    <a:lnTo>
                      <a:pt x="46" y="44"/>
                    </a:lnTo>
                    <a:lnTo>
                      <a:pt x="48" y="44"/>
                    </a:lnTo>
                    <a:lnTo>
                      <a:pt x="48" y="42"/>
                    </a:lnTo>
                    <a:lnTo>
                      <a:pt x="50" y="42"/>
                    </a:lnTo>
                    <a:lnTo>
                      <a:pt x="50" y="40"/>
                    </a:lnTo>
                    <a:lnTo>
                      <a:pt x="52" y="38"/>
                    </a:lnTo>
                    <a:lnTo>
                      <a:pt x="54" y="36"/>
                    </a:lnTo>
                    <a:lnTo>
                      <a:pt x="54" y="34"/>
                    </a:lnTo>
                    <a:lnTo>
                      <a:pt x="56" y="32"/>
                    </a:lnTo>
                    <a:lnTo>
                      <a:pt x="56" y="30"/>
                    </a:lnTo>
                    <a:lnTo>
                      <a:pt x="56" y="28"/>
                    </a:lnTo>
                    <a:lnTo>
                      <a:pt x="56" y="26"/>
                    </a:lnTo>
                    <a:lnTo>
                      <a:pt x="54" y="25"/>
                    </a:lnTo>
                    <a:lnTo>
                      <a:pt x="54" y="23"/>
                    </a:lnTo>
                    <a:lnTo>
                      <a:pt x="54" y="21"/>
                    </a:lnTo>
                    <a:lnTo>
                      <a:pt x="52" y="19"/>
                    </a:lnTo>
                    <a:lnTo>
                      <a:pt x="52" y="17"/>
                    </a:lnTo>
                    <a:lnTo>
                      <a:pt x="52" y="15"/>
                    </a:lnTo>
                    <a:lnTo>
                      <a:pt x="50" y="15"/>
                    </a:lnTo>
                    <a:lnTo>
                      <a:pt x="50" y="13"/>
                    </a:lnTo>
                    <a:lnTo>
                      <a:pt x="50" y="11"/>
                    </a:lnTo>
                    <a:lnTo>
                      <a:pt x="48" y="11"/>
                    </a:lnTo>
                    <a:lnTo>
                      <a:pt x="48" y="9"/>
                    </a:lnTo>
                    <a:lnTo>
                      <a:pt x="48" y="7"/>
                    </a:lnTo>
                    <a:lnTo>
                      <a:pt x="48" y="5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6" y="0"/>
                    </a:lnTo>
                    <a:lnTo>
                      <a:pt x="48" y="0"/>
                    </a:lnTo>
                    <a:lnTo>
                      <a:pt x="50" y="1"/>
                    </a:lnTo>
                    <a:lnTo>
                      <a:pt x="52" y="1"/>
                    </a:lnTo>
                    <a:lnTo>
                      <a:pt x="52" y="3"/>
                    </a:lnTo>
                    <a:lnTo>
                      <a:pt x="52" y="5"/>
                    </a:lnTo>
                    <a:lnTo>
                      <a:pt x="54" y="5"/>
                    </a:lnTo>
                    <a:lnTo>
                      <a:pt x="54" y="7"/>
                    </a:lnTo>
                    <a:lnTo>
                      <a:pt x="56" y="7"/>
                    </a:lnTo>
                    <a:lnTo>
                      <a:pt x="56" y="9"/>
                    </a:lnTo>
                    <a:lnTo>
                      <a:pt x="56" y="11"/>
                    </a:lnTo>
                    <a:lnTo>
                      <a:pt x="58" y="13"/>
                    </a:lnTo>
                    <a:lnTo>
                      <a:pt x="60" y="15"/>
                    </a:lnTo>
                    <a:lnTo>
                      <a:pt x="60" y="17"/>
                    </a:lnTo>
                    <a:lnTo>
                      <a:pt x="62" y="17"/>
                    </a:lnTo>
                    <a:lnTo>
                      <a:pt x="64" y="19"/>
                    </a:lnTo>
                    <a:lnTo>
                      <a:pt x="65" y="19"/>
                    </a:lnTo>
                    <a:lnTo>
                      <a:pt x="67" y="19"/>
                    </a:lnTo>
                    <a:lnTo>
                      <a:pt x="67" y="21"/>
                    </a:lnTo>
                    <a:lnTo>
                      <a:pt x="69" y="21"/>
                    </a:lnTo>
                    <a:lnTo>
                      <a:pt x="71" y="21"/>
                    </a:lnTo>
                    <a:lnTo>
                      <a:pt x="71" y="23"/>
                    </a:lnTo>
                    <a:lnTo>
                      <a:pt x="73" y="23"/>
                    </a:lnTo>
                    <a:lnTo>
                      <a:pt x="75" y="23"/>
                    </a:lnTo>
                    <a:lnTo>
                      <a:pt x="75" y="25"/>
                    </a:lnTo>
                    <a:lnTo>
                      <a:pt x="77" y="25"/>
                    </a:lnTo>
                    <a:lnTo>
                      <a:pt x="79" y="25"/>
                    </a:lnTo>
                    <a:lnTo>
                      <a:pt x="79" y="26"/>
                    </a:lnTo>
                    <a:lnTo>
                      <a:pt x="81" y="26"/>
                    </a:lnTo>
                    <a:lnTo>
                      <a:pt x="81" y="28"/>
                    </a:lnTo>
                    <a:lnTo>
                      <a:pt x="83" y="28"/>
                    </a:lnTo>
                    <a:lnTo>
                      <a:pt x="87" y="30"/>
                    </a:lnTo>
                    <a:lnTo>
                      <a:pt x="90" y="34"/>
                    </a:lnTo>
                    <a:lnTo>
                      <a:pt x="92" y="36"/>
                    </a:lnTo>
                    <a:lnTo>
                      <a:pt x="94" y="38"/>
                    </a:lnTo>
                    <a:lnTo>
                      <a:pt x="96" y="40"/>
                    </a:lnTo>
                    <a:lnTo>
                      <a:pt x="96" y="42"/>
                    </a:lnTo>
                    <a:lnTo>
                      <a:pt x="98" y="44"/>
                    </a:lnTo>
                    <a:lnTo>
                      <a:pt x="100" y="46"/>
                    </a:lnTo>
                    <a:lnTo>
                      <a:pt x="98" y="46"/>
                    </a:lnTo>
                    <a:lnTo>
                      <a:pt x="98" y="44"/>
                    </a:lnTo>
                    <a:lnTo>
                      <a:pt x="96" y="44"/>
                    </a:lnTo>
                    <a:lnTo>
                      <a:pt x="96" y="46"/>
                    </a:lnTo>
                    <a:lnTo>
                      <a:pt x="96" y="48"/>
                    </a:lnTo>
                    <a:lnTo>
                      <a:pt x="96" y="50"/>
                    </a:lnTo>
                    <a:lnTo>
                      <a:pt x="96" y="51"/>
                    </a:lnTo>
                    <a:lnTo>
                      <a:pt x="94" y="51"/>
                    </a:lnTo>
                    <a:lnTo>
                      <a:pt x="96" y="51"/>
                    </a:lnTo>
                    <a:lnTo>
                      <a:pt x="96" y="53"/>
                    </a:lnTo>
                    <a:lnTo>
                      <a:pt x="98" y="53"/>
                    </a:lnTo>
                    <a:lnTo>
                      <a:pt x="98" y="55"/>
                    </a:lnTo>
                    <a:lnTo>
                      <a:pt x="98" y="57"/>
                    </a:lnTo>
                    <a:lnTo>
                      <a:pt x="98" y="59"/>
                    </a:lnTo>
                    <a:lnTo>
                      <a:pt x="98" y="61"/>
                    </a:lnTo>
                    <a:lnTo>
                      <a:pt x="100" y="61"/>
                    </a:lnTo>
                    <a:lnTo>
                      <a:pt x="100" y="63"/>
                    </a:lnTo>
                    <a:lnTo>
                      <a:pt x="100" y="65"/>
                    </a:lnTo>
                    <a:lnTo>
                      <a:pt x="102" y="67"/>
                    </a:lnTo>
                    <a:lnTo>
                      <a:pt x="102" y="69"/>
                    </a:lnTo>
                    <a:lnTo>
                      <a:pt x="100" y="69"/>
                    </a:lnTo>
                    <a:lnTo>
                      <a:pt x="98" y="69"/>
                    </a:lnTo>
                    <a:lnTo>
                      <a:pt x="98" y="67"/>
                    </a:lnTo>
                    <a:lnTo>
                      <a:pt x="98" y="69"/>
                    </a:lnTo>
                    <a:lnTo>
                      <a:pt x="100" y="69"/>
                    </a:lnTo>
                    <a:lnTo>
                      <a:pt x="100" y="71"/>
                    </a:lnTo>
                    <a:lnTo>
                      <a:pt x="98" y="71"/>
                    </a:lnTo>
                    <a:lnTo>
                      <a:pt x="98" y="73"/>
                    </a:lnTo>
                    <a:lnTo>
                      <a:pt x="98" y="75"/>
                    </a:lnTo>
                    <a:lnTo>
                      <a:pt x="98" y="76"/>
                    </a:lnTo>
                    <a:lnTo>
                      <a:pt x="98" y="78"/>
                    </a:lnTo>
                    <a:lnTo>
                      <a:pt x="98" y="80"/>
                    </a:lnTo>
                    <a:lnTo>
                      <a:pt x="98" y="82"/>
                    </a:lnTo>
                    <a:lnTo>
                      <a:pt x="98" y="84"/>
                    </a:lnTo>
                    <a:lnTo>
                      <a:pt x="96" y="84"/>
                    </a:lnTo>
                    <a:lnTo>
                      <a:pt x="96" y="86"/>
                    </a:lnTo>
                    <a:lnTo>
                      <a:pt x="94" y="86"/>
                    </a:lnTo>
                    <a:lnTo>
                      <a:pt x="94" y="84"/>
                    </a:lnTo>
                    <a:lnTo>
                      <a:pt x="92" y="84"/>
                    </a:lnTo>
                    <a:lnTo>
                      <a:pt x="90" y="84"/>
                    </a:lnTo>
                    <a:lnTo>
                      <a:pt x="90" y="82"/>
                    </a:lnTo>
                    <a:lnTo>
                      <a:pt x="89" y="82"/>
                    </a:lnTo>
                    <a:lnTo>
                      <a:pt x="89" y="80"/>
                    </a:lnTo>
                    <a:lnTo>
                      <a:pt x="87" y="80"/>
                    </a:lnTo>
                    <a:lnTo>
                      <a:pt x="89" y="80"/>
                    </a:lnTo>
                    <a:lnTo>
                      <a:pt x="83" y="80"/>
                    </a:lnTo>
                    <a:lnTo>
                      <a:pt x="81" y="80"/>
                    </a:lnTo>
                    <a:lnTo>
                      <a:pt x="81" y="78"/>
                    </a:lnTo>
                    <a:lnTo>
                      <a:pt x="79" y="78"/>
                    </a:lnTo>
                    <a:lnTo>
                      <a:pt x="81" y="78"/>
                    </a:lnTo>
                    <a:lnTo>
                      <a:pt x="79" y="78"/>
                    </a:lnTo>
                    <a:lnTo>
                      <a:pt x="77" y="78"/>
                    </a:lnTo>
                    <a:lnTo>
                      <a:pt x="75" y="78"/>
                    </a:lnTo>
                    <a:lnTo>
                      <a:pt x="73" y="78"/>
                    </a:lnTo>
                    <a:lnTo>
                      <a:pt x="71" y="76"/>
                    </a:lnTo>
                    <a:lnTo>
                      <a:pt x="73" y="76"/>
                    </a:lnTo>
                    <a:lnTo>
                      <a:pt x="71" y="75"/>
                    </a:lnTo>
                    <a:lnTo>
                      <a:pt x="73" y="76"/>
                    </a:lnTo>
                    <a:lnTo>
                      <a:pt x="71" y="76"/>
                    </a:lnTo>
                    <a:lnTo>
                      <a:pt x="69" y="76"/>
                    </a:lnTo>
                    <a:lnTo>
                      <a:pt x="67" y="75"/>
                    </a:lnTo>
                    <a:lnTo>
                      <a:pt x="64" y="75"/>
                    </a:lnTo>
                    <a:lnTo>
                      <a:pt x="64" y="76"/>
                    </a:lnTo>
                    <a:lnTo>
                      <a:pt x="62" y="76"/>
                    </a:lnTo>
                    <a:lnTo>
                      <a:pt x="62" y="75"/>
                    </a:lnTo>
                    <a:lnTo>
                      <a:pt x="62" y="76"/>
                    </a:lnTo>
                    <a:lnTo>
                      <a:pt x="62" y="75"/>
                    </a:lnTo>
                    <a:lnTo>
                      <a:pt x="62" y="76"/>
                    </a:lnTo>
                    <a:lnTo>
                      <a:pt x="60" y="76"/>
                    </a:lnTo>
                    <a:lnTo>
                      <a:pt x="60" y="75"/>
                    </a:lnTo>
                    <a:lnTo>
                      <a:pt x="60" y="76"/>
                    </a:lnTo>
                    <a:lnTo>
                      <a:pt x="60" y="75"/>
                    </a:lnTo>
                    <a:lnTo>
                      <a:pt x="60" y="76"/>
                    </a:lnTo>
                    <a:lnTo>
                      <a:pt x="62" y="76"/>
                    </a:lnTo>
                    <a:lnTo>
                      <a:pt x="62" y="78"/>
                    </a:lnTo>
                    <a:lnTo>
                      <a:pt x="62" y="80"/>
                    </a:lnTo>
                    <a:lnTo>
                      <a:pt x="60" y="80"/>
                    </a:lnTo>
                    <a:lnTo>
                      <a:pt x="58" y="82"/>
                    </a:lnTo>
                    <a:lnTo>
                      <a:pt x="58" y="80"/>
                    </a:lnTo>
                    <a:lnTo>
                      <a:pt x="56" y="80"/>
                    </a:lnTo>
                    <a:lnTo>
                      <a:pt x="54" y="80"/>
                    </a:lnTo>
                    <a:lnTo>
                      <a:pt x="52" y="82"/>
                    </a:lnTo>
                    <a:lnTo>
                      <a:pt x="50" y="82"/>
                    </a:lnTo>
                    <a:lnTo>
                      <a:pt x="48" y="82"/>
                    </a:lnTo>
                    <a:lnTo>
                      <a:pt x="46" y="84"/>
                    </a:lnTo>
                    <a:lnTo>
                      <a:pt x="46" y="86"/>
                    </a:lnTo>
                    <a:lnTo>
                      <a:pt x="44" y="86"/>
                    </a:lnTo>
                    <a:lnTo>
                      <a:pt x="44" y="88"/>
                    </a:lnTo>
                    <a:lnTo>
                      <a:pt x="42" y="90"/>
                    </a:lnTo>
                    <a:lnTo>
                      <a:pt x="40" y="90"/>
                    </a:lnTo>
                    <a:lnTo>
                      <a:pt x="42" y="90"/>
                    </a:lnTo>
                    <a:lnTo>
                      <a:pt x="42" y="92"/>
                    </a:lnTo>
                    <a:lnTo>
                      <a:pt x="44" y="92"/>
                    </a:lnTo>
                    <a:lnTo>
                      <a:pt x="44" y="94"/>
                    </a:lnTo>
                    <a:lnTo>
                      <a:pt x="44" y="96"/>
                    </a:lnTo>
                    <a:lnTo>
                      <a:pt x="44" y="98"/>
                    </a:lnTo>
                    <a:lnTo>
                      <a:pt x="46" y="98"/>
                    </a:lnTo>
                    <a:lnTo>
                      <a:pt x="46" y="100"/>
                    </a:lnTo>
                    <a:lnTo>
                      <a:pt x="48" y="101"/>
                    </a:lnTo>
                    <a:lnTo>
                      <a:pt x="50" y="103"/>
                    </a:lnTo>
                    <a:lnTo>
                      <a:pt x="52" y="105"/>
                    </a:lnTo>
                    <a:lnTo>
                      <a:pt x="52" y="107"/>
                    </a:lnTo>
                    <a:lnTo>
                      <a:pt x="52" y="109"/>
                    </a:lnTo>
                    <a:lnTo>
                      <a:pt x="52" y="111"/>
                    </a:lnTo>
                    <a:lnTo>
                      <a:pt x="50" y="113"/>
                    </a:lnTo>
                    <a:lnTo>
                      <a:pt x="48" y="113"/>
                    </a:lnTo>
                    <a:lnTo>
                      <a:pt x="50" y="113"/>
                    </a:lnTo>
                    <a:lnTo>
                      <a:pt x="50" y="115"/>
                    </a:lnTo>
                    <a:lnTo>
                      <a:pt x="50" y="117"/>
                    </a:lnTo>
                    <a:lnTo>
                      <a:pt x="50" y="119"/>
                    </a:lnTo>
                    <a:lnTo>
                      <a:pt x="50" y="117"/>
                    </a:lnTo>
                    <a:lnTo>
                      <a:pt x="50" y="119"/>
                    </a:lnTo>
                    <a:lnTo>
                      <a:pt x="50" y="121"/>
                    </a:lnTo>
                    <a:lnTo>
                      <a:pt x="50" y="123"/>
                    </a:lnTo>
                    <a:lnTo>
                      <a:pt x="50" y="125"/>
                    </a:lnTo>
                    <a:lnTo>
                      <a:pt x="50" y="126"/>
                    </a:lnTo>
                    <a:lnTo>
                      <a:pt x="50" y="128"/>
                    </a:lnTo>
                    <a:lnTo>
                      <a:pt x="52" y="128"/>
                    </a:lnTo>
                    <a:lnTo>
                      <a:pt x="52" y="130"/>
                    </a:lnTo>
                    <a:lnTo>
                      <a:pt x="50" y="130"/>
                    </a:lnTo>
                    <a:lnTo>
                      <a:pt x="50" y="132"/>
                    </a:lnTo>
                    <a:lnTo>
                      <a:pt x="48" y="132"/>
                    </a:lnTo>
                    <a:lnTo>
                      <a:pt x="46" y="132"/>
                    </a:lnTo>
                    <a:lnTo>
                      <a:pt x="48" y="134"/>
                    </a:lnTo>
                    <a:lnTo>
                      <a:pt x="46" y="134"/>
                    </a:lnTo>
                    <a:lnTo>
                      <a:pt x="46" y="136"/>
                    </a:lnTo>
                    <a:lnTo>
                      <a:pt x="44" y="136"/>
                    </a:lnTo>
                    <a:lnTo>
                      <a:pt x="46" y="136"/>
                    </a:lnTo>
                    <a:lnTo>
                      <a:pt x="44" y="136"/>
                    </a:lnTo>
                    <a:lnTo>
                      <a:pt x="44" y="138"/>
                    </a:lnTo>
                    <a:lnTo>
                      <a:pt x="44" y="136"/>
                    </a:lnTo>
                    <a:lnTo>
                      <a:pt x="46" y="136"/>
                    </a:lnTo>
                    <a:lnTo>
                      <a:pt x="44" y="136"/>
                    </a:lnTo>
                    <a:lnTo>
                      <a:pt x="46" y="136"/>
                    </a:lnTo>
                    <a:lnTo>
                      <a:pt x="46" y="134"/>
                    </a:lnTo>
                    <a:lnTo>
                      <a:pt x="48" y="134"/>
                    </a:lnTo>
                    <a:lnTo>
                      <a:pt x="46" y="134"/>
                    </a:lnTo>
                    <a:lnTo>
                      <a:pt x="48" y="134"/>
                    </a:lnTo>
                    <a:lnTo>
                      <a:pt x="48" y="132"/>
                    </a:lnTo>
                    <a:lnTo>
                      <a:pt x="50" y="132"/>
                    </a:lnTo>
                    <a:lnTo>
                      <a:pt x="50" y="130"/>
                    </a:lnTo>
                    <a:lnTo>
                      <a:pt x="52" y="132"/>
                    </a:lnTo>
                    <a:lnTo>
                      <a:pt x="52" y="130"/>
                    </a:lnTo>
                    <a:lnTo>
                      <a:pt x="52" y="132"/>
                    </a:lnTo>
                    <a:lnTo>
                      <a:pt x="52" y="130"/>
                    </a:lnTo>
                    <a:lnTo>
                      <a:pt x="52" y="132"/>
                    </a:lnTo>
                    <a:lnTo>
                      <a:pt x="54" y="132"/>
                    </a:lnTo>
                    <a:lnTo>
                      <a:pt x="56" y="132"/>
                    </a:lnTo>
                    <a:lnTo>
                      <a:pt x="58" y="134"/>
                    </a:lnTo>
                    <a:lnTo>
                      <a:pt x="60" y="134"/>
                    </a:lnTo>
                    <a:lnTo>
                      <a:pt x="62" y="134"/>
                    </a:lnTo>
                    <a:lnTo>
                      <a:pt x="64" y="134"/>
                    </a:lnTo>
                    <a:lnTo>
                      <a:pt x="65" y="134"/>
                    </a:lnTo>
                    <a:lnTo>
                      <a:pt x="65" y="136"/>
                    </a:lnTo>
                    <a:lnTo>
                      <a:pt x="65" y="138"/>
                    </a:lnTo>
                    <a:lnTo>
                      <a:pt x="65" y="136"/>
                    </a:lnTo>
                    <a:lnTo>
                      <a:pt x="65" y="138"/>
                    </a:lnTo>
                    <a:lnTo>
                      <a:pt x="65" y="136"/>
                    </a:lnTo>
                    <a:lnTo>
                      <a:pt x="65" y="138"/>
                    </a:lnTo>
                    <a:lnTo>
                      <a:pt x="64" y="138"/>
                    </a:lnTo>
                    <a:lnTo>
                      <a:pt x="62" y="138"/>
                    </a:lnTo>
                    <a:lnTo>
                      <a:pt x="62" y="140"/>
                    </a:lnTo>
                    <a:lnTo>
                      <a:pt x="60" y="138"/>
                    </a:lnTo>
                    <a:lnTo>
                      <a:pt x="60" y="140"/>
                    </a:lnTo>
                    <a:lnTo>
                      <a:pt x="58" y="138"/>
                    </a:lnTo>
                    <a:lnTo>
                      <a:pt x="58" y="140"/>
                    </a:lnTo>
                    <a:lnTo>
                      <a:pt x="58" y="142"/>
                    </a:lnTo>
                    <a:lnTo>
                      <a:pt x="60" y="142"/>
                    </a:lnTo>
                    <a:lnTo>
                      <a:pt x="58" y="142"/>
                    </a:lnTo>
                    <a:lnTo>
                      <a:pt x="56" y="142"/>
                    </a:lnTo>
                    <a:lnTo>
                      <a:pt x="58" y="144"/>
                    </a:lnTo>
                    <a:lnTo>
                      <a:pt x="56" y="144"/>
                    </a:lnTo>
                    <a:lnTo>
                      <a:pt x="56" y="146"/>
                    </a:lnTo>
                    <a:lnTo>
                      <a:pt x="58" y="146"/>
                    </a:lnTo>
                    <a:lnTo>
                      <a:pt x="56" y="146"/>
                    </a:lnTo>
                    <a:lnTo>
                      <a:pt x="56" y="148"/>
                    </a:lnTo>
                    <a:lnTo>
                      <a:pt x="58" y="148"/>
                    </a:lnTo>
                    <a:lnTo>
                      <a:pt x="56" y="148"/>
                    </a:lnTo>
                    <a:lnTo>
                      <a:pt x="56" y="150"/>
                    </a:lnTo>
                    <a:lnTo>
                      <a:pt x="56" y="148"/>
                    </a:lnTo>
                    <a:lnTo>
                      <a:pt x="56" y="150"/>
                    </a:lnTo>
                    <a:lnTo>
                      <a:pt x="56" y="148"/>
                    </a:lnTo>
                    <a:lnTo>
                      <a:pt x="58" y="148"/>
                    </a:lnTo>
                    <a:lnTo>
                      <a:pt x="56" y="148"/>
                    </a:lnTo>
                    <a:lnTo>
                      <a:pt x="56" y="146"/>
                    </a:lnTo>
                    <a:lnTo>
                      <a:pt x="58" y="146"/>
                    </a:lnTo>
                    <a:lnTo>
                      <a:pt x="56" y="146"/>
                    </a:lnTo>
                    <a:lnTo>
                      <a:pt x="56" y="144"/>
                    </a:lnTo>
                    <a:lnTo>
                      <a:pt x="58" y="144"/>
                    </a:lnTo>
                    <a:lnTo>
                      <a:pt x="56" y="142"/>
                    </a:lnTo>
                    <a:lnTo>
                      <a:pt x="58" y="142"/>
                    </a:lnTo>
                    <a:lnTo>
                      <a:pt x="60" y="142"/>
                    </a:lnTo>
                    <a:lnTo>
                      <a:pt x="58" y="142"/>
                    </a:lnTo>
                    <a:lnTo>
                      <a:pt x="58" y="140"/>
                    </a:lnTo>
                    <a:lnTo>
                      <a:pt x="60" y="140"/>
                    </a:lnTo>
                    <a:lnTo>
                      <a:pt x="58" y="140"/>
                    </a:lnTo>
                    <a:lnTo>
                      <a:pt x="60" y="140"/>
                    </a:lnTo>
                    <a:lnTo>
                      <a:pt x="58" y="140"/>
                    </a:lnTo>
                    <a:lnTo>
                      <a:pt x="60" y="140"/>
                    </a:lnTo>
                    <a:lnTo>
                      <a:pt x="62" y="140"/>
                    </a:lnTo>
                    <a:lnTo>
                      <a:pt x="62" y="138"/>
                    </a:lnTo>
                    <a:lnTo>
                      <a:pt x="64" y="140"/>
                    </a:lnTo>
                    <a:lnTo>
                      <a:pt x="64" y="138"/>
                    </a:lnTo>
                    <a:lnTo>
                      <a:pt x="65" y="138"/>
                    </a:lnTo>
                    <a:lnTo>
                      <a:pt x="65" y="140"/>
                    </a:lnTo>
                    <a:lnTo>
                      <a:pt x="67" y="140"/>
                    </a:lnTo>
                    <a:lnTo>
                      <a:pt x="69" y="140"/>
                    </a:lnTo>
                    <a:lnTo>
                      <a:pt x="71" y="140"/>
                    </a:lnTo>
                    <a:lnTo>
                      <a:pt x="73" y="140"/>
                    </a:lnTo>
                    <a:lnTo>
                      <a:pt x="73" y="142"/>
                    </a:lnTo>
                    <a:lnTo>
                      <a:pt x="71" y="142"/>
                    </a:lnTo>
                    <a:lnTo>
                      <a:pt x="71" y="144"/>
                    </a:lnTo>
                    <a:lnTo>
                      <a:pt x="71" y="142"/>
                    </a:lnTo>
                    <a:lnTo>
                      <a:pt x="71" y="144"/>
                    </a:lnTo>
                    <a:lnTo>
                      <a:pt x="73" y="144"/>
                    </a:lnTo>
                    <a:lnTo>
                      <a:pt x="71" y="144"/>
                    </a:lnTo>
                    <a:lnTo>
                      <a:pt x="73" y="144"/>
                    </a:lnTo>
                    <a:lnTo>
                      <a:pt x="71" y="144"/>
                    </a:lnTo>
                    <a:lnTo>
                      <a:pt x="71" y="142"/>
                    </a:lnTo>
                    <a:lnTo>
                      <a:pt x="71" y="144"/>
                    </a:lnTo>
                    <a:lnTo>
                      <a:pt x="71" y="142"/>
                    </a:lnTo>
                    <a:lnTo>
                      <a:pt x="73" y="142"/>
                    </a:lnTo>
                    <a:lnTo>
                      <a:pt x="71" y="142"/>
                    </a:lnTo>
                    <a:lnTo>
                      <a:pt x="73" y="142"/>
                    </a:lnTo>
                    <a:lnTo>
                      <a:pt x="75" y="142"/>
                    </a:lnTo>
                    <a:lnTo>
                      <a:pt x="77" y="142"/>
                    </a:lnTo>
                    <a:lnTo>
                      <a:pt x="79" y="142"/>
                    </a:lnTo>
                    <a:lnTo>
                      <a:pt x="81" y="142"/>
                    </a:lnTo>
                    <a:lnTo>
                      <a:pt x="83" y="142"/>
                    </a:lnTo>
                    <a:lnTo>
                      <a:pt x="85" y="142"/>
                    </a:lnTo>
                    <a:lnTo>
                      <a:pt x="87" y="142"/>
                    </a:lnTo>
                    <a:lnTo>
                      <a:pt x="87" y="144"/>
                    </a:lnTo>
                    <a:lnTo>
                      <a:pt x="89" y="144"/>
                    </a:lnTo>
                    <a:lnTo>
                      <a:pt x="89" y="146"/>
                    </a:lnTo>
                    <a:lnTo>
                      <a:pt x="90" y="148"/>
                    </a:lnTo>
                    <a:lnTo>
                      <a:pt x="89" y="148"/>
                    </a:lnTo>
                    <a:lnTo>
                      <a:pt x="89" y="150"/>
                    </a:lnTo>
                    <a:lnTo>
                      <a:pt x="90" y="150"/>
                    </a:lnTo>
                    <a:lnTo>
                      <a:pt x="89" y="150"/>
                    </a:lnTo>
                    <a:lnTo>
                      <a:pt x="89" y="151"/>
                    </a:lnTo>
                    <a:lnTo>
                      <a:pt x="90" y="151"/>
                    </a:lnTo>
                    <a:lnTo>
                      <a:pt x="90" y="153"/>
                    </a:lnTo>
                    <a:lnTo>
                      <a:pt x="90" y="151"/>
                    </a:lnTo>
                    <a:lnTo>
                      <a:pt x="89" y="151"/>
                    </a:lnTo>
                    <a:lnTo>
                      <a:pt x="90" y="153"/>
                    </a:lnTo>
                    <a:lnTo>
                      <a:pt x="90" y="155"/>
                    </a:lnTo>
                    <a:lnTo>
                      <a:pt x="90" y="153"/>
                    </a:lnTo>
                    <a:lnTo>
                      <a:pt x="89" y="153"/>
                    </a:lnTo>
                    <a:lnTo>
                      <a:pt x="89" y="155"/>
                    </a:lnTo>
                    <a:lnTo>
                      <a:pt x="90" y="155"/>
                    </a:lnTo>
                    <a:lnTo>
                      <a:pt x="92" y="155"/>
                    </a:lnTo>
                    <a:lnTo>
                      <a:pt x="92" y="157"/>
                    </a:lnTo>
                    <a:lnTo>
                      <a:pt x="90" y="157"/>
                    </a:lnTo>
                    <a:lnTo>
                      <a:pt x="90" y="155"/>
                    </a:lnTo>
                    <a:lnTo>
                      <a:pt x="89" y="155"/>
                    </a:lnTo>
                    <a:lnTo>
                      <a:pt x="89" y="157"/>
                    </a:lnTo>
                    <a:lnTo>
                      <a:pt x="90" y="157"/>
                    </a:lnTo>
                    <a:lnTo>
                      <a:pt x="92" y="157"/>
                    </a:lnTo>
                    <a:lnTo>
                      <a:pt x="92" y="159"/>
                    </a:lnTo>
                    <a:lnTo>
                      <a:pt x="90" y="157"/>
                    </a:lnTo>
                    <a:lnTo>
                      <a:pt x="90" y="159"/>
                    </a:lnTo>
                    <a:lnTo>
                      <a:pt x="90" y="157"/>
                    </a:lnTo>
                    <a:lnTo>
                      <a:pt x="89" y="159"/>
                    </a:lnTo>
                    <a:lnTo>
                      <a:pt x="90" y="159"/>
                    </a:lnTo>
                    <a:lnTo>
                      <a:pt x="90" y="161"/>
                    </a:lnTo>
                    <a:lnTo>
                      <a:pt x="92" y="161"/>
                    </a:lnTo>
                    <a:lnTo>
                      <a:pt x="90" y="161"/>
                    </a:lnTo>
                    <a:lnTo>
                      <a:pt x="92" y="161"/>
                    </a:lnTo>
                    <a:lnTo>
                      <a:pt x="90" y="161"/>
                    </a:lnTo>
                    <a:lnTo>
                      <a:pt x="90" y="159"/>
                    </a:lnTo>
                    <a:lnTo>
                      <a:pt x="89" y="159"/>
                    </a:lnTo>
                    <a:lnTo>
                      <a:pt x="90" y="159"/>
                    </a:lnTo>
                    <a:lnTo>
                      <a:pt x="90" y="157"/>
                    </a:lnTo>
                    <a:lnTo>
                      <a:pt x="90" y="159"/>
                    </a:lnTo>
                    <a:lnTo>
                      <a:pt x="90" y="157"/>
                    </a:lnTo>
                    <a:lnTo>
                      <a:pt x="92" y="159"/>
                    </a:lnTo>
                    <a:lnTo>
                      <a:pt x="92" y="157"/>
                    </a:lnTo>
                    <a:lnTo>
                      <a:pt x="90" y="157"/>
                    </a:lnTo>
                    <a:lnTo>
                      <a:pt x="89" y="157"/>
                    </a:lnTo>
                    <a:lnTo>
                      <a:pt x="89" y="155"/>
                    </a:lnTo>
                    <a:lnTo>
                      <a:pt x="90" y="155"/>
                    </a:lnTo>
                    <a:lnTo>
                      <a:pt x="90" y="157"/>
                    </a:lnTo>
                    <a:lnTo>
                      <a:pt x="92" y="157"/>
                    </a:lnTo>
                    <a:lnTo>
                      <a:pt x="92" y="155"/>
                    </a:lnTo>
                    <a:lnTo>
                      <a:pt x="90" y="155"/>
                    </a:lnTo>
                    <a:lnTo>
                      <a:pt x="89" y="155"/>
                    </a:lnTo>
                    <a:lnTo>
                      <a:pt x="90" y="153"/>
                    </a:lnTo>
                    <a:lnTo>
                      <a:pt x="90" y="155"/>
                    </a:lnTo>
                    <a:lnTo>
                      <a:pt x="90" y="153"/>
                    </a:lnTo>
                    <a:lnTo>
                      <a:pt x="90" y="151"/>
                    </a:lnTo>
                    <a:lnTo>
                      <a:pt x="90" y="153"/>
                    </a:lnTo>
                    <a:lnTo>
                      <a:pt x="90" y="151"/>
                    </a:lnTo>
                    <a:lnTo>
                      <a:pt x="89" y="151"/>
                    </a:lnTo>
                    <a:lnTo>
                      <a:pt x="89" y="150"/>
                    </a:lnTo>
                    <a:lnTo>
                      <a:pt x="90" y="150"/>
                    </a:lnTo>
                    <a:lnTo>
                      <a:pt x="89" y="148"/>
                    </a:lnTo>
                    <a:lnTo>
                      <a:pt x="90" y="148"/>
                    </a:lnTo>
                    <a:lnTo>
                      <a:pt x="90" y="146"/>
                    </a:lnTo>
                    <a:lnTo>
                      <a:pt x="90" y="144"/>
                    </a:lnTo>
                    <a:lnTo>
                      <a:pt x="92" y="144"/>
                    </a:lnTo>
                    <a:lnTo>
                      <a:pt x="94" y="144"/>
                    </a:lnTo>
                    <a:lnTo>
                      <a:pt x="94" y="142"/>
                    </a:lnTo>
                    <a:lnTo>
                      <a:pt x="96" y="142"/>
                    </a:lnTo>
                    <a:lnTo>
                      <a:pt x="96" y="140"/>
                    </a:lnTo>
                    <a:lnTo>
                      <a:pt x="98" y="140"/>
                    </a:lnTo>
                    <a:lnTo>
                      <a:pt x="98" y="138"/>
                    </a:lnTo>
                    <a:lnTo>
                      <a:pt x="100" y="136"/>
                    </a:lnTo>
                    <a:lnTo>
                      <a:pt x="100" y="134"/>
                    </a:lnTo>
                    <a:lnTo>
                      <a:pt x="100" y="136"/>
                    </a:lnTo>
                    <a:lnTo>
                      <a:pt x="102" y="136"/>
                    </a:lnTo>
                    <a:lnTo>
                      <a:pt x="102" y="138"/>
                    </a:lnTo>
                    <a:lnTo>
                      <a:pt x="102" y="136"/>
                    </a:lnTo>
                    <a:lnTo>
                      <a:pt x="100" y="134"/>
                    </a:lnTo>
                    <a:lnTo>
                      <a:pt x="100" y="132"/>
                    </a:lnTo>
                    <a:lnTo>
                      <a:pt x="100" y="130"/>
                    </a:lnTo>
                    <a:lnTo>
                      <a:pt x="102" y="130"/>
                    </a:lnTo>
                    <a:lnTo>
                      <a:pt x="104" y="130"/>
                    </a:lnTo>
                    <a:lnTo>
                      <a:pt x="104" y="128"/>
                    </a:lnTo>
                    <a:lnTo>
                      <a:pt x="104" y="126"/>
                    </a:lnTo>
                    <a:lnTo>
                      <a:pt x="106" y="126"/>
                    </a:lnTo>
                    <a:lnTo>
                      <a:pt x="106" y="125"/>
                    </a:lnTo>
                    <a:lnTo>
                      <a:pt x="106" y="126"/>
                    </a:lnTo>
                    <a:lnTo>
                      <a:pt x="108" y="126"/>
                    </a:lnTo>
                    <a:lnTo>
                      <a:pt x="106" y="126"/>
                    </a:lnTo>
                    <a:lnTo>
                      <a:pt x="106" y="125"/>
                    </a:lnTo>
                    <a:lnTo>
                      <a:pt x="108" y="125"/>
                    </a:lnTo>
                    <a:lnTo>
                      <a:pt x="108" y="123"/>
                    </a:lnTo>
                    <a:lnTo>
                      <a:pt x="108" y="125"/>
                    </a:lnTo>
                    <a:lnTo>
                      <a:pt x="110" y="125"/>
                    </a:lnTo>
                    <a:lnTo>
                      <a:pt x="110" y="123"/>
                    </a:lnTo>
                    <a:lnTo>
                      <a:pt x="110" y="125"/>
                    </a:lnTo>
                    <a:lnTo>
                      <a:pt x="110" y="126"/>
                    </a:lnTo>
                    <a:lnTo>
                      <a:pt x="110" y="125"/>
                    </a:lnTo>
                    <a:lnTo>
                      <a:pt x="110" y="123"/>
                    </a:lnTo>
                    <a:lnTo>
                      <a:pt x="112" y="123"/>
                    </a:lnTo>
                    <a:lnTo>
                      <a:pt x="112" y="121"/>
                    </a:lnTo>
                    <a:lnTo>
                      <a:pt x="113" y="121"/>
                    </a:lnTo>
                    <a:lnTo>
                      <a:pt x="113" y="119"/>
                    </a:lnTo>
                    <a:lnTo>
                      <a:pt x="113" y="117"/>
                    </a:lnTo>
                    <a:lnTo>
                      <a:pt x="113" y="119"/>
                    </a:lnTo>
                    <a:lnTo>
                      <a:pt x="115" y="119"/>
                    </a:lnTo>
                    <a:lnTo>
                      <a:pt x="115" y="117"/>
                    </a:lnTo>
                    <a:lnTo>
                      <a:pt x="115" y="119"/>
                    </a:lnTo>
                    <a:lnTo>
                      <a:pt x="113" y="117"/>
                    </a:lnTo>
                    <a:lnTo>
                      <a:pt x="113" y="115"/>
                    </a:lnTo>
                    <a:lnTo>
                      <a:pt x="113" y="113"/>
                    </a:lnTo>
                    <a:lnTo>
                      <a:pt x="115" y="111"/>
                    </a:lnTo>
                    <a:lnTo>
                      <a:pt x="117" y="111"/>
                    </a:lnTo>
                    <a:lnTo>
                      <a:pt x="119" y="111"/>
                    </a:lnTo>
                    <a:lnTo>
                      <a:pt x="121" y="111"/>
                    </a:lnTo>
                    <a:lnTo>
                      <a:pt x="121" y="113"/>
                    </a:lnTo>
                    <a:lnTo>
                      <a:pt x="123" y="113"/>
                    </a:lnTo>
                    <a:lnTo>
                      <a:pt x="121" y="113"/>
                    </a:lnTo>
                    <a:lnTo>
                      <a:pt x="121" y="115"/>
                    </a:lnTo>
                    <a:lnTo>
                      <a:pt x="119" y="115"/>
                    </a:lnTo>
                    <a:lnTo>
                      <a:pt x="121" y="115"/>
                    </a:lnTo>
                    <a:lnTo>
                      <a:pt x="121" y="113"/>
                    </a:lnTo>
                    <a:lnTo>
                      <a:pt x="121" y="115"/>
                    </a:lnTo>
                    <a:lnTo>
                      <a:pt x="121" y="113"/>
                    </a:lnTo>
                    <a:lnTo>
                      <a:pt x="123" y="113"/>
                    </a:lnTo>
                    <a:lnTo>
                      <a:pt x="125" y="113"/>
                    </a:lnTo>
                    <a:lnTo>
                      <a:pt x="127" y="113"/>
                    </a:lnTo>
                    <a:lnTo>
                      <a:pt x="129" y="113"/>
                    </a:lnTo>
                    <a:lnTo>
                      <a:pt x="129" y="115"/>
                    </a:lnTo>
                    <a:lnTo>
                      <a:pt x="131" y="115"/>
                    </a:lnTo>
                    <a:lnTo>
                      <a:pt x="131" y="117"/>
                    </a:lnTo>
                    <a:lnTo>
                      <a:pt x="133" y="117"/>
                    </a:lnTo>
                    <a:lnTo>
                      <a:pt x="133" y="115"/>
                    </a:lnTo>
                    <a:lnTo>
                      <a:pt x="135" y="115"/>
                    </a:lnTo>
                    <a:lnTo>
                      <a:pt x="137" y="115"/>
                    </a:lnTo>
                    <a:lnTo>
                      <a:pt x="137" y="117"/>
                    </a:lnTo>
                    <a:lnTo>
                      <a:pt x="137" y="115"/>
                    </a:lnTo>
                    <a:lnTo>
                      <a:pt x="137" y="117"/>
                    </a:lnTo>
                    <a:lnTo>
                      <a:pt x="138" y="117"/>
                    </a:lnTo>
                    <a:lnTo>
                      <a:pt x="138" y="119"/>
                    </a:lnTo>
                    <a:lnTo>
                      <a:pt x="138" y="117"/>
                    </a:lnTo>
                    <a:lnTo>
                      <a:pt x="140" y="117"/>
                    </a:lnTo>
                    <a:lnTo>
                      <a:pt x="140" y="119"/>
                    </a:lnTo>
                    <a:lnTo>
                      <a:pt x="140" y="117"/>
                    </a:lnTo>
                    <a:lnTo>
                      <a:pt x="140" y="119"/>
                    </a:lnTo>
                    <a:lnTo>
                      <a:pt x="142" y="121"/>
                    </a:lnTo>
                    <a:lnTo>
                      <a:pt x="142" y="123"/>
                    </a:lnTo>
                    <a:lnTo>
                      <a:pt x="142" y="121"/>
                    </a:lnTo>
                    <a:lnTo>
                      <a:pt x="140" y="121"/>
                    </a:lnTo>
                    <a:lnTo>
                      <a:pt x="140" y="123"/>
                    </a:lnTo>
                    <a:lnTo>
                      <a:pt x="140" y="121"/>
                    </a:lnTo>
                    <a:lnTo>
                      <a:pt x="140" y="123"/>
                    </a:lnTo>
                    <a:lnTo>
                      <a:pt x="142" y="123"/>
                    </a:lnTo>
                    <a:lnTo>
                      <a:pt x="142" y="125"/>
                    </a:lnTo>
                    <a:lnTo>
                      <a:pt x="140" y="125"/>
                    </a:lnTo>
                    <a:lnTo>
                      <a:pt x="142" y="125"/>
                    </a:lnTo>
                    <a:lnTo>
                      <a:pt x="140" y="125"/>
                    </a:lnTo>
                    <a:lnTo>
                      <a:pt x="142" y="125"/>
                    </a:lnTo>
                    <a:lnTo>
                      <a:pt x="140" y="125"/>
                    </a:lnTo>
                    <a:lnTo>
                      <a:pt x="142" y="125"/>
                    </a:lnTo>
                    <a:lnTo>
                      <a:pt x="142" y="126"/>
                    </a:lnTo>
                    <a:lnTo>
                      <a:pt x="142" y="125"/>
                    </a:lnTo>
                    <a:lnTo>
                      <a:pt x="142" y="126"/>
                    </a:lnTo>
                    <a:lnTo>
                      <a:pt x="140" y="126"/>
                    </a:lnTo>
                    <a:lnTo>
                      <a:pt x="142" y="126"/>
                    </a:lnTo>
                    <a:lnTo>
                      <a:pt x="142" y="128"/>
                    </a:lnTo>
                    <a:lnTo>
                      <a:pt x="140" y="128"/>
                    </a:lnTo>
                    <a:lnTo>
                      <a:pt x="142" y="130"/>
                    </a:lnTo>
                    <a:lnTo>
                      <a:pt x="144" y="130"/>
                    </a:lnTo>
                    <a:lnTo>
                      <a:pt x="142" y="130"/>
                    </a:lnTo>
                    <a:lnTo>
                      <a:pt x="142" y="128"/>
                    </a:lnTo>
                    <a:lnTo>
                      <a:pt x="140" y="128"/>
                    </a:lnTo>
                    <a:lnTo>
                      <a:pt x="142" y="128"/>
                    </a:lnTo>
                    <a:lnTo>
                      <a:pt x="142" y="126"/>
                    </a:lnTo>
                    <a:lnTo>
                      <a:pt x="142" y="128"/>
                    </a:lnTo>
                    <a:lnTo>
                      <a:pt x="142" y="126"/>
                    </a:lnTo>
                    <a:lnTo>
                      <a:pt x="142" y="125"/>
                    </a:lnTo>
                    <a:lnTo>
                      <a:pt x="144" y="125"/>
                    </a:lnTo>
                    <a:lnTo>
                      <a:pt x="144" y="123"/>
                    </a:lnTo>
                    <a:lnTo>
                      <a:pt x="142" y="123"/>
                    </a:lnTo>
                    <a:lnTo>
                      <a:pt x="144" y="123"/>
                    </a:lnTo>
                    <a:lnTo>
                      <a:pt x="144" y="121"/>
                    </a:lnTo>
                    <a:lnTo>
                      <a:pt x="142" y="121"/>
                    </a:lnTo>
                    <a:lnTo>
                      <a:pt x="142" y="119"/>
                    </a:lnTo>
                    <a:lnTo>
                      <a:pt x="142" y="117"/>
                    </a:lnTo>
                    <a:lnTo>
                      <a:pt x="140" y="117"/>
                    </a:lnTo>
                    <a:lnTo>
                      <a:pt x="140" y="115"/>
                    </a:lnTo>
                    <a:lnTo>
                      <a:pt x="138" y="115"/>
                    </a:lnTo>
                    <a:lnTo>
                      <a:pt x="140" y="113"/>
                    </a:lnTo>
                    <a:lnTo>
                      <a:pt x="142" y="111"/>
                    </a:lnTo>
                    <a:lnTo>
                      <a:pt x="142" y="109"/>
                    </a:lnTo>
                    <a:lnTo>
                      <a:pt x="142" y="107"/>
                    </a:lnTo>
                    <a:lnTo>
                      <a:pt x="142" y="105"/>
                    </a:lnTo>
                    <a:lnTo>
                      <a:pt x="142" y="107"/>
                    </a:lnTo>
                    <a:lnTo>
                      <a:pt x="142" y="105"/>
                    </a:lnTo>
                    <a:lnTo>
                      <a:pt x="140" y="105"/>
                    </a:lnTo>
                    <a:lnTo>
                      <a:pt x="140" y="103"/>
                    </a:lnTo>
                    <a:lnTo>
                      <a:pt x="140" y="101"/>
                    </a:lnTo>
                    <a:lnTo>
                      <a:pt x="140" y="103"/>
                    </a:lnTo>
                    <a:lnTo>
                      <a:pt x="142" y="103"/>
                    </a:lnTo>
                    <a:lnTo>
                      <a:pt x="142" y="105"/>
                    </a:lnTo>
                    <a:lnTo>
                      <a:pt x="142" y="107"/>
                    </a:lnTo>
                    <a:lnTo>
                      <a:pt x="144" y="109"/>
                    </a:lnTo>
                    <a:lnTo>
                      <a:pt x="146" y="111"/>
                    </a:lnTo>
                    <a:lnTo>
                      <a:pt x="148" y="111"/>
                    </a:lnTo>
                    <a:lnTo>
                      <a:pt x="150" y="111"/>
                    </a:lnTo>
                    <a:lnTo>
                      <a:pt x="152" y="113"/>
                    </a:lnTo>
                    <a:lnTo>
                      <a:pt x="158" y="111"/>
                    </a:lnTo>
                    <a:lnTo>
                      <a:pt x="162" y="111"/>
                    </a:lnTo>
                    <a:lnTo>
                      <a:pt x="165" y="111"/>
                    </a:lnTo>
                    <a:lnTo>
                      <a:pt x="171" y="111"/>
                    </a:lnTo>
                    <a:lnTo>
                      <a:pt x="173" y="111"/>
                    </a:lnTo>
                    <a:lnTo>
                      <a:pt x="177" y="109"/>
                    </a:lnTo>
                    <a:lnTo>
                      <a:pt x="179" y="109"/>
                    </a:lnTo>
                    <a:lnTo>
                      <a:pt x="177" y="109"/>
                    </a:lnTo>
                    <a:lnTo>
                      <a:pt x="177" y="111"/>
                    </a:lnTo>
                    <a:lnTo>
                      <a:pt x="175" y="111"/>
                    </a:lnTo>
                    <a:lnTo>
                      <a:pt x="173" y="111"/>
                    </a:lnTo>
                    <a:lnTo>
                      <a:pt x="171" y="111"/>
                    </a:lnTo>
                    <a:lnTo>
                      <a:pt x="171" y="113"/>
                    </a:lnTo>
                    <a:lnTo>
                      <a:pt x="173" y="113"/>
                    </a:lnTo>
                    <a:lnTo>
                      <a:pt x="173" y="111"/>
                    </a:lnTo>
                    <a:lnTo>
                      <a:pt x="173" y="113"/>
                    </a:lnTo>
                    <a:lnTo>
                      <a:pt x="173" y="111"/>
                    </a:lnTo>
                    <a:lnTo>
                      <a:pt x="173" y="113"/>
                    </a:lnTo>
                    <a:lnTo>
                      <a:pt x="175" y="113"/>
                    </a:lnTo>
                    <a:lnTo>
                      <a:pt x="175" y="111"/>
                    </a:lnTo>
                    <a:lnTo>
                      <a:pt x="177" y="111"/>
                    </a:lnTo>
                    <a:lnTo>
                      <a:pt x="177" y="109"/>
                    </a:lnTo>
                    <a:lnTo>
                      <a:pt x="177" y="111"/>
                    </a:lnTo>
                    <a:lnTo>
                      <a:pt x="177" y="109"/>
                    </a:lnTo>
                    <a:lnTo>
                      <a:pt x="179" y="109"/>
                    </a:lnTo>
                    <a:lnTo>
                      <a:pt x="181" y="109"/>
                    </a:lnTo>
                    <a:lnTo>
                      <a:pt x="185" y="107"/>
                    </a:lnTo>
                    <a:lnTo>
                      <a:pt x="186" y="107"/>
                    </a:lnTo>
                    <a:lnTo>
                      <a:pt x="192" y="105"/>
                    </a:lnTo>
                    <a:lnTo>
                      <a:pt x="196" y="105"/>
                    </a:lnTo>
                    <a:lnTo>
                      <a:pt x="198" y="103"/>
                    </a:lnTo>
                    <a:lnTo>
                      <a:pt x="200" y="103"/>
                    </a:lnTo>
                    <a:lnTo>
                      <a:pt x="202" y="103"/>
                    </a:lnTo>
                    <a:lnTo>
                      <a:pt x="202" y="101"/>
                    </a:lnTo>
                    <a:lnTo>
                      <a:pt x="202" y="103"/>
                    </a:lnTo>
                    <a:lnTo>
                      <a:pt x="202" y="105"/>
                    </a:lnTo>
                    <a:lnTo>
                      <a:pt x="204" y="105"/>
                    </a:lnTo>
                    <a:lnTo>
                      <a:pt x="206" y="105"/>
                    </a:lnTo>
                    <a:lnTo>
                      <a:pt x="208" y="105"/>
                    </a:lnTo>
                    <a:lnTo>
                      <a:pt x="208" y="107"/>
                    </a:lnTo>
                    <a:lnTo>
                      <a:pt x="208" y="105"/>
                    </a:lnTo>
                    <a:lnTo>
                      <a:pt x="208" y="107"/>
                    </a:lnTo>
                    <a:lnTo>
                      <a:pt x="208" y="105"/>
                    </a:lnTo>
                    <a:lnTo>
                      <a:pt x="208" y="107"/>
                    </a:lnTo>
                    <a:lnTo>
                      <a:pt x="208" y="105"/>
                    </a:lnTo>
                    <a:lnTo>
                      <a:pt x="210" y="105"/>
                    </a:lnTo>
                    <a:lnTo>
                      <a:pt x="211" y="105"/>
                    </a:lnTo>
                    <a:lnTo>
                      <a:pt x="211" y="107"/>
                    </a:lnTo>
                    <a:lnTo>
                      <a:pt x="213" y="107"/>
                    </a:lnTo>
                    <a:lnTo>
                      <a:pt x="215" y="107"/>
                    </a:lnTo>
                    <a:lnTo>
                      <a:pt x="215" y="105"/>
                    </a:lnTo>
                    <a:lnTo>
                      <a:pt x="217" y="105"/>
                    </a:lnTo>
                    <a:lnTo>
                      <a:pt x="217" y="107"/>
                    </a:lnTo>
                    <a:lnTo>
                      <a:pt x="217" y="105"/>
                    </a:lnTo>
                    <a:lnTo>
                      <a:pt x="219" y="107"/>
                    </a:lnTo>
                    <a:lnTo>
                      <a:pt x="217" y="107"/>
                    </a:lnTo>
                    <a:lnTo>
                      <a:pt x="219" y="107"/>
                    </a:lnTo>
                    <a:lnTo>
                      <a:pt x="217" y="107"/>
                    </a:lnTo>
                    <a:lnTo>
                      <a:pt x="219" y="107"/>
                    </a:lnTo>
                    <a:lnTo>
                      <a:pt x="221" y="107"/>
                    </a:lnTo>
                    <a:lnTo>
                      <a:pt x="221" y="105"/>
                    </a:lnTo>
                    <a:lnTo>
                      <a:pt x="219" y="105"/>
                    </a:lnTo>
                    <a:lnTo>
                      <a:pt x="221" y="105"/>
                    </a:lnTo>
                    <a:lnTo>
                      <a:pt x="219" y="107"/>
                    </a:lnTo>
                    <a:lnTo>
                      <a:pt x="219" y="105"/>
                    </a:lnTo>
                    <a:lnTo>
                      <a:pt x="219" y="107"/>
                    </a:lnTo>
                    <a:lnTo>
                      <a:pt x="219" y="105"/>
                    </a:lnTo>
                    <a:lnTo>
                      <a:pt x="221" y="105"/>
                    </a:lnTo>
                    <a:lnTo>
                      <a:pt x="221" y="103"/>
                    </a:lnTo>
                    <a:lnTo>
                      <a:pt x="225" y="105"/>
                    </a:lnTo>
                    <a:lnTo>
                      <a:pt x="227" y="105"/>
                    </a:lnTo>
                    <a:lnTo>
                      <a:pt x="229" y="105"/>
                    </a:lnTo>
                    <a:lnTo>
                      <a:pt x="231" y="105"/>
                    </a:lnTo>
                    <a:lnTo>
                      <a:pt x="233" y="105"/>
                    </a:lnTo>
                    <a:lnTo>
                      <a:pt x="235" y="105"/>
                    </a:lnTo>
                    <a:lnTo>
                      <a:pt x="238" y="105"/>
                    </a:lnTo>
                    <a:lnTo>
                      <a:pt x="238" y="107"/>
                    </a:lnTo>
                    <a:lnTo>
                      <a:pt x="236" y="107"/>
                    </a:lnTo>
                    <a:lnTo>
                      <a:pt x="236" y="109"/>
                    </a:lnTo>
                    <a:lnTo>
                      <a:pt x="235" y="107"/>
                    </a:lnTo>
                    <a:lnTo>
                      <a:pt x="233" y="107"/>
                    </a:lnTo>
                    <a:lnTo>
                      <a:pt x="233" y="109"/>
                    </a:lnTo>
                    <a:lnTo>
                      <a:pt x="235" y="109"/>
                    </a:lnTo>
                    <a:lnTo>
                      <a:pt x="236" y="109"/>
                    </a:lnTo>
                    <a:lnTo>
                      <a:pt x="236" y="111"/>
                    </a:lnTo>
                    <a:lnTo>
                      <a:pt x="236" y="113"/>
                    </a:lnTo>
                    <a:lnTo>
                      <a:pt x="235" y="113"/>
                    </a:lnTo>
                    <a:lnTo>
                      <a:pt x="236" y="113"/>
                    </a:lnTo>
                    <a:lnTo>
                      <a:pt x="235" y="113"/>
                    </a:lnTo>
                    <a:lnTo>
                      <a:pt x="236" y="113"/>
                    </a:lnTo>
                    <a:lnTo>
                      <a:pt x="238" y="113"/>
                    </a:lnTo>
                    <a:lnTo>
                      <a:pt x="236" y="113"/>
                    </a:lnTo>
                    <a:lnTo>
                      <a:pt x="238" y="113"/>
                    </a:lnTo>
                    <a:lnTo>
                      <a:pt x="236" y="113"/>
                    </a:lnTo>
                    <a:lnTo>
                      <a:pt x="236" y="115"/>
                    </a:lnTo>
                    <a:lnTo>
                      <a:pt x="235" y="115"/>
                    </a:lnTo>
                    <a:lnTo>
                      <a:pt x="233" y="115"/>
                    </a:lnTo>
                    <a:lnTo>
                      <a:pt x="233" y="117"/>
                    </a:lnTo>
                    <a:lnTo>
                      <a:pt x="233" y="119"/>
                    </a:lnTo>
                    <a:lnTo>
                      <a:pt x="233" y="121"/>
                    </a:lnTo>
                    <a:lnTo>
                      <a:pt x="233" y="119"/>
                    </a:lnTo>
                    <a:lnTo>
                      <a:pt x="233" y="121"/>
                    </a:lnTo>
                    <a:lnTo>
                      <a:pt x="235" y="121"/>
                    </a:lnTo>
                    <a:lnTo>
                      <a:pt x="233" y="121"/>
                    </a:lnTo>
                    <a:lnTo>
                      <a:pt x="233" y="123"/>
                    </a:lnTo>
                    <a:lnTo>
                      <a:pt x="235" y="121"/>
                    </a:lnTo>
                    <a:lnTo>
                      <a:pt x="235" y="123"/>
                    </a:lnTo>
                    <a:lnTo>
                      <a:pt x="233" y="123"/>
                    </a:lnTo>
                    <a:lnTo>
                      <a:pt x="235" y="123"/>
                    </a:lnTo>
                    <a:lnTo>
                      <a:pt x="235" y="121"/>
                    </a:lnTo>
                    <a:lnTo>
                      <a:pt x="235" y="123"/>
                    </a:lnTo>
                    <a:lnTo>
                      <a:pt x="235" y="121"/>
                    </a:lnTo>
                    <a:lnTo>
                      <a:pt x="236" y="121"/>
                    </a:lnTo>
                    <a:lnTo>
                      <a:pt x="235" y="121"/>
                    </a:lnTo>
                    <a:lnTo>
                      <a:pt x="236" y="121"/>
                    </a:lnTo>
                    <a:lnTo>
                      <a:pt x="238" y="121"/>
                    </a:lnTo>
                    <a:lnTo>
                      <a:pt x="240" y="121"/>
                    </a:lnTo>
                    <a:lnTo>
                      <a:pt x="242" y="119"/>
                    </a:lnTo>
                    <a:lnTo>
                      <a:pt x="244" y="119"/>
                    </a:lnTo>
                    <a:lnTo>
                      <a:pt x="246" y="119"/>
                    </a:lnTo>
                    <a:lnTo>
                      <a:pt x="248" y="119"/>
                    </a:lnTo>
                    <a:lnTo>
                      <a:pt x="248" y="117"/>
                    </a:lnTo>
                    <a:lnTo>
                      <a:pt x="248" y="115"/>
                    </a:lnTo>
                    <a:lnTo>
                      <a:pt x="246" y="113"/>
                    </a:lnTo>
                    <a:lnTo>
                      <a:pt x="246" y="111"/>
                    </a:lnTo>
                    <a:lnTo>
                      <a:pt x="246" y="109"/>
                    </a:lnTo>
                    <a:lnTo>
                      <a:pt x="244" y="109"/>
                    </a:lnTo>
                    <a:lnTo>
                      <a:pt x="246" y="107"/>
                    </a:lnTo>
                    <a:lnTo>
                      <a:pt x="246" y="109"/>
                    </a:lnTo>
                    <a:lnTo>
                      <a:pt x="246" y="107"/>
                    </a:lnTo>
                    <a:lnTo>
                      <a:pt x="246" y="109"/>
                    </a:lnTo>
                    <a:lnTo>
                      <a:pt x="246" y="107"/>
                    </a:lnTo>
                    <a:lnTo>
                      <a:pt x="248" y="107"/>
                    </a:lnTo>
                    <a:lnTo>
                      <a:pt x="250" y="109"/>
                    </a:lnTo>
                    <a:lnTo>
                      <a:pt x="250" y="107"/>
                    </a:lnTo>
                    <a:lnTo>
                      <a:pt x="248" y="107"/>
                    </a:lnTo>
                    <a:lnTo>
                      <a:pt x="246" y="107"/>
                    </a:lnTo>
                    <a:lnTo>
                      <a:pt x="246" y="105"/>
                    </a:lnTo>
                    <a:lnTo>
                      <a:pt x="248" y="105"/>
                    </a:lnTo>
                    <a:lnTo>
                      <a:pt x="246" y="105"/>
                    </a:lnTo>
                    <a:lnTo>
                      <a:pt x="246" y="107"/>
                    </a:lnTo>
                    <a:lnTo>
                      <a:pt x="246" y="105"/>
                    </a:lnTo>
                    <a:lnTo>
                      <a:pt x="246" y="107"/>
                    </a:lnTo>
                    <a:lnTo>
                      <a:pt x="244" y="107"/>
                    </a:lnTo>
                    <a:lnTo>
                      <a:pt x="242" y="107"/>
                    </a:lnTo>
                    <a:lnTo>
                      <a:pt x="240" y="105"/>
                    </a:lnTo>
                    <a:lnTo>
                      <a:pt x="242" y="105"/>
                    </a:lnTo>
                    <a:lnTo>
                      <a:pt x="248" y="103"/>
                    </a:lnTo>
                    <a:lnTo>
                      <a:pt x="250" y="103"/>
                    </a:lnTo>
                    <a:lnTo>
                      <a:pt x="252" y="103"/>
                    </a:lnTo>
                    <a:lnTo>
                      <a:pt x="258" y="103"/>
                    </a:lnTo>
                    <a:lnTo>
                      <a:pt x="261" y="101"/>
                    </a:lnTo>
                    <a:lnTo>
                      <a:pt x="263" y="101"/>
                    </a:lnTo>
                    <a:lnTo>
                      <a:pt x="263" y="103"/>
                    </a:lnTo>
                    <a:lnTo>
                      <a:pt x="261" y="105"/>
                    </a:lnTo>
                    <a:lnTo>
                      <a:pt x="259" y="105"/>
                    </a:lnTo>
                    <a:lnTo>
                      <a:pt x="259" y="107"/>
                    </a:lnTo>
                    <a:lnTo>
                      <a:pt x="258" y="107"/>
                    </a:lnTo>
                    <a:lnTo>
                      <a:pt x="256" y="107"/>
                    </a:lnTo>
                    <a:lnTo>
                      <a:pt x="256" y="105"/>
                    </a:lnTo>
                    <a:lnTo>
                      <a:pt x="256" y="107"/>
                    </a:lnTo>
                    <a:lnTo>
                      <a:pt x="256" y="109"/>
                    </a:lnTo>
                    <a:lnTo>
                      <a:pt x="258" y="109"/>
                    </a:lnTo>
                    <a:lnTo>
                      <a:pt x="258" y="111"/>
                    </a:lnTo>
                    <a:lnTo>
                      <a:pt x="259" y="111"/>
                    </a:lnTo>
                    <a:lnTo>
                      <a:pt x="258" y="111"/>
                    </a:lnTo>
                    <a:lnTo>
                      <a:pt x="259" y="111"/>
                    </a:lnTo>
                    <a:lnTo>
                      <a:pt x="259" y="113"/>
                    </a:lnTo>
                    <a:lnTo>
                      <a:pt x="258" y="113"/>
                    </a:lnTo>
                    <a:lnTo>
                      <a:pt x="259" y="115"/>
                    </a:lnTo>
                    <a:lnTo>
                      <a:pt x="258" y="115"/>
                    </a:lnTo>
                    <a:lnTo>
                      <a:pt x="259" y="115"/>
                    </a:lnTo>
                    <a:lnTo>
                      <a:pt x="261" y="115"/>
                    </a:lnTo>
                    <a:lnTo>
                      <a:pt x="261" y="113"/>
                    </a:lnTo>
                    <a:lnTo>
                      <a:pt x="263" y="113"/>
                    </a:lnTo>
                    <a:lnTo>
                      <a:pt x="263" y="111"/>
                    </a:lnTo>
                    <a:lnTo>
                      <a:pt x="263" y="113"/>
                    </a:lnTo>
                    <a:lnTo>
                      <a:pt x="261" y="113"/>
                    </a:lnTo>
                    <a:lnTo>
                      <a:pt x="261" y="111"/>
                    </a:lnTo>
                    <a:lnTo>
                      <a:pt x="261" y="113"/>
                    </a:lnTo>
                    <a:lnTo>
                      <a:pt x="259" y="111"/>
                    </a:lnTo>
                    <a:lnTo>
                      <a:pt x="259" y="113"/>
                    </a:lnTo>
                    <a:lnTo>
                      <a:pt x="259" y="111"/>
                    </a:lnTo>
                    <a:lnTo>
                      <a:pt x="261" y="111"/>
                    </a:lnTo>
                    <a:lnTo>
                      <a:pt x="261" y="109"/>
                    </a:lnTo>
                    <a:lnTo>
                      <a:pt x="259" y="109"/>
                    </a:lnTo>
                    <a:lnTo>
                      <a:pt x="259" y="107"/>
                    </a:lnTo>
                    <a:lnTo>
                      <a:pt x="261" y="107"/>
                    </a:lnTo>
                    <a:lnTo>
                      <a:pt x="261" y="105"/>
                    </a:lnTo>
                    <a:lnTo>
                      <a:pt x="261" y="107"/>
                    </a:lnTo>
                    <a:lnTo>
                      <a:pt x="261" y="109"/>
                    </a:lnTo>
                    <a:lnTo>
                      <a:pt x="263" y="109"/>
                    </a:lnTo>
                    <a:lnTo>
                      <a:pt x="263" y="111"/>
                    </a:lnTo>
                    <a:lnTo>
                      <a:pt x="263" y="109"/>
                    </a:lnTo>
                    <a:lnTo>
                      <a:pt x="263" y="107"/>
                    </a:lnTo>
                    <a:lnTo>
                      <a:pt x="261" y="107"/>
                    </a:lnTo>
                    <a:lnTo>
                      <a:pt x="263" y="107"/>
                    </a:lnTo>
                    <a:lnTo>
                      <a:pt x="263" y="105"/>
                    </a:lnTo>
                    <a:lnTo>
                      <a:pt x="263" y="107"/>
                    </a:lnTo>
                    <a:lnTo>
                      <a:pt x="265" y="107"/>
                    </a:lnTo>
                    <a:lnTo>
                      <a:pt x="263" y="107"/>
                    </a:lnTo>
                    <a:lnTo>
                      <a:pt x="265" y="107"/>
                    </a:lnTo>
                    <a:lnTo>
                      <a:pt x="263" y="107"/>
                    </a:lnTo>
                    <a:lnTo>
                      <a:pt x="263" y="105"/>
                    </a:lnTo>
                    <a:lnTo>
                      <a:pt x="265" y="105"/>
                    </a:lnTo>
                    <a:lnTo>
                      <a:pt x="263" y="105"/>
                    </a:lnTo>
                    <a:lnTo>
                      <a:pt x="265" y="105"/>
                    </a:lnTo>
                    <a:lnTo>
                      <a:pt x="263" y="105"/>
                    </a:lnTo>
                    <a:lnTo>
                      <a:pt x="263" y="103"/>
                    </a:lnTo>
                    <a:lnTo>
                      <a:pt x="263" y="101"/>
                    </a:lnTo>
                    <a:lnTo>
                      <a:pt x="271" y="101"/>
                    </a:lnTo>
                    <a:lnTo>
                      <a:pt x="273" y="101"/>
                    </a:lnTo>
                    <a:lnTo>
                      <a:pt x="275" y="101"/>
                    </a:lnTo>
                    <a:lnTo>
                      <a:pt x="279" y="101"/>
                    </a:lnTo>
                    <a:lnTo>
                      <a:pt x="283" y="101"/>
                    </a:lnTo>
                    <a:lnTo>
                      <a:pt x="284" y="101"/>
                    </a:lnTo>
                    <a:lnTo>
                      <a:pt x="286" y="101"/>
                    </a:lnTo>
                    <a:lnTo>
                      <a:pt x="288" y="101"/>
                    </a:lnTo>
                    <a:lnTo>
                      <a:pt x="290" y="103"/>
                    </a:lnTo>
                    <a:lnTo>
                      <a:pt x="292" y="103"/>
                    </a:lnTo>
                    <a:lnTo>
                      <a:pt x="294" y="103"/>
                    </a:lnTo>
                    <a:lnTo>
                      <a:pt x="296" y="105"/>
                    </a:lnTo>
                    <a:lnTo>
                      <a:pt x="298" y="105"/>
                    </a:lnTo>
                    <a:lnTo>
                      <a:pt x="300" y="107"/>
                    </a:lnTo>
                    <a:lnTo>
                      <a:pt x="302" y="107"/>
                    </a:lnTo>
                    <a:lnTo>
                      <a:pt x="300" y="107"/>
                    </a:lnTo>
                    <a:lnTo>
                      <a:pt x="302" y="107"/>
                    </a:lnTo>
                    <a:lnTo>
                      <a:pt x="300" y="107"/>
                    </a:lnTo>
                    <a:lnTo>
                      <a:pt x="298" y="107"/>
                    </a:lnTo>
                    <a:lnTo>
                      <a:pt x="296" y="107"/>
                    </a:lnTo>
                    <a:lnTo>
                      <a:pt x="294" y="107"/>
                    </a:lnTo>
                    <a:lnTo>
                      <a:pt x="292" y="105"/>
                    </a:lnTo>
                    <a:lnTo>
                      <a:pt x="290" y="105"/>
                    </a:lnTo>
                    <a:lnTo>
                      <a:pt x="288" y="105"/>
                    </a:lnTo>
                    <a:lnTo>
                      <a:pt x="286" y="105"/>
                    </a:lnTo>
                    <a:lnTo>
                      <a:pt x="284" y="105"/>
                    </a:lnTo>
                    <a:lnTo>
                      <a:pt x="283" y="103"/>
                    </a:lnTo>
                    <a:lnTo>
                      <a:pt x="281" y="103"/>
                    </a:lnTo>
                    <a:lnTo>
                      <a:pt x="279" y="103"/>
                    </a:lnTo>
                    <a:lnTo>
                      <a:pt x="279" y="101"/>
                    </a:lnTo>
                    <a:lnTo>
                      <a:pt x="279" y="103"/>
                    </a:lnTo>
                    <a:lnTo>
                      <a:pt x="277" y="101"/>
                    </a:lnTo>
                    <a:lnTo>
                      <a:pt x="277" y="103"/>
                    </a:lnTo>
                    <a:lnTo>
                      <a:pt x="279" y="103"/>
                    </a:lnTo>
                    <a:lnTo>
                      <a:pt x="277" y="103"/>
                    </a:lnTo>
                    <a:lnTo>
                      <a:pt x="277" y="105"/>
                    </a:lnTo>
                    <a:lnTo>
                      <a:pt x="279" y="107"/>
                    </a:lnTo>
                    <a:close/>
                    <a:moveTo>
                      <a:pt x="267" y="128"/>
                    </a:moveTo>
                    <a:lnTo>
                      <a:pt x="267" y="130"/>
                    </a:lnTo>
                    <a:lnTo>
                      <a:pt x="267" y="128"/>
                    </a:lnTo>
                    <a:close/>
                    <a:moveTo>
                      <a:pt x="96" y="142"/>
                    </a:moveTo>
                    <a:lnTo>
                      <a:pt x="98" y="142"/>
                    </a:lnTo>
                    <a:lnTo>
                      <a:pt x="96" y="142"/>
                    </a:lnTo>
                    <a:close/>
                    <a:moveTo>
                      <a:pt x="233" y="155"/>
                    </a:moveTo>
                    <a:lnTo>
                      <a:pt x="231" y="155"/>
                    </a:lnTo>
                    <a:lnTo>
                      <a:pt x="233" y="155"/>
                    </a:lnTo>
                    <a:close/>
                    <a:moveTo>
                      <a:pt x="200" y="57"/>
                    </a:moveTo>
                    <a:lnTo>
                      <a:pt x="200" y="59"/>
                    </a:lnTo>
                    <a:lnTo>
                      <a:pt x="200" y="57"/>
                    </a:lnTo>
                    <a:lnTo>
                      <a:pt x="200" y="59"/>
                    </a:lnTo>
                    <a:lnTo>
                      <a:pt x="200" y="57"/>
                    </a:lnTo>
                    <a:lnTo>
                      <a:pt x="200" y="59"/>
                    </a:lnTo>
                    <a:lnTo>
                      <a:pt x="200" y="57"/>
                    </a:lnTo>
                    <a:close/>
                    <a:moveTo>
                      <a:pt x="202" y="57"/>
                    </a:moveTo>
                    <a:lnTo>
                      <a:pt x="202" y="59"/>
                    </a:lnTo>
                    <a:lnTo>
                      <a:pt x="202" y="57"/>
                    </a:lnTo>
                    <a:lnTo>
                      <a:pt x="202" y="59"/>
                    </a:lnTo>
                    <a:lnTo>
                      <a:pt x="202" y="57"/>
                    </a:lnTo>
                    <a:close/>
                    <a:moveTo>
                      <a:pt x="200" y="57"/>
                    </a:moveTo>
                    <a:lnTo>
                      <a:pt x="202" y="57"/>
                    </a:lnTo>
                    <a:lnTo>
                      <a:pt x="200" y="57"/>
                    </a:lnTo>
                    <a:close/>
                    <a:moveTo>
                      <a:pt x="532" y="186"/>
                    </a:moveTo>
                    <a:lnTo>
                      <a:pt x="532" y="188"/>
                    </a:lnTo>
                    <a:lnTo>
                      <a:pt x="532" y="186"/>
                    </a:lnTo>
                    <a:lnTo>
                      <a:pt x="534" y="186"/>
                    </a:lnTo>
                    <a:lnTo>
                      <a:pt x="534" y="188"/>
                    </a:lnTo>
                    <a:lnTo>
                      <a:pt x="532" y="188"/>
                    </a:lnTo>
                    <a:lnTo>
                      <a:pt x="530" y="188"/>
                    </a:lnTo>
                    <a:lnTo>
                      <a:pt x="528" y="188"/>
                    </a:lnTo>
                    <a:lnTo>
                      <a:pt x="530" y="188"/>
                    </a:lnTo>
                    <a:lnTo>
                      <a:pt x="530" y="186"/>
                    </a:lnTo>
                    <a:lnTo>
                      <a:pt x="532" y="186"/>
                    </a:lnTo>
                    <a:lnTo>
                      <a:pt x="532" y="188"/>
                    </a:lnTo>
                    <a:lnTo>
                      <a:pt x="532" y="186"/>
                    </a:lnTo>
                    <a:close/>
                    <a:moveTo>
                      <a:pt x="454" y="128"/>
                    </a:moveTo>
                    <a:lnTo>
                      <a:pt x="454" y="126"/>
                    </a:lnTo>
                    <a:lnTo>
                      <a:pt x="454" y="128"/>
                    </a:lnTo>
                    <a:close/>
                    <a:moveTo>
                      <a:pt x="477" y="128"/>
                    </a:moveTo>
                    <a:lnTo>
                      <a:pt x="477" y="126"/>
                    </a:lnTo>
                    <a:lnTo>
                      <a:pt x="477" y="128"/>
                    </a:lnTo>
                    <a:lnTo>
                      <a:pt x="477" y="126"/>
                    </a:lnTo>
                    <a:lnTo>
                      <a:pt x="479" y="128"/>
                    </a:lnTo>
                    <a:lnTo>
                      <a:pt x="479" y="126"/>
                    </a:lnTo>
                    <a:lnTo>
                      <a:pt x="479" y="128"/>
                    </a:lnTo>
                    <a:lnTo>
                      <a:pt x="480" y="128"/>
                    </a:lnTo>
                    <a:lnTo>
                      <a:pt x="480" y="130"/>
                    </a:lnTo>
                    <a:lnTo>
                      <a:pt x="482" y="130"/>
                    </a:lnTo>
                    <a:lnTo>
                      <a:pt x="484" y="130"/>
                    </a:lnTo>
                    <a:lnTo>
                      <a:pt x="484" y="132"/>
                    </a:lnTo>
                    <a:lnTo>
                      <a:pt x="486" y="132"/>
                    </a:lnTo>
                    <a:lnTo>
                      <a:pt x="490" y="134"/>
                    </a:lnTo>
                    <a:lnTo>
                      <a:pt x="492" y="134"/>
                    </a:lnTo>
                    <a:lnTo>
                      <a:pt x="494" y="136"/>
                    </a:lnTo>
                    <a:lnTo>
                      <a:pt x="496" y="136"/>
                    </a:lnTo>
                    <a:lnTo>
                      <a:pt x="498" y="136"/>
                    </a:lnTo>
                    <a:lnTo>
                      <a:pt x="498" y="138"/>
                    </a:lnTo>
                    <a:lnTo>
                      <a:pt x="500" y="138"/>
                    </a:lnTo>
                    <a:lnTo>
                      <a:pt x="498" y="138"/>
                    </a:lnTo>
                    <a:lnTo>
                      <a:pt x="498" y="140"/>
                    </a:lnTo>
                    <a:lnTo>
                      <a:pt x="496" y="140"/>
                    </a:lnTo>
                    <a:lnTo>
                      <a:pt x="496" y="138"/>
                    </a:lnTo>
                    <a:lnTo>
                      <a:pt x="494" y="138"/>
                    </a:lnTo>
                    <a:lnTo>
                      <a:pt x="494" y="140"/>
                    </a:lnTo>
                    <a:lnTo>
                      <a:pt x="494" y="138"/>
                    </a:lnTo>
                    <a:lnTo>
                      <a:pt x="494" y="140"/>
                    </a:lnTo>
                    <a:lnTo>
                      <a:pt x="494" y="138"/>
                    </a:lnTo>
                    <a:lnTo>
                      <a:pt x="496" y="140"/>
                    </a:lnTo>
                    <a:lnTo>
                      <a:pt x="498" y="140"/>
                    </a:lnTo>
                    <a:lnTo>
                      <a:pt x="498" y="138"/>
                    </a:lnTo>
                    <a:lnTo>
                      <a:pt x="498" y="140"/>
                    </a:lnTo>
                    <a:lnTo>
                      <a:pt x="498" y="138"/>
                    </a:lnTo>
                    <a:lnTo>
                      <a:pt x="500" y="138"/>
                    </a:lnTo>
                    <a:lnTo>
                      <a:pt x="502" y="138"/>
                    </a:lnTo>
                    <a:lnTo>
                      <a:pt x="502" y="140"/>
                    </a:lnTo>
                    <a:lnTo>
                      <a:pt x="505" y="142"/>
                    </a:lnTo>
                    <a:lnTo>
                      <a:pt x="503" y="142"/>
                    </a:lnTo>
                    <a:lnTo>
                      <a:pt x="505" y="142"/>
                    </a:lnTo>
                    <a:lnTo>
                      <a:pt x="503" y="142"/>
                    </a:lnTo>
                    <a:lnTo>
                      <a:pt x="503" y="144"/>
                    </a:lnTo>
                    <a:lnTo>
                      <a:pt x="503" y="142"/>
                    </a:lnTo>
                    <a:lnTo>
                      <a:pt x="503" y="144"/>
                    </a:lnTo>
                    <a:lnTo>
                      <a:pt x="502" y="144"/>
                    </a:lnTo>
                    <a:lnTo>
                      <a:pt x="502" y="142"/>
                    </a:lnTo>
                    <a:lnTo>
                      <a:pt x="502" y="144"/>
                    </a:lnTo>
                    <a:lnTo>
                      <a:pt x="502" y="142"/>
                    </a:lnTo>
                    <a:lnTo>
                      <a:pt x="502" y="144"/>
                    </a:lnTo>
                    <a:lnTo>
                      <a:pt x="502" y="142"/>
                    </a:lnTo>
                    <a:lnTo>
                      <a:pt x="502" y="144"/>
                    </a:lnTo>
                    <a:lnTo>
                      <a:pt x="503" y="144"/>
                    </a:lnTo>
                    <a:lnTo>
                      <a:pt x="503" y="142"/>
                    </a:lnTo>
                    <a:lnTo>
                      <a:pt x="503" y="144"/>
                    </a:lnTo>
                    <a:lnTo>
                      <a:pt x="505" y="142"/>
                    </a:lnTo>
                    <a:lnTo>
                      <a:pt x="507" y="144"/>
                    </a:lnTo>
                    <a:lnTo>
                      <a:pt x="507" y="142"/>
                    </a:lnTo>
                    <a:lnTo>
                      <a:pt x="507" y="144"/>
                    </a:lnTo>
                    <a:lnTo>
                      <a:pt x="505" y="144"/>
                    </a:lnTo>
                    <a:lnTo>
                      <a:pt x="507" y="144"/>
                    </a:lnTo>
                    <a:lnTo>
                      <a:pt x="505" y="144"/>
                    </a:lnTo>
                    <a:lnTo>
                      <a:pt x="507" y="144"/>
                    </a:lnTo>
                    <a:lnTo>
                      <a:pt x="505" y="144"/>
                    </a:lnTo>
                    <a:lnTo>
                      <a:pt x="507" y="144"/>
                    </a:lnTo>
                    <a:lnTo>
                      <a:pt x="505" y="144"/>
                    </a:lnTo>
                    <a:lnTo>
                      <a:pt x="507" y="144"/>
                    </a:lnTo>
                    <a:lnTo>
                      <a:pt x="505" y="144"/>
                    </a:lnTo>
                    <a:lnTo>
                      <a:pt x="507" y="144"/>
                    </a:lnTo>
                    <a:lnTo>
                      <a:pt x="507" y="146"/>
                    </a:lnTo>
                    <a:lnTo>
                      <a:pt x="507" y="144"/>
                    </a:lnTo>
                    <a:lnTo>
                      <a:pt x="509" y="144"/>
                    </a:lnTo>
                    <a:lnTo>
                      <a:pt x="509" y="146"/>
                    </a:lnTo>
                    <a:lnTo>
                      <a:pt x="517" y="150"/>
                    </a:lnTo>
                    <a:lnTo>
                      <a:pt x="521" y="153"/>
                    </a:lnTo>
                    <a:lnTo>
                      <a:pt x="523" y="153"/>
                    </a:lnTo>
                    <a:lnTo>
                      <a:pt x="525" y="155"/>
                    </a:lnTo>
                    <a:lnTo>
                      <a:pt x="528" y="161"/>
                    </a:lnTo>
                    <a:lnTo>
                      <a:pt x="530" y="161"/>
                    </a:lnTo>
                    <a:lnTo>
                      <a:pt x="532" y="163"/>
                    </a:lnTo>
                    <a:lnTo>
                      <a:pt x="534" y="165"/>
                    </a:lnTo>
                    <a:lnTo>
                      <a:pt x="536" y="167"/>
                    </a:lnTo>
                    <a:lnTo>
                      <a:pt x="536" y="169"/>
                    </a:lnTo>
                    <a:lnTo>
                      <a:pt x="538" y="173"/>
                    </a:lnTo>
                    <a:lnTo>
                      <a:pt x="540" y="173"/>
                    </a:lnTo>
                    <a:lnTo>
                      <a:pt x="542" y="176"/>
                    </a:lnTo>
                    <a:lnTo>
                      <a:pt x="544" y="178"/>
                    </a:lnTo>
                    <a:lnTo>
                      <a:pt x="544" y="180"/>
                    </a:lnTo>
                    <a:lnTo>
                      <a:pt x="542" y="180"/>
                    </a:lnTo>
                    <a:lnTo>
                      <a:pt x="540" y="178"/>
                    </a:lnTo>
                    <a:lnTo>
                      <a:pt x="538" y="178"/>
                    </a:lnTo>
                    <a:lnTo>
                      <a:pt x="540" y="178"/>
                    </a:lnTo>
                    <a:lnTo>
                      <a:pt x="538" y="178"/>
                    </a:lnTo>
                    <a:lnTo>
                      <a:pt x="538" y="176"/>
                    </a:lnTo>
                    <a:lnTo>
                      <a:pt x="536" y="176"/>
                    </a:lnTo>
                    <a:lnTo>
                      <a:pt x="534" y="176"/>
                    </a:lnTo>
                    <a:lnTo>
                      <a:pt x="534" y="175"/>
                    </a:lnTo>
                    <a:lnTo>
                      <a:pt x="534" y="176"/>
                    </a:lnTo>
                    <a:lnTo>
                      <a:pt x="532" y="176"/>
                    </a:lnTo>
                    <a:lnTo>
                      <a:pt x="534" y="176"/>
                    </a:lnTo>
                    <a:lnTo>
                      <a:pt x="536" y="176"/>
                    </a:lnTo>
                    <a:lnTo>
                      <a:pt x="538" y="176"/>
                    </a:lnTo>
                    <a:lnTo>
                      <a:pt x="538" y="178"/>
                    </a:lnTo>
                    <a:lnTo>
                      <a:pt x="538" y="180"/>
                    </a:lnTo>
                    <a:lnTo>
                      <a:pt x="538" y="178"/>
                    </a:lnTo>
                    <a:lnTo>
                      <a:pt x="538" y="180"/>
                    </a:lnTo>
                    <a:lnTo>
                      <a:pt x="536" y="180"/>
                    </a:lnTo>
                    <a:lnTo>
                      <a:pt x="536" y="178"/>
                    </a:lnTo>
                    <a:lnTo>
                      <a:pt x="536" y="180"/>
                    </a:lnTo>
                    <a:lnTo>
                      <a:pt x="536" y="178"/>
                    </a:lnTo>
                    <a:lnTo>
                      <a:pt x="536" y="180"/>
                    </a:lnTo>
                    <a:lnTo>
                      <a:pt x="536" y="178"/>
                    </a:lnTo>
                    <a:lnTo>
                      <a:pt x="536" y="180"/>
                    </a:lnTo>
                    <a:lnTo>
                      <a:pt x="538" y="180"/>
                    </a:lnTo>
                    <a:lnTo>
                      <a:pt x="538" y="182"/>
                    </a:lnTo>
                    <a:lnTo>
                      <a:pt x="536" y="180"/>
                    </a:lnTo>
                    <a:lnTo>
                      <a:pt x="538" y="180"/>
                    </a:lnTo>
                    <a:lnTo>
                      <a:pt x="536" y="180"/>
                    </a:lnTo>
                    <a:lnTo>
                      <a:pt x="536" y="182"/>
                    </a:lnTo>
                    <a:lnTo>
                      <a:pt x="534" y="182"/>
                    </a:lnTo>
                    <a:lnTo>
                      <a:pt x="536" y="182"/>
                    </a:lnTo>
                    <a:lnTo>
                      <a:pt x="534" y="182"/>
                    </a:lnTo>
                    <a:lnTo>
                      <a:pt x="532" y="182"/>
                    </a:lnTo>
                    <a:lnTo>
                      <a:pt x="530" y="182"/>
                    </a:lnTo>
                    <a:lnTo>
                      <a:pt x="532" y="182"/>
                    </a:lnTo>
                    <a:lnTo>
                      <a:pt x="534" y="182"/>
                    </a:lnTo>
                    <a:lnTo>
                      <a:pt x="536" y="182"/>
                    </a:lnTo>
                    <a:lnTo>
                      <a:pt x="538" y="182"/>
                    </a:lnTo>
                    <a:lnTo>
                      <a:pt x="536" y="182"/>
                    </a:lnTo>
                    <a:lnTo>
                      <a:pt x="536" y="184"/>
                    </a:lnTo>
                    <a:lnTo>
                      <a:pt x="534" y="184"/>
                    </a:lnTo>
                    <a:lnTo>
                      <a:pt x="532" y="184"/>
                    </a:lnTo>
                    <a:lnTo>
                      <a:pt x="532" y="182"/>
                    </a:lnTo>
                    <a:lnTo>
                      <a:pt x="532" y="184"/>
                    </a:lnTo>
                    <a:lnTo>
                      <a:pt x="532" y="186"/>
                    </a:lnTo>
                    <a:lnTo>
                      <a:pt x="530" y="186"/>
                    </a:lnTo>
                    <a:lnTo>
                      <a:pt x="532" y="186"/>
                    </a:lnTo>
                    <a:lnTo>
                      <a:pt x="530" y="186"/>
                    </a:lnTo>
                    <a:lnTo>
                      <a:pt x="530" y="188"/>
                    </a:lnTo>
                    <a:lnTo>
                      <a:pt x="528" y="188"/>
                    </a:lnTo>
                    <a:lnTo>
                      <a:pt x="528" y="190"/>
                    </a:lnTo>
                    <a:lnTo>
                      <a:pt x="527" y="188"/>
                    </a:lnTo>
                    <a:lnTo>
                      <a:pt x="528" y="190"/>
                    </a:lnTo>
                    <a:lnTo>
                      <a:pt x="527" y="190"/>
                    </a:lnTo>
                    <a:lnTo>
                      <a:pt x="527" y="192"/>
                    </a:lnTo>
                    <a:lnTo>
                      <a:pt x="525" y="192"/>
                    </a:lnTo>
                    <a:lnTo>
                      <a:pt x="525" y="194"/>
                    </a:lnTo>
                    <a:lnTo>
                      <a:pt x="523" y="194"/>
                    </a:lnTo>
                    <a:lnTo>
                      <a:pt x="523" y="196"/>
                    </a:lnTo>
                    <a:lnTo>
                      <a:pt x="521" y="196"/>
                    </a:lnTo>
                    <a:lnTo>
                      <a:pt x="521" y="194"/>
                    </a:lnTo>
                    <a:lnTo>
                      <a:pt x="521" y="196"/>
                    </a:lnTo>
                    <a:lnTo>
                      <a:pt x="523" y="196"/>
                    </a:lnTo>
                    <a:lnTo>
                      <a:pt x="523" y="194"/>
                    </a:lnTo>
                    <a:lnTo>
                      <a:pt x="525" y="194"/>
                    </a:lnTo>
                    <a:lnTo>
                      <a:pt x="527" y="194"/>
                    </a:lnTo>
                    <a:lnTo>
                      <a:pt x="525" y="194"/>
                    </a:lnTo>
                    <a:lnTo>
                      <a:pt x="525" y="192"/>
                    </a:lnTo>
                    <a:lnTo>
                      <a:pt x="527" y="192"/>
                    </a:lnTo>
                    <a:lnTo>
                      <a:pt x="527" y="194"/>
                    </a:lnTo>
                    <a:lnTo>
                      <a:pt x="528" y="194"/>
                    </a:lnTo>
                    <a:lnTo>
                      <a:pt x="528" y="196"/>
                    </a:lnTo>
                    <a:lnTo>
                      <a:pt x="528" y="194"/>
                    </a:lnTo>
                    <a:lnTo>
                      <a:pt x="528" y="196"/>
                    </a:lnTo>
                    <a:lnTo>
                      <a:pt x="527" y="198"/>
                    </a:lnTo>
                    <a:lnTo>
                      <a:pt x="527" y="199"/>
                    </a:lnTo>
                    <a:lnTo>
                      <a:pt x="528" y="199"/>
                    </a:lnTo>
                    <a:lnTo>
                      <a:pt x="528" y="201"/>
                    </a:lnTo>
                    <a:lnTo>
                      <a:pt x="530" y="201"/>
                    </a:lnTo>
                    <a:lnTo>
                      <a:pt x="530" y="199"/>
                    </a:lnTo>
                    <a:lnTo>
                      <a:pt x="532" y="199"/>
                    </a:lnTo>
                    <a:lnTo>
                      <a:pt x="532" y="201"/>
                    </a:lnTo>
                    <a:lnTo>
                      <a:pt x="534" y="201"/>
                    </a:lnTo>
                    <a:lnTo>
                      <a:pt x="534" y="203"/>
                    </a:lnTo>
                    <a:lnTo>
                      <a:pt x="536" y="203"/>
                    </a:lnTo>
                    <a:lnTo>
                      <a:pt x="536" y="205"/>
                    </a:lnTo>
                    <a:lnTo>
                      <a:pt x="536" y="203"/>
                    </a:lnTo>
                    <a:lnTo>
                      <a:pt x="536" y="205"/>
                    </a:lnTo>
                    <a:lnTo>
                      <a:pt x="536" y="207"/>
                    </a:lnTo>
                    <a:lnTo>
                      <a:pt x="538" y="207"/>
                    </a:lnTo>
                    <a:lnTo>
                      <a:pt x="540" y="207"/>
                    </a:lnTo>
                    <a:lnTo>
                      <a:pt x="540" y="209"/>
                    </a:lnTo>
                    <a:lnTo>
                      <a:pt x="540" y="207"/>
                    </a:lnTo>
                    <a:lnTo>
                      <a:pt x="542" y="207"/>
                    </a:lnTo>
                    <a:lnTo>
                      <a:pt x="542" y="209"/>
                    </a:lnTo>
                    <a:lnTo>
                      <a:pt x="544" y="209"/>
                    </a:lnTo>
                    <a:lnTo>
                      <a:pt x="542" y="209"/>
                    </a:lnTo>
                    <a:lnTo>
                      <a:pt x="544" y="209"/>
                    </a:lnTo>
                    <a:lnTo>
                      <a:pt x="544" y="211"/>
                    </a:lnTo>
                    <a:lnTo>
                      <a:pt x="542" y="211"/>
                    </a:lnTo>
                    <a:lnTo>
                      <a:pt x="542" y="213"/>
                    </a:lnTo>
                    <a:lnTo>
                      <a:pt x="542" y="215"/>
                    </a:lnTo>
                    <a:lnTo>
                      <a:pt x="544" y="213"/>
                    </a:lnTo>
                    <a:lnTo>
                      <a:pt x="544" y="215"/>
                    </a:lnTo>
                    <a:lnTo>
                      <a:pt x="544" y="217"/>
                    </a:lnTo>
                    <a:lnTo>
                      <a:pt x="544" y="215"/>
                    </a:lnTo>
                    <a:lnTo>
                      <a:pt x="542" y="215"/>
                    </a:lnTo>
                    <a:lnTo>
                      <a:pt x="542" y="217"/>
                    </a:lnTo>
                    <a:lnTo>
                      <a:pt x="542" y="219"/>
                    </a:lnTo>
                    <a:lnTo>
                      <a:pt x="544" y="219"/>
                    </a:lnTo>
                    <a:lnTo>
                      <a:pt x="544" y="221"/>
                    </a:lnTo>
                    <a:lnTo>
                      <a:pt x="544" y="223"/>
                    </a:lnTo>
                    <a:lnTo>
                      <a:pt x="546" y="223"/>
                    </a:lnTo>
                    <a:lnTo>
                      <a:pt x="546" y="224"/>
                    </a:lnTo>
                    <a:lnTo>
                      <a:pt x="546" y="226"/>
                    </a:lnTo>
                    <a:lnTo>
                      <a:pt x="544" y="226"/>
                    </a:lnTo>
                    <a:lnTo>
                      <a:pt x="544" y="228"/>
                    </a:lnTo>
                    <a:lnTo>
                      <a:pt x="542" y="228"/>
                    </a:lnTo>
                    <a:lnTo>
                      <a:pt x="542" y="230"/>
                    </a:lnTo>
                    <a:lnTo>
                      <a:pt x="540" y="230"/>
                    </a:lnTo>
                    <a:lnTo>
                      <a:pt x="540" y="232"/>
                    </a:lnTo>
                    <a:lnTo>
                      <a:pt x="540" y="230"/>
                    </a:lnTo>
                    <a:lnTo>
                      <a:pt x="540" y="232"/>
                    </a:lnTo>
                    <a:lnTo>
                      <a:pt x="538" y="232"/>
                    </a:lnTo>
                    <a:lnTo>
                      <a:pt x="538" y="230"/>
                    </a:lnTo>
                    <a:lnTo>
                      <a:pt x="538" y="232"/>
                    </a:lnTo>
                    <a:lnTo>
                      <a:pt x="538" y="230"/>
                    </a:lnTo>
                    <a:lnTo>
                      <a:pt x="536" y="230"/>
                    </a:lnTo>
                    <a:lnTo>
                      <a:pt x="536" y="232"/>
                    </a:lnTo>
                    <a:lnTo>
                      <a:pt x="536" y="230"/>
                    </a:lnTo>
                    <a:lnTo>
                      <a:pt x="536" y="232"/>
                    </a:lnTo>
                    <a:lnTo>
                      <a:pt x="534" y="232"/>
                    </a:lnTo>
                    <a:lnTo>
                      <a:pt x="534" y="230"/>
                    </a:lnTo>
                    <a:lnTo>
                      <a:pt x="534" y="232"/>
                    </a:lnTo>
                    <a:lnTo>
                      <a:pt x="532" y="232"/>
                    </a:lnTo>
                    <a:lnTo>
                      <a:pt x="532" y="230"/>
                    </a:lnTo>
                    <a:lnTo>
                      <a:pt x="530" y="230"/>
                    </a:lnTo>
                    <a:lnTo>
                      <a:pt x="528" y="230"/>
                    </a:lnTo>
                    <a:lnTo>
                      <a:pt x="527" y="230"/>
                    </a:lnTo>
                    <a:lnTo>
                      <a:pt x="527" y="228"/>
                    </a:lnTo>
                    <a:lnTo>
                      <a:pt x="525" y="228"/>
                    </a:lnTo>
                    <a:lnTo>
                      <a:pt x="523" y="228"/>
                    </a:lnTo>
                    <a:lnTo>
                      <a:pt x="521" y="228"/>
                    </a:lnTo>
                    <a:lnTo>
                      <a:pt x="521" y="226"/>
                    </a:lnTo>
                    <a:lnTo>
                      <a:pt x="521" y="228"/>
                    </a:lnTo>
                    <a:lnTo>
                      <a:pt x="519" y="228"/>
                    </a:lnTo>
                    <a:lnTo>
                      <a:pt x="517" y="228"/>
                    </a:lnTo>
                    <a:lnTo>
                      <a:pt x="517" y="230"/>
                    </a:lnTo>
                    <a:lnTo>
                      <a:pt x="515" y="230"/>
                    </a:lnTo>
                    <a:lnTo>
                      <a:pt x="517" y="230"/>
                    </a:lnTo>
                    <a:lnTo>
                      <a:pt x="515" y="230"/>
                    </a:lnTo>
                    <a:lnTo>
                      <a:pt x="515" y="232"/>
                    </a:lnTo>
                    <a:lnTo>
                      <a:pt x="515" y="234"/>
                    </a:lnTo>
                    <a:lnTo>
                      <a:pt x="515" y="236"/>
                    </a:lnTo>
                    <a:lnTo>
                      <a:pt x="515" y="238"/>
                    </a:lnTo>
                    <a:lnTo>
                      <a:pt x="513" y="238"/>
                    </a:lnTo>
                    <a:lnTo>
                      <a:pt x="515" y="238"/>
                    </a:lnTo>
                    <a:lnTo>
                      <a:pt x="513" y="238"/>
                    </a:lnTo>
                    <a:lnTo>
                      <a:pt x="511" y="236"/>
                    </a:lnTo>
                    <a:lnTo>
                      <a:pt x="511" y="238"/>
                    </a:lnTo>
                    <a:lnTo>
                      <a:pt x="509" y="238"/>
                    </a:lnTo>
                    <a:lnTo>
                      <a:pt x="507" y="238"/>
                    </a:lnTo>
                    <a:lnTo>
                      <a:pt x="509" y="238"/>
                    </a:lnTo>
                    <a:lnTo>
                      <a:pt x="509" y="240"/>
                    </a:lnTo>
                    <a:lnTo>
                      <a:pt x="507" y="240"/>
                    </a:lnTo>
                    <a:lnTo>
                      <a:pt x="505" y="240"/>
                    </a:lnTo>
                    <a:lnTo>
                      <a:pt x="503" y="240"/>
                    </a:lnTo>
                    <a:lnTo>
                      <a:pt x="502" y="240"/>
                    </a:lnTo>
                    <a:lnTo>
                      <a:pt x="500" y="240"/>
                    </a:lnTo>
                    <a:lnTo>
                      <a:pt x="502" y="240"/>
                    </a:lnTo>
                    <a:lnTo>
                      <a:pt x="502" y="242"/>
                    </a:lnTo>
                    <a:lnTo>
                      <a:pt x="502" y="240"/>
                    </a:lnTo>
                    <a:lnTo>
                      <a:pt x="500" y="240"/>
                    </a:lnTo>
                    <a:lnTo>
                      <a:pt x="500" y="242"/>
                    </a:lnTo>
                    <a:lnTo>
                      <a:pt x="498" y="242"/>
                    </a:lnTo>
                    <a:lnTo>
                      <a:pt x="496" y="242"/>
                    </a:lnTo>
                    <a:lnTo>
                      <a:pt x="494" y="242"/>
                    </a:lnTo>
                    <a:lnTo>
                      <a:pt x="494" y="244"/>
                    </a:lnTo>
                    <a:lnTo>
                      <a:pt x="494" y="246"/>
                    </a:lnTo>
                    <a:lnTo>
                      <a:pt x="494" y="248"/>
                    </a:lnTo>
                    <a:lnTo>
                      <a:pt x="494" y="249"/>
                    </a:lnTo>
                    <a:lnTo>
                      <a:pt x="496" y="249"/>
                    </a:lnTo>
                    <a:lnTo>
                      <a:pt x="494" y="251"/>
                    </a:lnTo>
                    <a:lnTo>
                      <a:pt x="492" y="251"/>
                    </a:lnTo>
                    <a:lnTo>
                      <a:pt x="492" y="253"/>
                    </a:lnTo>
                    <a:lnTo>
                      <a:pt x="490" y="253"/>
                    </a:lnTo>
                    <a:lnTo>
                      <a:pt x="488" y="253"/>
                    </a:lnTo>
                    <a:lnTo>
                      <a:pt x="488" y="255"/>
                    </a:lnTo>
                    <a:lnTo>
                      <a:pt x="488" y="253"/>
                    </a:lnTo>
                    <a:lnTo>
                      <a:pt x="486" y="253"/>
                    </a:lnTo>
                    <a:lnTo>
                      <a:pt x="486" y="255"/>
                    </a:lnTo>
                    <a:lnTo>
                      <a:pt x="484" y="255"/>
                    </a:lnTo>
                    <a:lnTo>
                      <a:pt x="486" y="255"/>
                    </a:lnTo>
                    <a:lnTo>
                      <a:pt x="486" y="257"/>
                    </a:lnTo>
                    <a:lnTo>
                      <a:pt x="486" y="259"/>
                    </a:lnTo>
                    <a:lnTo>
                      <a:pt x="484" y="259"/>
                    </a:lnTo>
                    <a:lnTo>
                      <a:pt x="484" y="257"/>
                    </a:lnTo>
                    <a:lnTo>
                      <a:pt x="482" y="257"/>
                    </a:lnTo>
                    <a:lnTo>
                      <a:pt x="482" y="255"/>
                    </a:lnTo>
                    <a:lnTo>
                      <a:pt x="480" y="255"/>
                    </a:lnTo>
                    <a:lnTo>
                      <a:pt x="480" y="253"/>
                    </a:lnTo>
                    <a:lnTo>
                      <a:pt x="479" y="253"/>
                    </a:lnTo>
                    <a:lnTo>
                      <a:pt x="477" y="253"/>
                    </a:lnTo>
                    <a:lnTo>
                      <a:pt x="477" y="255"/>
                    </a:lnTo>
                    <a:lnTo>
                      <a:pt x="475" y="255"/>
                    </a:lnTo>
                    <a:lnTo>
                      <a:pt x="473" y="255"/>
                    </a:lnTo>
                    <a:lnTo>
                      <a:pt x="471" y="255"/>
                    </a:lnTo>
                    <a:lnTo>
                      <a:pt x="471" y="257"/>
                    </a:lnTo>
                    <a:lnTo>
                      <a:pt x="469" y="257"/>
                    </a:lnTo>
                    <a:lnTo>
                      <a:pt x="467" y="259"/>
                    </a:lnTo>
                    <a:lnTo>
                      <a:pt x="465" y="259"/>
                    </a:lnTo>
                    <a:lnTo>
                      <a:pt x="463" y="259"/>
                    </a:lnTo>
                    <a:lnTo>
                      <a:pt x="463" y="261"/>
                    </a:lnTo>
                    <a:lnTo>
                      <a:pt x="463" y="263"/>
                    </a:lnTo>
                    <a:lnTo>
                      <a:pt x="461" y="263"/>
                    </a:lnTo>
                    <a:lnTo>
                      <a:pt x="459" y="263"/>
                    </a:lnTo>
                    <a:lnTo>
                      <a:pt x="459" y="265"/>
                    </a:lnTo>
                    <a:lnTo>
                      <a:pt x="461" y="265"/>
                    </a:lnTo>
                    <a:lnTo>
                      <a:pt x="461" y="267"/>
                    </a:lnTo>
                    <a:lnTo>
                      <a:pt x="461" y="269"/>
                    </a:lnTo>
                    <a:lnTo>
                      <a:pt x="459" y="269"/>
                    </a:lnTo>
                    <a:lnTo>
                      <a:pt x="459" y="271"/>
                    </a:lnTo>
                    <a:lnTo>
                      <a:pt x="457" y="271"/>
                    </a:lnTo>
                    <a:lnTo>
                      <a:pt x="457" y="273"/>
                    </a:lnTo>
                    <a:lnTo>
                      <a:pt x="455" y="273"/>
                    </a:lnTo>
                    <a:lnTo>
                      <a:pt x="442" y="274"/>
                    </a:lnTo>
                    <a:lnTo>
                      <a:pt x="434" y="276"/>
                    </a:lnTo>
                    <a:lnTo>
                      <a:pt x="430" y="278"/>
                    </a:lnTo>
                    <a:lnTo>
                      <a:pt x="429" y="278"/>
                    </a:lnTo>
                    <a:lnTo>
                      <a:pt x="427" y="278"/>
                    </a:lnTo>
                    <a:lnTo>
                      <a:pt x="425" y="278"/>
                    </a:lnTo>
                    <a:lnTo>
                      <a:pt x="425" y="280"/>
                    </a:lnTo>
                    <a:lnTo>
                      <a:pt x="425" y="278"/>
                    </a:lnTo>
                    <a:lnTo>
                      <a:pt x="425" y="280"/>
                    </a:lnTo>
                    <a:lnTo>
                      <a:pt x="423" y="280"/>
                    </a:lnTo>
                    <a:lnTo>
                      <a:pt x="423" y="282"/>
                    </a:lnTo>
                    <a:lnTo>
                      <a:pt x="421" y="282"/>
                    </a:lnTo>
                    <a:lnTo>
                      <a:pt x="421" y="284"/>
                    </a:lnTo>
                    <a:lnTo>
                      <a:pt x="421" y="282"/>
                    </a:lnTo>
                    <a:lnTo>
                      <a:pt x="419" y="284"/>
                    </a:lnTo>
                    <a:lnTo>
                      <a:pt x="419" y="282"/>
                    </a:lnTo>
                    <a:lnTo>
                      <a:pt x="417" y="282"/>
                    </a:lnTo>
                    <a:lnTo>
                      <a:pt x="419" y="282"/>
                    </a:lnTo>
                    <a:lnTo>
                      <a:pt x="417" y="282"/>
                    </a:lnTo>
                    <a:lnTo>
                      <a:pt x="417" y="280"/>
                    </a:lnTo>
                    <a:lnTo>
                      <a:pt x="417" y="282"/>
                    </a:lnTo>
                    <a:lnTo>
                      <a:pt x="415" y="282"/>
                    </a:lnTo>
                    <a:lnTo>
                      <a:pt x="413" y="282"/>
                    </a:lnTo>
                    <a:lnTo>
                      <a:pt x="415" y="282"/>
                    </a:lnTo>
                    <a:lnTo>
                      <a:pt x="413" y="280"/>
                    </a:lnTo>
                    <a:lnTo>
                      <a:pt x="411" y="280"/>
                    </a:lnTo>
                    <a:lnTo>
                      <a:pt x="407" y="278"/>
                    </a:lnTo>
                    <a:lnTo>
                      <a:pt x="384" y="271"/>
                    </a:lnTo>
                    <a:lnTo>
                      <a:pt x="382" y="271"/>
                    </a:lnTo>
                    <a:lnTo>
                      <a:pt x="381" y="271"/>
                    </a:lnTo>
                    <a:lnTo>
                      <a:pt x="379" y="271"/>
                    </a:lnTo>
                    <a:lnTo>
                      <a:pt x="379" y="269"/>
                    </a:lnTo>
                    <a:lnTo>
                      <a:pt x="381" y="271"/>
                    </a:lnTo>
                    <a:lnTo>
                      <a:pt x="381" y="269"/>
                    </a:lnTo>
                    <a:lnTo>
                      <a:pt x="315" y="244"/>
                    </a:lnTo>
                    <a:lnTo>
                      <a:pt x="259" y="221"/>
                    </a:lnTo>
                    <a:lnTo>
                      <a:pt x="246" y="215"/>
                    </a:lnTo>
                    <a:lnTo>
                      <a:pt x="236" y="209"/>
                    </a:lnTo>
                    <a:lnTo>
                      <a:pt x="233" y="207"/>
                    </a:lnTo>
                    <a:lnTo>
                      <a:pt x="231" y="205"/>
                    </a:lnTo>
                    <a:lnTo>
                      <a:pt x="229" y="205"/>
                    </a:lnTo>
                    <a:lnTo>
                      <a:pt x="225" y="201"/>
                    </a:lnTo>
                    <a:lnTo>
                      <a:pt x="215" y="196"/>
                    </a:lnTo>
                    <a:lnTo>
                      <a:pt x="211" y="194"/>
                    </a:lnTo>
                    <a:lnTo>
                      <a:pt x="206" y="190"/>
                    </a:lnTo>
                    <a:lnTo>
                      <a:pt x="206" y="188"/>
                    </a:lnTo>
                    <a:lnTo>
                      <a:pt x="206" y="186"/>
                    </a:lnTo>
                    <a:lnTo>
                      <a:pt x="206" y="188"/>
                    </a:lnTo>
                    <a:lnTo>
                      <a:pt x="206" y="186"/>
                    </a:lnTo>
                    <a:lnTo>
                      <a:pt x="204" y="186"/>
                    </a:lnTo>
                    <a:lnTo>
                      <a:pt x="204" y="182"/>
                    </a:lnTo>
                    <a:lnTo>
                      <a:pt x="206" y="180"/>
                    </a:lnTo>
                    <a:lnTo>
                      <a:pt x="206" y="178"/>
                    </a:lnTo>
                    <a:lnTo>
                      <a:pt x="206" y="180"/>
                    </a:lnTo>
                    <a:lnTo>
                      <a:pt x="206" y="178"/>
                    </a:lnTo>
                    <a:lnTo>
                      <a:pt x="204" y="178"/>
                    </a:lnTo>
                    <a:lnTo>
                      <a:pt x="204" y="176"/>
                    </a:lnTo>
                    <a:lnTo>
                      <a:pt x="204" y="175"/>
                    </a:lnTo>
                    <a:lnTo>
                      <a:pt x="206" y="175"/>
                    </a:lnTo>
                    <a:lnTo>
                      <a:pt x="206" y="173"/>
                    </a:lnTo>
                    <a:lnTo>
                      <a:pt x="208" y="173"/>
                    </a:lnTo>
                    <a:lnTo>
                      <a:pt x="210" y="171"/>
                    </a:lnTo>
                    <a:lnTo>
                      <a:pt x="211" y="169"/>
                    </a:lnTo>
                    <a:lnTo>
                      <a:pt x="211" y="167"/>
                    </a:lnTo>
                    <a:lnTo>
                      <a:pt x="210" y="167"/>
                    </a:lnTo>
                    <a:lnTo>
                      <a:pt x="208" y="165"/>
                    </a:lnTo>
                    <a:lnTo>
                      <a:pt x="210" y="165"/>
                    </a:lnTo>
                    <a:lnTo>
                      <a:pt x="211" y="165"/>
                    </a:lnTo>
                    <a:lnTo>
                      <a:pt x="211" y="163"/>
                    </a:lnTo>
                    <a:lnTo>
                      <a:pt x="211" y="161"/>
                    </a:lnTo>
                    <a:lnTo>
                      <a:pt x="211" y="159"/>
                    </a:lnTo>
                    <a:lnTo>
                      <a:pt x="211" y="161"/>
                    </a:lnTo>
                    <a:lnTo>
                      <a:pt x="211" y="159"/>
                    </a:lnTo>
                    <a:lnTo>
                      <a:pt x="213" y="159"/>
                    </a:lnTo>
                    <a:lnTo>
                      <a:pt x="211" y="159"/>
                    </a:lnTo>
                    <a:lnTo>
                      <a:pt x="213" y="159"/>
                    </a:lnTo>
                    <a:lnTo>
                      <a:pt x="211" y="159"/>
                    </a:lnTo>
                    <a:lnTo>
                      <a:pt x="211" y="161"/>
                    </a:lnTo>
                    <a:lnTo>
                      <a:pt x="213" y="159"/>
                    </a:lnTo>
                    <a:lnTo>
                      <a:pt x="213" y="161"/>
                    </a:lnTo>
                    <a:lnTo>
                      <a:pt x="211" y="161"/>
                    </a:lnTo>
                    <a:lnTo>
                      <a:pt x="213" y="161"/>
                    </a:lnTo>
                    <a:lnTo>
                      <a:pt x="213" y="159"/>
                    </a:lnTo>
                    <a:lnTo>
                      <a:pt x="213" y="161"/>
                    </a:lnTo>
                    <a:lnTo>
                      <a:pt x="215" y="161"/>
                    </a:lnTo>
                    <a:lnTo>
                      <a:pt x="217" y="163"/>
                    </a:lnTo>
                    <a:lnTo>
                      <a:pt x="217" y="161"/>
                    </a:lnTo>
                    <a:lnTo>
                      <a:pt x="217" y="163"/>
                    </a:lnTo>
                    <a:lnTo>
                      <a:pt x="219" y="163"/>
                    </a:lnTo>
                    <a:lnTo>
                      <a:pt x="219" y="161"/>
                    </a:lnTo>
                    <a:lnTo>
                      <a:pt x="221" y="161"/>
                    </a:lnTo>
                    <a:lnTo>
                      <a:pt x="223" y="161"/>
                    </a:lnTo>
                    <a:lnTo>
                      <a:pt x="223" y="163"/>
                    </a:lnTo>
                    <a:lnTo>
                      <a:pt x="223" y="161"/>
                    </a:lnTo>
                    <a:lnTo>
                      <a:pt x="225" y="161"/>
                    </a:lnTo>
                    <a:lnTo>
                      <a:pt x="227" y="161"/>
                    </a:lnTo>
                    <a:lnTo>
                      <a:pt x="229" y="161"/>
                    </a:lnTo>
                    <a:lnTo>
                      <a:pt x="231" y="163"/>
                    </a:lnTo>
                    <a:lnTo>
                      <a:pt x="233" y="165"/>
                    </a:lnTo>
                    <a:lnTo>
                      <a:pt x="235" y="165"/>
                    </a:lnTo>
                    <a:lnTo>
                      <a:pt x="233" y="165"/>
                    </a:lnTo>
                    <a:lnTo>
                      <a:pt x="231" y="165"/>
                    </a:lnTo>
                    <a:lnTo>
                      <a:pt x="233" y="165"/>
                    </a:lnTo>
                    <a:lnTo>
                      <a:pt x="231" y="163"/>
                    </a:lnTo>
                    <a:lnTo>
                      <a:pt x="229" y="163"/>
                    </a:lnTo>
                    <a:lnTo>
                      <a:pt x="227" y="163"/>
                    </a:lnTo>
                    <a:lnTo>
                      <a:pt x="229" y="163"/>
                    </a:lnTo>
                    <a:lnTo>
                      <a:pt x="227" y="163"/>
                    </a:lnTo>
                    <a:lnTo>
                      <a:pt x="227" y="161"/>
                    </a:lnTo>
                    <a:lnTo>
                      <a:pt x="227" y="163"/>
                    </a:lnTo>
                    <a:lnTo>
                      <a:pt x="229" y="163"/>
                    </a:lnTo>
                    <a:lnTo>
                      <a:pt x="227" y="163"/>
                    </a:lnTo>
                    <a:lnTo>
                      <a:pt x="225" y="163"/>
                    </a:lnTo>
                    <a:lnTo>
                      <a:pt x="225" y="165"/>
                    </a:lnTo>
                    <a:lnTo>
                      <a:pt x="227" y="165"/>
                    </a:lnTo>
                    <a:lnTo>
                      <a:pt x="225" y="165"/>
                    </a:lnTo>
                    <a:lnTo>
                      <a:pt x="227" y="165"/>
                    </a:lnTo>
                    <a:lnTo>
                      <a:pt x="225" y="165"/>
                    </a:lnTo>
                    <a:lnTo>
                      <a:pt x="225" y="163"/>
                    </a:lnTo>
                    <a:lnTo>
                      <a:pt x="223" y="163"/>
                    </a:lnTo>
                    <a:lnTo>
                      <a:pt x="221" y="165"/>
                    </a:lnTo>
                    <a:lnTo>
                      <a:pt x="219" y="165"/>
                    </a:lnTo>
                    <a:lnTo>
                      <a:pt x="217" y="165"/>
                    </a:lnTo>
                    <a:lnTo>
                      <a:pt x="219" y="165"/>
                    </a:lnTo>
                    <a:lnTo>
                      <a:pt x="217" y="165"/>
                    </a:lnTo>
                    <a:lnTo>
                      <a:pt x="219" y="165"/>
                    </a:lnTo>
                    <a:lnTo>
                      <a:pt x="217" y="165"/>
                    </a:lnTo>
                    <a:lnTo>
                      <a:pt x="219" y="165"/>
                    </a:lnTo>
                    <a:lnTo>
                      <a:pt x="217" y="165"/>
                    </a:lnTo>
                    <a:lnTo>
                      <a:pt x="219" y="165"/>
                    </a:lnTo>
                    <a:lnTo>
                      <a:pt x="221" y="165"/>
                    </a:lnTo>
                    <a:lnTo>
                      <a:pt x="221" y="167"/>
                    </a:lnTo>
                    <a:lnTo>
                      <a:pt x="219" y="167"/>
                    </a:lnTo>
                    <a:lnTo>
                      <a:pt x="219" y="169"/>
                    </a:lnTo>
                    <a:lnTo>
                      <a:pt x="219" y="167"/>
                    </a:lnTo>
                    <a:lnTo>
                      <a:pt x="217" y="167"/>
                    </a:lnTo>
                    <a:lnTo>
                      <a:pt x="217" y="169"/>
                    </a:lnTo>
                    <a:lnTo>
                      <a:pt x="219" y="169"/>
                    </a:lnTo>
                    <a:lnTo>
                      <a:pt x="219" y="167"/>
                    </a:lnTo>
                    <a:lnTo>
                      <a:pt x="221" y="167"/>
                    </a:lnTo>
                    <a:lnTo>
                      <a:pt x="221" y="169"/>
                    </a:lnTo>
                    <a:lnTo>
                      <a:pt x="223" y="169"/>
                    </a:lnTo>
                    <a:lnTo>
                      <a:pt x="223" y="167"/>
                    </a:lnTo>
                    <a:lnTo>
                      <a:pt x="223" y="169"/>
                    </a:lnTo>
                    <a:lnTo>
                      <a:pt x="225" y="169"/>
                    </a:lnTo>
                    <a:lnTo>
                      <a:pt x="223" y="169"/>
                    </a:lnTo>
                    <a:lnTo>
                      <a:pt x="223" y="167"/>
                    </a:lnTo>
                    <a:lnTo>
                      <a:pt x="225" y="167"/>
                    </a:lnTo>
                    <a:lnTo>
                      <a:pt x="223" y="167"/>
                    </a:lnTo>
                    <a:lnTo>
                      <a:pt x="221" y="167"/>
                    </a:lnTo>
                    <a:lnTo>
                      <a:pt x="221" y="165"/>
                    </a:lnTo>
                    <a:lnTo>
                      <a:pt x="223" y="163"/>
                    </a:lnTo>
                    <a:lnTo>
                      <a:pt x="225" y="163"/>
                    </a:lnTo>
                    <a:lnTo>
                      <a:pt x="225" y="165"/>
                    </a:lnTo>
                    <a:lnTo>
                      <a:pt x="227" y="165"/>
                    </a:lnTo>
                    <a:lnTo>
                      <a:pt x="227" y="163"/>
                    </a:lnTo>
                    <a:lnTo>
                      <a:pt x="227" y="165"/>
                    </a:lnTo>
                    <a:lnTo>
                      <a:pt x="227" y="163"/>
                    </a:lnTo>
                    <a:lnTo>
                      <a:pt x="229" y="163"/>
                    </a:lnTo>
                    <a:lnTo>
                      <a:pt x="231" y="165"/>
                    </a:lnTo>
                    <a:lnTo>
                      <a:pt x="229" y="165"/>
                    </a:lnTo>
                    <a:lnTo>
                      <a:pt x="229" y="163"/>
                    </a:lnTo>
                    <a:lnTo>
                      <a:pt x="229" y="165"/>
                    </a:lnTo>
                    <a:lnTo>
                      <a:pt x="231" y="165"/>
                    </a:lnTo>
                    <a:lnTo>
                      <a:pt x="229" y="165"/>
                    </a:lnTo>
                    <a:lnTo>
                      <a:pt x="229" y="167"/>
                    </a:lnTo>
                    <a:lnTo>
                      <a:pt x="227" y="167"/>
                    </a:lnTo>
                    <a:lnTo>
                      <a:pt x="225" y="167"/>
                    </a:lnTo>
                    <a:lnTo>
                      <a:pt x="227" y="167"/>
                    </a:lnTo>
                    <a:lnTo>
                      <a:pt x="229" y="167"/>
                    </a:lnTo>
                    <a:lnTo>
                      <a:pt x="227" y="167"/>
                    </a:lnTo>
                    <a:lnTo>
                      <a:pt x="229" y="167"/>
                    </a:lnTo>
                    <a:lnTo>
                      <a:pt x="229" y="165"/>
                    </a:lnTo>
                    <a:lnTo>
                      <a:pt x="231" y="165"/>
                    </a:lnTo>
                    <a:lnTo>
                      <a:pt x="231" y="167"/>
                    </a:lnTo>
                    <a:lnTo>
                      <a:pt x="231" y="165"/>
                    </a:lnTo>
                    <a:lnTo>
                      <a:pt x="233" y="165"/>
                    </a:lnTo>
                    <a:lnTo>
                      <a:pt x="231" y="165"/>
                    </a:lnTo>
                    <a:lnTo>
                      <a:pt x="233" y="165"/>
                    </a:lnTo>
                    <a:lnTo>
                      <a:pt x="233" y="167"/>
                    </a:lnTo>
                    <a:lnTo>
                      <a:pt x="233" y="165"/>
                    </a:lnTo>
                    <a:lnTo>
                      <a:pt x="233" y="167"/>
                    </a:lnTo>
                    <a:lnTo>
                      <a:pt x="233" y="165"/>
                    </a:lnTo>
                    <a:lnTo>
                      <a:pt x="235" y="165"/>
                    </a:lnTo>
                    <a:lnTo>
                      <a:pt x="233" y="165"/>
                    </a:lnTo>
                    <a:lnTo>
                      <a:pt x="235" y="165"/>
                    </a:lnTo>
                    <a:lnTo>
                      <a:pt x="236" y="165"/>
                    </a:lnTo>
                    <a:lnTo>
                      <a:pt x="235" y="165"/>
                    </a:lnTo>
                    <a:lnTo>
                      <a:pt x="236" y="165"/>
                    </a:lnTo>
                    <a:lnTo>
                      <a:pt x="238" y="165"/>
                    </a:lnTo>
                    <a:lnTo>
                      <a:pt x="238" y="163"/>
                    </a:lnTo>
                    <a:lnTo>
                      <a:pt x="238" y="161"/>
                    </a:lnTo>
                    <a:lnTo>
                      <a:pt x="240" y="161"/>
                    </a:lnTo>
                    <a:lnTo>
                      <a:pt x="242" y="161"/>
                    </a:lnTo>
                    <a:lnTo>
                      <a:pt x="244" y="161"/>
                    </a:lnTo>
                    <a:lnTo>
                      <a:pt x="244" y="163"/>
                    </a:lnTo>
                    <a:lnTo>
                      <a:pt x="244" y="161"/>
                    </a:lnTo>
                    <a:lnTo>
                      <a:pt x="246" y="161"/>
                    </a:lnTo>
                    <a:lnTo>
                      <a:pt x="246" y="163"/>
                    </a:lnTo>
                    <a:lnTo>
                      <a:pt x="248" y="163"/>
                    </a:lnTo>
                    <a:lnTo>
                      <a:pt x="248" y="161"/>
                    </a:lnTo>
                    <a:lnTo>
                      <a:pt x="248" y="163"/>
                    </a:lnTo>
                    <a:lnTo>
                      <a:pt x="248" y="161"/>
                    </a:lnTo>
                    <a:lnTo>
                      <a:pt x="250" y="161"/>
                    </a:lnTo>
                    <a:lnTo>
                      <a:pt x="248" y="161"/>
                    </a:lnTo>
                    <a:lnTo>
                      <a:pt x="250" y="161"/>
                    </a:lnTo>
                    <a:lnTo>
                      <a:pt x="248" y="161"/>
                    </a:lnTo>
                    <a:lnTo>
                      <a:pt x="250" y="161"/>
                    </a:lnTo>
                    <a:lnTo>
                      <a:pt x="250" y="163"/>
                    </a:lnTo>
                    <a:lnTo>
                      <a:pt x="250" y="161"/>
                    </a:lnTo>
                    <a:lnTo>
                      <a:pt x="252" y="161"/>
                    </a:lnTo>
                    <a:lnTo>
                      <a:pt x="250" y="161"/>
                    </a:lnTo>
                    <a:lnTo>
                      <a:pt x="252" y="161"/>
                    </a:lnTo>
                    <a:lnTo>
                      <a:pt x="250" y="161"/>
                    </a:lnTo>
                    <a:lnTo>
                      <a:pt x="250" y="163"/>
                    </a:lnTo>
                    <a:lnTo>
                      <a:pt x="252" y="163"/>
                    </a:lnTo>
                    <a:lnTo>
                      <a:pt x="250" y="161"/>
                    </a:lnTo>
                    <a:lnTo>
                      <a:pt x="252" y="161"/>
                    </a:lnTo>
                    <a:lnTo>
                      <a:pt x="250" y="161"/>
                    </a:lnTo>
                    <a:lnTo>
                      <a:pt x="252" y="161"/>
                    </a:lnTo>
                    <a:lnTo>
                      <a:pt x="252" y="159"/>
                    </a:lnTo>
                    <a:lnTo>
                      <a:pt x="254" y="159"/>
                    </a:lnTo>
                    <a:lnTo>
                      <a:pt x="254" y="161"/>
                    </a:lnTo>
                    <a:lnTo>
                      <a:pt x="254" y="159"/>
                    </a:lnTo>
                    <a:lnTo>
                      <a:pt x="256" y="159"/>
                    </a:lnTo>
                    <a:lnTo>
                      <a:pt x="258" y="159"/>
                    </a:lnTo>
                    <a:lnTo>
                      <a:pt x="258" y="157"/>
                    </a:lnTo>
                    <a:lnTo>
                      <a:pt x="259" y="157"/>
                    </a:lnTo>
                    <a:lnTo>
                      <a:pt x="261" y="157"/>
                    </a:lnTo>
                    <a:lnTo>
                      <a:pt x="261" y="159"/>
                    </a:lnTo>
                    <a:lnTo>
                      <a:pt x="261" y="157"/>
                    </a:lnTo>
                    <a:lnTo>
                      <a:pt x="263" y="157"/>
                    </a:lnTo>
                    <a:lnTo>
                      <a:pt x="263" y="155"/>
                    </a:lnTo>
                    <a:lnTo>
                      <a:pt x="265" y="155"/>
                    </a:lnTo>
                    <a:lnTo>
                      <a:pt x="267" y="155"/>
                    </a:lnTo>
                    <a:lnTo>
                      <a:pt x="267" y="153"/>
                    </a:lnTo>
                    <a:lnTo>
                      <a:pt x="269" y="153"/>
                    </a:lnTo>
                    <a:lnTo>
                      <a:pt x="269" y="151"/>
                    </a:lnTo>
                    <a:lnTo>
                      <a:pt x="269" y="153"/>
                    </a:lnTo>
                    <a:lnTo>
                      <a:pt x="271" y="151"/>
                    </a:lnTo>
                    <a:lnTo>
                      <a:pt x="269" y="153"/>
                    </a:lnTo>
                    <a:lnTo>
                      <a:pt x="271" y="151"/>
                    </a:lnTo>
                    <a:lnTo>
                      <a:pt x="273" y="150"/>
                    </a:lnTo>
                    <a:lnTo>
                      <a:pt x="275" y="150"/>
                    </a:lnTo>
                    <a:lnTo>
                      <a:pt x="275" y="148"/>
                    </a:lnTo>
                    <a:lnTo>
                      <a:pt x="275" y="146"/>
                    </a:lnTo>
                    <a:lnTo>
                      <a:pt x="277" y="146"/>
                    </a:lnTo>
                    <a:lnTo>
                      <a:pt x="279" y="146"/>
                    </a:lnTo>
                    <a:lnTo>
                      <a:pt x="281" y="146"/>
                    </a:lnTo>
                    <a:lnTo>
                      <a:pt x="283" y="144"/>
                    </a:lnTo>
                    <a:lnTo>
                      <a:pt x="284" y="146"/>
                    </a:lnTo>
                    <a:lnTo>
                      <a:pt x="284" y="148"/>
                    </a:lnTo>
                    <a:lnTo>
                      <a:pt x="284" y="150"/>
                    </a:lnTo>
                    <a:lnTo>
                      <a:pt x="284" y="151"/>
                    </a:lnTo>
                    <a:lnTo>
                      <a:pt x="283" y="151"/>
                    </a:lnTo>
                    <a:lnTo>
                      <a:pt x="284" y="151"/>
                    </a:lnTo>
                    <a:lnTo>
                      <a:pt x="283" y="151"/>
                    </a:lnTo>
                    <a:lnTo>
                      <a:pt x="284" y="151"/>
                    </a:lnTo>
                    <a:lnTo>
                      <a:pt x="284" y="153"/>
                    </a:lnTo>
                    <a:lnTo>
                      <a:pt x="284" y="155"/>
                    </a:lnTo>
                    <a:lnTo>
                      <a:pt x="286" y="155"/>
                    </a:lnTo>
                    <a:lnTo>
                      <a:pt x="288" y="155"/>
                    </a:lnTo>
                    <a:lnTo>
                      <a:pt x="288" y="157"/>
                    </a:lnTo>
                    <a:lnTo>
                      <a:pt x="286" y="157"/>
                    </a:lnTo>
                    <a:lnTo>
                      <a:pt x="284" y="157"/>
                    </a:lnTo>
                    <a:lnTo>
                      <a:pt x="284" y="159"/>
                    </a:lnTo>
                    <a:lnTo>
                      <a:pt x="284" y="157"/>
                    </a:lnTo>
                    <a:lnTo>
                      <a:pt x="286" y="157"/>
                    </a:lnTo>
                    <a:lnTo>
                      <a:pt x="288" y="155"/>
                    </a:lnTo>
                    <a:lnTo>
                      <a:pt x="290" y="155"/>
                    </a:lnTo>
                    <a:lnTo>
                      <a:pt x="290" y="153"/>
                    </a:lnTo>
                    <a:lnTo>
                      <a:pt x="292" y="153"/>
                    </a:lnTo>
                    <a:lnTo>
                      <a:pt x="290" y="153"/>
                    </a:lnTo>
                    <a:lnTo>
                      <a:pt x="290" y="151"/>
                    </a:lnTo>
                    <a:lnTo>
                      <a:pt x="290" y="153"/>
                    </a:lnTo>
                    <a:lnTo>
                      <a:pt x="290" y="151"/>
                    </a:lnTo>
                    <a:lnTo>
                      <a:pt x="292" y="151"/>
                    </a:lnTo>
                    <a:lnTo>
                      <a:pt x="292" y="150"/>
                    </a:lnTo>
                    <a:lnTo>
                      <a:pt x="292" y="148"/>
                    </a:lnTo>
                    <a:lnTo>
                      <a:pt x="294" y="148"/>
                    </a:lnTo>
                    <a:lnTo>
                      <a:pt x="292" y="148"/>
                    </a:lnTo>
                    <a:lnTo>
                      <a:pt x="292" y="146"/>
                    </a:lnTo>
                    <a:lnTo>
                      <a:pt x="294" y="146"/>
                    </a:lnTo>
                    <a:lnTo>
                      <a:pt x="296" y="146"/>
                    </a:lnTo>
                    <a:lnTo>
                      <a:pt x="296" y="144"/>
                    </a:lnTo>
                    <a:lnTo>
                      <a:pt x="298" y="142"/>
                    </a:lnTo>
                    <a:lnTo>
                      <a:pt x="300" y="142"/>
                    </a:lnTo>
                    <a:lnTo>
                      <a:pt x="298" y="142"/>
                    </a:lnTo>
                    <a:lnTo>
                      <a:pt x="300" y="144"/>
                    </a:lnTo>
                    <a:lnTo>
                      <a:pt x="300" y="142"/>
                    </a:lnTo>
                    <a:lnTo>
                      <a:pt x="302" y="142"/>
                    </a:lnTo>
                    <a:lnTo>
                      <a:pt x="304" y="142"/>
                    </a:lnTo>
                    <a:lnTo>
                      <a:pt x="306" y="142"/>
                    </a:lnTo>
                    <a:lnTo>
                      <a:pt x="304" y="142"/>
                    </a:lnTo>
                    <a:lnTo>
                      <a:pt x="304" y="140"/>
                    </a:lnTo>
                    <a:lnTo>
                      <a:pt x="306" y="140"/>
                    </a:lnTo>
                    <a:lnTo>
                      <a:pt x="308" y="140"/>
                    </a:lnTo>
                    <a:lnTo>
                      <a:pt x="309" y="140"/>
                    </a:lnTo>
                    <a:lnTo>
                      <a:pt x="311" y="140"/>
                    </a:lnTo>
                    <a:lnTo>
                      <a:pt x="313" y="140"/>
                    </a:lnTo>
                    <a:lnTo>
                      <a:pt x="313" y="142"/>
                    </a:lnTo>
                    <a:lnTo>
                      <a:pt x="315" y="142"/>
                    </a:lnTo>
                    <a:lnTo>
                      <a:pt x="317" y="142"/>
                    </a:lnTo>
                    <a:lnTo>
                      <a:pt x="317" y="144"/>
                    </a:lnTo>
                    <a:lnTo>
                      <a:pt x="317" y="142"/>
                    </a:lnTo>
                    <a:lnTo>
                      <a:pt x="319" y="142"/>
                    </a:lnTo>
                    <a:lnTo>
                      <a:pt x="319" y="140"/>
                    </a:lnTo>
                    <a:lnTo>
                      <a:pt x="321" y="140"/>
                    </a:lnTo>
                    <a:lnTo>
                      <a:pt x="323" y="140"/>
                    </a:lnTo>
                    <a:lnTo>
                      <a:pt x="325" y="140"/>
                    </a:lnTo>
                    <a:lnTo>
                      <a:pt x="327" y="140"/>
                    </a:lnTo>
                    <a:lnTo>
                      <a:pt x="327" y="142"/>
                    </a:lnTo>
                    <a:lnTo>
                      <a:pt x="329" y="142"/>
                    </a:lnTo>
                    <a:lnTo>
                      <a:pt x="329" y="144"/>
                    </a:lnTo>
                    <a:lnTo>
                      <a:pt x="329" y="146"/>
                    </a:lnTo>
                    <a:lnTo>
                      <a:pt x="331" y="146"/>
                    </a:lnTo>
                    <a:lnTo>
                      <a:pt x="329" y="146"/>
                    </a:lnTo>
                    <a:lnTo>
                      <a:pt x="331" y="146"/>
                    </a:lnTo>
                    <a:lnTo>
                      <a:pt x="332" y="146"/>
                    </a:lnTo>
                    <a:lnTo>
                      <a:pt x="332" y="148"/>
                    </a:lnTo>
                    <a:lnTo>
                      <a:pt x="334" y="148"/>
                    </a:lnTo>
                    <a:lnTo>
                      <a:pt x="336" y="148"/>
                    </a:lnTo>
                    <a:lnTo>
                      <a:pt x="336" y="146"/>
                    </a:lnTo>
                    <a:lnTo>
                      <a:pt x="336" y="148"/>
                    </a:lnTo>
                    <a:lnTo>
                      <a:pt x="336" y="146"/>
                    </a:lnTo>
                    <a:lnTo>
                      <a:pt x="336" y="148"/>
                    </a:lnTo>
                    <a:lnTo>
                      <a:pt x="336" y="146"/>
                    </a:lnTo>
                    <a:lnTo>
                      <a:pt x="336" y="148"/>
                    </a:lnTo>
                    <a:lnTo>
                      <a:pt x="336" y="146"/>
                    </a:lnTo>
                    <a:lnTo>
                      <a:pt x="338" y="148"/>
                    </a:lnTo>
                    <a:lnTo>
                      <a:pt x="336" y="148"/>
                    </a:lnTo>
                    <a:lnTo>
                      <a:pt x="338" y="148"/>
                    </a:lnTo>
                    <a:lnTo>
                      <a:pt x="336" y="148"/>
                    </a:lnTo>
                    <a:lnTo>
                      <a:pt x="336" y="150"/>
                    </a:lnTo>
                    <a:lnTo>
                      <a:pt x="336" y="148"/>
                    </a:lnTo>
                    <a:lnTo>
                      <a:pt x="336" y="150"/>
                    </a:lnTo>
                    <a:lnTo>
                      <a:pt x="334" y="150"/>
                    </a:lnTo>
                    <a:lnTo>
                      <a:pt x="334" y="151"/>
                    </a:lnTo>
                    <a:lnTo>
                      <a:pt x="334" y="153"/>
                    </a:lnTo>
                    <a:lnTo>
                      <a:pt x="334" y="151"/>
                    </a:lnTo>
                    <a:lnTo>
                      <a:pt x="336" y="153"/>
                    </a:lnTo>
                    <a:lnTo>
                      <a:pt x="336" y="155"/>
                    </a:lnTo>
                    <a:lnTo>
                      <a:pt x="334" y="157"/>
                    </a:lnTo>
                    <a:lnTo>
                      <a:pt x="336" y="157"/>
                    </a:lnTo>
                    <a:lnTo>
                      <a:pt x="336" y="159"/>
                    </a:lnTo>
                    <a:lnTo>
                      <a:pt x="336" y="157"/>
                    </a:lnTo>
                    <a:lnTo>
                      <a:pt x="336" y="159"/>
                    </a:lnTo>
                    <a:lnTo>
                      <a:pt x="338" y="159"/>
                    </a:lnTo>
                    <a:lnTo>
                      <a:pt x="336" y="159"/>
                    </a:lnTo>
                    <a:lnTo>
                      <a:pt x="338" y="161"/>
                    </a:lnTo>
                    <a:lnTo>
                      <a:pt x="338" y="163"/>
                    </a:lnTo>
                    <a:lnTo>
                      <a:pt x="340" y="163"/>
                    </a:lnTo>
                    <a:lnTo>
                      <a:pt x="340" y="165"/>
                    </a:lnTo>
                    <a:lnTo>
                      <a:pt x="340" y="167"/>
                    </a:lnTo>
                    <a:lnTo>
                      <a:pt x="340" y="169"/>
                    </a:lnTo>
                    <a:lnTo>
                      <a:pt x="342" y="169"/>
                    </a:lnTo>
                    <a:lnTo>
                      <a:pt x="342" y="171"/>
                    </a:lnTo>
                    <a:lnTo>
                      <a:pt x="342" y="169"/>
                    </a:lnTo>
                    <a:lnTo>
                      <a:pt x="342" y="171"/>
                    </a:lnTo>
                    <a:lnTo>
                      <a:pt x="342" y="173"/>
                    </a:lnTo>
                    <a:lnTo>
                      <a:pt x="342" y="171"/>
                    </a:lnTo>
                    <a:lnTo>
                      <a:pt x="342" y="173"/>
                    </a:lnTo>
                    <a:lnTo>
                      <a:pt x="344" y="173"/>
                    </a:lnTo>
                    <a:lnTo>
                      <a:pt x="342" y="173"/>
                    </a:lnTo>
                    <a:lnTo>
                      <a:pt x="342" y="175"/>
                    </a:lnTo>
                    <a:lnTo>
                      <a:pt x="344" y="175"/>
                    </a:lnTo>
                    <a:lnTo>
                      <a:pt x="344" y="173"/>
                    </a:lnTo>
                    <a:lnTo>
                      <a:pt x="344" y="175"/>
                    </a:lnTo>
                    <a:lnTo>
                      <a:pt x="344" y="176"/>
                    </a:lnTo>
                    <a:lnTo>
                      <a:pt x="344" y="178"/>
                    </a:lnTo>
                    <a:lnTo>
                      <a:pt x="342" y="180"/>
                    </a:lnTo>
                    <a:lnTo>
                      <a:pt x="344" y="180"/>
                    </a:lnTo>
                    <a:lnTo>
                      <a:pt x="342" y="180"/>
                    </a:lnTo>
                    <a:lnTo>
                      <a:pt x="342" y="182"/>
                    </a:lnTo>
                    <a:lnTo>
                      <a:pt x="340" y="182"/>
                    </a:lnTo>
                    <a:lnTo>
                      <a:pt x="340" y="180"/>
                    </a:lnTo>
                    <a:lnTo>
                      <a:pt x="338" y="180"/>
                    </a:lnTo>
                    <a:lnTo>
                      <a:pt x="338" y="178"/>
                    </a:lnTo>
                    <a:lnTo>
                      <a:pt x="336" y="178"/>
                    </a:lnTo>
                    <a:lnTo>
                      <a:pt x="334" y="178"/>
                    </a:lnTo>
                    <a:lnTo>
                      <a:pt x="336" y="178"/>
                    </a:lnTo>
                    <a:lnTo>
                      <a:pt x="334" y="178"/>
                    </a:lnTo>
                    <a:lnTo>
                      <a:pt x="334" y="176"/>
                    </a:lnTo>
                    <a:lnTo>
                      <a:pt x="334" y="175"/>
                    </a:lnTo>
                    <a:lnTo>
                      <a:pt x="332" y="175"/>
                    </a:lnTo>
                    <a:lnTo>
                      <a:pt x="331" y="175"/>
                    </a:lnTo>
                    <a:lnTo>
                      <a:pt x="329" y="175"/>
                    </a:lnTo>
                    <a:lnTo>
                      <a:pt x="329" y="173"/>
                    </a:lnTo>
                    <a:lnTo>
                      <a:pt x="329" y="175"/>
                    </a:lnTo>
                    <a:lnTo>
                      <a:pt x="329" y="173"/>
                    </a:lnTo>
                    <a:lnTo>
                      <a:pt x="327" y="173"/>
                    </a:lnTo>
                    <a:lnTo>
                      <a:pt x="327" y="171"/>
                    </a:lnTo>
                    <a:lnTo>
                      <a:pt x="325" y="171"/>
                    </a:lnTo>
                    <a:lnTo>
                      <a:pt x="327" y="171"/>
                    </a:lnTo>
                    <a:lnTo>
                      <a:pt x="325" y="171"/>
                    </a:lnTo>
                    <a:lnTo>
                      <a:pt x="327" y="171"/>
                    </a:lnTo>
                    <a:lnTo>
                      <a:pt x="327" y="173"/>
                    </a:lnTo>
                    <a:lnTo>
                      <a:pt x="329" y="173"/>
                    </a:lnTo>
                    <a:lnTo>
                      <a:pt x="327" y="173"/>
                    </a:lnTo>
                    <a:lnTo>
                      <a:pt x="329" y="173"/>
                    </a:lnTo>
                    <a:lnTo>
                      <a:pt x="329" y="175"/>
                    </a:lnTo>
                    <a:lnTo>
                      <a:pt x="329" y="173"/>
                    </a:lnTo>
                    <a:lnTo>
                      <a:pt x="329" y="175"/>
                    </a:lnTo>
                    <a:lnTo>
                      <a:pt x="331" y="175"/>
                    </a:lnTo>
                    <a:lnTo>
                      <a:pt x="332" y="175"/>
                    </a:lnTo>
                    <a:lnTo>
                      <a:pt x="334" y="175"/>
                    </a:lnTo>
                    <a:lnTo>
                      <a:pt x="332" y="175"/>
                    </a:lnTo>
                    <a:lnTo>
                      <a:pt x="334" y="175"/>
                    </a:lnTo>
                    <a:lnTo>
                      <a:pt x="334" y="176"/>
                    </a:lnTo>
                    <a:lnTo>
                      <a:pt x="334" y="178"/>
                    </a:lnTo>
                    <a:lnTo>
                      <a:pt x="336" y="178"/>
                    </a:lnTo>
                    <a:lnTo>
                      <a:pt x="334" y="178"/>
                    </a:lnTo>
                    <a:lnTo>
                      <a:pt x="336" y="178"/>
                    </a:lnTo>
                    <a:lnTo>
                      <a:pt x="338" y="178"/>
                    </a:lnTo>
                    <a:lnTo>
                      <a:pt x="338" y="180"/>
                    </a:lnTo>
                    <a:lnTo>
                      <a:pt x="340" y="180"/>
                    </a:lnTo>
                    <a:lnTo>
                      <a:pt x="340" y="182"/>
                    </a:lnTo>
                    <a:lnTo>
                      <a:pt x="340" y="184"/>
                    </a:lnTo>
                    <a:lnTo>
                      <a:pt x="342" y="184"/>
                    </a:lnTo>
                    <a:lnTo>
                      <a:pt x="340" y="184"/>
                    </a:lnTo>
                    <a:lnTo>
                      <a:pt x="342" y="184"/>
                    </a:lnTo>
                    <a:lnTo>
                      <a:pt x="340" y="184"/>
                    </a:lnTo>
                    <a:lnTo>
                      <a:pt x="340" y="182"/>
                    </a:lnTo>
                    <a:lnTo>
                      <a:pt x="342" y="182"/>
                    </a:lnTo>
                    <a:lnTo>
                      <a:pt x="342" y="180"/>
                    </a:lnTo>
                    <a:lnTo>
                      <a:pt x="344" y="180"/>
                    </a:lnTo>
                    <a:lnTo>
                      <a:pt x="344" y="178"/>
                    </a:lnTo>
                    <a:lnTo>
                      <a:pt x="344" y="176"/>
                    </a:lnTo>
                    <a:lnTo>
                      <a:pt x="344" y="175"/>
                    </a:lnTo>
                    <a:lnTo>
                      <a:pt x="344" y="173"/>
                    </a:lnTo>
                    <a:lnTo>
                      <a:pt x="344" y="175"/>
                    </a:lnTo>
                    <a:lnTo>
                      <a:pt x="342" y="173"/>
                    </a:lnTo>
                    <a:lnTo>
                      <a:pt x="344" y="173"/>
                    </a:lnTo>
                    <a:lnTo>
                      <a:pt x="342" y="173"/>
                    </a:lnTo>
                    <a:lnTo>
                      <a:pt x="342" y="171"/>
                    </a:lnTo>
                    <a:lnTo>
                      <a:pt x="342" y="169"/>
                    </a:lnTo>
                    <a:lnTo>
                      <a:pt x="342" y="167"/>
                    </a:lnTo>
                    <a:lnTo>
                      <a:pt x="340" y="169"/>
                    </a:lnTo>
                    <a:lnTo>
                      <a:pt x="340" y="167"/>
                    </a:lnTo>
                    <a:lnTo>
                      <a:pt x="340" y="165"/>
                    </a:lnTo>
                    <a:lnTo>
                      <a:pt x="340" y="163"/>
                    </a:lnTo>
                    <a:lnTo>
                      <a:pt x="338" y="163"/>
                    </a:lnTo>
                    <a:lnTo>
                      <a:pt x="338" y="161"/>
                    </a:lnTo>
                    <a:lnTo>
                      <a:pt x="338" y="159"/>
                    </a:lnTo>
                    <a:lnTo>
                      <a:pt x="336" y="159"/>
                    </a:lnTo>
                    <a:lnTo>
                      <a:pt x="336" y="157"/>
                    </a:lnTo>
                    <a:lnTo>
                      <a:pt x="336" y="155"/>
                    </a:lnTo>
                    <a:lnTo>
                      <a:pt x="336" y="157"/>
                    </a:lnTo>
                    <a:lnTo>
                      <a:pt x="336" y="155"/>
                    </a:lnTo>
                    <a:lnTo>
                      <a:pt x="336" y="157"/>
                    </a:lnTo>
                    <a:lnTo>
                      <a:pt x="336" y="155"/>
                    </a:lnTo>
                    <a:lnTo>
                      <a:pt x="336" y="153"/>
                    </a:lnTo>
                    <a:lnTo>
                      <a:pt x="336" y="151"/>
                    </a:lnTo>
                    <a:lnTo>
                      <a:pt x="334" y="151"/>
                    </a:lnTo>
                    <a:lnTo>
                      <a:pt x="334" y="153"/>
                    </a:lnTo>
                    <a:lnTo>
                      <a:pt x="334" y="151"/>
                    </a:lnTo>
                    <a:lnTo>
                      <a:pt x="334" y="150"/>
                    </a:lnTo>
                    <a:lnTo>
                      <a:pt x="336" y="150"/>
                    </a:lnTo>
                    <a:lnTo>
                      <a:pt x="338" y="148"/>
                    </a:lnTo>
                    <a:lnTo>
                      <a:pt x="338" y="146"/>
                    </a:lnTo>
                    <a:lnTo>
                      <a:pt x="338" y="148"/>
                    </a:lnTo>
                    <a:lnTo>
                      <a:pt x="340" y="148"/>
                    </a:lnTo>
                    <a:lnTo>
                      <a:pt x="340" y="150"/>
                    </a:lnTo>
                    <a:lnTo>
                      <a:pt x="342" y="150"/>
                    </a:lnTo>
                    <a:lnTo>
                      <a:pt x="340" y="150"/>
                    </a:lnTo>
                    <a:lnTo>
                      <a:pt x="342" y="150"/>
                    </a:lnTo>
                    <a:lnTo>
                      <a:pt x="340" y="150"/>
                    </a:lnTo>
                    <a:lnTo>
                      <a:pt x="342" y="150"/>
                    </a:lnTo>
                    <a:lnTo>
                      <a:pt x="342" y="151"/>
                    </a:lnTo>
                    <a:lnTo>
                      <a:pt x="340" y="150"/>
                    </a:lnTo>
                    <a:lnTo>
                      <a:pt x="340" y="151"/>
                    </a:lnTo>
                    <a:lnTo>
                      <a:pt x="340" y="150"/>
                    </a:lnTo>
                    <a:lnTo>
                      <a:pt x="340" y="151"/>
                    </a:lnTo>
                    <a:lnTo>
                      <a:pt x="342" y="151"/>
                    </a:lnTo>
                    <a:lnTo>
                      <a:pt x="340" y="151"/>
                    </a:lnTo>
                    <a:lnTo>
                      <a:pt x="342" y="151"/>
                    </a:lnTo>
                    <a:lnTo>
                      <a:pt x="342" y="153"/>
                    </a:lnTo>
                    <a:lnTo>
                      <a:pt x="342" y="151"/>
                    </a:lnTo>
                    <a:lnTo>
                      <a:pt x="342" y="153"/>
                    </a:lnTo>
                    <a:lnTo>
                      <a:pt x="342" y="151"/>
                    </a:lnTo>
                    <a:lnTo>
                      <a:pt x="342" y="153"/>
                    </a:lnTo>
                    <a:lnTo>
                      <a:pt x="344" y="153"/>
                    </a:lnTo>
                    <a:lnTo>
                      <a:pt x="344" y="155"/>
                    </a:lnTo>
                    <a:lnTo>
                      <a:pt x="344" y="153"/>
                    </a:lnTo>
                    <a:lnTo>
                      <a:pt x="344" y="155"/>
                    </a:lnTo>
                    <a:lnTo>
                      <a:pt x="346" y="155"/>
                    </a:lnTo>
                    <a:lnTo>
                      <a:pt x="346" y="157"/>
                    </a:lnTo>
                    <a:lnTo>
                      <a:pt x="348" y="157"/>
                    </a:lnTo>
                    <a:lnTo>
                      <a:pt x="350" y="157"/>
                    </a:lnTo>
                    <a:lnTo>
                      <a:pt x="348" y="157"/>
                    </a:lnTo>
                    <a:lnTo>
                      <a:pt x="350" y="157"/>
                    </a:lnTo>
                    <a:lnTo>
                      <a:pt x="350" y="159"/>
                    </a:lnTo>
                    <a:lnTo>
                      <a:pt x="350" y="157"/>
                    </a:lnTo>
                    <a:lnTo>
                      <a:pt x="350" y="159"/>
                    </a:lnTo>
                    <a:lnTo>
                      <a:pt x="350" y="157"/>
                    </a:lnTo>
                    <a:lnTo>
                      <a:pt x="350" y="159"/>
                    </a:lnTo>
                    <a:lnTo>
                      <a:pt x="352" y="159"/>
                    </a:lnTo>
                    <a:lnTo>
                      <a:pt x="350" y="159"/>
                    </a:lnTo>
                    <a:lnTo>
                      <a:pt x="352" y="159"/>
                    </a:lnTo>
                    <a:lnTo>
                      <a:pt x="354" y="159"/>
                    </a:lnTo>
                    <a:lnTo>
                      <a:pt x="354" y="157"/>
                    </a:lnTo>
                    <a:lnTo>
                      <a:pt x="356" y="159"/>
                    </a:lnTo>
                    <a:lnTo>
                      <a:pt x="356" y="157"/>
                    </a:lnTo>
                    <a:lnTo>
                      <a:pt x="356" y="159"/>
                    </a:lnTo>
                    <a:lnTo>
                      <a:pt x="356" y="157"/>
                    </a:lnTo>
                    <a:lnTo>
                      <a:pt x="356" y="159"/>
                    </a:lnTo>
                    <a:lnTo>
                      <a:pt x="356" y="157"/>
                    </a:lnTo>
                    <a:lnTo>
                      <a:pt x="357" y="157"/>
                    </a:lnTo>
                    <a:lnTo>
                      <a:pt x="357" y="155"/>
                    </a:lnTo>
                    <a:lnTo>
                      <a:pt x="357" y="157"/>
                    </a:lnTo>
                    <a:lnTo>
                      <a:pt x="357" y="155"/>
                    </a:lnTo>
                    <a:lnTo>
                      <a:pt x="357" y="157"/>
                    </a:lnTo>
                    <a:lnTo>
                      <a:pt x="357" y="155"/>
                    </a:lnTo>
                    <a:lnTo>
                      <a:pt x="359" y="155"/>
                    </a:lnTo>
                    <a:lnTo>
                      <a:pt x="359" y="153"/>
                    </a:lnTo>
                    <a:lnTo>
                      <a:pt x="361" y="153"/>
                    </a:lnTo>
                    <a:lnTo>
                      <a:pt x="363" y="151"/>
                    </a:lnTo>
                    <a:lnTo>
                      <a:pt x="365" y="150"/>
                    </a:lnTo>
                    <a:lnTo>
                      <a:pt x="367" y="150"/>
                    </a:lnTo>
                    <a:lnTo>
                      <a:pt x="367" y="151"/>
                    </a:lnTo>
                    <a:lnTo>
                      <a:pt x="369" y="151"/>
                    </a:lnTo>
                    <a:lnTo>
                      <a:pt x="371" y="151"/>
                    </a:lnTo>
                    <a:lnTo>
                      <a:pt x="373" y="151"/>
                    </a:lnTo>
                    <a:lnTo>
                      <a:pt x="371" y="151"/>
                    </a:lnTo>
                    <a:lnTo>
                      <a:pt x="371" y="153"/>
                    </a:lnTo>
                    <a:lnTo>
                      <a:pt x="369" y="153"/>
                    </a:lnTo>
                    <a:lnTo>
                      <a:pt x="369" y="155"/>
                    </a:lnTo>
                    <a:lnTo>
                      <a:pt x="367" y="155"/>
                    </a:lnTo>
                    <a:lnTo>
                      <a:pt x="369" y="155"/>
                    </a:lnTo>
                    <a:lnTo>
                      <a:pt x="369" y="157"/>
                    </a:lnTo>
                    <a:lnTo>
                      <a:pt x="369" y="155"/>
                    </a:lnTo>
                    <a:lnTo>
                      <a:pt x="369" y="157"/>
                    </a:lnTo>
                    <a:lnTo>
                      <a:pt x="369" y="155"/>
                    </a:lnTo>
                    <a:lnTo>
                      <a:pt x="367" y="155"/>
                    </a:lnTo>
                    <a:lnTo>
                      <a:pt x="369" y="155"/>
                    </a:lnTo>
                    <a:lnTo>
                      <a:pt x="369" y="153"/>
                    </a:lnTo>
                    <a:lnTo>
                      <a:pt x="371" y="153"/>
                    </a:lnTo>
                    <a:lnTo>
                      <a:pt x="373" y="153"/>
                    </a:lnTo>
                    <a:lnTo>
                      <a:pt x="373" y="151"/>
                    </a:lnTo>
                    <a:lnTo>
                      <a:pt x="375" y="151"/>
                    </a:lnTo>
                    <a:lnTo>
                      <a:pt x="375" y="150"/>
                    </a:lnTo>
                    <a:lnTo>
                      <a:pt x="373" y="150"/>
                    </a:lnTo>
                    <a:lnTo>
                      <a:pt x="375" y="150"/>
                    </a:lnTo>
                    <a:lnTo>
                      <a:pt x="377" y="148"/>
                    </a:lnTo>
                    <a:lnTo>
                      <a:pt x="379" y="148"/>
                    </a:lnTo>
                    <a:lnTo>
                      <a:pt x="379" y="150"/>
                    </a:lnTo>
                    <a:lnTo>
                      <a:pt x="381" y="148"/>
                    </a:lnTo>
                    <a:lnTo>
                      <a:pt x="382" y="148"/>
                    </a:lnTo>
                    <a:lnTo>
                      <a:pt x="382" y="150"/>
                    </a:lnTo>
                    <a:lnTo>
                      <a:pt x="382" y="148"/>
                    </a:lnTo>
                    <a:lnTo>
                      <a:pt x="384" y="148"/>
                    </a:lnTo>
                    <a:lnTo>
                      <a:pt x="386" y="148"/>
                    </a:lnTo>
                    <a:lnTo>
                      <a:pt x="388" y="148"/>
                    </a:lnTo>
                    <a:lnTo>
                      <a:pt x="390" y="148"/>
                    </a:lnTo>
                    <a:lnTo>
                      <a:pt x="392" y="148"/>
                    </a:lnTo>
                    <a:lnTo>
                      <a:pt x="394" y="148"/>
                    </a:lnTo>
                    <a:lnTo>
                      <a:pt x="396" y="148"/>
                    </a:lnTo>
                    <a:lnTo>
                      <a:pt x="398" y="148"/>
                    </a:lnTo>
                    <a:lnTo>
                      <a:pt x="400" y="148"/>
                    </a:lnTo>
                    <a:lnTo>
                      <a:pt x="404" y="150"/>
                    </a:lnTo>
                    <a:lnTo>
                      <a:pt x="405" y="150"/>
                    </a:lnTo>
                    <a:lnTo>
                      <a:pt x="407" y="151"/>
                    </a:lnTo>
                    <a:lnTo>
                      <a:pt x="405" y="151"/>
                    </a:lnTo>
                    <a:lnTo>
                      <a:pt x="404" y="151"/>
                    </a:lnTo>
                    <a:lnTo>
                      <a:pt x="402" y="151"/>
                    </a:lnTo>
                    <a:lnTo>
                      <a:pt x="402" y="150"/>
                    </a:lnTo>
                    <a:lnTo>
                      <a:pt x="402" y="151"/>
                    </a:lnTo>
                    <a:lnTo>
                      <a:pt x="400" y="150"/>
                    </a:lnTo>
                    <a:lnTo>
                      <a:pt x="400" y="151"/>
                    </a:lnTo>
                    <a:lnTo>
                      <a:pt x="398" y="151"/>
                    </a:lnTo>
                    <a:lnTo>
                      <a:pt x="400" y="151"/>
                    </a:lnTo>
                    <a:lnTo>
                      <a:pt x="398" y="151"/>
                    </a:lnTo>
                    <a:lnTo>
                      <a:pt x="398" y="153"/>
                    </a:lnTo>
                    <a:lnTo>
                      <a:pt x="400" y="153"/>
                    </a:lnTo>
                    <a:lnTo>
                      <a:pt x="402" y="153"/>
                    </a:lnTo>
                    <a:lnTo>
                      <a:pt x="402" y="155"/>
                    </a:lnTo>
                    <a:lnTo>
                      <a:pt x="404" y="157"/>
                    </a:lnTo>
                    <a:lnTo>
                      <a:pt x="404" y="159"/>
                    </a:lnTo>
                    <a:lnTo>
                      <a:pt x="405" y="161"/>
                    </a:lnTo>
                    <a:lnTo>
                      <a:pt x="405" y="163"/>
                    </a:lnTo>
                    <a:lnTo>
                      <a:pt x="404" y="163"/>
                    </a:lnTo>
                    <a:lnTo>
                      <a:pt x="404" y="161"/>
                    </a:lnTo>
                    <a:lnTo>
                      <a:pt x="404" y="163"/>
                    </a:lnTo>
                    <a:lnTo>
                      <a:pt x="404" y="161"/>
                    </a:lnTo>
                    <a:lnTo>
                      <a:pt x="404" y="163"/>
                    </a:lnTo>
                    <a:lnTo>
                      <a:pt x="404" y="161"/>
                    </a:lnTo>
                    <a:lnTo>
                      <a:pt x="404" y="163"/>
                    </a:lnTo>
                    <a:lnTo>
                      <a:pt x="405" y="163"/>
                    </a:lnTo>
                    <a:lnTo>
                      <a:pt x="405" y="165"/>
                    </a:lnTo>
                    <a:lnTo>
                      <a:pt x="405" y="167"/>
                    </a:lnTo>
                    <a:lnTo>
                      <a:pt x="405" y="169"/>
                    </a:lnTo>
                    <a:lnTo>
                      <a:pt x="404" y="169"/>
                    </a:lnTo>
                    <a:lnTo>
                      <a:pt x="405" y="169"/>
                    </a:lnTo>
                    <a:lnTo>
                      <a:pt x="404" y="169"/>
                    </a:lnTo>
                    <a:lnTo>
                      <a:pt x="405" y="167"/>
                    </a:lnTo>
                    <a:lnTo>
                      <a:pt x="404" y="167"/>
                    </a:lnTo>
                    <a:lnTo>
                      <a:pt x="405" y="169"/>
                    </a:lnTo>
                    <a:lnTo>
                      <a:pt x="404" y="169"/>
                    </a:lnTo>
                    <a:lnTo>
                      <a:pt x="402" y="169"/>
                    </a:lnTo>
                    <a:lnTo>
                      <a:pt x="402" y="167"/>
                    </a:lnTo>
                    <a:lnTo>
                      <a:pt x="400" y="167"/>
                    </a:lnTo>
                    <a:lnTo>
                      <a:pt x="400" y="169"/>
                    </a:lnTo>
                    <a:lnTo>
                      <a:pt x="400" y="167"/>
                    </a:lnTo>
                    <a:lnTo>
                      <a:pt x="400" y="169"/>
                    </a:lnTo>
                    <a:lnTo>
                      <a:pt x="400" y="167"/>
                    </a:lnTo>
                    <a:lnTo>
                      <a:pt x="398" y="167"/>
                    </a:lnTo>
                    <a:lnTo>
                      <a:pt x="398" y="169"/>
                    </a:lnTo>
                    <a:lnTo>
                      <a:pt x="398" y="167"/>
                    </a:lnTo>
                    <a:lnTo>
                      <a:pt x="398" y="169"/>
                    </a:lnTo>
                    <a:lnTo>
                      <a:pt x="398" y="167"/>
                    </a:lnTo>
                    <a:lnTo>
                      <a:pt x="398" y="169"/>
                    </a:lnTo>
                    <a:lnTo>
                      <a:pt x="396" y="169"/>
                    </a:lnTo>
                    <a:lnTo>
                      <a:pt x="396" y="167"/>
                    </a:lnTo>
                    <a:lnTo>
                      <a:pt x="396" y="169"/>
                    </a:lnTo>
                    <a:lnTo>
                      <a:pt x="396" y="167"/>
                    </a:lnTo>
                    <a:lnTo>
                      <a:pt x="396" y="169"/>
                    </a:lnTo>
                    <a:lnTo>
                      <a:pt x="396" y="167"/>
                    </a:lnTo>
                    <a:lnTo>
                      <a:pt x="396" y="169"/>
                    </a:lnTo>
                    <a:lnTo>
                      <a:pt x="398" y="169"/>
                    </a:lnTo>
                    <a:lnTo>
                      <a:pt x="396" y="169"/>
                    </a:lnTo>
                    <a:lnTo>
                      <a:pt x="398" y="169"/>
                    </a:lnTo>
                    <a:lnTo>
                      <a:pt x="396" y="169"/>
                    </a:lnTo>
                    <a:lnTo>
                      <a:pt x="398" y="169"/>
                    </a:lnTo>
                    <a:lnTo>
                      <a:pt x="396" y="169"/>
                    </a:lnTo>
                    <a:lnTo>
                      <a:pt x="398" y="169"/>
                    </a:lnTo>
                    <a:lnTo>
                      <a:pt x="396" y="169"/>
                    </a:lnTo>
                    <a:lnTo>
                      <a:pt x="394" y="169"/>
                    </a:lnTo>
                    <a:lnTo>
                      <a:pt x="396" y="169"/>
                    </a:lnTo>
                    <a:lnTo>
                      <a:pt x="394" y="169"/>
                    </a:lnTo>
                    <a:lnTo>
                      <a:pt x="396" y="169"/>
                    </a:lnTo>
                    <a:lnTo>
                      <a:pt x="394" y="169"/>
                    </a:lnTo>
                    <a:lnTo>
                      <a:pt x="396" y="169"/>
                    </a:lnTo>
                    <a:lnTo>
                      <a:pt x="394" y="169"/>
                    </a:lnTo>
                    <a:lnTo>
                      <a:pt x="394" y="167"/>
                    </a:lnTo>
                    <a:lnTo>
                      <a:pt x="394" y="169"/>
                    </a:lnTo>
                    <a:lnTo>
                      <a:pt x="394" y="167"/>
                    </a:lnTo>
                    <a:lnTo>
                      <a:pt x="394" y="169"/>
                    </a:lnTo>
                    <a:lnTo>
                      <a:pt x="396" y="169"/>
                    </a:lnTo>
                    <a:lnTo>
                      <a:pt x="394" y="169"/>
                    </a:lnTo>
                    <a:lnTo>
                      <a:pt x="394" y="171"/>
                    </a:lnTo>
                    <a:lnTo>
                      <a:pt x="392" y="171"/>
                    </a:lnTo>
                    <a:lnTo>
                      <a:pt x="392" y="173"/>
                    </a:lnTo>
                    <a:lnTo>
                      <a:pt x="392" y="171"/>
                    </a:lnTo>
                    <a:lnTo>
                      <a:pt x="392" y="169"/>
                    </a:lnTo>
                    <a:lnTo>
                      <a:pt x="392" y="171"/>
                    </a:lnTo>
                    <a:lnTo>
                      <a:pt x="392" y="169"/>
                    </a:lnTo>
                    <a:lnTo>
                      <a:pt x="390" y="169"/>
                    </a:lnTo>
                    <a:lnTo>
                      <a:pt x="392" y="169"/>
                    </a:lnTo>
                    <a:lnTo>
                      <a:pt x="390" y="169"/>
                    </a:lnTo>
                    <a:lnTo>
                      <a:pt x="390" y="171"/>
                    </a:lnTo>
                    <a:lnTo>
                      <a:pt x="390" y="169"/>
                    </a:lnTo>
                    <a:lnTo>
                      <a:pt x="390" y="167"/>
                    </a:lnTo>
                    <a:lnTo>
                      <a:pt x="390" y="169"/>
                    </a:lnTo>
                    <a:lnTo>
                      <a:pt x="390" y="171"/>
                    </a:lnTo>
                    <a:lnTo>
                      <a:pt x="390" y="169"/>
                    </a:lnTo>
                    <a:lnTo>
                      <a:pt x="390" y="171"/>
                    </a:lnTo>
                    <a:lnTo>
                      <a:pt x="392" y="171"/>
                    </a:lnTo>
                    <a:lnTo>
                      <a:pt x="392" y="173"/>
                    </a:lnTo>
                    <a:lnTo>
                      <a:pt x="392" y="171"/>
                    </a:lnTo>
                    <a:lnTo>
                      <a:pt x="392" y="173"/>
                    </a:lnTo>
                    <a:lnTo>
                      <a:pt x="394" y="173"/>
                    </a:lnTo>
                    <a:lnTo>
                      <a:pt x="394" y="171"/>
                    </a:lnTo>
                    <a:lnTo>
                      <a:pt x="394" y="173"/>
                    </a:lnTo>
                    <a:lnTo>
                      <a:pt x="394" y="171"/>
                    </a:lnTo>
                    <a:lnTo>
                      <a:pt x="394" y="173"/>
                    </a:lnTo>
                    <a:lnTo>
                      <a:pt x="392" y="173"/>
                    </a:lnTo>
                    <a:lnTo>
                      <a:pt x="394" y="173"/>
                    </a:lnTo>
                    <a:lnTo>
                      <a:pt x="394" y="171"/>
                    </a:lnTo>
                    <a:lnTo>
                      <a:pt x="394" y="173"/>
                    </a:lnTo>
                    <a:lnTo>
                      <a:pt x="394" y="175"/>
                    </a:lnTo>
                    <a:lnTo>
                      <a:pt x="394" y="176"/>
                    </a:lnTo>
                    <a:lnTo>
                      <a:pt x="394" y="178"/>
                    </a:lnTo>
                    <a:lnTo>
                      <a:pt x="394" y="176"/>
                    </a:lnTo>
                    <a:lnTo>
                      <a:pt x="394" y="178"/>
                    </a:lnTo>
                    <a:lnTo>
                      <a:pt x="392" y="178"/>
                    </a:lnTo>
                    <a:lnTo>
                      <a:pt x="394" y="178"/>
                    </a:lnTo>
                    <a:lnTo>
                      <a:pt x="392" y="178"/>
                    </a:lnTo>
                    <a:lnTo>
                      <a:pt x="392" y="180"/>
                    </a:lnTo>
                    <a:lnTo>
                      <a:pt x="392" y="178"/>
                    </a:lnTo>
                    <a:lnTo>
                      <a:pt x="392" y="180"/>
                    </a:lnTo>
                    <a:lnTo>
                      <a:pt x="390" y="180"/>
                    </a:lnTo>
                    <a:lnTo>
                      <a:pt x="390" y="178"/>
                    </a:lnTo>
                    <a:lnTo>
                      <a:pt x="390" y="180"/>
                    </a:lnTo>
                    <a:lnTo>
                      <a:pt x="390" y="178"/>
                    </a:lnTo>
                    <a:lnTo>
                      <a:pt x="390" y="180"/>
                    </a:lnTo>
                    <a:lnTo>
                      <a:pt x="390" y="178"/>
                    </a:lnTo>
                    <a:lnTo>
                      <a:pt x="390" y="180"/>
                    </a:lnTo>
                    <a:lnTo>
                      <a:pt x="392" y="180"/>
                    </a:lnTo>
                    <a:lnTo>
                      <a:pt x="390" y="180"/>
                    </a:lnTo>
                    <a:lnTo>
                      <a:pt x="390" y="182"/>
                    </a:lnTo>
                    <a:lnTo>
                      <a:pt x="390" y="180"/>
                    </a:lnTo>
                    <a:lnTo>
                      <a:pt x="390" y="182"/>
                    </a:lnTo>
                    <a:lnTo>
                      <a:pt x="392" y="182"/>
                    </a:lnTo>
                    <a:lnTo>
                      <a:pt x="390" y="182"/>
                    </a:lnTo>
                    <a:lnTo>
                      <a:pt x="392" y="182"/>
                    </a:lnTo>
                    <a:lnTo>
                      <a:pt x="390" y="182"/>
                    </a:lnTo>
                    <a:lnTo>
                      <a:pt x="392" y="182"/>
                    </a:lnTo>
                    <a:lnTo>
                      <a:pt x="392" y="184"/>
                    </a:lnTo>
                    <a:lnTo>
                      <a:pt x="392" y="182"/>
                    </a:lnTo>
                    <a:lnTo>
                      <a:pt x="394" y="184"/>
                    </a:lnTo>
                    <a:lnTo>
                      <a:pt x="396" y="186"/>
                    </a:lnTo>
                    <a:lnTo>
                      <a:pt x="394" y="184"/>
                    </a:lnTo>
                    <a:lnTo>
                      <a:pt x="396" y="186"/>
                    </a:lnTo>
                    <a:lnTo>
                      <a:pt x="398" y="186"/>
                    </a:lnTo>
                    <a:lnTo>
                      <a:pt x="398" y="188"/>
                    </a:lnTo>
                    <a:lnTo>
                      <a:pt x="398" y="190"/>
                    </a:lnTo>
                    <a:lnTo>
                      <a:pt x="400" y="190"/>
                    </a:lnTo>
                    <a:lnTo>
                      <a:pt x="402" y="190"/>
                    </a:lnTo>
                    <a:lnTo>
                      <a:pt x="402" y="192"/>
                    </a:lnTo>
                    <a:lnTo>
                      <a:pt x="402" y="190"/>
                    </a:lnTo>
                    <a:lnTo>
                      <a:pt x="402" y="192"/>
                    </a:lnTo>
                    <a:lnTo>
                      <a:pt x="404" y="192"/>
                    </a:lnTo>
                    <a:lnTo>
                      <a:pt x="404" y="194"/>
                    </a:lnTo>
                    <a:lnTo>
                      <a:pt x="404" y="192"/>
                    </a:lnTo>
                    <a:lnTo>
                      <a:pt x="402" y="192"/>
                    </a:lnTo>
                    <a:lnTo>
                      <a:pt x="404" y="190"/>
                    </a:lnTo>
                    <a:lnTo>
                      <a:pt x="402" y="190"/>
                    </a:lnTo>
                    <a:lnTo>
                      <a:pt x="404" y="190"/>
                    </a:lnTo>
                    <a:lnTo>
                      <a:pt x="404" y="192"/>
                    </a:lnTo>
                    <a:lnTo>
                      <a:pt x="404" y="190"/>
                    </a:lnTo>
                    <a:lnTo>
                      <a:pt x="405" y="190"/>
                    </a:lnTo>
                    <a:lnTo>
                      <a:pt x="404" y="190"/>
                    </a:lnTo>
                    <a:lnTo>
                      <a:pt x="405" y="190"/>
                    </a:lnTo>
                    <a:lnTo>
                      <a:pt x="407" y="190"/>
                    </a:lnTo>
                    <a:lnTo>
                      <a:pt x="407" y="192"/>
                    </a:lnTo>
                    <a:lnTo>
                      <a:pt x="407" y="190"/>
                    </a:lnTo>
                    <a:lnTo>
                      <a:pt x="407" y="192"/>
                    </a:lnTo>
                    <a:lnTo>
                      <a:pt x="407" y="190"/>
                    </a:lnTo>
                    <a:lnTo>
                      <a:pt x="409" y="190"/>
                    </a:lnTo>
                    <a:lnTo>
                      <a:pt x="409" y="188"/>
                    </a:lnTo>
                    <a:lnTo>
                      <a:pt x="411" y="188"/>
                    </a:lnTo>
                    <a:lnTo>
                      <a:pt x="411" y="190"/>
                    </a:lnTo>
                    <a:lnTo>
                      <a:pt x="409" y="190"/>
                    </a:lnTo>
                    <a:lnTo>
                      <a:pt x="411" y="190"/>
                    </a:lnTo>
                    <a:lnTo>
                      <a:pt x="409" y="190"/>
                    </a:lnTo>
                    <a:lnTo>
                      <a:pt x="409" y="192"/>
                    </a:lnTo>
                    <a:lnTo>
                      <a:pt x="409" y="190"/>
                    </a:lnTo>
                    <a:lnTo>
                      <a:pt x="411" y="192"/>
                    </a:lnTo>
                    <a:lnTo>
                      <a:pt x="411" y="190"/>
                    </a:lnTo>
                    <a:lnTo>
                      <a:pt x="409" y="190"/>
                    </a:lnTo>
                    <a:lnTo>
                      <a:pt x="411" y="190"/>
                    </a:lnTo>
                    <a:lnTo>
                      <a:pt x="411" y="188"/>
                    </a:lnTo>
                    <a:lnTo>
                      <a:pt x="409" y="188"/>
                    </a:lnTo>
                    <a:lnTo>
                      <a:pt x="411" y="188"/>
                    </a:lnTo>
                    <a:lnTo>
                      <a:pt x="411" y="186"/>
                    </a:lnTo>
                    <a:lnTo>
                      <a:pt x="411" y="188"/>
                    </a:lnTo>
                    <a:lnTo>
                      <a:pt x="411" y="186"/>
                    </a:lnTo>
                    <a:lnTo>
                      <a:pt x="413" y="186"/>
                    </a:lnTo>
                    <a:lnTo>
                      <a:pt x="411" y="186"/>
                    </a:lnTo>
                    <a:lnTo>
                      <a:pt x="413" y="186"/>
                    </a:lnTo>
                    <a:lnTo>
                      <a:pt x="413" y="184"/>
                    </a:lnTo>
                    <a:lnTo>
                      <a:pt x="413" y="182"/>
                    </a:lnTo>
                    <a:lnTo>
                      <a:pt x="411" y="182"/>
                    </a:lnTo>
                    <a:lnTo>
                      <a:pt x="411" y="180"/>
                    </a:lnTo>
                    <a:lnTo>
                      <a:pt x="411" y="178"/>
                    </a:lnTo>
                    <a:lnTo>
                      <a:pt x="411" y="176"/>
                    </a:lnTo>
                    <a:lnTo>
                      <a:pt x="411" y="175"/>
                    </a:lnTo>
                    <a:lnTo>
                      <a:pt x="413" y="175"/>
                    </a:lnTo>
                    <a:lnTo>
                      <a:pt x="413" y="173"/>
                    </a:lnTo>
                    <a:lnTo>
                      <a:pt x="417" y="173"/>
                    </a:lnTo>
                    <a:lnTo>
                      <a:pt x="419" y="175"/>
                    </a:lnTo>
                    <a:lnTo>
                      <a:pt x="417" y="175"/>
                    </a:lnTo>
                    <a:lnTo>
                      <a:pt x="419" y="175"/>
                    </a:lnTo>
                    <a:lnTo>
                      <a:pt x="417" y="175"/>
                    </a:lnTo>
                    <a:lnTo>
                      <a:pt x="417" y="176"/>
                    </a:lnTo>
                    <a:lnTo>
                      <a:pt x="417" y="175"/>
                    </a:lnTo>
                    <a:lnTo>
                      <a:pt x="419" y="175"/>
                    </a:lnTo>
                    <a:lnTo>
                      <a:pt x="421" y="175"/>
                    </a:lnTo>
                    <a:lnTo>
                      <a:pt x="423" y="176"/>
                    </a:lnTo>
                    <a:lnTo>
                      <a:pt x="425" y="176"/>
                    </a:lnTo>
                    <a:lnTo>
                      <a:pt x="427" y="176"/>
                    </a:lnTo>
                    <a:lnTo>
                      <a:pt x="429" y="176"/>
                    </a:lnTo>
                    <a:lnTo>
                      <a:pt x="430" y="176"/>
                    </a:lnTo>
                    <a:lnTo>
                      <a:pt x="429" y="176"/>
                    </a:lnTo>
                    <a:lnTo>
                      <a:pt x="429" y="178"/>
                    </a:lnTo>
                    <a:lnTo>
                      <a:pt x="430" y="178"/>
                    </a:lnTo>
                    <a:lnTo>
                      <a:pt x="429" y="178"/>
                    </a:lnTo>
                    <a:lnTo>
                      <a:pt x="430" y="178"/>
                    </a:lnTo>
                    <a:lnTo>
                      <a:pt x="429" y="178"/>
                    </a:lnTo>
                    <a:lnTo>
                      <a:pt x="429" y="176"/>
                    </a:lnTo>
                    <a:lnTo>
                      <a:pt x="430" y="176"/>
                    </a:lnTo>
                    <a:lnTo>
                      <a:pt x="432" y="176"/>
                    </a:lnTo>
                    <a:lnTo>
                      <a:pt x="432" y="175"/>
                    </a:lnTo>
                    <a:lnTo>
                      <a:pt x="432" y="176"/>
                    </a:lnTo>
                    <a:lnTo>
                      <a:pt x="432" y="175"/>
                    </a:lnTo>
                    <a:lnTo>
                      <a:pt x="434" y="175"/>
                    </a:lnTo>
                    <a:lnTo>
                      <a:pt x="434" y="173"/>
                    </a:lnTo>
                    <a:lnTo>
                      <a:pt x="436" y="173"/>
                    </a:lnTo>
                    <a:lnTo>
                      <a:pt x="436" y="175"/>
                    </a:lnTo>
                    <a:lnTo>
                      <a:pt x="438" y="175"/>
                    </a:lnTo>
                    <a:lnTo>
                      <a:pt x="436" y="175"/>
                    </a:lnTo>
                    <a:lnTo>
                      <a:pt x="438" y="175"/>
                    </a:lnTo>
                    <a:lnTo>
                      <a:pt x="436" y="175"/>
                    </a:lnTo>
                    <a:lnTo>
                      <a:pt x="436" y="176"/>
                    </a:lnTo>
                    <a:lnTo>
                      <a:pt x="436" y="178"/>
                    </a:lnTo>
                    <a:lnTo>
                      <a:pt x="434" y="178"/>
                    </a:lnTo>
                    <a:lnTo>
                      <a:pt x="436" y="178"/>
                    </a:lnTo>
                    <a:lnTo>
                      <a:pt x="436" y="180"/>
                    </a:lnTo>
                    <a:lnTo>
                      <a:pt x="436" y="182"/>
                    </a:lnTo>
                    <a:lnTo>
                      <a:pt x="438" y="182"/>
                    </a:lnTo>
                    <a:lnTo>
                      <a:pt x="436" y="182"/>
                    </a:lnTo>
                    <a:lnTo>
                      <a:pt x="438" y="182"/>
                    </a:lnTo>
                    <a:lnTo>
                      <a:pt x="438" y="180"/>
                    </a:lnTo>
                    <a:lnTo>
                      <a:pt x="436" y="180"/>
                    </a:lnTo>
                    <a:lnTo>
                      <a:pt x="436" y="178"/>
                    </a:lnTo>
                    <a:lnTo>
                      <a:pt x="436" y="176"/>
                    </a:lnTo>
                    <a:lnTo>
                      <a:pt x="436" y="175"/>
                    </a:lnTo>
                    <a:lnTo>
                      <a:pt x="438" y="175"/>
                    </a:lnTo>
                    <a:lnTo>
                      <a:pt x="438" y="173"/>
                    </a:lnTo>
                    <a:lnTo>
                      <a:pt x="438" y="175"/>
                    </a:lnTo>
                    <a:lnTo>
                      <a:pt x="438" y="173"/>
                    </a:lnTo>
                    <a:lnTo>
                      <a:pt x="436" y="173"/>
                    </a:lnTo>
                    <a:lnTo>
                      <a:pt x="438" y="173"/>
                    </a:lnTo>
                    <a:lnTo>
                      <a:pt x="436" y="173"/>
                    </a:lnTo>
                    <a:lnTo>
                      <a:pt x="438" y="173"/>
                    </a:lnTo>
                    <a:lnTo>
                      <a:pt x="438" y="171"/>
                    </a:lnTo>
                    <a:lnTo>
                      <a:pt x="440" y="171"/>
                    </a:lnTo>
                    <a:lnTo>
                      <a:pt x="440" y="169"/>
                    </a:lnTo>
                    <a:lnTo>
                      <a:pt x="442" y="171"/>
                    </a:lnTo>
                    <a:lnTo>
                      <a:pt x="442" y="169"/>
                    </a:lnTo>
                    <a:lnTo>
                      <a:pt x="442" y="171"/>
                    </a:lnTo>
                    <a:lnTo>
                      <a:pt x="444" y="171"/>
                    </a:lnTo>
                    <a:lnTo>
                      <a:pt x="442" y="171"/>
                    </a:lnTo>
                    <a:lnTo>
                      <a:pt x="444" y="171"/>
                    </a:lnTo>
                    <a:lnTo>
                      <a:pt x="442" y="171"/>
                    </a:lnTo>
                    <a:lnTo>
                      <a:pt x="444" y="171"/>
                    </a:lnTo>
                    <a:lnTo>
                      <a:pt x="442" y="173"/>
                    </a:lnTo>
                    <a:lnTo>
                      <a:pt x="444" y="173"/>
                    </a:lnTo>
                    <a:lnTo>
                      <a:pt x="444" y="175"/>
                    </a:lnTo>
                    <a:lnTo>
                      <a:pt x="444" y="173"/>
                    </a:lnTo>
                    <a:lnTo>
                      <a:pt x="444" y="175"/>
                    </a:lnTo>
                    <a:lnTo>
                      <a:pt x="444" y="173"/>
                    </a:lnTo>
                    <a:lnTo>
                      <a:pt x="444" y="175"/>
                    </a:lnTo>
                    <a:lnTo>
                      <a:pt x="444" y="173"/>
                    </a:lnTo>
                    <a:lnTo>
                      <a:pt x="442" y="173"/>
                    </a:lnTo>
                    <a:lnTo>
                      <a:pt x="444" y="173"/>
                    </a:lnTo>
                    <a:lnTo>
                      <a:pt x="446" y="173"/>
                    </a:lnTo>
                    <a:lnTo>
                      <a:pt x="444" y="173"/>
                    </a:lnTo>
                    <a:lnTo>
                      <a:pt x="446" y="173"/>
                    </a:lnTo>
                    <a:lnTo>
                      <a:pt x="446" y="175"/>
                    </a:lnTo>
                    <a:lnTo>
                      <a:pt x="446" y="176"/>
                    </a:lnTo>
                    <a:lnTo>
                      <a:pt x="446" y="178"/>
                    </a:lnTo>
                    <a:lnTo>
                      <a:pt x="446" y="180"/>
                    </a:lnTo>
                    <a:lnTo>
                      <a:pt x="448" y="180"/>
                    </a:lnTo>
                    <a:lnTo>
                      <a:pt x="448" y="182"/>
                    </a:lnTo>
                    <a:lnTo>
                      <a:pt x="446" y="182"/>
                    </a:lnTo>
                    <a:lnTo>
                      <a:pt x="448" y="182"/>
                    </a:lnTo>
                    <a:lnTo>
                      <a:pt x="446" y="182"/>
                    </a:lnTo>
                    <a:lnTo>
                      <a:pt x="448" y="182"/>
                    </a:lnTo>
                    <a:lnTo>
                      <a:pt x="448" y="180"/>
                    </a:lnTo>
                    <a:lnTo>
                      <a:pt x="450" y="180"/>
                    </a:lnTo>
                    <a:lnTo>
                      <a:pt x="450" y="182"/>
                    </a:lnTo>
                    <a:lnTo>
                      <a:pt x="448" y="182"/>
                    </a:lnTo>
                    <a:lnTo>
                      <a:pt x="448" y="180"/>
                    </a:lnTo>
                    <a:lnTo>
                      <a:pt x="448" y="182"/>
                    </a:lnTo>
                    <a:lnTo>
                      <a:pt x="448" y="184"/>
                    </a:lnTo>
                    <a:lnTo>
                      <a:pt x="448" y="182"/>
                    </a:lnTo>
                    <a:lnTo>
                      <a:pt x="448" y="180"/>
                    </a:lnTo>
                    <a:lnTo>
                      <a:pt x="448" y="182"/>
                    </a:lnTo>
                    <a:lnTo>
                      <a:pt x="450" y="182"/>
                    </a:lnTo>
                    <a:lnTo>
                      <a:pt x="448" y="182"/>
                    </a:lnTo>
                    <a:lnTo>
                      <a:pt x="450" y="182"/>
                    </a:lnTo>
                    <a:lnTo>
                      <a:pt x="450" y="180"/>
                    </a:lnTo>
                    <a:lnTo>
                      <a:pt x="448" y="180"/>
                    </a:lnTo>
                    <a:lnTo>
                      <a:pt x="446" y="180"/>
                    </a:lnTo>
                    <a:lnTo>
                      <a:pt x="446" y="178"/>
                    </a:lnTo>
                    <a:lnTo>
                      <a:pt x="448" y="178"/>
                    </a:lnTo>
                    <a:lnTo>
                      <a:pt x="450" y="178"/>
                    </a:lnTo>
                    <a:lnTo>
                      <a:pt x="448" y="178"/>
                    </a:lnTo>
                    <a:lnTo>
                      <a:pt x="450" y="178"/>
                    </a:lnTo>
                    <a:lnTo>
                      <a:pt x="450" y="180"/>
                    </a:lnTo>
                    <a:lnTo>
                      <a:pt x="450" y="182"/>
                    </a:lnTo>
                    <a:lnTo>
                      <a:pt x="450" y="184"/>
                    </a:lnTo>
                    <a:lnTo>
                      <a:pt x="450" y="186"/>
                    </a:lnTo>
                    <a:lnTo>
                      <a:pt x="450" y="188"/>
                    </a:lnTo>
                    <a:lnTo>
                      <a:pt x="450" y="190"/>
                    </a:lnTo>
                    <a:lnTo>
                      <a:pt x="448" y="190"/>
                    </a:lnTo>
                    <a:lnTo>
                      <a:pt x="450" y="190"/>
                    </a:lnTo>
                    <a:lnTo>
                      <a:pt x="450" y="192"/>
                    </a:lnTo>
                    <a:lnTo>
                      <a:pt x="450" y="194"/>
                    </a:lnTo>
                    <a:lnTo>
                      <a:pt x="450" y="196"/>
                    </a:lnTo>
                    <a:lnTo>
                      <a:pt x="448" y="198"/>
                    </a:lnTo>
                    <a:lnTo>
                      <a:pt x="450" y="198"/>
                    </a:lnTo>
                    <a:lnTo>
                      <a:pt x="450" y="199"/>
                    </a:lnTo>
                    <a:lnTo>
                      <a:pt x="450" y="198"/>
                    </a:lnTo>
                    <a:lnTo>
                      <a:pt x="448" y="198"/>
                    </a:lnTo>
                    <a:lnTo>
                      <a:pt x="450" y="199"/>
                    </a:lnTo>
                    <a:lnTo>
                      <a:pt x="452" y="201"/>
                    </a:lnTo>
                    <a:lnTo>
                      <a:pt x="454" y="201"/>
                    </a:lnTo>
                    <a:lnTo>
                      <a:pt x="452" y="201"/>
                    </a:lnTo>
                    <a:lnTo>
                      <a:pt x="452" y="199"/>
                    </a:lnTo>
                    <a:lnTo>
                      <a:pt x="450" y="199"/>
                    </a:lnTo>
                    <a:lnTo>
                      <a:pt x="452" y="199"/>
                    </a:lnTo>
                    <a:lnTo>
                      <a:pt x="450" y="199"/>
                    </a:lnTo>
                    <a:lnTo>
                      <a:pt x="448" y="198"/>
                    </a:lnTo>
                    <a:lnTo>
                      <a:pt x="450" y="196"/>
                    </a:lnTo>
                    <a:lnTo>
                      <a:pt x="450" y="198"/>
                    </a:lnTo>
                    <a:lnTo>
                      <a:pt x="450" y="196"/>
                    </a:lnTo>
                    <a:lnTo>
                      <a:pt x="450" y="194"/>
                    </a:lnTo>
                    <a:lnTo>
                      <a:pt x="450" y="192"/>
                    </a:lnTo>
                    <a:lnTo>
                      <a:pt x="450" y="190"/>
                    </a:lnTo>
                    <a:lnTo>
                      <a:pt x="450" y="188"/>
                    </a:lnTo>
                    <a:lnTo>
                      <a:pt x="450" y="186"/>
                    </a:lnTo>
                    <a:lnTo>
                      <a:pt x="450" y="184"/>
                    </a:lnTo>
                    <a:lnTo>
                      <a:pt x="450" y="186"/>
                    </a:lnTo>
                    <a:lnTo>
                      <a:pt x="450" y="184"/>
                    </a:lnTo>
                    <a:lnTo>
                      <a:pt x="450" y="182"/>
                    </a:lnTo>
                    <a:lnTo>
                      <a:pt x="450" y="180"/>
                    </a:lnTo>
                    <a:lnTo>
                      <a:pt x="452" y="182"/>
                    </a:lnTo>
                    <a:lnTo>
                      <a:pt x="452" y="180"/>
                    </a:lnTo>
                    <a:lnTo>
                      <a:pt x="452" y="182"/>
                    </a:lnTo>
                    <a:lnTo>
                      <a:pt x="452" y="184"/>
                    </a:lnTo>
                    <a:lnTo>
                      <a:pt x="452" y="182"/>
                    </a:lnTo>
                    <a:lnTo>
                      <a:pt x="454" y="182"/>
                    </a:lnTo>
                    <a:lnTo>
                      <a:pt x="452" y="182"/>
                    </a:lnTo>
                    <a:lnTo>
                      <a:pt x="450" y="180"/>
                    </a:lnTo>
                    <a:lnTo>
                      <a:pt x="450" y="178"/>
                    </a:lnTo>
                    <a:lnTo>
                      <a:pt x="448" y="178"/>
                    </a:lnTo>
                    <a:lnTo>
                      <a:pt x="448" y="176"/>
                    </a:lnTo>
                    <a:lnTo>
                      <a:pt x="446" y="176"/>
                    </a:lnTo>
                    <a:lnTo>
                      <a:pt x="448" y="176"/>
                    </a:lnTo>
                    <a:lnTo>
                      <a:pt x="448" y="175"/>
                    </a:lnTo>
                    <a:lnTo>
                      <a:pt x="446" y="173"/>
                    </a:lnTo>
                    <a:lnTo>
                      <a:pt x="448" y="173"/>
                    </a:lnTo>
                    <a:lnTo>
                      <a:pt x="450" y="175"/>
                    </a:lnTo>
                    <a:lnTo>
                      <a:pt x="450" y="173"/>
                    </a:lnTo>
                    <a:lnTo>
                      <a:pt x="452" y="173"/>
                    </a:lnTo>
                    <a:lnTo>
                      <a:pt x="450" y="173"/>
                    </a:lnTo>
                    <a:lnTo>
                      <a:pt x="452" y="173"/>
                    </a:lnTo>
                    <a:lnTo>
                      <a:pt x="450" y="173"/>
                    </a:lnTo>
                    <a:lnTo>
                      <a:pt x="450" y="175"/>
                    </a:lnTo>
                    <a:lnTo>
                      <a:pt x="448" y="173"/>
                    </a:lnTo>
                    <a:lnTo>
                      <a:pt x="446" y="173"/>
                    </a:lnTo>
                    <a:lnTo>
                      <a:pt x="448" y="173"/>
                    </a:lnTo>
                    <a:lnTo>
                      <a:pt x="448" y="171"/>
                    </a:lnTo>
                    <a:lnTo>
                      <a:pt x="446" y="171"/>
                    </a:lnTo>
                    <a:lnTo>
                      <a:pt x="448" y="171"/>
                    </a:lnTo>
                    <a:lnTo>
                      <a:pt x="446" y="171"/>
                    </a:lnTo>
                    <a:lnTo>
                      <a:pt x="444" y="171"/>
                    </a:lnTo>
                    <a:lnTo>
                      <a:pt x="444" y="169"/>
                    </a:lnTo>
                    <a:lnTo>
                      <a:pt x="444" y="167"/>
                    </a:lnTo>
                    <a:lnTo>
                      <a:pt x="446" y="167"/>
                    </a:lnTo>
                    <a:lnTo>
                      <a:pt x="446" y="165"/>
                    </a:lnTo>
                    <a:lnTo>
                      <a:pt x="446" y="167"/>
                    </a:lnTo>
                    <a:lnTo>
                      <a:pt x="446" y="165"/>
                    </a:lnTo>
                    <a:lnTo>
                      <a:pt x="448" y="167"/>
                    </a:lnTo>
                    <a:lnTo>
                      <a:pt x="448" y="165"/>
                    </a:lnTo>
                    <a:lnTo>
                      <a:pt x="446" y="165"/>
                    </a:lnTo>
                    <a:lnTo>
                      <a:pt x="448" y="165"/>
                    </a:lnTo>
                    <a:lnTo>
                      <a:pt x="448" y="167"/>
                    </a:lnTo>
                    <a:lnTo>
                      <a:pt x="450" y="167"/>
                    </a:lnTo>
                    <a:lnTo>
                      <a:pt x="450" y="169"/>
                    </a:lnTo>
                    <a:lnTo>
                      <a:pt x="450" y="167"/>
                    </a:lnTo>
                    <a:lnTo>
                      <a:pt x="448" y="167"/>
                    </a:lnTo>
                    <a:lnTo>
                      <a:pt x="448" y="165"/>
                    </a:lnTo>
                    <a:lnTo>
                      <a:pt x="446" y="165"/>
                    </a:lnTo>
                    <a:lnTo>
                      <a:pt x="446" y="163"/>
                    </a:lnTo>
                    <a:lnTo>
                      <a:pt x="446" y="165"/>
                    </a:lnTo>
                    <a:lnTo>
                      <a:pt x="446" y="163"/>
                    </a:lnTo>
                    <a:lnTo>
                      <a:pt x="446" y="161"/>
                    </a:lnTo>
                    <a:lnTo>
                      <a:pt x="448" y="161"/>
                    </a:lnTo>
                    <a:lnTo>
                      <a:pt x="446" y="161"/>
                    </a:lnTo>
                    <a:lnTo>
                      <a:pt x="448" y="161"/>
                    </a:lnTo>
                    <a:lnTo>
                      <a:pt x="446" y="159"/>
                    </a:lnTo>
                    <a:lnTo>
                      <a:pt x="448" y="159"/>
                    </a:lnTo>
                    <a:lnTo>
                      <a:pt x="446" y="159"/>
                    </a:lnTo>
                    <a:lnTo>
                      <a:pt x="446" y="157"/>
                    </a:lnTo>
                    <a:lnTo>
                      <a:pt x="446" y="155"/>
                    </a:lnTo>
                    <a:lnTo>
                      <a:pt x="446" y="153"/>
                    </a:lnTo>
                    <a:lnTo>
                      <a:pt x="444" y="153"/>
                    </a:lnTo>
                    <a:lnTo>
                      <a:pt x="444" y="151"/>
                    </a:lnTo>
                    <a:lnTo>
                      <a:pt x="444" y="153"/>
                    </a:lnTo>
                    <a:lnTo>
                      <a:pt x="444" y="151"/>
                    </a:lnTo>
                    <a:lnTo>
                      <a:pt x="444" y="153"/>
                    </a:lnTo>
                    <a:lnTo>
                      <a:pt x="444" y="155"/>
                    </a:lnTo>
                    <a:lnTo>
                      <a:pt x="444" y="153"/>
                    </a:lnTo>
                    <a:lnTo>
                      <a:pt x="444" y="155"/>
                    </a:lnTo>
                    <a:lnTo>
                      <a:pt x="442" y="155"/>
                    </a:lnTo>
                    <a:lnTo>
                      <a:pt x="444" y="155"/>
                    </a:lnTo>
                    <a:lnTo>
                      <a:pt x="442" y="155"/>
                    </a:lnTo>
                    <a:lnTo>
                      <a:pt x="444" y="155"/>
                    </a:lnTo>
                    <a:lnTo>
                      <a:pt x="442" y="155"/>
                    </a:lnTo>
                    <a:lnTo>
                      <a:pt x="444" y="155"/>
                    </a:lnTo>
                    <a:lnTo>
                      <a:pt x="442" y="155"/>
                    </a:lnTo>
                    <a:lnTo>
                      <a:pt x="444" y="155"/>
                    </a:lnTo>
                    <a:lnTo>
                      <a:pt x="442" y="155"/>
                    </a:lnTo>
                    <a:lnTo>
                      <a:pt x="444" y="155"/>
                    </a:lnTo>
                    <a:lnTo>
                      <a:pt x="442" y="155"/>
                    </a:lnTo>
                    <a:lnTo>
                      <a:pt x="444" y="155"/>
                    </a:lnTo>
                    <a:lnTo>
                      <a:pt x="442" y="155"/>
                    </a:lnTo>
                    <a:lnTo>
                      <a:pt x="444" y="155"/>
                    </a:lnTo>
                    <a:lnTo>
                      <a:pt x="442" y="157"/>
                    </a:lnTo>
                    <a:lnTo>
                      <a:pt x="442" y="155"/>
                    </a:lnTo>
                    <a:lnTo>
                      <a:pt x="442" y="157"/>
                    </a:lnTo>
                    <a:lnTo>
                      <a:pt x="442" y="155"/>
                    </a:lnTo>
                    <a:lnTo>
                      <a:pt x="442" y="157"/>
                    </a:lnTo>
                    <a:lnTo>
                      <a:pt x="442" y="155"/>
                    </a:lnTo>
                    <a:lnTo>
                      <a:pt x="442" y="153"/>
                    </a:lnTo>
                    <a:lnTo>
                      <a:pt x="442" y="151"/>
                    </a:lnTo>
                    <a:lnTo>
                      <a:pt x="442" y="150"/>
                    </a:lnTo>
                    <a:lnTo>
                      <a:pt x="444" y="150"/>
                    </a:lnTo>
                    <a:lnTo>
                      <a:pt x="444" y="151"/>
                    </a:lnTo>
                    <a:lnTo>
                      <a:pt x="444" y="150"/>
                    </a:lnTo>
                    <a:lnTo>
                      <a:pt x="442" y="150"/>
                    </a:lnTo>
                    <a:lnTo>
                      <a:pt x="444" y="150"/>
                    </a:lnTo>
                    <a:lnTo>
                      <a:pt x="444" y="148"/>
                    </a:lnTo>
                    <a:lnTo>
                      <a:pt x="442" y="146"/>
                    </a:lnTo>
                    <a:lnTo>
                      <a:pt x="442" y="144"/>
                    </a:lnTo>
                    <a:lnTo>
                      <a:pt x="442" y="142"/>
                    </a:lnTo>
                    <a:lnTo>
                      <a:pt x="442" y="140"/>
                    </a:lnTo>
                    <a:lnTo>
                      <a:pt x="442" y="138"/>
                    </a:lnTo>
                    <a:lnTo>
                      <a:pt x="440" y="138"/>
                    </a:lnTo>
                    <a:lnTo>
                      <a:pt x="440" y="136"/>
                    </a:lnTo>
                    <a:lnTo>
                      <a:pt x="440" y="138"/>
                    </a:lnTo>
                    <a:lnTo>
                      <a:pt x="440" y="136"/>
                    </a:lnTo>
                    <a:lnTo>
                      <a:pt x="440" y="134"/>
                    </a:lnTo>
                    <a:lnTo>
                      <a:pt x="440" y="132"/>
                    </a:lnTo>
                    <a:lnTo>
                      <a:pt x="440" y="130"/>
                    </a:lnTo>
                    <a:lnTo>
                      <a:pt x="438" y="130"/>
                    </a:lnTo>
                    <a:lnTo>
                      <a:pt x="440" y="130"/>
                    </a:lnTo>
                    <a:lnTo>
                      <a:pt x="440" y="128"/>
                    </a:lnTo>
                    <a:lnTo>
                      <a:pt x="440" y="126"/>
                    </a:lnTo>
                    <a:lnTo>
                      <a:pt x="440" y="125"/>
                    </a:lnTo>
                    <a:lnTo>
                      <a:pt x="442" y="125"/>
                    </a:lnTo>
                    <a:lnTo>
                      <a:pt x="442" y="123"/>
                    </a:lnTo>
                    <a:lnTo>
                      <a:pt x="444" y="123"/>
                    </a:lnTo>
                    <a:lnTo>
                      <a:pt x="446" y="123"/>
                    </a:lnTo>
                    <a:lnTo>
                      <a:pt x="448" y="125"/>
                    </a:lnTo>
                    <a:lnTo>
                      <a:pt x="450" y="125"/>
                    </a:lnTo>
                    <a:lnTo>
                      <a:pt x="452" y="125"/>
                    </a:lnTo>
                    <a:lnTo>
                      <a:pt x="452" y="126"/>
                    </a:lnTo>
                    <a:lnTo>
                      <a:pt x="454" y="126"/>
                    </a:lnTo>
                    <a:lnTo>
                      <a:pt x="454" y="128"/>
                    </a:lnTo>
                    <a:lnTo>
                      <a:pt x="452" y="128"/>
                    </a:lnTo>
                    <a:lnTo>
                      <a:pt x="452" y="126"/>
                    </a:lnTo>
                    <a:lnTo>
                      <a:pt x="452" y="128"/>
                    </a:lnTo>
                    <a:lnTo>
                      <a:pt x="454" y="128"/>
                    </a:lnTo>
                    <a:lnTo>
                      <a:pt x="454" y="130"/>
                    </a:lnTo>
                    <a:lnTo>
                      <a:pt x="454" y="132"/>
                    </a:lnTo>
                    <a:lnTo>
                      <a:pt x="455" y="132"/>
                    </a:lnTo>
                    <a:lnTo>
                      <a:pt x="455" y="134"/>
                    </a:lnTo>
                    <a:lnTo>
                      <a:pt x="455" y="136"/>
                    </a:lnTo>
                    <a:lnTo>
                      <a:pt x="457" y="136"/>
                    </a:lnTo>
                    <a:lnTo>
                      <a:pt x="455" y="136"/>
                    </a:lnTo>
                    <a:lnTo>
                      <a:pt x="457" y="136"/>
                    </a:lnTo>
                    <a:lnTo>
                      <a:pt x="455" y="136"/>
                    </a:lnTo>
                    <a:lnTo>
                      <a:pt x="457" y="136"/>
                    </a:lnTo>
                    <a:lnTo>
                      <a:pt x="457" y="138"/>
                    </a:lnTo>
                    <a:lnTo>
                      <a:pt x="459" y="138"/>
                    </a:lnTo>
                    <a:lnTo>
                      <a:pt x="459" y="140"/>
                    </a:lnTo>
                    <a:lnTo>
                      <a:pt x="461" y="140"/>
                    </a:lnTo>
                    <a:lnTo>
                      <a:pt x="463" y="142"/>
                    </a:lnTo>
                    <a:lnTo>
                      <a:pt x="465" y="144"/>
                    </a:lnTo>
                    <a:lnTo>
                      <a:pt x="463" y="144"/>
                    </a:lnTo>
                    <a:lnTo>
                      <a:pt x="465" y="144"/>
                    </a:lnTo>
                    <a:lnTo>
                      <a:pt x="467" y="144"/>
                    </a:lnTo>
                    <a:lnTo>
                      <a:pt x="467" y="146"/>
                    </a:lnTo>
                    <a:lnTo>
                      <a:pt x="465" y="146"/>
                    </a:lnTo>
                    <a:lnTo>
                      <a:pt x="465" y="144"/>
                    </a:lnTo>
                    <a:lnTo>
                      <a:pt x="465" y="146"/>
                    </a:lnTo>
                    <a:lnTo>
                      <a:pt x="465" y="148"/>
                    </a:lnTo>
                    <a:lnTo>
                      <a:pt x="463" y="148"/>
                    </a:lnTo>
                    <a:lnTo>
                      <a:pt x="463" y="150"/>
                    </a:lnTo>
                    <a:lnTo>
                      <a:pt x="465" y="150"/>
                    </a:lnTo>
                    <a:lnTo>
                      <a:pt x="463" y="150"/>
                    </a:lnTo>
                    <a:lnTo>
                      <a:pt x="465" y="150"/>
                    </a:lnTo>
                    <a:lnTo>
                      <a:pt x="463" y="150"/>
                    </a:lnTo>
                    <a:lnTo>
                      <a:pt x="465" y="150"/>
                    </a:lnTo>
                    <a:lnTo>
                      <a:pt x="465" y="151"/>
                    </a:lnTo>
                    <a:lnTo>
                      <a:pt x="463" y="151"/>
                    </a:lnTo>
                    <a:lnTo>
                      <a:pt x="463" y="153"/>
                    </a:lnTo>
                    <a:lnTo>
                      <a:pt x="465" y="153"/>
                    </a:lnTo>
                    <a:lnTo>
                      <a:pt x="465" y="155"/>
                    </a:lnTo>
                    <a:lnTo>
                      <a:pt x="467" y="155"/>
                    </a:lnTo>
                    <a:lnTo>
                      <a:pt x="469" y="155"/>
                    </a:lnTo>
                    <a:lnTo>
                      <a:pt x="471" y="155"/>
                    </a:lnTo>
                    <a:lnTo>
                      <a:pt x="471" y="157"/>
                    </a:lnTo>
                    <a:lnTo>
                      <a:pt x="471" y="155"/>
                    </a:lnTo>
                    <a:lnTo>
                      <a:pt x="471" y="157"/>
                    </a:lnTo>
                    <a:lnTo>
                      <a:pt x="473" y="157"/>
                    </a:lnTo>
                    <a:lnTo>
                      <a:pt x="471" y="157"/>
                    </a:lnTo>
                    <a:lnTo>
                      <a:pt x="473" y="157"/>
                    </a:lnTo>
                    <a:lnTo>
                      <a:pt x="471" y="157"/>
                    </a:lnTo>
                    <a:lnTo>
                      <a:pt x="471" y="159"/>
                    </a:lnTo>
                    <a:lnTo>
                      <a:pt x="471" y="161"/>
                    </a:lnTo>
                    <a:lnTo>
                      <a:pt x="473" y="161"/>
                    </a:lnTo>
                    <a:lnTo>
                      <a:pt x="473" y="163"/>
                    </a:lnTo>
                    <a:lnTo>
                      <a:pt x="473" y="161"/>
                    </a:lnTo>
                    <a:lnTo>
                      <a:pt x="471" y="161"/>
                    </a:lnTo>
                    <a:lnTo>
                      <a:pt x="471" y="159"/>
                    </a:lnTo>
                    <a:lnTo>
                      <a:pt x="471" y="157"/>
                    </a:lnTo>
                    <a:lnTo>
                      <a:pt x="473" y="157"/>
                    </a:lnTo>
                    <a:lnTo>
                      <a:pt x="471" y="157"/>
                    </a:lnTo>
                    <a:lnTo>
                      <a:pt x="471" y="155"/>
                    </a:lnTo>
                    <a:lnTo>
                      <a:pt x="471" y="157"/>
                    </a:lnTo>
                    <a:lnTo>
                      <a:pt x="471" y="155"/>
                    </a:lnTo>
                    <a:lnTo>
                      <a:pt x="469" y="155"/>
                    </a:lnTo>
                    <a:lnTo>
                      <a:pt x="467" y="155"/>
                    </a:lnTo>
                    <a:lnTo>
                      <a:pt x="465" y="155"/>
                    </a:lnTo>
                    <a:lnTo>
                      <a:pt x="465" y="153"/>
                    </a:lnTo>
                    <a:lnTo>
                      <a:pt x="463" y="153"/>
                    </a:lnTo>
                    <a:lnTo>
                      <a:pt x="463" y="151"/>
                    </a:lnTo>
                    <a:lnTo>
                      <a:pt x="465" y="151"/>
                    </a:lnTo>
                    <a:lnTo>
                      <a:pt x="465" y="150"/>
                    </a:lnTo>
                    <a:lnTo>
                      <a:pt x="463" y="150"/>
                    </a:lnTo>
                    <a:lnTo>
                      <a:pt x="463" y="148"/>
                    </a:lnTo>
                    <a:lnTo>
                      <a:pt x="465" y="148"/>
                    </a:lnTo>
                    <a:lnTo>
                      <a:pt x="465" y="146"/>
                    </a:lnTo>
                    <a:lnTo>
                      <a:pt x="465" y="144"/>
                    </a:lnTo>
                    <a:lnTo>
                      <a:pt x="465" y="146"/>
                    </a:lnTo>
                    <a:lnTo>
                      <a:pt x="467" y="146"/>
                    </a:lnTo>
                    <a:lnTo>
                      <a:pt x="467" y="144"/>
                    </a:lnTo>
                    <a:lnTo>
                      <a:pt x="465" y="144"/>
                    </a:lnTo>
                    <a:lnTo>
                      <a:pt x="463" y="142"/>
                    </a:lnTo>
                    <a:lnTo>
                      <a:pt x="465" y="142"/>
                    </a:lnTo>
                    <a:lnTo>
                      <a:pt x="463" y="142"/>
                    </a:lnTo>
                    <a:lnTo>
                      <a:pt x="463" y="140"/>
                    </a:lnTo>
                    <a:lnTo>
                      <a:pt x="461" y="140"/>
                    </a:lnTo>
                    <a:lnTo>
                      <a:pt x="459" y="140"/>
                    </a:lnTo>
                    <a:lnTo>
                      <a:pt x="459" y="138"/>
                    </a:lnTo>
                    <a:lnTo>
                      <a:pt x="459" y="140"/>
                    </a:lnTo>
                    <a:lnTo>
                      <a:pt x="459" y="138"/>
                    </a:lnTo>
                    <a:lnTo>
                      <a:pt x="457" y="138"/>
                    </a:lnTo>
                    <a:lnTo>
                      <a:pt x="457" y="136"/>
                    </a:lnTo>
                    <a:lnTo>
                      <a:pt x="455" y="136"/>
                    </a:lnTo>
                    <a:lnTo>
                      <a:pt x="457" y="136"/>
                    </a:lnTo>
                    <a:lnTo>
                      <a:pt x="455" y="136"/>
                    </a:lnTo>
                    <a:lnTo>
                      <a:pt x="457" y="136"/>
                    </a:lnTo>
                    <a:lnTo>
                      <a:pt x="455" y="136"/>
                    </a:lnTo>
                    <a:lnTo>
                      <a:pt x="455" y="134"/>
                    </a:lnTo>
                    <a:lnTo>
                      <a:pt x="455" y="132"/>
                    </a:lnTo>
                    <a:lnTo>
                      <a:pt x="454" y="132"/>
                    </a:lnTo>
                    <a:lnTo>
                      <a:pt x="454" y="130"/>
                    </a:lnTo>
                    <a:lnTo>
                      <a:pt x="454" y="128"/>
                    </a:lnTo>
                    <a:lnTo>
                      <a:pt x="454" y="126"/>
                    </a:lnTo>
                    <a:lnTo>
                      <a:pt x="454" y="125"/>
                    </a:lnTo>
                    <a:lnTo>
                      <a:pt x="454" y="123"/>
                    </a:lnTo>
                    <a:lnTo>
                      <a:pt x="455" y="123"/>
                    </a:lnTo>
                    <a:lnTo>
                      <a:pt x="455" y="121"/>
                    </a:lnTo>
                    <a:lnTo>
                      <a:pt x="455" y="119"/>
                    </a:lnTo>
                    <a:lnTo>
                      <a:pt x="455" y="117"/>
                    </a:lnTo>
                    <a:lnTo>
                      <a:pt x="457" y="117"/>
                    </a:lnTo>
                    <a:lnTo>
                      <a:pt x="459" y="117"/>
                    </a:lnTo>
                    <a:lnTo>
                      <a:pt x="461" y="117"/>
                    </a:lnTo>
                    <a:lnTo>
                      <a:pt x="463" y="117"/>
                    </a:lnTo>
                    <a:lnTo>
                      <a:pt x="463" y="119"/>
                    </a:lnTo>
                    <a:lnTo>
                      <a:pt x="465" y="119"/>
                    </a:lnTo>
                    <a:lnTo>
                      <a:pt x="465" y="117"/>
                    </a:lnTo>
                    <a:lnTo>
                      <a:pt x="465" y="119"/>
                    </a:lnTo>
                    <a:lnTo>
                      <a:pt x="467" y="119"/>
                    </a:lnTo>
                    <a:lnTo>
                      <a:pt x="465" y="119"/>
                    </a:lnTo>
                    <a:lnTo>
                      <a:pt x="465" y="121"/>
                    </a:lnTo>
                    <a:lnTo>
                      <a:pt x="465" y="119"/>
                    </a:lnTo>
                    <a:lnTo>
                      <a:pt x="467" y="121"/>
                    </a:lnTo>
                    <a:lnTo>
                      <a:pt x="469" y="121"/>
                    </a:lnTo>
                    <a:lnTo>
                      <a:pt x="469" y="123"/>
                    </a:lnTo>
                    <a:lnTo>
                      <a:pt x="471" y="123"/>
                    </a:lnTo>
                    <a:lnTo>
                      <a:pt x="469" y="123"/>
                    </a:lnTo>
                    <a:lnTo>
                      <a:pt x="471" y="123"/>
                    </a:lnTo>
                    <a:lnTo>
                      <a:pt x="471" y="125"/>
                    </a:lnTo>
                    <a:lnTo>
                      <a:pt x="473" y="126"/>
                    </a:lnTo>
                    <a:lnTo>
                      <a:pt x="475" y="126"/>
                    </a:lnTo>
                    <a:lnTo>
                      <a:pt x="477" y="126"/>
                    </a:lnTo>
                    <a:lnTo>
                      <a:pt x="475" y="126"/>
                    </a:lnTo>
                    <a:lnTo>
                      <a:pt x="473" y="126"/>
                    </a:lnTo>
                    <a:lnTo>
                      <a:pt x="475" y="126"/>
                    </a:lnTo>
                    <a:lnTo>
                      <a:pt x="475" y="128"/>
                    </a:lnTo>
                    <a:lnTo>
                      <a:pt x="475" y="126"/>
                    </a:lnTo>
                    <a:lnTo>
                      <a:pt x="475" y="128"/>
                    </a:lnTo>
                    <a:lnTo>
                      <a:pt x="475" y="126"/>
                    </a:lnTo>
                    <a:lnTo>
                      <a:pt x="475" y="128"/>
                    </a:lnTo>
                    <a:lnTo>
                      <a:pt x="475" y="126"/>
                    </a:lnTo>
                    <a:lnTo>
                      <a:pt x="475" y="128"/>
                    </a:lnTo>
                    <a:lnTo>
                      <a:pt x="475" y="126"/>
                    </a:lnTo>
                    <a:lnTo>
                      <a:pt x="475" y="128"/>
                    </a:lnTo>
                    <a:lnTo>
                      <a:pt x="475" y="126"/>
                    </a:lnTo>
                    <a:lnTo>
                      <a:pt x="475" y="128"/>
                    </a:lnTo>
                    <a:lnTo>
                      <a:pt x="475" y="126"/>
                    </a:lnTo>
                    <a:lnTo>
                      <a:pt x="477" y="128"/>
                    </a:lnTo>
                    <a:close/>
                    <a:moveTo>
                      <a:pt x="465" y="121"/>
                    </a:moveTo>
                    <a:lnTo>
                      <a:pt x="465" y="119"/>
                    </a:lnTo>
                    <a:lnTo>
                      <a:pt x="465" y="121"/>
                    </a:lnTo>
                    <a:close/>
                    <a:moveTo>
                      <a:pt x="252" y="161"/>
                    </a:moveTo>
                    <a:lnTo>
                      <a:pt x="254" y="161"/>
                    </a:lnTo>
                    <a:lnTo>
                      <a:pt x="252" y="161"/>
                    </a:lnTo>
                    <a:close/>
                    <a:moveTo>
                      <a:pt x="238" y="163"/>
                    </a:moveTo>
                    <a:lnTo>
                      <a:pt x="240" y="163"/>
                    </a:lnTo>
                    <a:lnTo>
                      <a:pt x="238" y="163"/>
                    </a:lnTo>
                    <a:close/>
                    <a:moveTo>
                      <a:pt x="238" y="163"/>
                    </a:moveTo>
                    <a:lnTo>
                      <a:pt x="240" y="163"/>
                    </a:lnTo>
                    <a:lnTo>
                      <a:pt x="238" y="16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Freeform 71">
                <a:extLst>
                  <a:ext uri="{FF2B5EF4-FFF2-40B4-BE49-F238E27FC236}">
                    <a16:creationId xmlns="" xmlns:a16="http://schemas.microsoft.com/office/drawing/2014/main" id="{910DCFB9-D013-49C8-956B-AE58A7F092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82900" y="2557463"/>
                <a:ext cx="828675" cy="228600"/>
              </a:xfrm>
              <a:custGeom>
                <a:avLst/>
                <a:gdLst>
                  <a:gd name="T0" fmla="*/ 50 w 522"/>
                  <a:gd name="T1" fmla="*/ 96 h 144"/>
                  <a:gd name="T2" fmla="*/ 76 w 522"/>
                  <a:gd name="T3" fmla="*/ 102 h 144"/>
                  <a:gd name="T4" fmla="*/ 9 w 522"/>
                  <a:gd name="T5" fmla="*/ 54 h 144"/>
                  <a:gd name="T6" fmla="*/ 192 w 522"/>
                  <a:gd name="T7" fmla="*/ 136 h 144"/>
                  <a:gd name="T8" fmla="*/ 186 w 522"/>
                  <a:gd name="T9" fmla="*/ 134 h 144"/>
                  <a:gd name="T10" fmla="*/ 188 w 522"/>
                  <a:gd name="T11" fmla="*/ 131 h 144"/>
                  <a:gd name="T12" fmla="*/ 196 w 522"/>
                  <a:gd name="T13" fmla="*/ 125 h 144"/>
                  <a:gd name="T14" fmla="*/ 196 w 522"/>
                  <a:gd name="T15" fmla="*/ 119 h 144"/>
                  <a:gd name="T16" fmla="*/ 207 w 522"/>
                  <a:gd name="T17" fmla="*/ 115 h 144"/>
                  <a:gd name="T18" fmla="*/ 221 w 522"/>
                  <a:gd name="T19" fmla="*/ 121 h 144"/>
                  <a:gd name="T20" fmla="*/ 205 w 522"/>
                  <a:gd name="T21" fmla="*/ 119 h 144"/>
                  <a:gd name="T22" fmla="*/ 207 w 522"/>
                  <a:gd name="T23" fmla="*/ 115 h 144"/>
                  <a:gd name="T24" fmla="*/ 222 w 522"/>
                  <a:gd name="T25" fmla="*/ 121 h 144"/>
                  <a:gd name="T26" fmla="*/ 217 w 522"/>
                  <a:gd name="T27" fmla="*/ 113 h 144"/>
                  <a:gd name="T28" fmla="*/ 228 w 522"/>
                  <a:gd name="T29" fmla="*/ 115 h 144"/>
                  <a:gd name="T30" fmla="*/ 238 w 522"/>
                  <a:gd name="T31" fmla="*/ 117 h 144"/>
                  <a:gd name="T32" fmla="*/ 232 w 522"/>
                  <a:gd name="T33" fmla="*/ 113 h 144"/>
                  <a:gd name="T34" fmla="*/ 244 w 522"/>
                  <a:gd name="T35" fmla="*/ 113 h 144"/>
                  <a:gd name="T36" fmla="*/ 234 w 522"/>
                  <a:gd name="T37" fmla="*/ 109 h 144"/>
                  <a:gd name="T38" fmla="*/ 228 w 522"/>
                  <a:gd name="T39" fmla="*/ 102 h 144"/>
                  <a:gd name="T40" fmla="*/ 230 w 522"/>
                  <a:gd name="T41" fmla="*/ 102 h 144"/>
                  <a:gd name="T42" fmla="*/ 244 w 522"/>
                  <a:gd name="T43" fmla="*/ 104 h 144"/>
                  <a:gd name="T44" fmla="*/ 238 w 522"/>
                  <a:gd name="T45" fmla="*/ 94 h 144"/>
                  <a:gd name="T46" fmla="*/ 253 w 522"/>
                  <a:gd name="T47" fmla="*/ 100 h 144"/>
                  <a:gd name="T48" fmla="*/ 328 w 522"/>
                  <a:gd name="T49" fmla="*/ 131 h 144"/>
                  <a:gd name="T50" fmla="*/ 245 w 522"/>
                  <a:gd name="T51" fmla="*/ 92 h 144"/>
                  <a:gd name="T52" fmla="*/ 259 w 522"/>
                  <a:gd name="T53" fmla="*/ 100 h 144"/>
                  <a:gd name="T54" fmla="*/ 88 w 522"/>
                  <a:gd name="T55" fmla="*/ 11 h 144"/>
                  <a:gd name="T56" fmla="*/ 90 w 522"/>
                  <a:gd name="T57" fmla="*/ 9 h 144"/>
                  <a:gd name="T58" fmla="*/ 86 w 522"/>
                  <a:gd name="T59" fmla="*/ 9 h 144"/>
                  <a:gd name="T60" fmla="*/ 255 w 522"/>
                  <a:gd name="T61" fmla="*/ 92 h 144"/>
                  <a:gd name="T62" fmla="*/ 86 w 522"/>
                  <a:gd name="T63" fmla="*/ 4 h 144"/>
                  <a:gd name="T64" fmla="*/ 205 w 522"/>
                  <a:gd name="T65" fmla="*/ 63 h 144"/>
                  <a:gd name="T66" fmla="*/ 196 w 522"/>
                  <a:gd name="T67" fmla="*/ 57 h 144"/>
                  <a:gd name="T68" fmla="*/ 194 w 522"/>
                  <a:gd name="T69" fmla="*/ 56 h 144"/>
                  <a:gd name="T70" fmla="*/ 222 w 522"/>
                  <a:gd name="T71" fmla="*/ 65 h 144"/>
                  <a:gd name="T72" fmla="*/ 338 w 522"/>
                  <a:gd name="T73" fmla="*/ 106 h 144"/>
                  <a:gd name="T74" fmla="*/ 171 w 522"/>
                  <a:gd name="T75" fmla="*/ 29 h 144"/>
                  <a:gd name="T76" fmla="*/ 148 w 522"/>
                  <a:gd name="T77" fmla="*/ 11 h 144"/>
                  <a:gd name="T78" fmla="*/ 343 w 522"/>
                  <a:gd name="T79" fmla="*/ 106 h 144"/>
                  <a:gd name="T80" fmla="*/ 326 w 522"/>
                  <a:gd name="T81" fmla="*/ 92 h 144"/>
                  <a:gd name="T82" fmla="*/ 276 w 522"/>
                  <a:gd name="T83" fmla="*/ 69 h 144"/>
                  <a:gd name="T84" fmla="*/ 432 w 522"/>
                  <a:gd name="T85" fmla="*/ 131 h 144"/>
                  <a:gd name="T86" fmla="*/ 430 w 522"/>
                  <a:gd name="T87" fmla="*/ 127 h 144"/>
                  <a:gd name="T88" fmla="*/ 178 w 522"/>
                  <a:gd name="T89" fmla="*/ 19 h 144"/>
                  <a:gd name="T90" fmla="*/ 305 w 522"/>
                  <a:gd name="T91" fmla="*/ 75 h 144"/>
                  <a:gd name="T92" fmla="*/ 286 w 522"/>
                  <a:gd name="T93" fmla="*/ 65 h 144"/>
                  <a:gd name="T94" fmla="*/ 192 w 522"/>
                  <a:gd name="T95" fmla="*/ 19 h 144"/>
                  <a:gd name="T96" fmla="*/ 186 w 522"/>
                  <a:gd name="T97" fmla="*/ 15 h 144"/>
                  <a:gd name="T98" fmla="*/ 188 w 522"/>
                  <a:gd name="T99" fmla="*/ 15 h 144"/>
                  <a:gd name="T100" fmla="*/ 397 w 522"/>
                  <a:gd name="T101" fmla="*/ 106 h 144"/>
                  <a:gd name="T102" fmla="*/ 522 w 522"/>
                  <a:gd name="T103" fmla="*/ 140 h 144"/>
                  <a:gd name="T104" fmla="*/ 397 w 522"/>
                  <a:gd name="T105" fmla="*/ 100 h 144"/>
                  <a:gd name="T106" fmla="*/ 395 w 522"/>
                  <a:gd name="T107" fmla="*/ 92 h 144"/>
                  <a:gd name="T108" fmla="*/ 390 w 522"/>
                  <a:gd name="T109" fmla="*/ 81 h 144"/>
                  <a:gd name="T110" fmla="*/ 440 w 522"/>
                  <a:gd name="T111" fmla="*/ 81 h 144"/>
                  <a:gd name="T112" fmla="*/ 415 w 522"/>
                  <a:gd name="T113" fmla="*/ 61 h 144"/>
                  <a:gd name="T114" fmla="*/ 415 w 522"/>
                  <a:gd name="T115" fmla="*/ 61 h 144"/>
                  <a:gd name="T116" fmla="*/ 411 w 522"/>
                  <a:gd name="T117" fmla="*/ 21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22" h="144">
                    <a:moveTo>
                      <a:pt x="0" y="77"/>
                    </a:moveTo>
                    <a:lnTo>
                      <a:pt x="0" y="79"/>
                    </a:lnTo>
                    <a:lnTo>
                      <a:pt x="0" y="77"/>
                    </a:lnTo>
                    <a:close/>
                    <a:moveTo>
                      <a:pt x="44" y="96"/>
                    </a:moveTo>
                    <a:lnTo>
                      <a:pt x="44" y="94"/>
                    </a:lnTo>
                    <a:lnTo>
                      <a:pt x="44" y="96"/>
                    </a:lnTo>
                    <a:close/>
                    <a:moveTo>
                      <a:pt x="46" y="96"/>
                    </a:moveTo>
                    <a:lnTo>
                      <a:pt x="46" y="94"/>
                    </a:lnTo>
                    <a:lnTo>
                      <a:pt x="46" y="96"/>
                    </a:lnTo>
                    <a:close/>
                    <a:moveTo>
                      <a:pt x="48" y="96"/>
                    </a:moveTo>
                    <a:lnTo>
                      <a:pt x="46" y="96"/>
                    </a:lnTo>
                    <a:lnTo>
                      <a:pt x="48" y="96"/>
                    </a:lnTo>
                    <a:close/>
                    <a:moveTo>
                      <a:pt x="50" y="96"/>
                    </a:moveTo>
                    <a:lnTo>
                      <a:pt x="50" y="94"/>
                    </a:lnTo>
                    <a:lnTo>
                      <a:pt x="48" y="94"/>
                    </a:lnTo>
                    <a:lnTo>
                      <a:pt x="50" y="94"/>
                    </a:lnTo>
                    <a:lnTo>
                      <a:pt x="50" y="96"/>
                    </a:lnTo>
                    <a:close/>
                    <a:moveTo>
                      <a:pt x="76" y="107"/>
                    </a:moveTo>
                    <a:lnTo>
                      <a:pt x="76" y="109"/>
                    </a:lnTo>
                    <a:lnTo>
                      <a:pt x="76" y="107"/>
                    </a:lnTo>
                    <a:close/>
                    <a:moveTo>
                      <a:pt x="5" y="67"/>
                    </a:moveTo>
                    <a:lnTo>
                      <a:pt x="3" y="67"/>
                    </a:lnTo>
                    <a:lnTo>
                      <a:pt x="5" y="67"/>
                    </a:lnTo>
                    <a:lnTo>
                      <a:pt x="3" y="67"/>
                    </a:lnTo>
                    <a:lnTo>
                      <a:pt x="5" y="67"/>
                    </a:lnTo>
                    <a:close/>
                    <a:moveTo>
                      <a:pt x="76" y="102"/>
                    </a:moveTo>
                    <a:lnTo>
                      <a:pt x="76" y="104"/>
                    </a:lnTo>
                    <a:lnTo>
                      <a:pt x="76" y="102"/>
                    </a:lnTo>
                    <a:close/>
                    <a:moveTo>
                      <a:pt x="7" y="61"/>
                    </a:moveTo>
                    <a:lnTo>
                      <a:pt x="7" y="63"/>
                    </a:lnTo>
                    <a:lnTo>
                      <a:pt x="7" y="61"/>
                    </a:lnTo>
                    <a:lnTo>
                      <a:pt x="7" y="63"/>
                    </a:lnTo>
                    <a:lnTo>
                      <a:pt x="5" y="63"/>
                    </a:lnTo>
                    <a:lnTo>
                      <a:pt x="7" y="63"/>
                    </a:lnTo>
                    <a:lnTo>
                      <a:pt x="7" y="61"/>
                    </a:lnTo>
                    <a:lnTo>
                      <a:pt x="7" y="63"/>
                    </a:lnTo>
                    <a:lnTo>
                      <a:pt x="5" y="61"/>
                    </a:lnTo>
                    <a:lnTo>
                      <a:pt x="7" y="61"/>
                    </a:lnTo>
                    <a:close/>
                    <a:moveTo>
                      <a:pt x="9" y="54"/>
                    </a:moveTo>
                    <a:lnTo>
                      <a:pt x="7" y="54"/>
                    </a:lnTo>
                    <a:lnTo>
                      <a:pt x="9" y="54"/>
                    </a:lnTo>
                    <a:close/>
                    <a:moveTo>
                      <a:pt x="190" y="140"/>
                    </a:moveTo>
                    <a:lnTo>
                      <a:pt x="190" y="138"/>
                    </a:lnTo>
                    <a:lnTo>
                      <a:pt x="190" y="140"/>
                    </a:lnTo>
                    <a:close/>
                    <a:moveTo>
                      <a:pt x="190" y="138"/>
                    </a:moveTo>
                    <a:lnTo>
                      <a:pt x="190" y="136"/>
                    </a:lnTo>
                    <a:lnTo>
                      <a:pt x="190" y="138"/>
                    </a:lnTo>
                    <a:close/>
                    <a:moveTo>
                      <a:pt x="190" y="136"/>
                    </a:moveTo>
                    <a:lnTo>
                      <a:pt x="190" y="138"/>
                    </a:lnTo>
                    <a:lnTo>
                      <a:pt x="190" y="136"/>
                    </a:lnTo>
                    <a:close/>
                    <a:moveTo>
                      <a:pt x="190" y="136"/>
                    </a:moveTo>
                    <a:lnTo>
                      <a:pt x="192" y="136"/>
                    </a:lnTo>
                    <a:lnTo>
                      <a:pt x="190" y="136"/>
                    </a:lnTo>
                    <a:lnTo>
                      <a:pt x="192" y="136"/>
                    </a:lnTo>
                    <a:lnTo>
                      <a:pt x="190" y="136"/>
                    </a:lnTo>
                    <a:close/>
                    <a:moveTo>
                      <a:pt x="190" y="136"/>
                    </a:moveTo>
                    <a:lnTo>
                      <a:pt x="190" y="134"/>
                    </a:lnTo>
                    <a:lnTo>
                      <a:pt x="190" y="136"/>
                    </a:lnTo>
                    <a:close/>
                    <a:moveTo>
                      <a:pt x="190" y="132"/>
                    </a:moveTo>
                    <a:lnTo>
                      <a:pt x="190" y="134"/>
                    </a:lnTo>
                    <a:lnTo>
                      <a:pt x="190" y="132"/>
                    </a:lnTo>
                    <a:lnTo>
                      <a:pt x="190" y="134"/>
                    </a:lnTo>
                    <a:lnTo>
                      <a:pt x="190" y="136"/>
                    </a:lnTo>
                    <a:lnTo>
                      <a:pt x="188" y="136"/>
                    </a:lnTo>
                    <a:lnTo>
                      <a:pt x="186" y="134"/>
                    </a:lnTo>
                    <a:lnTo>
                      <a:pt x="188" y="134"/>
                    </a:lnTo>
                    <a:lnTo>
                      <a:pt x="188" y="132"/>
                    </a:lnTo>
                    <a:lnTo>
                      <a:pt x="188" y="134"/>
                    </a:lnTo>
                    <a:lnTo>
                      <a:pt x="188" y="132"/>
                    </a:lnTo>
                    <a:lnTo>
                      <a:pt x="190" y="132"/>
                    </a:lnTo>
                    <a:close/>
                    <a:moveTo>
                      <a:pt x="190" y="132"/>
                    </a:moveTo>
                    <a:lnTo>
                      <a:pt x="188" y="132"/>
                    </a:lnTo>
                    <a:lnTo>
                      <a:pt x="190" y="132"/>
                    </a:lnTo>
                    <a:lnTo>
                      <a:pt x="188" y="132"/>
                    </a:lnTo>
                    <a:lnTo>
                      <a:pt x="190" y="132"/>
                    </a:lnTo>
                    <a:close/>
                    <a:moveTo>
                      <a:pt x="190" y="132"/>
                    </a:moveTo>
                    <a:lnTo>
                      <a:pt x="190" y="131"/>
                    </a:lnTo>
                    <a:lnTo>
                      <a:pt x="188" y="131"/>
                    </a:lnTo>
                    <a:lnTo>
                      <a:pt x="188" y="129"/>
                    </a:lnTo>
                    <a:lnTo>
                      <a:pt x="190" y="129"/>
                    </a:lnTo>
                    <a:lnTo>
                      <a:pt x="190" y="131"/>
                    </a:lnTo>
                    <a:lnTo>
                      <a:pt x="190" y="132"/>
                    </a:lnTo>
                    <a:close/>
                    <a:moveTo>
                      <a:pt x="192" y="129"/>
                    </a:moveTo>
                    <a:lnTo>
                      <a:pt x="192" y="131"/>
                    </a:lnTo>
                    <a:lnTo>
                      <a:pt x="192" y="129"/>
                    </a:lnTo>
                    <a:close/>
                    <a:moveTo>
                      <a:pt x="196" y="125"/>
                    </a:moveTo>
                    <a:lnTo>
                      <a:pt x="194" y="127"/>
                    </a:lnTo>
                    <a:lnTo>
                      <a:pt x="192" y="127"/>
                    </a:lnTo>
                    <a:lnTo>
                      <a:pt x="194" y="127"/>
                    </a:lnTo>
                    <a:lnTo>
                      <a:pt x="194" y="125"/>
                    </a:lnTo>
                    <a:lnTo>
                      <a:pt x="196" y="125"/>
                    </a:lnTo>
                    <a:close/>
                    <a:moveTo>
                      <a:pt x="197" y="125"/>
                    </a:moveTo>
                    <a:lnTo>
                      <a:pt x="196" y="127"/>
                    </a:lnTo>
                    <a:lnTo>
                      <a:pt x="196" y="125"/>
                    </a:lnTo>
                    <a:lnTo>
                      <a:pt x="197" y="125"/>
                    </a:lnTo>
                    <a:lnTo>
                      <a:pt x="197" y="123"/>
                    </a:lnTo>
                    <a:lnTo>
                      <a:pt x="197" y="125"/>
                    </a:lnTo>
                    <a:close/>
                    <a:moveTo>
                      <a:pt x="192" y="117"/>
                    </a:moveTo>
                    <a:lnTo>
                      <a:pt x="190" y="117"/>
                    </a:lnTo>
                    <a:lnTo>
                      <a:pt x="192" y="117"/>
                    </a:lnTo>
                    <a:lnTo>
                      <a:pt x="190" y="117"/>
                    </a:lnTo>
                    <a:lnTo>
                      <a:pt x="192" y="117"/>
                    </a:lnTo>
                    <a:close/>
                    <a:moveTo>
                      <a:pt x="197" y="119"/>
                    </a:moveTo>
                    <a:lnTo>
                      <a:pt x="196" y="119"/>
                    </a:lnTo>
                    <a:lnTo>
                      <a:pt x="196" y="121"/>
                    </a:lnTo>
                    <a:lnTo>
                      <a:pt x="196" y="119"/>
                    </a:lnTo>
                    <a:lnTo>
                      <a:pt x="197" y="119"/>
                    </a:lnTo>
                    <a:close/>
                    <a:moveTo>
                      <a:pt x="196" y="115"/>
                    </a:moveTo>
                    <a:lnTo>
                      <a:pt x="197" y="115"/>
                    </a:lnTo>
                    <a:lnTo>
                      <a:pt x="196" y="115"/>
                    </a:lnTo>
                    <a:close/>
                    <a:moveTo>
                      <a:pt x="201" y="115"/>
                    </a:moveTo>
                    <a:lnTo>
                      <a:pt x="201" y="113"/>
                    </a:lnTo>
                    <a:lnTo>
                      <a:pt x="203" y="113"/>
                    </a:lnTo>
                    <a:lnTo>
                      <a:pt x="201" y="113"/>
                    </a:lnTo>
                    <a:lnTo>
                      <a:pt x="201" y="115"/>
                    </a:lnTo>
                    <a:close/>
                    <a:moveTo>
                      <a:pt x="205" y="115"/>
                    </a:moveTo>
                    <a:lnTo>
                      <a:pt x="207" y="115"/>
                    </a:lnTo>
                    <a:lnTo>
                      <a:pt x="205" y="115"/>
                    </a:lnTo>
                    <a:lnTo>
                      <a:pt x="203" y="113"/>
                    </a:lnTo>
                    <a:lnTo>
                      <a:pt x="203" y="115"/>
                    </a:lnTo>
                    <a:lnTo>
                      <a:pt x="205" y="115"/>
                    </a:lnTo>
                    <a:lnTo>
                      <a:pt x="203" y="115"/>
                    </a:lnTo>
                    <a:lnTo>
                      <a:pt x="203" y="113"/>
                    </a:lnTo>
                    <a:lnTo>
                      <a:pt x="205" y="113"/>
                    </a:lnTo>
                    <a:lnTo>
                      <a:pt x="207" y="113"/>
                    </a:lnTo>
                    <a:lnTo>
                      <a:pt x="207" y="115"/>
                    </a:lnTo>
                    <a:lnTo>
                      <a:pt x="205" y="115"/>
                    </a:lnTo>
                    <a:close/>
                    <a:moveTo>
                      <a:pt x="221" y="121"/>
                    </a:moveTo>
                    <a:lnTo>
                      <a:pt x="221" y="119"/>
                    </a:lnTo>
                    <a:lnTo>
                      <a:pt x="221" y="121"/>
                    </a:lnTo>
                    <a:close/>
                    <a:moveTo>
                      <a:pt x="215" y="117"/>
                    </a:moveTo>
                    <a:lnTo>
                      <a:pt x="213" y="117"/>
                    </a:lnTo>
                    <a:lnTo>
                      <a:pt x="215" y="117"/>
                    </a:lnTo>
                    <a:close/>
                    <a:moveTo>
                      <a:pt x="211" y="117"/>
                    </a:moveTo>
                    <a:lnTo>
                      <a:pt x="213" y="117"/>
                    </a:lnTo>
                    <a:lnTo>
                      <a:pt x="211" y="117"/>
                    </a:lnTo>
                    <a:lnTo>
                      <a:pt x="209" y="117"/>
                    </a:lnTo>
                    <a:lnTo>
                      <a:pt x="211" y="117"/>
                    </a:lnTo>
                    <a:lnTo>
                      <a:pt x="209" y="117"/>
                    </a:lnTo>
                    <a:lnTo>
                      <a:pt x="209" y="119"/>
                    </a:lnTo>
                    <a:lnTo>
                      <a:pt x="209" y="117"/>
                    </a:lnTo>
                    <a:lnTo>
                      <a:pt x="207" y="117"/>
                    </a:lnTo>
                    <a:lnTo>
                      <a:pt x="205" y="119"/>
                    </a:lnTo>
                    <a:lnTo>
                      <a:pt x="203" y="119"/>
                    </a:lnTo>
                    <a:lnTo>
                      <a:pt x="203" y="117"/>
                    </a:lnTo>
                    <a:lnTo>
                      <a:pt x="201" y="117"/>
                    </a:lnTo>
                    <a:lnTo>
                      <a:pt x="203" y="117"/>
                    </a:lnTo>
                    <a:lnTo>
                      <a:pt x="201" y="117"/>
                    </a:lnTo>
                    <a:lnTo>
                      <a:pt x="201" y="115"/>
                    </a:lnTo>
                    <a:lnTo>
                      <a:pt x="201" y="117"/>
                    </a:lnTo>
                    <a:lnTo>
                      <a:pt x="199" y="117"/>
                    </a:lnTo>
                    <a:lnTo>
                      <a:pt x="199" y="115"/>
                    </a:lnTo>
                    <a:lnTo>
                      <a:pt x="201" y="115"/>
                    </a:lnTo>
                    <a:lnTo>
                      <a:pt x="203" y="115"/>
                    </a:lnTo>
                    <a:lnTo>
                      <a:pt x="205" y="115"/>
                    </a:lnTo>
                    <a:lnTo>
                      <a:pt x="207" y="115"/>
                    </a:lnTo>
                    <a:lnTo>
                      <a:pt x="209" y="113"/>
                    </a:lnTo>
                    <a:lnTo>
                      <a:pt x="209" y="115"/>
                    </a:lnTo>
                    <a:lnTo>
                      <a:pt x="211" y="115"/>
                    </a:lnTo>
                    <a:lnTo>
                      <a:pt x="211" y="117"/>
                    </a:lnTo>
                    <a:close/>
                    <a:moveTo>
                      <a:pt x="211" y="117"/>
                    </a:moveTo>
                    <a:lnTo>
                      <a:pt x="211" y="115"/>
                    </a:lnTo>
                    <a:lnTo>
                      <a:pt x="209" y="115"/>
                    </a:lnTo>
                    <a:lnTo>
                      <a:pt x="211" y="115"/>
                    </a:lnTo>
                    <a:lnTo>
                      <a:pt x="211" y="117"/>
                    </a:lnTo>
                    <a:lnTo>
                      <a:pt x="211" y="115"/>
                    </a:lnTo>
                    <a:lnTo>
                      <a:pt x="211" y="117"/>
                    </a:lnTo>
                    <a:close/>
                    <a:moveTo>
                      <a:pt x="222" y="119"/>
                    </a:moveTo>
                    <a:lnTo>
                      <a:pt x="222" y="121"/>
                    </a:lnTo>
                    <a:lnTo>
                      <a:pt x="221" y="121"/>
                    </a:lnTo>
                    <a:lnTo>
                      <a:pt x="221" y="119"/>
                    </a:lnTo>
                    <a:lnTo>
                      <a:pt x="222" y="119"/>
                    </a:lnTo>
                    <a:close/>
                    <a:moveTo>
                      <a:pt x="224" y="117"/>
                    </a:moveTo>
                    <a:lnTo>
                      <a:pt x="224" y="119"/>
                    </a:lnTo>
                    <a:lnTo>
                      <a:pt x="222" y="119"/>
                    </a:lnTo>
                    <a:lnTo>
                      <a:pt x="221" y="119"/>
                    </a:lnTo>
                    <a:lnTo>
                      <a:pt x="222" y="117"/>
                    </a:lnTo>
                    <a:lnTo>
                      <a:pt x="224" y="117"/>
                    </a:lnTo>
                    <a:close/>
                    <a:moveTo>
                      <a:pt x="217" y="113"/>
                    </a:moveTo>
                    <a:lnTo>
                      <a:pt x="215" y="113"/>
                    </a:lnTo>
                    <a:lnTo>
                      <a:pt x="217" y="111"/>
                    </a:lnTo>
                    <a:lnTo>
                      <a:pt x="217" y="113"/>
                    </a:lnTo>
                    <a:close/>
                    <a:moveTo>
                      <a:pt x="219" y="113"/>
                    </a:moveTo>
                    <a:lnTo>
                      <a:pt x="217" y="113"/>
                    </a:lnTo>
                    <a:lnTo>
                      <a:pt x="217" y="111"/>
                    </a:lnTo>
                    <a:lnTo>
                      <a:pt x="219" y="111"/>
                    </a:lnTo>
                    <a:lnTo>
                      <a:pt x="219" y="113"/>
                    </a:lnTo>
                    <a:close/>
                    <a:moveTo>
                      <a:pt x="224" y="113"/>
                    </a:moveTo>
                    <a:lnTo>
                      <a:pt x="222" y="113"/>
                    </a:lnTo>
                    <a:lnTo>
                      <a:pt x="222" y="111"/>
                    </a:lnTo>
                    <a:lnTo>
                      <a:pt x="224" y="113"/>
                    </a:lnTo>
                    <a:lnTo>
                      <a:pt x="222" y="113"/>
                    </a:lnTo>
                    <a:lnTo>
                      <a:pt x="224" y="113"/>
                    </a:lnTo>
                    <a:close/>
                    <a:moveTo>
                      <a:pt x="228" y="113"/>
                    </a:moveTo>
                    <a:lnTo>
                      <a:pt x="228" y="115"/>
                    </a:lnTo>
                    <a:lnTo>
                      <a:pt x="228" y="113"/>
                    </a:lnTo>
                    <a:close/>
                    <a:moveTo>
                      <a:pt x="230" y="113"/>
                    </a:moveTo>
                    <a:lnTo>
                      <a:pt x="230" y="115"/>
                    </a:lnTo>
                    <a:lnTo>
                      <a:pt x="230" y="113"/>
                    </a:lnTo>
                    <a:lnTo>
                      <a:pt x="232" y="113"/>
                    </a:lnTo>
                    <a:lnTo>
                      <a:pt x="230" y="113"/>
                    </a:lnTo>
                    <a:close/>
                    <a:moveTo>
                      <a:pt x="230" y="111"/>
                    </a:moveTo>
                    <a:lnTo>
                      <a:pt x="230" y="113"/>
                    </a:lnTo>
                    <a:lnTo>
                      <a:pt x="230" y="111"/>
                    </a:lnTo>
                    <a:close/>
                    <a:moveTo>
                      <a:pt x="240" y="117"/>
                    </a:moveTo>
                    <a:lnTo>
                      <a:pt x="240" y="115"/>
                    </a:lnTo>
                    <a:lnTo>
                      <a:pt x="238" y="115"/>
                    </a:lnTo>
                    <a:lnTo>
                      <a:pt x="238" y="117"/>
                    </a:lnTo>
                    <a:lnTo>
                      <a:pt x="238" y="115"/>
                    </a:lnTo>
                    <a:lnTo>
                      <a:pt x="240" y="115"/>
                    </a:lnTo>
                    <a:lnTo>
                      <a:pt x="240" y="117"/>
                    </a:lnTo>
                    <a:lnTo>
                      <a:pt x="240" y="115"/>
                    </a:lnTo>
                    <a:lnTo>
                      <a:pt x="240" y="117"/>
                    </a:lnTo>
                    <a:close/>
                    <a:moveTo>
                      <a:pt x="232" y="113"/>
                    </a:moveTo>
                    <a:lnTo>
                      <a:pt x="230" y="113"/>
                    </a:lnTo>
                    <a:lnTo>
                      <a:pt x="230" y="115"/>
                    </a:lnTo>
                    <a:lnTo>
                      <a:pt x="228" y="115"/>
                    </a:lnTo>
                    <a:lnTo>
                      <a:pt x="230" y="113"/>
                    </a:lnTo>
                    <a:lnTo>
                      <a:pt x="232" y="113"/>
                    </a:lnTo>
                    <a:lnTo>
                      <a:pt x="234" y="113"/>
                    </a:lnTo>
                    <a:lnTo>
                      <a:pt x="232" y="113"/>
                    </a:lnTo>
                    <a:close/>
                    <a:moveTo>
                      <a:pt x="28" y="7"/>
                    </a:moveTo>
                    <a:lnTo>
                      <a:pt x="28" y="6"/>
                    </a:lnTo>
                    <a:lnTo>
                      <a:pt x="28" y="7"/>
                    </a:lnTo>
                    <a:close/>
                    <a:moveTo>
                      <a:pt x="244" y="115"/>
                    </a:moveTo>
                    <a:lnTo>
                      <a:pt x="242" y="115"/>
                    </a:lnTo>
                    <a:lnTo>
                      <a:pt x="244" y="113"/>
                    </a:lnTo>
                    <a:lnTo>
                      <a:pt x="244" y="115"/>
                    </a:lnTo>
                    <a:close/>
                    <a:moveTo>
                      <a:pt x="221" y="104"/>
                    </a:moveTo>
                    <a:lnTo>
                      <a:pt x="219" y="104"/>
                    </a:lnTo>
                    <a:lnTo>
                      <a:pt x="221" y="104"/>
                    </a:lnTo>
                    <a:close/>
                    <a:moveTo>
                      <a:pt x="244" y="113"/>
                    </a:moveTo>
                    <a:lnTo>
                      <a:pt x="242" y="113"/>
                    </a:lnTo>
                    <a:lnTo>
                      <a:pt x="244" y="113"/>
                    </a:lnTo>
                    <a:close/>
                    <a:moveTo>
                      <a:pt x="244" y="113"/>
                    </a:moveTo>
                    <a:lnTo>
                      <a:pt x="242" y="113"/>
                    </a:lnTo>
                    <a:lnTo>
                      <a:pt x="244" y="111"/>
                    </a:lnTo>
                    <a:lnTo>
                      <a:pt x="244" y="113"/>
                    </a:lnTo>
                    <a:close/>
                    <a:moveTo>
                      <a:pt x="244" y="113"/>
                    </a:moveTo>
                    <a:lnTo>
                      <a:pt x="242" y="113"/>
                    </a:lnTo>
                    <a:lnTo>
                      <a:pt x="244" y="113"/>
                    </a:lnTo>
                    <a:lnTo>
                      <a:pt x="245" y="113"/>
                    </a:lnTo>
                    <a:lnTo>
                      <a:pt x="244" y="113"/>
                    </a:lnTo>
                    <a:close/>
                    <a:moveTo>
                      <a:pt x="234" y="109"/>
                    </a:moveTo>
                    <a:lnTo>
                      <a:pt x="236" y="107"/>
                    </a:lnTo>
                    <a:lnTo>
                      <a:pt x="236" y="109"/>
                    </a:lnTo>
                    <a:lnTo>
                      <a:pt x="234" y="109"/>
                    </a:lnTo>
                    <a:close/>
                    <a:moveTo>
                      <a:pt x="244" y="113"/>
                    </a:moveTo>
                    <a:lnTo>
                      <a:pt x="244" y="111"/>
                    </a:lnTo>
                    <a:lnTo>
                      <a:pt x="244" y="113"/>
                    </a:lnTo>
                    <a:close/>
                    <a:moveTo>
                      <a:pt x="244" y="113"/>
                    </a:moveTo>
                    <a:lnTo>
                      <a:pt x="245" y="113"/>
                    </a:lnTo>
                    <a:lnTo>
                      <a:pt x="244" y="113"/>
                    </a:lnTo>
                    <a:close/>
                    <a:moveTo>
                      <a:pt x="247" y="111"/>
                    </a:moveTo>
                    <a:lnTo>
                      <a:pt x="245" y="111"/>
                    </a:lnTo>
                    <a:lnTo>
                      <a:pt x="247" y="111"/>
                    </a:lnTo>
                    <a:close/>
                    <a:moveTo>
                      <a:pt x="240" y="107"/>
                    </a:moveTo>
                    <a:lnTo>
                      <a:pt x="242" y="107"/>
                    </a:lnTo>
                    <a:lnTo>
                      <a:pt x="240" y="107"/>
                    </a:lnTo>
                    <a:close/>
                    <a:moveTo>
                      <a:pt x="228" y="102"/>
                    </a:moveTo>
                    <a:lnTo>
                      <a:pt x="228" y="100"/>
                    </a:lnTo>
                    <a:lnTo>
                      <a:pt x="228" y="102"/>
                    </a:lnTo>
                    <a:close/>
                    <a:moveTo>
                      <a:pt x="228" y="102"/>
                    </a:moveTo>
                    <a:lnTo>
                      <a:pt x="228" y="100"/>
                    </a:lnTo>
                    <a:lnTo>
                      <a:pt x="230" y="100"/>
                    </a:lnTo>
                    <a:lnTo>
                      <a:pt x="228" y="100"/>
                    </a:lnTo>
                    <a:lnTo>
                      <a:pt x="228" y="102"/>
                    </a:lnTo>
                    <a:lnTo>
                      <a:pt x="228" y="100"/>
                    </a:lnTo>
                    <a:lnTo>
                      <a:pt x="228" y="102"/>
                    </a:lnTo>
                    <a:lnTo>
                      <a:pt x="230" y="102"/>
                    </a:lnTo>
                    <a:lnTo>
                      <a:pt x="228" y="100"/>
                    </a:lnTo>
                    <a:lnTo>
                      <a:pt x="230" y="100"/>
                    </a:lnTo>
                    <a:lnTo>
                      <a:pt x="230" y="102"/>
                    </a:lnTo>
                    <a:lnTo>
                      <a:pt x="230" y="104"/>
                    </a:lnTo>
                    <a:lnTo>
                      <a:pt x="228" y="104"/>
                    </a:lnTo>
                    <a:lnTo>
                      <a:pt x="226" y="104"/>
                    </a:lnTo>
                    <a:lnTo>
                      <a:pt x="226" y="102"/>
                    </a:lnTo>
                    <a:lnTo>
                      <a:pt x="228" y="102"/>
                    </a:lnTo>
                    <a:close/>
                    <a:moveTo>
                      <a:pt x="92" y="29"/>
                    </a:moveTo>
                    <a:lnTo>
                      <a:pt x="92" y="31"/>
                    </a:lnTo>
                    <a:lnTo>
                      <a:pt x="90" y="31"/>
                    </a:lnTo>
                    <a:lnTo>
                      <a:pt x="90" y="29"/>
                    </a:lnTo>
                    <a:lnTo>
                      <a:pt x="92" y="29"/>
                    </a:lnTo>
                    <a:lnTo>
                      <a:pt x="90" y="29"/>
                    </a:lnTo>
                    <a:lnTo>
                      <a:pt x="92" y="29"/>
                    </a:lnTo>
                    <a:close/>
                    <a:moveTo>
                      <a:pt x="244" y="104"/>
                    </a:moveTo>
                    <a:lnTo>
                      <a:pt x="244" y="102"/>
                    </a:lnTo>
                    <a:lnTo>
                      <a:pt x="244" y="104"/>
                    </a:lnTo>
                    <a:close/>
                    <a:moveTo>
                      <a:pt x="234" y="96"/>
                    </a:moveTo>
                    <a:lnTo>
                      <a:pt x="232" y="96"/>
                    </a:lnTo>
                    <a:lnTo>
                      <a:pt x="232" y="98"/>
                    </a:lnTo>
                    <a:lnTo>
                      <a:pt x="232" y="96"/>
                    </a:lnTo>
                    <a:lnTo>
                      <a:pt x="234" y="96"/>
                    </a:lnTo>
                    <a:lnTo>
                      <a:pt x="232" y="96"/>
                    </a:lnTo>
                    <a:lnTo>
                      <a:pt x="234" y="96"/>
                    </a:lnTo>
                    <a:close/>
                    <a:moveTo>
                      <a:pt x="236" y="94"/>
                    </a:moveTo>
                    <a:lnTo>
                      <a:pt x="236" y="96"/>
                    </a:lnTo>
                    <a:lnTo>
                      <a:pt x="236" y="94"/>
                    </a:lnTo>
                    <a:lnTo>
                      <a:pt x="238" y="94"/>
                    </a:lnTo>
                    <a:lnTo>
                      <a:pt x="236" y="94"/>
                    </a:lnTo>
                    <a:close/>
                    <a:moveTo>
                      <a:pt x="238" y="92"/>
                    </a:moveTo>
                    <a:lnTo>
                      <a:pt x="238" y="94"/>
                    </a:lnTo>
                    <a:lnTo>
                      <a:pt x="236" y="94"/>
                    </a:lnTo>
                    <a:lnTo>
                      <a:pt x="236" y="92"/>
                    </a:lnTo>
                    <a:lnTo>
                      <a:pt x="238" y="92"/>
                    </a:lnTo>
                    <a:close/>
                    <a:moveTo>
                      <a:pt x="259" y="104"/>
                    </a:moveTo>
                    <a:lnTo>
                      <a:pt x="259" y="102"/>
                    </a:lnTo>
                    <a:lnTo>
                      <a:pt x="261" y="102"/>
                    </a:lnTo>
                    <a:lnTo>
                      <a:pt x="259" y="104"/>
                    </a:lnTo>
                    <a:close/>
                    <a:moveTo>
                      <a:pt x="253" y="100"/>
                    </a:moveTo>
                    <a:lnTo>
                      <a:pt x="255" y="100"/>
                    </a:lnTo>
                    <a:lnTo>
                      <a:pt x="253" y="100"/>
                    </a:lnTo>
                    <a:close/>
                    <a:moveTo>
                      <a:pt x="255" y="100"/>
                    </a:moveTo>
                    <a:lnTo>
                      <a:pt x="253" y="100"/>
                    </a:lnTo>
                    <a:lnTo>
                      <a:pt x="255" y="100"/>
                    </a:lnTo>
                    <a:close/>
                    <a:moveTo>
                      <a:pt x="238" y="92"/>
                    </a:moveTo>
                    <a:lnTo>
                      <a:pt x="236" y="92"/>
                    </a:lnTo>
                    <a:lnTo>
                      <a:pt x="236" y="94"/>
                    </a:lnTo>
                    <a:lnTo>
                      <a:pt x="236" y="92"/>
                    </a:lnTo>
                    <a:lnTo>
                      <a:pt x="238" y="92"/>
                    </a:lnTo>
                    <a:close/>
                    <a:moveTo>
                      <a:pt x="253" y="98"/>
                    </a:moveTo>
                    <a:lnTo>
                      <a:pt x="253" y="100"/>
                    </a:lnTo>
                    <a:lnTo>
                      <a:pt x="253" y="98"/>
                    </a:lnTo>
                    <a:close/>
                    <a:moveTo>
                      <a:pt x="328" y="129"/>
                    </a:moveTo>
                    <a:lnTo>
                      <a:pt x="328" y="131"/>
                    </a:lnTo>
                    <a:lnTo>
                      <a:pt x="330" y="131"/>
                    </a:lnTo>
                    <a:lnTo>
                      <a:pt x="328" y="131"/>
                    </a:lnTo>
                    <a:lnTo>
                      <a:pt x="328" y="129"/>
                    </a:lnTo>
                    <a:close/>
                    <a:moveTo>
                      <a:pt x="240" y="92"/>
                    </a:moveTo>
                    <a:lnTo>
                      <a:pt x="240" y="90"/>
                    </a:lnTo>
                    <a:lnTo>
                      <a:pt x="240" y="92"/>
                    </a:lnTo>
                    <a:close/>
                    <a:moveTo>
                      <a:pt x="245" y="92"/>
                    </a:moveTo>
                    <a:lnTo>
                      <a:pt x="245" y="94"/>
                    </a:lnTo>
                    <a:lnTo>
                      <a:pt x="244" y="94"/>
                    </a:lnTo>
                    <a:lnTo>
                      <a:pt x="245" y="94"/>
                    </a:lnTo>
                    <a:lnTo>
                      <a:pt x="245" y="92"/>
                    </a:lnTo>
                    <a:lnTo>
                      <a:pt x="245" y="94"/>
                    </a:lnTo>
                    <a:lnTo>
                      <a:pt x="245" y="92"/>
                    </a:lnTo>
                    <a:close/>
                    <a:moveTo>
                      <a:pt x="86" y="13"/>
                    </a:moveTo>
                    <a:lnTo>
                      <a:pt x="86" y="15"/>
                    </a:lnTo>
                    <a:lnTo>
                      <a:pt x="86" y="17"/>
                    </a:lnTo>
                    <a:lnTo>
                      <a:pt x="86" y="15"/>
                    </a:lnTo>
                    <a:lnTo>
                      <a:pt x="86" y="13"/>
                    </a:lnTo>
                    <a:close/>
                    <a:moveTo>
                      <a:pt x="240" y="92"/>
                    </a:moveTo>
                    <a:lnTo>
                      <a:pt x="238" y="92"/>
                    </a:lnTo>
                    <a:lnTo>
                      <a:pt x="238" y="90"/>
                    </a:lnTo>
                    <a:lnTo>
                      <a:pt x="240" y="90"/>
                    </a:lnTo>
                    <a:lnTo>
                      <a:pt x="240" y="92"/>
                    </a:lnTo>
                    <a:close/>
                    <a:moveTo>
                      <a:pt x="261" y="98"/>
                    </a:moveTo>
                    <a:lnTo>
                      <a:pt x="261" y="100"/>
                    </a:lnTo>
                    <a:lnTo>
                      <a:pt x="259" y="100"/>
                    </a:lnTo>
                    <a:lnTo>
                      <a:pt x="259" y="98"/>
                    </a:lnTo>
                    <a:lnTo>
                      <a:pt x="261" y="98"/>
                    </a:lnTo>
                    <a:lnTo>
                      <a:pt x="259" y="98"/>
                    </a:lnTo>
                    <a:lnTo>
                      <a:pt x="261" y="98"/>
                    </a:lnTo>
                    <a:close/>
                    <a:moveTo>
                      <a:pt x="86" y="13"/>
                    </a:moveTo>
                    <a:lnTo>
                      <a:pt x="88" y="13"/>
                    </a:lnTo>
                    <a:lnTo>
                      <a:pt x="86" y="13"/>
                    </a:lnTo>
                    <a:close/>
                    <a:moveTo>
                      <a:pt x="261" y="98"/>
                    </a:moveTo>
                    <a:lnTo>
                      <a:pt x="261" y="100"/>
                    </a:lnTo>
                    <a:lnTo>
                      <a:pt x="261" y="98"/>
                    </a:lnTo>
                    <a:close/>
                    <a:moveTo>
                      <a:pt x="88" y="11"/>
                    </a:moveTo>
                    <a:lnTo>
                      <a:pt x="88" y="13"/>
                    </a:lnTo>
                    <a:lnTo>
                      <a:pt x="88" y="11"/>
                    </a:lnTo>
                    <a:close/>
                    <a:moveTo>
                      <a:pt x="261" y="98"/>
                    </a:moveTo>
                    <a:lnTo>
                      <a:pt x="263" y="98"/>
                    </a:lnTo>
                    <a:lnTo>
                      <a:pt x="263" y="96"/>
                    </a:lnTo>
                    <a:lnTo>
                      <a:pt x="263" y="98"/>
                    </a:lnTo>
                    <a:lnTo>
                      <a:pt x="261" y="98"/>
                    </a:lnTo>
                    <a:close/>
                    <a:moveTo>
                      <a:pt x="263" y="96"/>
                    </a:moveTo>
                    <a:lnTo>
                      <a:pt x="261" y="96"/>
                    </a:lnTo>
                    <a:lnTo>
                      <a:pt x="263" y="96"/>
                    </a:lnTo>
                    <a:close/>
                    <a:moveTo>
                      <a:pt x="265" y="96"/>
                    </a:moveTo>
                    <a:lnTo>
                      <a:pt x="263" y="98"/>
                    </a:lnTo>
                    <a:lnTo>
                      <a:pt x="263" y="96"/>
                    </a:lnTo>
                    <a:lnTo>
                      <a:pt x="265" y="96"/>
                    </a:lnTo>
                    <a:close/>
                    <a:moveTo>
                      <a:pt x="90" y="9"/>
                    </a:moveTo>
                    <a:lnTo>
                      <a:pt x="88" y="9"/>
                    </a:lnTo>
                    <a:lnTo>
                      <a:pt x="90" y="9"/>
                    </a:lnTo>
                    <a:lnTo>
                      <a:pt x="90" y="11"/>
                    </a:lnTo>
                    <a:lnTo>
                      <a:pt x="90" y="9"/>
                    </a:lnTo>
                    <a:lnTo>
                      <a:pt x="90" y="11"/>
                    </a:lnTo>
                    <a:lnTo>
                      <a:pt x="88" y="11"/>
                    </a:lnTo>
                    <a:lnTo>
                      <a:pt x="90" y="11"/>
                    </a:lnTo>
                    <a:lnTo>
                      <a:pt x="88" y="11"/>
                    </a:lnTo>
                    <a:lnTo>
                      <a:pt x="90" y="11"/>
                    </a:lnTo>
                    <a:lnTo>
                      <a:pt x="88" y="9"/>
                    </a:lnTo>
                    <a:lnTo>
                      <a:pt x="88" y="11"/>
                    </a:lnTo>
                    <a:lnTo>
                      <a:pt x="88" y="9"/>
                    </a:lnTo>
                    <a:lnTo>
                      <a:pt x="86" y="9"/>
                    </a:lnTo>
                    <a:lnTo>
                      <a:pt x="86" y="7"/>
                    </a:lnTo>
                    <a:lnTo>
                      <a:pt x="88" y="7"/>
                    </a:lnTo>
                    <a:lnTo>
                      <a:pt x="90" y="7"/>
                    </a:lnTo>
                    <a:lnTo>
                      <a:pt x="90" y="9"/>
                    </a:lnTo>
                    <a:close/>
                    <a:moveTo>
                      <a:pt x="255" y="90"/>
                    </a:moveTo>
                    <a:lnTo>
                      <a:pt x="257" y="90"/>
                    </a:lnTo>
                    <a:lnTo>
                      <a:pt x="255" y="90"/>
                    </a:lnTo>
                    <a:close/>
                    <a:moveTo>
                      <a:pt x="259" y="90"/>
                    </a:moveTo>
                    <a:lnTo>
                      <a:pt x="259" y="92"/>
                    </a:lnTo>
                    <a:lnTo>
                      <a:pt x="259" y="94"/>
                    </a:lnTo>
                    <a:lnTo>
                      <a:pt x="257" y="96"/>
                    </a:lnTo>
                    <a:lnTo>
                      <a:pt x="255" y="94"/>
                    </a:lnTo>
                    <a:lnTo>
                      <a:pt x="255" y="92"/>
                    </a:lnTo>
                    <a:lnTo>
                      <a:pt x="255" y="90"/>
                    </a:lnTo>
                    <a:lnTo>
                      <a:pt x="257" y="90"/>
                    </a:lnTo>
                    <a:lnTo>
                      <a:pt x="259" y="90"/>
                    </a:lnTo>
                    <a:close/>
                    <a:moveTo>
                      <a:pt x="190" y="59"/>
                    </a:moveTo>
                    <a:lnTo>
                      <a:pt x="188" y="59"/>
                    </a:lnTo>
                    <a:lnTo>
                      <a:pt x="190" y="59"/>
                    </a:lnTo>
                    <a:lnTo>
                      <a:pt x="190" y="57"/>
                    </a:lnTo>
                    <a:lnTo>
                      <a:pt x="190" y="59"/>
                    </a:lnTo>
                    <a:lnTo>
                      <a:pt x="190" y="57"/>
                    </a:lnTo>
                    <a:lnTo>
                      <a:pt x="190" y="59"/>
                    </a:lnTo>
                    <a:close/>
                    <a:moveTo>
                      <a:pt x="86" y="4"/>
                    </a:moveTo>
                    <a:lnTo>
                      <a:pt x="86" y="6"/>
                    </a:lnTo>
                    <a:lnTo>
                      <a:pt x="86" y="4"/>
                    </a:lnTo>
                    <a:lnTo>
                      <a:pt x="84" y="4"/>
                    </a:lnTo>
                    <a:lnTo>
                      <a:pt x="86" y="4"/>
                    </a:lnTo>
                    <a:close/>
                    <a:moveTo>
                      <a:pt x="86" y="4"/>
                    </a:moveTo>
                    <a:lnTo>
                      <a:pt x="84" y="2"/>
                    </a:lnTo>
                    <a:lnTo>
                      <a:pt x="86" y="2"/>
                    </a:lnTo>
                    <a:lnTo>
                      <a:pt x="86" y="4"/>
                    </a:lnTo>
                    <a:close/>
                    <a:moveTo>
                      <a:pt x="82" y="0"/>
                    </a:moveTo>
                    <a:lnTo>
                      <a:pt x="84" y="0"/>
                    </a:lnTo>
                    <a:lnTo>
                      <a:pt x="82" y="0"/>
                    </a:lnTo>
                    <a:close/>
                    <a:moveTo>
                      <a:pt x="205" y="61"/>
                    </a:moveTo>
                    <a:lnTo>
                      <a:pt x="203" y="61"/>
                    </a:lnTo>
                    <a:lnTo>
                      <a:pt x="205" y="61"/>
                    </a:lnTo>
                    <a:close/>
                    <a:moveTo>
                      <a:pt x="205" y="63"/>
                    </a:moveTo>
                    <a:lnTo>
                      <a:pt x="205" y="61"/>
                    </a:lnTo>
                    <a:lnTo>
                      <a:pt x="205" y="63"/>
                    </a:lnTo>
                    <a:close/>
                    <a:moveTo>
                      <a:pt x="205" y="59"/>
                    </a:moveTo>
                    <a:lnTo>
                      <a:pt x="205" y="61"/>
                    </a:lnTo>
                    <a:lnTo>
                      <a:pt x="205" y="59"/>
                    </a:lnTo>
                    <a:close/>
                    <a:moveTo>
                      <a:pt x="205" y="59"/>
                    </a:moveTo>
                    <a:lnTo>
                      <a:pt x="203" y="59"/>
                    </a:lnTo>
                    <a:lnTo>
                      <a:pt x="201" y="59"/>
                    </a:lnTo>
                    <a:lnTo>
                      <a:pt x="199" y="59"/>
                    </a:lnTo>
                    <a:lnTo>
                      <a:pt x="199" y="57"/>
                    </a:lnTo>
                    <a:lnTo>
                      <a:pt x="197" y="57"/>
                    </a:lnTo>
                    <a:lnTo>
                      <a:pt x="196" y="59"/>
                    </a:lnTo>
                    <a:lnTo>
                      <a:pt x="196" y="57"/>
                    </a:lnTo>
                    <a:lnTo>
                      <a:pt x="194" y="57"/>
                    </a:lnTo>
                    <a:lnTo>
                      <a:pt x="192" y="57"/>
                    </a:lnTo>
                    <a:lnTo>
                      <a:pt x="192" y="59"/>
                    </a:lnTo>
                    <a:lnTo>
                      <a:pt x="192" y="57"/>
                    </a:lnTo>
                    <a:lnTo>
                      <a:pt x="192" y="59"/>
                    </a:lnTo>
                    <a:lnTo>
                      <a:pt x="192" y="57"/>
                    </a:lnTo>
                    <a:lnTo>
                      <a:pt x="190" y="57"/>
                    </a:lnTo>
                    <a:lnTo>
                      <a:pt x="190" y="59"/>
                    </a:lnTo>
                    <a:lnTo>
                      <a:pt x="188" y="59"/>
                    </a:lnTo>
                    <a:lnTo>
                      <a:pt x="188" y="57"/>
                    </a:lnTo>
                    <a:lnTo>
                      <a:pt x="190" y="57"/>
                    </a:lnTo>
                    <a:lnTo>
                      <a:pt x="192" y="56"/>
                    </a:lnTo>
                    <a:lnTo>
                      <a:pt x="194" y="56"/>
                    </a:lnTo>
                    <a:lnTo>
                      <a:pt x="196" y="56"/>
                    </a:lnTo>
                    <a:lnTo>
                      <a:pt x="197" y="56"/>
                    </a:lnTo>
                    <a:lnTo>
                      <a:pt x="199" y="56"/>
                    </a:lnTo>
                    <a:lnTo>
                      <a:pt x="201" y="56"/>
                    </a:lnTo>
                    <a:lnTo>
                      <a:pt x="205" y="59"/>
                    </a:lnTo>
                    <a:lnTo>
                      <a:pt x="207" y="59"/>
                    </a:lnTo>
                    <a:lnTo>
                      <a:pt x="205" y="59"/>
                    </a:lnTo>
                    <a:close/>
                    <a:moveTo>
                      <a:pt x="226" y="65"/>
                    </a:moveTo>
                    <a:lnTo>
                      <a:pt x="226" y="67"/>
                    </a:lnTo>
                    <a:lnTo>
                      <a:pt x="226" y="65"/>
                    </a:lnTo>
                    <a:lnTo>
                      <a:pt x="226" y="67"/>
                    </a:lnTo>
                    <a:lnTo>
                      <a:pt x="226" y="65"/>
                    </a:lnTo>
                    <a:close/>
                    <a:moveTo>
                      <a:pt x="222" y="65"/>
                    </a:moveTo>
                    <a:lnTo>
                      <a:pt x="222" y="63"/>
                    </a:lnTo>
                    <a:lnTo>
                      <a:pt x="224" y="63"/>
                    </a:lnTo>
                    <a:lnTo>
                      <a:pt x="222" y="65"/>
                    </a:lnTo>
                    <a:close/>
                    <a:moveTo>
                      <a:pt x="230" y="67"/>
                    </a:moveTo>
                    <a:lnTo>
                      <a:pt x="228" y="67"/>
                    </a:lnTo>
                    <a:lnTo>
                      <a:pt x="230" y="67"/>
                    </a:lnTo>
                    <a:close/>
                    <a:moveTo>
                      <a:pt x="226" y="63"/>
                    </a:moveTo>
                    <a:lnTo>
                      <a:pt x="224" y="63"/>
                    </a:lnTo>
                    <a:lnTo>
                      <a:pt x="226" y="63"/>
                    </a:lnTo>
                    <a:close/>
                    <a:moveTo>
                      <a:pt x="161" y="25"/>
                    </a:moveTo>
                    <a:lnTo>
                      <a:pt x="159" y="25"/>
                    </a:lnTo>
                    <a:lnTo>
                      <a:pt x="161" y="25"/>
                    </a:lnTo>
                    <a:close/>
                    <a:moveTo>
                      <a:pt x="338" y="106"/>
                    </a:moveTo>
                    <a:lnTo>
                      <a:pt x="338" y="104"/>
                    </a:lnTo>
                    <a:lnTo>
                      <a:pt x="340" y="104"/>
                    </a:lnTo>
                    <a:lnTo>
                      <a:pt x="340" y="106"/>
                    </a:lnTo>
                    <a:lnTo>
                      <a:pt x="338" y="106"/>
                    </a:lnTo>
                    <a:close/>
                    <a:moveTo>
                      <a:pt x="171" y="29"/>
                    </a:moveTo>
                    <a:lnTo>
                      <a:pt x="169" y="29"/>
                    </a:lnTo>
                    <a:lnTo>
                      <a:pt x="167" y="29"/>
                    </a:lnTo>
                    <a:lnTo>
                      <a:pt x="165" y="27"/>
                    </a:lnTo>
                    <a:lnTo>
                      <a:pt x="167" y="27"/>
                    </a:lnTo>
                    <a:lnTo>
                      <a:pt x="169" y="29"/>
                    </a:lnTo>
                    <a:lnTo>
                      <a:pt x="169" y="27"/>
                    </a:lnTo>
                    <a:lnTo>
                      <a:pt x="169" y="29"/>
                    </a:lnTo>
                    <a:lnTo>
                      <a:pt x="171" y="29"/>
                    </a:lnTo>
                    <a:close/>
                    <a:moveTo>
                      <a:pt x="146" y="13"/>
                    </a:moveTo>
                    <a:lnTo>
                      <a:pt x="146" y="11"/>
                    </a:lnTo>
                    <a:lnTo>
                      <a:pt x="146" y="13"/>
                    </a:lnTo>
                    <a:close/>
                    <a:moveTo>
                      <a:pt x="436" y="138"/>
                    </a:moveTo>
                    <a:lnTo>
                      <a:pt x="436" y="136"/>
                    </a:lnTo>
                    <a:lnTo>
                      <a:pt x="436" y="138"/>
                    </a:lnTo>
                    <a:close/>
                    <a:moveTo>
                      <a:pt x="357" y="107"/>
                    </a:moveTo>
                    <a:lnTo>
                      <a:pt x="359" y="107"/>
                    </a:lnTo>
                    <a:lnTo>
                      <a:pt x="357" y="107"/>
                    </a:lnTo>
                    <a:lnTo>
                      <a:pt x="359" y="107"/>
                    </a:lnTo>
                    <a:lnTo>
                      <a:pt x="357" y="107"/>
                    </a:lnTo>
                    <a:close/>
                    <a:moveTo>
                      <a:pt x="146" y="11"/>
                    </a:moveTo>
                    <a:lnTo>
                      <a:pt x="148" y="11"/>
                    </a:lnTo>
                    <a:lnTo>
                      <a:pt x="146" y="11"/>
                    </a:lnTo>
                    <a:lnTo>
                      <a:pt x="148" y="11"/>
                    </a:lnTo>
                    <a:lnTo>
                      <a:pt x="148" y="13"/>
                    </a:lnTo>
                    <a:lnTo>
                      <a:pt x="146" y="11"/>
                    </a:lnTo>
                    <a:close/>
                    <a:moveTo>
                      <a:pt x="357" y="107"/>
                    </a:moveTo>
                    <a:lnTo>
                      <a:pt x="355" y="107"/>
                    </a:lnTo>
                    <a:lnTo>
                      <a:pt x="353" y="107"/>
                    </a:lnTo>
                    <a:lnTo>
                      <a:pt x="351" y="106"/>
                    </a:lnTo>
                    <a:lnTo>
                      <a:pt x="349" y="104"/>
                    </a:lnTo>
                    <a:lnTo>
                      <a:pt x="347" y="104"/>
                    </a:lnTo>
                    <a:lnTo>
                      <a:pt x="345" y="104"/>
                    </a:lnTo>
                    <a:lnTo>
                      <a:pt x="345" y="106"/>
                    </a:lnTo>
                    <a:lnTo>
                      <a:pt x="343" y="106"/>
                    </a:lnTo>
                    <a:lnTo>
                      <a:pt x="343" y="104"/>
                    </a:lnTo>
                    <a:lnTo>
                      <a:pt x="342" y="104"/>
                    </a:lnTo>
                    <a:lnTo>
                      <a:pt x="343" y="104"/>
                    </a:lnTo>
                    <a:lnTo>
                      <a:pt x="345" y="104"/>
                    </a:lnTo>
                    <a:lnTo>
                      <a:pt x="349" y="104"/>
                    </a:lnTo>
                    <a:lnTo>
                      <a:pt x="355" y="106"/>
                    </a:lnTo>
                    <a:lnTo>
                      <a:pt x="357" y="106"/>
                    </a:lnTo>
                    <a:lnTo>
                      <a:pt x="359" y="106"/>
                    </a:lnTo>
                    <a:lnTo>
                      <a:pt x="357" y="106"/>
                    </a:lnTo>
                    <a:lnTo>
                      <a:pt x="357" y="107"/>
                    </a:lnTo>
                    <a:close/>
                    <a:moveTo>
                      <a:pt x="326" y="92"/>
                    </a:moveTo>
                    <a:lnTo>
                      <a:pt x="328" y="92"/>
                    </a:lnTo>
                    <a:lnTo>
                      <a:pt x="326" y="92"/>
                    </a:lnTo>
                    <a:close/>
                    <a:moveTo>
                      <a:pt x="172" y="21"/>
                    </a:moveTo>
                    <a:lnTo>
                      <a:pt x="171" y="21"/>
                    </a:lnTo>
                    <a:lnTo>
                      <a:pt x="169" y="21"/>
                    </a:lnTo>
                    <a:lnTo>
                      <a:pt x="171" y="21"/>
                    </a:lnTo>
                    <a:lnTo>
                      <a:pt x="172" y="21"/>
                    </a:lnTo>
                    <a:close/>
                    <a:moveTo>
                      <a:pt x="276" y="69"/>
                    </a:moveTo>
                    <a:lnTo>
                      <a:pt x="278" y="69"/>
                    </a:lnTo>
                    <a:lnTo>
                      <a:pt x="278" y="71"/>
                    </a:lnTo>
                    <a:lnTo>
                      <a:pt x="278" y="73"/>
                    </a:lnTo>
                    <a:lnTo>
                      <a:pt x="276" y="71"/>
                    </a:lnTo>
                    <a:lnTo>
                      <a:pt x="276" y="69"/>
                    </a:lnTo>
                    <a:lnTo>
                      <a:pt x="274" y="69"/>
                    </a:lnTo>
                    <a:lnTo>
                      <a:pt x="276" y="69"/>
                    </a:lnTo>
                    <a:lnTo>
                      <a:pt x="274" y="69"/>
                    </a:lnTo>
                    <a:lnTo>
                      <a:pt x="276" y="69"/>
                    </a:lnTo>
                    <a:lnTo>
                      <a:pt x="274" y="69"/>
                    </a:lnTo>
                    <a:lnTo>
                      <a:pt x="276" y="69"/>
                    </a:lnTo>
                    <a:close/>
                    <a:moveTo>
                      <a:pt x="270" y="65"/>
                    </a:moveTo>
                    <a:lnTo>
                      <a:pt x="270" y="67"/>
                    </a:lnTo>
                    <a:lnTo>
                      <a:pt x="270" y="65"/>
                    </a:lnTo>
                    <a:close/>
                    <a:moveTo>
                      <a:pt x="430" y="129"/>
                    </a:moveTo>
                    <a:lnTo>
                      <a:pt x="428" y="129"/>
                    </a:lnTo>
                    <a:lnTo>
                      <a:pt x="430" y="129"/>
                    </a:lnTo>
                    <a:close/>
                    <a:moveTo>
                      <a:pt x="432" y="127"/>
                    </a:moveTo>
                    <a:lnTo>
                      <a:pt x="432" y="129"/>
                    </a:lnTo>
                    <a:lnTo>
                      <a:pt x="432" y="131"/>
                    </a:lnTo>
                    <a:lnTo>
                      <a:pt x="434" y="131"/>
                    </a:lnTo>
                    <a:lnTo>
                      <a:pt x="432" y="131"/>
                    </a:lnTo>
                    <a:lnTo>
                      <a:pt x="434" y="131"/>
                    </a:lnTo>
                    <a:lnTo>
                      <a:pt x="432" y="131"/>
                    </a:lnTo>
                    <a:lnTo>
                      <a:pt x="434" y="131"/>
                    </a:lnTo>
                    <a:lnTo>
                      <a:pt x="432" y="131"/>
                    </a:lnTo>
                    <a:lnTo>
                      <a:pt x="432" y="129"/>
                    </a:lnTo>
                    <a:lnTo>
                      <a:pt x="430" y="129"/>
                    </a:lnTo>
                    <a:lnTo>
                      <a:pt x="430" y="127"/>
                    </a:lnTo>
                    <a:lnTo>
                      <a:pt x="430" y="129"/>
                    </a:lnTo>
                    <a:lnTo>
                      <a:pt x="430" y="127"/>
                    </a:lnTo>
                    <a:lnTo>
                      <a:pt x="430" y="129"/>
                    </a:lnTo>
                    <a:lnTo>
                      <a:pt x="430" y="127"/>
                    </a:lnTo>
                    <a:lnTo>
                      <a:pt x="432" y="127"/>
                    </a:lnTo>
                    <a:close/>
                    <a:moveTo>
                      <a:pt x="432" y="129"/>
                    </a:moveTo>
                    <a:lnTo>
                      <a:pt x="432" y="127"/>
                    </a:lnTo>
                    <a:lnTo>
                      <a:pt x="434" y="127"/>
                    </a:lnTo>
                    <a:lnTo>
                      <a:pt x="432" y="129"/>
                    </a:lnTo>
                    <a:close/>
                    <a:moveTo>
                      <a:pt x="307" y="79"/>
                    </a:moveTo>
                    <a:lnTo>
                      <a:pt x="305" y="79"/>
                    </a:lnTo>
                    <a:lnTo>
                      <a:pt x="305" y="77"/>
                    </a:lnTo>
                    <a:lnTo>
                      <a:pt x="307" y="77"/>
                    </a:lnTo>
                    <a:lnTo>
                      <a:pt x="307" y="79"/>
                    </a:lnTo>
                    <a:close/>
                    <a:moveTo>
                      <a:pt x="182" y="19"/>
                    </a:moveTo>
                    <a:lnTo>
                      <a:pt x="180" y="19"/>
                    </a:lnTo>
                    <a:lnTo>
                      <a:pt x="178" y="19"/>
                    </a:lnTo>
                    <a:lnTo>
                      <a:pt x="180" y="19"/>
                    </a:lnTo>
                    <a:lnTo>
                      <a:pt x="182" y="19"/>
                    </a:lnTo>
                    <a:close/>
                    <a:moveTo>
                      <a:pt x="305" y="75"/>
                    </a:moveTo>
                    <a:lnTo>
                      <a:pt x="307" y="77"/>
                    </a:lnTo>
                    <a:lnTo>
                      <a:pt x="309" y="79"/>
                    </a:lnTo>
                    <a:lnTo>
                      <a:pt x="309" y="81"/>
                    </a:lnTo>
                    <a:lnTo>
                      <a:pt x="309" y="79"/>
                    </a:lnTo>
                    <a:lnTo>
                      <a:pt x="307" y="79"/>
                    </a:lnTo>
                    <a:lnTo>
                      <a:pt x="307" y="77"/>
                    </a:lnTo>
                    <a:lnTo>
                      <a:pt x="305" y="77"/>
                    </a:lnTo>
                    <a:lnTo>
                      <a:pt x="305" y="75"/>
                    </a:lnTo>
                    <a:lnTo>
                      <a:pt x="303" y="75"/>
                    </a:lnTo>
                    <a:lnTo>
                      <a:pt x="305" y="75"/>
                    </a:lnTo>
                    <a:close/>
                    <a:moveTo>
                      <a:pt x="303" y="73"/>
                    </a:moveTo>
                    <a:lnTo>
                      <a:pt x="303" y="75"/>
                    </a:lnTo>
                    <a:lnTo>
                      <a:pt x="301" y="75"/>
                    </a:lnTo>
                    <a:lnTo>
                      <a:pt x="301" y="73"/>
                    </a:lnTo>
                    <a:lnTo>
                      <a:pt x="303" y="73"/>
                    </a:lnTo>
                    <a:close/>
                    <a:moveTo>
                      <a:pt x="295" y="71"/>
                    </a:moveTo>
                    <a:lnTo>
                      <a:pt x="294" y="71"/>
                    </a:lnTo>
                    <a:lnTo>
                      <a:pt x="294" y="69"/>
                    </a:lnTo>
                    <a:lnTo>
                      <a:pt x="295" y="71"/>
                    </a:lnTo>
                    <a:close/>
                    <a:moveTo>
                      <a:pt x="292" y="67"/>
                    </a:moveTo>
                    <a:lnTo>
                      <a:pt x="290" y="67"/>
                    </a:lnTo>
                    <a:lnTo>
                      <a:pt x="292" y="67"/>
                    </a:lnTo>
                    <a:close/>
                    <a:moveTo>
                      <a:pt x="286" y="65"/>
                    </a:moveTo>
                    <a:lnTo>
                      <a:pt x="284" y="65"/>
                    </a:lnTo>
                    <a:lnTo>
                      <a:pt x="286" y="65"/>
                    </a:lnTo>
                    <a:close/>
                    <a:moveTo>
                      <a:pt x="188" y="19"/>
                    </a:moveTo>
                    <a:lnTo>
                      <a:pt x="186" y="19"/>
                    </a:lnTo>
                    <a:lnTo>
                      <a:pt x="184" y="19"/>
                    </a:lnTo>
                    <a:lnTo>
                      <a:pt x="186" y="19"/>
                    </a:lnTo>
                    <a:lnTo>
                      <a:pt x="188" y="19"/>
                    </a:lnTo>
                    <a:close/>
                    <a:moveTo>
                      <a:pt x="184" y="17"/>
                    </a:moveTo>
                    <a:lnTo>
                      <a:pt x="184" y="15"/>
                    </a:lnTo>
                    <a:lnTo>
                      <a:pt x="184" y="17"/>
                    </a:lnTo>
                    <a:close/>
                    <a:moveTo>
                      <a:pt x="192" y="19"/>
                    </a:moveTo>
                    <a:lnTo>
                      <a:pt x="192" y="21"/>
                    </a:lnTo>
                    <a:lnTo>
                      <a:pt x="192" y="19"/>
                    </a:lnTo>
                    <a:lnTo>
                      <a:pt x="192" y="21"/>
                    </a:lnTo>
                    <a:lnTo>
                      <a:pt x="192" y="19"/>
                    </a:lnTo>
                    <a:close/>
                    <a:moveTo>
                      <a:pt x="290" y="65"/>
                    </a:moveTo>
                    <a:lnTo>
                      <a:pt x="288" y="67"/>
                    </a:lnTo>
                    <a:lnTo>
                      <a:pt x="288" y="65"/>
                    </a:lnTo>
                    <a:lnTo>
                      <a:pt x="286" y="65"/>
                    </a:lnTo>
                    <a:lnTo>
                      <a:pt x="288" y="65"/>
                    </a:lnTo>
                    <a:lnTo>
                      <a:pt x="288" y="63"/>
                    </a:lnTo>
                    <a:lnTo>
                      <a:pt x="290" y="65"/>
                    </a:lnTo>
                    <a:close/>
                    <a:moveTo>
                      <a:pt x="188" y="17"/>
                    </a:moveTo>
                    <a:lnTo>
                      <a:pt x="186" y="17"/>
                    </a:lnTo>
                    <a:lnTo>
                      <a:pt x="188" y="17"/>
                    </a:lnTo>
                    <a:close/>
                    <a:moveTo>
                      <a:pt x="186" y="15"/>
                    </a:moveTo>
                    <a:lnTo>
                      <a:pt x="186" y="17"/>
                    </a:lnTo>
                    <a:lnTo>
                      <a:pt x="186" y="15"/>
                    </a:lnTo>
                    <a:lnTo>
                      <a:pt x="186" y="17"/>
                    </a:lnTo>
                    <a:lnTo>
                      <a:pt x="186" y="15"/>
                    </a:lnTo>
                    <a:close/>
                    <a:moveTo>
                      <a:pt x="188" y="15"/>
                    </a:moveTo>
                    <a:lnTo>
                      <a:pt x="188" y="17"/>
                    </a:lnTo>
                    <a:lnTo>
                      <a:pt x="188" y="15"/>
                    </a:lnTo>
                    <a:lnTo>
                      <a:pt x="188" y="17"/>
                    </a:lnTo>
                    <a:lnTo>
                      <a:pt x="188" y="15"/>
                    </a:lnTo>
                    <a:close/>
                    <a:moveTo>
                      <a:pt x="188" y="13"/>
                    </a:moveTo>
                    <a:lnTo>
                      <a:pt x="188" y="15"/>
                    </a:lnTo>
                    <a:lnTo>
                      <a:pt x="190" y="13"/>
                    </a:lnTo>
                    <a:lnTo>
                      <a:pt x="188" y="15"/>
                    </a:lnTo>
                    <a:lnTo>
                      <a:pt x="188" y="13"/>
                    </a:lnTo>
                    <a:close/>
                    <a:moveTo>
                      <a:pt x="399" y="106"/>
                    </a:moveTo>
                    <a:lnTo>
                      <a:pt x="399" y="104"/>
                    </a:lnTo>
                    <a:lnTo>
                      <a:pt x="399" y="106"/>
                    </a:lnTo>
                    <a:close/>
                    <a:moveTo>
                      <a:pt x="190" y="13"/>
                    </a:moveTo>
                    <a:lnTo>
                      <a:pt x="188" y="13"/>
                    </a:lnTo>
                    <a:lnTo>
                      <a:pt x="190" y="13"/>
                    </a:lnTo>
                    <a:close/>
                    <a:moveTo>
                      <a:pt x="397" y="104"/>
                    </a:moveTo>
                    <a:lnTo>
                      <a:pt x="397" y="106"/>
                    </a:lnTo>
                    <a:lnTo>
                      <a:pt x="397" y="104"/>
                    </a:lnTo>
                    <a:lnTo>
                      <a:pt x="397" y="106"/>
                    </a:lnTo>
                    <a:lnTo>
                      <a:pt x="399" y="106"/>
                    </a:lnTo>
                    <a:lnTo>
                      <a:pt x="397" y="106"/>
                    </a:lnTo>
                    <a:lnTo>
                      <a:pt x="397" y="104"/>
                    </a:lnTo>
                    <a:close/>
                    <a:moveTo>
                      <a:pt x="518" y="144"/>
                    </a:moveTo>
                    <a:lnTo>
                      <a:pt x="516" y="144"/>
                    </a:lnTo>
                    <a:lnTo>
                      <a:pt x="518" y="144"/>
                    </a:lnTo>
                    <a:close/>
                    <a:moveTo>
                      <a:pt x="522" y="142"/>
                    </a:moveTo>
                    <a:lnTo>
                      <a:pt x="520" y="142"/>
                    </a:lnTo>
                    <a:lnTo>
                      <a:pt x="522" y="142"/>
                    </a:lnTo>
                    <a:lnTo>
                      <a:pt x="522" y="140"/>
                    </a:lnTo>
                    <a:lnTo>
                      <a:pt x="522" y="142"/>
                    </a:lnTo>
                    <a:close/>
                    <a:moveTo>
                      <a:pt x="430" y="109"/>
                    </a:moveTo>
                    <a:lnTo>
                      <a:pt x="432" y="109"/>
                    </a:lnTo>
                    <a:lnTo>
                      <a:pt x="430" y="109"/>
                    </a:lnTo>
                    <a:close/>
                    <a:moveTo>
                      <a:pt x="522" y="140"/>
                    </a:moveTo>
                    <a:lnTo>
                      <a:pt x="520" y="140"/>
                    </a:lnTo>
                    <a:lnTo>
                      <a:pt x="520" y="142"/>
                    </a:lnTo>
                    <a:lnTo>
                      <a:pt x="518" y="142"/>
                    </a:lnTo>
                    <a:lnTo>
                      <a:pt x="518" y="140"/>
                    </a:lnTo>
                    <a:lnTo>
                      <a:pt x="520" y="140"/>
                    </a:lnTo>
                    <a:lnTo>
                      <a:pt x="522" y="140"/>
                    </a:lnTo>
                    <a:close/>
                    <a:moveTo>
                      <a:pt x="397" y="100"/>
                    </a:moveTo>
                    <a:lnTo>
                      <a:pt x="395" y="100"/>
                    </a:lnTo>
                    <a:lnTo>
                      <a:pt x="395" y="98"/>
                    </a:lnTo>
                    <a:lnTo>
                      <a:pt x="397" y="98"/>
                    </a:lnTo>
                    <a:lnTo>
                      <a:pt x="397" y="96"/>
                    </a:lnTo>
                    <a:lnTo>
                      <a:pt x="397" y="98"/>
                    </a:lnTo>
                    <a:lnTo>
                      <a:pt x="397" y="100"/>
                    </a:lnTo>
                    <a:close/>
                    <a:moveTo>
                      <a:pt x="393" y="86"/>
                    </a:moveTo>
                    <a:lnTo>
                      <a:pt x="395" y="88"/>
                    </a:lnTo>
                    <a:lnTo>
                      <a:pt x="395" y="90"/>
                    </a:lnTo>
                    <a:lnTo>
                      <a:pt x="397" y="90"/>
                    </a:lnTo>
                    <a:lnTo>
                      <a:pt x="397" y="92"/>
                    </a:lnTo>
                    <a:lnTo>
                      <a:pt x="397" y="94"/>
                    </a:lnTo>
                    <a:lnTo>
                      <a:pt x="397" y="96"/>
                    </a:lnTo>
                    <a:lnTo>
                      <a:pt x="395" y="98"/>
                    </a:lnTo>
                    <a:lnTo>
                      <a:pt x="395" y="100"/>
                    </a:lnTo>
                    <a:lnTo>
                      <a:pt x="395" y="98"/>
                    </a:lnTo>
                    <a:lnTo>
                      <a:pt x="395" y="96"/>
                    </a:lnTo>
                    <a:lnTo>
                      <a:pt x="395" y="94"/>
                    </a:lnTo>
                    <a:lnTo>
                      <a:pt x="395" y="92"/>
                    </a:lnTo>
                    <a:lnTo>
                      <a:pt x="395" y="90"/>
                    </a:lnTo>
                    <a:lnTo>
                      <a:pt x="393" y="90"/>
                    </a:lnTo>
                    <a:lnTo>
                      <a:pt x="393" y="88"/>
                    </a:lnTo>
                    <a:lnTo>
                      <a:pt x="391" y="88"/>
                    </a:lnTo>
                    <a:lnTo>
                      <a:pt x="391" y="86"/>
                    </a:lnTo>
                    <a:lnTo>
                      <a:pt x="390" y="86"/>
                    </a:lnTo>
                    <a:lnTo>
                      <a:pt x="390" y="84"/>
                    </a:lnTo>
                    <a:lnTo>
                      <a:pt x="390" y="82"/>
                    </a:lnTo>
                    <a:lnTo>
                      <a:pt x="388" y="82"/>
                    </a:lnTo>
                    <a:lnTo>
                      <a:pt x="390" y="82"/>
                    </a:lnTo>
                    <a:lnTo>
                      <a:pt x="388" y="82"/>
                    </a:lnTo>
                    <a:lnTo>
                      <a:pt x="388" y="81"/>
                    </a:lnTo>
                    <a:lnTo>
                      <a:pt x="390" y="81"/>
                    </a:lnTo>
                    <a:lnTo>
                      <a:pt x="390" y="82"/>
                    </a:lnTo>
                    <a:lnTo>
                      <a:pt x="391" y="84"/>
                    </a:lnTo>
                    <a:lnTo>
                      <a:pt x="393" y="86"/>
                    </a:lnTo>
                    <a:close/>
                    <a:moveTo>
                      <a:pt x="388" y="73"/>
                    </a:moveTo>
                    <a:lnTo>
                      <a:pt x="388" y="75"/>
                    </a:lnTo>
                    <a:lnTo>
                      <a:pt x="386" y="75"/>
                    </a:lnTo>
                    <a:lnTo>
                      <a:pt x="386" y="73"/>
                    </a:lnTo>
                    <a:lnTo>
                      <a:pt x="388" y="73"/>
                    </a:lnTo>
                    <a:close/>
                    <a:moveTo>
                      <a:pt x="440" y="84"/>
                    </a:moveTo>
                    <a:lnTo>
                      <a:pt x="440" y="82"/>
                    </a:lnTo>
                    <a:lnTo>
                      <a:pt x="440" y="84"/>
                    </a:lnTo>
                    <a:close/>
                    <a:moveTo>
                      <a:pt x="438" y="81"/>
                    </a:moveTo>
                    <a:lnTo>
                      <a:pt x="440" y="81"/>
                    </a:lnTo>
                    <a:lnTo>
                      <a:pt x="440" y="82"/>
                    </a:lnTo>
                    <a:lnTo>
                      <a:pt x="438" y="82"/>
                    </a:lnTo>
                    <a:lnTo>
                      <a:pt x="438" y="81"/>
                    </a:lnTo>
                    <a:close/>
                    <a:moveTo>
                      <a:pt x="491" y="98"/>
                    </a:moveTo>
                    <a:lnTo>
                      <a:pt x="489" y="98"/>
                    </a:lnTo>
                    <a:lnTo>
                      <a:pt x="491" y="98"/>
                    </a:lnTo>
                    <a:close/>
                    <a:moveTo>
                      <a:pt x="491" y="98"/>
                    </a:moveTo>
                    <a:lnTo>
                      <a:pt x="489" y="98"/>
                    </a:lnTo>
                    <a:lnTo>
                      <a:pt x="491" y="98"/>
                    </a:lnTo>
                    <a:close/>
                    <a:moveTo>
                      <a:pt x="428" y="77"/>
                    </a:moveTo>
                    <a:lnTo>
                      <a:pt x="428" y="75"/>
                    </a:lnTo>
                    <a:lnTo>
                      <a:pt x="428" y="77"/>
                    </a:lnTo>
                    <a:close/>
                    <a:moveTo>
                      <a:pt x="415" y="61"/>
                    </a:moveTo>
                    <a:lnTo>
                      <a:pt x="413" y="61"/>
                    </a:lnTo>
                    <a:lnTo>
                      <a:pt x="415" y="61"/>
                    </a:lnTo>
                    <a:close/>
                    <a:moveTo>
                      <a:pt x="415" y="61"/>
                    </a:moveTo>
                    <a:lnTo>
                      <a:pt x="416" y="61"/>
                    </a:lnTo>
                    <a:lnTo>
                      <a:pt x="415" y="61"/>
                    </a:lnTo>
                    <a:close/>
                    <a:moveTo>
                      <a:pt x="455" y="75"/>
                    </a:moveTo>
                    <a:lnTo>
                      <a:pt x="455" y="77"/>
                    </a:lnTo>
                    <a:lnTo>
                      <a:pt x="455" y="75"/>
                    </a:lnTo>
                    <a:lnTo>
                      <a:pt x="453" y="75"/>
                    </a:lnTo>
                    <a:lnTo>
                      <a:pt x="455" y="75"/>
                    </a:lnTo>
                    <a:close/>
                    <a:moveTo>
                      <a:pt x="416" y="59"/>
                    </a:moveTo>
                    <a:lnTo>
                      <a:pt x="416" y="61"/>
                    </a:lnTo>
                    <a:lnTo>
                      <a:pt x="415" y="61"/>
                    </a:lnTo>
                    <a:lnTo>
                      <a:pt x="415" y="59"/>
                    </a:lnTo>
                    <a:lnTo>
                      <a:pt x="415" y="61"/>
                    </a:lnTo>
                    <a:lnTo>
                      <a:pt x="415" y="59"/>
                    </a:lnTo>
                    <a:lnTo>
                      <a:pt x="416" y="59"/>
                    </a:lnTo>
                    <a:close/>
                    <a:moveTo>
                      <a:pt x="401" y="34"/>
                    </a:moveTo>
                    <a:lnTo>
                      <a:pt x="399" y="34"/>
                    </a:lnTo>
                    <a:lnTo>
                      <a:pt x="401" y="34"/>
                    </a:lnTo>
                    <a:lnTo>
                      <a:pt x="401" y="32"/>
                    </a:lnTo>
                    <a:lnTo>
                      <a:pt x="401" y="34"/>
                    </a:lnTo>
                    <a:close/>
                    <a:moveTo>
                      <a:pt x="403" y="25"/>
                    </a:moveTo>
                    <a:lnTo>
                      <a:pt x="403" y="23"/>
                    </a:lnTo>
                    <a:lnTo>
                      <a:pt x="403" y="25"/>
                    </a:lnTo>
                    <a:close/>
                    <a:moveTo>
                      <a:pt x="411" y="21"/>
                    </a:moveTo>
                    <a:lnTo>
                      <a:pt x="411" y="23"/>
                    </a:lnTo>
                    <a:lnTo>
                      <a:pt x="411" y="21"/>
                    </a:lnTo>
                    <a:lnTo>
                      <a:pt x="411" y="23"/>
                    </a:lnTo>
                    <a:lnTo>
                      <a:pt x="411" y="2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Freeform 72">
                <a:extLst>
                  <a:ext uri="{FF2B5EF4-FFF2-40B4-BE49-F238E27FC236}">
                    <a16:creationId xmlns="" xmlns:a16="http://schemas.microsoft.com/office/drawing/2014/main" id="{DDD116CB-7C2A-41AA-BCBD-3135144D04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79725" y="2557463"/>
                <a:ext cx="835025" cy="231775"/>
              </a:xfrm>
              <a:custGeom>
                <a:avLst/>
                <a:gdLst>
                  <a:gd name="T0" fmla="*/ 3 w 526"/>
                  <a:gd name="T1" fmla="*/ 67 h 146"/>
                  <a:gd name="T2" fmla="*/ 7 w 526"/>
                  <a:gd name="T3" fmla="*/ 63 h 146"/>
                  <a:gd name="T4" fmla="*/ 182 w 526"/>
                  <a:gd name="T5" fmla="*/ 131 h 146"/>
                  <a:gd name="T6" fmla="*/ 184 w 526"/>
                  <a:gd name="T7" fmla="*/ 127 h 146"/>
                  <a:gd name="T8" fmla="*/ 98 w 526"/>
                  <a:gd name="T9" fmla="*/ 79 h 146"/>
                  <a:gd name="T10" fmla="*/ 186 w 526"/>
                  <a:gd name="T11" fmla="*/ 121 h 146"/>
                  <a:gd name="T12" fmla="*/ 211 w 526"/>
                  <a:gd name="T13" fmla="*/ 123 h 146"/>
                  <a:gd name="T14" fmla="*/ 25 w 526"/>
                  <a:gd name="T15" fmla="*/ 17 h 146"/>
                  <a:gd name="T16" fmla="*/ 232 w 526"/>
                  <a:gd name="T17" fmla="*/ 109 h 146"/>
                  <a:gd name="T18" fmla="*/ 36 w 526"/>
                  <a:gd name="T19" fmla="*/ 0 h 146"/>
                  <a:gd name="T20" fmla="*/ 322 w 526"/>
                  <a:gd name="T21" fmla="*/ 131 h 146"/>
                  <a:gd name="T22" fmla="*/ 94 w 526"/>
                  <a:gd name="T23" fmla="*/ 23 h 146"/>
                  <a:gd name="T24" fmla="*/ 251 w 526"/>
                  <a:gd name="T25" fmla="*/ 94 h 146"/>
                  <a:gd name="T26" fmla="*/ 261 w 526"/>
                  <a:gd name="T27" fmla="*/ 98 h 146"/>
                  <a:gd name="T28" fmla="*/ 263 w 526"/>
                  <a:gd name="T29" fmla="*/ 96 h 146"/>
                  <a:gd name="T30" fmla="*/ 393 w 526"/>
                  <a:gd name="T31" fmla="*/ 146 h 146"/>
                  <a:gd name="T32" fmla="*/ 192 w 526"/>
                  <a:gd name="T33" fmla="*/ 59 h 146"/>
                  <a:gd name="T34" fmla="*/ 194 w 526"/>
                  <a:gd name="T35" fmla="*/ 59 h 146"/>
                  <a:gd name="T36" fmla="*/ 378 w 526"/>
                  <a:gd name="T37" fmla="*/ 136 h 146"/>
                  <a:gd name="T38" fmla="*/ 207 w 526"/>
                  <a:gd name="T39" fmla="*/ 61 h 146"/>
                  <a:gd name="T40" fmla="*/ 292 w 526"/>
                  <a:gd name="T41" fmla="*/ 96 h 146"/>
                  <a:gd name="T42" fmla="*/ 340 w 526"/>
                  <a:gd name="T43" fmla="*/ 113 h 146"/>
                  <a:gd name="T44" fmla="*/ 224 w 526"/>
                  <a:gd name="T45" fmla="*/ 65 h 146"/>
                  <a:gd name="T46" fmla="*/ 230 w 526"/>
                  <a:gd name="T47" fmla="*/ 67 h 146"/>
                  <a:gd name="T48" fmla="*/ 228 w 526"/>
                  <a:gd name="T49" fmla="*/ 65 h 146"/>
                  <a:gd name="T50" fmla="*/ 330 w 526"/>
                  <a:gd name="T51" fmla="*/ 107 h 146"/>
                  <a:gd name="T52" fmla="*/ 328 w 526"/>
                  <a:gd name="T53" fmla="*/ 107 h 146"/>
                  <a:gd name="T54" fmla="*/ 380 w 526"/>
                  <a:gd name="T55" fmla="*/ 127 h 146"/>
                  <a:gd name="T56" fmla="*/ 330 w 526"/>
                  <a:gd name="T57" fmla="*/ 106 h 146"/>
                  <a:gd name="T58" fmla="*/ 382 w 526"/>
                  <a:gd name="T59" fmla="*/ 127 h 146"/>
                  <a:gd name="T60" fmla="*/ 345 w 526"/>
                  <a:gd name="T61" fmla="*/ 111 h 146"/>
                  <a:gd name="T62" fmla="*/ 384 w 526"/>
                  <a:gd name="T63" fmla="*/ 127 h 146"/>
                  <a:gd name="T64" fmla="*/ 386 w 526"/>
                  <a:gd name="T65" fmla="*/ 127 h 146"/>
                  <a:gd name="T66" fmla="*/ 249 w 526"/>
                  <a:gd name="T67" fmla="*/ 67 h 146"/>
                  <a:gd name="T68" fmla="*/ 393 w 526"/>
                  <a:gd name="T69" fmla="*/ 125 h 146"/>
                  <a:gd name="T70" fmla="*/ 247 w 526"/>
                  <a:gd name="T71" fmla="*/ 63 h 146"/>
                  <a:gd name="T72" fmla="*/ 251 w 526"/>
                  <a:gd name="T73" fmla="*/ 63 h 146"/>
                  <a:gd name="T74" fmla="*/ 148 w 526"/>
                  <a:gd name="T75" fmla="*/ 9 h 146"/>
                  <a:gd name="T76" fmla="*/ 424 w 526"/>
                  <a:gd name="T77" fmla="*/ 131 h 146"/>
                  <a:gd name="T78" fmla="*/ 280 w 526"/>
                  <a:gd name="T79" fmla="*/ 71 h 146"/>
                  <a:gd name="T80" fmla="*/ 272 w 526"/>
                  <a:gd name="T81" fmla="*/ 63 h 146"/>
                  <a:gd name="T82" fmla="*/ 271 w 526"/>
                  <a:gd name="T83" fmla="*/ 61 h 146"/>
                  <a:gd name="T84" fmla="*/ 401 w 526"/>
                  <a:gd name="T85" fmla="*/ 115 h 146"/>
                  <a:gd name="T86" fmla="*/ 393 w 526"/>
                  <a:gd name="T87" fmla="*/ 113 h 146"/>
                  <a:gd name="T88" fmla="*/ 395 w 526"/>
                  <a:gd name="T89" fmla="*/ 111 h 146"/>
                  <a:gd name="T90" fmla="*/ 186 w 526"/>
                  <a:gd name="T91" fmla="*/ 15 h 146"/>
                  <a:gd name="T92" fmla="*/ 190 w 526"/>
                  <a:gd name="T93" fmla="*/ 19 h 146"/>
                  <a:gd name="T94" fmla="*/ 190 w 526"/>
                  <a:gd name="T95" fmla="*/ 17 h 146"/>
                  <a:gd name="T96" fmla="*/ 190 w 526"/>
                  <a:gd name="T97" fmla="*/ 17 h 146"/>
                  <a:gd name="T98" fmla="*/ 190 w 526"/>
                  <a:gd name="T99" fmla="*/ 15 h 146"/>
                  <a:gd name="T100" fmla="*/ 190 w 526"/>
                  <a:gd name="T101" fmla="*/ 13 h 146"/>
                  <a:gd name="T102" fmla="*/ 516 w 526"/>
                  <a:gd name="T103" fmla="*/ 146 h 146"/>
                  <a:gd name="T104" fmla="*/ 399 w 526"/>
                  <a:gd name="T105" fmla="*/ 104 h 146"/>
                  <a:gd name="T106" fmla="*/ 526 w 526"/>
                  <a:gd name="T107" fmla="*/ 142 h 146"/>
                  <a:gd name="T108" fmla="*/ 442 w 526"/>
                  <a:gd name="T109" fmla="*/ 82 h 146"/>
                  <a:gd name="T110" fmla="*/ 415 w 526"/>
                  <a:gd name="T111" fmla="*/ 59 h 146"/>
                  <a:gd name="T112" fmla="*/ 399 w 526"/>
                  <a:gd name="T113" fmla="*/ 32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26" h="146">
                    <a:moveTo>
                      <a:pt x="2" y="77"/>
                    </a:moveTo>
                    <a:lnTo>
                      <a:pt x="0" y="77"/>
                    </a:lnTo>
                    <a:lnTo>
                      <a:pt x="2" y="77"/>
                    </a:lnTo>
                    <a:close/>
                    <a:moveTo>
                      <a:pt x="36" y="90"/>
                    </a:moveTo>
                    <a:lnTo>
                      <a:pt x="36" y="88"/>
                    </a:lnTo>
                    <a:lnTo>
                      <a:pt x="36" y="90"/>
                    </a:lnTo>
                    <a:close/>
                    <a:moveTo>
                      <a:pt x="78" y="107"/>
                    </a:moveTo>
                    <a:lnTo>
                      <a:pt x="77" y="107"/>
                    </a:lnTo>
                    <a:lnTo>
                      <a:pt x="78" y="107"/>
                    </a:lnTo>
                    <a:close/>
                    <a:moveTo>
                      <a:pt x="3" y="67"/>
                    </a:moveTo>
                    <a:lnTo>
                      <a:pt x="3" y="69"/>
                    </a:lnTo>
                    <a:lnTo>
                      <a:pt x="3" y="67"/>
                    </a:lnTo>
                    <a:lnTo>
                      <a:pt x="3" y="69"/>
                    </a:lnTo>
                    <a:lnTo>
                      <a:pt x="3" y="67"/>
                    </a:lnTo>
                    <a:close/>
                    <a:moveTo>
                      <a:pt x="77" y="106"/>
                    </a:moveTo>
                    <a:lnTo>
                      <a:pt x="77" y="104"/>
                    </a:lnTo>
                    <a:lnTo>
                      <a:pt x="77" y="106"/>
                    </a:lnTo>
                    <a:close/>
                    <a:moveTo>
                      <a:pt x="7" y="63"/>
                    </a:moveTo>
                    <a:lnTo>
                      <a:pt x="7" y="65"/>
                    </a:lnTo>
                    <a:lnTo>
                      <a:pt x="7" y="63"/>
                    </a:lnTo>
                    <a:close/>
                    <a:moveTo>
                      <a:pt x="180" y="131"/>
                    </a:moveTo>
                    <a:lnTo>
                      <a:pt x="180" y="132"/>
                    </a:lnTo>
                    <a:lnTo>
                      <a:pt x="180" y="131"/>
                    </a:lnTo>
                    <a:close/>
                    <a:moveTo>
                      <a:pt x="182" y="131"/>
                    </a:moveTo>
                    <a:lnTo>
                      <a:pt x="182" y="132"/>
                    </a:lnTo>
                    <a:lnTo>
                      <a:pt x="182" y="131"/>
                    </a:lnTo>
                    <a:close/>
                    <a:moveTo>
                      <a:pt x="182" y="132"/>
                    </a:moveTo>
                    <a:lnTo>
                      <a:pt x="182" y="131"/>
                    </a:lnTo>
                    <a:lnTo>
                      <a:pt x="182" y="132"/>
                    </a:lnTo>
                    <a:close/>
                    <a:moveTo>
                      <a:pt x="182" y="131"/>
                    </a:moveTo>
                    <a:lnTo>
                      <a:pt x="182" y="132"/>
                    </a:lnTo>
                    <a:lnTo>
                      <a:pt x="182" y="131"/>
                    </a:lnTo>
                    <a:close/>
                    <a:moveTo>
                      <a:pt x="184" y="132"/>
                    </a:moveTo>
                    <a:lnTo>
                      <a:pt x="182" y="132"/>
                    </a:lnTo>
                    <a:lnTo>
                      <a:pt x="184" y="132"/>
                    </a:lnTo>
                    <a:close/>
                    <a:moveTo>
                      <a:pt x="182" y="127"/>
                    </a:moveTo>
                    <a:lnTo>
                      <a:pt x="180" y="127"/>
                    </a:lnTo>
                    <a:lnTo>
                      <a:pt x="182" y="127"/>
                    </a:lnTo>
                    <a:close/>
                    <a:moveTo>
                      <a:pt x="186" y="127"/>
                    </a:moveTo>
                    <a:lnTo>
                      <a:pt x="184" y="127"/>
                    </a:lnTo>
                    <a:lnTo>
                      <a:pt x="186" y="127"/>
                    </a:lnTo>
                    <a:close/>
                    <a:moveTo>
                      <a:pt x="184" y="127"/>
                    </a:moveTo>
                    <a:lnTo>
                      <a:pt x="186" y="127"/>
                    </a:lnTo>
                    <a:lnTo>
                      <a:pt x="184" y="127"/>
                    </a:lnTo>
                    <a:close/>
                    <a:moveTo>
                      <a:pt x="184" y="125"/>
                    </a:moveTo>
                    <a:lnTo>
                      <a:pt x="182" y="125"/>
                    </a:lnTo>
                    <a:lnTo>
                      <a:pt x="184" y="125"/>
                    </a:lnTo>
                    <a:close/>
                    <a:moveTo>
                      <a:pt x="98" y="79"/>
                    </a:moveTo>
                    <a:lnTo>
                      <a:pt x="96" y="79"/>
                    </a:lnTo>
                    <a:lnTo>
                      <a:pt x="98" y="79"/>
                    </a:lnTo>
                    <a:close/>
                    <a:moveTo>
                      <a:pt x="184" y="123"/>
                    </a:moveTo>
                    <a:lnTo>
                      <a:pt x="186" y="123"/>
                    </a:lnTo>
                    <a:lnTo>
                      <a:pt x="184" y="123"/>
                    </a:lnTo>
                    <a:close/>
                    <a:moveTo>
                      <a:pt x="184" y="123"/>
                    </a:moveTo>
                    <a:lnTo>
                      <a:pt x="184" y="121"/>
                    </a:lnTo>
                    <a:lnTo>
                      <a:pt x="184" y="123"/>
                    </a:lnTo>
                    <a:close/>
                    <a:moveTo>
                      <a:pt x="196" y="127"/>
                    </a:moveTo>
                    <a:lnTo>
                      <a:pt x="196" y="129"/>
                    </a:lnTo>
                    <a:lnTo>
                      <a:pt x="196" y="127"/>
                    </a:lnTo>
                    <a:close/>
                    <a:moveTo>
                      <a:pt x="186" y="121"/>
                    </a:moveTo>
                    <a:lnTo>
                      <a:pt x="184" y="121"/>
                    </a:lnTo>
                    <a:lnTo>
                      <a:pt x="186" y="121"/>
                    </a:lnTo>
                    <a:close/>
                    <a:moveTo>
                      <a:pt x="188" y="123"/>
                    </a:moveTo>
                    <a:lnTo>
                      <a:pt x="186" y="123"/>
                    </a:lnTo>
                    <a:lnTo>
                      <a:pt x="188" y="123"/>
                    </a:lnTo>
                    <a:close/>
                    <a:moveTo>
                      <a:pt x="188" y="121"/>
                    </a:moveTo>
                    <a:lnTo>
                      <a:pt x="188" y="123"/>
                    </a:lnTo>
                    <a:lnTo>
                      <a:pt x="188" y="121"/>
                    </a:lnTo>
                    <a:close/>
                    <a:moveTo>
                      <a:pt x="209" y="125"/>
                    </a:moveTo>
                    <a:lnTo>
                      <a:pt x="211" y="123"/>
                    </a:lnTo>
                    <a:lnTo>
                      <a:pt x="211" y="125"/>
                    </a:lnTo>
                    <a:lnTo>
                      <a:pt x="209" y="125"/>
                    </a:lnTo>
                    <a:close/>
                    <a:moveTo>
                      <a:pt x="196" y="115"/>
                    </a:moveTo>
                    <a:lnTo>
                      <a:pt x="196" y="117"/>
                    </a:lnTo>
                    <a:lnTo>
                      <a:pt x="196" y="115"/>
                    </a:lnTo>
                    <a:close/>
                    <a:moveTo>
                      <a:pt x="130" y="84"/>
                    </a:moveTo>
                    <a:lnTo>
                      <a:pt x="130" y="82"/>
                    </a:lnTo>
                    <a:lnTo>
                      <a:pt x="130" y="84"/>
                    </a:lnTo>
                    <a:close/>
                    <a:moveTo>
                      <a:pt x="25" y="19"/>
                    </a:moveTo>
                    <a:lnTo>
                      <a:pt x="25" y="17"/>
                    </a:lnTo>
                    <a:lnTo>
                      <a:pt x="25" y="19"/>
                    </a:lnTo>
                    <a:close/>
                    <a:moveTo>
                      <a:pt x="32" y="7"/>
                    </a:moveTo>
                    <a:lnTo>
                      <a:pt x="30" y="7"/>
                    </a:lnTo>
                    <a:lnTo>
                      <a:pt x="32" y="7"/>
                    </a:lnTo>
                    <a:close/>
                    <a:moveTo>
                      <a:pt x="34" y="7"/>
                    </a:moveTo>
                    <a:lnTo>
                      <a:pt x="32" y="7"/>
                    </a:lnTo>
                    <a:lnTo>
                      <a:pt x="34" y="7"/>
                    </a:lnTo>
                    <a:close/>
                    <a:moveTo>
                      <a:pt x="232" y="109"/>
                    </a:moveTo>
                    <a:lnTo>
                      <a:pt x="234" y="109"/>
                    </a:lnTo>
                    <a:lnTo>
                      <a:pt x="232" y="109"/>
                    </a:lnTo>
                    <a:close/>
                    <a:moveTo>
                      <a:pt x="32" y="7"/>
                    </a:moveTo>
                    <a:lnTo>
                      <a:pt x="34" y="7"/>
                    </a:lnTo>
                    <a:lnTo>
                      <a:pt x="32" y="7"/>
                    </a:lnTo>
                    <a:close/>
                    <a:moveTo>
                      <a:pt x="32" y="4"/>
                    </a:moveTo>
                    <a:lnTo>
                      <a:pt x="34" y="4"/>
                    </a:lnTo>
                    <a:lnTo>
                      <a:pt x="32" y="4"/>
                    </a:lnTo>
                    <a:close/>
                    <a:moveTo>
                      <a:pt x="36" y="0"/>
                    </a:moveTo>
                    <a:lnTo>
                      <a:pt x="34" y="2"/>
                    </a:lnTo>
                    <a:lnTo>
                      <a:pt x="34" y="0"/>
                    </a:lnTo>
                    <a:lnTo>
                      <a:pt x="36" y="0"/>
                    </a:lnTo>
                    <a:close/>
                    <a:moveTo>
                      <a:pt x="36" y="0"/>
                    </a:moveTo>
                    <a:lnTo>
                      <a:pt x="34" y="0"/>
                    </a:lnTo>
                    <a:lnTo>
                      <a:pt x="36" y="0"/>
                    </a:lnTo>
                    <a:close/>
                    <a:moveTo>
                      <a:pt x="165" y="67"/>
                    </a:moveTo>
                    <a:lnTo>
                      <a:pt x="165" y="65"/>
                    </a:lnTo>
                    <a:lnTo>
                      <a:pt x="165" y="67"/>
                    </a:lnTo>
                    <a:close/>
                    <a:moveTo>
                      <a:pt x="92" y="27"/>
                    </a:moveTo>
                    <a:lnTo>
                      <a:pt x="92" y="29"/>
                    </a:lnTo>
                    <a:lnTo>
                      <a:pt x="92" y="27"/>
                    </a:lnTo>
                    <a:close/>
                    <a:moveTo>
                      <a:pt x="322" y="131"/>
                    </a:moveTo>
                    <a:lnTo>
                      <a:pt x="320" y="131"/>
                    </a:lnTo>
                    <a:lnTo>
                      <a:pt x="322" y="131"/>
                    </a:lnTo>
                    <a:close/>
                    <a:moveTo>
                      <a:pt x="94" y="23"/>
                    </a:moveTo>
                    <a:lnTo>
                      <a:pt x="92" y="23"/>
                    </a:lnTo>
                    <a:lnTo>
                      <a:pt x="94" y="23"/>
                    </a:lnTo>
                    <a:close/>
                    <a:moveTo>
                      <a:pt x="94" y="23"/>
                    </a:moveTo>
                    <a:lnTo>
                      <a:pt x="92" y="23"/>
                    </a:lnTo>
                    <a:lnTo>
                      <a:pt x="92" y="21"/>
                    </a:lnTo>
                    <a:lnTo>
                      <a:pt x="92" y="23"/>
                    </a:lnTo>
                    <a:lnTo>
                      <a:pt x="94" y="23"/>
                    </a:lnTo>
                    <a:close/>
                    <a:moveTo>
                      <a:pt x="88" y="17"/>
                    </a:moveTo>
                    <a:lnTo>
                      <a:pt x="86" y="17"/>
                    </a:lnTo>
                    <a:lnTo>
                      <a:pt x="88" y="17"/>
                    </a:lnTo>
                    <a:close/>
                    <a:moveTo>
                      <a:pt x="242" y="90"/>
                    </a:moveTo>
                    <a:lnTo>
                      <a:pt x="242" y="92"/>
                    </a:lnTo>
                    <a:lnTo>
                      <a:pt x="242" y="90"/>
                    </a:lnTo>
                    <a:close/>
                    <a:moveTo>
                      <a:pt x="251" y="94"/>
                    </a:moveTo>
                    <a:lnTo>
                      <a:pt x="251" y="96"/>
                    </a:lnTo>
                    <a:lnTo>
                      <a:pt x="251" y="94"/>
                    </a:lnTo>
                    <a:close/>
                    <a:moveTo>
                      <a:pt x="251" y="94"/>
                    </a:moveTo>
                    <a:lnTo>
                      <a:pt x="251" y="96"/>
                    </a:lnTo>
                    <a:lnTo>
                      <a:pt x="251" y="94"/>
                    </a:lnTo>
                    <a:close/>
                    <a:moveTo>
                      <a:pt x="251" y="96"/>
                    </a:moveTo>
                    <a:lnTo>
                      <a:pt x="251" y="94"/>
                    </a:lnTo>
                    <a:lnTo>
                      <a:pt x="251" y="96"/>
                    </a:lnTo>
                    <a:lnTo>
                      <a:pt x="253" y="96"/>
                    </a:lnTo>
                    <a:lnTo>
                      <a:pt x="251" y="96"/>
                    </a:lnTo>
                    <a:close/>
                    <a:moveTo>
                      <a:pt x="261" y="98"/>
                    </a:moveTo>
                    <a:lnTo>
                      <a:pt x="261" y="100"/>
                    </a:lnTo>
                    <a:lnTo>
                      <a:pt x="261" y="98"/>
                    </a:lnTo>
                    <a:close/>
                    <a:moveTo>
                      <a:pt x="224" y="77"/>
                    </a:moveTo>
                    <a:lnTo>
                      <a:pt x="223" y="77"/>
                    </a:lnTo>
                    <a:lnTo>
                      <a:pt x="224" y="77"/>
                    </a:lnTo>
                    <a:close/>
                    <a:moveTo>
                      <a:pt x="263" y="94"/>
                    </a:moveTo>
                    <a:lnTo>
                      <a:pt x="265" y="94"/>
                    </a:lnTo>
                    <a:lnTo>
                      <a:pt x="265" y="96"/>
                    </a:lnTo>
                    <a:lnTo>
                      <a:pt x="263" y="96"/>
                    </a:lnTo>
                    <a:lnTo>
                      <a:pt x="263" y="94"/>
                    </a:lnTo>
                    <a:close/>
                    <a:moveTo>
                      <a:pt x="263" y="94"/>
                    </a:moveTo>
                    <a:lnTo>
                      <a:pt x="263" y="96"/>
                    </a:lnTo>
                    <a:lnTo>
                      <a:pt x="263" y="94"/>
                    </a:lnTo>
                    <a:lnTo>
                      <a:pt x="265" y="94"/>
                    </a:lnTo>
                    <a:lnTo>
                      <a:pt x="263" y="94"/>
                    </a:lnTo>
                    <a:close/>
                    <a:moveTo>
                      <a:pt x="388" y="144"/>
                    </a:moveTo>
                    <a:lnTo>
                      <a:pt x="386" y="146"/>
                    </a:lnTo>
                    <a:lnTo>
                      <a:pt x="386" y="144"/>
                    </a:lnTo>
                    <a:lnTo>
                      <a:pt x="388" y="144"/>
                    </a:lnTo>
                    <a:close/>
                    <a:moveTo>
                      <a:pt x="393" y="146"/>
                    </a:moveTo>
                    <a:lnTo>
                      <a:pt x="392" y="146"/>
                    </a:lnTo>
                    <a:lnTo>
                      <a:pt x="393" y="146"/>
                    </a:lnTo>
                    <a:close/>
                    <a:moveTo>
                      <a:pt x="393" y="146"/>
                    </a:moveTo>
                    <a:lnTo>
                      <a:pt x="392" y="146"/>
                    </a:lnTo>
                    <a:lnTo>
                      <a:pt x="393" y="146"/>
                    </a:lnTo>
                    <a:close/>
                    <a:moveTo>
                      <a:pt x="395" y="146"/>
                    </a:moveTo>
                    <a:lnTo>
                      <a:pt x="393" y="146"/>
                    </a:lnTo>
                    <a:lnTo>
                      <a:pt x="395" y="146"/>
                    </a:lnTo>
                    <a:close/>
                    <a:moveTo>
                      <a:pt x="190" y="57"/>
                    </a:moveTo>
                    <a:lnTo>
                      <a:pt x="190" y="59"/>
                    </a:lnTo>
                    <a:lnTo>
                      <a:pt x="190" y="57"/>
                    </a:lnTo>
                    <a:close/>
                    <a:moveTo>
                      <a:pt x="192" y="59"/>
                    </a:moveTo>
                    <a:lnTo>
                      <a:pt x="192" y="57"/>
                    </a:lnTo>
                    <a:lnTo>
                      <a:pt x="192" y="59"/>
                    </a:lnTo>
                    <a:close/>
                    <a:moveTo>
                      <a:pt x="255" y="88"/>
                    </a:moveTo>
                    <a:lnTo>
                      <a:pt x="253" y="88"/>
                    </a:lnTo>
                    <a:lnTo>
                      <a:pt x="253" y="86"/>
                    </a:lnTo>
                    <a:lnTo>
                      <a:pt x="255" y="88"/>
                    </a:lnTo>
                    <a:close/>
                    <a:moveTo>
                      <a:pt x="194" y="59"/>
                    </a:moveTo>
                    <a:lnTo>
                      <a:pt x="194" y="57"/>
                    </a:lnTo>
                    <a:lnTo>
                      <a:pt x="194" y="59"/>
                    </a:lnTo>
                    <a:close/>
                    <a:moveTo>
                      <a:pt x="194" y="59"/>
                    </a:moveTo>
                    <a:lnTo>
                      <a:pt x="194" y="57"/>
                    </a:lnTo>
                    <a:lnTo>
                      <a:pt x="194" y="59"/>
                    </a:lnTo>
                    <a:close/>
                    <a:moveTo>
                      <a:pt x="194" y="57"/>
                    </a:moveTo>
                    <a:lnTo>
                      <a:pt x="192" y="57"/>
                    </a:lnTo>
                    <a:lnTo>
                      <a:pt x="194" y="57"/>
                    </a:lnTo>
                    <a:close/>
                    <a:moveTo>
                      <a:pt x="194" y="57"/>
                    </a:moveTo>
                    <a:lnTo>
                      <a:pt x="194" y="59"/>
                    </a:lnTo>
                    <a:lnTo>
                      <a:pt x="194" y="57"/>
                    </a:lnTo>
                    <a:close/>
                    <a:moveTo>
                      <a:pt x="380" y="136"/>
                    </a:moveTo>
                    <a:lnTo>
                      <a:pt x="378" y="136"/>
                    </a:lnTo>
                    <a:lnTo>
                      <a:pt x="380" y="136"/>
                    </a:lnTo>
                    <a:close/>
                    <a:moveTo>
                      <a:pt x="380" y="136"/>
                    </a:moveTo>
                    <a:lnTo>
                      <a:pt x="378" y="136"/>
                    </a:lnTo>
                    <a:lnTo>
                      <a:pt x="380" y="136"/>
                    </a:lnTo>
                    <a:close/>
                    <a:moveTo>
                      <a:pt x="207" y="63"/>
                    </a:moveTo>
                    <a:lnTo>
                      <a:pt x="207" y="61"/>
                    </a:lnTo>
                    <a:lnTo>
                      <a:pt x="207" y="63"/>
                    </a:lnTo>
                    <a:close/>
                    <a:moveTo>
                      <a:pt x="205" y="61"/>
                    </a:moveTo>
                    <a:lnTo>
                      <a:pt x="205" y="59"/>
                    </a:lnTo>
                    <a:lnTo>
                      <a:pt x="207" y="61"/>
                    </a:lnTo>
                    <a:lnTo>
                      <a:pt x="205" y="61"/>
                    </a:lnTo>
                    <a:close/>
                    <a:moveTo>
                      <a:pt x="207" y="59"/>
                    </a:moveTo>
                    <a:lnTo>
                      <a:pt x="207" y="61"/>
                    </a:lnTo>
                    <a:lnTo>
                      <a:pt x="207" y="59"/>
                    </a:lnTo>
                    <a:close/>
                    <a:moveTo>
                      <a:pt x="399" y="142"/>
                    </a:moveTo>
                    <a:lnTo>
                      <a:pt x="399" y="140"/>
                    </a:lnTo>
                    <a:lnTo>
                      <a:pt x="399" y="142"/>
                    </a:lnTo>
                    <a:close/>
                    <a:moveTo>
                      <a:pt x="292" y="96"/>
                    </a:moveTo>
                    <a:lnTo>
                      <a:pt x="292" y="98"/>
                    </a:lnTo>
                    <a:lnTo>
                      <a:pt x="292" y="96"/>
                    </a:lnTo>
                    <a:close/>
                    <a:moveTo>
                      <a:pt x="401" y="140"/>
                    </a:moveTo>
                    <a:lnTo>
                      <a:pt x="401" y="138"/>
                    </a:lnTo>
                    <a:lnTo>
                      <a:pt x="401" y="140"/>
                    </a:lnTo>
                    <a:close/>
                    <a:moveTo>
                      <a:pt x="226" y="67"/>
                    </a:moveTo>
                    <a:lnTo>
                      <a:pt x="226" y="65"/>
                    </a:lnTo>
                    <a:lnTo>
                      <a:pt x="226" y="67"/>
                    </a:lnTo>
                    <a:close/>
                    <a:moveTo>
                      <a:pt x="340" y="115"/>
                    </a:moveTo>
                    <a:lnTo>
                      <a:pt x="338" y="115"/>
                    </a:lnTo>
                    <a:lnTo>
                      <a:pt x="340" y="115"/>
                    </a:lnTo>
                    <a:close/>
                    <a:moveTo>
                      <a:pt x="340" y="113"/>
                    </a:moveTo>
                    <a:lnTo>
                      <a:pt x="338" y="113"/>
                    </a:lnTo>
                    <a:lnTo>
                      <a:pt x="340" y="113"/>
                    </a:lnTo>
                    <a:close/>
                    <a:moveTo>
                      <a:pt x="296" y="96"/>
                    </a:moveTo>
                    <a:lnTo>
                      <a:pt x="294" y="96"/>
                    </a:lnTo>
                    <a:lnTo>
                      <a:pt x="296" y="96"/>
                    </a:lnTo>
                    <a:close/>
                    <a:moveTo>
                      <a:pt x="340" y="115"/>
                    </a:moveTo>
                    <a:lnTo>
                      <a:pt x="340" y="113"/>
                    </a:lnTo>
                    <a:lnTo>
                      <a:pt x="340" y="115"/>
                    </a:lnTo>
                    <a:close/>
                    <a:moveTo>
                      <a:pt x="224" y="63"/>
                    </a:moveTo>
                    <a:lnTo>
                      <a:pt x="224" y="65"/>
                    </a:lnTo>
                    <a:lnTo>
                      <a:pt x="224" y="63"/>
                    </a:lnTo>
                    <a:close/>
                    <a:moveTo>
                      <a:pt x="224" y="65"/>
                    </a:moveTo>
                    <a:lnTo>
                      <a:pt x="224" y="63"/>
                    </a:lnTo>
                    <a:lnTo>
                      <a:pt x="224" y="65"/>
                    </a:lnTo>
                    <a:close/>
                    <a:moveTo>
                      <a:pt x="226" y="65"/>
                    </a:moveTo>
                    <a:lnTo>
                      <a:pt x="224" y="65"/>
                    </a:lnTo>
                    <a:lnTo>
                      <a:pt x="226" y="63"/>
                    </a:lnTo>
                    <a:lnTo>
                      <a:pt x="226" y="65"/>
                    </a:lnTo>
                    <a:close/>
                    <a:moveTo>
                      <a:pt x="230" y="65"/>
                    </a:moveTo>
                    <a:lnTo>
                      <a:pt x="230" y="67"/>
                    </a:lnTo>
                    <a:lnTo>
                      <a:pt x="230" y="65"/>
                    </a:lnTo>
                    <a:close/>
                    <a:moveTo>
                      <a:pt x="342" y="113"/>
                    </a:moveTo>
                    <a:lnTo>
                      <a:pt x="342" y="115"/>
                    </a:lnTo>
                    <a:lnTo>
                      <a:pt x="342" y="113"/>
                    </a:lnTo>
                    <a:close/>
                    <a:moveTo>
                      <a:pt x="228" y="65"/>
                    </a:moveTo>
                    <a:lnTo>
                      <a:pt x="226" y="65"/>
                    </a:lnTo>
                    <a:lnTo>
                      <a:pt x="226" y="63"/>
                    </a:lnTo>
                    <a:lnTo>
                      <a:pt x="228" y="65"/>
                    </a:lnTo>
                    <a:close/>
                    <a:moveTo>
                      <a:pt x="230" y="65"/>
                    </a:moveTo>
                    <a:lnTo>
                      <a:pt x="228" y="65"/>
                    </a:lnTo>
                    <a:lnTo>
                      <a:pt x="230" y="65"/>
                    </a:lnTo>
                    <a:close/>
                    <a:moveTo>
                      <a:pt x="301" y="98"/>
                    </a:moveTo>
                    <a:lnTo>
                      <a:pt x="303" y="98"/>
                    </a:lnTo>
                    <a:lnTo>
                      <a:pt x="301" y="98"/>
                    </a:lnTo>
                    <a:close/>
                    <a:moveTo>
                      <a:pt x="228" y="63"/>
                    </a:moveTo>
                    <a:lnTo>
                      <a:pt x="230" y="63"/>
                    </a:lnTo>
                    <a:lnTo>
                      <a:pt x="228" y="63"/>
                    </a:lnTo>
                    <a:close/>
                    <a:moveTo>
                      <a:pt x="330" y="107"/>
                    </a:moveTo>
                    <a:lnTo>
                      <a:pt x="328" y="107"/>
                    </a:lnTo>
                    <a:lnTo>
                      <a:pt x="330" y="107"/>
                    </a:lnTo>
                    <a:close/>
                    <a:moveTo>
                      <a:pt x="344" y="113"/>
                    </a:moveTo>
                    <a:lnTo>
                      <a:pt x="345" y="113"/>
                    </a:lnTo>
                    <a:lnTo>
                      <a:pt x="344" y="113"/>
                    </a:lnTo>
                    <a:close/>
                    <a:moveTo>
                      <a:pt x="328" y="107"/>
                    </a:moveTo>
                    <a:lnTo>
                      <a:pt x="330" y="107"/>
                    </a:lnTo>
                    <a:lnTo>
                      <a:pt x="328" y="107"/>
                    </a:lnTo>
                    <a:close/>
                    <a:moveTo>
                      <a:pt x="328" y="106"/>
                    </a:moveTo>
                    <a:lnTo>
                      <a:pt x="328" y="107"/>
                    </a:lnTo>
                    <a:lnTo>
                      <a:pt x="328" y="106"/>
                    </a:lnTo>
                    <a:lnTo>
                      <a:pt x="328" y="107"/>
                    </a:lnTo>
                    <a:lnTo>
                      <a:pt x="328" y="106"/>
                    </a:lnTo>
                    <a:close/>
                    <a:moveTo>
                      <a:pt x="380" y="127"/>
                    </a:moveTo>
                    <a:lnTo>
                      <a:pt x="378" y="127"/>
                    </a:lnTo>
                    <a:lnTo>
                      <a:pt x="380" y="127"/>
                    </a:lnTo>
                    <a:close/>
                    <a:moveTo>
                      <a:pt x="328" y="106"/>
                    </a:moveTo>
                    <a:lnTo>
                      <a:pt x="328" y="107"/>
                    </a:lnTo>
                    <a:lnTo>
                      <a:pt x="328" y="106"/>
                    </a:lnTo>
                    <a:close/>
                    <a:moveTo>
                      <a:pt x="380" y="127"/>
                    </a:moveTo>
                    <a:lnTo>
                      <a:pt x="378" y="127"/>
                    </a:lnTo>
                    <a:lnTo>
                      <a:pt x="380" y="127"/>
                    </a:lnTo>
                    <a:close/>
                    <a:moveTo>
                      <a:pt x="328" y="106"/>
                    </a:moveTo>
                    <a:lnTo>
                      <a:pt x="328" y="107"/>
                    </a:lnTo>
                    <a:lnTo>
                      <a:pt x="328" y="106"/>
                    </a:lnTo>
                    <a:close/>
                    <a:moveTo>
                      <a:pt x="382" y="129"/>
                    </a:moveTo>
                    <a:lnTo>
                      <a:pt x="382" y="127"/>
                    </a:lnTo>
                    <a:lnTo>
                      <a:pt x="382" y="129"/>
                    </a:lnTo>
                    <a:close/>
                    <a:moveTo>
                      <a:pt x="380" y="127"/>
                    </a:moveTo>
                    <a:lnTo>
                      <a:pt x="378" y="127"/>
                    </a:lnTo>
                    <a:lnTo>
                      <a:pt x="380" y="127"/>
                    </a:lnTo>
                    <a:close/>
                    <a:moveTo>
                      <a:pt x="330" y="106"/>
                    </a:moveTo>
                    <a:lnTo>
                      <a:pt x="330" y="107"/>
                    </a:lnTo>
                    <a:lnTo>
                      <a:pt x="330" y="106"/>
                    </a:lnTo>
                    <a:close/>
                    <a:moveTo>
                      <a:pt x="378" y="127"/>
                    </a:moveTo>
                    <a:lnTo>
                      <a:pt x="380" y="127"/>
                    </a:lnTo>
                    <a:lnTo>
                      <a:pt x="378" y="127"/>
                    </a:lnTo>
                    <a:close/>
                    <a:moveTo>
                      <a:pt x="226" y="61"/>
                    </a:moveTo>
                    <a:lnTo>
                      <a:pt x="228" y="61"/>
                    </a:lnTo>
                    <a:lnTo>
                      <a:pt x="226" y="61"/>
                    </a:lnTo>
                    <a:close/>
                    <a:moveTo>
                      <a:pt x="384" y="127"/>
                    </a:moveTo>
                    <a:lnTo>
                      <a:pt x="382" y="127"/>
                    </a:lnTo>
                    <a:lnTo>
                      <a:pt x="384" y="127"/>
                    </a:lnTo>
                    <a:close/>
                    <a:moveTo>
                      <a:pt x="319" y="102"/>
                    </a:moveTo>
                    <a:lnTo>
                      <a:pt x="317" y="102"/>
                    </a:lnTo>
                    <a:lnTo>
                      <a:pt x="319" y="102"/>
                    </a:lnTo>
                    <a:close/>
                    <a:moveTo>
                      <a:pt x="330" y="106"/>
                    </a:moveTo>
                    <a:lnTo>
                      <a:pt x="328" y="106"/>
                    </a:lnTo>
                    <a:lnTo>
                      <a:pt x="330" y="106"/>
                    </a:lnTo>
                    <a:close/>
                    <a:moveTo>
                      <a:pt x="345" y="111"/>
                    </a:moveTo>
                    <a:lnTo>
                      <a:pt x="345" y="113"/>
                    </a:lnTo>
                    <a:lnTo>
                      <a:pt x="345" y="111"/>
                    </a:lnTo>
                    <a:close/>
                    <a:moveTo>
                      <a:pt x="317" y="102"/>
                    </a:moveTo>
                    <a:lnTo>
                      <a:pt x="317" y="100"/>
                    </a:lnTo>
                    <a:lnTo>
                      <a:pt x="317" y="102"/>
                    </a:lnTo>
                    <a:close/>
                    <a:moveTo>
                      <a:pt x="386" y="127"/>
                    </a:moveTo>
                    <a:lnTo>
                      <a:pt x="384" y="127"/>
                    </a:lnTo>
                    <a:lnTo>
                      <a:pt x="386" y="127"/>
                    </a:lnTo>
                    <a:close/>
                    <a:moveTo>
                      <a:pt x="328" y="104"/>
                    </a:moveTo>
                    <a:lnTo>
                      <a:pt x="326" y="104"/>
                    </a:lnTo>
                    <a:lnTo>
                      <a:pt x="328" y="104"/>
                    </a:lnTo>
                    <a:close/>
                    <a:moveTo>
                      <a:pt x="384" y="127"/>
                    </a:moveTo>
                    <a:lnTo>
                      <a:pt x="384" y="125"/>
                    </a:lnTo>
                    <a:lnTo>
                      <a:pt x="384" y="127"/>
                    </a:lnTo>
                    <a:close/>
                    <a:moveTo>
                      <a:pt x="384" y="125"/>
                    </a:moveTo>
                    <a:lnTo>
                      <a:pt x="384" y="127"/>
                    </a:lnTo>
                    <a:lnTo>
                      <a:pt x="384" y="125"/>
                    </a:lnTo>
                    <a:lnTo>
                      <a:pt x="384" y="127"/>
                    </a:lnTo>
                    <a:lnTo>
                      <a:pt x="384" y="125"/>
                    </a:lnTo>
                    <a:close/>
                    <a:moveTo>
                      <a:pt x="386" y="127"/>
                    </a:moveTo>
                    <a:lnTo>
                      <a:pt x="386" y="125"/>
                    </a:lnTo>
                    <a:lnTo>
                      <a:pt x="386" y="127"/>
                    </a:lnTo>
                    <a:close/>
                    <a:moveTo>
                      <a:pt x="386" y="125"/>
                    </a:moveTo>
                    <a:lnTo>
                      <a:pt x="384" y="125"/>
                    </a:lnTo>
                    <a:lnTo>
                      <a:pt x="386" y="125"/>
                    </a:lnTo>
                    <a:close/>
                    <a:moveTo>
                      <a:pt x="249" y="69"/>
                    </a:moveTo>
                    <a:lnTo>
                      <a:pt x="247" y="69"/>
                    </a:lnTo>
                    <a:lnTo>
                      <a:pt x="249" y="69"/>
                    </a:lnTo>
                    <a:close/>
                    <a:moveTo>
                      <a:pt x="315" y="96"/>
                    </a:moveTo>
                    <a:lnTo>
                      <a:pt x="313" y="96"/>
                    </a:lnTo>
                    <a:lnTo>
                      <a:pt x="315" y="96"/>
                    </a:lnTo>
                    <a:close/>
                    <a:moveTo>
                      <a:pt x="249" y="67"/>
                    </a:moveTo>
                    <a:lnTo>
                      <a:pt x="247" y="67"/>
                    </a:lnTo>
                    <a:lnTo>
                      <a:pt x="249" y="67"/>
                    </a:lnTo>
                    <a:close/>
                    <a:moveTo>
                      <a:pt x="393" y="127"/>
                    </a:moveTo>
                    <a:lnTo>
                      <a:pt x="392" y="127"/>
                    </a:lnTo>
                    <a:lnTo>
                      <a:pt x="392" y="125"/>
                    </a:lnTo>
                    <a:lnTo>
                      <a:pt x="393" y="127"/>
                    </a:lnTo>
                    <a:close/>
                    <a:moveTo>
                      <a:pt x="388" y="123"/>
                    </a:moveTo>
                    <a:lnTo>
                      <a:pt x="386" y="123"/>
                    </a:lnTo>
                    <a:lnTo>
                      <a:pt x="388" y="123"/>
                    </a:lnTo>
                    <a:close/>
                    <a:moveTo>
                      <a:pt x="393" y="125"/>
                    </a:moveTo>
                    <a:lnTo>
                      <a:pt x="392" y="125"/>
                    </a:lnTo>
                    <a:lnTo>
                      <a:pt x="393" y="125"/>
                    </a:lnTo>
                    <a:close/>
                    <a:moveTo>
                      <a:pt x="395" y="125"/>
                    </a:moveTo>
                    <a:lnTo>
                      <a:pt x="395" y="127"/>
                    </a:lnTo>
                    <a:lnTo>
                      <a:pt x="395" y="125"/>
                    </a:lnTo>
                    <a:close/>
                    <a:moveTo>
                      <a:pt x="159" y="23"/>
                    </a:moveTo>
                    <a:lnTo>
                      <a:pt x="159" y="21"/>
                    </a:lnTo>
                    <a:lnTo>
                      <a:pt x="159" y="23"/>
                    </a:lnTo>
                    <a:close/>
                    <a:moveTo>
                      <a:pt x="247" y="65"/>
                    </a:moveTo>
                    <a:lnTo>
                      <a:pt x="247" y="63"/>
                    </a:lnTo>
                    <a:lnTo>
                      <a:pt x="247" y="65"/>
                    </a:lnTo>
                    <a:close/>
                    <a:moveTo>
                      <a:pt x="251" y="65"/>
                    </a:moveTo>
                    <a:lnTo>
                      <a:pt x="249" y="65"/>
                    </a:lnTo>
                    <a:lnTo>
                      <a:pt x="251" y="65"/>
                    </a:lnTo>
                    <a:close/>
                    <a:moveTo>
                      <a:pt x="247" y="63"/>
                    </a:moveTo>
                    <a:lnTo>
                      <a:pt x="247" y="65"/>
                    </a:lnTo>
                    <a:lnTo>
                      <a:pt x="247" y="63"/>
                    </a:lnTo>
                    <a:close/>
                    <a:moveTo>
                      <a:pt x="251" y="63"/>
                    </a:moveTo>
                    <a:lnTo>
                      <a:pt x="253" y="63"/>
                    </a:lnTo>
                    <a:lnTo>
                      <a:pt x="251" y="63"/>
                    </a:lnTo>
                    <a:close/>
                    <a:moveTo>
                      <a:pt x="361" y="109"/>
                    </a:moveTo>
                    <a:lnTo>
                      <a:pt x="359" y="109"/>
                    </a:lnTo>
                    <a:lnTo>
                      <a:pt x="361" y="109"/>
                    </a:lnTo>
                    <a:close/>
                    <a:moveTo>
                      <a:pt x="251" y="63"/>
                    </a:moveTo>
                    <a:lnTo>
                      <a:pt x="251" y="61"/>
                    </a:lnTo>
                    <a:lnTo>
                      <a:pt x="251" y="63"/>
                    </a:lnTo>
                    <a:close/>
                    <a:moveTo>
                      <a:pt x="399" y="123"/>
                    </a:moveTo>
                    <a:lnTo>
                      <a:pt x="401" y="123"/>
                    </a:lnTo>
                    <a:lnTo>
                      <a:pt x="399" y="123"/>
                    </a:lnTo>
                    <a:close/>
                    <a:moveTo>
                      <a:pt x="148" y="9"/>
                    </a:moveTo>
                    <a:lnTo>
                      <a:pt x="148" y="11"/>
                    </a:lnTo>
                    <a:lnTo>
                      <a:pt x="148" y="9"/>
                    </a:lnTo>
                    <a:close/>
                    <a:moveTo>
                      <a:pt x="272" y="69"/>
                    </a:moveTo>
                    <a:lnTo>
                      <a:pt x="274" y="69"/>
                    </a:lnTo>
                    <a:lnTo>
                      <a:pt x="272" y="69"/>
                    </a:lnTo>
                    <a:close/>
                    <a:moveTo>
                      <a:pt x="434" y="134"/>
                    </a:moveTo>
                    <a:lnTo>
                      <a:pt x="434" y="132"/>
                    </a:lnTo>
                    <a:lnTo>
                      <a:pt x="434" y="134"/>
                    </a:lnTo>
                    <a:close/>
                    <a:moveTo>
                      <a:pt x="426" y="131"/>
                    </a:moveTo>
                    <a:lnTo>
                      <a:pt x="424" y="131"/>
                    </a:lnTo>
                    <a:lnTo>
                      <a:pt x="426" y="131"/>
                    </a:lnTo>
                    <a:close/>
                    <a:moveTo>
                      <a:pt x="280" y="71"/>
                    </a:moveTo>
                    <a:lnTo>
                      <a:pt x="280" y="73"/>
                    </a:lnTo>
                    <a:lnTo>
                      <a:pt x="280" y="71"/>
                    </a:lnTo>
                    <a:close/>
                    <a:moveTo>
                      <a:pt x="424" y="129"/>
                    </a:moveTo>
                    <a:lnTo>
                      <a:pt x="424" y="131"/>
                    </a:lnTo>
                    <a:lnTo>
                      <a:pt x="426" y="131"/>
                    </a:lnTo>
                    <a:lnTo>
                      <a:pt x="424" y="131"/>
                    </a:lnTo>
                    <a:lnTo>
                      <a:pt x="424" y="129"/>
                    </a:lnTo>
                    <a:close/>
                    <a:moveTo>
                      <a:pt x="280" y="71"/>
                    </a:moveTo>
                    <a:lnTo>
                      <a:pt x="280" y="69"/>
                    </a:lnTo>
                    <a:lnTo>
                      <a:pt x="280" y="71"/>
                    </a:lnTo>
                    <a:close/>
                    <a:moveTo>
                      <a:pt x="403" y="119"/>
                    </a:moveTo>
                    <a:lnTo>
                      <a:pt x="401" y="119"/>
                    </a:lnTo>
                    <a:lnTo>
                      <a:pt x="403" y="119"/>
                    </a:lnTo>
                    <a:close/>
                    <a:moveTo>
                      <a:pt x="280" y="69"/>
                    </a:moveTo>
                    <a:lnTo>
                      <a:pt x="278" y="69"/>
                    </a:lnTo>
                    <a:lnTo>
                      <a:pt x="280" y="69"/>
                    </a:lnTo>
                    <a:close/>
                    <a:moveTo>
                      <a:pt x="272" y="65"/>
                    </a:moveTo>
                    <a:lnTo>
                      <a:pt x="272" y="63"/>
                    </a:lnTo>
                    <a:lnTo>
                      <a:pt x="272" y="65"/>
                    </a:lnTo>
                    <a:close/>
                    <a:moveTo>
                      <a:pt x="393" y="115"/>
                    </a:moveTo>
                    <a:lnTo>
                      <a:pt x="395" y="115"/>
                    </a:lnTo>
                    <a:lnTo>
                      <a:pt x="393" y="115"/>
                    </a:lnTo>
                    <a:close/>
                    <a:moveTo>
                      <a:pt x="184" y="21"/>
                    </a:moveTo>
                    <a:lnTo>
                      <a:pt x="182" y="21"/>
                    </a:lnTo>
                    <a:lnTo>
                      <a:pt x="184" y="21"/>
                    </a:lnTo>
                    <a:close/>
                    <a:moveTo>
                      <a:pt x="271" y="61"/>
                    </a:moveTo>
                    <a:lnTo>
                      <a:pt x="269" y="61"/>
                    </a:lnTo>
                    <a:lnTo>
                      <a:pt x="271" y="61"/>
                    </a:lnTo>
                    <a:close/>
                    <a:moveTo>
                      <a:pt x="436" y="129"/>
                    </a:moveTo>
                    <a:lnTo>
                      <a:pt x="434" y="129"/>
                    </a:lnTo>
                    <a:lnTo>
                      <a:pt x="436" y="129"/>
                    </a:lnTo>
                    <a:close/>
                    <a:moveTo>
                      <a:pt x="184" y="21"/>
                    </a:moveTo>
                    <a:lnTo>
                      <a:pt x="182" y="21"/>
                    </a:lnTo>
                    <a:lnTo>
                      <a:pt x="184" y="21"/>
                    </a:lnTo>
                    <a:close/>
                    <a:moveTo>
                      <a:pt x="403" y="115"/>
                    </a:moveTo>
                    <a:lnTo>
                      <a:pt x="403" y="117"/>
                    </a:lnTo>
                    <a:lnTo>
                      <a:pt x="403" y="115"/>
                    </a:lnTo>
                    <a:close/>
                    <a:moveTo>
                      <a:pt x="401" y="115"/>
                    </a:moveTo>
                    <a:lnTo>
                      <a:pt x="403" y="115"/>
                    </a:lnTo>
                    <a:lnTo>
                      <a:pt x="401" y="115"/>
                    </a:lnTo>
                    <a:close/>
                    <a:moveTo>
                      <a:pt x="182" y="21"/>
                    </a:moveTo>
                    <a:lnTo>
                      <a:pt x="182" y="19"/>
                    </a:lnTo>
                    <a:lnTo>
                      <a:pt x="182" y="21"/>
                    </a:lnTo>
                    <a:close/>
                    <a:moveTo>
                      <a:pt x="399" y="113"/>
                    </a:moveTo>
                    <a:lnTo>
                      <a:pt x="397" y="113"/>
                    </a:lnTo>
                    <a:lnTo>
                      <a:pt x="399" y="113"/>
                    </a:lnTo>
                    <a:close/>
                    <a:moveTo>
                      <a:pt x="393" y="111"/>
                    </a:moveTo>
                    <a:lnTo>
                      <a:pt x="393" y="113"/>
                    </a:lnTo>
                    <a:lnTo>
                      <a:pt x="393" y="111"/>
                    </a:lnTo>
                    <a:close/>
                    <a:moveTo>
                      <a:pt x="395" y="111"/>
                    </a:moveTo>
                    <a:lnTo>
                      <a:pt x="395" y="113"/>
                    </a:lnTo>
                    <a:lnTo>
                      <a:pt x="395" y="111"/>
                    </a:lnTo>
                    <a:close/>
                    <a:moveTo>
                      <a:pt x="395" y="111"/>
                    </a:moveTo>
                    <a:lnTo>
                      <a:pt x="393" y="111"/>
                    </a:lnTo>
                    <a:lnTo>
                      <a:pt x="395" y="111"/>
                    </a:lnTo>
                    <a:close/>
                    <a:moveTo>
                      <a:pt x="395" y="111"/>
                    </a:moveTo>
                    <a:lnTo>
                      <a:pt x="393" y="111"/>
                    </a:lnTo>
                    <a:lnTo>
                      <a:pt x="395" y="111"/>
                    </a:lnTo>
                    <a:close/>
                    <a:moveTo>
                      <a:pt x="188" y="19"/>
                    </a:moveTo>
                    <a:lnTo>
                      <a:pt x="186" y="19"/>
                    </a:lnTo>
                    <a:lnTo>
                      <a:pt x="188" y="19"/>
                    </a:lnTo>
                    <a:close/>
                    <a:moveTo>
                      <a:pt x="188" y="19"/>
                    </a:moveTo>
                    <a:lnTo>
                      <a:pt x="186" y="19"/>
                    </a:lnTo>
                    <a:lnTo>
                      <a:pt x="188" y="19"/>
                    </a:lnTo>
                    <a:close/>
                    <a:moveTo>
                      <a:pt x="186" y="17"/>
                    </a:moveTo>
                    <a:lnTo>
                      <a:pt x="186" y="19"/>
                    </a:lnTo>
                    <a:lnTo>
                      <a:pt x="186" y="17"/>
                    </a:lnTo>
                    <a:close/>
                    <a:moveTo>
                      <a:pt x="186" y="15"/>
                    </a:moveTo>
                    <a:lnTo>
                      <a:pt x="184" y="15"/>
                    </a:lnTo>
                    <a:lnTo>
                      <a:pt x="186" y="15"/>
                    </a:lnTo>
                    <a:close/>
                    <a:moveTo>
                      <a:pt x="198" y="21"/>
                    </a:moveTo>
                    <a:lnTo>
                      <a:pt x="196" y="21"/>
                    </a:lnTo>
                    <a:lnTo>
                      <a:pt x="198" y="21"/>
                    </a:lnTo>
                    <a:close/>
                    <a:moveTo>
                      <a:pt x="186" y="17"/>
                    </a:moveTo>
                    <a:lnTo>
                      <a:pt x="186" y="15"/>
                    </a:lnTo>
                    <a:lnTo>
                      <a:pt x="186" y="17"/>
                    </a:lnTo>
                    <a:close/>
                    <a:moveTo>
                      <a:pt x="190" y="17"/>
                    </a:moveTo>
                    <a:lnTo>
                      <a:pt x="190" y="19"/>
                    </a:lnTo>
                    <a:lnTo>
                      <a:pt x="190" y="17"/>
                    </a:lnTo>
                    <a:close/>
                    <a:moveTo>
                      <a:pt x="188" y="15"/>
                    </a:moveTo>
                    <a:lnTo>
                      <a:pt x="186" y="15"/>
                    </a:lnTo>
                    <a:lnTo>
                      <a:pt x="188" y="15"/>
                    </a:lnTo>
                    <a:close/>
                    <a:moveTo>
                      <a:pt x="196" y="21"/>
                    </a:moveTo>
                    <a:lnTo>
                      <a:pt x="196" y="19"/>
                    </a:lnTo>
                    <a:lnTo>
                      <a:pt x="196" y="21"/>
                    </a:lnTo>
                    <a:close/>
                    <a:moveTo>
                      <a:pt x="190" y="17"/>
                    </a:moveTo>
                    <a:lnTo>
                      <a:pt x="188" y="17"/>
                    </a:lnTo>
                    <a:lnTo>
                      <a:pt x="190" y="17"/>
                    </a:lnTo>
                    <a:lnTo>
                      <a:pt x="188" y="17"/>
                    </a:lnTo>
                    <a:lnTo>
                      <a:pt x="190" y="17"/>
                    </a:lnTo>
                    <a:close/>
                    <a:moveTo>
                      <a:pt x="190" y="15"/>
                    </a:moveTo>
                    <a:lnTo>
                      <a:pt x="190" y="17"/>
                    </a:lnTo>
                    <a:lnTo>
                      <a:pt x="188" y="17"/>
                    </a:lnTo>
                    <a:lnTo>
                      <a:pt x="190" y="15"/>
                    </a:lnTo>
                    <a:close/>
                    <a:moveTo>
                      <a:pt x="192" y="17"/>
                    </a:moveTo>
                    <a:lnTo>
                      <a:pt x="190" y="17"/>
                    </a:lnTo>
                    <a:lnTo>
                      <a:pt x="192" y="17"/>
                    </a:lnTo>
                    <a:close/>
                    <a:moveTo>
                      <a:pt x="190" y="17"/>
                    </a:moveTo>
                    <a:lnTo>
                      <a:pt x="192" y="17"/>
                    </a:lnTo>
                    <a:lnTo>
                      <a:pt x="190" y="17"/>
                    </a:lnTo>
                    <a:close/>
                    <a:moveTo>
                      <a:pt x="190" y="15"/>
                    </a:moveTo>
                    <a:lnTo>
                      <a:pt x="188" y="15"/>
                    </a:lnTo>
                    <a:lnTo>
                      <a:pt x="190" y="15"/>
                    </a:lnTo>
                    <a:close/>
                    <a:moveTo>
                      <a:pt x="192" y="15"/>
                    </a:moveTo>
                    <a:lnTo>
                      <a:pt x="190" y="15"/>
                    </a:lnTo>
                    <a:lnTo>
                      <a:pt x="192" y="15"/>
                    </a:lnTo>
                    <a:close/>
                    <a:moveTo>
                      <a:pt x="192" y="15"/>
                    </a:moveTo>
                    <a:lnTo>
                      <a:pt x="190" y="15"/>
                    </a:lnTo>
                    <a:lnTo>
                      <a:pt x="192" y="15"/>
                    </a:lnTo>
                    <a:close/>
                    <a:moveTo>
                      <a:pt x="188" y="15"/>
                    </a:moveTo>
                    <a:lnTo>
                      <a:pt x="188" y="13"/>
                    </a:lnTo>
                    <a:lnTo>
                      <a:pt x="188" y="15"/>
                    </a:lnTo>
                    <a:close/>
                    <a:moveTo>
                      <a:pt x="188" y="15"/>
                    </a:moveTo>
                    <a:lnTo>
                      <a:pt x="188" y="13"/>
                    </a:lnTo>
                    <a:lnTo>
                      <a:pt x="188" y="15"/>
                    </a:lnTo>
                    <a:close/>
                    <a:moveTo>
                      <a:pt x="190" y="13"/>
                    </a:moveTo>
                    <a:lnTo>
                      <a:pt x="190" y="15"/>
                    </a:lnTo>
                    <a:lnTo>
                      <a:pt x="190" y="13"/>
                    </a:lnTo>
                    <a:close/>
                    <a:moveTo>
                      <a:pt x="190" y="13"/>
                    </a:moveTo>
                    <a:lnTo>
                      <a:pt x="188" y="13"/>
                    </a:lnTo>
                    <a:lnTo>
                      <a:pt x="190" y="13"/>
                    </a:lnTo>
                    <a:close/>
                    <a:moveTo>
                      <a:pt x="192" y="15"/>
                    </a:moveTo>
                    <a:lnTo>
                      <a:pt x="192" y="13"/>
                    </a:lnTo>
                    <a:lnTo>
                      <a:pt x="192" y="15"/>
                    </a:lnTo>
                    <a:close/>
                    <a:moveTo>
                      <a:pt x="516" y="144"/>
                    </a:moveTo>
                    <a:lnTo>
                      <a:pt x="516" y="146"/>
                    </a:lnTo>
                    <a:lnTo>
                      <a:pt x="516" y="144"/>
                    </a:lnTo>
                    <a:lnTo>
                      <a:pt x="516" y="146"/>
                    </a:lnTo>
                    <a:lnTo>
                      <a:pt x="516" y="144"/>
                    </a:lnTo>
                    <a:close/>
                    <a:moveTo>
                      <a:pt x="192" y="13"/>
                    </a:moveTo>
                    <a:lnTo>
                      <a:pt x="190" y="13"/>
                    </a:lnTo>
                    <a:lnTo>
                      <a:pt x="192" y="13"/>
                    </a:lnTo>
                    <a:close/>
                    <a:moveTo>
                      <a:pt x="399" y="104"/>
                    </a:moveTo>
                    <a:lnTo>
                      <a:pt x="399" y="102"/>
                    </a:lnTo>
                    <a:lnTo>
                      <a:pt x="399" y="104"/>
                    </a:lnTo>
                    <a:close/>
                    <a:moveTo>
                      <a:pt x="399" y="104"/>
                    </a:moveTo>
                    <a:lnTo>
                      <a:pt x="399" y="102"/>
                    </a:lnTo>
                    <a:lnTo>
                      <a:pt x="399" y="104"/>
                    </a:lnTo>
                    <a:close/>
                    <a:moveTo>
                      <a:pt x="192" y="11"/>
                    </a:moveTo>
                    <a:lnTo>
                      <a:pt x="192" y="13"/>
                    </a:lnTo>
                    <a:lnTo>
                      <a:pt x="192" y="11"/>
                    </a:lnTo>
                    <a:close/>
                    <a:moveTo>
                      <a:pt x="194" y="11"/>
                    </a:moveTo>
                    <a:lnTo>
                      <a:pt x="192" y="11"/>
                    </a:lnTo>
                    <a:lnTo>
                      <a:pt x="194" y="11"/>
                    </a:lnTo>
                    <a:close/>
                    <a:moveTo>
                      <a:pt x="407" y="106"/>
                    </a:moveTo>
                    <a:lnTo>
                      <a:pt x="407" y="104"/>
                    </a:lnTo>
                    <a:lnTo>
                      <a:pt x="407" y="106"/>
                    </a:lnTo>
                    <a:close/>
                    <a:moveTo>
                      <a:pt x="526" y="142"/>
                    </a:moveTo>
                    <a:lnTo>
                      <a:pt x="524" y="142"/>
                    </a:lnTo>
                    <a:lnTo>
                      <a:pt x="524" y="140"/>
                    </a:lnTo>
                    <a:lnTo>
                      <a:pt x="526" y="142"/>
                    </a:lnTo>
                    <a:close/>
                    <a:moveTo>
                      <a:pt x="526" y="140"/>
                    </a:moveTo>
                    <a:lnTo>
                      <a:pt x="524" y="140"/>
                    </a:lnTo>
                    <a:lnTo>
                      <a:pt x="526" y="140"/>
                    </a:lnTo>
                    <a:close/>
                    <a:moveTo>
                      <a:pt x="432" y="106"/>
                    </a:moveTo>
                    <a:lnTo>
                      <a:pt x="430" y="106"/>
                    </a:lnTo>
                    <a:lnTo>
                      <a:pt x="432" y="106"/>
                    </a:lnTo>
                    <a:close/>
                    <a:moveTo>
                      <a:pt x="442" y="82"/>
                    </a:moveTo>
                    <a:lnTo>
                      <a:pt x="440" y="82"/>
                    </a:lnTo>
                    <a:lnTo>
                      <a:pt x="442" y="82"/>
                    </a:lnTo>
                    <a:close/>
                    <a:moveTo>
                      <a:pt x="495" y="100"/>
                    </a:moveTo>
                    <a:lnTo>
                      <a:pt x="493" y="100"/>
                    </a:lnTo>
                    <a:lnTo>
                      <a:pt x="495" y="100"/>
                    </a:lnTo>
                    <a:close/>
                    <a:moveTo>
                      <a:pt x="486" y="96"/>
                    </a:moveTo>
                    <a:lnTo>
                      <a:pt x="486" y="94"/>
                    </a:lnTo>
                    <a:lnTo>
                      <a:pt x="486" y="96"/>
                    </a:lnTo>
                    <a:close/>
                    <a:moveTo>
                      <a:pt x="415" y="61"/>
                    </a:moveTo>
                    <a:lnTo>
                      <a:pt x="415" y="59"/>
                    </a:lnTo>
                    <a:lnTo>
                      <a:pt x="415" y="61"/>
                    </a:lnTo>
                    <a:close/>
                    <a:moveTo>
                      <a:pt x="447" y="73"/>
                    </a:moveTo>
                    <a:lnTo>
                      <a:pt x="447" y="71"/>
                    </a:lnTo>
                    <a:lnTo>
                      <a:pt x="447" y="73"/>
                    </a:lnTo>
                    <a:close/>
                    <a:moveTo>
                      <a:pt x="401" y="32"/>
                    </a:moveTo>
                    <a:lnTo>
                      <a:pt x="401" y="34"/>
                    </a:lnTo>
                    <a:lnTo>
                      <a:pt x="401" y="32"/>
                    </a:lnTo>
                    <a:close/>
                    <a:moveTo>
                      <a:pt x="399" y="31"/>
                    </a:moveTo>
                    <a:lnTo>
                      <a:pt x="401" y="31"/>
                    </a:lnTo>
                    <a:lnTo>
                      <a:pt x="399" y="32"/>
                    </a:lnTo>
                    <a:lnTo>
                      <a:pt x="399" y="31"/>
                    </a:lnTo>
                    <a:close/>
                    <a:moveTo>
                      <a:pt x="401" y="31"/>
                    </a:moveTo>
                    <a:lnTo>
                      <a:pt x="401" y="29"/>
                    </a:lnTo>
                    <a:lnTo>
                      <a:pt x="401" y="31"/>
                    </a:lnTo>
                    <a:close/>
                    <a:moveTo>
                      <a:pt x="420" y="25"/>
                    </a:moveTo>
                    <a:lnTo>
                      <a:pt x="420" y="27"/>
                    </a:lnTo>
                    <a:lnTo>
                      <a:pt x="420" y="2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Freeform 73">
                <a:extLst>
                  <a:ext uri="{FF2B5EF4-FFF2-40B4-BE49-F238E27FC236}">
                    <a16:creationId xmlns="" xmlns:a16="http://schemas.microsoft.com/office/drawing/2014/main" id="{E8A2EEEA-5D24-4F15-99BB-EF42A36374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62175" y="3460751"/>
                <a:ext cx="417513" cy="344488"/>
              </a:xfrm>
              <a:custGeom>
                <a:avLst/>
                <a:gdLst>
                  <a:gd name="T0" fmla="*/ 250 w 263"/>
                  <a:gd name="T1" fmla="*/ 36 h 217"/>
                  <a:gd name="T2" fmla="*/ 263 w 263"/>
                  <a:gd name="T3" fmla="*/ 54 h 217"/>
                  <a:gd name="T4" fmla="*/ 254 w 263"/>
                  <a:gd name="T5" fmla="*/ 59 h 217"/>
                  <a:gd name="T6" fmla="*/ 242 w 263"/>
                  <a:gd name="T7" fmla="*/ 69 h 217"/>
                  <a:gd name="T8" fmla="*/ 227 w 263"/>
                  <a:gd name="T9" fmla="*/ 63 h 217"/>
                  <a:gd name="T10" fmla="*/ 221 w 263"/>
                  <a:gd name="T11" fmla="*/ 67 h 217"/>
                  <a:gd name="T12" fmla="*/ 217 w 263"/>
                  <a:gd name="T13" fmla="*/ 79 h 217"/>
                  <a:gd name="T14" fmla="*/ 210 w 263"/>
                  <a:gd name="T15" fmla="*/ 86 h 217"/>
                  <a:gd name="T16" fmla="*/ 204 w 263"/>
                  <a:gd name="T17" fmla="*/ 94 h 217"/>
                  <a:gd name="T18" fmla="*/ 196 w 263"/>
                  <a:gd name="T19" fmla="*/ 90 h 217"/>
                  <a:gd name="T20" fmla="*/ 177 w 263"/>
                  <a:gd name="T21" fmla="*/ 90 h 217"/>
                  <a:gd name="T22" fmla="*/ 173 w 263"/>
                  <a:gd name="T23" fmla="*/ 102 h 217"/>
                  <a:gd name="T24" fmla="*/ 160 w 263"/>
                  <a:gd name="T25" fmla="*/ 100 h 217"/>
                  <a:gd name="T26" fmla="*/ 162 w 263"/>
                  <a:gd name="T27" fmla="*/ 111 h 217"/>
                  <a:gd name="T28" fmla="*/ 160 w 263"/>
                  <a:gd name="T29" fmla="*/ 123 h 217"/>
                  <a:gd name="T30" fmla="*/ 160 w 263"/>
                  <a:gd name="T31" fmla="*/ 134 h 217"/>
                  <a:gd name="T32" fmla="*/ 156 w 263"/>
                  <a:gd name="T33" fmla="*/ 144 h 217"/>
                  <a:gd name="T34" fmla="*/ 146 w 263"/>
                  <a:gd name="T35" fmla="*/ 154 h 217"/>
                  <a:gd name="T36" fmla="*/ 142 w 263"/>
                  <a:gd name="T37" fmla="*/ 167 h 217"/>
                  <a:gd name="T38" fmla="*/ 146 w 263"/>
                  <a:gd name="T39" fmla="*/ 175 h 217"/>
                  <a:gd name="T40" fmla="*/ 137 w 263"/>
                  <a:gd name="T41" fmla="*/ 184 h 217"/>
                  <a:gd name="T42" fmla="*/ 125 w 263"/>
                  <a:gd name="T43" fmla="*/ 192 h 217"/>
                  <a:gd name="T44" fmla="*/ 115 w 263"/>
                  <a:gd name="T45" fmla="*/ 198 h 217"/>
                  <a:gd name="T46" fmla="*/ 119 w 263"/>
                  <a:gd name="T47" fmla="*/ 186 h 217"/>
                  <a:gd name="T48" fmla="*/ 106 w 263"/>
                  <a:gd name="T49" fmla="*/ 188 h 217"/>
                  <a:gd name="T50" fmla="*/ 92 w 263"/>
                  <a:gd name="T51" fmla="*/ 198 h 217"/>
                  <a:gd name="T52" fmla="*/ 83 w 263"/>
                  <a:gd name="T53" fmla="*/ 204 h 217"/>
                  <a:gd name="T54" fmla="*/ 79 w 263"/>
                  <a:gd name="T55" fmla="*/ 217 h 217"/>
                  <a:gd name="T56" fmla="*/ 64 w 263"/>
                  <a:gd name="T57" fmla="*/ 209 h 217"/>
                  <a:gd name="T58" fmla="*/ 58 w 263"/>
                  <a:gd name="T59" fmla="*/ 204 h 217"/>
                  <a:gd name="T60" fmla="*/ 54 w 263"/>
                  <a:gd name="T61" fmla="*/ 188 h 217"/>
                  <a:gd name="T62" fmla="*/ 52 w 263"/>
                  <a:gd name="T63" fmla="*/ 177 h 217"/>
                  <a:gd name="T64" fmla="*/ 44 w 263"/>
                  <a:gd name="T65" fmla="*/ 163 h 217"/>
                  <a:gd name="T66" fmla="*/ 31 w 263"/>
                  <a:gd name="T67" fmla="*/ 161 h 217"/>
                  <a:gd name="T68" fmla="*/ 21 w 263"/>
                  <a:gd name="T69" fmla="*/ 161 h 217"/>
                  <a:gd name="T70" fmla="*/ 14 w 263"/>
                  <a:gd name="T71" fmla="*/ 157 h 217"/>
                  <a:gd name="T72" fmla="*/ 10 w 263"/>
                  <a:gd name="T73" fmla="*/ 152 h 217"/>
                  <a:gd name="T74" fmla="*/ 17 w 263"/>
                  <a:gd name="T75" fmla="*/ 140 h 217"/>
                  <a:gd name="T76" fmla="*/ 6 w 263"/>
                  <a:gd name="T77" fmla="*/ 129 h 217"/>
                  <a:gd name="T78" fmla="*/ 6 w 263"/>
                  <a:gd name="T79" fmla="*/ 121 h 217"/>
                  <a:gd name="T80" fmla="*/ 17 w 263"/>
                  <a:gd name="T81" fmla="*/ 113 h 217"/>
                  <a:gd name="T82" fmla="*/ 27 w 263"/>
                  <a:gd name="T83" fmla="*/ 100 h 217"/>
                  <a:gd name="T84" fmla="*/ 39 w 263"/>
                  <a:gd name="T85" fmla="*/ 94 h 217"/>
                  <a:gd name="T86" fmla="*/ 54 w 263"/>
                  <a:gd name="T87" fmla="*/ 88 h 217"/>
                  <a:gd name="T88" fmla="*/ 60 w 263"/>
                  <a:gd name="T89" fmla="*/ 82 h 217"/>
                  <a:gd name="T90" fmla="*/ 71 w 263"/>
                  <a:gd name="T91" fmla="*/ 82 h 217"/>
                  <a:gd name="T92" fmla="*/ 73 w 263"/>
                  <a:gd name="T93" fmla="*/ 69 h 217"/>
                  <a:gd name="T94" fmla="*/ 81 w 263"/>
                  <a:gd name="T95" fmla="*/ 63 h 217"/>
                  <a:gd name="T96" fmla="*/ 85 w 263"/>
                  <a:gd name="T97" fmla="*/ 52 h 217"/>
                  <a:gd name="T98" fmla="*/ 92 w 263"/>
                  <a:gd name="T99" fmla="*/ 44 h 217"/>
                  <a:gd name="T100" fmla="*/ 106 w 263"/>
                  <a:gd name="T101" fmla="*/ 42 h 217"/>
                  <a:gd name="T102" fmla="*/ 129 w 263"/>
                  <a:gd name="T103" fmla="*/ 9 h 217"/>
                  <a:gd name="T104" fmla="*/ 137 w 263"/>
                  <a:gd name="T105" fmla="*/ 9 h 217"/>
                  <a:gd name="T106" fmla="*/ 140 w 263"/>
                  <a:gd name="T107" fmla="*/ 23 h 217"/>
                  <a:gd name="T108" fmla="*/ 160 w 263"/>
                  <a:gd name="T109" fmla="*/ 23 h 217"/>
                  <a:gd name="T110" fmla="*/ 175 w 263"/>
                  <a:gd name="T111" fmla="*/ 17 h 217"/>
                  <a:gd name="T112" fmla="*/ 188 w 263"/>
                  <a:gd name="T113" fmla="*/ 0 h 217"/>
                  <a:gd name="T114" fmla="*/ 206 w 263"/>
                  <a:gd name="T115" fmla="*/ 13 h 217"/>
                  <a:gd name="T116" fmla="*/ 213 w 263"/>
                  <a:gd name="T117" fmla="*/ 17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63" h="217">
                    <a:moveTo>
                      <a:pt x="229" y="23"/>
                    </a:moveTo>
                    <a:lnTo>
                      <a:pt x="229" y="25"/>
                    </a:lnTo>
                    <a:lnTo>
                      <a:pt x="231" y="25"/>
                    </a:lnTo>
                    <a:lnTo>
                      <a:pt x="231" y="27"/>
                    </a:lnTo>
                    <a:lnTo>
                      <a:pt x="231" y="29"/>
                    </a:lnTo>
                    <a:lnTo>
                      <a:pt x="231" y="27"/>
                    </a:lnTo>
                    <a:lnTo>
                      <a:pt x="233" y="27"/>
                    </a:lnTo>
                    <a:lnTo>
                      <a:pt x="235" y="27"/>
                    </a:lnTo>
                    <a:lnTo>
                      <a:pt x="235" y="29"/>
                    </a:lnTo>
                    <a:lnTo>
                      <a:pt x="242" y="33"/>
                    </a:lnTo>
                    <a:lnTo>
                      <a:pt x="246" y="34"/>
                    </a:lnTo>
                    <a:lnTo>
                      <a:pt x="250" y="36"/>
                    </a:lnTo>
                    <a:lnTo>
                      <a:pt x="254" y="40"/>
                    </a:lnTo>
                    <a:lnTo>
                      <a:pt x="258" y="42"/>
                    </a:lnTo>
                    <a:lnTo>
                      <a:pt x="256" y="42"/>
                    </a:lnTo>
                    <a:lnTo>
                      <a:pt x="256" y="44"/>
                    </a:lnTo>
                    <a:lnTo>
                      <a:pt x="258" y="44"/>
                    </a:lnTo>
                    <a:lnTo>
                      <a:pt x="258" y="46"/>
                    </a:lnTo>
                    <a:lnTo>
                      <a:pt x="260" y="46"/>
                    </a:lnTo>
                    <a:lnTo>
                      <a:pt x="261" y="46"/>
                    </a:lnTo>
                    <a:lnTo>
                      <a:pt x="261" y="48"/>
                    </a:lnTo>
                    <a:lnTo>
                      <a:pt x="263" y="50"/>
                    </a:lnTo>
                    <a:lnTo>
                      <a:pt x="263" y="52"/>
                    </a:lnTo>
                    <a:lnTo>
                      <a:pt x="263" y="54"/>
                    </a:lnTo>
                    <a:lnTo>
                      <a:pt x="263" y="56"/>
                    </a:lnTo>
                    <a:lnTo>
                      <a:pt x="263" y="54"/>
                    </a:lnTo>
                    <a:lnTo>
                      <a:pt x="261" y="54"/>
                    </a:lnTo>
                    <a:lnTo>
                      <a:pt x="260" y="54"/>
                    </a:lnTo>
                    <a:lnTo>
                      <a:pt x="258" y="54"/>
                    </a:lnTo>
                    <a:lnTo>
                      <a:pt x="258" y="56"/>
                    </a:lnTo>
                    <a:lnTo>
                      <a:pt x="256" y="56"/>
                    </a:lnTo>
                    <a:lnTo>
                      <a:pt x="256" y="58"/>
                    </a:lnTo>
                    <a:lnTo>
                      <a:pt x="254" y="58"/>
                    </a:lnTo>
                    <a:lnTo>
                      <a:pt x="256" y="58"/>
                    </a:lnTo>
                    <a:lnTo>
                      <a:pt x="256" y="59"/>
                    </a:lnTo>
                    <a:lnTo>
                      <a:pt x="254" y="59"/>
                    </a:lnTo>
                    <a:lnTo>
                      <a:pt x="254" y="61"/>
                    </a:lnTo>
                    <a:lnTo>
                      <a:pt x="252" y="61"/>
                    </a:lnTo>
                    <a:lnTo>
                      <a:pt x="250" y="63"/>
                    </a:lnTo>
                    <a:lnTo>
                      <a:pt x="250" y="65"/>
                    </a:lnTo>
                    <a:lnTo>
                      <a:pt x="248" y="65"/>
                    </a:lnTo>
                    <a:lnTo>
                      <a:pt x="248" y="67"/>
                    </a:lnTo>
                    <a:lnTo>
                      <a:pt x="248" y="69"/>
                    </a:lnTo>
                    <a:lnTo>
                      <a:pt x="246" y="69"/>
                    </a:lnTo>
                    <a:lnTo>
                      <a:pt x="244" y="73"/>
                    </a:lnTo>
                    <a:lnTo>
                      <a:pt x="242" y="71"/>
                    </a:lnTo>
                    <a:lnTo>
                      <a:pt x="240" y="69"/>
                    </a:lnTo>
                    <a:lnTo>
                      <a:pt x="242" y="69"/>
                    </a:lnTo>
                    <a:lnTo>
                      <a:pt x="240" y="69"/>
                    </a:lnTo>
                    <a:lnTo>
                      <a:pt x="242" y="69"/>
                    </a:lnTo>
                    <a:lnTo>
                      <a:pt x="242" y="67"/>
                    </a:lnTo>
                    <a:lnTo>
                      <a:pt x="240" y="67"/>
                    </a:lnTo>
                    <a:lnTo>
                      <a:pt x="238" y="67"/>
                    </a:lnTo>
                    <a:lnTo>
                      <a:pt x="236" y="67"/>
                    </a:lnTo>
                    <a:lnTo>
                      <a:pt x="235" y="67"/>
                    </a:lnTo>
                    <a:lnTo>
                      <a:pt x="233" y="67"/>
                    </a:lnTo>
                    <a:lnTo>
                      <a:pt x="231" y="67"/>
                    </a:lnTo>
                    <a:lnTo>
                      <a:pt x="229" y="67"/>
                    </a:lnTo>
                    <a:lnTo>
                      <a:pt x="229" y="65"/>
                    </a:lnTo>
                    <a:lnTo>
                      <a:pt x="227" y="63"/>
                    </a:lnTo>
                    <a:lnTo>
                      <a:pt x="225" y="63"/>
                    </a:lnTo>
                    <a:lnTo>
                      <a:pt x="225" y="61"/>
                    </a:lnTo>
                    <a:lnTo>
                      <a:pt x="223" y="61"/>
                    </a:lnTo>
                    <a:lnTo>
                      <a:pt x="223" y="63"/>
                    </a:lnTo>
                    <a:lnTo>
                      <a:pt x="223" y="65"/>
                    </a:lnTo>
                    <a:lnTo>
                      <a:pt x="223" y="67"/>
                    </a:lnTo>
                    <a:lnTo>
                      <a:pt x="221" y="67"/>
                    </a:lnTo>
                    <a:lnTo>
                      <a:pt x="219" y="67"/>
                    </a:lnTo>
                    <a:lnTo>
                      <a:pt x="217" y="67"/>
                    </a:lnTo>
                    <a:lnTo>
                      <a:pt x="217" y="69"/>
                    </a:lnTo>
                    <a:lnTo>
                      <a:pt x="219" y="67"/>
                    </a:lnTo>
                    <a:lnTo>
                      <a:pt x="221" y="67"/>
                    </a:lnTo>
                    <a:lnTo>
                      <a:pt x="221" y="69"/>
                    </a:lnTo>
                    <a:lnTo>
                      <a:pt x="219" y="69"/>
                    </a:lnTo>
                    <a:lnTo>
                      <a:pt x="221" y="69"/>
                    </a:lnTo>
                    <a:lnTo>
                      <a:pt x="219" y="69"/>
                    </a:lnTo>
                    <a:lnTo>
                      <a:pt x="219" y="71"/>
                    </a:lnTo>
                    <a:lnTo>
                      <a:pt x="217" y="71"/>
                    </a:lnTo>
                    <a:lnTo>
                      <a:pt x="215" y="71"/>
                    </a:lnTo>
                    <a:lnTo>
                      <a:pt x="215" y="73"/>
                    </a:lnTo>
                    <a:lnTo>
                      <a:pt x="215" y="75"/>
                    </a:lnTo>
                    <a:lnTo>
                      <a:pt x="217" y="75"/>
                    </a:lnTo>
                    <a:lnTo>
                      <a:pt x="217" y="77"/>
                    </a:lnTo>
                    <a:lnTo>
                      <a:pt x="217" y="79"/>
                    </a:lnTo>
                    <a:lnTo>
                      <a:pt x="215" y="79"/>
                    </a:lnTo>
                    <a:lnTo>
                      <a:pt x="215" y="81"/>
                    </a:lnTo>
                    <a:lnTo>
                      <a:pt x="215" y="79"/>
                    </a:lnTo>
                    <a:lnTo>
                      <a:pt x="215" y="81"/>
                    </a:lnTo>
                    <a:lnTo>
                      <a:pt x="217" y="81"/>
                    </a:lnTo>
                    <a:lnTo>
                      <a:pt x="215" y="81"/>
                    </a:lnTo>
                    <a:lnTo>
                      <a:pt x="215" y="82"/>
                    </a:lnTo>
                    <a:lnTo>
                      <a:pt x="213" y="82"/>
                    </a:lnTo>
                    <a:lnTo>
                      <a:pt x="212" y="82"/>
                    </a:lnTo>
                    <a:lnTo>
                      <a:pt x="212" y="84"/>
                    </a:lnTo>
                    <a:lnTo>
                      <a:pt x="212" y="86"/>
                    </a:lnTo>
                    <a:lnTo>
                      <a:pt x="210" y="86"/>
                    </a:lnTo>
                    <a:lnTo>
                      <a:pt x="210" y="88"/>
                    </a:lnTo>
                    <a:lnTo>
                      <a:pt x="212" y="88"/>
                    </a:lnTo>
                    <a:lnTo>
                      <a:pt x="210" y="88"/>
                    </a:lnTo>
                    <a:lnTo>
                      <a:pt x="210" y="90"/>
                    </a:lnTo>
                    <a:lnTo>
                      <a:pt x="208" y="90"/>
                    </a:lnTo>
                    <a:lnTo>
                      <a:pt x="206" y="92"/>
                    </a:lnTo>
                    <a:lnTo>
                      <a:pt x="208" y="92"/>
                    </a:lnTo>
                    <a:lnTo>
                      <a:pt x="208" y="94"/>
                    </a:lnTo>
                    <a:lnTo>
                      <a:pt x="206" y="94"/>
                    </a:lnTo>
                    <a:lnTo>
                      <a:pt x="204" y="94"/>
                    </a:lnTo>
                    <a:lnTo>
                      <a:pt x="206" y="94"/>
                    </a:lnTo>
                    <a:lnTo>
                      <a:pt x="204" y="94"/>
                    </a:lnTo>
                    <a:lnTo>
                      <a:pt x="204" y="92"/>
                    </a:lnTo>
                    <a:lnTo>
                      <a:pt x="202" y="92"/>
                    </a:lnTo>
                    <a:lnTo>
                      <a:pt x="204" y="92"/>
                    </a:lnTo>
                    <a:lnTo>
                      <a:pt x="204" y="94"/>
                    </a:lnTo>
                    <a:lnTo>
                      <a:pt x="202" y="94"/>
                    </a:lnTo>
                    <a:lnTo>
                      <a:pt x="200" y="94"/>
                    </a:lnTo>
                    <a:lnTo>
                      <a:pt x="198" y="92"/>
                    </a:lnTo>
                    <a:lnTo>
                      <a:pt x="198" y="94"/>
                    </a:lnTo>
                    <a:lnTo>
                      <a:pt x="196" y="94"/>
                    </a:lnTo>
                    <a:lnTo>
                      <a:pt x="198" y="92"/>
                    </a:lnTo>
                    <a:lnTo>
                      <a:pt x="196" y="92"/>
                    </a:lnTo>
                    <a:lnTo>
                      <a:pt x="196" y="90"/>
                    </a:lnTo>
                    <a:lnTo>
                      <a:pt x="192" y="88"/>
                    </a:lnTo>
                    <a:lnTo>
                      <a:pt x="190" y="90"/>
                    </a:lnTo>
                    <a:lnTo>
                      <a:pt x="190" y="92"/>
                    </a:lnTo>
                    <a:lnTo>
                      <a:pt x="190" y="90"/>
                    </a:lnTo>
                    <a:lnTo>
                      <a:pt x="188" y="90"/>
                    </a:lnTo>
                    <a:lnTo>
                      <a:pt x="187" y="90"/>
                    </a:lnTo>
                    <a:lnTo>
                      <a:pt x="185" y="90"/>
                    </a:lnTo>
                    <a:lnTo>
                      <a:pt x="183" y="90"/>
                    </a:lnTo>
                    <a:lnTo>
                      <a:pt x="181" y="88"/>
                    </a:lnTo>
                    <a:lnTo>
                      <a:pt x="179" y="88"/>
                    </a:lnTo>
                    <a:lnTo>
                      <a:pt x="179" y="90"/>
                    </a:lnTo>
                    <a:lnTo>
                      <a:pt x="177" y="90"/>
                    </a:lnTo>
                    <a:lnTo>
                      <a:pt x="179" y="90"/>
                    </a:lnTo>
                    <a:lnTo>
                      <a:pt x="177" y="90"/>
                    </a:lnTo>
                    <a:lnTo>
                      <a:pt x="177" y="92"/>
                    </a:lnTo>
                    <a:lnTo>
                      <a:pt x="175" y="96"/>
                    </a:lnTo>
                    <a:lnTo>
                      <a:pt x="173" y="96"/>
                    </a:lnTo>
                    <a:lnTo>
                      <a:pt x="173" y="94"/>
                    </a:lnTo>
                    <a:lnTo>
                      <a:pt x="173" y="96"/>
                    </a:lnTo>
                    <a:lnTo>
                      <a:pt x="171" y="96"/>
                    </a:lnTo>
                    <a:lnTo>
                      <a:pt x="171" y="98"/>
                    </a:lnTo>
                    <a:lnTo>
                      <a:pt x="173" y="98"/>
                    </a:lnTo>
                    <a:lnTo>
                      <a:pt x="173" y="100"/>
                    </a:lnTo>
                    <a:lnTo>
                      <a:pt x="173" y="102"/>
                    </a:lnTo>
                    <a:lnTo>
                      <a:pt x="173" y="100"/>
                    </a:lnTo>
                    <a:lnTo>
                      <a:pt x="171" y="100"/>
                    </a:lnTo>
                    <a:lnTo>
                      <a:pt x="169" y="102"/>
                    </a:lnTo>
                    <a:lnTo>
                      <a:pt x="169" y="100"/>
                    </a:lnTo>
                    <a:lnTo>
                      <a:pt x="167" y="100"/>
                    </a:lnTo>
                    <a:lnTo>
                      <a:pt x="165" y="100"/>
                    </a:lnTo>
                    <a:lnTo>
                      <a:pt x="163" y="98"/>
                    </a:lnTo>
                    <a:lnTo>
                      <a:pt x="163" y="100"/>
                    </a:lnTo>
                    <a:lnTo>
                      <a:pt x="163" y="98"/>
                    </a:lnTo>
                    <a:lnTo>
                      <a:pt x="163" y="100"/>
                    </a:lnTo>
                    <a:lnTo>
                      <a:pt x="162" y="100"/>
                    </a:lnTo>
                    <a:lnTo>
                      <a:pt x="160" y="100"/>
                    </a:lnTo>
                    <a:lnTo>
                      <a:pt x="160" y="102"/>
                    </a:lnTo>
                    <a:lnTo>
                      <a:pt x="162" y="102"/>
                    </a:lnTo>
                    <a:lnTo>
                      <a:pt x="160" y="102"/>
                    </a:lnTo>
                    <a:lnTo>
                      <a:pt x="160" y="104"/>
                    </a:lnTo>
                    <a:lnTo>
                      <a:pt x="162" y="104"/>
                    </a:lnTo>
                    <a:lnTo>
                      <a:pt x="160" y="104"/>
                    </a:lnTo>
                    <a:lnTo>
                      <a:pt x="160" y="106"/>
                    </a:lnTo>
                    <a:lnTo>
                      <a:pt x="158" y="107"/>
                    </a:lnTo>
                    <a:lnTo>
                      <a:pt x="160" y="107"/>
                    </a:lnTo>
                    <a:lnTo>
                      <a:pt x="160" y="109"/>
                    </a:lnTo>
                    <a:lnTo>
                      <a:pt x="162" y="109"/>
                    </a:lnTo>
                    <a:lnTo>
                      <a:pt x="162" y="111"/>
                    </a:lnTo>
                    <a:lnTo>
                      <a:pt x="160" y="111"/>
                    </a:lnTo>
                    <a:lnTo>
                      <a:pt x="162" y="111"/>
                    </a:lnTo>
                    <a:lnTo>
                      <a:pt x="163" y="111"/>
                    </a:lnTo>
                    <a:lnTo>
                      <a:pt x="163" y="113"/>
                    </a:lnTo>
                    <a:lnTo>
                      <a:pt x="165" y="113"/>
                    </a:lnTo>
                    <a:lnTo>
                      <a:pt x="165" y="115"/>
                    </a:lnTo>
                    <a:lnTo>
                      <a:pt x="163" y="115"/>
                    </a:lnTo>
                    <a:lnTo>
                      <a:pt x="163" y="117"/>
                    </a:lnTo>
                    <a:lnTo>
                      <a:pt x="163" y="119"/>
                    </a:lnTo>
                    <a:lnTo>
                      <a:pt x="162" y="121"/>
                    </a:lnTo>
                    <a:lnTo>
                      <a:pt x="160" y="121"/>
                    </a:lnTo>
                    <a:lnTo>
                      <a:pt x="160" y="123"/>
                    </a:lnTo>
                    <a:lnTo>
                      <a:pt x="158" y="123"/>
                    </a:lnTo>
                    <a:lnTo>
                      <a:pt x="158" y="125"/>
                    </a:lnTo>
                    <a:lnTo>
                      <a:pt x="158" y="127"/>
                    </a:lnTo>
                    <a:lnTo>
                      <a:pt x="158" y="129"/>
                    </a:lnTo>
                    <a:lnTo>
                      <a:pt x="158" y="131"/>
                    </a:lnTo>
                    <a:lnTo>
                      <a:pt x="160" y="131"/>
                    </a:lnTo>
                    <a:lnTo>
                      <a:pt x="162" y="131"/>
                    </a:lnTo>
                    <a:lnTo>
                      <a:pt x="162" y="132"/>
                    </a:lnTo>
                    <a:lnTo>
                      <a:pt x="160" y="132"/>
                    </a:lnTo>
                    <a:lnTo>
                      <a:pt x="162" y="132"/>
                    </a:lnTo>
                    <a:lnTo>
                      <a:pt x="162" y="134"/>
                    </a:lnTo>
                    <a:lnTo>
                      <a:pt x="160" y="134"/>
                    </a:lnTo>
                    <a:lnTo>
                      <a:pt x="158" y="134"/>
                    </a:lnTo>
                    <a:lnTo>
                      <a:pt x="158" y="136"/>
                    </a:lnTo>
                    <a:lnTo>
                      <a:pt x="158" y="138"/>
                    </a:lnTo>
                    <a:lnTo>
                      <a:pt x="156" y="140"/>
                    </a:lnTo>
                    <a:lnTo>
                      <a:pt x="158" y="140"/>
                    </a:lnTo>
                    <a:lnTo>
                      <a:pt x="160" y="140"/>
                    </a:lnTo>
                    <a:lnTo>
                      <a:pt x="158" y="140"/>
                    </a:lnTo>
                    <a:lnTo>
                      <a:pt x="158" y="142"/>
                    </a:lnTo>
                    <a:lnTo>
                      <a:pt x="158" y="140"/>
                    </a:lnTo>
                    <a:lnTo>
                      <a:pt x="160" y="142"/>
                    </a:lnTo>
                    <a:lnTo>
                      <a:pt x="158" y="144"/>
                    </a:lnTo>
                    <a:lnTo>
                      <a:pt x="156" y="144"/>
                    </a:lnTo>
                    <a:lnTo>
                      <a:pt x="154" y="144"/>
                    </a:lnTo>
                    <a:lnTo>
                      <a:pt x="154" y="146"/>
                    </a:lnTo>
                    <a:lnTo>
                      <a:pt x="154" y="148"/>
                    </a:lnTo>
                    <a:lnTo>
                      <a:pt x="154" y="150"/>
                    </a:lnTo>
                    <a:lnTo>
                      <a:pt x="154" y="148"/>
                    </a:lnTo>
                    <a:lnTo>
                      <a:pt x="154" y="150"/>
                    </a:lnTo>
                    <a:lnTo>
                      <a:pt x="152" y="150"/>
                    </a:lnTo>
                    <a:lnTo>
                      <a:pt x="150" y="150"/>
                    </a:lnTo>
                    <a:lnTo>
                      <a:pt x="150" y="152"/>
                    </a:lnTo>
                    <a:lnTo>
                      <a:pt x="150" y="154"/>
                    </a:lnTo>
                    <a:lnTo>
                      <a:pt x="148" y="154"/>
                    </a:lnTo>
                    <a:lnTo>
                      <a:pt x="146" y="154"/>
                    </a:lnTo>
                    <a:lnTo>
                      <a:pt x="146" y="156"/>
                    </a:lnTo>
                    <a:lnTo>
                      <a:pt x="144" y="156"/>
                    </a:lnTo>
                    <a:lnTo>
                      <a:pt x="144" y="154"/>
                    </a:lnTo>
                    <a:lnTo>
                      <a:pt x="142" y="156"/>
                    </a:lnTo>
                    <a:lnTo>
                      <a:pt x="142" y="157"/>
                    </a:lnTo>
                    <a:lnTo>
                      <a:pt x="140" y="157"/>
                    </a:lnTo>
                    <a:lnTo>
                      <a:pt x="140" y="159"/>
                    </a:lnTo>
                    <a:lnTo>
                      <a:pt x="140" y="161"/>
                    </a:lnTo>
                    <a:lnTo>
                      <a:pt x="140" y="163"/>
                    </a:lnTo>
                    <a:lnTo>
                      <a:pt x="142" y="163"/>
                    </a:lnTo>
                    <a:lnTo>
                      <a:pt x="142" y="165"/>
                    </a:lnTo>
                    <a:lnTo>
                      <a:pt x="142" y="167"/>
                    </a:lnTo>
                    <a:lnTo>
                      <a:pt x="140" y="167"/>
                    </a:lnTo>
                    <a:lnTo>
                      <a:pt x="142" y="167"/>
                    </a:lnTo>
                    <a:lnTo>
                      <a:pt x="142" y="169"/>
                    </a:lnTo>
                    <a:lnTo>
                      <a:pt x="140" y="169"/>
                    </a:lnTo>
                    <a:lnTo>
                      <a:pt x="140" y="171"/>
                    </a:lnTo>
                    <a:lnTo>
                      <a:pt x="142" y="171"/>
                    </a:lnTo>
                    <a:lnTo>
                      <a:pt x="142" y="173"/>
                    </a:lnTo>
                    <a:lnTo>
                      <a:pt x="144" y="173"/>
                    </a:lnTo>
                    <a:lnTo>
                      <a:pt x="144" y="175"/>
                    </a:lnTo>
                    <a:lnTo>
                      <a:pt x="146" y="175"/>
                    </a:lnTo>
                    <a:lnTo>
                      <a:pt x="146" y="177"/>
                    </a:lnTo>
                    <a:lnTo>
                      <a:pt x="146" y="175"/>
                    </a:lnTo>
                    <a:lnTo>
                      <a:pt x="146" y="177"/>
                    </a:lnTo>
                    <a:lnTo>
                      <a:pt x="146" y="179"/>
                    </a:lnTo>
                    <a:lnTo>
                      <a:pt x="146" y="181"/>
                    </a:lnTo>
                    <a:lnTo>
                      <a:pt x="144" y="181"/>
                    </a:lnTo>
                    <a:lnTo>
                      <a:pt x="142" y="181"/>
                    </a:lnTo>
                    <a:lnTo>
                      <a:pt x="140" y="181"/>
                    </a:lnTo>
                    <a:lnTo>
                      <a:pt x="139" y="181"/>
                    </a:lnTo>
                    <a:lnTo>
                      <a:pt x="139" y="182"/>
                    </a:lnTo>
                    <a:lnTo>
                      <a:pt x="139" y="184"/>
                    </a:lnTo>
                    <a:lnTo>
                      <a:pt x="139" y="182"/>
                    </a:lnTo>
                    <a:lnTo>
                      <a:pt x="137" y="182"/>
                    </a:lnTo>
                    <a:lnTo>
                      <a:pt x="137" y="184"/>
                    </a:lnTo>
                    <a:lnTo>
                      <a:pt x="137" y="186"/>
                    </a:lnTo>
                    <a:lnTo>
                      <a:pt x="137" y="188"/>
                    </a:lnTo>
                    <a:lnTo>
                      <a:pt x="135" y="188"/>
                    </a:lnTo>
                    <a:lnTo>
                      <a:pt x="133" y="188"/>
                    </a:lnTo>
                    <a:lnTo>
                      <a:pt x="131" y="188"/>
                    </a:lnTo>
                    <a:lnTo>
                      <a:pt x="129" y="188"/>
                    </a:lnTo>
                    <a:lnTo>
                      <a:pt x="129" y="190"/>
                    </a:lnTo>
                    <a:lnTo>
                      <a:pt x="127" y="190"/>
                    </a:lnTo>
                    <a:lnTo>
                      <a:pt x="127" y="192"/>
                    </a:lnTo>
                    <a:lnTo>
                      <a:pt x="127" y="190"/>
                    </a:lnTo>
                    <a:lnTo>
                      <a:pt x="125" y="190"/>
                    </a:lnTo>
                    <a:lnTo>
                      <a:pt x="125" y="192"/>
                    </a:lnTo>
                    <a:lnTo>
                      <a:pt x="127" y="192"/>
                    </a:lnTo>
                    <a:lnTo>
                      <a:pt x="125" y="192"/>
                    </a:lnTo>
                    <a:lnTo>
                      <a:pt x="125" y="194"/>
                    </a:lnTo>
                    <a:lnTo>
                      <a:pt x="125" y="196"/>
                    </a:lnTo>
                    <a:lnTo>
                      <a:pt x="125" y="198"/>
                    </a:lnTo>
                    <a:lnTo>
                      <a:pt x="123" y="198"/>
                    </a:lnTo>
                    <a:lnTo>
                      <a:pt x="123" y="200"/>
                    </a:lnTo>
                    <a:lnTo>
                      <a:pt x="121" y="200"/>
                    </a:lnTo>
                    <a:lnTo>
                      <a:pt x="119" y="200"/>
                    </a:lnTo>
                    <a:lnTo>
                      <a:pt x="117" y="200"/>
                    </a:lnTo>
                    <a:lnTo>
                      <a:pt x="117" y="198"/>
                    </a:lnTo>
                    <a:lnTo>
                      <a:pt x="115" y="198"/>
                    </a:lnTo>
                    <a:lnTo>
                      <a:pt x="114" y="196"/>
                    </a:lnTo>
                    <a:lnTo>
                      <a:pt x="112" y="198"/>
                    </a:lnTo>
                    <a:lnTo>
                      <a:pt x="112" y="196"/>
                    </a:lnTo>
                    <a:lnTo>
                      <a:pt x="112" y="194"/>
                    </a:lnTo>
                    <a:lnTo>
                      <a:pt x="114" y="194"/>
                    </a:lnTo>
                    <a:lnTo>
                      <a:pt x="115" y="192"/>
                    </a:lnTo>
                    <a:lnTo>
                      <a:pt x="115" y="190"/>
                    </a:lnTo>
                    <a:lnTo>
                      <a:pt x="117" y="190"/>
                    </a:lnTo>
                    <a:lnTo>
                      <a:pt x="119" y="188"/>
                    </a:lnTo>
                    <a:lnTo>
                      <a:pt x="117" y="188"/>
                    </a:lnTo>
                    <a:lnTo>
                      <a:pt x="117" y="186"/>
                    </a:lnTo>
                    <a:lnTo>
                      <a:pt x="119" y="186"/>
                    </a:lnTo>
                    <a:lnTo>
                      <a:pt x="119" y="184"/>
                    </a:lnTo>
                    <a:lnTo>
                      <a:pt x="117" y="184"/>
                    </a:lnTo>
                    <a:lnTo>
                      <a:pt x="115" y="184"/>
                    </a:lnTo>
                    <a:lnTo>
                      <a:pt x="114" y="184"/>
                    </a:lnTo>
                    <a:lnTo>
                      <a:pt x="112" y="186"/>
                    </a:lnTo>
                    <a:lnTo>
                      <a:pt x="112" y="184"/>
                    </a:lnTo>
                    <a:lnTo>
                      <a:pt x="112" y="186"/>
                    </a:lnTo>
                    <a:lnTo>
                      <a:pt x="112" y="188"/>
                    </a:lnTo>
                    <a:lnTo>
                      <a:pt x="110" y="186"/>
                    </a:lnTo>
                    <a:lnTo>
                      <a:pt x="108" y="186"/>
                    </a:lnTo>
                    <a:lnTo>
                      <a:pt x="108" y="188"/>
                    </a:lnTo>
                    <a:lnTo>
                      <a:pt x="106" y="188"/>
                    </a:lnTo>
                    <a:lnTo>
                      <a:pt x="104" y="188"/>
                    </a:lnTo>
                    <a:lnTo>
                      <a:pt x="104" y="190"/>
                    </a:lnTo>
                    <a:lnTo>
                      <a:pt x="104" y="192"/>
                    </a:lnTo>
                    <a:lnTo>
                      <a:pt x="102" y="194"/>
                    </a:lnTo>
                    <a:lnTo>
                      <a:pt x="102" y="196"/>
                    </a:lnTo>
                    <a:lnTo>
                      <a:pt x="100" y="196"/>
                    </a:lnTo>
                    <a:lnTo>
                      <a:pt x="100" y="198"/>
                    </a:lnTo>
                    <a:lnTo>
                      <a:pt x="98" y="198"/>
                    </a:lnTo>
                    <a:lnTo>
                      <a:pt x="96" y="196"/>
                    </a:lnTo>
                    <a:lnTo>
                      <a:pt x="94" y="196"/>
                    </a:lnTo>
                    <a:lnTo>
                      <a:pt x="92" y="196"/>
                    </a:lnTo>
                    <a:lnTo>
                      <a:pt x="92" y="198"/>
                    </a:lnTo>
                    <a:lnTo>
                      <a:pt x="90" y="200"/>
                    </a:lnTo>
                    <a:lnTo>
                      <a:pt x="90" y="202"/>
                    </a:lnTo>
                    <a:lnTo>
                      <a:pt x="89" y="202"/>
                    </a:lnTo>
                    <a:lnTo>
                      <a:pt x="89" y="200"/>
                    </a:lnTo>
                    <a:lnTo>
                      <a:pt x="89" y="198"/>
                    </a:lnTo>
                    <a:lnTo>
                      <a:pt x="87" y="200"/>
                    </a:lnTo>
                    <a:lnTo>
                      <a:pt x="85" y="200"/>
                    </a:lnTo>
                    <a:lnTo>
                      <a:pt x="83" y="200"/>
                    </a:lnTo>
                    <a:lnTo>
                      <a:pt x="83" y="202"/>
                    </a:lnTo>
                    <a:lnTo>
                      <a:pt x="81" y="202"/>
                    </a:lnTo>
                    <a:lnTo>
                      <a:pt x="81" y="204"/>
                    </a:lnTo>
                    <a:lnTo>
                      <a:pt x="83" y="204"/>
                    </a:lnTo>
                    <a:lnTo>
                      <a:pt x="83" y="206"/>
                    </a:lnTo>
                    <a:lnTo>
                      <a:pt x="81" y="207"/>
                    </a:lnTo>
                    <a:lnTo>
                      <a:pt x="79" y="207"/>
                    </a:lnTo>
                    <a:lnTo>
                      <a:pt x="79" y="209"/>
                    </a:lnTo>
                    <a:lnTo>
                      <a:pt x="77" y="209"/>
                    </a:lnTo>
                    <a:lnTo>
                      <a:pt x="77" y="211"/>
                    </a:lnTo>
                    <a:lnTo>
                      <a:pt x="79" y="213"/>
                    </a:lnTo>
                    <a:lnTo>
                      <a:pt x="77" y="213"/>
                    </a:lnTo>
                    <a:lnTo>
                      <a:pt x="79" y="215"/>
                    </a:lnTo>
                    <a:lnTo>
                      <a:pt x="79" y="213"/>
                    </a:lnTo>
                    <a:lnTo>
                      <a:pt x="79" y="215"/>
                    </a:lnTo>
                    <a:lnTo>
                      <a:pt x="79" y="217"/>
                    </a:lnTo>
                    <a:lnTo>
                      <a:pt x="77" y="217"/>
                    </a:lnTo>
                    <a:lnTo>
                      <a:pt x="75" y="217"/>
                    </a:lnTo>
                    <a:lnTo>
                      <a:pt x="75" y="215"/>
                    </a:lnTo>
                    <a:lnTo>
                      <a:pt x="73" y="215"/>
                    </a:lnTo>
                    <a:lnTo>
                      <a:pt x="71" y="215"/>
                    </a:lnTo>
                    <a:lnTo>
                      <a:pt x="69" y="215"/>
                    </a:lnTo>
                    <a:lnTo>
                      <a:pt x="69" y="213"/>
                    </a:lnTo>
                    <a:lnTo>
                      <a:pt x="67" y="211"/>
                    </a:lnTo>
                    <a:lnTo>
                      <a:pt x="69" y="211"/>
                    </a:lnTo>
                    <a:lnTo>
                      <a:pt x="67" y="209"/>
                    </a:lnTo>
                    <a:lnTo>
                      <a:pt x="66" y="209"/>
                    </a:lnTo>
                    <a:lnTo>
                      <a:pt x="64" y="209"/>
                    </a:lnTo>
                    <a:lnTo>
                      <a:pt x="62" y="209"/>
                    </a:lnTo>
                    <a:lnTo>
                      <a:pt x="62" y="207"/>
                    </a:lnTo>
                    <a:lnTo>
                      <a:pt x="64" y="207"/>
                    </a:lnTo>
                    <a:lnTo>
                      <a:pt x="64" y="206"/>
                    </a:lnTo>
                    <a:lnTo>
                      <a:pt x="64" y="207"/>
                    </a:lnTo>
                    <a:lnTo>
                      <a:pt x="66" y="207"/>
                    </a:lnTo>
                    <a:lnTo>
                      <a:pt x="66" y="206"/>
                    </a:lnTo>
                    <a:lnTo>
                      <a:pt x="66" y="204"/>
                    </a:lnTo>
                    <a:lnTo>
                      <a:pt x="64" y="204"/>
                    </a:lnTo>
                    <a:lnTo>
                      <a:pt x="62" y="206"/>
                    </a:lnTo>
                    <a:lnTo>
                      <a:pt x="60" y="204"/>
                    </a:lnTo>
                    <a:lnTo>
                      <a:pt x="58" y="204"/>
                    </a:lnTo>
                    <a:lnTo>
                      <a:pt x="58" y="202"/>
                    </a:lnTo>
                    <a:lnTo>
                      <a:pt x="58" y="200"/>
                    </a:lnTo>
                    <a:lnTo>
                      <a:pt x="58" y="198"/>
                    </a:lnTo>
                    <a:lnTo>
                      <a:pt x="56" y="198"/>
                    </a:lnTo>
                    <a:lnTo>
                      <a:pt x="56" y="196"/>
                    </a:lnTo>
                    <a:lnTo>
                      <a:pt x="54" y="196"/>
                    </a:lnTo>
                    <a:lnTo>
                      <a:pt x="54" y="194"/>
                    </a:lnTo>
                    <a:lnTo>
                      <a:pt x="54" y="192"/>
                    </a:lnTo>
                    <a:lnTo>
                      <a:pt x="52" y="192"/>
                    </a:lnTo>
                    <a:lnTo>
                      <a:pt x="52" y="190"/>
                    </a:lnTo>
                    <a:lnTo>
                      <a:pt x="52" y="188"/>
                    </a:lnTo>
                    <a:lnTo>
                      <a:pt x="54" y="188"/>
                    </a:lnTo>
                    <a:lnTo>
                      <a:pt x="54" y="186"/>
                    </a:lnTo>
                    <a:lnTo>
                      <a:pt x="56" y="186"/>
                    </a:lnTo>
                    <a:lnTo>
                      <a:pt x="56" y="184"/>
                    </a:lnTo>
                    <a:lnTo>
                      <a:pt x="54" y="184"/>
                    </a:lnTo>
                    <a:lnTo>
                      <a:pt x="52" y="184"/>
                    </a:lnTo>
                    <a:lnTo>
                      <a:pt x="52" y="182"/>
                    </a:lnTo>
                    <a:lnTo>
                      <a:pt x="50" y="182"/>
                    </a:lnTo>
                    <a:lnTo>
                      <a:pt x="50" y="181"/>
                    </a:lnTo>
                    <a:lnTo>
                      <a:pt x="52" y="181"/>
                    </a:lnTo>
                    <a:lnTo>
                      <a:pt x="54" y="179"/>
                    </a:lnTo>
                    <a:lnTo>
                      <a:pt x="52" y="179"/>
                    </a:lnTo>
                    <a:lnTo>
                      <a:pt x="52" y="177"/>
                    </a:lnTo>
                    <a:lnTo>
                      <a:pt x="52" y="179"/>
                    </a:lnTo>
                    <a:lnTo>
                      <a:pt x="50" y="177"/>
                    </a:lnTo>
                    <a:lnTo>
                      <a:pt x="50" y="175"/>
                    </a:lnTo>
                    <a:lnTo>
                      <a:pt x="48" y="175"/>
                    </a:lnTo>
                    <a:lnTo>
                      <a:pt x="48" y="173"/>
                    </a:lnTo>
                    <a:lnTo>
                      <a:pt x="46" y="173"/>
                    </a:lnTo>
                    <a:lnTo>
                      <a:pt x="46" y="171"/>
                    </a:lnTo>
                    <a:lnTo>
                      <a:pt x="46" y="169"/>
                    </a:lnTo>
                    <a:lnTo>
                      <a:pt x="46" y="167"/>
                    </a:lnTo>
                    <a:lnTo>
                      <a:pt x="44" y="165"/>
                    </a:lnTo>
                    <a:lnTo>
                      <a:pt x="42" y="163"/>
                    </a:lnTo>
                    <a:lnTo>
                      <a:pt x="44" y="163"/>
                    </a:lnTo>
                    <a:lnTo>
                      <a:pt x="42" y="161"/>
                    </a:lnTo>
                    <a:lnTo>
                      <a:pt x="42" y="159"/>
                    </a:lnTo>
                    <a:lnTo>
                      <a:pt x="41" y="159"/>
                    </a:lnTo>
                    <a:lnTo>
                      <a:pt x="39" y="159"/>
                    </a:lnTo>
                    <a:lnTo>
                      <a:pt x="37" y="161"/>
                    </a:lnTo>
                    <a:lnTo>
                      <a:pt x="37" y="159"/>
                    </a:lnTo>
                    <a:lnTo>
                      <a:pt x="37" y="161"/>
                    </a:lnTo>
                    <a:lnTo>
                      <a:pt x="35" y="161"/>
                    </a:lnTo>
                    <a:lnTo>
                      <a:pt x="35" y="159"/>
                    </a:lnTo>
                    <a:lnTo>
                      <a:pt x="33" y="159"/>
                    </a:lnTo>
                    <a:lnTo>
                      <a:pt x="33" y="161"/>
                    </a:lnTo>
                    <a:lnTo>
                      <a:pt x="31" y="161"/>
                    </a:lnTo>
                    <a:lnTo>
                      <a:pt x="31" y="163"/>
                    </a:lnTo>
                    <a:lnTo>
                      <a:pt x="29" y="165"/>
                    </a:lnTo>
                    <a:lnTo>
                      <a:pt x="27" y="165"/>
                    </a:lnTo>
                    <a:lnTo>
                      <a:pt x="25" y="165"/>
                    </a:lnTo>
                    <a:lnTo>
                      <a:pt x="27" y="163"/>
                    </a:lnTo>
                    <a:lnTo>
                      <a:pt x="25" y="163"/>
                    </a:lnTo>
                    <a:lnTo>
                      <a:pt x="25" y="165"/>
                    </a:lnTo>
                    <a:lnTo>
                      <a:pt x="25" y="163"/>
                    </a:lnTo>
                    <a:lnTo>
                      <a:pt x="23" y="163"/>
                    </a:lnTo>
                    <a:lnTo>
                      <a:pt x="21" y="163"/>
                    </a:lnTo>
                    <a:lnTo>
                      <a:pt x="19" y="163"/>
                    </a:lnTo>
                    <a:lnTo>
                      <a:pt x="21" y="161"/>
                    </a:lnTo>
                    <a:lnTo>
                      <a:pt x="19" y="161"/>
                    </a:lnTo>
                    <a:lnTo>
                      <a:pt x="19" y="163"/>
                    </a:lnTo>
                    <a:lnTo>
                      <a:pt x="19" y="161"/>
                    </a:lnTo>
                    <a:lnTo>
                      <a:pt x="17" y="161"/>
                    </a:lnTo>
                    <a:lnTo>
                      <a:pt x="19" y="161"/>
                    </a:lnTo>
                    <a:lnTo>
                      <a:pt x="19" y="159"/>
                    </a:lnTo>
                    <a:lnTo>
                      <a:pt x="17" y="159"/>
                    </a:lnTo>
                    <a:lnTo>
                      <a:pt x="17" y="157"/>
                    </a:lnTo>
                    <a:lnTo>
                      <a:pt x="19" y="157"/>
                    </a:lnTo>
                    <a:lnTo>
                      <a:pt x="17" y="157"/>
                    </a:lnTo>
                    <a:lnTo>
                      <a:pt x="16" y="157"/>
                    </a:lnTo>
                    <a:lnTo>
                      <a:pt x="14" y="157"/>
                    </a:lnTo>
                    <a:lnTo>
                      <a:pt x="14" y="156"/>
                    </a:lnTo>
                    <a:lnTo>
                      <a:pt x="12" y="154"/>
                    </a:lnTo>
                    <a:lnTo>
                      <a:pt x="14" y="154"/>
                    </a:lnTo>
                    <a:lnTo>
                      <a:pt x="14" y="152"/>
                    </a:lnTo>
                    <a:lnTo>
                      <a:pt x="12" y="152"/>
                    </a:lnTo>
                    <a:lnTo>
                      <a:pt x="12" y="154"/>
                    </a:lnTo>
                    <a:lnTo>
                      <a:pt x="10" y="154"/>
                    </a:lnTo>
                    <a:lnTo>
                      <a:pt x="10" y="156"/>
                    </a:lnTo>
                    <a:lnTo>
                      <a:pt x="10" y="157"/>
                    </a:lnTo>
                    <a:lnTo>
                      <a:pt x="8" y="156"/>
                    </a:lnTo>
                    <a:lnTo>
                      <a:pt x="10" y="154"/>
                    </a:lnTo>
                    <a:lnTo>
                      <a:pt x="10" y="152"/>
                    </a:lnTo>
                    <a:lnTo>
                      <a:pt x="8" y="152"/>
                    </a:lnTo>
                    <a:lnTo>
                      <a:pt x="10" y="150"/>
                    </a:lnTo>
                    <a:lnTo>
                      <a:pt x="10" y="152"/>
                    </a:lnTo>
                    <a:lnTo>
                      <a:pt x="12" y="152"/>
                    </a:lnTo>
                    <a:lnTo>
                      <a:pt x="12" y="150"/>
                    </a:lnTo>
                    <a:lnTo>
                      <a:pt x="14" y="150"/>
                    </a:lnTo>
                    <a:lnTo>
                      <a:pt x="14" y="148"/>
                    </a:lnTo>
                    <a:lnTo>
                      <a:pt x="16" y="148"/>
                    </a:lnTo>
                    <a:lnTo>
                      <a:pt x="16" y="146"/>
                    </a:lnTo>
                    <a:lnTo>
                      <a:pt x="16" y="144"/>
                    </a:lnTo>
                    <a:lnTo>
                      <a:pt x="17" y="142"/>
                    </a:lnTo>
                    <a:lnTo>
                      <a:pt x="17" y="140"/>
                    </a:lnTo>
                    <a:lnTo>
                      <a:pt x="16" y="140"/>
                    </a:lnTo>
                    <a:lnTo>
                      <a:pt x="14" y="140"/>
                    </a:lnTo>
                    <a:lnTo>
                      <a:pt x="12" y="140"/>
                    </a:lnTo>
                    <a:lnTo>
                      <a:pt x="10" y="140"/>
                    </a:lnTo>
                    <a:lnTo>
                      <a:pt x="8" y="140"/>
                    </a:lnTo>
                    <a:lnTo>
                      <a:pt x="6" y="136"/>
                    </a:lnTo>
                    <a:lnTo>
                      <a:pt x="4" y="136"/>
                    </a:lnTo>
                    <a:lnTo>
                      <a:pt x="4" y="134"/>
                    </a:lnTo>
                    <a:lnTo>
                      <a:pt x="4" y="132"/>
                    </a:lnTo>
                    <a:lnTo>
                      <a:pt x="6" y="132"/>
                    </a:lnTo>
                    <a:lnTo>
                      <a:pt x="6" y="131"/>
                    </a:lnTo>
                    <a:lnTo>
                      <a:pt x="6" y="129"/>
                    </a:lnTo>
                    <a:lnTo>
                      <a:pt x="8" y="129"/>
                    </a:lnTo>
                    <a:lnTo>
                      <a:pt x="6" y="129"/>
                    </a:lnTo>
                    <a:lnTo>
                      <a:pt x="4" y="129"/>
                    </a:lnTo>
                    <a:lnTo>
                      <a:pt x="2" y="129"/>
                    </a:lnTo>
                    <a:lnTo>
                      <a:pt x="2" y="127"/>
                    </a:lnTo>
                    <a:lnTo>
                      <a:pt x="0" y="127"/>
                    </a:lnTo>
                    <a:lnTo>
                      <a:pt x="0" y="125"/>
                    </a:lnTo>
                    <a:lnTo>
                      <a:pt x="2" y="125"/>
                    </a:lnTo>
                    <a:lnTo>
                      <a:pt x="2" y="123"/>
                    </a:lnTo>
                    <a:lnTo>
                      <a:pt x="4" y="123"/>
                    </a:lnTo>
                    <a:lnTo>
                      <a:pt x="4" y="121"/>
                    </a:lnTo>
                    <a:lnTo>
                      <a:pt x="6" y="121"/>
                    </a:lnTo>
                    <a:lnTo>
                      <a:pt x="8" y="121"/>
                    </a:lnTo>
                    <a:lnTo>
                      <a:pt x="10" y="119"/>
                    </a:lnTo>
                    <a:lnTo>
                      <a:pt x="8" y="119"/>
                    </a:lnTo>
                    <a:lnTo>
                      <a:pt x="8" y="117"/>
                    </a:lnTo>
                    <a:lnTo>
                      <a:pt x="10" y="117"/>
                    </a:lnTo>
                    <a:lnTo>
                      <a:pt x="12" y="117"/>
                    </a:lnTo>
                    <a:lnTo>
                      <a:pt x="14" y="117"/>
                    </a:lnTo>
                    <a:lnTo>
                      <a:pt x="14" y="115"/>
                    </a:lnTo>
                    <a:lnTo>
                      <a:pt x="14" y="113"/>
                    </a:lnTo>
                    <a:lnTo>
                      <a:pt x="16" y="113"/>
                    </a:lnTo>
                    <a:lnTo>
                      <a:pt x="16" y="115"/>
                    </a:lnTo>
                    <a:lnTo>
                      <a:pt x="17" y="113"/>
                    </a:lnTo>
                    <a:lnTo>
                      <a:pt x="17" y="111"/>
                    </a:lnTo>
                    <a:lnTo>
                      <a:pt x="19" y="111"/>
                    </a:lnTo>
                    <a:lnTo>
                      <a:pt x="21" y="111"/>
                    </a:lnTo>
                    <a:lnTo>
                      <a:pt x="23" y="111"/>
                    </a:lnTo>
                    <a:lnTo>
                      <a:pt x="25" y="111"/>
                    </a:lnTo>
                    <a:lnTo>
                      <a:pt x="25" y="109"/>
                    </a:lnTo>
                    <a:lnTo>
                      <a:pt x="23" y="107"/>
                    </a:lnTo>
                    <a:lnTo>
                      <a:pt x="23" y="106"/>
                    </a:lnTo>
                    <a:lnTo>
                      <a:pt x="25" y="106"/>
                    </a:lnTo>
                    <a:lnTo>
                      <a:pt x="25" y="104"/>
                    </a:lnTo>
                    <a:lnTo>
                      <a:pt x="27" y="102"/>
                    </a:lnTo>
                    <a:lnTo>
                      <a:pt x="27" y="100"/>
                    </a:lnTo>
                    <a:lnTo>
                      <a:pt x="27" y="98"/>
                    </a:lnTo>
                    <a:lnTo>
                      <a:pt x="29" y="100"/>
                    </a:lnTo>
                    <a:lnTo>
                      <a:pt x="31" y="100"/>
                    </a:lnTo>
                    <a:lnTo>
                      <a:pt x="31" y="98"/>
                    </a:lnTo>
                    <a:lnTo>
                      <a:pt x="31" y="96"/>
                    </a:lnTo>
                    <a:lnTo>
                      <a:pt x="33" y="96"/>
                    </a:lnTo>
                    <a:lnTo>
                      <a:pt x="33" y="98"/>
                    </a:lnTo>
                    <a:lnTo>
                      <a:pt x="33" y="96"/>
                    </a:lnTo>
                    <a:lnTo>
                      <a:pt x="35" y="96"/>
                    </a:lnTo>
                    <a:lnTo>
                      <a:pt x="37" y="96"/>
                    </a:lnTo>
                    <a:lnTo>
                      <a:pt x="37" y="94"/>
                    </a:lnTo>
                    <a:lnTo>
                      <a:pt x="39" y="94"/>
                    </a:lnTo>
                    <a:lnTo>
                      <a:pt x="41" y="94"/>
                    </a:lnTo>
                    <a:lnTo>
                      <a:pt x="42" y="94"/>
                    </a:lnTo>
                    <a:lnTo>
                      <a:pt x="44" y="94"/>
                    </a:lnTo>
                    <a:lnTo>
                      <a:pt x="44" y="92"/>
                    </a:lnTo>
                    <a:lnTo>
                      <a:pt x="46" y="92"/>
                    </a:lnTo>
                    <a:lnTo>
                      <a:pt x="48" y="92"/>
                    </a:lnTo>
                    <a:lnTo>
                      <a:pt x="48" y="90"/>
                    </a:lnTo>
                    <a:lnTo>
                      <a:pt x="50" y="90"/>
                    </a:lnTo>
                    <a:lnTo>
                      <a:pt x="50" y="88"/>
                    </a:lnTo>
                    <a:lnTo>
                      <a:pt x="52" y="88"/>
                    </a:lnTo>
                    <a:lnTo>
                      <a:pt x="52" y="86"/>
                    </a:lnTo>
                    <a:lnTo>
                      <a:pt x="54" y="88"/>
                    </a:lnTo>
                    <a:lnTo>
                      <a:pt x="52" y="88"/>
                    </a:lnTo>
                    <a:lnTo>
                      <a:pt x="54" y="88"/>
                    </a:lnTo>
                    <a:lnTo>
                      <a:pt x="54" y="90"/>
                    </a:lnTo>
                    <a:lnTo>
                      <a:pt x="56" y="88"/>
                    </a:lnTo>
                    <a:lnTo>
                      <a:pt x="58" y="88"/>
                    </a:lnTo>
                    <a:lnTo>
                      <a:pt x="58" y="90"/>
                    </a:lnTo>
                    <a:lnTo>
                      <a:pt x="58" y="88"/>
                    </a:lnTo>
                    <a:lnTo>
                      <a:pt x="60" y="88"/>
                    </a:lnTo>
                    <a:lnTo>
                      <a:pt x="60" y="86"/>
                    </a:lnTo>
                    <a:lnTo>
                      <a:pt x="62" y="84"/>
                    </a:lnTo>
                    <a:lnTo>
                      <a:pt x="60" y="84"/>
                    </a:lnTo>
                    <a:lnTo>
                      <a:pt x="60" y="82"/>
                    </a:lnTo>
                    <a:lnTo>
                      <a:pt x="62" y="82"/>
                    </a:lnTo>
                    <a:lnTo>
                      <a:pt x="62" y="81"/>
                    </a:lnTo>
                    <a:lnTo>
                      <a:pt x="62" y="82"/>
                    </a:lnTo>
                    <a:lnTo>
                      <a:pt x="64" y="82"/>
                    </a:lnTo>
                    <a:lnTo>
                      <a:pt x="66" y="82"/>
                    </a:lnTo>
                    <a:lnTo>
                      <a:pt x="66" y="81"/>
                    </a:lnTo>
                    <a:lnTo>
                      <a:pt x="66" y="82"/>
                    </a:lnTo>
                    <a:lnTo>
                      <a:pt x="67" y="82"/>
                    </a:lnTo>
                    <a:lnTo>
                      <a:pt x="67" y="81"/>
                    </a:lnTo>
                    <a:lnTo>
                      <a:pt x="67" y="82"/>
                    </a:lnTo>
                    <a:lnTo>
                      <a:pt x="69" y="82"/>
                    </a:lnTo>
                    <a:lnTo>
                      <a:pt x="71" y="82"/>
                    </a:lnTo>
                    <a:lnTo>
                      <a:pt x="71" y="81"/>
                    </a:lnTo>
                    <a:lnTo>
                      <a:pt x="71" y="79"/>
                    </a:lnTo>
                    <a:lnTo>
                      <a:pt x="69" y="79"/>
                    </a:lnTo>
                    <a:lnTo>
                      <a:pt x="69" y="77"/>
                    </a:lnTo>
                    <a:lnTo>
                      <a:pt x="67" y="77"/>
                    </a:lnTo>
                    <a:lnTo>
                      <a:pt x="67" y="75"/>
                    </a:lnTo>
                    <a:lnTo>
                      <a:pt x="69" y="75"/>
                    </a:lnTo>
                    <a:lnTo>
                      <a:pt x="69" y="73"/>
                    </a:lnTo>
                    <a:lnTo>
                      <a:pt x="71" y="73"/>
                    </a:lnTo>
                    <a:lnTo>
                      <a:pt x="71" y="71"/>
                    </a:lnTo>
                    <a:lnTo>
                      <a:pt x="71" y="69"/>
                    </a:lnTo>
                    <a:lnTo>
                      <a:pt x="73" y="69"/>
                    </a:lnTo>
                    <a:lnTo>
                      <a:pt x="71" y="67"/>
                    </a:lnTo>
                    <a:lnTo>
                      <a:pt x="71" y="65"/>
                    </a:lnTo>
                    <a:lnTo>
                      <a:pt x="71" y="63"/>
                    </a:lnTo>
                    <a:lnTo>
                      <a:pt x="71" y="61"/>
                    </a:lnTo>
                    <a:lnTo>
                      <a:pt x="69" y="61"/>
                    </a:lnTo>
                    <a:lnTo>
                      <a:pt x="71" y="61"/>
                    </a:lnTo>
                    <a:lnTo>
                      <a:pt x="71" y="59"/>
                    </a:lnTo>
                    <a:lnTo>
                      <a:pt x="71" y="61"/>
                    </a:lnTo>
                    <a:lnTo>
                      <a:pt x="73" y="61"/>
                    </a:lnTo>
                    <a:lnTo>
                      <a:pt x="73" y="59"/>
                    </a:lnTo>
                    <a:lnTo>
                      <a:pt x="77" y="61"/>
                    </a:lnTo>
                    <a:lnTo>
                      <a:pt x="81" y="63"/>
                    </a:lnTo>
                    <a:lnTo>
                      <a:pt x="81" y="61"/>
                    </a:lnTo>
                    <a:lnTo>
                      <a:pt x="83" y="59"/>
                    </a:lnTo>
                    <a:lnTo>
                      <a:pt x="81" y="59"/>
                    </a:lnTo>
                    <a:lnTo>
                      <a:pt x="81" y="58"/>
                    </a:lnTo>
                    <a:lnTo>
                      <a:pt x="83" y="58"/>
                    </a:lnTo>
                    <a:lnTo>
                      <a:pt x="85" y="58"/>
                    </a:lnTo>
                    <a:lnTo>
                      <a:pt x="85" y="56"/>
                    </a:lnTo>
                    <a:lnTo>
                      <a:pt x="87" y="56"/>
                    </a:lnTo>
                    <a:lnTo>
                      <a:pt x="87" y="54"/>
                    </a:lnTo>
                    <a:lnTo>
                      <a:pt x="87" y="52"/>
                    </a:lnTo>
                    <a:lnTo>
                      <a:pt x="87" y="54"/>
                    </a:lnTo>
                    <a:lnTo>
                      <a:pt x="85" y="52"/>
                    </a:lnTo>
                    <a:lnTo>
                      <a:pt x="85" y="50"/>
                    </a:lnTo>
                    <a:lnTo>
                      <a:pt x="85" y="48"/>
                    </a:lnTo>
                    <a:lnTo>
                      <a:pt x="87" y="48"/>
                    </a:lnTo>
                    <a:lnTo>
                      <a:pt x="87" y="46"/>
                    </a:lnTo>
                    <a:lnTo>
                      <a:pt x="89" y="46"/>
                    </a:lnTo>
                    <a:lnTo>
                      <a:pt x="87" y="46"/>
                    </a:lnTo>
                    <a:lnTo>
                      <a:pt x="89" y="46"/>
                    </a:lnTo>
                    <a:lnTo>
                      <a:pt x="89" y="44"/>
                    </a:lnTo>
                    <a:lnTo>
                      <a:pt x="90" y="44"/>
                    </a:lnTo>
                    <a:lnTo>
                      <a:pt x="90" y="42"/>
                    </a:lnTo>
                    <a:lnTo>
                      <a:pt x="92" y="42"/>
                    </a:lnTo>
                    <a:lnTo>
                      <a:pt x="92" y="44"/>
                    </a:lnTo>
                    <a:lnTo>
                      <a:pt x="94" y="44"/>
                    </a:lnTo>
                    <a:lnTo>
                      <a:pt x="94" y="42"/>
                    </a:lnTo>
                    <a:lnTo>
                      <a:pt x="96" y="42"/>
                    </a:lnTo>
                    <a:lnTo>
                      <a:pt x="96" y="44"/>
                    </a:lnTo>
                    <a:lnTo>
                      <a:pt x="98" y="44"/>
                    </a:lnTo>
                    <a:lnTo>
                      <a:pt x="100" y="44"/>
                    </a:lnTo>
                    <a:lnTo>
                      <a:pt x="102" y="44"/>
                    </a:lnTo>
                    <a:lnTo>
                      <a:pt x="102" y="42"/>
                    </a:lnTo>
                    <a:lnTo>
                      <a:pt x="102" y="44"/>
                    </a:lnTo>
                    <a:lnTo>
                      <a:pt x="102" y="46"/>
                    </a:lnTo>
                    <a:lnTo>
                      <a:pt x="104" y="44"/>
                    </a:lnTo>
                    <a:lnTo>
                      <a:pt x="106" y="42"/>
                    </a:lnTo>
                    <a:lnTo>
                      <a:pt x="106" y="38"/>
                    </a:lnTo>
                    <a:lnTo>
                      <a:pt x="106" y="34"/>
                    </a:lnTo>
                    <a:lnTo>
                      <a:pt x="108" y="31"/>
                    </a:lnTo>
                    <a:lnTo>
                      <a:pt x="112" y="25"/>
                    </a:lnTo>
                    <a:lnTo>
                      <a:pt x="115" y="21"/>
                    </a:lnTo>
                    <a:lnTo>
                      <a:pt x="115" y="19"/>
                    </a:lnTo>
                    <a:lnTo>
                      <a:pt x="117" y="17"/>
                    </a:lnTo>
                    <a:lnTo>
                      <a:pt x="123" y="13"/>
                    </a:lnTo>
                    <a:lnTo>
                      <a:pt x="125" y="13"/>
                    </a:lnTo>
                    <a:lnTo>
                      <a:pt x="127" y="11"/>
                    </a:lnTo>
                    <a:lnTo>
                      <a:pt x="127" y="9"/>
                    </a:lnTo>
                    <a:lnTo>
                      <a:pt x="129" y="9"/>
                    </a:lnTo>
                    <a:lnTo>
                      <a:pt x="129" y="8"/>
                    </a:lnTo>
                    <a:lnTo>
                      <a:pt x="131" y="8"/>
                    </a:lnTo>
                    <a:lnTo>
                      <a:pt x="133" y="8"/>
                    </a:lnTo>
                    <a:lnTo>
                      <a:pt x="135" y="8"/>
                    </a:lnTo>
                    <a:lnTo>
                      <a:pt x="135" y="6"/>
                    </a:lnTo>
                    <a:lnTo>
                      <a:pt x="137" y="6"/>
                    </a:lnTo>
                    <a:lnTo>
                      <a:pt x="137" y="8"/>
                    </a:lnTo>
                    <a:lnTo>
                      <a:pt x="135" y="8"/>
                    </a:lnTo>
                    <a:lnTo>
                      <a:pt x="135" y="9"/>
                    </a:lnTo>
                    <a:lnTo>
                      <a:pt x="137" y="8"/>
                    </a:lnTo>
                    <a:lnTo>
                      <a:pt x="135" y="9"/>
                    </a:lnTo>
                    <a:lnTo>
                      <a:pt x="137" y="9"/>
                    </a:lnTo>
                    <a:lnTo>
                      <a:pt x="137" y="11"/>
                    </a:lnTo>
                    <a:lnTo>
                      <a:pt x="139" y="11"/>
                    </a:lnTo>
                    <a:lnTo>
                      <a:pt x="137" y="13"/>
                    </a:lnTo>
                    <a:lnTo>
                      <a:pt x="137" y="15"/>
                    </a:lnTo>
                    <a:lnTo>
                      <a:pt x="139" y="17"/>
                    </a:lnTo>
                    <a:lnTo>
                      <a:pt x="137" y="17"/>
                    </a:lnTo>
                    <a:lnTo>
                      <a:pt x="139" y="17"/>
                    </a:lnTo>
                    <a:lnTo>
                      <a:pt x="139" y="19"/>
                    </a:lnTo>
                    <a:lnTo>
                      <a:pt x="139" y="21"/>
                    </a:lnTo>
                    <a:lnTo>
                      <a:pt x="139" y="23"/>
                    </a:lnTo>
                    <a:lnTo>
                      <a:pt x="140" y="21"/>
                    </a:lnTo>
                    <a:lnTo>
                      <a:pt x="140" y="23"/>
                    </a:lnTo>
                    <a:lnTo>
                      <a:pt x="142" y="23"/>
                    </a:lnTo>
                    <a:lnTo>
                      <a:pt x="144" y="25"/>
                    </a:lnTo>
                    <a:lnTo>
                      <a:pt x="146" y="25"/>
                    </a:lnTo>
                    <a:lnTo>
                      <a:pt x="148" y="25"/>
                    </a:lnTo>
                    <a:lnTo>
                      <a:pt x="150" y="25"/>
                    </a:lnTo>
                    <a:lnTo>
                      <a:pt x="152" y="25"/>
                    </a:lnTo>
                    <a:lnTo>
                      <a:pt x="154" y="23"/>
                    </a:lnTo>
                    <a:lnTo>
                      <a:pt x="156" y="23"/>
                    </a:lnTo>
                    <a:lnTo>
                      <a:pt x="156" y="25"/>
                    </a:lnTo>
                    <a:lnTo>
                      <a:pt x="158" y="23"/>
                    </a:lnTo>
                    <a:lnTo>
                      <a:pt x="158" y="25"/>
                    </a:lnTo>
                    <a:lnTo>
                      <a:pt x="160" y="23"/>
                    </a:lnTo>
                    <a:lnTo>
                      <a:pt x="162" y="23"/>
                    </a:lnTo>
                    <a:lnTo>
                      <a:pt x="162" y="21"/>
                    </a:lnTo>
                    <a:lnTo>
                      <a:pt x="163" y="23"/>
                    </a:lnTo>
                    <a:lnTo>
                      <a:pt x="163" y="21"/>
                    </a:lnTo>
                    <a:lnTo>
                      <a:pt x="165" y="19"/>
                    </a:lnTo>
                    <a:lnTo>
                      <a:pt x="167" y="19"/>
                    </a:lnTo>
                    <a:lnTo>
                      <a:pt x="169" y="17"/>
                    </a:lnTo>
                    <a:lnTo>
                      <a:pt x="169" y="19"/>
                    </a:lnTo>
                    <a:lnTo>
                      <a:pt x="171" y="19"/>
                    </a:lnTo>
                    <a:lnTo>
                      <a:pt x="173" y="19"/>
                    </a:lnTo>
                    <a:lnTo>
                      <a:pt x="175" y="19"/>
                    </a:lnTo>
                    <a:lnTo>
                      <a:pt x="175" y="17"/>
                    </a:lnTo>
                    <a:lnTo>
                      <a:pt x="177" y="17"/>
                    </a:lnTo>
                    <a:lnTo>
                      <a:pt x="179" y="15"/>
                    </a:lnTo>
                    <a:lnTo>
                      <a:pt x="181" y="13"/>
                    </a:lnTo>
                    <a:lnTo>
                      <a:pt x="183" y="13"/>
                    </a:lnTo>
                    <a:lnTo>
                      <a:pt x="183" y="11"/>
                    </a:lnTo>
                    <a:lnTo>
                      <a:pt x="183" y="9"/>
                    </a:lnTo>
                    <a:lnTo>
                      <a:pt x="183" y="6"/>
                    </a:lnTo>
                    <a:lnTo>
                      <a:pt x="185" y="6"/>
                    </a:lnTo>
                    <a:lnTo>
                      <a:pt x="185" y="4"/>
                    </a:lnTo>
                    <a:lnTo>
                      <a:pt x="187" y="2"/>
                    </a:lnTo>
                    <a:lnTo>
                      <a:pt x="188" y="2"/>
                    </a:lnTo>
                    <a:lnTo>
                      <a:pt x="188" y="0"/>
                    </a:lnTo>
                    <a:lnTo>
                      <a:pt x="190" y="0"/>
                    </a:lnTo>
                    <a:lnTo>
                      <a:pt x="192" y="0"/>
                    </a:lnTo>
                    <a:lnTo>
                      <a:pt x="192" y="2"/>
                    </a:lnTo>
                    <a:lnTo>
                      <a:pt x="194" y="0"/>
                    </a:lnTo>
                    <a:lnTo>
                      <a:pt x="194" y="2"/>
                    </a:lnTo>
                    <a:lnTo>
                      <a:pt x="196" y="2"/>
                    </a:lnTo>
                    <a:lnTo>
                      <a:pt x="200" y="4"/>
                    </a:lnTo>
                    <a:lnTo>
                      <a:pt x="198" y="8"/>
                    </a:lnTo>
                    <a:lnTo>
                      <a:pt x="200" y="8"/>
                    </a:lnTo>
                    <a:lnTo>
                      <a:pt x="200" y="9"/>
                    </a:lnTo>
                    <a:lnTo>
                      <a:pt x="206" y="11"/>
                    </a:lnTo>
                    <a:lnTo>
                      <a:pt x="206" y="13"/>
                    </a:lnTo>
                    <a:lnTo>
                      <a:pt x="204" y="13"/>
                    </a:lnTo>
                    <a:lnTo>
                      <a:pt x="204" y="15"/>
                    </a:lnTo>
                    <a:lnTo>
                      <a:pt x="204" y="17"/>
                    </a:lnTo>
                    <a:lnTo>
                      <a:pt x="204" y="19"/>
                    </a:lnTo>
                    <a:lnTo>
                      <a:pt x="206" y="21"/>
                    </a:lnTo>
                    <a:lnTo>
                      <a:pt x="208" y="21"/>
                    </a:lnTo>
                    <a:lnTo>
                      <a:pt x="208" y="19"/>
                    </a:lnTo>
                    <a:lnTo>
                      <a:pt x="210" y="19"/>
                    </a:lnTo>
                    <a:lnTo>
                      <a:pt x="210" y="17"/>
                    </a:lnTo>
                    <a:lnTo>
                      <a:pt x="212" y="19"/>
                    </a:lnTo>
                    <a:lnTo>
                      <a:pt x="212" y="17"/>
                    </a:lnTo>
                    <a:lnTo>
                      <a:pt x="213" y="17"/>
                    </a:lnTo>
                    <a:lnTo>
                      <a:pt x="213" y="15"/>
                    </a:lnTo>
                    <a:lnTo>
                      <a:pt x="215" y="15"/>
                    </a:lnTo>
                    <a:lnTo>
                      <a:pt x="215" y="17"/>
                    </a:lnTo>
                    <a:lnTo>
                      <a:pt x="217" y="17"/>
                    </a:lnTo>
                    <a:lnTo>
                      <a:pt x="219" y="17"/>
                    </a:lnTo>
                    <a:lnTo>
                      <a:pt x="221" y="19"/>
                    </a:lnTo>
                    <a:lnTo>
                      <a:pt x="225" y="21"/>
                    </a:lnTo>
                    <a:lnTo>
                      <a:pt x="227" y="21"/>
                    </a:lnTo>
                    <a:lnTo>
                      <a:pt x="229" y="23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74">
                <a:extLst>
                  <a:ext uri="{FF2B5EF4-FFF2-40B4-BE49-F238E27FC236}">
                    <a16:creationId xmlns="" xmlns:a16="http://schemas.microsoft.com/office/drawing/2014/main" id="{1EB01A0D-8724-49D9-A760-DC8C42C820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01813" y="2987676"/>
                <a:ext cx="327025" cy="219075"/>
              </a:xfrm>
              <a:custGeom>
                <a:avLst/>
                <a:gdLst>
                  <a:gd name="T0" fmla="*/ 187 w 206"/>
                  <a:gd name="T1" fmla="*/ 84 h 138"/>
                  <a:gd name="T2" fmla="*/ 193 w 206"/>
                  <a:gd name="T3" fmla="*/ 90 h 138"/>
                  <a:gd name="T4" fmla="*/ 187 w 206"/>
                  <a:gd name="T5" fmla="*/ 96 h 138"/>
                  <a:gd name="T6" fmla="*/ 193 w 206"/>
                  <a:gd name="T7" fmla="*/ 96 h 138"/>
                  <a:gd name="T8" fmla="*/ 202 w 206"/>
                  <a:gd name="T9" fmla="*/ 104 h 138"/>
                  <a:gd name="T10" fmla="*/ 202 w 206"/>
                  <a:gd name="T11" fmla="*/ 109 h 138"/>
                  <a:gd name="T12" fmla="*/ 206 w 206"/>
                  <a:gd name="T13" fmla="*/ 119 h 138"/>
                  <a:gd name="T14" fmla="*/ 202 w 206"/>
                  <a:gd name="T15" fmla="*/ 129 h 138"/>
                  <a:gd name="T16" fmla="*/ 189 w 206"/>
                  <a:gd name="T17" fmla="*/ 129 h 138"/>
                  <a:gd name="T18" fmla="*/ 181 w 206"/>
                  <a:gd name="T19" fmla="*/ 123 h 138"/>
                  <a:gd name="T20" fmla="*/ 170 w 206"/>
                  <a:gd name="T21" fmla="*/ 125 h 138"/>
                  <a:gd name="T22" fmla="*/ 156 w 206"/>
                  <a:gd name="T23" fmla="*/ 119 h 138"/>
                  <a:gd name="T24" fmla="*/ 143 w 206"/>
                  <a:gd name="T25" fmla="*/ 123 h 138"/>
                  <a:gd name="T26" fmla="*/ 141 w 206"/>
                  <a:gd name="T27" fmla="*/ 113 h 138"/>
                  <a:gd name="T28" fmla="*/ 127 w 206"/>
                  <a:gd name="T29" fmla="*/ 108 h 138"/>
                  <a:gd name="T30" fmla="*/ 116 w 206"/>
                  <a:gd name="T31" fmla="*/ 111 h 138"/>
                  <a:gd name="T32" fmla="*/ 106 w 206"/>
                  <a:gd name="T33" fmla="*/ 121 h 138"/>
                  <a:gd name="T34" fmla="*/ 95 w 206"/>
                  <a:gd name="T35" fmla="*/ 127 h 138"/>
                  <a:gd name="T36" fmla="*/ 83 w 206"/>
                  <a:gd name="T37" fmla="*/ 136 h 138"/>
                  <a:gd name="T38" fmla="*/ 77 w 206"/>
                  <a:gd name="T39" fmla="*/ 132 h 138"/>
                  <a:gd name="T40" fmla="*/ 68 w 206"/>
                  <a:gd name="T41" fmla="*/ 129 h 138"/>
                  <a:gd name="T42" fmla="*/ 56 w 206"/>
                  <a:gd name="T43" fmla="*/ 129 h 138"/>
                  <a:gd name="T44" fmla="*/ 49 w 206"/>
                  <a:gd name="T45" fmla="*/ 129 h 138"/>
                  <a:gd name="T46" fmla="*/ 39 w 206"/>
                  <a:gd name="T47" fmla="*/ 131 h 138"/>
                  <a:gd name="T48" fmla="*/ 33 w 206"/>
                  <a:gd name="T49" fmla="*/ 125 h 138"/>
                  <a:gd name="T50" fmla="*/ 22 w 206"/>
                  <a:gd name="T51" fmla="*/ 129 h 138"/>
                  <a:gd name="T52" fmla="*/ 8 w 206"/>
                  <a:gd name="T53" fmla="*/ 123 h 138"/>
                  <a:gd name="T54" fmla="*/ 2 w 206"/>
                  <a:gd name="T55" fmla="*/ 115 h 138"/>
                  <a:gd name="T56" fmla="*/ 8 w 206"/>
                  <a:gd name="T57" fmla="*/ 100 h 138"/>
                  <a:gd name="T58" fmla="*/ 10 w 206"/>
                  <a:gd name="T59" fmla="*/ 88 h 138"/>
                  <a:gd name="T60" fmla="*/ 16 w 206"/>
                  <a:gd name="T61" fmla="*/ 81 h 138"/>
                  <a:gd name="T62" fmla="*/ 25 w 206"/>
                  <a:gd name="T63" fmla="*/ 69 h 138"/>
                  <a:gd name="T64" fmla="*/ 31 w 206"/>
                  <a:gd name="T65" fmla="*/ 61 h 138"/>
                  <a:gd name="T66" fmla="*/ 24 w 206"/>
                  <a:gd name="T67" fmla="*/ 50 h 138"/>
                  <a:gd name="T68" fmla="*/ 25 w 206"/>
                  <a:gd name="T69" fmla="*/ 42 h 138"/>
                  <a:gd name="T70" fmla="*/ 20 w 206"/>
                  <a:gd name="T71" fmla="*/ 33 h 138"/>
                  <a:gd name="T72" fmla="*/ 27 w 206"/>
                  <a:gd name="T73" fmla="*/ 23 h 138"/>
                  <a:gd name="T74" fmla="*/ 35 w 206"/>
                  <a:gd name="T75" fmla="*/ 25 h 138"/>
                  <a:gd name="T76" fmla="*/ 43 w 206"/>
                  <a:gd name="T77" fmla="*/ 19 h 138"/>
                  <a:gd name="T78" fmla="*/ 50 w 206"/>
                  <a:gd name="T79" fmla="*/ 17 h 138"/>
                  <a:gd name="T80" fmla="*/ 58 w 206"/>
                  <a:gd name="T81" fmla="*/ 8 h 138"/>
                  <a:gd name="T82" fmla="*/ 68 w 206"/>
                  <a:gd name="T83" fmla="*/ 17 h 138"/>
                  <a:gd name="T84" fmla="*/ 79 w 206"/>
                  <a:gd name="T85" fmla="*/ 11 h 138"/>
                  <a:gd name="T86" fmla="*/ 93 w 206"/>
                  <a:gd name="T87" fmla="*/ 8 h 138"/>
                  <a:gd name="T88" fmla="*/ 100 w 206"/>
                  <a:gd name="T89" fmla="*/ 15 h 138"/>
                  <a:gd name="T90" fmla="*/ 110 w 206"/>
                  <a:gd name="T91" fmla="*/ 8 h 138"/>
                  <a:gd name="T92" fmla="*/ 118 w 206"/>
                  <a:gd name="T93" fmla="*/ 0 h 138"/>
                  <a:gd name="T94" fmla="*/ 123 w 206"/>
                  <a:gd name="T95" fmla="*/ 8 h 138"/>
                  <a:gd name="T96" fmla="*/ 133 w 206"/>
                  <a:gd name="T97" fmla="*/ 9 h 138"/>
                  <a:gd name="T98" fmla="*/ 131 w 206"/>
                  <a:gd name="T99" fmla="*/ 15 h 138"/>
                  <a:gd name="T100" fmla="*/ 131 w 206"/>
                  <a:gd name="T101" fmla="*/ 21 h 138"/>
                  <a:gd name="T102" fmla="*/ 131 w 206"/>
                  <a:gd name="T103" fmla="*/ 29 h 138"/>
                  <a:gd name="T104" fmla="*/ 135 w 206"/>
                  <a:gd name="T105" fmla="*/ 33 h 138"/>
                  <a:gd name="T106" fmla="*/ 148 w 206"/>
                  <a:gd name="T107" fmla="*/ 25 h 138"/>
                  <a:gd name="T108" fmla="*/ 160 w 206"/>
                  <a:gd name="T109" fmla="*/ 31 h 138"/>
                  <a:gd name="T110" fmla="*/ 170 w 206"/>
                  <a:gd name="T111" fmla="*/ 36 h 138"/>
                  <a:gd name="T112" fmla="*/ 168 w 206"/>
                  <a:gd name="T113" fmla="*/ 50 h 138"/>
                  <a:gd name="T114" fmla="*/ 173 w 206"/>
                  <a:gd name="T115" fmla="*/ 58 h 138"/>
                  <a:gd name="T116" fmla="*/ 185 w 206"/>
                  <a:gd name="T117" fmla="*/ 67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06" h="138">
                    <a:moveTo>
                      <a:pt x="187" y="73"/>
                    </a:moveTo>
                    <a:lnTo>
                      <a:pt x="185" y="73"/>
                    </a:lnTo>
                    <a:lnTo>
                      <a:pt x="187" y="75"/>
                    </a:lnTo>
                    <a:lnTo>
                      <a:pt x="189" y="77"/>
                    </a:lnTo>
                    <a:lnTo>
                      <a:pt x="189" y="79"/>
                    </a:lnTo>
                    <a:lnTo>
                      <a:pt x="187" y="79"/>
                    </a:lnTo>
                    <a:lnTo>
                      <a:pt x="185" y="79"/>
                    </a:lnTo>
                    <a:lnTo>
                      <a:pt x="185" y="81"/>
                    </a:lnTo>
                    <a:lnTo>
                      <a:pt x="187" y="81"/>
                    </a:lnTo>
                    <a:lnTo>
                      <a:pt x="187" y="83"/>
                    </a:lnTo>
                    <a:lnTo>
                      <a:pt x="187" y="84"/>
                    </a:lnTo>
                    <a:lnTo>
                      <a:pt x="189" y="84"/>
                    </a:lnTo>
                    <a:lnTo>
                      <a:pt x="189" y="86"/>
                    </a:lnTo>
                    <a:lnTo>
                      <a:pt x="187" y="86"/>
                    </a:lnTo>
                    <a:lnTo>
                      <a:pt x="189" y="88"/>
                    </a:lnTo>
                    <a:lnTo>
                      <a:pt x="191" y="88"/>
                    </a:lnTo>
                    <a:lnTo>
                      <a:pt x="191" y="86"/>
                    </a:lnTo>
                    <a:lnTo>
                      <a:pt x="191" y="88"/>
                    </a:lnTo>
                    <a:lnTo>
                      <a:pt x="193" y="88"/>
                    </a:lnTo>
                    <a:lnTo>
                      <a:pt x="191" y="88"/>
                    </a:lnTo>
                    <a:lnTo>
                      <a:pt x="191" y="90"/>
                    </a:lnTo>
                    <a:lnTo>
                      <a:pt x="193" y="90"/>
                    </a:lnTo>
                    <a:lnTo>
                      <a:pt x="191" y="90"/>
                    </a:lnTo>
                    <a:lnTo>
                      <a:pt x="189" y="90"/>
                    </a:lnTo>
                    <a:lnTo>
                      <a:pt x="189" y="92"/>
                    </a:lnTo>
                    <a:lnTo>
                      <a:pt x="187" y="92"/>
                    </a:lnTo>
                    <a:lnTo>
                      <a:pt x="187" y="94"/>
                    </a:lnTo>
                    <a:lnTo>
                      <a:pt x="187" y="96"/>
                    </a:lnTo>
                    <a:lnTo>
                      <a:pt x="189" y="94"/>
                    </a:lnTo>
                    <a:lnTo>
                      <a:pt x="189" y="96"/>
                    </a:lnTo>
                    <a:lnTo>
                      <a:pt x="189" y="94"/>
                    </a:lnTo>
                    <a:lnTo>
                      <a:pt x="189" y="96"/>
                    </a:lnTo>
                    <a:lnTo>
                      <a:pt x="187" y="96"/>
                    </a:lnTo>
                    <a:lnTo>
                      <a:pt x="189" y="96"/>
                    </a:lnTo>
                    <a:lnTo>
                      <a:pt x="187" y="98"/>
                    </a:lnTo>
                    <a:lnTo>
                      <a:pt x="189" y="98"/>
                    </a:lnTo>
                    <a:lnTo>
                      <a:pt x="187" y="98"/>
                    </a:lnTo>
                    <a:lnTo>
                      <a:pt x="189" y="98"/>
                    </a:lnTo>
                    <a:lnTo>
                      <a:pt x="187" y="100"/>
                    </a:lnTo>
                    <a:lnTo>
                      <a:pt x="189" y="100"/>
                    </a:lnTo>
                    <a:lnTo>
                      <a:pt x="189" y="98"/>
                    </a:lnTo>
                    <a:lnTo>
                      <a:pt x="191" y="98"/>
                    </a:lnTo>
                    <a:lnTo>
                      <a:pt x="193" y="98"/>
                    </a:lnTo>
                    <a:lnTo>
                      <a:pt x="193" y="96"/>
                    </a:lnTo>
                    <a:lnTo>
                      <a:pt x="193" y="98"/>
                    </a:lnTo>
                    <a:lnTo>
                      <a:pt x="195" y="98"/>
                    </a:lnTo>
                    <a:lnTo>
                      <a:pt x="196" y="98"/>
                    </a:lnTo>
                    <a:lnTo>
                      <a:pt x="196" y="100"/>
                    </a:lnTo>
                    <a:lnTo>
                      <a:pt x="198" y="100"/>
                    </a:lnTo>
                    <a:lnTo>
                      <a:pt x="196" y="102"/>
                    </a:lnTo>
                    <a:lnTo>
                      <a:pt x="198" y="102"/>
                    </a:lnTo>
                    <a:lnTo>
                      <a:pt x="196" y="104"/>
                    </a:lnTo>
                    <a:lnTo>
                      <a:pt x="198" y="104"/>
                    </a:lnTo>
                    <a:lnTo>
                      <a:pt x="200" y="106"/>
                    </a:lnTo>
                    <a:lnTo>
                      <a:pt x="202" y="104"/>
                    </a:lnTo>
                    <a:lnTo>
                      <a:pt x="200" y="104"/>
                    </a:lnTo>
                    <a:lnTo>
                      <a:pt x="202" y="102"/>
                    </a:lnTo>
                    <a:lnTo>
                      <a:pt x="202" y="104"/>
                    </a:lnTo>
                    <a:lnTo>
                      <a:pt x="202" y="106"/>
                    </a:lnTo>
                    <a:lnTo>
                      <a:pt x="202" y="108"/>
                    </a:lnTo>
                    <a:lnTo>
                      <a:pt x="204" y="108"/>
                    </a:lnTo>
                    <a:lnTo>
                      <a:pt x="202" y="108"/>
                    </a:lnTo>
                    <a:lnTo>
                      <a:pt x="202" y="106"/>
                    </a:lnTo>
                    <a:lnTo>
                      <a:pt x="200" y="108"/>
                    </a:lnTo>
                    <a:lnTo>
                      <a:pt x="200" y="109"/>
                    </a:lnTo>
                    <a:lnTo>
                      <a:pt x="202" y="109"/>
                    </a:lnTo>
                    <a:lnTo>
                      <a:pt x="202" y="111"/>
                    </a:lnTo>
                    <a:lnTo>
                      <a:pt x="204" y="111"/>
                    </a:lnTo>
                    <a:lnTo>
                      <a:pt x="204" y="113"/>
                    </a:lnTo>
                    <a:lnTo>
                      <a:pt x="202" y="113"/>
                    </a:lnTo>
                    <a:lnTo>
                      <a:pt x="204" y="113"/>
                    </a:lnTo>
                    <a:lnTo>
                      <a:pt x="204" y="115"/>
                    </a:lnTo>
                    <a:lnTo>
                      <a:pt x="206" y="115"/>
                    </a:lnTo>
                    <a:lnTo>
                      <a:pt x="206" y="117"/>
                    </a:lnTo>
                    <a:lnTo>
                      <a:pt x="206" y="115"/>
                    </a:lnTo>
                    <a:lnTo>
                      <a:pt x="206" y="117"/>
                    </a:lnTo>
                    <a:lnTo>
                      <a:pt x="206" y="119"/>
                    </a:lnTo>
                    <a:lnTo>
                      <a:pt x="206" y="121"/>
                    </a:lnTo>
                    <a:lnTo>
                      <a:pt x="204" y="121"/>
                    </a:lnTo>
                    <a:lnTo>
                      <a:pt x="204" y="123"/>
                    </a:lnTo>
                    <a:lnTo>
                      <a:pt x="206" y="125"/>
                    </a:lnTo>
                    <a:lnTo>
                      <a:pt x="204" y="125"/>
                    </a:lnTo>
                    <a:lnTo>
                      <a:pt x="206" y="125"/>
                    </a:lnTo>
                    <a:lnTo>
                      <a:pt x="204" y="127"/>
                    </a:lnTo>
                    <a:lnTo>
                      <a:pt x="202" y="129"/>
                    </a:lnTo>
                    <a:lnTo>
                      <a:pt x="202" y="127"/>
                    </a:lnTo>
                    <a:lnTo>
                      <a:pt x="200" y="129"/>
                    </a:lnTo>
                    <a:lnTo>
                      <a:pt x="202" y="129"/>
                    </a:lnTo>
                    <a:lnTo>
                      <a:pt x="200" y="129"/>
                    </a:lnTo>
                    <a:lnTo>
                      <a:pt x="200" y="131"/>
                    </a:lnTo>
                    <a:lnTo>
                      <a:pt x="200" y="129"/>
                    </a:lnTo>
                    <a:lnTo>
                      <a:pt x="198" y="129"/>
                    </a:lnTo>
                    <a:lnTo>
                      <a:pt x="196" y="129"/>
                    </a:lnTo>
                    <a:lnTo>
                      <a:pt x="195" y="129"/>
                    </a:lnTo>
                    <a:lnTo>
                      <a:pt x="193" y="129"/>
                    </a:lnTo>
                    <a:lnTo>
                      <a:pt x="193" y="131"/>
                    </a:lnTo>
                    <a:lnTo>
                      <a:pt x="191" y="131"/>
                    </a:lnTo>
                    <a:lnTo>
                      <a:pt x="191" y="129"/>
                    </a:lnTo>
                    <a:lnTo>
                      <a:pt x="189" y="129"/>
                    </a:lnTo>
                    <a:lnTo>
                      <a:pt x="187" y="127"/>
                    </a:lnTo>
                    <a:lnTo>
                      <a:pt x="189" y="127"/>
                    </a:lnTo>
                    <a:lnTo>
                      <a:pt x="187" y="127"/>
                    </a:lnTo>
                    <a:lnTo>
                      <a:pt x="185" y="125"/>
                    </a:lnTo>
                    <a:lnTo>
                      <a:pt x="185" y="123"/>
                    </a:lnTo>
                    <a:lnTo>
                      <a:pt x="183" y="123"/>
                    </a:lnTo>
                    <a:lnTo>
                      <a:pt x="183" y="121"/>
                    </a:lnTo>
                    <a:lnTo>
                      <a:pt x="183" y="123"/>
                    </a:lnTo>
                    <a:lnTo>
                      <a:pt x="181" y="123"/>
                    </a:lnTo>
                    <a:lnTo>
                      <a:pt x="181" y="121"/>
                    </a:lnTo>
                    <a:lnTo>
                      <a:pt x="181" y="123"/>
                    </a:lnTo>
                    <a:lnTo>
                      <a:pt x="179" y="123"/>
                    </a:lnTo>
                    <a:lnTo>
                      <a:pt x="179" y="121"/>
                    </a:lnTo>
                    <a:lnTo>
                      <a:pt x="179" y="123"/>
                    </a:lnTo>
                    <a:lnTo>
                      <a:pt x="177" y="121"/>
                    </a:lnTo>
                    <a:lnTo>
                      <a:pt x="175" y="121"/>
                    </a:lnTo>
                    <a:lnTo>
                      <a:pt x="175" y="119"/>
                    </a:lnTo>
                    <a:lnTo>
                      <a:pt x="173" y="121"/>
                    </a:lnTo>
                    <a:lnTo>
                      <a:pt x="171" y="121"/>
                    </a:lnTo>
                    <a:lnTo>
                      <a:pt x="173" y="121"/>
                    </a:lnTo>
                    <a:lnTo>
                      <a:pt x="171" y="123"/>
                    </a:lnTo>
                    <a:lnTo>
                      <a:pt x="170" y="125"/>
                    </a:lnTo>
                    <a:lnTo>
                      <a:pt x="170" y="127"/>
                    </a:lnTo>
                    <a:lnTo>
                      <a:pt x="168" y="127"/>
                    </a:lnTo>
                    <a:lnTo>
                      <a:pt x="166" y="127"/>
                    </a:lnTo>
                    <a:lnTo>
                      <a:pt x="164" y="127"/>
                    </a:lnTo>
                    <a:lnTo>
                      <a:pt x="162" y="127"/>
                    </a:lnTo>
                    <a:lnTo>
                      <a:pt x="160" y="127"/>
                    </a:lnTo>
                    <a:lnTo>
                      <a:pt x="160" y="125"/>
                    </a:lnTo>
                    <a:lnTo>
                      <a:pt x="158" y="125"/>
                    </a:lnTo>
                    <a:lnTo>
                      <a:pt x="158" y="123"/>
                    </a:lnTo>
                    <a:lnTo>
                      <a:pt x="156" y="121"/>
                    </a:lnTo>
                    <a:lnTo>
                      <a:pt x="156" y="119"/>
                    </a:lnTo>
                    <a:lnTo>
                      <a:pt x="154" y="121"/>
                    </a:lnTo>
                    <a:lnTo>
                      <a:pt x="150" y="121"/>
                    </a:lnTo>
                    <a:lnTo>
                      <a:pt x="152" y="121"/>
                    </a:lnTo>
                    <a:lnTo>
                      <a:pt x="150" y="121"/>
                    </a:lnTo>
                    <a:lnTo>
                      <a:pt x="150" y="123"/>
                    </a:lnTo>
                    <a:lnTo>
                      <a:pt x="150" y="125"/>
                    </a:lnTo>
                    <a:lnTo>
                      <a:pt x="148" y="127"/>
                    </a:lnTo>
                    <a:lnTo>
                      <a:pt x="146" y="127"/>
                    </a:lnTo>
                    <a:lnTo>
                      <a:pt x="145" y="127"/>
                    </a:lnTo>
                    <a:lnTo>
                      <a:pt x="145" y="123"/>
                    </a:lnTo>
                    <a:lnTo>
                      <a:pt x="143" y="123"/>
                    </a:lnTo>
                    <a:lnTo>
                      <a:pt x="143" y="121"/>
                    </a:lnTo>
                    <a:lnTo>
                      <a:pt x="145" y="121"/>
                    </a:lnTo>
                    <a:lnTo>
                      <a:pt x="145" y="119"/>
                    </a:lnTo>
                    <a:lnTo>
                      <a:pt x="143" y="119"/>
                    </a:lnTo>
                    <a:lnTo>
                      <a:pt x="143" y="117"/>
                    </a:lnTo>
                    <a:lnTo>
                      <a:pt x="141" y="117"/>
                    </a:lnTo>
                    <a:lnTo>
                      <a:pt x="143" y="117"/>
                    </a:lnTo>
                    <a:lnTo>
                      <a:pt x="141" y="115"/>
                    </a:lnTo>
                    <a:lnTo>
                      <a:pt x="141" y="117"/>
                    </a:lnTo>
                    <a:lnTo>
                      <a:pt x="139" y="115"/>
                    </a:lnTo>
                    <a:lnTo>
                      <a:pt x="141" y="113"/>
                    </a:lnTo>
                    <a:lnTo>
                      <a:pt x="139" y="113"/>
                    </a:lnTo>
                    <a:lnTo>
                      <a:pt x="139" y="111"/>
                    </a:lnTo>
                    <a:lnTo>
                      <a:pt x="137" y="111"/>
                    </a:lnTo>
                    <a:lnTo>
                      <a:pt x="137" y="109"/>
                    </a:lnTo>
                    <a:lnTo>
                      <a:pt x="135" y="109"/>
                    </a:lnTo>
                    <a:lnTo>
                      <a:pt x="133" y="109"/>
                    </a:lnTo>
                    <a:lnTo>
                      <a:pt x="133" y="108"/>
                    </a:lnTo>
                    <a:lnTo>
                      <a:pt x="131" y="109"/>
                    </a:lnTo>
                    <a:lnTo>
                      <a:pt x="129" y="109"/>
                    </a:lnTo>
                    <a:lnTo>
                      <a:pt x="129" y="108"/>
                    </a:lnTo>
                    <a:lnTo>
                      <a:pt x="127" y="108"/>
                    </a:lnTo>
                    <a:lnTo>
                      <a:pt x="125" y="108"/>
                    </a:lnTo>
                    <a:lnTo>
                      <a:pt x="127" y="108"/>
                    </a:lnTo>
                    <a:lnTo>
                      <a:pt x="125" y="106"/>
                    </a:lnTo>
                    <a:lnTo>
                      <a:pt x="125" y="104"/>
                    </a:lnTo>
                    <a:lnTo>
                      <a:pt x="123" y="106"/>
                    </a:lnTo>
                    <a:lnTo>
                      <a:pt x="122" y="106"/>
                    </a:lnTo>
                    <a:lnTo>
                      <a:pt x="120" y="106"/>
                    </a:lnTo>
                    <a:lnTo>
                      <a:pt x="116" y="108"/>
                    </a:lnTo>
                    <a:lnTo>
                      <a:pt x="116" y="109"/>
                    </a:lnTo>
                    <a:lnTo>
                      <a:pt x="118" y="109"/>
                    </a:lnTo>
                    <a:lnTo>
                      <a:pt x="116" y="111"/>
                    </a:lnTo>
                    <a:lnTo>
                      <a:pt x="118" y="111"/>
                    </a:lnTo>
                    <a:lnTo>
                      <a:pt x="118" y="113"/>
                    </a:lnTo>
                    <a:lnTo>
                      <a:pt x="116" y="113"/>
                    </a:lnTo>
                    <a:lnTo>
                      <a:pt x="116" y="115"/>
                    </a:lnTo>
                    <a:lnTo>
                      <a:pt x="114" y="119"/>
                    </a:lnTo>
                    <a:lnTo>
                      <a:pt x="112" y="119"/>
                    </a:lnTo>
                    <a:lnTo>
                      <a:pt x="110" y="119"/>
                    </a:lnTo>
                    <a:lnTo>
                      <a:pt x="108" y="119"/>
                    </a:lnTo>
                    <a:lnTo>
                      <a:pt x="106" y="121"/>
                    </a:lnTo>
                    <a:lnTo>
                      <a:pt x="106" y="123"/>
                    </a:lnTo>
                    <a:lnTo>
                      <a:pt x="106" y="121"/>
                    </a:lnTo>
                    <a:lnTo>
                      <a:pt x="104" y="123"/>
                    </a:lnTo>
                    <a:lnTo>
                      <a:pt x="104" y="125"/>
                    </a:lnTo>
                    <a:lnTo>
                      <a:pt x="104" y="127"/>
                    </a:lnTo>
                    <a:lnTo>
                      <a:pt x="102" y="127"/>
                    </a:lnTo>
                    <a:lnTo>
                      <a:pt x="102" y="125"/>
                    </a:lnTo>
                    <a:lnTo>
                      <a:pt x="100" y="125"/>
                    </a:lnTo>
                    <a:lnTo>
                      <a:pt x="100" y="127"/>
                    </a:lnTo>
                    <a:lnTo>
                      <a:pt x="98" y="127"/>
                    </a:lnTo>
                    <a:lnTo>
                      <a:pt x="98" y="125"/>
                    </a:lnTo>
                    <a:lnTo>
                      <a:pt x="95" y="125"/>
                    </a:lnTo>
                    <a:lnTo>
                      <a:pt x="95" y="127"/>
                    </a:lnTo>
                    <a:lnTo>
                      <a:pt x="95" y="125"/>
                    </a:lnTo>
                    <a:lnTo>
                      <a:pt x="93" y="127"/>
                    </a:lnTo>
                    <a:lnTo>
                      <a:pt x="93" y="129"/>
                    </a:lnTo>
                    <a:lnTo>
                      <a:pt x="91" y="129"/>
                    </a:lnTo>
                    <a:lnTo>
                      <a:pt x="91" y="131"/>
                    </a:lnTo>
                    <a:lnTo>
                      <a:pt x="89" y="131"/>
                    </a:lnTo>
                    <a:lnTo>
                      <a:pt x="87" y="131"/>
                    </a:lnTo>
                    <a:lnTo>
                      <a:pt x="85" y="132"/>
                    </a:lnTo>
                    <a:lnTo>
                      <a:pt x="85" y="134"/>
                    </a:lnTo>
                    <a:lnTo>
                      <a:pt x="85" y="136"/>
                    </a:lnTo>
                    <a:lnTo>
                      <a:pt x="83" y="136"/>
                    </a:lnTo>
                    <a:lnTo>
                      <a:pt x="83" y="138"/>
                    </a:lnTo>
                    <a:lnTo>
                      <a:pt x="83" y="136"/>
                    </a:lnTo>
                    <a:lnTo>
                      <a:pt x="81" y="136"/>
                    </a:lnTo>
                    <a:lnTo>
                      <a:pt x="81" y="134"/>
                    </a:lnTo>
                    <a:lnTo>
                      <a:pt x="83" y="134"/>
                    </a:lnTo>
                    <a:lnTo>
                      <a:pt x="83" y="132"/>
                    </a:lnTo>
                    <a:lnTo>
                      <a:pt x="81" y="132"/>
                    </a:lnTo>
                    <a:lnTo>
                      <a:pt x="81" y="131"/>
                    </a:lnTo>
                    <a:lnTo>
                      <a:pt x="79" y="131"/>
                    </a:lnTo>
                    <a:lnTo>
                      <a:pt x="79" y="132"/>
                    </a:lnTo>
                    <a:lnTo>
                      <a:pt x="77" y="132"/>
                    </a:lnTo>
                    <a:lnTo>
                      <a:pt x="77" y="131"/>
                    </a:lnTo>
                    <a:lnTo>
                      <a:pt x="77" y="129"/>
                    </a:lnTo>
                    <a:lnTo>
                      <a:pt x="75" y="129"/>
                    </a:lnTo>
                    <a:lnTo>
                      <a:pt x="73" y="127"/>
                    </a:lnTo>
                    <a:lnTo>
                      <a:pt x="75" y="127"/>
                    </a:lnTo>
                    <a:lnTo>
                      <a:pt x="73" y="127"/>
                    </a:lnTo>
                    <a:lnTo>
                      <a:pt x="73" y="125"/>
                    </a:lnTo>
                    <a:lnTo>
                      <a:pt x="72" y="127"/>
                    </a:lnTo>
                    <a:lnTo>
                      <a:pt x="70" y="127"/>
                    </a:lnTo>
                    <a:lnTo>
                      <a:pt x="68" y="127"/>
                    </a:lnTo>
                    <a:lnTo>
                      <a:pt x="68" y="129"/>
                    </a:lnTo>
                    <a:lnTo>
                      <a:pt x="66" y="129"/>
                    </a:lnTo>
                    <a:lnTo>
                      <a:pt x="64" y="129"/>
                    </a:lnTo>
                    <a:lnTo>
                      <a:pt x="64" y="131"/>
                    </a:lnTo>
                    <a:lnTo>
                      <a:pt x="62" y="129"/>
                    </a:lnTo>
                    <a:lnTo>
                      <a:pt x="62" y="131"/>
                    </a:lnTo>
                    <a:lnTo>
                      <a:pt x="62" y="129"/>
                    </a:lnTo>
                    <a:lnTo>
                      <a:pt x="60" y="129"/>
                    </a:lnTo>
                    <a:lnTo>
                      <a:pt x="58" y="129"/>
                    </a:lnTo>
                    <a:lnTo>
                      <a:pt x="58" y="131"/>
                    </a:lnTo>
                    <a:lnTo>
                      <a:pt x="58" y="129"/>
                    </a:lnTo>
                    <a:lnTo>
                      <a:pt x="56" y="129"/>
                    </a:lnTo>
                    <a:lnTo>
                      <a:pt x="54" y="131"/>
                    </a:lnTo>
                    <a:lnTo>
                      <a:pt x="54" y="129"/>
                    </a:lnTo>
                    <a:lnTo>
                      <a:pt x="54" y="131"/>
                    </a:lnTo>
                    <a:lnTo>
                      <a:pt x="52" y="131"/>
                    </a:lnTo>
                    <a:lnTo>
                      <a:pt x="52" y="129"/>
                    </a:lnTo>
                    <a:lnTo>
                      <a:pt x="50" y="129"/>
                    </a:lnTo>
                    <a:lnTo>
                      <a:pt x="52" y="129"/>
                    </a:lnTo>
                    <a:lnTo>
                      <a:pt x="52" y="127"/>
                    </a:lnTo>
                    <a:lnTo>
                      <a:pt x="50" y="127"/>
                    </a:lnTo>
                    <a:lnTo>
                      <a:pt x="50" y="129"/>
                    </a:lnTo>
                    <a:lnTo>
                      <a:pt x="49" y="129"/>
                    </a:lnTo>
                    <a:lnTo>
                      <a:pt x="50" y="129"/>
                    </a:lnTo>
                    <a:lnTo>
                      <a:pt x="49" y="129"/>
                    </a:lnTo>
                    <a:lnTo>
                      <a:pt x="49" y="131"/>
                    </a:lnTo>
                    <a:lnTo>
                      <a:pt x="47" y="129"/>
                    </a:lnTo>
                    <a:lnTo>
                      <a:pt x="47" y="131"/>
                    </a:lnTo>
                    <a:lnTo>
                      <a:pt x="47" y="129"/>
                    </a:lnTo>
                    <a:lnTo>
                      <a:pt x="45" y="129"/>
                    </a:lnTo>
                    <a:lnTo>
                      <a:pt x="43" y="129"/>
                    </a:lnTo>
                    <a:lnTo>
                      <a:pt x="41" y="129"/>
                    </a:lnTo>
                    <a:lnTo>
                      <a:pt x="39" y="129"/>
                    </a:lnTo>
                    <a:lnTo>
                      <a:pt x="39" y="131"/>
                    </a:lnTo>
                    <a:lnTo>
                      <a:pt x="39" y="129"/>
                    </a:lnTo>
                    <a:lnTo>
                      <a:pt x="35" y="129"/>
                    </a:lnTo>
                    <a:lnTo>
                      <a:pt x="35" y="131"/>
                    </a:lnTo>
                    <a:lnTo>
                      <a:pt x="35" y="129"/>
                    </a:lnTo>
                    <a:lnTo>
                      <a:pt x="37" y="129"/>
                    </a:lnTo>
                    <a:lnTo>
                      <a:pt x="37" y="127"/>
                    </a:lnTo>
                    <a:lnTo>
                      <a:pt x="37" y="129"/>
                    </a:lnTo>
                    <a:lnTo>
                      <a:pt x="37" y="127"/>
                    </a:lnTo>
                    <a:lnTo>
                      <a:pt x="35" y="127"/>
                    </a:lnTo>
                    <a:lnTo>
                      <a:pt x="33" y="127"/>
                    </a:lnTo>
                    <a:lnTo>
                      <a:pt x="33" y="125"/>
                    </a:lnTo>
                    <a:lnTo>
                      <a:pt x="31" y="125"/>
                    </a:lnTo>
                    <a:lnTo>
                      <a:pt x="31" y="127"/>
                    </a:lnTo>
                    <a:lnTo>
                      <a:pt x="29" y="127"/>
                    </a:lnTo>
                    <a:lnTo>
                      <a:pt x="27" y="127"/>
                    </a:lnTo>
                    <a:lnTo>
                      <a:pt x="25" y="129"/>
                    </a:lnTo>
                    <a:lnTo>
                      <a:pt x="25" y="131"/>
                    </a:lnTo>
                    <a:lnTo>
                      <a:pt x="27" y="131"/>
                    </a:lnTo>
                    <a:lnTo>
                      <a:pt x="25" y="131"/>
                    </a:lnTo>
                    <a:lnTo>
                      <a:pt x="25" y="129"/>
                    </a:lnTo>
                    <a:lnTo>
                      <a:pt x="24" y="129"/>
                    </a:lnTo>
                    <a:lnTo>
                      <a:pt x="22" y="129"/>
                    </a:lnTo>
                    <a:lnTo>
                      <a:pt x="22" y="131"/>
                    </a:lnTo>
                    <a:lnTo>
                      <a:pt x="22" y="129"/>
                    </a:lnTo>
                    <a:lnTo>
                      <a:pt x="20" y="131"/>
                    </a:lnTo>
                    <a:lnTo>
                      <a:pt x="20" y="129"/>
                    </a:lnTo>
                    <a:lnTo>
                      <a:pt x="18" y="129"/>
                    </a:lnTo>
                    <a:lnTo>
                      <a:pt x="16" y="129"/>
                    </a:lnTo>
                    <a:lnTo>
                      <a:pt x="14" y="127"/>
                    </a:lnTo>
                    <a:lnTo>
                      <a:pt x="14" y="125"/>
                    </a:lnTo>
                    <a:lnTo>
                      <a:pt x="12" y="125"/>
                    </a:lnTo>
                    <a:lnTo>
                      <a:pt x="10" y="123"/>
                    </a:lnTo>
                    <a:lnTo>
                      <a:pt x="8" y="123"/>
                    </a:lnTo>
                    <a:lnTo>
                      <a:pt x="8" y="121"/>
                    </a:lnTo>
                    <a:lnTo>
                      <a:pt x="8" y="119"/>
                    </a:lnTo>
                    <a:lnTo>
                      <a:pt x="8" y="117"/>
                    </a:lnTo>
                    <a:lnTo>
                      <a:pt x="8" y="119"/>
                    </a:lnTo>
                    <a:lnTo>
                      <a:pt x="6" y="119"/>
                    </a:lnTo>
                    <a:lnTo>
                      <a:pt x="6" y="117"/>
                    </a:lnTo>
                    <a:lnTo>
                      <a:pt x="6" y="119"/>
                    </a:lnTo>
                    <a:lnTo>
                      <a:pt x="6" y="117"/>
                    </a:lnTo>
                    <a:lnTo>
                      <a:pt x="4" y="117"/>
                    </a:lnTo>
                    <a:lnTo>
                      <a:pt x="2" y="117"/>
                    </a:lnTo>
                    <a:lnTo>
                      <a:pt x="2" y="115"/>
                    </a:lnTo>
                    <a:lnTo>
                      <a:pt x="0" y="115"/>
                    </a:lnTo>
                    <a:lnTo>
                      <a:pt x="0" y="113"/>
                    </a:lnTo>
                    <a:lnTo>
                      <a:pt x="0" y="111"/>
                    </a:lnTo>
                    <a:lnTo>
                      <a:pt x="0" y="109"/>
                    </a:lnTo>
                    <a:lnTo>
                      <a:pt x="2" y="109"/>
                    </a:lnTo>
                    <a:lnTo>
                      <a:pt x="4" y="108"/>
                    </a:lnTo>
                    <a:lnTo>
                      <a:pt x="4" y="106"/>
                    </a:lnTo>
                    <a:lnTo>
                      <a:pt x="6" y="104"/>
                    </a:lnTo>
                    <a:lnTo>
                      <a:pt x="6" y="102"/>
                    </a:lnTo>
                    <a:lnTo>
                      <a:pt x="6" y="100"/>
                    </a:lnTo>
                    <a:lnTo>
                      <a:pt x="8" y="100"/>
                    </a:lnTo>
                    <a:lnTo>
                      <a:pt x="10" y="100"/>
                    </a:lnTo>
                    <a:lnTo>
                      <a:pt x="10" y="98"/>
                    </a:lnTo>
                    <a:lnTo>
                      <a:pt x="12" y="98"/>
                    </a:lnTo>
                    <a:lnTo>
                      <a:pt x="12" y="96"/>
                    </a:lnTo>
                    <a:lnTo>
                      <a:pt x="12" y="94"/>
                    </a:lnTo>
                    <a:lnTo>
                      <a:pt x="10" y="94"/>
                    </a:lnTo>
                    <a:lnTo>
                      <a:pt x="10" y="92"/>
                    </a:lnTo>
                    <a:lnTo>
                      <a:pt x="10" y="90"/>
                    </a:lnTo>
                    <a:lnTo>
                      <a:pt x="10" y="88"/>
                    </a:lnTo>
                    <a:lnTo>
                      <a:pt x="8" y="88"/>
                    </a:lnTo>
                    <a:lnTo>
                      <a:pt x="10" y="88"/>
                    </a:lnTo>
                    <a:lnTo>
                      <a:pt x="10" y="86"/>
                    </a:lnTo>
                    <a:lnTo>
                      <a:pt x="12" y="86"/>
                    </a:lnTo>
                    <a:lnTo>
                      <a:pt x="12" y="84"/>
                    </a:lnTo>
                    <a:lnTo>
                      <a:pt x="10" y="84"/>
                    </a:lnTo>
                    <a:lnTo>
                      <a:pt x="10" y="86"/>
                    </a:lnTo>
                    <a:lnTo>
                      <a:pt x="8" y="86"/>
                    </a:lnTo>
                    <a:lnTo>
                      <a:pt x="10" y="84"/>
                    </a:lnTo>
                    <a:lnTo>
                      <a:pt x="12" y="83"/>
                    </a:lnTo>
                    <a:lnTo>
                      <a:pt x="14" y="83"/>
                    </a:lnTo>
                    <a:lnTo>
                      <a:pt x="14" y="81"/>
                    </a:lnTo>
                    <a:lnTo>
                      <a:pt x="16" y="81"/>
                    </a:lnTo>
                    <a:lnTo>
                      <a:pt x="18" y="81"/>
                    </a:lnTo>
                    <a:lnTo>
                      <a:pt x="16" y="81"/>
                    </a:lnTo>
                    <a:lnTo>
                      <a:pt x="16" y="79"/>
                    </a:lnTo>
                    <a:lnTo>
                      <a:pt x="18" y="79"/>
                    </a:lnTo>
                    <a:lnTo>
                      <a:pt x="20" y="79"/>
                    </a:lnTo>
                    <a:lnTo>
                      <a:pt x="22" y="77"/>
                    </a:lnTo>
                    <a:lnTo>
                      <a:pt x="27" y="77"/>
                    </a:lnTo>
                    <a:lnTo>
                      <a:pt x="24" y="73"/>
                    </a:lnTo>
                    <a:lnTo>
                      <a:pt x="24" y="71"/>
                    </a:lnTo>
                    <a:lnTo>
                      <a:pt x="24" y="69"/>
                    </a:lnTo>
                    <a:lnTo>
                      <a:pt x="25" y="69"/>
                    </a:lnTo>
                    <a:lnTo>
                      <a:pt x="25" y="67"/>
                    </a:lnTo>
                    <a:lnTo>
                      <a:pt x="27" y="67"/>
                    </a:lnTo>
                    <a:lnTo>
                      <a:pt x="27" y="65"/>
                    </a:lnTo>
                    <a:lnTo>
                      <a:pt x="27" y="63"/>
                    </a:lnTo>
                    <a:lnTo>
                      <a:pt x="25" y="63"/>
                    </a:lnTo>
                    <a:lnTo>
                      <a:pt x="27" y="63"/>
                    </a:lnTo>
                    <a:lnTo>
                      <a:pt x="29" y="63"/>
                    </a:lnTo>
                    <a:lnTo>
                      <a:pt x="31" y="63"/>
                    </a:lnTo>
                    <a:lnTo>
                      <a:pt x="31" y="61"/>
                    </a:lnTo>
                    <a:lnTo>
                      <a:pt x="33" y="61"/>
                    </a:lnTo>
                    <a:lnTo>
                      <a:pt x="31" y="61"/>
                    </a:lnTo>
                    <a:lnTo>
                      <a:pt x="33" y="59"/>
                    </a:lnTo>
                    <a:lnTo>
                      <a:pt x="31" y="59"/>
                    </a:lnTo>
                    <a:lnTo>
                      <a:pt x="29" y="59"/>
                    </a:lnTo>
                    <a:lnTo>
                      <a:pt x="29" y="58"/>
                    </a:lnTo>
                    <a:lnTo>
                      <a:pt x="29" y="56"/>
                    </a:lnTo>
                    <a:lnTo>
                      <a:pt x="29" y="54"/>
                    </a:lnTo>
                    <a:lnTo>
                      <a:pt x="27" y="54"/>
                    </a:lnTo>
                    <a:lnTo>
                      <a:pt x="25" y="54"/>
                    </a:lnTo>
                    <a:lnTo>
                      <a:pt x="25" y="52"/>
                    </a:lnTo>
                    <a:lnTo>
                      <a:pt x="25" y="50"/>
                    </a:lnTo>
                    <a:lnTo>
                      <a:pt x="24" y="50"/>
                    </a:lnTo>
                    <a:lnTo>
                      <a:pt x="24" y="48"/>
                    </a:lnTo>
                    <a:lnTo>
                      <a:pt x="25" y="48"/>
                    </a:lnTo>
                    <a:lnTo>
                      <a:pt x="24" y="48"/>
                    </a:lnTo>
                    <a:lnTo>
                      <a:pt x="22" y="48"/>
                    </a:lnTo>
                    <a:lnTo>
                      <a:pt x="22" y="46"/>
                    </a:lnTo>
                    <a:lnTo>
                      <a:pt x="20" y="46"/>
                    </a:lnTo>
                    <a:lnTo>
                      <a:pt x="20" y="44"/>
                    </a:lnTo>
                    <a:lnTo>
                      <a:pt x="20" y="42"/>
                    </a:lnTo>
                    <a:lnTo>
                      <a:pt x="22" y="42"/>
                    </a:lnTo>
                    <a:lnTo>
                      <a:pt x="24" y="42"/>
                    </a:lnTo>
                    <a:lnTo>
                      <a:pt x="25" y="42"/>
                    </a:lnTo>
                    <a:lnTo>
                      <a:pt x="25" y="40"/>
                    </a:lnTo>
                    <a:lnTo>
                      <a:pt x="24" y="40"/>
                    </a:lnTo>
                    <a:lnTo>
                      <a:pt x="24" y="38"/>
                    </a:lnTo>
                    <a:lnTo>
                      <a:pt x="24" y="36"/>
                    </a:lnTo>
                    <a:lnTo>
                      <a:pt x="24" y="34"/>
                    </a:lnTo>
                    <a:lnTo>
                      <a:pt x="22" y="34"/>
                    </a:lnTo>
                    <a:lnTo>
                      <a:pt x="24" y="34"/>
                    </a:lnTo>
                    <a:lnTo>
                      <a:pt x="22" y="34"/>
                    </a:lnTo>
                    <a:lnTo>
                      <a:pt x="22" y="33"/>
                    </a:lnTo>
                    <a:lnTo>
                      <a:pt x="20" y="34"/>
                    </a:lnTo>
                    <a:lnTo>
                      <a:pt x="20" y="33"/>
                    </a:lnTo>
                    <a:lnTo>
                      <a:pt x="20" y="34"/>
                    </a:lnTo>
                    <a:lnTo>
                      <a:pt x="20" y="33"/>
                    </a:lnTo>
                    <a:lnTo>
                      <a:pt x="20" y="31"/>
                    </a:lnTo>
                    <a:lnTo>
                      <a:pt x="22" y="31"/>
                    </a:lnTo>
                    <a:lnTo>
                      <a:pt x="24" y="29"/>
                    </a:lnTo>
                    <a:lnTo>
                      <a:pt x="24" y="27"/>
                    </a:lnTo>
                    <a:lnTo>
                      <a:pt x="24" y="29"/>
                    </a:lnTo>
                    <a:lnTo>
                      <a:pt x="25" y="27"/>
                    </a:lnTo>
                    <a:lnTo>
                      <a:pt x="25" y="25"/>
                    </a:lnTo>
                    <a:lnTo>
                      <a:pt x="25" y="23"/>
                    </a:lnTo>
                    <a:lnTo>
                      <a:pt x="27" y="23"/>
                    </a:lnTo>
                    <a:lnTo>
                      <a:pt x="27" y="25"/>
                    </a:lnTo>
                    <a:lnTo>
                      <a:pt x="29" y="25"/>
                    </a:lnTo>
                    <a:lnTo>
                      <a:pt x="29" y="27"/>
                    </a:lnTo>
                    <a:lnTo>
                      <a:pt x="31" y="27"/>
                    </a:lnTo>
                    <a:lnTo>
                      <a:pt x="31" y="25"/>
                    </a:lnTo>
                    <a:lnTo>
                      <a:pt x="31" y="27"/>
                    </a:lnTo>
                    <a:lnTo>
                      <a:pt x="31" y="25"/>
                    </a:lnTo>
                    <a:lnTo>
                      <a:pt x="33" y="25"/>
                    </a:lnTo>
                    <a:lnTo>
                      <a:pt x="33" y="27"/>
                    </a:lnTo>
                    <a:lnTo>
                      <a:pt x="33" y="25"/>
                    </a:lnTo>
                    <a:lnTo>
                      <a:pt x="35" y="25"/>
                    </a:lnTo>
                    <a:lnTo>
                      <a:pt x="37" y="23"/>
                    </a:lnTo>
                    <a:lnTo>
                      <a:pt x="39" y="23"/>
                    </a:lnTo>
                    <a:lnTo>
                      <a:pt x="37" y="23"/>
                    </a:lnTo>
                    <a:lnTo>
                      <a:pt x="37" y="21"/>
                    </a:lnTo>
                    <a:lnTo>
                      <a:pt x="39" y="21"/>
                    </a:lnTo>
                    <a:lnTo>
                      <a:pt x="39" y="19"/>
                    </a:lnTo>
                    <a:lnTo>
                      <a:pt x="41" y="19"/>
                    </a:lnTo>
                    <a:lnTo>
                      <a:pt x="39" y="19"/>
                    </a:lnTo>
                    <a:lnTo>
                      <a:pt x="41" y="17"/>
                    </a:lnTo>
                    <a:lnTo>
                      <a:pt x="41" y="19"/>
                    </a:lnTo>
                    <a:lnTo>
                      <a:pt x="43" y="19"/>
                    </a:lnTo>
                    <a:lnTo>
                      <a:pt x="41" y="19"/>
                    </a:lnTo>
                    <a:lnTo>
                      <a:pt x="41" y="21"/>
                    </a:lnTo>
                    <a:lnTo>
                      <a:pt x="43" y="21"/>
                    </a:lnTo>
                    <a:lnTo>
                      <a:pt x="45" y="21"/>
                    </a:lnTo>
                    <a:lnTo>
                      <a:pt x="47" y="19"/>
                    </a:lnTo>
                    <a:lnTo>
                      <a:pt x="49" y="19"/>
                    </a:lnTo>
                    <a:lnTo>
                      <a:pt x="49" y="21"/>
                    </a:lnTo>
                    <a:lnTo>
                      <a:pt x="49" y="19"/>
                    </a:lnTo>
                    <a:lnTo>
                      <a:pt x="49" y="17"/>
                    </a:lnTo>
                    <a:lnTo>
                      <a:pt x="49" y="19"/>
                    </a:lnTo>
                    <a:lnTo>
                      <a:pt x="50" y="17"/>
                    </a:lnTo>
                    <a:lnTo>
                      <a:pt x="50" y="19"/>
                    </a:lnTo>
                    <a:lnTo>
                      <a:pt x="50" y="17"/>
                    </a:lnTo>
                    <a:lnTo>
                      <a:pt x="50" y="15"/>
                    </a:lnTo>
                    <a:lnTo>
                      <a:pt x="52" y="13"/>
                    </a:lnTo>
                    <a:lnTo>
                      <a:pt x="52" y="11"/>
                    </a:lnTo>
                    <a:lnTo>
                      <a:pt x="54" y="9"/>
                    </a:lnTo>
                    <a:lnTo>
                      <a:pt x="54" y="11"/>
                    </a:lnTo>
                    <a:lnTo>
                      <a:pt x="54" y="9"/>
                    </a:lnTo>
                    <a:lnTo>
                      <a:pt x="56" y="9"/>
                    </a:lnTo>
                    <a:lnTo>
                      <a:pt x="56" y="8"/>
                    </a:lnTo>
                    <a:lnTo>
                      <a:pt x="58" y="8"/>
                    </a:lnTo>
                    <a:lnTo>
                      <a:pt x="58" y="6"/>
                    </a:lnTo>
                    <a:lnTo>
                      <a:pt x="60" y="8"/>
                    </a:lnTo>
                    <a:lnTo>
                      <a:pt x="62" y="8"/>
                    </a:lnTo>
                    <a:lnTo>
                      <a:pt x="62" y="9"/>
                    </a:lnTo>
                    <a:lnTo>
                      <a:pt x="64" y="9"/>
                    </a:lnTo>
                    <a:lnTo>
                      <a:pt x="64" y="11"/>
                    </a:lnTo>
                    <a:lnTo>
                      <a:pt x="64" y="13"/>
                    </a:lnTo>
                    <a:lnTo>
                      <a:pt x="64" y="15"/>
                    </a:lnTo>
                    <a:lnTo>
                      <a:pt x="66" y="15"/>
                    </a:lnTo>
                    <a:lnTo>
                      <a:pt x="68" y="15"/>
                    </a:lnTo>
                    <a:lnTo>
                      <a:pt x="68" y="17"/>
                    </a:lnTo>
                    <a:lnTo>
                      <a:pt x="70" y="17"/>
                    </a:lnTo>
                    <a:lnTo>
                      <a:pt x="72" y="17"/>
                    </a:lnTo>
                    <a:lnTo>
                      <a:pt x="72" y="19"/>
                    </a:lnTo>
                    <a:lnTo>
                      <a:pt x="72" y="17"/>
                    </a:lnTo>
                    <a:lnTo>
                      <a:pt x="73" y="17"/>
                    </a:lnTo>
                    <a:lnTo>
                      <a:pt x="75" y="13"/>
                    </a:lnTo>
                    <a:lnTo>
                      <a:pt x="75" y="11"/>
                    </a:lnTo>
                    <a:lnTo>
                      <a:pt x="77" y="11"/>
                    </a:lnTo>
                    <a:lnTo>
                      <a:pt x="79" y="11"/>
                    </a:lnTo>
                    <a:lnTo>
                      <a:pt x="79" y="13"/>
                    </a:lnTo>
                    <a:lnTo>
                      <a:pt x="79" y="11"/>
                    </a:lnTo>
                    <a:lnTo>
                      <a:pt x="81" y="11"/>
                    </a:lnTo>
                    <a:lnTo>
                      <a:pt x="81" y="13"/>
                    </a:lnTo>
                    <a:lnTo>
                      <a:pt x="83" y="13"/>
                    </a:lnTo>
                    <a:lnTo>
                      <a:pt x="85" y="11"/>
                    </a:lnTo>
                    <a:lnTo>
                      <a:pt x="87" y="11"/>
                    </a:lnTo>
                    <a:lnTo>
                      <a:pt x="89" y="9"/>
                    </a:lnTo>
                    <a:lnTo>
                      <a:pt x="87" y="9"/>
                    </a:lnTo>
                    <a:lnTo>
                      <a:pt x="89" y="9"/>
                    </a:lnTo>
                    <a:lnTo>
                      <a:pt x="91" y="9"/>
                    </a:lnTo>
                    <a:lnTo>
                      <a:pt x="91" y="8"/>
                    </a:lnTo>
                    <a:lnTo>
                      <a:pt x="93" y="8"/>
                    </a:lnTo>
                    <a:lnTo>
                      <a:pt x="95" y="6"/>
                    </a:lnTo>
                    <a:lnTo>
                      <a:pt x="95" y="8"/>
                    </a:lnTo>
                    <a:lnTo>
                      <a:pt x="97" y="6"/>
                    </a:lnTo>
                    <a:lnTo>
                      <a:pt x="97" y="8"/>
                    </a:lnTo>
                    <a:lnTo>
                      <a:pt x="97" y="9"/>
                    </a:lnTo>
                    <a:lnTo>
                      <a:pt x="97" y="11"/>
                    </a:lnTo>
                    <a:lnTo>
                      <a:pt x="97" y="13"/>
                    </a:lnTo>
                    <a:lnTo>
                      <a:pt x="98" y="15"/>
                    </a:lnTo>
                    <a:lnTo>
                      <a:pt x="98" y="13"/>
                    </a:lnTo>
                    <a:lnTo>
                      <a:pt x="100" y="13"/>
                    </a:lnTo>
                    <a:lnTo>
                      <a:pt x="100" y="15"/>
                    </a:lnTo>
                    <a:lnTo>
                      <a:pt x="100" y="13"/>
                    </a:lnTo>
                    <a:lnTo>
                      <a:pt x="102" y="13"/>
                    </a:lnTo>
                    <a:lnTo>
                      <a:pt x="100" y="13"/>
                    </a:lnTo>
                    <a:lnTo>
                      <a:pt x="102" y="13"/>
                    </a:lnTo>
                    <a:lnTo>
                      <a:pt x="104" y="13"/>
                    </a:lnTo>
                    <a:lnTo>
                      <a:pt x="106" y="13"/>
                    </a:lnTo>
                    <a:lnTo>
                      <a:pt x="106" y="11"/>
                    </a:lnTo>
                    <a:lnTo>
                      <a:pt x="108" y="11"/>
                    </a:lnTo>
                    <a:lnTo>
                      <a:pt x="108" y="9"/>
                    </a:lnTo>
                    <a:lnTo>
                      <a:pt x="110" y="9"/>
                    </a:lnTo>
                    <a:lnTo>
                      <a:pt x="110" y="8"/>
                    </a:lnTo>
                    <a:lnTo>
                      <a:pt x="112" y="8"/>
                    </a:lnTo>
                    <a:lnTo>
                      <a:pt x="110" y="8"/>
                    </a:lnTo>
                    <a:lnTo>
                      <a:pt x="112" y="8"/>
                    </a:lnTo>
                    <a:lnTo>
                      <a:pt x="112" y="9"/>
                    </a:lnTo>
                    <a:lnTo>
                      <a:pt x="114" y="8"/>
                    </a:lnTo>
                    <a:lnTo>
                      <a:pt x="114" y="6"/>
                    </a:lnTo>
                    <a:lnTo>
                      <a:pt x="114" y="4"/>
                    </a:lnTo>
                    <a:lnTo>
                      <a:pt x="116" y="4"/>
                    </a:lnTo>
                    <a:lnTo>
                      <a:pt x="116" y="2"/>
                    </a:lnTo>
                    <a:lnTo>
                      <a:pt x="118" y="2"/>
                    </a:lnTo>
                    <a:lnTo>
                      <a:pt x="118" y="0"/>
                    </a:lnTo>
                    <a:lnTo>
                      <a:pt x="120" y="0"/>
                    </a:lnTo>
                    <a:lnTo>
                      <a:pt x="120" y="2"/>
                    </a:lnTo>
                    <a:lnTo>
                      <a:pt x="122" y="2"/>
                    </a:lnTo>
                    <a:lnTo>
                      <a:pt x="122" y="4"/>
                    </a:lnTo>
                    <a:lnTo>
                      <a:pt x="122" y="6"/>
                    </a:lnTo>
                    <a:lnTo>
                      <a:pt x="122" y="4"/>
                    </a:lnTo>
                    <a:lnTo>
                      <a:pt x="122" y="6"/>
                    </a:lnTo>
                    <a:lnTo>
                      <a:pt x="123" y="6"/>
                    </a:lnTo>
                    <a:lnTo>
                      <a:pt x="122" y="6"/>
                    </a:lnTo>
                    <a:lnTo>
                      <a:pt x="122" y="8"/>
                    </a:lnTo>
                    <a:lnTo>
                      <a:pt x="123" y="8"/>
                    </a:lnTo>
                    <a:lnTo>
                      <a:pt x="123" y="6"/>
                    </a:lnTo>
                    <a:lnTo>
                      <a:pt x="125" y="4"/>
                    </a:lnTo>
                    <a:lnTo>
                      <a:pt x="125" y="6"/>
                    </a:lnTo>
                    <a:lnTo>
                      <a:pt x="127" y="6"/>
                    </a:lnTo>
                    <a:lnTo>
                      <a:pt x="129" y="6"/>
                    </a:lnTo>
                    <a:lnTo>
                      <a:pt x="129" y="4"/>
                    </a:lnTo>
                    <a:lnTo>
                      <a:pt x="131" y="4"/>
                    </a:lnTo>
                    <a:lnTo>
                      <a:pt x="131" y="6"/>
                    </a:lnTo>
                    <a:lnTo>
                      <a:pt x="131" y="8"/>
                    </a:lnTo>
                    <a:lnTo>
                      <a:pt x="133" y="8"/>
                    </a:lnTo>
                    <a:lnTo>
                      <a:pt x="133" y="9"/>
                    </a:lnTo>
                    <a:lnTo>
                      <a:pt x="131" y="9"/>
                    </a:lnTo>
                    <a:lnTo>
                      <a:pt x="133" y="9"/>
                    </a:lnTo>
                    <a:lnTo>
                      <a:pt x="133" y="11"/>
                    </a:lnTo>
                    <a:lnTo>
                      <a:pt x="133" y="13"/>
                    </a:lnTo>
                    <a:lnTo>
                      <a:pt x="131" y="13"/>
                    </a:lnTo>
                    <a:lnTo>
                      <a:pt x="133" y="15"/>
                    </a:lnTo>
                    <a:lnTo>
                      <a:pt x="133" y="13"/>
                    </a:lnTo>
                    <a:lnTo>
                      <a:pt x="135" y="13"/>
                    </a:lnTo>
                    <a:lnTo>
                      <a:pt x="133" y="13"/>
                    </a:lnTo>
                    <a:lnTo>
                      <a:pt x="133" y="15"/>
                    </a:lnTo>
                    <a:lnTo>
                      <a:pt x="131" y="15"/>
                    </a:lnTo>
                    <a:lnTo>
                      <a:pt x="133" y="15"/>
                    </a:lnTo>
                    <a:lnTo>
                      <a:pt x="135" y="15"/>
                    </a:lnTo>
                    <a:lnTo>
                      <a:pt x="133" y="15"/>
                    </a:lnTo>
                    <a:lnTo>
                      <a:pt x="131" y="15"/>
                    </a:lnTo>
                    <a:lnTo>
                      <a:pt x="131" y="17"/>
                    </a:lnTo>
                    <a:lnTo>
                      <a:pt x="133" y="17"/>
                    </a:lnTo>
                    <a:lnTo>
                      <a:pt x="133" y="19"/>
                    </a:lnTo>
                    <a:lnTo>
                      <a:pt x="131" y="19"/>
                    </a:lnTo>
                    <a:lnTo>
                      <a:pt x="131" y="21"/>
                    </a:lnTo>
                    <a:lnTo>
                      <a:pt x="133" y="21"/>
                    </a:lnTo>
                    <a:lnTo>
                      <a:pt x="131" y="21"/>
                    </a:lnTo>
                    <a:lnTo>
                      <a:pt x="129" y="23"/>
                    </a:lnTo>
                    <a:lnTo>
                      <a:pt x="131" y="23"/>
                    </a:lnTo>
                    <a:lnTo>
                      <a:pt x="129" y="23"/>
                    </a:lnTo>
                    <a:lnTo>
                      <a:pt x="129" y="25"/>
                    </a:lnTo>
                    <a:lnTo>
                      <a:pt x="131" y="25"/>
                    </a:lnTo>
                    <a:lnTo>
                      <a:pt x="131" y="27"/>
                    </a:lnTo>
                    <a:lnTo>
                      <a:pt x="133" y="29"/>
                    </a:lnTo>
                    <a:lnTo>
                      <a:pt x="131" y="29"/>
                    </a:lnTo>
                    <a:lnTo>
                      <a:pt x="131" y="27"/>
                    </a:lnTo>
                    <a:lnTo>
                      <a:pt x="129" y="29"/>
                    </a:lnTo>
                    <a:lnTo>
                      <a:pt x="131" y="29"/>
                    </a:lnTo>
                    <a:lnTo>
                      <a:pt x="129" y="29"/>
                    </a:lnTo>
                    <a:lnTo>
                      <a:pt x="129" y="31"/>
                    </a:lnTo>
                    <a:lnTo>
                      <a:pt x="131" y="31"/>
                    </a:lnTo>
                    <a:lnTo>
                      <a:pt x="129" y="31"/>
                    </a:lnTo>
                    <a:lnTo>
                      <a:pt x="131" y="31"/>
                    </a:lnTo>
                    <a:lnTo>
                      <a:pt x="135" y="31"/>
                    </a:lnTo>
                    <a:lnTo>
                      <a:pt x="133" y="33"/>
                    </a:lnTo>
                    <a:lnTo>
                      <a:pt x="135" y="34"/>
                    </a:lnTo>
                    <a:lnTo>
                      <a:pt x="135" y="33"/>
                    </a:lnTo>
                    <a:lnTo>
                      <a:pt x="135" y="34"/>
                    </a:lnTo>
                    <a:lnTo>
                      <a:pt x="135" y="33"/>
                    </a:lnTo>
                    <a:lnTo>
                      <a:pt x="137" y="33"/>
                    </a:lnTo>
                    <a:lnTo>
                      <a:pt x="139" y="33"/>
                    </a:lnTo>
                    <a:lnTo>
                      <a:pt x="141" y="33"/>
                    </a:lnTo>
                    <a:lnTo>
                      <a:pt x="141" y="31"/>
                    </a:lnTo>
                    <a:lnTo>
                      <a:pt x="143" y="31"/>
                    </a:lnTo>
                    <a:lnTo>
                      <a:pt x="143" y="29"/>
                    </a:lnTo>
                    <a:lnTo>
                      <a:pt x="143" y="27"/>
                    </a:lnTo>
                    <a:lnTo>
                      <a:pt x="145" y="27"/>
                    </a:lnTo>
                    <a:lnTo>
                      <a:pt x="146" y="27"/>
                    </a:lnTo>
                    <a:lnTo>
                      <a:pt x="146" y="25"/>
                    </a:lnTo>
                    <a:lnTo>
                      <a:pt x="148" y="25"/>
                    </a:lnTo>
                    <a:lnTo>
                      <a:pt x="150" y="25"/>
                    </a:lnTo>
                    <a:lnTo>
                      <a:pt x="152" y="27"/>
                    </a:lnTo>
                    <a:lnTo>
                      <a:pt x="152" y="25"/>
                    </a:lnTo>
                    <a:lnTo>
                      <a:pt x="154" y="25"/>
                    </a:lnTo>
                    <a:lnTo>
                      <a:pt x="156" y="23"/>
                    </a:lnTo>
                    <a:lnTo>
                      <a:pt x="158" y="25"/>
                    </a:lnTo>
                    <a:lnTo>
                      <a:pt x="158" y="27"/>
                    </a:lnTo>
                    <a:lnTo>
                      <a:pt x="156" y="27"/>
                    </a:lnTo>
                    <a:lnTo>
                      <a:pt x="158" y="27"/>
                    </a:lnTo>
                    <a:lnTo>
                      <a:pt x="158" y="29"/>
                    </a:lnTo>
                    <a:lnTo>
                      <a:pt x="160" y="31"/>
                    </a:lnTo>
                    <a:lnTo>
                      <a:pt x="160" y="33"/>
                    </a:lnTo>
                    <a:lnTo>
                      <a:pt x="158" y="33"/>
                    </a:lnTo>
                    <a:lnTo>
                      <a:pt x="158" y="34"/>
                    </a:lnTo>
                    <a:lnTo>
                      <a:pt x="160" y="34"/>
                    </a:lnTo>
                    <a:lnTo>
                      <a:pt x="162" y="33"/>
                    </a:lnTo>
                    <a:lnTo>
                      <a:pt x="164" y="33"/>
                    </a:lnTo>
                    <a:lnTo>
                      <a:pt x="166" y="34"/>
                    </a:lnTo>
                    <a:lnTo>
                      <a:pt x="168" y="34"/>
                    </a:lnTo>
                    <a:lnTo>
                      <a:pt x="168" y="36"/>
                    </a:lnTo>
                    <a:lnTo>
                      <a:pt x="168" y="34"/>
                    </a:lnTo>
                    <a:lnTo>
                      <a:pt x="170" y="36"/>
                    </a:lnTo>
                    <a:lnTo>
                      <a:pt x="170" y="38"/>
                    </a:lnTo>
                    <a:lnTo>
                      <a:pt x="168" y="38"/>
                    </a:lnTo>
                    <a:lnTo>
                      <a:pt x="168" y="40"/>
                    </a:lnTo>
                    <a:lnTo>
                      <a:pt x="170" y="40"/>
                    </a:lnTo>
                    <a:lnTo>
                      <a:pt x="168" y="42"/>
                    </a:lnTo>
                    <a:lnTo>
                      <a:pt x="170" y="42"/>
                    </a:lnTo>
                    <a:lnTo>
                      <a:pt x="170" y="44"/>
                    </a:lnTo>
                    <a:lnTo>
                      <a:pt x="170" y="46"/>
                    </a:lnTo>
                    <a:lnTo>
                      <a:pt x="170" y="48"/>
                    </a:lnTo>
                    <a:lnTo>
                      <a:pt x="168" y="48"/>
                    </a:lnTo>
                    <a:lnTo>
                      <a:pt x="168" y="50"/>
                    </a:lnTo>
                    <a:lnTo>
                      <a:pt x="170" y="52"/>
                    </a:lnTo>
                    <a:lnTo>
                      <a:pt x="171" y="50"/>
                    </a:lnTo>
                    <a:lnTo>
                      <a:pt x="173" y="50"/>
                    </a:lnTo>
                    <a:lnTo>
                      <a:pt x="171" y="50"/>
                    </a:lnTo>
                    <a:lnTo>
                      <a:pt x="171" y="52"/>
                    </a:lnTo>
                    <a:lnTo>
                      <a:pt x="171" y="54"/>
                    </a:lnTo>
                    <a:lnTo>
                      <a:pt x="171" y="56"/>
                    </a:lnTo>
                    <a:lnTo>
                      <a:pt x="171" y="58"/>
                    </a:lnTo>
                    <a:lnTo>
                      <a:pt x="173" y="58"/>
                    </a:lnTo>
                    <a:lnTo>
                      <a:pt x="173" y="59"/>
                    </a:lnTo>
                    <a:lnTo>
                      <a:pt x="173" y="58"/>
                    </a:lnTo>
                    <a:lnTo>
                      <a:pt x="175" y="58"/>
                    </a:lnTo>
                    <a:lnTo>
                      <a:pt x="177" y="58"/>
                    </a:lnTo>
                    <a:lnTo>
                      <a:pt x="179" y="58"/>
                    </a:lnTo>
                    <a:lnTo>
                      <a:pt x="179" y="59"/>
                    </a:lnTo>
                    <a:lnTo>
                      <a:pt x="179" y="61"/>
                    </a:lnTo>
                    <a:lnTo>
                      <a:pt x="181" y="61"/>
                    </a:lnTo>
                    <a:lnTo>
                      <a:pt x="181" y="63"/>
                    </a:lnTo>
                    <a:lnTo>
                      <a:pt x="183" y="63"/>
                    </a:lnTo>
                    <a:lnTo>
                      <a:pt x="183" y="65"/>
                    </a:lnTo>
                    <a:lnTo>
                      <a:pt x="183" y="67"/>
                    </a:lnTo>
                    <a:lnTo>
                      <a:pt x="185" y="67"/>
                    </a:lnTo>
                    <a:lnTo>
                      <a:pt x="185" y="69"/>
                    </a:lnTo>
                    <a:lnTo>
                      <a:pt x="187" y="69"/>
                    </a:lnTo>
                    <a:lnTo>
                      <a:pt x="187" y="71"/>
                    </a:lnTo>
                    <a:lnTo>
                      <a:pt x="187" y="73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Freeform 75">
                <a:extLst>
                  <a:ext uri="{FF2B5EF4-FFF2-40B4-BE49-F238E27FC236}">
                    <a16:creationId xmlns="" xmlns:a16="http://schemas.microsoft.com/office/drawing/2014/main" id="{A6336A30-9479-426A-97DD-EEF96BDE39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0000" y="4083051"/>
                <a:ext cx="514350" cy="454025"/>
              </a:xfrm>
              <a:custGeom>
                <a:avLst/>
                <a:gdLst>
                  <a:gd name="T0" fmla="*/ 315 w 324"/>
                  <a:gd name="T1" fmla="*/ 127 h 286"/>
                  <a:gd name="T2" fmla="*/ 315 w 324"/>
                  <a:gd name="T3" fmla="*/ 138 h 286"/>
                  <a:gd name="T4" fmla="*/ 319 w 324"/>
                  <a:gd name="T5" fmla="*/ 152 h 286"/>
                  <a:gd name="T6" fmla="*/ 313 w 324"/>
                  <a:gd name="T7" fmla="*/ 165 h 286"/>
                  <a:gd name="T8" fmla="*/ 319 w 324"/>
                  <a:gd name="T9" fmla="*/ 175 h 286"/>
                  <a:gd name="T10" fmla="*/ 319 w 324"/>
                  <a:gd name="T11" fmla="*/ 196 h 286"/>
                  <a:gd name="T12" fmla="*/ 322 w 324"/>
                  <a:gd name="T13" fmla="*/ 208 h 286"/>
                  <a:gd name="T14" fmla="*/ 319 w 324"/>
                  <a:gd name="T15" fmla="*/ 223 h 286"/>
                  <a:gd name="T16" fmla="*/ 303 w 324"/>
                  <a:gd name="T17" fmla="*/ 244 h 286"/>
                  <a:gd name="T18" fmla="*/ 286 w 324"/>
                  <a:gd name="T19" fmla="*/ 244 h 286"/>
                  <a:gd name="T20" fmla="*/ 267 w 324"/>
                  <a:gd name="T21" fmla="*/ 248 h 286"/>
                  <a:gd name="T22" fmla="*/ 259 w 324"/>
                  <a:gd name="T23" fmla="*/ 256 h 286"/>
                  <a:gd name="T24" fmla="*/ 247 w 324"/>
                  <a:gd name="T25" fmla="*/ 258 h 286"/>
                  <a:gd name="T26" fmla="*/ 228 w 324"/>
                  <a:gd name="T27" fmla="*/ 283 h 286"/>
                  <a:gd name="T28" fmla="*/ 221 w 324"/>
                  <a:gd name="T29" fmla="*/ 283 h 286"/>
                  <a:gd name="T30" fmla="*/ 215 w 324"/>
                  <a:gd name="T31" fmla="*/ 273 h 286"/>
                  <a:gd name="T32" fmla="*/ 203 w 324"/>
                  <a:gd name="T33" fmla="*/ 265 h 286"/>
                  <a:gd name="T34" fmla="*/ 207 w 324"/>
                  <a:gd name="T35" fmla="*/ 256 h 286"/>
                  <a:gd name="T36" fmla="*/ 197 w 324"/>
                  <a:gd name="T37" fmla="*/ 252 h 286"/>
                  <a:gd name="T38" fmla="*/ 192 w 324"/>
                  <a:gd name="T39" fmla="*/ 242 h 286"/>
                  <a:gd name="T40" fmla="*/ 182 w 324"/>
                  <a:gd name="T41" fmla="*/ 225 h 286"/>
                  <a:gd name="T42" fmla="*/ 174 w 324"/>
                  <a:gd name="T43" fmla="*/ 227 h 286"/>
                  <a:gd name="T44" fmla="*/ 159 w 324"/>
                  <a:gd name="T45" fmla="*/ 236 h 286"/>
                  <a:gd name="T46" fmla="*/ 146 w 324"/>
                  <a:gd name="T47" fmla="*/ 242 h 286"/>
                  <a:gd name="T48" fmla="*/ 123 w 324"/>
                  <a:gd name="T49" fmla="*/ 256 h 286"/>
                  <a:gd name="T50" fmla="*/ 98 w 324"/>
                  <a:gd name="T51" fmla="*/ 256 h 286"/>
                  <a:gd name="T52" fmla="*/ 88 w 324"/>
                  <a:gd name="T53" fmla="*/ 263 h 286"/>
                  <a:gd name="T54" fmla="*/ 82 w 324"/>
                  <a:gd name="T55" fmla="*/ 258 h 286"/>
                  <a:gd name="T56" fmla="*/ 71 w 324"/>
                  <a:gd name="T57" fmla="*/ 260 h 286"/>
                  <a:gd name="T58" fmla="*/ 71 w 324"/>
                  <a:gd name="T59" fmla="*/ 269 h 286"/>
                  <a:gd name="T60" fmla="*/ 28 w 324"/>
                  <a:gd name="T61" fmla="*/ 217 h 286"/>
                  <a:gd name="T62" fmla="*/ 38 w 324"/>
                  <a:gd name="T63" fmla="*/ 208 h 286"/>
                  <a:gd name="T64" fmla="*/ 48 w 324"/>
                  <a:gd name="T65" fmla="*/ 194 h 286"/>
                  <a:gd name="T66" fmla="*/ 32 w 324"/>
                  <a:gd name="T67" fmla="*/ 198 h 286"/>
                  <a:gd name="T68" fmla="*/ 2 w 324"/>
                  <a:gd name="T69" fmla="*/ 206 h 286"/>
                  <a:gd name="T70" fmla="*/ 13 w 324"/>
                  <a:gd name="T71" fmla="*/ 173 h 286"/>
                  <a:gd name="T72" fmla="*/ 9 w 324"/>
                  <a:gd name="T73" fmla="*/ 162 h 286"/>
                  <a:gd name="T74" fmla="*/ 7 w 324"/>
                  <a:gd name="T75" fmla="*/ 150 h 286"/>
                  <a:gd name="T76" fmla="*/ 3 w 324"/>
                  <a:gd name="T77" fmla="*/ 135 h 286"/>
                  <a:gd name="T78" fmla="*/ 2 w 324"/>
                  <a:gd name="T79" fmla="*/ 119 h 286"/>
                  <a:gd name="T80" fmla="*/ 5 w 324"/>
                  <a:gd name="T81" fmla="*/ 104 h 286"/>
                  <a:gd name="T82" fmla="*/ 5 w 324"/>
                  <a:gd name="T83" fmla="*/ 92 h 286"/>
                  <a:gd name="T84" fmla="*/ 15 w 324"/>
                  <a:gd name="T85" fmla="*/ 83 h 286"/>
                  <a:gd name="T86" fmla="*/ 42 w 324"/>
                  <a:gd name="T87" fmla="*/ 71 h 286"/>
                  <a:gd name="T88" fmla="*/ 46 w 324"/>
                  <a:gd name="T89" fmla="*/ 62 h 286"/>
                  <a:gd name="T90" fmla="*/ 42 w 324"/>
                  <a:gd name="T91" fmla="*/ 52 h 286"/>
                  <a:gd name="T92" fmla="*/ 36 w 324"/>
                  <a:gd name="T93" fmla="*/ 54 h 286"/>
                  <a:gd name="T94" fmla="*/ 50 w 324"/>
                  <a:gd name="T95" fmla="*/ 42 h 286"/>
                  <a:gd name="T96" fmla="*/ 57 w 324"/>
                  <a:gd name="T97" fmla="*/ 13 h 286"/>
                  <a:gd name="T98" fmla="*/ 130 w 324"/>
                  <a:gd name="T99" fmla="*/ 17 h 286"/>
                  <a:gd name="T100" fmla="*/ 171 w 324"/>
                  <a:gd name="T101" fmla="*/ 58 h 286"/>
                  <a:gd name="T102" fmla="*/ 221 w 324"/>
                  <a:gd name="T103" fmla="*/ 94 h 286"/>
                  <a:gd name="T104" fmla="*/ 251 w 324"/>
                  <a:gd name="T105" fmla="*/ 88 h 286"/>
                  <a:gd name="T106" fmla="*/ 263 w 324"/>
                  <a:gd name="T107" fmla="*/ 87 h 286"/>
                  <a:gd name="T108" fmla="*/ 265 w 324"/>
                  <a:gd name="T109" fmla="*/ 81 h 286"/>
                  <a:gd name="T110" fmla="*/ 272 w 324"/>
                  <a:gd name="T111" fmla="*/ 94 h 286"/>
                  <a:gd name="T112" fmla="*/ 271 w 324"/>
                  <a:gd name="T113" fmla="*/ 106 h 286"/>
                  <a:gd name="T114" fmla="*/ 274 w 324"/>
                  <a:gd name="T115" fmla="*/ 119 h 286"/>
                  <a:gd name="T116" fmla="*/ 271 w 324"/>
                  <a:gd name="T117" fmla="*/ 137 h 286"/>
                  <a:gd name="T118" fmla="*/ 280 w 324"/>
                  <a:gd name="T119" fmla="*/ 140 h 286"/>
                  <a:gd name="T120" fmla="*/ 288 w 324"/>
                  <a:gd name="T121" fmla="*/ 133 h 286"/>
                  <a:gd name="T122" fmla="*/ 299 w 324"/>
                  <a:gd name="T123" fmla="*/ 119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24" h="286">
                    <a:moveTo>
                      <a:pt x="313" y="119"/>
                    </a:moveTo>
                    <a:lnTo>
                      <a:pt x="313" y="121"/>
                    </a:lnTo>
                    <a:lnTo>
                      <a:pt x="315" y="121"/>
                    </a:lnTo>
                    <a:lnTo>
                      <a:pt x="315" y="123"/>
                    </a:lnTo>
                    <a:lnTo>
                      <a:pt x="315" y="121"/>
                    </a:lnTo>
                    <a:lnTo>
                      <a:pt x="315" y="123"/>
                    </a:lnTo>
                    <a:lnTo>
                      <a:pt x="315" y="125"/>
                    </a:lnTo>
                    <a:lnTo>
                      <a:pt x="315" y="127"/>
                    </a:lnTo>
                    <a:lnTo>
                      <a:pt x="313" y="125"/>
                    </a:lnTo>
                    <a:lnTo>
                      <a:pt x="313" y="127"/>
                    </a:lnTo>
                    <a:lnTo>
                      <a:pt x="315" y="127"/>
                    </a:lnTo>
                    <a:lnTo>
                      <a:pt x="315" y="129"/>
                    </a:lnTo>
                    <a:lnTo>
                      <a:pt x="313" y="129"/>
                    </a:lnTo>
                    <a:lnTo>
                      <a:pt x="311" y="131"/>
                    </a:lnTo>
                    <a:lnTo>
                      <a:pt x="313" y="131"/>
                    </a:lnTo>
                    <a:lnTo>
                      <a:pt x="313" y="133"/>
                    </a:lnTo>
                    <a:lnTo>
                      <a:pt x="315" y="133"/>
                    </a:lnTo>
                    <a:lnTo>
                      <a:pt x="315" y="135"/>
                    </a:lnTo>
                    <a:lnTo>
                      <a:pt x="315" y="137"/>
                    </a:lnTo>
                    <a:lnTo>
                      <a:pt x="315" y="138"/>
                    </a:lnTo>
                    <a:lnTo>
                      <a:pt x="315" y="140"/>
                    </a:lnTo>
                    <a:lnTo>
                      <a:pt x="315" y="138"/>
                    </a:lnTo>
                    <a:lnTo>
                      <a:pt x="313" y="140"/>
                    </a:lnTo>
                    <a:lnTo>
                      <a:pt x="313" y="142"/>
                    </a:lnTo>
                    <a:lnTo>
                      <a:pt x="313" y="144"/>
                    </a:lnTo>
                    <a:lnTo>
                      <a:pt x="315" y="144"/>
                    </a:lnTo>
                    <a:lnTo>
                      <a:pt x="317" y="144"/>
                    </a:lnTo>
                    <a:lnTo>
                      <a:pt x="317" y="146"/>
                    </a:lnTo>
                    <a:lnTo>
                      <a:pt x="319" y="148"/>
                    </a:lnTo>
                    <a:lnTo>
                      <a:pt x="317" y="148"/>
                    </a:lnTo>
                    <a:lnTo>
                      <a:pt x="319" y="148"/>
                    </a:lnTo>
                    <a:lnTo>
                      <a:pt x="319" y="150"/>
                    </a:lnTo>
                    <a:lnTo>
                      <a:pt x="319" y="152"/>
                    </a:lnTo>
                    <a:lnTo>
                      <a:pt x="319" y="154"/>
                    </a:lnTo>
                    <a:lnTo>
                      <a:pt x="319" y="156"/>
                    </a:lnTo>
                    <a:lnTo>
                      <a:pt x="319" y="158"/>
                    </a:lnTo>
                    <a:lnTo>
                      <a:pt x="317" y="158"/>
                    </a:lnTo>
                    <a:lnTo>
                      <a:pt x="319" y="160"/>
                    </a:lnTo>
                    <a:lnTo>
                      <a:pt x="319" y="162"/>
                    </a:lnTo>
                    <a:lnTo>
                      <a:pt x="317" y="162"/>
                    </a:lnTo>
                    <a:lnTo>
                      <a:pt x="315" y="162"/>
                    </a:lnTo>
                    <a:lnTo>
                      <a:pt x="315" y="163"/>
                    </a:lnTo>
                    <a:lnTo>
                      <a:pt x="313" y="163"/>
                    </a:lnTo>
                    <a:lnTo>
                      <a:pt x="313" y="165"/>
                    </a:lnTo>
                    <a:lnTo>
                      <a:pt x="315" y="165"/>
                    </a:lnTo>
                    <a:lnTo>
                      <a:pt x="315" y="167"/>
                    </a:lnTo>
                    <a:lnTo>
                      <a:pt x="317" y="165"/>
                    </a:lnTo>
                    <a:lnTo>
                      <a:pt x="319" y="167"/>
                    </a:lnTo>
                    <a:lnTo>
                      <a:pt x="320" y="167"/>
                    </a:lnTo>
                    <a:lnTo>
                      <a:pt x="322" y="169"/>
                    </a:lnTo>
                    <a:lnTo>
                      <a:pt x="322" y="171"/>
                    </a:lnTo>
                    <a:lnTo>
                      <a:pt x="322" y="173"/>
                    </a:lnTo>
                    <a:lnTo>
                      <a:pt x="320" y="173"/>
                    </a:lnTo>
                    <a:lnTo>
                      <a:pt x="320" y="175"/>
                    </a:lnTo>
                    <a:lnTo>
                      <a:pt x="319" y="175"/>
                    </a:lnTo>
                    <a:lnTo>
                      <a:pt x="319" y="177"/>
                    </a:lnTo>
                    <a:lnTo>
                      <a:pt x="320" y="179"/>
                    </a:lnTo>
                    <a:lnTo>
                      <a:pt x="320" y="181"/>
                    </a:lnTo>
                    <a:lnTo>
                      <a:pt x="320" y="183"/>
                    </a:lnTo>
                    <a:lnTo>
                      <a:pt x="320" y="186"/>
                    </a:lnTo>
                    <a:lnTo>
                      <a:pt x="320" y="188"/>
                    </a:lnTo>
                    <a:lnTo>
                      <a:pt x="319" y="190"/>
                    </a:lnTo>
                    <a:lnTo>
                      <a:pt x="317" y="192"/>
                    </a:lnTo>
                    <a:lnTo>
                      <a:pt x="319" y="192"/>
                    </a:lnTo>
                    <a:lnTo>
                      <a:pt x="319" y="194"/>
                    </a:lnTo>
                    <a:lnTo>
                      <a:pt x="319" y="196"/>
                    </a:lnTo>
                    <a:lnTo>
                      <a:pt x="320" y="196"/>
                    </a:lnTo>
                    <a:lnTo>
                      <a:pt x="322" y="196"/>
                    </a:lnTo>
                    <a:lnTo>
                      <a:pt x="322" y="200"/>
                    </a:lnTo>
                    <a:lnTo>
                      <a:pt x="322" y="202"/>
                    </a:lnTo>
                    <a:lnTo>
                      <a:pt x="324" y="202"/>
                    </a:lnTo>
                    <a:lnTo>
                      <a:pt x="322" y="204"/>
                    </a:lnTo>
                    <a:lnTo>
                      <a:pt x="324" y="204"/>
                    </a:lnTo>
                    <a:lnTo>
                      <a:pt x="324" y="206"/>
                    </a:lnTo>
                    <a:lnTo>
                      <a:pt x="322" y="206"/>
                    </a:lnTo>
                    <a:lnTo>
                      <a:pt x="320" y="206"/>
                    </a:lnTo>
                    <a:lnTo>
                      <a:pt x="322" y="208"/>
                    </a:lnTo>
                    <a:lnTo>
                      <a:pt x="320" y="208"/>
                    </a:lnTo>
                    <a:lnTo>
                      <a:pt x="319" y="210"/>
                    </a:lnTo>
                    <a:lnTo>
                      <a:pt x="317" y="210"/>
                    </a:lnTo>
                    <a:lnTo>
                      <a:pt x="317" y="211"/>
                    </a:lnTo>
                    <a:lnTo>
                      <a:pt x="319" y="211"/>
                    </a:lnTo>
                    <a:lnTo>
                      <a:pt x="319" y="213"/>
                    </a:lnTo>
                    <a:lnTo>
                      <a:pt x="320" y="213"/>
                    </a:lnTo>
                    <a:lnTo>
                      <a:pt x="320" y="215"/>
                    </a:lnTo>
                    <a:lnTo>
                      <a:pt x="320" y="217"/>
                    </a:lnTo>
                    <a:lnTo>
                      <a:pt x="317" y="219"/>
                    </a:lnTo>
                    <a:lnTo>
                      <a:pt x="319" y="223"/>
                    </a:lnTo>
                    <a:lnTo>
                      <a:pt x="320" y="229"/>
                    </a:lnTo>
                    <a:lnTo>
                      <a:pt x="322" y="233"/>
                    </a:lnTo>
                    <a:lnTo>
                      <a:pt x="319" y="235"/>
                    </a:lnTo>
                    <a:lnTo>
                      <a:pt x="315" y="236"/>
                    </a:lnTo>
                    <a:lnTo>
                      <a:pt x="313" y="236"/>
                    </a:lnTo>
                    <a:lnTo>
                      <a:pt x="311" y="236"/>
                    </a:lnTo>
                    <a:lnTo>
                      <a:pt x="309" y="238"/>
                    </a:lnTo>
                    <a:lnTo>
                      <a:pt x="307" y="238"/>
                    </a:lnTo>
                    <a:lnTo>
                      <a:pt x="305" y="240"/>
                    </a:lnTo>
                    <a:lnTo>
                      <a:pt x="303" y="242"/>
                    </a:lnTo>
                    <a:lnTo>
                      <a:pt x="303" y="244"/>
                    </a:lnTo>
                    <a:lnTo>
                      <a:pt x="303" y="246"/>
                    </a:lnTo>
                    <a:lnTo>
                      <a:pt x="301" y="248"/>
                    </a:lnTo>
                    <a:lnTo>
                      <a:pt x="299" y="250"/>
                    </a:lnTo>
                    <a:lnTo>
                      <a:pt x="297" y="250"/>
                    </a:lnTo>
                    <a:lnTo>
                      <a:pt x="297" y="248"/>
                    </a:lnTo>
                    <a:lnTo>
                      <a:pt x="295" y="246"/>
                    </a:lnTo>
                    <a:lnTo>
                      <a:pt x="294" y="246"/>
                    </a:lnTo>
                    <a:lnTo>
                      <a:pt x="292" y="244"/>
                    </a:lnTo>
                    <a:lnTo>
                      <a:pt x="288" y="246"/>
                    </a:lnTo>
                    <a:lnTo>
                      <a:pt x="286" y="246"/>
                    </a:lnTo>
                    <a:lnTo>
                      <a:pt x="286" y="244"/>
                    </a:lnTo>
                    <a:lnTo>
                      <a:pt x="284" y="246"/>
                    </a:lnTo>
                    <a:lnTo>
                      <a:pt x="280" y="248"/>
                    </a:lnTo>
                    <a:lnTo>
                      <a:pt x="278" y="248"/>
                    </a:lnTo>
                    <a:lnTo>
                      <a:pt x="276" y="248"/>
                    </a:lnTo>
                    <a:lnTo>
                      <a:pt x="274" y="248"/>
                    </a:lnTo>
                    <a:lnTo>
                      <a:pt x="274" y="250"/>
                    </a:lnTo>
                    <a:lnTo>
                      <a:pt x="272" y="250"/>
                    </a:lnTo>
                    <a:lnTo>
                      <a:pt x="272" y="248"/>
                    </a:lnTo>
                    <a:lnTo>
                      <a:pt x="271" y="248"/>
                    </a:lnTo>
                    <a:lnTo>
                      <a:pt x="269" y="248"/>
                    </a:lnTo>
                    <a:lnTo>
                      <a:pt x="267" y="248"/>
                    </a:lnTo>
                    <a:lnTo>
                      <a:pt x="267" y="250"/>
                    </a:lnTo>
                    <a:lnTo>
                      <a:pt x="265" y="250"/>
                    </a:lnTo>
                    <a:lnTo>
                      <a:pt x="265" y="252"/>
                    </a:lnTo>
                    <a:lnTo>
                      <a:pt x="265" y="254"/>
                    </a:lnTo>
                    <a:lnTo>
                      <a:pt x="265" y="256"/>
                    </a:lnTo>
                    <a:lnTo>
                      <a:pt x="265" y="258"/>
                    </a:lnTo>
                    <a:lnTo>
                      <a:pt x="263" y="258"/>
                    </a:lnTo>
                    <a:lnTo>
                      <a:pt x="263" y="260"/>
                    </a:lnTo>
                    <a:lnTo>
                      <a:pt x="259" y="260"/>
                    </a:lnTo>
                    <a:lnTo>
                      <a:pt x="259" y="258"/>
                    </a:lnTo>
                    <a:lnTo>
                      <a:pt x="259" y="256"/>
                    </a:lnTo>
                    <a:lnTo>
                      <a:pt x="259" y="254"/>
                    </a:lnTo>
                    <a:lnTo>
                      <a:pt x="259" y="250"/>
                    </a:lnTo>
                    <a:lnTo>
                      <a:pt x="259" y="248"/>
                    </a:lnTo>
                    <a:lnTo>
                      <a:pt x="259" y="250"/>
                    </a:lnTo>
                    <a:lnTo>
                      <a:pt x="257" y="250"/>
                    </a:lnTo>
                    <a:lnTo>
                      <a:pt x="255" y="250"/>
                    </a:lnTo>
                    <a:lnTo>
                      <a:pt x="253" y="252"/>
                    </a:lnTo>
                    <a:lnTo>
                      <a:pt x="251" y="252"/>
                    </a:lnTo>
                    <a:lnTo>
                      <a:pt x="251" y="254"/>
                    </a:lnTo>
                    <a:lnTo>
                      <a:pt x="249" y="256"/>
                    </a:lnTo>
                    <a:lnTo>
                      <a:pt x="247" y="258"/>
                    </a:lnTo>
                    <a:lnTo>
                      <a:pt x="246" y="260"/>
                    </a:lnTo>
                    <a:lnTo>
                      <a:pt x="242" y="261"/>
                    </a:lnTo>
                    <a:lnTo>
                      <a:pt x="240" y="263"/>
                    </a:lnTo>
                    <a:lnTo>
                      <a:pt x="238" y="265"/>
                    </a:lnTo>
                    <a:lnTo>
                      <a:pt x="236" y="267"/>
                    </a:lnTo>
                    <a:lnTo>
                      <a:pt x="238" y="269"/>
                    </a:lnTo>
                    <a:lnTo>
                      <a:pt x="236" y="271"/>
                    </a:lnTo>
                    <a:lnTo>
                      <a:pt x="232" y="275"/>
                    </a:lnTo>
                    <a:lnTo>
                      <a:pt x="234" y="277"/>
                    </a:lnTo>
                    <a:lnTo>
                      <a:pt x="226" y="283"/>
                    </a:lnTo>
                    <a:lnTo>
                      <a:pt x="228" y="283"/>
                    </a:lnTo>
                    <a:lnTo>
                      <a:pt x="228" y="285"/>
                    </a:lnTo>
                    <a:lnTo>
                      <a:pt x="230" y="285"/>
                    </a:lnTo>
                    <a:lnTo>
                      <a:pt x="228" y="285"/>
                    </a:lnTo>
                    <a:lnTo>
                      <a:pt x="228" y="286"/>
                    </a:lnTo>
                    <a:lnTo>
                      <a:pt x="228" y="285"/>
                    </a:lnTo>
                    <a:lnTo>
                      <a:pt x="226" y="285"/>
                    </a:lnTo>
                    <a:lnTo>
                      <a:pt x="226" y="286"/>
                    </a:lnTo>
                    <a:lnTo>
                      <a:pt x="224" y="285"/>
                    </a:lnTo>
                    <a:lnTo>
                      <a:pt x="222" y="285"/>
                    </a:lnTo>
                    <a:lnTo>
                      <a:pt x="222" y="283"/>
                    </a:lnTo>
                    <a:lnTo>
                      <a:pt x="221" y="283"/>
                    </a:lnTo>
                    <a:lnTo>
                      <a:pt x="221" y="281"/>
                    </a:lnTo>
                    <a:lnTo>
                      <a:pt x="221" y="279"/>
                    </a:lnTo>
                    <a:lnTo>
                      <a:pt x="219" y="279"/>
                    </a:lnTo>
                    <a:lnTo>
                      <a:pt x="217" y="277"/>
                    </a:lnTo>
                    <a:lnTo>
                      <a:pt x="217" y="275"/>
                    </a:lnTo>
                    <a:lnTo>
                      <a:pt x="217" y="277"/>
                    </a:lnTo>
                    <a:lnTo>
                      <a:pt x="215" y="277"/>
                    </a:lnTo>
                    <a:lnTo>
                      <a:pt x="215" y="275"/>
                    </a:lnTo>
                    <a:lnTo>
                      <a:pt x="217" y="275"/>
                    </a:lnTo>
                    <a:lnTo>
                      <a:pt x="217" y="273"/>
                    </a:lnTo>
                    <a:lnTo>
                      <a:pt x="215" y="273"/>
                    </a:lnTo>
                    <a:lnTo>
                      <a:pt x="213" y="273"/>
                    </a:lnTo>
                    <a:lnTo>
                      <a:pt x="213" y="271"/>
                    </a:lnTo>
                    <a:lnTo>
                      <a:pt x="211" y="269"/>
                    </a:lnTo>
                    <a:lnTo>
                      <a:pt x="209" y="269"/>
                    </a:lnTo>
                    <a:lnTo>
                      <a:pt x="209" y="267"/>
                    </a:lnTo>
                    <a:lnTo>
                      <a:pt x="207" y="267"/>
                    </a:lnTo>
                    <a:lnTo>
                      <a:pt x="205" y="269"/>
                    </a:lnTo>
                    <a:lnTo>
                      <a:pt x="205" y="267"/>
                    </a:lnTo>
                    <a:lnTo>
                      <a:pt x="203" y="267"/>
                    </a:lnTo>
                    <a:lnTo>
                      <a:pt x="205" y="267"/>
                    </a:lnTo>
                    <a:lnTo>
                      <a:pt x="203" y="265"/>
                    </a:lnTo>
                    <a:lnTo>
                      <a:pt x="203" y="263"/>
                    </a:lnTo>
                    <a:lnTo>
                      <a:pt x="203" y="265"/>
                    </a:lnTo>
                    <a:lnTo>
                      <a:pt x="203" y="263"/>
                    </a:lnTo>
                    <a:lnTo>
                      <a:pt x="201" y="263"/>
                    </a:lnTo>
                    <a:lnTo>
                      <a:pt x="203" y="263"/>
                    </a:lnTo>
                    <a:lnTo>
                      <a:pt x="203" y="261"/>
                    </a:lnTo>
                    <a:lnTo>
                      <a:pt x="203" y="260"/>
                    </a:lnTo>
                    <a:lnTo>
                      <a:pt x="203" y="258"/>
                    </a:lnTo>
                    <a:lnTo>
                      <a:pt x="205" y="258"/>
                    </a:lnTo>
                    <a:lnTo>
                      <a:pt x="207" y="258"/>
                    </a:lnTo>
                    <a:lnTo>
                      <a:pt x="207" y="256"/>
                    </a:lnTo>
                    <a:lnTo>
                      <a:pt x="207" y="254"/>
                    </a:lnTo>
                    <a:lnTo>
                      <a:pt x="209" y="254"/>
                    </a:lnTo>
                    <a:lnTo>
                      <a:pt x="209" y="252"/>
                    </a:lnTo>
                    <a:lnTo>
                      <a:pt x="209" y="250"/>
                    </a:lnTo>
                    <a:lnTo>
                      <a:pt x="205" y="250"/>
                    </a:lnTo>
                    <a:lnTo>
                      <a:pt x="205" y="252"/>
                    </a:lnTo>
                    <a:lnTo>
                      <a:pt x="203" y="248"/>
                    </a:lnTo>
                    <a:lnTo>
                      <a:pt x="201" y="248"/>
                    </a:lnTo>
                    <a:lnTo>
                      <a:pt x="201" y="250"/>
                    </a:lnTo>
                    <a:lnTo>
                      <a:pt x="199" y="252"/>
                    </a:lnTo>
                    <a:lnTo>
                      <a:pt x="197" y="252"/>
                    </a:lnTo>
                    <a:lnTo>
                      <a:pt x="197" y="254"/>
                    </a:lnTo>
                    <a:lnTo>
                      <a:pt x="197" y="252"/>
                    </a:lnTo>
                    <a:lnTo>
                      <a:pt x="197" y="250"/>
                    </a:lnTo>
                    <a:lnTo>
                      <a:pt x="199" y="250"/>
                    </a:lnTo>
                    <a:lnTo>
                      <a:pt x="199" y="248"/>
                    </a:lnTo>
                    <a:lnTo>
                      <a:pt x="199" y="246"/>
                    </a:lnTo>
                    <a:lnTo>
                      <a:pt x="197" y="246"/>
                    </a:lnTo>
                    <a:lnTo>
                      <a:pt x="197" y="244"/>
                    </a:lnTo>
                    <a:lnTo>
                      <a:pt x="197" y="242"/>
                    </a:lnTo>
                    <a:lnTo>
                      <a:pt x="196" y="240"/>
                    </a:lnTo>
                    <a:lnTo>
                      <a:pt x="192" y="242"/>
                    </a:lnTo>
                    <a:lnTo>
                      <a:pt x="192" y="240"/>
                    </a:lnTo>
                    <a:lnTo>
                      <a:pt x="190" y="240"/>
                    </a:lnTo>
                    <a:lnTo>
                      <a:pt x="188" y="238"/>
                    </a:lnTo>
                    <a:lnTo>
                      <a:pt x="186" y="238"/>
                    </a:lnTo>
                    <a:lnTo>
                      <a:pt x="186" y="236"/>
                    </a:lnTo>
                    <a:lnTo>
                      <a:pt x="186" y="235"/>
                    </a:lnTo>
                    <a:lnTo>
                      <a:pt x="186" y="233"/>
                    </a:lnTo>
                    <a:lnTo>
                      <a:pt x="184" y="231"/>
                    </a:lnTo>
                    <a:lnTo>
                      <a:pt x="184" y="229"/>
                    </a:lnTo>
                    <a:lnTo>
                      <a:pt x="182" y="227"/>
                    </a:lnTo>
                    <a:lnTo>
                      <a:pt x="182" y="225"/>
                    </a:lnTo>
                    <a:lnTo>
                      <a:pt x="182" y="223"/>
                    </a:lnTo>
                    <a:lnTo>
                      <a:pt x="182" y="221"/>
                    </a:lnTo>
                    <a:lnTo>
                      <a:pt x="182" y="219"/>
                    </a:lnTo>
                    <a:lnTo>
                      <a:pt x="180" y="219"/>
                    </a:lnTo>
                    <a:lnTo>
                      <a:pt x="176" y="219"/>
                    </a:lnTo>
                    <a:lnTo>
                      <a:pt x="176" y="221"/>
                    </a:lnTo>
                    <a:lnTo>
                      <a:pt x="178" y="225"/>
                    </a:lnTo>
                    <a:lnTo>
                      <a:pt x="178" y="227"/>
                    </a:lnTo>
                    <a:lnTo>
                      <a:pt x="176" y="227"/>
                    </a:lnTo>
                    <a:lnTo>
                      <a:pt x="176" y="225"/>
                    </a:lnTo>
                    <a:lnTo>
                      <a:pt x="174" y="227"/>
                    </a:lnTo>
                    <a:lnTo>
                      <a:pt x="173" y="227"/>
                    </a:lnTo>
                    <a:lnTo>
                      <a:pt x="171" y="229"/>
                    </a:lnTo>
                    <a:lnTo>
                      <a:pt x="169" y="229"/>
                    </a:lnTo>
                    <a:lnTo>
                      <a:pt x="167" y="231"/>
                    </a:lnTo>
                    <a:lnTo>
                      <a:pt x="165" y="231"/>
                    </a:lnTo>
                    <a:lnTo>
                      <a:pt x="165" y="233"/>
                    </a:lnTo>
                    <a:lnTo>
                      <a:pt x="167" y="235"/>
                    </a:lnTo>
                    <a:lnTo>
                      <a:pt x="163" y="235"/>
                    </a:lnTo>
                    <a:lnTo>
                      <a:pt x="161" y="235"/>
                    </a:lnTo>
                    <a:lnTo>
                      <a:pt x="159" y="235"/>
                    </a:lnTo>
                    <a:lnTo>
                      <a:pt x="159" y="236"/>
                    </a:lnTo>
                    <a:lnTo>
                      <a:pt x="157" y="236"/>
                    </a:lnTo>
                    <a:lnTo>
                      <a:pt x="153" y="238"/>
                    </a:lnTo>
                    <a:lnTo>
                      <a:pt x="153" y="236"/>
                    </a:lnTo>
                    <a:lnTo>
                      <a:pt x="153" y="235"/>
                    </a:lnTo>
                    <a:lnTo>
                      <a:pt x="148" y="236"/>
                    </a:lnTo>
                    <a:lnTo>
                      <a:pt x="148" y="238"/>
                    </a:lnTo>
                    <a:lnTo>
                      <a:pt x="149" y="240"/>
                    </a:lnTo>
                    <a:lnTo>
                      <a:pt x="148" y="240"/>
                    </a:lnTo>
                    <a:lnTo>
                      <a:pt x="146" y="242"/>
                    </a:lnTo>
                    <a:lnTo>
                      <a:pt x="148" y="242"/>
                    </a:lnTo>
                    <a:lnTo>
                      <a:pt x="146" y="242"/>
                    </a:lnTo>
                    <a:lnTo>
                      <a:pt x="142" y="244"/>
                    </a:lnTo>
                    <a:lnTo>
                      <a:pt x="140" y="244"/>
                    </a:lnTo>
                    <a:lnTo>
                      <a:pt x="140" y="246"/>
                    </a:lnTo>
                    <a:lnTo>
                      <a:pt x="140" y="250"/>
                    </a:lnTo>
                    <a:lnTo>
                      <a:pt x="136" y="250"/>
                    </a:lnTo>
                    <a:lnTo>
                      <a:pt x="134" y="250"/>
                    </a:lnTo>
                    <a:lnTo>
                      <a:pt x="130" y="252"/>
                    </a:lnTo>
                    <a:lnTo>
                      <a:pt x="132" y="252"/>
                    </a:lnTo>
                    <a:lnTo>
                      <a:pt x="130" y="254"/>
                    </a:lnTo>
                    <a:lnTo>
                      <a:pt x="123" y="258"/>
                    </a:lnTo>
                    <a:lnTo>
                      <a:pt x="123" y="256"/>
                    </a:lnTo>
                    <a:lnTo>
                      <a:pt x="121" y="256"/>
                    </a:lnTo>
                    <a:lnTo>
                      <a:pt x="119" y="256"/>
                    </a:lnTo>
                    <a:lnTo>
                      <a:pt x="117" y="258"/>
                    </a:lnTo>
                    <a:lnTo>
                      <a:pt x="113" y="256"/>
                    </a:lnTo>
                    <a:lnTo>
                      <a:pt x="111" y="256"/>
                    </a:lnTo>
                    <a:lnTo>
                      <a:pt x="109" y="258"/>
                    </a:lnTo>
                    <a:lnTo>
                      <a:pt x="107" y="256"/>
                    </a:lnTo>
                    <a:lnTo>
                      <a:pt x="105" y="256"/>
                    </a:lnTo>
                    <a:lnTo>
                      <a:pt x="101" y="256"/>
                    </a:lnTo>
                    <a:lnTo>
                      <a:pt x="98" y="258"/>
                    </a:lnTo>
                    <a:lnTo>
                      <a:pt x="98" y="256"/>
                    </a:lnTo>
                    <a:lnTo>
                      <a:pt x="96" y="256"/>
                    </a:lnTo>
                    <a:lnTo>
                      <a:pt x="96" y="260"/>
                    </a:lnTo>
                    <a:lnTo>
                      <a:pt x="96" y="261"/>
                    </a:lnTo>
                    <a:lnTo>
                      <a:pt x="96" y="263"/>
                    </a:lnTo>
                    <a:lnTo>
                      <a:pt x="94" y="265"/>
                    </a:lnTo>
                    <a:lnTo>
                      <a:pt x="92" y="265"/>
                    </a:lnTo>
                    <a:lnTo>
                      <a:pt x="92" y="263"/>
                    </a:lnTo>
                    <a:lnTo>
                      <a:pt x="90" y="263"/>
                    </a:lnTo>
                    <a:lnTo>
                      <a:pt x="92" y="263"/>
                    </a:lnTo>
                    <a:lnTo>
                      <a:pt x="90" y="263"/>
                    </a:lnTo>
                    <a:lnTo>
                      <a:pt x="88" y="263"/>
                    </a:lnTo>
                    <a:lnTo>
                      <a:pt x="86" y="265"/>
                    </a:lnTo>
                    <a:lnTo>
                      <a:pt x="84" y="265"/>
                    </a:lnTo>
                    <a:lnTo>
                      <a:pt x="82" y="263"/>
                    </a:lnTo>
                    <a:lnTo>
                      <a:pt x="82" y="265"/>
                    </a:lnTo>
                    <a:lnTo>
                      <a:pt x="82" y="263"/>
                    </a:lnTo>
                    <a:lnTo>
                      <a:pt x="80" y="263"/>
                    </a:lnTo>
                    <a:lnTo>
                      <a:pt x="82" y="263"/>
                    </a:lnTo>
                    <a:lnTo>
                      <a:pt x="82" y="261"/>
                    </a:lnTo>
                    <a:lnTo>
                      <a:pt x="80" y="261"/>
                    </a:lnTo>
                    <a:lnTo>
                      <a:pt x="80" y="260"/>
                    </a:lnTo>
                    <a:lnTo>
                      <a:pt x="82" y="258"/>
                    </a:lnTo>
                    <a:lnTo>
                      <a:pt x="82" y="256"/>
                    </a:lnTo>
                    <a:lnTo>
                      <a:pt x="80" y="256"/>
                    </a:lnTo>
                    <a:lnTo>
                      <a:pt x="78" y="254"/>
                    </a:lnTo>
                    <a:lnTo>
                      <a:pt x="78" y="256"/>
                    </a:lnTo>
                    <a:lnTo>
                      <a:pt x="78" y="258"/>
                    </a:lnTo>
                    <a:lnTo>
                      <a:pt x="76" y="258"/>
                    </a:lnTo>
                    <a:lnTo>
                      <a:pt x="75" y="258"/>
                    </a:lnTo>
                    <a:lnTo>
                      <a:pt x="73" y="256"/>
                    </a:lnTo>
                    <a:lnTo>
                      <a:pt x="71" y="256"/>
                    </a:lnTo>
                    <a:lnTo>
                      <a:pt x="71" y="258"/>
                    </a:lnTo>
                    <a:lnTo>
                      <a:pt x="71" y="260"/>
                    </a:lnTo>
                    <a:lnTo>
                      <a:pt x="71" y="261"/>
                    </a:lnTo>
                    <a:lnTo>
                      <a:pt x="71" y="263"/>
                    </a:lnTo>
                    <a:lnTo>
                      <a:pt x="73" y="263"/>
                    </a:lnTo>
                    <a:lnTo>
                      <a:pt x="75" y="263"/>
                    </a:lnTo>
                    <a:lnTo>
                      <a:pt x="75" y="267"/>
                    </a:lnTo>
                    <a:lnTo>
                      <a:pt x="73" y="265"/>
                    </a:lnTo>
                    <a:lnTo>
                      <a:pt x="71" y="265"/>
                    </a:lnTo>
                    <a:lnTo>
                      <a:pt x="69" y="265"/>
                    </a:lnTo>
                    <a:lnTo>
                      <a:pt x="69" y="267"/>
                    </a:lnTo>
                    <a:lnTo>
                      <a:pt x="69" y="269"/>
                    </a:lnTo>
                    <a:lnTo>
                      <a:pt x="71" y="269"/>
                    </a:lnTo>
                    <a:lnTo>
                      <a:pt x="69" y="269"/>
                    </a:lnTo>
                    <a:lnTo>
                      <a:pt x="69" y="271"/>
                    </a:lnTo>
                    <a:lnTo>
                      <a:pt x="67" y="271"/>
                    </a:lnTo>
                    <a:lnTo>
                      <a:pt x="67" y="275"/>
                    </a:lnTo>
                    <a:lnTo>
                      <a:pt x="57" y="261"/>
                    </a:lnTo>
                    <a:lnTo>
                      <a:pt x="51" y="252"/>
                    </a:lnTo>
                    <a:lnTo>
                      <a:pt x="46" y="242"/>
                    </a:lnTo>
                    <a:lnTo>
                      <a:pt x="40" y="235"/>
                    </a:lnTo>
                    <a:lnTo>
                      <a:pt x="34" y="225"/>
                    </a:lnTo>
                    <a:lnTo>
                      <a:pt x="28" y="219"/>
                    </a:lnTo>
                    <a:lnTo>
                      <a:pt x="28" y="217"/>
                    </a:lnTo>
                    <a:lnTo>
                      <a:pt x="28" y="215"/>
                    </a:lnTo>
                    <a:lnTo>
                      <a:pt x="28" y="213"/>
                    </a:lnTo>
                    <a:lnTo>
                      <a:pt x="27" y="210"/>
                    </a:lnTo>
                    <a:lnTo>
                      <a:pt x="28" y="208"/>
                    </a:lnTo>
                    <a:lnTo>
                      <a:pt x="32" y="210"/>
                    </a:lnTo>
                    <a:lnTo>
                      <a:pt x="34" y="210"/>
                    </a:lnTo>
                    <a:lnTo>
                      <a:pt x="34" y="211"/>
                    </a:lnTo>
                    <a:lnTo>
                      <a:pt x="36" y="211"/>
                    </a:lnTo>
                    <a:lnTo>
                      <a:pt x="36" y="210"/>
                    </a:lnTo>
                    <a:lnTo>
                      <a:pt x="38" y="210"/>
                    </a:lnTo>
                    <a:lnTo>
                      <a:pt x="38" y="208"/>
                    </a:lnTo>
                    <a:lnTo>
                      <a:pt x="40" y="208"/>
                    </a:lnTo>
                    <a:lnTo>
                      <a:pt x="42" y="206"/>
                    </a:lnTo>
                    <a:lnTo>
                      <a:pt x="42" y="204"/>
                    </a:lnTo>
                    <a:lnTo>
                      <a:pt x="42" y="202"/>
                    </a:lnTo>
                    <a:lnTo>
                      <a:pt x="44" y="202"/>
                    </a:lnTo>
                    <a:lnTo>
                      <a:pt x="44" y="200"/>
                    </a:lnTo>
                    <a:lnTo>
                      <a:pt x="44" y="198"/>
                    </a:lnTo>
                    <a:lnTo>
                      <a:pt x="44" y="196"/>
                    </a:lnTo>
                    <a:lnTo>
                      <a:pt x="42" y="196"/>
                    </a:lnTo>
                    <a:lnTo>
                      <a:pt x="46" y="194"/>
                    </a:lnTo>
                    <a:lnTo>
                      <a:pt x="48" y="194"/>
                    </a:lnTo>
                    <a:lnTo>
                      <a:pt x="48" y="192"/>
                    </a:lnTo>
                    <a:lnTo>
                      <a:pt x="48" y="190"/>
                    </a:lnTo>
                    <a:lnTo>
                      <a:pt x="46" y="192"/>
                    </a:lnTo>
                    <a:lnTo>
                      <a:pt x="44" y="192"/>
                    </a:lnTo>
                    <a:lnTo>
                      <a:pt x="42" y="192"/>
                    </a:lnTo>
                    <a:lnTo>
                      <a:pt x="40" y="192"/>
                    </a:lnTo>
                    <a:lnTo>
                      <a:pt x="40" y="194"/>
                    </a:lnTo>
                    <a:lnTo>
                      <a:pt x="38" y="196"/>
                    </a:lnTo>
                    <a:lnTo>
                      <a:pt x="36" y="196"/>
                    </a:lnTo>
                    <a:lnTo>
                      <a:pt x="34" y="198"/>
                    </a:lnTo>
                    <a:lnTo>
                      <a:pt x="32" y="198"/>
                    </a:lnTo>
                    <a:lnTo>
                      <a:pt x="30" y="198"/>
                    </a:lnTo>
                    <a:lnTo>
                      <a:pt x="28" y="196"/>
                    </a:lnTo>
                    <a:lnTo>
                      <a:pt x="27" y="194"/>
                    </a:lnTo>
                    <a:lnTo>
                      <a:pt x="25" y="192"/>
                    </a:lnTo>
                    <a:lnTo>
                      <a:pt x="23" y="194"/>
                    </a:lnTo>
                    <a:lnTo>
                      <a:pt x="23" y="196"/>
                    </a:lnTo>
                    <a:lnTo>
                      <a:pt x="21" y="196"/>
                    </a:lnTo>
                    <a:lnTo>
                      <a:pt x="23" y="198"/>
                    </a:lnTo>
                    <a:lnTo>
                      <a:pt x="23" y="200"/>
                    </a:lnTo>
                    <a:lnTo>
                      <a:pt x="21" y="200"/>
                    </a:lnTo>
                    <a:lnTo>
                      <a:pt x="2" y="206"/>
                    </a:lnTo>
                    <a:lnTo>
                      <a:pt x="3" y="200"/>
                    </a:lnTo>
                    <a:lnTo>
                      <a:pt x="3" y="196"/>
                    </a:lnTo>
                    <a:lnTo>
                      <a:pt x="5" y="192"/>
                    </a:lnTo>
                    <a:lnTo>
                      <a:pt x="5" y="188"/>
                    </a:lnTo>
                    <a:lnTo>
                      <a:pt x="7" y="181"/>
                    </a:lnTo>
                    <a:lnTo>
                      <a:pt x="7" y="177"/>
                    </a:lnTo>
                    <a:lnTo>
                      <a:pt x="9" y="177"/>
                    </a:lnTo>
                    <a:lnTo>
                      <a:pt x="11" y="179"/>
                    </a:lnTo>
                    <a:lnTo>
                      <a:pt x="11" y="177"/>
                    </a:lnTo>
                    <a:lnTo>
                      <a:pt x="13" y="175"/>
                    </a:lnTo>
                    <a:lnTo>
                      <a:pt x="13" y="173"/>
                    </a:lnTo>
                    <a:lnTo>
                      <a:pt x="15" y="173"/>
                    </a:lnTo>
                    <a:lnTo>
                      <a:pt x="15" y="171"/>
                    </a:lnTo>
                    <a:lnTo>
                      <a:pt x="13" y="169"/>
                    </a:lnTo>
                    <a:lnTo>
                      <a:pt x="13" y="167"/>
                    </a:lnTo>
                    <a:lnTo>
                      <a:pt x="15" y="167"/>
                    </a:lnTo>
                    <a:lnTo>
                      <a:pt x="13" y="167"/>
                    </a:lnTo>
                    <a:lnTo>
                      <a:pt x="11" y="167"/>
                    </a:lnTo>
                    <a:lnTo>
                      <a:pt x="11" y="169"/>
                    </a:lnTo>
                    <a:lnTo>
                      <a:pt x="9" y="167"/>
                    </a:lnTo>
                    <a:lnTo>
                      <a:pt x="9" y="165"/>
                    </a:lnTo>
                    <a:lnTo>
                      <a:pt x="9" y="162"/>
                    </a:lnTo>
                    <a:lnTo>
                      <a:pt x="9" y="160"/>
                    </a:lnTo>
                    <a:lnTo>
                      <a:pt x="9" y="158"/>
                    </a:lnTo>
                    <a:lnTo>
                      <a:pt x="7" y="158"/>
                    </a:lnTo>
                    <a:lnTo>
                      <a:pt x="7" y="160"/>
                    </a:lnTo>
                    <a:lnTo>
                      <a:pt x="7" y="158"/>
                    </a:lnTo>
                    <a:lnTo>
                      <a:pt x="5" y="158"/>
                    </a:lnTo>
                    <a:lnTo>
                      <a:pt x="5" y="156"/>
                    </a:lnTo>
                    <a:lnTo>
                      <a:pt x="5" y="154"/>
                    </a:lnTo>
                    <a:lnTo>
                      <a:pt x="5" y="152"/>
                    </a:lnTo>
                    <a:lnTo>
                      <a:pt x="7" y="152"/>
                    </a:lnTo>
                    <a:lnTo>
                      <a:pt x="7" y="150"/>
                    </a:lnTo>
                    <a:lnTo>
                      <a:pt x="5" y="150"/>
                    </a:lnTo>
                    <a:lnTo>
                      <a:pt x="5" y="152"/>
                    </a:lnTo>
                    <a:lnTo>
                      <a:pt x="2" y="150"/>
                    </a:lnTo>
                    <a:lnTo>
                      <a:pt x="2" y="148"/>
                    </a:lnTo>
                    <a:lnTo>
                      <a:pt x="3" y="146"/>
                    </a:lnTo>
                    <a:lnTo>
                      <a:pt x="3" y="144"/>
                    </a:lnTo>
                    <a:lnTo>
                      <a:pt x="5" y="144"/>
                    </a:lnTo>
                    <a:lnTo>
                      <a:pt x="5" y="142"/>
                    </a:lnTo>
                    <a:lnTo>
                      <a:pt x="5" y="140"/>
                    </a:lnTo>
                    <a:lnTo>
                      <a:pt x="3" y="140"/>
                    </a:lnTo>
                    <a:lnTo>
                      <a:pt x="3" y="135"/>
                    </a:lnTo>
                    <a:lnTo>
                      <a:pt x="2" y="135"/>
                    </a:lnTo>
                    <a:lnTo>
                      <a:pt x="2" y="133"/>
                    </a:lnTo>
                    <a:lnTo>
                      <a:pt x="3" y="133"/>
                    </a:lnTo>
                    <a:lnTo>
                      <a:pt x="3" y="131"/>
                    </a:lnTo>
                    <a:lnTo>
                      <a:pt x="3" y="129"/>
                    </a:lnTo>
                    <a:lnTo>
                      <a:pt x="3" y="127"/>
                    </a:lnTo>
                    <a:lnTo>
                      <a:pt x="3" y="125"/>
                    </a:lnTo>
                    <a:lnTo>
                      <a:pt x="2" y="125"/>
                    </a:lnTo>
                    <a:lnTo>
                      <a:pt x="2" y="123"/>
                    </a:lnTo>
                    <a:lnTo>
                      <a:pt x="2" y="121"/>
                    </a:lnTo>
                    <a:lnTo>
                      <a:pt x="2" y="119"/>
                    </a:lnTo>
                    <a:lnTo>
                      <a:pt x="2" y="117"/>
                    </a:lnTo>
                    <a:lnTo>
                      <a:pt x="0" y="117"/>
                    </a:lnTo>
                    <a:lnTo>
                      <a:pt x="3" y="115"/>
                    </a:lnTo>
                    <a:lnTo>
                      <a:pt x="3" y="113"/>
                    </a:lnTo>
                    <a:lnTo>
                      <a:pt x="9" y="110"/>
                    </a:lnTo>
                    <a:lnTo>
                      <a:pt x="9" y="108"/>
                    </a:lnTo>
                    <a:lnTo>
                      <a:pt x="7" y="106"/>
                    </a:lnTo>
                    <a:lnTo>
                      <a:pt x="7" y="108"/>
                    </a:lnTo>
                    <a:lnTo>
                      <a:pt x="5" y="108"/>
                    </a:lnTo>
                    <a:lnTo>
                      <a:pt x="5" y="106"/>
                    </a:lnTo>
                    <a:lnTo>
                      <a:pt x="5" y="104"/>
                    </a:lnTo>
                    <a:lnTo>
                      <a:pt x="3" y="104"/>
                    </a:lnTo>
                    <a:lnTo>
                      <a:pt x="5" y="104"/>
                    </a:lnTo>
                    <a:lnTo>
                      <a:pt x="5" y="102"/>
                    </a:lnTo>
                    <a:lnTo>
                      <a:pt x="7" y="102"/>
                    </a:lnTo>
                    <a:lnTo>
                      <a:pt x="9" y="102"/>
                    </a:lnTo>
                    <a:lnTo>
                      <a:pt x="7" y="100"/>
                    </a:lnTo>
                    <a:lnTo>
                      <a:pt x="7" y="98"/>
                    </a:lnTo>
                    <a:lnTo>
                      <a:pt x="5" y="96"/>
                    </a:lnTo>
                    <a:lnTo>
                      <a:pt x="5" y="94"/>
                    </a:lnTo>
                    <a:lnTo>
                      <a:pt x="3" y="94"/>
                    </a:lnTo>
                    <a:lnTo>
                      <a:pt x="5" y="92"/>
                    </a:lnTo>
                    <a:lnTo>
                      <a:pt x="7" y="94"/>
                    </a:lnTo>
                    <a:lnTo>
                      <a:pt x="9" y="94"/>
                    </a:lnTo>
                    <a:lnTo>
                      <a:pt x="11" y="94"/>
                    </a:lnTo>
                    <a:lnTo>
                      <a:pt x="13" y="94"/>
                    </a:lnTo>
                    <a:lnTo>
                      <a:pt x="15" y="90"/>
                    </a:lnTo>
                    <a:lnTo>
                      <a:pt x="13" y="90"/>
                    </a:lnTo>
                    <a:lnTo>
                      <a:pt x="13" y="88"/>
                    </a:lnTo>
                    <a:lnTo>
                      <a:pt x="11" y="88"/>
                    </a:lnTo>
                    <a:lnTo>
                      <a:pt x="11" y="87"/>
                    </a:lnTo>
                    <a:lnTo>
                      <a:pt x="13" y="85"/>
                    </a:lnTo>
                    <a:lnTo>
                      <a:pt x="15" y="83"/>
                    </a:lnTo>
                    <a:lnTo>
                      <a:pt x="17" y="83"/>
                    </a:lnTo>
                    <a:lnTo>
                      <a:pt x="19" y="81"/>
                    </a:lnTo>
                    <a:lnTo>
                      <a:pt x="23" y="77"/>
                    </a:lnTo>
                    <a:lnTo>
                      <a:pt x="25" y="77"/>
                    </a:lnTo>
                    <a:lnTo>
                      <a:pt x="27" y="77"/>
                    </a:lnTo>
                    <a:lnTo>
                      <a:pt x="28" y="75"/>
                    </a:lnTo>
                    <a:lnTo>
                      <a:pt x="30" y="73"/>
                    </a:lnTo>
                    <a:lnTo>
                      <a:pt x="30" y="71"/>
                    </a:lnTo>
                    <a:lnTo>
                      <a:pt x="38" y="73"/>
                    </a:lnTo>
                    <a:lnTo>
                      <a:pt x="40" y="71"/>
                    </a:lnTo>
                    <a:lnTo>
                      <a:pt x="42" y="71"/>
                    </a:lnTo>
                    <a:lnTo>
                      <a:pt x="44" y="71"/>
                    </a:lnTo>
                    <a:lnTo>
                      <a:pt x="44" y="73"/>
                    </a:lnTo>
                    <a:lnTo>
                      <a:pt x="46" y="73"/>
                    </a:lnTo>
                    <a:lnTo>
                      <a:pt x="50" y="73"/>
                    </a:lnTo>
                    <a:lnTo>
                      <a:pt x="50" y="71"/>
                    </a:lnTo>
                    <a:lnTo>
                      <a:pt x="48" y="69"/>
                    </a:lnTo>
                    <a:lnTo>
                      <a:pt x="48" y="67"/>
                    </a:lnTo>
                    <a:lnTo>
                      <a:pt x="48" y="65"/>
                    </a:lnTo>
                    <a:lnTo>
                      <a:pt x="48" y="63"/>
                    </a:lnTo>
                    <a:lnTo>
                      <a:pt x="46" y="63"/>
                    </a:lnTo>
                    <a:lnTo>
                      <a:pt x="46" y="62"/>
                    </a:lnTo>
                    <a:lnTo>
                      <a:pt x="46" y="56"/>
                    </a:lnTo>
                    <a:lnTo>
                      <a:pt x="46" y="54"/>
                    </a:lnTo>
                    <a:lnTo>
                      <a:pt x="48" y="54"/>
                    </a:lnTo>
                    <a:lnTo>
                      <a:pt x="48" y="52"/>
                    </a:lnTo>
                    <a:lnTo>
                      <a:pt x="46" y="52"/>
                    </a:lnTo>
                    <a:lnTo>
                      <a:pt x="46" y="50"/>
                    </a:lnTo>
                    <a:lnTo>
                      <a:pt x="44" y="50"/>
                    </a:lnTo>
                    <a:lnTo>
                      <a:pt x="44" y="52"/>
                    </a:lnTo>
                    <a:lnTo>
                      <a:pt x="44" y="50"/>
                    </a:lnTo>
                    <a:lnTo>
                      <a:pt x="42" y="50"/>
                    </a:lnTo>
                    <a:lnTo>
                      <a:pt x="42" y="52"/>
                    </a:lnTo>
                    <a:lnTo>
                      <a:pt x="42" y="50"/>
                    </a:lnTo>
                    <a:lnTo>
                      <a:pt x="42" y="52"/>
                    </a:lnTo>
                    <a:lnTo>
                      <a:pt x="42" y="50"/>
                    </a:lnTo>
                    <a:lnTo>
                      <a:pt x="40" y="52"/>
                    </a:lnTo>
                    <a:lnTo>
                      <a:pt x="40" y="54"/>
                    </a:lnTo>
                    <a:lnTo>
                      <a:pt x="40" y="52"/>
                    </a:lnTo>
                    <a:lnTo>
                      <a:pt x="38" y="52"/>
                    </a:lnTo>
                    <a:lnTo>
                      <a:pt x="38" y="54"/>
                    </a:lnTo>
                    <a:lnTo>
                      <a:pt x="38" y="52"/>
                    </a:lnTo>
                    <a:lnTo>
                      <a:pt x="38" y="54"/>
                    </a:lnTo>
                    <a:lnTo>
                      <a:pt x="36" y="54"/>
                    </a:lnTo>
                    <a:lnTo>
                      <a:pt x="38" y="54"/>
                    </a:lnTo>
                    <a:lnTo>
                      <a:pt x="38" y="52"/>
                    </a:lnTo>
                    <a:lnTo>
                      <a:pt x="36" y="52"/>
                    </a:lnTo>
                    <a:lnTo>
                      <a:pt x="38" y="52"/>
                    </a:lnTo>
                    <a:lnTo>
                      <a:pt x="38" y="50"/>
                    </a:lnTo>
                    <a:lnTo>
                      <a:pt x="38" y="48"/>
                    </a:lnTo>
                    <a:lnTo>
                      <a:pt x="40" y="46"/>
                    </a:lnTo>
                    <a:lnTo>
                      <a:pt x="44" y="46"/>
                    </a:lnTo>
                    <a:lnTo>
                      <a:pt x="46" y="42"/>
                    </a:lnTo>
                    <a:lnTo>
                      <a:pt x="48" y="40"/>
                    </a:lnTo>
                    <a:lnTo>
                      <a:pt x="50" y="42"/>
                    </a:lnTo>
                    <a:lnTo>
                      <a:pt x="51" y="40"/>
                    </a:lnTo>
                    <a:lnTo>
                      <a:pt x="55" y="37"/>
                    </a:lnTo>
                    <a:lnTo>
                      <a:pt x="55" y="31"/>
                    </a:lnTo>
                    <a:lnTo>
                      <a:pt x="57" y="29"/>
                    </a:lnTo>
                    <a:lnTo>
                      <a:pt x="55" y="27"/>
                    </a:lnTo>
                    <a:lnTo>
                      <a:pt x="57" y="25"/>
                    </a:lnTo>
                    <a:lnTo>
                      <a:pt x="57" y="23"/>
                    </a:lnTo>
                    <a:lnTo>
                      <a:pt x="57" y="21"/>
                    </a:lnTo>
                    <a:lnTo>
                      <a:pt x="55" y="17"/>
                    </a:lnTo>
                    <a:lnTo>
                      <a:pt x="57" y="15"/>
                    </a:lnTo>
                    <a:lnTo>
                      <a:pt x="57" y="13"/>
                    </a:lnTo>
                    <a:lnTo>
                      <a:pt x="57" y="4"/>
                    </a:lnTo>
                    <a:lnTo>
                      <a:pt x="57" y="0"/>
                    </a:lnTo>
                    <a:lnTo>
                      <a:pt x="61" y="0"/>
                    </a:lnTo>
                    <a:lnTo>
                      <a:pt x="67" y="2"/>
                    </a:lnTo>
                    <a:lnTo>
                      <a:pt x="75" y="4"/>
                    </a:lnTo>
                    <a:lnTo>
                      <a:pt x="82" y="10"/>
                    </a:lnTo>
                    <a:lnTo>
                      <a:pt x="86" y="10"/>
                    </a:lnTo>
                    <a:lnTo>
                      <a:pt x="107" y="13"/>
                    </a:lnTo>
                    <a:lnTo>
                      <a:pt x="121" y="15"/>
                    </a:lnTo>
                    <a:lnTo>
                      <a:pt x="128" y="17"/>
                    </a:lnTo>
                    <a:lnTo>
                      <a:pt x="130" y="17"/>
                    </a:lnTo>
                    <a:lnTo>
                      <a:pt x="128" y="21"/>
                    </a:lnTo>
                    <a:lnTo>
                      <a:pt x="134" y="23"/>
                    </a:lnTo>
                    <a:lnTo>
                      <a:pt x="142" y="27"/>
                    </a:lnTo>
                    <a:lnTo>
                      <a:pt x="146" y="29"/>
                    </a:lnTo>
                    <a:lnTo>
                      <a:pt x="153" y="33"/>
                    </a:lnTo>
                    <a:lnTo>
                      <a:pt x="159" y="37"/>
                    </a:lnTo>
                    <a:lnTo>
                      <a:pt x="163" y="40"/>
                    </a:lnTo>
                    <a:lnTo>
                      <a:pt x="165" y="44"/>
                    </a:lnTo>
                    <a:lnTo>
                      <a:pt x="167" y="50"/>
                    </a:lnTo>
                    <a:lnTo>
                      <a:pt x="171" y="56"/>
                    </a:lnTo>
                    <a:lnTo>
                      <a:pt x="171" y="58"/>
                    </a:lnTo>
                    <a:lnTo>
                      <a:pt x="174" y="63"/>
                    </a:lnTo>
                    <a:lnTo>
                      <a:pt x="176" y="69"/>
                    </a:lnTo>
                    <a:lnTo>
                      <a:pt x="178" y="75"/>
                    </a:lnTo>
                    <a:lnTo>
                      <a:pt x="180" y="77"/>
                    </a:lnTo>
                    <a:lnTo>
                      <a:pt x="184" y="75"/>
                    </a:lnTo>
                    <a:lnTo>
                      <a:pt x="196" y="75"/>
                    </a:lnTo>
                    <a:lnTo>
                      <a:pt x="211" y="73"/>
                    </a:lnTo>
                    <a:lnTo>
                      <a:pt x="217" y="85"/>
                    </a:lnTo>
                    <a:lnTo>
                      <a:pt x="217" y="87"/>
                    </a:lnTo>
                    <a:lnTo>
                      <a:pt x="219" y="92"/>
                    </a:lnTo>
                    <a:lnTo>
                      <a:pt x="221" y="94"/>
                    </a:lnTo>
                    <a:lnTo>
                      <a:pt x="230" y="92"/>
                    </a:lnTo>
                    <a:lnTo>
                      <a:pt x="234" y="90"/>
                    </a:lnTo>
                    <a:lnTo>
                      <a:pt x="238" y="90"/>
                    </a:lnTo>
                    <a:lnTo>
                      <a:pt x="240" y="90"/>
                    </a:lnTo>
                    <a:lnTo>
                      <a:pt x="242" y="90"/>
                    </a:lnTo>
                    <a:lnTo>
                      <a:pt x="244" y="90"/>
                    </a:lnTo>
                    <a:lnTo>
                      <a:pt x="246" y="90"/>
                    </a:lnTo>
                    <a:lnTo>
                      <a:pt x="247" y="90"/>
                    </a:lnTo>
                    <a:lnTo>
                      <a:pt x="247" y="88"/>
                    </a:lnTo>
                    <a:lnTo>
                      <a:pt x="249" y="88"/>
                    </a:lnTo>
                    <a:lnTo>
                      <a:pt x="251" y="88"/>
                    </a:lnTo>
                    <a:lnTo>
                      <a:pt x="253" y="88"/>
                    </a:lnTo>
                    <a:lnTo>
                      <a:pt x="255" y="88"/>
                    </a:lnTo>
                    <a:lnTo>
                      <a:pt x="257" y="88"/>
                    </a:lnTo>
                    <a:lnTo>
                      <a:pt x="257" y="87"/>
                    </a:lnTo>
                    <a:lnTo>
                      <a:pt x="257" y="88"/>
                    </a:lnTo>
                    <a:lnTo>
                      <a:pt x="257" y="87"/>
                    </a:lnTo>
                    <a:lnTo>
                      <a:pt x="259" y="87"/>
                    </a:lnTo>
                    <a:lnTo>
                      <a:pt x="259" y="88"/>
                    </a:lnTo>
                    <a:lnTo>
                      <a:pt x="261" y="88"/>
                    </a:lnTo>
                    <a:lnTo>
                      <a:pt x="263" y="88"/>
                    </a:lnTo>
                    <a:lnTo>
                      <a:pt x="263" y="87"/>
                    </a:lnTo>
                    <a:lnTo>
                      <a:pt x="261" y="87"/>
                    </a:lnTo>
                    <a:lnTo>
                      <a:pt x="263" y="87"/>
                    </a:lnTo>
                    <a:lnTo>
                      <a:pt x="261" y="87"/>
                    </a:lnTo>
                    <a:lnTo>
                      <a:pt x="261" y="85"/>
                    </a:lnTo>
                    <a:lnTo>
                      <a:pt x="263" y="85"/>
                    </a:lnTo>
                    <a:lnTo>
                      <a:pt x="261" y="85"/>
                    </a:lnTo>
                    <a:lnTo>
                      <a:pt x="263" y="85"/>
                    </a:lnTo>
                    <a:lnTo>
                      <a:pt x="261" y="83"/>
                    </a:lnTo>
                    <a:lnTo>
                      <a:pt x="263" y="83"/>
                    </a:lnTo>
                    <a:lnTo>
                      <a:pt x="263" y="81"/>
                    </a:lnTo>
                    <a:lnTo>
                      <a:pt x="265" y="81"/>
                    </a:lnTo>
                    <a:lnTo>
                      <a:pt x="267" y="81"/>
                    </a:lnTo>
                    <a:lnTo>
                      <a:pt x="267" y="83"/>
                    </a:lnTo>
                    <a:lnTo>
                      <a:pt x="269" y="83"/>
                    </a:lnTo>
                    <a:lnTo>
                      <a:pt x="271" y="83"/>
                    </a:lnTo>
                    <a:lnTo>
                      <a:pt x="271" y="81"/>
                    </a:lnTo>
                    <a:lnTo>
                      <a:pt x="272" y="81"/>
                    </a:lnTo>
                    <a:lnTo>
                      <a:pt x="278" y="88"/>
                    </a:lnTo>
                    <a:lnTo>
                      <a:pt x="276" y="90"/>
                    </a:lnTo>
                    <a:lnTo>
                      <a:pt x="274" y="90"/>
                    </a:lnTo>
                    <a:lnTo>
                      <a:pt x="272" y="92"/>
                    </a:lnTo>
                    <a:lnTo>
                      <a:pt x="272" y="94"/>
                    </a:lnTo>
                    <a:lnTo>
                      <a:pt x="272" y="96"/>
                    </a:lnTo>
                    <a:lnTo>
                      <a:pt x="271" y="98"/>
                    </a:lnTo>
                    <a:lnTo>
                      <a:pt x="272" y="98"/>
                    </a:lnTo>
                    <a:lnTo>
                      <a:pt x="271" y="100"/>
                    </a:lnTo>
                    <a:lnTo>
                      <a:pt x="269" y="102"/>
                    </a:lnTo>
                    <a:lnTo>
                      <a:pt x="269" y="104"/>
                    </a:lnTo>
                    <a:lnTo>
                      <a:pt x="271" y="104"/>
                    </a:lnTo>
                    <a:lnTo>
                      <a:pt x="271" y="102"/>
                    </a:lnTo>
                    <a:lnTo>
                      <a:pt x="272" y="104"/>
                    </a:lnTo>
                    <a:lnTo>
                      <a:pt x="272" y="106"/>
                    </a:lnTo>
                    <a:lnTo>
                      <a:pt x="271" y="106"/>
                    </a:lnTo>
                    <a:lnTo>
                      <a:pt x="272" y="108"/>
                    </a:lnTo>
                    <a:lnTo>
                      <a:pt x="271" y="108"/>
                    </a:lnTo>
                    <a:lnTo>
                      <a:pt x="271" y="110"/>
                    </a:lnTo>
                    <a:lnTo>
                      <a:pt x="271" y="108"/>
                    </a:lnTo>
                    <a:lnTo>
                      <a:pt x="271" y="110"/>
                    </a:lnTo>
                    <a:lnTo>
                      <a:pt x="272" y="112"/>
                    </a:lnTo>
                    <a:lnTo>
                      <a:pt x="274" y="112"/>
                    </a:lnTo>
                    <a:lnTo>
                      <a:pt x="272" y="113"/>
                    </a:lnTo>
                    <a:lnTo>
                      <a:pt x="272" y="115"/>
                    </a:lnTo>
                    <a:lnTo>
                      <a:pt x="272" y="117"/>
                    </a:lnTo>
                    <a:lnTo>
                      <a:pt x="274" y="119"/>
                    </a:lnTo>
                    <a:lnTo>
                      <a:pt x="274" y="121"/>
                    </a:lnTo>
                    <a:lnTo>
                      <a:pt x="276" y="125"/>
                    </a:lnTo>
                    <a:lnTo>
                      <a:pt x="276" y="127"/>
                    </a:lnTo>
                    <a:lnTo>
                      <a:pt x="276" y="129"/>
                    </a:lnTo>
                    <a:lnTo>
                      <a:pt x="274" y="129"/>
                    </a:lnTo>
                    <a:lnTo>
                      <a:pt x="272" y="131"/>
                    </a:lnTo>
                    <a:lnTo>
                      <a:pt x="272" y="133"/>
                    </a:lnTo>
                    <a:lnTo>
                      <a:pt x="271" y="135"/>
                    </a:lnTo>
                    <a:lnTo>
                      <a:pt x="269" y="135"/>
                    </a:lnTo>
                    <a:lnTo>
                      <a:pt x="269" y="137"/>
                    </a:lnTo>
                    <a:lnTo>
                      <a:pt x="271" y="137"/>
                    </a:lnTo>
                    <a:lnTo>
                      <a:pt x="271" y="138"/>
                    </a:lnTo>
                    <a:lnTo>
                      <a:pt x="272" y="138"/>
                    </a:lnTo>
                    <a:lnTo>
                      <a:pt x="272" y="140"/>
                    </a:lnTo>
                    <a:lnTo>
                      <a:pt x="272" y="138"/>
                    </a:lnTo>
                    <a:lnTo>
                      <a:pt x="274" y="138"/>
                    </a:lnTo>
                    <a:lnTo>
                      <a:pt x="276" y="138"/>
                    </a:lnTo>
                    <a:lnTo>
                      <a:pt x="276" y="140"/>
                    </a:lnTo>
                    <a:lnTo>
                      <a:pt x="278" y="140"/>
                    </a:lnTo>
                    <a:lnTo>
                      <a:pt x="278" y="138"/>
                    </a:lnTo>
                    <a:lnTo>
                      <a:pt x="278" y="140"/>
                    </a:lnTo>
                    <a:lnTo>
                      <a:pt x="280" y="140"/>
                    </a:lnTo>
                    <a:lnTo>
                      <a:pt x="278" y="140"/>
                    </a:lnTo>
                    <a:lnTo>
                      <a:pt x="282" y="142"/>
                    </a:lnTo>
                    <a:lnTo>
                      <a:pt x="282" y="140"/>
                    </a:lnTo>
                    <a:lnTo>
                      <a:pt x="284" y="140"/>
                    </a:lnTo>
                    <a:lnTo>
                      <a:pt x="284" y="138"/>
                    </a:lnTo>
                    <a:lnTo>
                      <a:pt x="284" y="137"/>
                    </a:lnTo>
                    <a:lnTo>
                      <a:pt x="286" y="137"/>
                    </a:lnTo>
                    <a:lnTo>
                      <a:pt x="284" y="135"/>
                    </a:lnTo>
                    <a:lnTo>
                      <a:pt x="286" y="135"/>
                    </a:lnTo>
                    <a:lnTo>
                      <a:pt x="288" y="135"/>
                    </a:lnTo>
                    <a:lnTo>
                      <a:pt x="288" y="133"/>
                    </a:lnTo>
                    <a:lnTo>
                      <a:pt x="288" y="131"/>
                    </a:lnTo>
                    <a:lnTo>
                      <a:pt x="290" y="131"/>
                    </a:lnTo>
                    <a:lnTo>
                      <a:pt x="288" y="131"/>
                    </a:lnTo>
                    <a:lnTo>
                      <a:pt x="290" y="127"/>
                    </a:lnTo>
                    <a:lnTo>
                      <a:pt x="292" y="127"/>
                    </a:lnTo>
                    <a:lnTo>
                      <a:pt x="292" y="125"/>
                    </a:lnTo>
                    <a:lnTo>
                      <a:pt x="294" y="123"/>
                    </a:lnTo>
                    <a:lnTo>
                      <a:pt x="294" y="121"/>
                    </a:lnTo>
                    <a:lnTo>
                      <a:pt x="295" y="121"/>
                    </a:lnTo>
                    <a:lnTo>
                      <a:pt x="295" y="119"/>
                    </a:lnTo>
                    <a:lnTo>
                      <a:pt x="299" y="119"/>
                    </a:lnTo>
                    <a:lnTo>
                      <a:pt x="303" y="117"/>
                    </a:lnTo>
                    <a:lnTo>
                      <a:pt x="305" y="119"/>
                    </a:lnTo>
                    <a:lnTo>
                      <a:pt x="307" y="121"/>
                    </a:lnTo>
                    <a:lnTo>
                      <a:pt x="307" y="123"/>
                    </a:lnTo>
                    <a:lnTo>
                      <a:pt x="309" y="123"/>
                    </a:lnTo>
                    <a:lnTo>
                      <a:pt x="311" y="121"/>
                    </a:lnTo>
                    <a:lnTo>
                      <a:pt x="311" y="119"/>
                    </a:lnTo>
                    <a:lnTo>
                      <a:pt x="313" y="11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76">
                <a:extLst>
                  <a:ext uri="{FF2B5EF4-FFF2-40B4-BE49-F238E27FC236}">
                    <a16:creationId xmlns="" xmlns:a16="http://schemas.microsoft.com/office/drawing/2014/main" id="{C704599D-72DF-4249-8C56-0CCA3F6B3A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8700" y="3890963"/>
                <a:ext cx="331788" cy="573088"/>
              </a:xfrm>
              <a:custGeom>
                <a:avLst/>
                <a:gdLst>
                  <a:gd name="T0" fmla="*/ 207 w 209"/>
                  <a:gd name="T1" fmla="*/ 152 h 361"/>
                  <a:gd name="T2" fmla="*/ 188 w 209"/>
                  <a:gd name="T3" fmla="*/ 173 h 361"/>
                  <a:gd name="T4" fmla="*/ 194 w 209"/>
                  <a:gd name="T5" fmla="*/ 171 h 361"/>
                  <a:gd name="T6" fmla="*/ 200 w 209"/>
                  <a:gd name="T7" fmla="*/ 175 h 361"/>
                  <a:gd name="T8" fmla="*/ 198 w 209"/>
                  <a:gd name="T9" fmla="*/ 194 h 361"/>
                  <a:gd name="T10" fmla="*/ 175 w 209"/>
                  <a:gd name="T11" fmla="*/ 198 h 361"/>
                  <a:gd name="T12" fmla="*/ 163 w 209"/>
                  <a:gd name="T13" fmla="*/ 215 h 361"/>
                  <a:gd name="T14" fmla="*/ 157 w 209"/>
                  <a:gd name="T15" fmla="*/ 223 h 361"/>
                  <a:gd name="T16" fmla="*/ 155 w 209"/>
                  <a:gd name="T17" fmla="*/ 236 h 361"/>
                  <a:gd name="T18" fmla="*/ 155 w 209"/>
                  <a:gd name="T19" fmla="*/ 254 h 361"/>
                  <a:gd name="T20" fmla="*/ 154 w 209"/>
                  <a:gd name="T21" fmla="*/ 271 h 361"/>
                  <a:gd name="T22" fmla="*/ 159 w 209"/>
                  <a:gd name="T23" fmla="*/ 279 h 361"/>
                  <a:gd name="T24" fmla="*/ 165 w 209"/>
                  <a:gd name="T25" fmla="*/ 290 h 361"/>
                  <a:gd name="T26" fmla="*/ 157 w 209"/>
                  <a:gd name="T27" fmla="*/ 313 h 361"/>
                  <a:gd name="T28" fmla="*/ 142 w 209"/>
                  <a:gd name="T29" fmla="*/ 334 h 361"/>
                  <a:gd name="T30" fmla="*/ 123 w 209"/>
                  <a:gd name="T31" fmla="*/ 342 h 361"/>
                  <a:gd name="T32" fmla="*/ 102 w 209"/>
                  <a:gd name="T33" fmla="*/ 361 h 361"/>
                  <a:gd name="T34" fmla="*/ 88 w 209"/>
                  <a:gd name="T35" fmla="*/ 346 h 361"/>
                  <a:gd name="T36" fmla="*/ 67 w 209"/>
                  <a:gd name="T37" fmla="*/ 348 h 361"/>
                  <a:gd name="T38" fmla="*/ 75 w 209"/>
                  <a:gd name="T39" fmla="*/ 332 h 361"/>
                  <a:gd name="T40" fmla="*/ 86 w 209"/>
                  <a:gd name="T41" fmla="*/ 317 h 361"/>
                  <a:gd name="T42" fmla="*/ 69 w 209"/>
                  <a:gd name="T43" fmla="*/ 319 h 361"/>
                  <a:gd name="T44" fmla="*/ 50 w 209"/>
                  <a:gd name="T45" fmla="*/ 309 h 361"/>
                  <a:gd name="T46" fmla="*/ 44 w 209"/>
                  <a:gd name="T47" fmla="*/ 307 h 361"/>
                  <a:gd name="T48" fmla="*/ 44 w 209"/>
                  <a:gd name="T49" fmla="*/ 288 h 361"/>
                  <a:gd name="T50" fmla="*/ 38 w 209"/>
                  <a:gd name="T51" fmla="*/ 294 h 361"/>
                  <a:gd name="T52" fmla="*/ 25 w 209"/>
                  <a:gd name="T53" fmla="*/ 288 h 361"/>
                  <a:gd name="T54" fmla="*/ 11 w 209"/>
                  <a:gd name="T55" fmla="*/ 290 h 361"/>
                  <a:gd name="T56" fmla="*/ 2 w 209"/>
                  <a:gd name="T57" fmla="*/ 277 h 361"/>
                  <a:gd name="T58" fmla="*/ 11 w 209"/>
                  <a:gd name="T59" fmla="*/ 265 h 361"/>
                  <a:gd name="T60" fmla="*/ 9 w 209"/>
                  <a:gd name="T61" fmla="*/ 248 h 361"/>
                  <a:gd name="T62" fmla="*/ 13 w 209"/>
                  <a:gd name="T63" fmla="*/ 229 h 361"/>
                  <a:gd name="T64" fmla="*/ 0 w 209"/>
                  <a:gd name="T65" fmla="*/ 211 h 361"/>
                  <a:gd name="T66" fmla="*/ 9 w 209"/>
                  <a:gd name="T67" fmla="*/ 198 h 361"/>
                  <a:gd name="T68" fmla="*/ 9 w 209"/>
                  <a:gd name="T69" fmla="*/ 183 h 361"/>
                  <a:gd name="T70" fmla="*/ 19 w 209"/>
                  <a:gd name="T71" fmla="*/ 175 h 361"/>
                  <a:gd name="T72" fmla="*/ 17 w 209"/>
                  <a:gd name="T73" fmla="*/ 171 h 361"/>
                  <a:gd name="T74" fmla="*/ 25 w 209"/>
                  <a:gd name="T75" fmla="*/ 152 h 361"/>
                  <a:gd name="T76" fmla="*/ 33 w 209"/>
                  <a:gd name="T77" fmla="*/ 144 h 361"/>
                  <a:gd name="T78" fmla="*/ 34 w 209"/>
                  <a:gd name="T79" fmla="*/ 134 h 361"/>
                  <a:gd name="T80" fmla="*/ 44 w 209"/>
                  <a:gd name="T81" fmla="*/ 125 h 361"/>
                  <a:gd name="T82" fmla="*/ 61 w 209"/>
                  <a:gd name="T83" fmla="*/ 121 h 361"/>
                  <a:gd name="T84" fmla="*/ 56 w 209"/>
                  <a:gd name="T85" fmla="*/ 90 h 361"/>
                  <a:gd name="T86" fmla="*/ 52 w 209"/>
                  <a:gd name="T87" fmla="*/ 77 h 361"/>
                  <a:gd name="T88" fmla="*/ 44 w 209"/>
                  <a:gd name="T89" fmla="*/ 77 h 361"/>
                  <a:gd name="T90" fmla="*/ 36 w 209"/>
                  <a:gd name="T91" fmla="*/ 83 h 361"/>
                  <a:gd name="T92" fmla="*/ 38 w 209"/>
                  <a:gd name="T93" fmla="*/ 67 h 361"/>
                  <a:gd name="T94" fmla="*/ 42 w 209"/>
                  <a:gd name="T95" fmla="*/ 46 h 361"/>
                  <a:gd name="T96" fmla="*/ 63 w 209"/>
                  <a:gd name="T97" fmla="*/ 4 h 361"/>
                  <a:gd name="T98" fmla="*/ 73 w 209"/>
                  <a:gd name="T99" fmla="*/ 4 h 361"/>
                  <a:gd name="T100" fmla="*/ 79 w 209"/>
                  <a:gd name="T101" fmla="*/ 11 h 361"/>
                  <a:gd name="T102" fmla="*/ 73 w 209"/>
                  <a:gd name="T103" fmla="*/ 33 h 361"/>
                  <a:gd name="T104" fmla="*/ 98 w 209"/>
                  <a:gd name="T105" fmla="*/ 40 h 361"/>
                  <a:gd name="T106" fmla="*/ 125 w 209"/>
                  <a:gd name="T107" fmla="*/ 44 h 361"/>
                  <a:gd name="T108" fmla="*/ 179 w 209"/>
                  <a:gd name="T109" fmla="*/ 42 h 361"/>
                  <a:gd name="T110" fmla="*/ 190 w 209"/>
                  <a:gd name="T111" fmla="*/ 31 h 361"/>
                  <a:gd name="T112" fmla="*/ 198 w 209"/>
                  <a:gd name="T113" fmla="*/ 65 h 361"/>
                  <a:gd name="T114" fmla="*/ 207 w 209"/>
                  <a:gd name="T115" fmla="*/ 111 h 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09" h="361">
                    <a:moveTo>
                      <a:pt x="209" y="121"/>
                    </a:moveTo>
                    <a:lnTo>
                      <a:pt x="209" y="125"/>
                    </a:lnTo>
                    <a:lnTo>
                      <a:pt x="209" y="134"/>
                    </a:lnTo>
                    <a:lnTo>
                      <a:pt x="209" y="136"/>
                    </a:lnTo>
                    <a:lnTo>
                      <a:pt x="207" y="138"/>
                    </a:lnTo>
                    <a:lnTo>
                      <a:pt x="209" y="142"/>
                    </a:lnTo>
                    <a:lnTo>
                      <a:pt x="209" y="144"/>
                    </a:lnTo>
                    <a:lnTo>
                      <a:pt x="209" y="146"/>
                    </a:lnTo>
                    <a:lnTo>
                      <a:pt x="207" y="148"/>
                    </a:lnTo>
                    <a:lnTo>
                      <a:pt x="209" y="150"/>
                    </a:lnTo>
                    <a:lnTo>
                      <a:pt x="207" y="152"/>
                    </a:lnTo>
                    <a:lnTo>
                      <a:pt x="207" y="158"/>
                    </a:lnTo>
                    <a:lnTo>
                      <a:pt x="203" y="161"/>
                    </a:lnTo>
                    <a:lnTo>
                      <a:pt x="202" y="163"/>
                    </a:lnTo>
                    <a:lnTo>
                      <a:pt x="200" y="161"/>
                    </a:lnTo>
                    <a:lnTo>
                      <a:pt x="198" y="163"/>
                    </a:lnTo>
                    <a:lnTo>
                      <a:pt x="196" y="167"/>
                    </a:lnTo>
                    <a:lnTo>
                      <a:pt x="192" y="167"/>
                    </a:lnTo>
                    <a:lnTo>
                      <a:pt x="190" y="169"/>
                    </a:lnTo>
                    <a:lnTo>
                      <a:pt x="190" y="171"/>
                    </a:lnTo>
                    <a:lnTo>
                      <a:pt x="190" y="173"/>
                    </a:lnTo>
                    <a:lnTo>
                      <a:pt x="188" y="173"/>
                    </a:lnTo>
                    <a:lnTo>
                      <a:pt x="190" y="173"/>
                    </a:lnTo>
                    <a:lnTo>
                      <a:pt x="190" y="175"/>
                    </a:lnTo>
                    <a:lnTo>
                      <a:pt x="188" y="175"/>
                    </a:lnTo>
                    <a:lnTo>
                      <a:pt x="190" y="175"/>
                    </a:lnTo>
                    <a:lnTo>
                      <a:pt x="190" y="173"/>
                    </a:lnTo>
                    <a:lnTo>
                      <a:pt x="190" y="175"/>
                    </a:lnTo>
                    <a:lnTo>
                      <a:pt x="190" y="173"/>
                    </a:lnTo>
                    <a:lnTo>
                      <a:pt x="192" y="173"/>
                    </a:lnTo>
                    <a:lnTo>
                      <a:pt x="192" y="175"/>
                    </a:lnTo>
                    <a:lnTo>
                      <a:pt x="192" y="173"/>
                    </a:lnTo>
                    <a:lnTo>
                      <a:pt x="194" y="171"/>
                    </a:lnTo>
                    <a:lnTo>
                      <a:pt x="194" y="173"/>
                    </a:lnTo>
                    <a:lnTo>
                      <a:pt x="194" y="171"/>
                    </a:lnTo>
                    <a:lnTo>
                      <a:pt x="194" y="173"/>
                    </a:lnTo>
                    <a:lnTo>
                      <a:pt x="194" y="171"/>
                    </a:lnTo>
                    <a:lnTo>
                      <a:pt x="196" y="171"/>
                    </a:lnTo>
                    <a:lnTo>
                      <a:pt x="196" y="173"/>
                    </a:lnTo>
                    <a:lnTo>
                      <a:pt x="196" y="171"/>
                    </a:lnTo>
                    <a:lnTo>
                      <a:pt x="198" y="171"/>
                    </a:lnTo>
                    <a:lnTo>
                      <a:pt x="198" y="173"/>
                    </a:lnTo>
                    <a:lnTo>
                      <a:pt x="200" y="173"/>
                    </a:lnTo>
                    <a:lnTo>
                      <a:pt x="200" y="175"/>
                    </a:lnTo>
                    <a:lnTo>
                      <a:pt x="198" y="175"/>
                    </a:lnTo>
                    <a:lnTo>
                      <a:pt x="198" y="177"/>
                    </a:lnTo>
                    <a:lnTo>
                      <a:pt x="198" y="183"/>
                    </a:lnTo>
                    <a:lnTo>
                      <a:pt x="198" y="184"/>
                    </a:lnTo>
                    <a:lnTo>
                      <a:pt x="200" y="184"/>
                    </a:lnTo>
                    <a:lnTo>
                      <a:pt x="200" y="186"/>
                    </a:lnTo>
                    <a:lnTo>
                      <a:pt x="200" y="188"/>
                    </a:lnTo>
                    <a:lnTo>
                      <a:pt x="200" y="190"/>
                    </a:lnTo>
                    <a:lnTo>
                      <a:pt x="202" y="192"/>
                    </a:lnTo>
                    <a:lnTo>
                      <a:pt x="202" y="194"/>
                    </a:lnTo>
                    <a:lnTo>
                      <a:pt x="198" y="194"/>
                    </a:lnTo>
                    <a:lnTo>
                      <a:pt x="196" y="194"/>
                    </a:lnTo>
                    <a:lnTo>
                      <a:pt x="196" y="192"/>
                    </a:lnTo>
                    <a:lnTo>
                      <a:pt x="194" y="192"/>
                    </a:lnTo>
                    <a:lnTo>
                      <a:pt x="192" y="192"/>
                    </a:lnTo>
                    <a:lnTo>
                      <a:pt x="190" y="194"/>
                    </a:lnTo>
                    <a:lnTo>
                      <a:pt x="182" y="192"/>
                    </a:lnTo>
                    <a:lnTo>
                      <a:pt x="182" y="194"/>
                    </a:lnTo>
                    <a:lnTo>
                      <a:pt x="180" y="196"/>
                    </a:lnTo>
                    <a:lnTo>
                      <a:pt x="179" y="198"/>
                    </a:lnTo>
                    <a:lnTo>
                      <a:pt x="177" y="198"/>
                    </a:lnTo>
                    <a:lnTo>
                      <a:pt x="175" y="198"/>
                    </a:lnTo>
                    <a:lnTo>
                      <a:pt x="171" y="202"/>
                    </a:lnTo>
                    <a:lnTo>
                      <a:pt x="169" y="204"/>
                    </a:lnTo>
                    <a:lnTo>
                      <a:pt x="167" y="204"/>
                    </a:lnTo>
                    <a:lnTo>
                      <a:pt x="165" y="206"/>
                    </a:lnTo>
                    <a:lnTo>
                      <a:pt x="163" y="208"/>
                    </a:lnTo>
                    <a:lnTo>
                      <a:pt x="163" y="209"/>
                    </a:lnTo>
                    <a:lnTo>
                      <a:pt x="165" y="209"/>
                    </a:lnTo>
                    <a:lnTo>
                      <a:pt x="165" y="211"/>
                    </a:lnTo>
                    <a:lnTo>
                      <a:pt x="167" y="211"/>
                    </a:lnTo>
                    <a:lnTo>
                      <a:pt x="165" y="215"/>
                    </a:lnTo>
                    <a:lnTo>
                      <a:pt x="163" y="215"/>
                    </a:lnTo>
                    <a:lnTo>
                      <a:pt x="161" y="215"/>
                    </a:lnTo>
                    <a:lnTo>
                      <a:pt x="159" y="215"/>
                    </a:lnTo>
                    <a:lnTo>
                      <a:pt x="157" y="213"/>
                    </a:lnTo>
                    <a:lnTo>
                      <a:pt x="155" y="215"/>
                    </a:lnTo>
                    <a:lnTo>
                      <a:pt x="157" y="215"/>
                    </a:lnTo>
                    <a:lnTo>
                      <a:pt x="157" y="217"/>
                    </a:lnTo>
                    <a:lnTo>
                      <a:pt x="159" y="219"/>
                    </a:lnTo>
                    <a:lnTo>
                      <a:pt x="159" y="221"/>
                    </a:lnTo>
                    <a:lnTo>
                      <a:pt x="161" y="223"/>
                    </a:lnTo>
                    <a:lnTo>
                      <a:pt x="159" y="223"/>
                    </a:lnTo>
                    <a:lnTo>
                      <a:pt x="157" y="223"/>
                    </a:lnTo>
                    <a:lnTo>
                      <a:pt x="157" y="225"/>
                    </a:lnTo>
                    <a:lnTo>
                      <a:pt x="155" y="225"/>
                    </a:lnTo>
                    <a:lnTo>
                      <a:pt x="157" y="225"/>
                    </a:lnTo>
                    <a:lnTo>
                      <a:pt x="157" y="227"/>
                    </a:lnTo>
                    <a:lnTo>
                      <a:pt x="157" y="229"/>
                    </a:lnTo>
                    <a:lnTo>
                      <a:pt x="159" y="229"/>
                    </a:lnTo>
                    <a:lnTo>
                      <a:pt x="159" y="227"/>
                    </a:lnTo>
                    <a:lnTo>
                      <a:pt x="161" y="229"/>
                    </a:lnTo>
                    <a:lnTo>
                      <a:pt x="161" y="231"/>
                    </a:lnTo>
                    <a:lnTo>
                      <a:pt x="155" y="234"/>
                    </a:lnTo>
                    <a:lnTo>
                      <a:pt x="155" y="236"/>
                    </a:lnTo>
                    <a:lnTo>
                      <a:pt x="152" y="238"/>
                    </a:lnTo>
                    <a:lnTo>
                      <a:pt x="154" y="238"/>
                    </a:lnTo>
                    <a:lnTo>
                      <a:pt x="154" y="240"/>
                    </a:lnTo>
                    <a:lnTo>
                      <a:pt x="154" y="242"/>
                    </a:lnTo>
                    <a:lnTo>
                      <a:pt x="154" y="244"/>
                    </a:lnTo>
                    <a:lnTo>
                      <a:pt x="154" y="246"/>
                    </a:lnTo>
                    <a:lnTo>
                      <a:pt x="155" y="246"/>
                    </a:lnTo>
                    <a:lnTo>
                      <a:pt x="155" y="248"/>
                    </a:lnTo>
                    <a:lnTo>
                      <a:pt x="155" y="250"/>
                    </a:lnTo>
                    <a:lnTo>
                      <a:pt x="155" y="252"/>
                    </a:lnTo>
                    <a:lnTo>
                      <a:pt x="155" y="254"/>
                    </a:lnTo>
                    <a:lnTo>
                      <a:pt x="154" y="254"/>
                    </a:lnTo>
                    <a:lnTo>
                      <a:pt x="154" y="256"/>
                    </a:lnTo>
                    <a:lnTo>
                      <a:pt x="155" y="256"/>
                    </a:lnTo>
                    <a:lnTo>
                      <a:pt x="155" y="261"/>
                    </a:lnTo>
                    <a:lnTo>
                      <a:pt x="157" y="261"/>
                    </a:lnTo>
                    <a:lnTo>
                      <a:pt x="157" y="263"/>
                    </a:lnTo>
                    <a:lnTo>
                      <a:pt x="157" y="265"/>
                    </a:lnTo>
                    <a:lnTo>
                      <a:pt x="155" y="265"/>
                    </a:lnTo>
                    <a:lnTo>
                      <a:pt x="155" y="267"/>
                    </a:lnTo>
                    <a:lnTo>
                      <a:pt x="154" y="269"/>
                    </a:lnTo>
                    <a:lnTo>
                      <a:pt x="154" y="271"/>
                    </a:lnTo>
                    <a:lnTo>
                      <a:pt x="157" y="273"/>
                    </a:lnTo>
                    <a:lnTo>
                      <a:pt x="157" y="271"/>
                    </a:lnTo>
                    <a:lnTo>
                      <a:pt x="159" y="271"/>
                    </a:lnTo>
                    <a:lnTo>
                      <a:pt x="159" y="273"/>
                    </a:lnTo>
                    <a:lnTo>
                      <a:pt x="157" y="273"/>
                    </a:lnTo>
                    <a:lnTo>
                      <a:pt x="157" y="275"/>
                    </a:lnTo>
                    <a:lnTo>
                      <a:pt x="157" y="277"/>
                    </a:lnTo>
                    <a:lnTo>
                      <a:pt x="157" y="279"/>
                    </a:lnTo>
                    <a:lnTo>
                      <a:pt x="159" y="279"/>
                    </a:lnTo>
                    <a:lnTo>
                      <a:pt x="159" y="281"/>
                    </a:lnTo>
                    <a:lnTo>
                      <a:pt x="159" y="279"/>
                    </a:lnTo>
                    <a:lnTo>
                      <a:pt x="161" y="279"/>
                    </a:lnTo>
                    <a:lnTo>
                      <a:pt x="161" y="281"/>
                    </a:lnTo>
                    <a:lnTo>
                      <a:pt x="161" y="283"/>
                    </a:lnTo>
                    <a:lnTo>
                      <a:pt x="161" y="286"/>
                    </a:lnTo>
                    <a:lnTo>
                      <a:pt x="161" y="288"/>
                    </a:lnTo>
                    <a:lnTo>
                      <a:pt x="163" y="290"/>
                    </a:lnTo>
                    <a:lnTo>
                      <a:pt x="163" y="288"/>
                    </a:lnTo>
                    <a:lnTo>
                      <a:pt x="165" y="288"/>
                    </a:lnTo>
                    <a:lnTo>
                      <a:pt x="167" y="288"/>
                    </a:lnTo>
                    <a:lnTo>
                      <a:pt x="165" y="288"/>
                    </a:lnTo>
                    <a:lnTo>
                      <a:pt x="165" y="290"/>
                    </a:lnTo>
                    <a:lnTo>
                      <a:pt x="167" y="292"/>
                    </a:lnTo>
                    <a:lnTo>
                      <a:pt x="167" y="294"/>
                    </a:lnTo>
                    <a:lnTo>
                      <a:pt x="165" y="294"/>
                    </a:lnTo>
                    <a:lnTo>
                      <a:pt x="165" y="296"/>
                    </a:lnTo>
                    <a:lnTo>
                      <a:pt x="163" y="298"/>
                    </a:lnTo>
                    <a:lnTo>
                      <a:pt x="163" y="300"/>
                    </a:lnTo>
                    <a:lnTo>
                      <a:pt x="161" y="298"/>
                    </a:lnTo>
                    <a:lnTo>
                      <a:pt x="159" y="298"/>
                    </a:lnTo>
                    <a:lnTo>
                      <a:pt x="159" y="302"/>
                    </a:lnTo>
                    <a:lnTo>
                      <a:pt x="157" y="309"/>
                    </a:lnTo>
                    <a:lnTo>
                      <a:pt x="157" y="313"/>
                    </a:lnTo>
                    <a:lnTo>
                      <a:pt x="155" y="317"/>
                    </a:lnTo>
                    <a:lnTo>
                      <a:pt x="155" y="321"/>
                    </a:lnTo>
                    <a:lnTo>
                      <a:pt x="154" y="327"/>
                    </a:lnTo>
                    <a:lnTo>
                      <a:pt x="152" y="327"/>
                    </a:lnTo>
                    <a:lnTo>
                      <a:pt x="150" y="327"/>
                    </a:lnTo>
                    <a:lnTo>
                      <a:pt x="150" y="325"/>
                    </a:lnTo>
                    <a:lnTo>
                      <a:pt x="144" y="329"/>
                    </a:lnTo>
                    <a:lnTo>
                      <a:pt x="144" y="332"/>
                    </a:lnTo>
                    <a:lnTo>
                      <a:pt x="144" y="334"/>
                    </a:lnTo>
                    <a:lnTo>
                      <a:pt x="142" y="336"/>
                    </a:lnTo>
                    <a:lnTo>
                      <a:pt x="142" y="334"/>
                    </a:lnTo>
                    <a:lnTo>
                      <a:pt x="140" y="336"/>
                    </a:lnTo>
                    <a:lnTo>
                      <a:pt x="138" y="336"/>
                    </a:lnTo>
                    <a:lnTo>
                      <a:pt x="136" y="338"/>
                    </a:lnTo>
                    <a:lnTo>
                      <a:pt x="134" y="340"/>
                    </a:lnTo>
                    <a:lnTo>
                      <a:pt x="132" y="342"/>
                    </a:lnTo>
                    <a:lnTo>
                      <a:pt x="129" y="344"/>
                    </a:lnTo>
                    <a:lnTo>
                      <a:pt x="127" y="344"/>
                    </a:lnTo>
                    <a:lnTo>
                      <a:pt x="127" y="342"/>
                    </a:lnTo>
                    <a:lnTo>
                      <a:pt x="125" y="342"/>
                    </a:lnTo>
                    <a:lnTo>
                      <a:pt x="123" y="340"/>
                    </a:lnTo>
                    <a:lnTo>
                      <a:pt x="123" y="342"/>
                    </a:lnTo>
                    <a:lnTo>
                      <a:pt x="121" y="340"/>
                    </a:lnTo>
                    <a:lnTo>
                      <a:pt x="117" y="346"/>
                    </a:lnTo>
                    <a:lnTo>
                      <a:pt x="115" y="344"/>
                    </a:lnTo>
                    <a:lnTo>
                      <a:pt x="113" y="350"/>
                    </a:lnTo>
                    <a:lnTo>
                      <a:pt x="107" y="346"/>
                    </a:lnTo>
                    <a:lnTo>
                      <a:pt x="106" y="350"/>
                    </a:lnTo>
                    <a:lnTo>
                      <a:pt x="104" y="354"/>
                    </a:lnTo>
                    <a:lnTo>
                      <a:pt x="106" y="354"/>
                    </a:lnTo>
                    <a:lnTo>
                      <a:pt x="107" y="356"/>
                    </a:lnTo>
                    <a:lnTo>
                      <a:pt x="106" y="357"/>
                    </a:lnTo>
                    <a:lnTo>
                      <a:pt x="102" y="361"/>
                    </a:lnTo>
                    <a:lnTo>
                      <a:pt x="98" y="359"/>
                    </a:lnTo>
                    <a:lnTo>
                      <a:pt x="100" y="357"/>
                    </a:lnTo>
                    <a:lnTo>
                      <a:pt x="98" y="357"/>
                    </a:lnTo>
                    <a:lnTo>
                      <a:pt x="100" y="354"/>
                    </a:lnTo>
                    <a:lnTo>
                      <a:pt x="98" y="354"/>
                    </a:lnTo>
                    <a:lnTo>
                      <a:pt x="98" y="352"/>
                    </a:lnTo>
                    <a:lnTo>
                      <a:pt x="96" y="350"/>
                    </a:lnTo>
                    <a:lnTo>
                      <a:pt x="94" y="354"/>
                    </a:lnTo>
                    <a:lnTo>
                      <a:pt x="92" y="352"/>
                    </a:lnTo>
                    <a:lnTo>
                      <a:pt x="94" y="348"/>
                    </a:lnTo>
                    <a:lnTo>
                      <a:pt x="88" y="346"/>
                    </a:lnTo>
                    <a:lnTo>
                      <a:pt x="84" y="350"/>
                    </a:lnTo>
                    <a:lnTo>
                      <a:pt x="82" y="348"/>
                    </a:lnTo>
                    <a:lnTo>
                      <a:pt x="79" y="346"/>
                    </a:lnTo>
                    <a:lnTo>
                      <a:pt x="79" y="350"/>
                    </a:lnTo>
                    <a:lnTo>
                      <a:pt x="77" y="350"/>
                    </a:lnTo>
                    <a:lnTo>
                      <a:pt x="75" y="352"/>
                    </a:lnTo>
                    <a:lnTo>
                      <a:pt x="69" y="357"/>
                    </a:lnTo>
                    <a:lnTo>
                      <a:pt x="67" y="354"/>
                    </a:lnTo>
                    <a:lnTo>
                      <a:pt x="69" y="350"/>
                    </a:lnTo>
                    <a:lnTo>
                      <a:pt x="67" y="350"/>
                    </a:lnTo>
                    <a:lnTo>
                      <a:pt x="67" y="348"/>
                    </a:lnTo>
                    <a:lnTo>
                      <a:pt x="65" y="346"/>
                    </a:lnTo>
                    <a:lnTo>
                      <a:pt x="65" y="344"/>
                    </a:lnTo>
                    <a:lnTo>
                      <a:pt x="67" y="342"/>
                    </a:lnTo>
                    <a:lnTo>
                      <a:pt x="65" y="342"/>
                    </a:lnTo>
                    <a:lnTo>
                      <a:pt x="67" y="338"/>
                    </a:lnTo>
                    <a:lnTo>
                      <a:pt x="69" y="340"/>
                    </a:lnTo>
                    <a:lnTo>
                      <a:pt x="69" y="336"/>
                    </a:lnTo>
                    <a:lnTo>
                      <a:pt x="71" y="334"/>
                    </a:lnTo>
                    <a:lnTo>
                      <a:pt x="71" y="332"/>
                    </a:lnTo>
                    <a:lnTo>
                      <a:pt x="73" y="332"/>
                    </a:lnTo>
                    <a:lnTo>
                      <a:pt x="75" y="332"/>
                    </a:lnTo>
                    <a:lnTo>
                      <a:pt x="75" y="331"/>
                    </a:lnTo>
                    <a:lnTo>
                      <a:pt x="75" y="329"/>
                    </a:lnTo>
                    <a:lnTo>
                      <a:pt x="77" y="327"/>
                    </a:lnTo>
                    <a:lnTo>
                      <a:pt x="81" y="329"/>
                    </a:lnTo>
                    <a:lnTo>
                      <a:pt x="82" y="331"/>
                    </a:lnTo>
                    <a:lnTo>
                      <a:pt x="84" y="331"/>
                    </a:lnTo>
                    <a:lnTo>
                      <a:pt x="90" y="317"/>
                    </a:lnTo>
                    <a:lnTo>
                      <a:pt x="86" y="317"/>
                    </a:lnTo>
                    <a:lnTo>
                      <a:pt x="88" y="317"/>
                    </a:lnTo>
                    <a:lnTo>
                      <a:pt x="84" y="315"/>
                    </a:lnTo>
                    <a:lnTo>
                      <a:pt x="86" y="317"/>
                    </a:lnTo>
                    <a:lnTo>
                      <a:pt x="84" y="319"/>
                    </a:lnTo>
                    <a:lnTo>
                      <a:pt x="82" y="319"/>
                    </a:lnTo>
                    <a:lnTo>
                      <a:pt x="81" y="319"/>
                    </a:lnTo>
                    <a:lnTo>
                      <a:pt x="81" y="321"/>
                    </a:lnTo>
                    <a:lnTo>
                      <a:pt x="81" y="323"/>
                    </a:lnTo>
                    <a:lnTo>
                      <a:pt x="79" y="323"/>
                    </a:lnTo>
                    <a:lnTo>
                      <a:pt x="77" y="321"/>
                    </a:lnTo>
                    <a:lnTo>
                      <a:pt x="77" y="319"/>
                    </a:lnTo>
                    <a:lnTo>
                      <a:pt x="75" y="323"/>
                    </a:lnTo>
                    <a:lnTo>
                      <a:pt x="71" y="321"/>
                    </a:lnTo>
                    <a:lnTo>
                      <a:pt x="69" y="319"/>
                    </a:lnTo>
                    <a:lnTo>
                      <a:pt x="65" y="317"/>
                    </a:lnTo>
                    <a:lnTo>
                      <a:pt x="65" y="313"/>
                    </a:lnTo>
                    <a:lnTo>
                      <a:pt x="63" y="311"/>
                    </a:lnTo>
                    <a:lnTo>
                      <a:pt x="63" y="309"/>
                    </a:lnTo>
                    <a:lnTo>
                      <a:pt x="59" y="307"/>
                    </a:lnTo>
                    <a:lnTo>
                      <a:pt x="59" y="306"/>
                    </a:lnTo>
                    <a:lnTo>
                      <a:pt x="56" y="306"/>
                    </a:lnTo>
                    <a:lnTo>
                      <a:pt x="52" y="304"/>
                    </a:lnTo>
                    <a:lnTo>
                      <a:pt x="50" y="304"/>
                    </a:lnTo>
                    <a:lnTo>
                      <a:pt x="48" y="309"/>
                    </a:lnTo>
                    <a:lnTo>
                      <a:pt x="50" y="309"/>
                    </a:lnTo>
                    <a:lnTo>
                      <a:pt x="52" y="309"/>
                    </a:lnTo>
                    <a:lnTo>
                      <a:pt x="54" y="309"/>
                    </a:lnTo>
                    <a:lnTo>
                      <a:pt x="54" y="313"/>
                    </a:lnTo>
                    <a:lnTo>
                      <a:pt x="52" y="317"/>
                    </a:lnTo>
                    <a:lnTo>
                      <a:pt x="52" y="315"/>
                    </a:lnTo>
                    <a:lnTo>
                      <a:pt x="48" y="313"/>
                    </a:lnTo>
                    <a:lnTo>
                      <a:pt x="44" y="317"/>
                    </a:lnTo>
                    <a:lnTo>
                      <a:pt x="42" y="317"/>
                    </a:lnTo>
                    <a:lnTo>
                      <a:pt x="40" y="313"/>
                    </a:lnTo>
                    <a:lnTo>
                      <a:pt x="44" y="311"/>
                    </a:lnTo>
                    <a:lnTo>
                      <a:pt x="44" y="307"/>
                    </a:lnTo>
                    <a:lnTo>
                      <a:pt x="44" y="306"/>
                    </a:lnTo>
                    <a:lnTo>
                      <a:pt x="44" y="304"/>
                    </a:lnTo>
                    <a:lnTo>
                      <a:pt x="46" y="304"/>
                    </a:lnTo>
                    <a:lnTo>
                      <a:pt x="48" y="304"/>
                    </a:lnTo>
                    <a:lnTo>
                      <a:pt x="48" y="302"/>
                    </a:lnTo>
                    <a:lnTo>
                      <a:pt x="46" y="300"/>
                    </a:lnTo>
                    <a:lnTo>
                      <a:pt x="44" y="298"/>
                    </a:lnTo>
                    <a:lnTo>
                      <a:pt x="42" y="298"/>
                    </a:lnTo>
                    <a:lnTo>
                      <a:pt x="44" y="294"/>
                    </a:lnTo>
                    <a:lnTo>
                      <a:pt x="44" y="290"/>
                    </a:lnTo>
                    <a:lnTo>
                      <a:pt x="44" y="288"/>
                    </a:lnTo>
                    <a:lnTo>
                      <a:pt x="42" y="288"/>
                    </a:lnTo>
                    <a:lnTo>
                      <a:pt x="42" y="286"/>
                    </a:lnTo>
                    <a:lnTo>
                      <a:pt x="42" y="284"/>
                    </a:lnTo>
                    <a:lnTo>
                      <a:pt x="36" y="283"/>
                    </a:lnTo>
                    <a:lnTo>
                      <a:pt x="36" y="284"/>
                    </a:lnTo>
                    <a:lnTo>
                      <a:pt x="36" y="286"/>
                    </a:lnTo>
                    <a:lnTo>
                      <a:pt x="38" y="286"/>
                    </a:lnTo>
                    <a:lnTo>
                      <a:pt x="38" y="288"/>
                    </a:lnTo>
                    <a:lnTo>
                      <a:pt x="38" y="290"/>
                    </a:lnTo>
                    <a:lnTo>
                      <a:pt x="36" y="294"/>
                    </a:lnTo>
                    <a:lnTo>
                      <a:pt x="38" y="294"/>
                    </a:lnTo>
                    <a:lnTo>
                      <a:pt x="40" y="298"/>
                    </a:lnTo>
                    <a:lnTo>
                      <a:pt x="38" y="302"/>
                    </a:lnTo>
                    <a:lnTo>
                      <a:pt x="34" y="298"/>
                    </a:lnTo>
                    <a:lnTo>
                      <a:pt x="36" y="296"/>
                    </a:lnTo>
                    <a:lnTo>
                      <a:pt x="34" y="296"/>
                    </a:lnTo>
                    <a:lnTo>
                      <a:pt x="34" y="294"/>
                    </a:lnTo>
                    <a:lnTo>
                      <a:pt x="33" y="290"/>
                    </a:lnTo>
                    <a:lnTo>
                      <a:pt x="31" y="292"/>
                    </a:lnTo>
                    <a:lnTo>
                      <a:pt x="29" y="292"/>
                    </a:lnTo>
                    <a:lnTo>
                      <a:pt x="27" y="290"/>
                    </a:lnTo>
                    <a:lnTo>
                      <a:pt x="25" y="288"/>
                    </a:lnTo>
                    <a:lnTo>
                      <a:pt x="23" y="292"/>
                    </a:lnTo>
                    <a:lnTo>
                      <a:pt x="23" y="294"/>
                    </a:lnTo>
                    <a:lnTo>
                      <a:pt x="25" y="296"/>
                    </a:lnTo>
                    <a:lnTo>
                      <a:pt x="23" y="298"/>
                    </a:lnTo>
                    <a:lnTo>
                      <a:pt x="21" y="298"/>
                    </a:lnTo>
                    <a:lnTo>
                      <a:pt x="19" y="298"/>
                    </a:lnTo>
                    <a:lnTo>
                      <a:pt x="19" y="296"/>
                    </a:lnTo>
                    <a:lnTo>
                      <a:pt x="13" y="296"/>
                    </a:lnTo>
                    <a:lnTo>
                      <a:pt x="15" y="292"/>
                    </a:lnTo>
                    <a:lnTo>
                      <a:pt x="11" y="292"/>
                    </a:lnTo>
                    <a:lnTo>
                      <a:pt x="11" y="290"/>
                    </a:lnTo>
                    <a:lnTo>
                      <a:pt x="9" y="290"/>
                    </a:lnTo>
                    <a:lnTo>
                      <a:pt x="8" y="292"/>
                    </a:lnTo>
                    <a:lnTo>
                      <a:pt x="4" y="294"/>
                    </a:lnTo>
                    <a:lnTo>
                      <a:pt x="2" y="292"/>
                    </a:lnTo>
                    <a:lnTo>
                      <a:pt x="4" y="290"/>
                    </a:lnTo>
                    <a:lnTo>
                      <a:pt x="2" y="288"/>
                    </a:lnTo>
                    <a:lnTo>
                      <a:pt x="4" y="288"/>
                    </a:lnTo>
                    <a:lnTo>
                      <a:pt x="2" y="286"/>
                    </a:lnTo>
                    <a:lnTo>
                      <a:pt x="4" y="283"/>
                    </a:lnTo>
                    <a:lnTo>
                      <a:pt x="0" y="281"/>
                    </a:lnTo>
                    <a:lnTo>
                      <a:pt x="2" y="277"/>
                    </a:lnTo>
                    <a:lnTo>
                      <a:pt x="6" y="279"/>
                    </a:lnTo>
                    <a:lnTo>
                      <a:pt x="8" y="281"/>
                    </a:lnTo>
                    <a:lnTo>
                      <a:pt x="9" y="279"/>
                    </a:lnTo>
                    <a:lnTo>
                      <a:pt x="8" y="279"/>
                    </a:lnTo>
                    <a:lnTo>
                      <a:pt x="9" y="277"/>
                    </a:lnTo>
                    <a:lnTo>
                      <a:pt x="9" y="279"/>
                    </a:lnTo>
                    <a:lnTo>
                      <a:pt x="11" y="275"/>
                    </a:lnTo>
                    <a:lnTo>
                      <a:pt x="9" y="275"/>
                    </a:lnTo>
                    <a:lnTo>
                      <a:pt x="11" y="271"/>
                    </a:lnTo>
                    <a:lnTo>
                      <a:pt x="9" y="271"/>
                    </a:lnTo>
                    <a:lnTo>
                      <a:pt x="11" y="265"/>
                    </a:lnTo>
                    <a:lnTo>
                      <a:pt x="11" y="263"/>
                    </a:lnTo>
                    <a:lnTo>
                      <a:pt x="13" y="261"/>
                    </a:lnTo>
                    <a:lnTo>
                      <a:pt x="15" y="261"/>
                    </a:lnTo>
                    <a:lnTo>
                      <a:pt x="17" y="258"/>
                    </a:lnTo>
                    <a:lnTo>
                      <a:pt x="15" y="258"/>
                    </a:lnTo>
                    <a:lnTo>
                      <a:pt x="15" y="256"/>
                    </a:lnTo>
                    <a:lnTo>
                      <a:pt x="15" y="254"/>
                    </a:lnTo>
                    <a:lnTo>
                      <a:pt x="11" y="254"/>
                    </a:lnTo>
                    <a:lnTo>
                      <a:pt x="11" y="252"/>
                    </a:lnTo>
                    <a:lnTo>
                      <a:pt x="11" y="250"/>
                    </a:lnTo>
                    <a:lnTo>
                      <a:pt x="9" y="248"/>
                    </a:lnTo>
                    <a:lnTo>
                      <a:pt x="9" y="246"/>
                    </a:lnTo>
                    <a:lnTo>
                      <a:pt x="11" y="244"/>
                    </a:lnTo>
                    <a:lnTo>
                      <a:pt x="11" y="242"/>
                    </a:lnTo>
                    <a:lnTo>
                      <a:pt x="9" y="242"/>
                    </a:lnTo>
                    <a:lnTo>
                      <a:pt x="9" y="240"/>
                    </a:lnTo>
                    <a:lnTo>
                      <a:pt x="11" y="238"/>
                    </a:lnTo>
                    <a:lnTo>
                      <a:pt x="13" y="234"/>
                    </a:lnTo>
                    <a:lnTo>
                      <a:pt x="11" y="234"/>
                    </a:lnTo>
                    <a:lnTo>
                      <a:pt x="13" y="234"/>
                    </a:lnTo>
                    <a:lnTo>
                      <a:pt x="13" y="233"/>
                    </a:lnTo>
                    <a:lnTo>
                      <a:pt x="13" y="229"/>
                    </a:lnTo>
                    <a:lnTo>
                      <a:pt x="15" y="227"/>
                    </a:lnTo>
                    <a:lnTo>
                      <a:pt x="13" y="227"/>
                    </a:lnTo>
                    <a:lnTo>
                      <a:pt x="13" y="223"/>
                    </a:lnTo>
                    <a:lnTo>
                      <a:pt x="13" y="221"/>
                    </a:lnTo>
                    <a:lnTo>
                      <a:pt x="11" y="221"/>
                    </a:lnTo>
                    <a:lnTo>
                      <a:pt x="11" y="213"/>
                    </a:lnTo>
                    <a:lnTo>
                      <a:pt x="11" y="211"/>
                    </a:lnTo>
                    <a:lnTo>
                      <a:pt x="8" y="211"/>
                    </a:lnTo>
                    <a:lnTo>
                      <a:pt x="6" y="213"/>
                    </a:lnTo>
                    <a:lnTo>
                      <a:pt x="2" y="211"/>
                    </a:lnTo>
                    <a:lnTo>
                      <a:pt x="0" y="211"/>
                    </a:lnTo>
                    <a:lnTo>
                      <a:pt x="0" y="209"/>
                    </a:lnTo>
                    <a:lnTo>
                      <a:pt x="2" y="209"/>
                    </a:lnTo>
                    <a:lnTo>
                      <a:pt x="2" y="208"/>
                    </a:lnTo>
                    <a:lnTo>
                      <a:pt x="2" y="206"/>
                    </a:lnTo>
                    <a:lnTo>
                      <a:pt x="2" y="204"/>
                    </a:lnTo>
                    <a:lnTo>
                      <a:pt x="2" y="202"/>
                    </a:lnTo>
                    <a:lnTo>
                      <a:pt x="4" y="200"/>
                    </a:lnTo>
                    <a:lnTo>
                      <a:pt x="6" y="196"/>
                    </a:lnTo>
                    <a:lnTo>
                      <a:pt x="8" y="196"/>
                    </a:lnTo>
                    <a:lnTo>
                      <a:pt x="9" y="196"/>
                    </a:lnTo>
                    <a:lnTo>
                      <a:pt x="9" y="198"/>
                    </a:lnTo>
                    <a:lnTo>
                      <a:pt x="11" y="198"/>
                    </a:lnTo>
                    <a:lnTo>
                      <a:pt x="11" y="196"/>
                    </a:lnTo>
                    <a:lnTo>
                      <a:pt x="13" y="194"/>
                    </a:lnTo>
                    <a:lnTo>
                      <a:pt x="13" y="192"/>
                    </a:lnTo>
                    <a:lnTo>
                      <a:pt x="15" y="192"/>
                    </a:lnTo>
                    <a:lnTo>
                      <a:pt x="15" y="190"/>
                    </a:lnTo>
                    <a:lnTo>
                      <a:pt x="13" y="188"/>
                    </a:lnTo>
                    <a:lnTo>
                      <a:pt x="11" y="188"/>
                    </a:lnTo>
                    <a:lnTo>
                      <a:pt x="9" y="186"/>
                    </a:lnTo>
                    <a:lnTo>
                      <a:pt x="9" y="184"/>
                    </a:lnTo>
                    <a:lnTo>
                      <a:pt x="9" y="183"/>
                    </a:lnTo>
                    <a:lnTo>
                      <a:pt x="9" y="181"/>
                    </a:lnTo>
                    <a:lnTo>
                      <a:pt x="11" y="181"/>
                    </a:lnTo>
                    <a:lnTo>
                      <a:pt x="11" y="179"/>
                    </a:lnTo>
                    <a:lnTo>
                      <a:pt x="13" y="179"/>
                    </a:lnTo>
                    <a:lnTo>
                      <a:pt x="11" y="179"/>
                    </a:lnTo>
                    <a:lnTo>
                      <a:pt x="11" y="177"/>
                    </a:lnTo>
                    <a:lnTo>
                      <a:pt x="13" y="177"/>
                    </a:lnTo>
                    <a:lnTo>
                      <a:pt x="15" y="177"/>
                    </a:lnTo>
                    <a:lnTo>
                      <a:pt x="17" y="177"/>
                    </a:lnTo>
                    <a:lnTo>
                      <a:pt x="19" y="177"/>
                    </a:lnTo>
                    <a:lnTo>
                      <a:pt x="19" y="175"/>
                    </a:lnTo>
                    <a:lnTo>
                      <a:pt x="19" y="173"/>
                    </a:lnTo>
                    <a:lnTo>
                      <a:pt x="17" y="173"/>
                    </a:lnTo>
                    <a:lnTo>
                      <a:pt x="15" y="173"/>
                    </a:lnTo>
                    <a:lnTo>
                      <a:pt x="13" y="173"/>
                    </a:lnTo>
                    <a:lnTo>
                      <a:pt x="13" y="175"/>
                    </a:lnTo>
                    <a:lnTo>
                      <a:pt x="11" y="173"/>
                    </a:lnTo>
                    <a:lnTo>
                      <a:pt x="9" y="173"/>
                    </a:lnTo>
                    <a:lnTo>
                      <a:pt x="11" y="171"/>
                    </a:lnTo>
                    <a:lnTo>
                      <a:pt x="11" y="169"/>
                    </a:lnTo>
                    <a:lnTo>
                      <a:pt x="15" y="169"/>
                    </a:lnTo>
                    <a:lnTo>
                      <a:pt x="17" y="171"/>
                    </a:lnTo>
                    <a:lnTo>
                      <a:pt x="21" y="171"/>
                    </a:lnTo>
                    <a:lnTo>
                      <a:pt x="23" y="171"/>
                    </a:lnTo>
                    <a:lnTo>
                      <a:pt x="25" y="169"/>
                    </a:lnTo>
                    <a:lnTo>
                      <a:pt x="27" y="163"/>
                    </a:lnTo>
                    <a:lnTo>
                      <a:pt x="27" y="161"/>
                    </a:lnTo>
                    <a:lnTo>
                      <a:pt x="29" y="159"/>
                    </a:lnTo>
                    <a:lnTo>
                      <a:pt x="29" y="158"/>
                    </a:lnTo>
                    <a:lnTo>
                      <a:pt x="29" y="156"/>
                    </a:lnTo>
                    <a:lnTo>
                      <a:pt x="27" y="156"/>
                    </a:lnTo>
                    <a:lnTo>
                      <a:pt x="27" y="154"/>
                    </a:lnTo>
                    <a:lnTo>
                      <a:pt x="25" y="152"/>
                    </a:lnTo>
                    <a:lnTo>
                      <a:pt x="27" y="152"/>
                    </a:lnTo>
                    <a:lnTo>
                      <a:pt x="27" y="150"/>
                    </a:lnTo>
                    <a:lnTo>
                      <a:pt x="25" y="150"/>
                    </a:lnTo>
                    <a:lnTo>
                      <a:pt x="25" y="152"/>
                    </a:lnTo>
                    <a:lnTo>
                      <a:pt x="25" y="150"/>
                    </a:lnTo>
                    <a:lnTo>
                      <a:pt x="25" y="148"/>
                    </a:lnTo>
                    <a:lnTo>
                      <a:pt x="27" y="148"/>
                    </a:lnTo>
                    <a:lnTo>
                      <a:pt x="29" y="148"/>
                    </a:lnTo>
                    <a:lnTo>
                      <a:pt x="31" y="146"/>
                    </a:lnTo>
                    <a:lnTo>
                      <a:pt x="33" y="146"/>
                    </a:lnTo>
                    <a:lnTo>
                      <a:pt x="33" y="144"/>
                    </a:lnTo>
                    <a:lnTo>
                      <a:pt x="34" y="142"/>
                    </a:lnTo>
                    <a:lnTo>
                      <a:pt x="34" y="140"/>
                    </a:lnTo>
                    <a:lnTo>
                      <a:pt x="33" y="140"/>
                    </a:lnTo>
                    <a:lnTo>
                      <a:pt x="33" y="138"/>
                    </a:lnTo>
                    <a:lnTo>
                      <a:pt x="33" y="136"/>
                    </a:lnTo>
                    <a:lnTo>
                      <a:pt x="31" y="136"/>
                    </a:lnTo>
                    <a:lnTo>
                      <a:pt x="31" y="138"/>
                    </a:lnTo>
                    <a:lnTo>
                      <a:pt x="29" y="136"/>
                    </a:lnTo>
                    <a:lnTo>
                      <a:pt x="31" y="134"/>
                    </a:lnTo>
                    <a:lnTo>
                      <a:pt x="33" y="134"/>
                    </a:lnTo>
                    <a:lnTo>
                      <a:pt x="34" y="134"/>
                    </a:lnTo>
                    <a:lnTo>
                      <a:pt x="34" y="136"/>
                    </a:lnTo>
                    <a:lnTo>
                      <a:pt x="36" y="136"/>
                    </a:lnTo>
                    <a:lnTo>
                      <a:pt x="38" y="133"/>
                    </a:lnTo>
                    <a:lnTo>
                      <a:pt x="40" y="133"/>
                    </a:lnTo>
                    <a:lnTo>
                      <a:pt x="42" y="131"/>
                    </a:lnTo>
                    <a:lnTo>
                      <a:pt x="44" y="127"/>
                    </a:lnTo>
                    <a:lnTo>
                      <a:pt x="40" y="125"/>
                    </a:lnTo>
                    <a:lnTo>
                      <a:pt x="42" y="121"/>
                    </a:lnTo>
                    <a:lnTo>
                      <a:pt x="44" y="121"/>
                    </a:lnTo>
                    <a:lnTo>
                      <a:pt x="44" y="123"/>
                    </a:lnTo>
                    <a:lnTo>
                      <a:pt x="44" y="125"/>
                    </a:lnTo>
                    <a:lnTo>
                      <a:pt x="46" y="125"/>
                    </a:lnTo>
                    <a:lnTo>
                      <a:pt x="48" y="125"/>
                    </a:lnTo>
                    <a:lnTo>
                      <a:pt x="50" y="127"/>
                    </a:lnTo>
                    <a:lnTo>
                      <a:pt x="52" y="127"/>
                    </a:lnTo>
                    <a:lnTo>
                      <a:pt x="54" y="125"/>
                    </a:lnTo>
                    <a:lnTo>
                      <a:pt x="56" y="125"/>
                    </a:lnTo>
                    <a:lnTo>
                      <a:pt x="57" y="127"/>
                    </a:lnTo>
                    <a:lnTo>
                      <a:pt x="59" y="125"/>
                    </a:lnTo>
                    <a:lnTo>
                      <a:pt x="59" y="123"/>
                    </a:lnTo>
                    <a:lnTo>
                      <a:pt x="59" y="121"/>
                    </a:lnTo>
                    <a:lnTo>
                      <a:pt x="61" y="121"/>
                    </a:lnTo>
                    <a:lnTo>
                      <a:pt x="63" y="121"/>
                    </a:lnTo>
                    <a:lnTo>
                      <a:pt x="63" y="119"/>
                    </a:lnTo>
                    <a:lnTo>
                      <a:pt x="63" y="113"/>
                    </a:lnTo>
                    <a:lnTo>
                      <a:pt x="63" y="111"/>
                    </a:lnTo>
                    <a:lnTo>
                      <a:pt x="61" y="108"/>
                    </a:lnTo>
                    <a:lnTo>
                      <a:pt x="57" y="100"/>
                    </a:lnTo>
                    <a:lnTo>
                      <a:pt x="57" y="98"/>
                    </a:lnTo>
                    <a:lnTo>
                      <a:pt x="57" y="96"/>
                    </a:lnTo>
                    <a:lnTo>
                      <a:pt x="56" y="94"/>
                    </a:lnTo>
                    <a:lnTo>
                      <a:pt x="56" y="92"/>
                    </a:lnTo>
                    <a:lnTo>
                      <a:pt x="56" y="90"/>
                    </a:lnTo>
                    <a:lnTo>
                      <a:pt x="56" y="88"/>
                    </a:lnTo>
                    <a:lnTo>
                      <a:pt x="54" y="88"/>
                    </a:lnTo>
                    <a:lnTo>
                      <a:pt x="52" y="88"/>
                    </a:lnTo>
                    <a:lnTo>
                      <a:pt x="52" y="86"/>
                    </a:lnTo>
                    <a:lnTo>
                      <a:pt x="52" y="84"/>
                    </a:lnTo>
                    <a:lnTo>
                      <a:pt x="54" y="84"/>
                    </a:lnTo>
                    <a:lnTo>
                      <a:pt x="54" y="83"/>
                    </a:lnTo>
                    <a:lnTo>
                      <a:pt x="52" y="83"/>
                    </a:lnTo>
                    <a:lnTo>
                      <a:pt x="54" y="79"/>
                    </a:lnTo>
                    <a:lnTo>
                      <a:pt x="54" y="77"/>
                    </a:lnTo>
                    <a:lnTo>
                      <a:pt x="52" y="77"/>
                    </a:lnTo>
                    <a:lnTo>
                      <a:pt x="52" y="79"/>
                    </a:lnTo>
                    <a:lnTo>
                      <a:pt x="52" y="77"/>
                    </a:lnTo>
                    <a:lnTo>
                      <a:pt x="52" y="75"/>
                    </a:lnTo>
                    <a:lnTo>
                      <a:pt x="50" y="75"/>
                    </a:lnTo>
                    <a:lnTo>
                      <a:pt x="50" y="77"/>
                    </a:lnTo>
                    <a:lnTo>
                      <a:pt x="48" y="77"/>
                    </a:lnTo>
                    <a:lnTo>
                      <a:pt x="48" y="75"/>
                    </a:lnTo>
                    <a:lnTo>
                      <a:pt x="46" y="75"/>
                    </a:lnTo>
                    <a:lnTo>
                      <a:pt x="46" y="77"/>
                    </a:lnTo>
                    <a:lnTo>
                      <a:pt x="44" y="75"/>
                    </a:lnTo>
                    <a:lnTo>
                      <a:pt x="44" y="77"/>
                    </a:lnTo>
                    <a:lnTo>
                      <a:pt x="44" y="79"/>
                    </a:lnTo>
                    <a:lnTo>
                      <a:pt x="42" y="77"/>
                    </a:lnTo>
                    <a:lnTo>
                      <a:pt x="42" y="79"/>
                    </a:lnTo>
                    <a:lnTo>
                      <a:pt x="44" y="81"/>
                    </a:lnTo>
                    <a:lnTo>
                      <a:pt x="42" y="81"/>
                    </a:lnTo>
                    <a:lnTo>
                      <a:pt x="42" y="83"/>
                    </a:lnTo>
                    <a:lnTo>
                      <a:pt x="40" y="83"/>
                    </a:lnTo>
                    <a:lnTo>
                      <a:pt x="40" y="84"/>
                    </a:lnTo>
                    <a:lnTo>
                      <a:pt x="38" y="84"/>
                    </a:lnTo>
                    <a:lnTo>
                      <a:pt x="36" y="84"/>
                    </a:lnTo>
                    <a:lnTo>
                      <a:pt x="36" y="83"/>
                    </a:lnTo>
                    <a:lnTo>
                      <a:pt x="38" y="83"/>
                    </a:lnTo>
                    <a:lnTo>
                      <a:pt x="38" y="81"/>
                    </a:lnTo>
                    <a:lnTo>
                      <a:pt x="38" y="79"/>
                    </a:lnTo>
                    <a:lnTo>
                      <a:pt x="36" y="79"/>
                    </a:lnTo>
                    <a:lnTo>
                      <a:pt x="34" y="79"/>
                    </a:lnTo>
                    <a:lnTo>
                      <a:pt x="33" y="75"/>
                    </a:lnTo>
                    <a:lnTo>
                      <a:pt x="33" y="73"/>
                    </a:lnTo>
                    <a:lnTo>
                      <a:pt x="33" y="71"/>
                    </a:lnTo>
                    <a:lnTo>
                      <a:pt x="34" y="69"/>
                    </a:lnTo>
                    <a:lnTo>
                      <a:pt x="36" y="69"/>
                    </a:lnTo>
                    <a:lnTo>
                      <a:pt x="38" y="67"/>
                    </a:lnTo>
                    <a:lnTo>
                      <a:pt x="40" y="67"/>
                    </a:lnTo>
                    <a:lnTo>
                      <a:pt x="40" y="65"/>
                    </a:lnTo>
                    <a:lnTo>
                      <a:pt x="42" y="65"/>
                    </a:lnTo>
                    <a:lnTo>
                      <a:pt x="44" y="65"/>
                    </a:lnTo>
                    <a:lnTo>
                      <a:pt x="44" y="63"/>
                    </a:lnTo>
                    <a:lnTo>
                      <a:pt x="46" y="61"/>
                    </a:lnTo>
                    <a:lnTo>
                      <a:pt x="44" y="59"/>
                    </a:lnTo>
                    <a:lnTo>
                      <a:pt x="42" y="59"/>
                    </a:lnTo>
                    <a:lnTo>
                      <a:pt x="44" y="50"/>
                    </a:lnTo>
                    <a:lnTo>
                      <a:pt x="42" y="48"/>
                    </a:lnTo>
                    <a:lnTo>
                      <a:pt x="42" y="46"/>
                    </a:lnTo>
                    <a:lnTo>
                      <a:pt x="40" y="44"/>
                    </a:lnTo>
                    <a:lnTo>
                      <a:pt x="42" y="42"/>
                    </a:lnTo>
                    <a:lnTo>
                      <a:pt x="42" y="40"/>
                    </a:lnTo>
                    <a:lnTo>
                      <a:pt x="42" y="38"/>
                    </a:lnTo>
                    <a:lnTo>
                      <a:pt x="42" y="36"/>
                    </a:lnTo>
                    <a:lnTo>
                      <a:pt x="40" y="36"/>
                    </a:lnTo>
                    <a:lnTo>
                      <a:pt x="42" y="35"/>
                    </a:lnTo>
                    <a:lnTo>
                      <a:pt x="44" y="35"/>
                    </a:lnTo>
                    <a:lnTo>
                      <a:pt x="46" y="33"/>
                    </a:lnTo>
                    <a:lnTo>
                      <a:pt x="50" y="25"/>
                    </a:lnTo>
                    <a:lnTo>
                      <a:pt x="63" y="4"/>
                    </a:lnTo>
                    <a:lnTo>
                      <a:pt x="63" y="2"/>
                    </a:lnTo>
                    <a:lnTo>
                      <a:pt x="65" y="2"/>
                    </a:lnTo>
                    <a:lnTo>
                      <a:pt x="63" y="2"/>
                    </a:lnTo>
                    <a:lnTo>
                      <a:pt x="65" y="2"/>
                    </a:lnTo>
                    <a:lnTo>
                      <a:pt x="65" y="0"/>
                    </a:lnTo>
                    <a:lnTo>
                      <a:pt x="67" y="0"/>
                    </a:lnTo>
                    <a:lnTo>
                      <a:pt x="69" y="0"/>
                    </a:lnTo>
                    <a:lnTo>
                      <a:pt x="69" y="2"/>
                    </a:lnTo>
                    <a:lnTo>
                      <a:pt x="71" y="2"/>
                    </a:lnTo>
                    <a:lnTo>
                      <a:pt x="73" y="2"/>
                    </a:lnTo>
                    <a:lnTo>
                      <a:pt x="73" y="4"/>
                    </a:lnTo>
                    <a:lnTo>
                      <a:pt x="73" y="2"/>
                    </a:lnTo>
                    <a:lnTo>
                      <a:pt x="73" y="4"/>
                    </a:lnTo>
                    <a:lnTo>
                      <a:pt x="73" y="6"/>
                    </a:lnTo>
                    <a:lnTo>
                      <a:pt x="73" y="4"/>
                    </a:lnTo>
                    <a:lnTo>
                      <a:pt x="73" y="6"/>
                    </a:lnTo>
                    <a:lnTo>
                      <a:pt x="73" y="8"/>
                    </a:lnTo>
                    <a:lnTo>
                      <a:pt x="75" y="8"/>
                    </a:lnTo>
                    <a:lnTo>
                      <a:pt x="75" y="10"/>
                    </a:lnTo>
                    <a:lnTo>
                      <a:pt x="77" y="10"/>
                    </a:lnTo>
                    <a:lnTo>
                      <a:pt x="77" y="11"/>
                    </a:lnTo>
                    <a:lnTo>
                      <a:pt x="79" y="11"/>
                    </a:lnTo>
                    <a:lnTo>
                      <a:pt x="77" y="13"/>
                    </a:lnTo>
                    <a:lnTo>
                      <a:pt x="77" y="15"/>
                    </a:lnTo>
                    <a:lnTo>
                      <a:pt x="75" y="15"/>
                    </a:lnTo>
                    <a:lnTo>
                      <a:pt x="73" y="21"/>
                    </a:lnTo>
                    <a:lnTo>
                      <a:pt x="71" y="27"/>
                    </a:lnTo>
                    <a:lnTo>
                      <a:pt x="71" y="29"/>
                    </a:lnTo>
                    <a:lnTo>
                      <a:pt x="71" y="31"/>
                    </a:lnTo>
                    <a:lnTo>
                      <a:pt x="69" y="31"/>
                    </a:lnTo>
                    <a:lnTo>
                      <a:pt x="69" y="33"/>
                    </a:lnTo>
                    <a:lnTo>
                      <a:pt x="71" y="33"/>
                    </a:lnTo>
                    <a:lnTo>
                      <a:pt x="73" y="33"/>
                    </a:lnTo>
                    <a:lnTo>
                      <a:pt x="75" y="33"/>
                    </a:lnTo>
                    <a:lnTo>
                      <a:pt x="75" y="35"/>
                    </a:lnTo>
                    <a:lnTo>
                      <a:pt x="77" y="35"/>
                    </a:lnTo>
                    <a:lnTo>
                      <a:pt x="79" y="35"/>
                    </a:lnTo>
                    <a:lnTo>
                      <a:pt x="81" y="35"/>
                    </a:lnTo>
                    <a:lnTo>
                      <a:pt x="90" y="35"/>
                    </a:lnTo>
                    <a:lnTo>
                      <a:pt x="94" y="35"/>
                    </a:lnTo>
                    <a:lnTo>
                      <a:pt x="96" y="36"/>
                    </a:lnTo>
                    <a:lnTo>
                      <a:pt x="96" y="38"/>
                    </a:lnTo>
                    <a:lnTo>
                      <a:pt x="96" y="40"/>
                    </a:lnTo>
                    <a:lnTo>
                      <a:pt x="98" y="40"/>
                    </a:lnTo>
                    <a:lnTo>
                      <a:pt x="98" y="42"/>
                    </a:lnTo>
                    <a:lnTo>
                      <a:pt x="102" y="44"/>
                    </a:lnTo>
                    <a:lnTo>
                      <a:pt x="107" y="46"/>
                    </a:lnTo>
                    <a:lnTo>
                      <a:pt x="109" y="46"/>
                    </a:lnTo>
                    <a:lnTo>
                      <a:pt x="117" y="48"/>
                    </a:lnTo>
                    <a:lnTo>
                      <a:pt x="119" y="48"/>
                    </a:lnTo>
                    <a:lnTo>
                      <a:pt x="121" y="48"/>
                    </a:lnTo>
                    <a:lnTo>
                      <a:pt x="121" y="46"/>
                    </a:lnTo>
                    <a:lnTo>
                      <a:pt x="123" y="46"/>
                    </a:lnTo>
                    <a:lnTo>
                      <a:pt x="123" y="44"/>
                    </a:lnTo>
                    <a:lnTo>
                      <a:pt x="125" y="44"/>
                    </a:lnTo>
                    <a:lnTo>
                      <a:pt x="130" y="40"/>
                    </a:lnTo>
                    <a:lnTo>
                      <a:pt x="132" y="40"/>
                    </a:lnTo>
                    <a:lnTo>
                      <a:pt x="140" y="44"/>
                    </a:lnTo>
                    <a:lnTo>
                      <a:pt x="163" y="48"/>
                    </a:lnTo>
                    <a:lnTo>
                      <a:pt x="167" y="46"/>
                    </a:lnTo>
                    <a:lnTo>
                      <a:pt x="169" y="44"/>
                    </a:lnTo>
                    <a:lnTo>
                      <a:pt x="171" y="44"/>
                    </a:lnTo>
                    <a:lnTo>
                      <a:pt x="173" y="42"/>
                    </a:lnTo>
                    <a:lnTo>
                      <a:pt x="175" y="42"/>
                    </a:lnTo>
                    <a:lnTo>
                      <a:pt x="177" y="42"/>
                    </a:lnTo>
                    <a:lnTo>
                      <a:pt x="179" y="42"/>
                    </a:lnTo>
                    <a:lnTo>
                      <a:pt x="179" y="40"/>
                    </a:lnTo>
                    <a:lnTo>
                      <a:pt x="177" y="40"/>
                    </a:lnTo>
                    <a:lnTo>
                      <a:pt x="179" y="40"/>
                    </a:lnTo>
                    <a:lnTo>
                      <a:pt x="179" y="38"/>
                    </a:lnTo>
                    <a:lnTo>
                      <a:pt x="180" y="38"/>
                    </a:lnTo>
                    <a:lnTo>
                      <a:pt x="180" y="36"/>
                    </a:lnTo>
                    <a:lnTo>
                      <a:pt x="184" y="35"/>
                    </a:lnTo>
                    <a:lnTo>
                      <a:pt x="186" y="35"/>
                    </a:lnTo>
                    <a:lnTo>
                      <a:pt x="188" y="35"/>
                    </a:lnTo>
                    <a:lnTo>
                      <a:pt x="188" y="33"/>
                    </a:lnTo>
                    <a:lnTo>
                      <a:pt x="190" y="31"/>
                    </a:lnTo>
                    <a:lnTo>
                      <a:pt x="190" y="29"/>
                    </a:lnTo>
                    <a:lnTo>
                      <a:pt x="194" y="27"/>
                    </a:lnTo>
                    <a:lnTo>
                      <a:pt x="196" y="25"/>
                    </a:lnTo>
                    <a:lnTo>
                      <a:pt x="202" y="35"/>
                    </a:lnTo>
                    <a:lnTo>
                      <a:pt x="196" y="38"/>
                    </a:lnTo>
                    <a:lnTo>
                      <a:pt x="194" y="38"/>
                    </a:lnTo>
                    <a:lnTo>
                      <a:pt x="192" y="40"/>
                    </a:lnTo>
                    <a:lnTo>
                      <a:pt x="192" y="44"/>
                    </a:lnTo>
                    <a:lnTo>
                      <a:pt x="196" y="52"/>
                    </a:lnTo>
                    <a:lnTo>
                      <a:pt x="188" y="56"/>
                    </a:lnTo>
                    <a:lnTo>
                      <a:pt x="198" y="65"/>
                    </a:lnTo>
                    <a:lnTo>
                      <a:pt x="200" y="67"/>
                    </a:lnTo>
                    <a:lnTo>
                      <a:pt x="202" y="71"/>
                    </a:lnTo>
                    <a:lnTo>
                      <a:pt x="200" y="79"/>
                    </a:lnTo>
                    <a:lnTo>
                      <a:pt x="198" y="86"/>
                    </a:lnTo>
                    <a:lnTo>
                      <a:pt x="196" y="90"/>
                    </a:lnTo>
                    <a:lnTo>
                      <a:pt x="200" y="92"/>
                    </a:lnTo>
                    <a:lnTo>
                      <a:pt x="202" y="92"/>
                    </a:lnTo>
                    <a:lnTo>
                      <a:pt x="203" y="108"/>
                    </a:lnTo>
                    <a:lnTo>
                      <a:pt x="203" y="109"/>
                    </a:lnTo>
                    <a:lnTo>
                      <a:pt x="207" y="109"/>
                    </a:lnTo>
                    <a:lnTo>
                      <a:pt x="207" y="111"/>
                    </a:lnTo>
                    <a:lnTo>
                      <a:pt x="207" y="115"/>
                    </a:lnTo>
                    <a:lnTo>
                      <a:pt x="209" y="119"/>
                    </a:lnTo>
                    <a:lnTo>
                      <a:pt x="209" y="12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77">
                <a:extLst>
                  <a:ext uri="{FF2B5EF4-FFF2-40B4-BE49-F238E27FC236}">
                    <a16:creationId xmlns="" xmlns:a16="http://schemas.microsoft.com/office/drawing/2014/main" id="{AFF65068-FA88-42E2-AF90-80F24E48EC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4113" y="4000501"/>
                <a:ext cx="555625" cy="549275"/>
              </a:xfrm>
              <a:custGeom>
                <a:avLst/>
                <a:gdLst>
                  <a:gd name="T0" fmla="*/ 150 w 350"/>
                  <a:gd name="T1" fmla="*/ 54 h 346"/>
                  <a:gd name="T2" fmla="*/ 164 w 350"/>
                  <a:gd name="T3" fmla="*/ 87 h 346"/>
                  <a:gd name="T4" fmla="*/ 173 w 350"/>
                  <a:gd name="T5" fmla="*/ 102 h 346"/>
                  <a:gd name="T6" fmla="*/ 171 w 350"/>
                  <a:gd name="T7" fmla="*/ 131 h 346"/>
                  <a:gd name="T8" fmla="*/ 179 w 350"/>
                  <a:gd name="T9" fmla="*/ 140 h 346"/>
                  <a:gd name="T10" fmla="*/ 177 w 350"/>
                  <a:gd name="T11" fmla="*/ 146 h 346"/>
                  <a:gd name="T12" fmla="*/ 175 w 350"/>
                  <a:gd name="T13" fmla="*/ 162 h 346"/>
                  <a:gd name="T14" fmla="*/ 185 w 350"/>
                  <a:gd name="T15" fmla="*/ 164 h 346"/>
                  <a:gd name="T16" fmla="*/ 196 w 350"/>
                  <a:gd name="T17" fmla="*/ 156 h 346"/>
                  <a:gd name="T18" fmla="*/ 206 w 350"/>
                  <a:gd name="T19" fmla="*/ 167 h 346"/>
                  <a:gd name="T20" fmla="*/ 200 w 350"/>
                  <a:gd name="T21" fmla="*/ 181 h 346"/>
                  <a:gd name="T22" fmla="*/ 196 w 350"/>
                  <a:gd name="T23" fmla="*/ 190 h 346"/>
                  <a:gd name="T24" fmla="*/ 200 w 350"/>
                  <a:gd name="T25" fmla="*/ 198 h 346"/>
                  <a:gd name="T26" fmla="*/ 196 w 350"/>
                  <a:gd name="T27" fmla="*/ 219 h 346"/>
                  <a:gd name="T28" fmla="*/ 198 w 350"/>
                  <a:gd name="T29" fmla="*/ 227 h 346"/>
                  <a:gd name="T30" fmla="*/ 214 w 350"/>
                  <a:gd name="T31" fmla="*/ 237 h 346"/>
                  <a:gd name="T32" fmla="*/ 233 w 350"/>
                  <a:gd name="T33" fmla="*/ 233 h 346"/>
                  <a:gd name="T34" fmla="*/ 264 w 350"/>
                  <a:gd name="T35" fmla="*/ 237 h 346"/>
                  <a:gd name="T36" fmla="*/ 281 w 350"/>
                  <a:gd name="T37" fmla="*/ 217 h 346"/>
                  <a:gd name="T38" fmla="*/ 292 w 350"/>
                  <a:gd name="T39" fmla="*/ 215 h 346"/>
                  <a:gd name="T40" fmla="*/ 310 w 350"/>
                  <a:gd name="T41" fmla="*/ 215 h 346"/>
                  <a:gd name="T42" fmla="*/ 325 w 350"/>
                  <a:gd name="T43" fmla="*/ 229 h 346"/>
                  <a:gd name="T44" fmla="*/ 310 w 350"/>
                  <a:gd name="T45" fmla="*/ 250 h 346"/>
                  <a:gd name="T46" fmla="*/ 321 w 350"/>
                  <a:gd name="T47" fmla="*/ 269 h 346"/>
                  <a:gd name="T48" fmla="*/ 331 w 350"/>
                  <a:gd name="T49" fmla="*/ 290 h 346"/>
                  <a:gd name="T50" fmla="*/ 346 w 350"/>
                  <a:gd name="T51" fmla="*/ 306 h 346"/>
                  <a:gd name="T52" fmla="*/ 289 w 350"/>
                  <a:gd name="T53" fmla="*/ 338 h 346"/>
                  <a:gd name="T54" fmla="*/ 256 w 350"/>
                  <a:gd name="T55" fmla="*/ 337 h 346"/>
                  <a:gd name="T56" fmla="*/ 244 w 350"/>
                  <a:gd name="T57" fmla="*/ 321 h 346"/>
                  <a:gd name="T58" fmla="*/ 237 w 350"/>
                  <a:gd name="T59" fmla="*/ 298 h 346"/>
                  <a:gd name="T60" fmla="*/ 223 w 350"/>
                  <a:gd name="T61" fmla="*/ 285 h 346"/>
                  <a:gd name="T62" fmla="*/ 202 w 350"/>
                  <a:gd name="T63" fmla="*/ 287 h 346"/>
                  <a:gd name="T64" fmla="*/ 193 w 350"/>
                  <a:gd name="T65" fmla="*/ 269 h 346"/>
                  <a:gd name="T66" fmla="*/ 169 w 350"/>
                  <a:gd name="T67" fmla="*/ 262 h 346"/>
                  <a:gd name="T68" fmla="*/ 141 w 350"/>
                  <a:gd name="T69" fmla="*/ 281 h 346"/>
                  <a:gd name="T70" fmla="*/ 123 w 350"/>
                  <a:gd name="T71" fmla="*/ 271 h 346"/>
                  <a:gd name="T72" fmla="*/ 112 w 350"/>
                  <a:gd name="T73" fmla="*/ 248 h 346"/>
                  <a:gd name="T74" fmla="*/ 102 w 350"/>
                  <a:gd name="T75" fmla="*/ 244 h 346"/>
                  <a:gd name="T76" fmla="*/ 96 w 350"/>
                  <a:gd name="T77" fmla="*/ 267 h 346"/>
                  <a:gd name="T78" fmla="*/ 96 w 350"/>
                  <a:gd name="T79" fmla="*/ 250 h 346"/>
                  <a:gd name="T80" fmla="*/ 89 w 350"/>
                  <a:gd name="T81" fmla="*/ 235 h 346"/>
                  <a:gd name="T82" fmla="*/ 89 w 350"/>
                  <a:gd name="T83" fmla="*/ 221 h 346"/>
                  <a:gd name="T84" fmla="*/ 79 w 350"/>
                  <a:gd name="T85" fmla="*/ 212 h 346"/>
                  <a:gd name="T86" fmla="*/ 81 w 350"/>
                  <a:gd name="T87" fmla="*/ 202 h 346"/>
                  <a:gd name="T88" fmla="*/ 79 w 350"/>
                  <a:gd name="T89" fmla="*/ 196 h 346"/>
                  <a:gd name="T90" fmla="*/ 70 w 350"/>
                  <a:gd name="T91" fmla="*/ 187 h 346"/>
                  <a:gd name="T92" fmla="*/ 62 w 350"/>
                  <a:gd name="T93" fmla="*/ 185 h 346"/>
                  <a:gd name="T94" fmla="*/ 54 w 350"/>
                  <a:gd name="T95" fmla="*/ 181 h 346"/>
                  <a:gd name="T96" fmla="*/ 52 w 350"/>
                  <a:gd name="T97" fmla="*/ 162 h 346"/>
                  <a:gd name="T98" fmla="*/ 31 w 350"/>
                  <a:gd name="T99" fmla="*/ 158 h 346"/>
                  <a:gd name="T100" fmla="*/ 10 w 350"/>
                  <a:gd name="T101" fmla="*/ 158 h 346"/>
                  <a:gd name="T102" fmla="*/ 6 w 350"/>
                  <a:gd name="T103" fmla="*/ 142 h 346"/>
                  <a:gd name="T104" fmla="*/ 20 w 350"/>
                  <a:gd name="T105" fmla="*/ 127 h 346"/>
                  <a:gd name="T106" fmla="*/ 41 w 350"/>
                  <a:gd name="T107" fmla="*/ 106 h 346"/>
                  <a:gd name="T108" fmla="*/ 54 w 350"/>
                  <a:gd name="T109" fmla="*/ 90 h 346"/>
                  <a:gd name="T110" fmla="*/ 83 w 350"/>
                  <a:gd name="T111" fmla="*/ 69 h 346"/>
                  <a:gd name="T112" fmla="*/ 95 w 350"/>
                  <a:gd name="T113" fmla="*/ 46 h 346"/>
                  <a:gd name="T114" fmla="*/ 116 w 350"/>
                  <a:gd name="T115" fmla="*/ 25 h 346"/>
                  <a:gd name="T116" fmla="*/ 121 w 350"/>
                  <a:gd name="T117" fmla="*/ 6 h 346"/>
                  <a:gd name="T118" fmla="*/ 143 w 350"/>
                  <a:gd name="T119" fmla="*/ 8 h 346"/>
                  <a:gd name="T120" fmla="*/ 143 w 350"/>
                  <a:gd name="T121" fmla="*/ 14 h 346"/>
                  <a:gd name="T122" fmla="*/ 146 w 350"/>
                  <a:gd name="T123" fmla="*/ 25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50" h="346">
                    <a:moveTo>
                      <a:pt x="154" y="31"/>
                    </a:moveTo>
                    <a:lnTo>
                      <a:pt x="154" y="33"/>
                    </a:lnTo>
                    <a:lnTo>
                      <a:pt x="152" y="33"/>
                    </a:lnTo>
                    <a:lnTo>
                      <a:pt x="154" y="33"/>
                    </a:lnTo>
                    <a:lnTo>
                      <a:pt x="154" y="35"/>
                    </a:lnTo>
                    <a:lnTo>
                      <a:pt x="152" y="35"/>
                    </a:lnTo>
                    <a:lnTo>
                      <a:pt x="154" y="35"/>
                    </a:lnTo>
                    <a:lnTo>
                      <a:pt x="152" y="37"/>
                    </a:lnTo>
                    <a:lnTo>
                      <a:pt x="152" y="39"/>
                    </a:lnTo>
                    <a:lnTo>
                      <a:pt x="152" y="40"/>
                    </a:lnTo>
                    <a:lnTo>
                      <a:pt x="152" y="42"/>
                    </a:lnTo>
                    <a:lnTo>
                      <a:pt x="152" y="44"/>
                    </a:lnTo>
                    <a:lnTo>
                      <a:pt x="152" y="46"/>
                    </a:lnTo>
                    <a:lnTo>
                      <a:pt x="150" y="46"/>
                    </a:lnTo>
                    <a:lnTo>
                      <a:pt x="150" y="48"/>
                    </a:lnTo>
                    <a:lnTo>
                      <a:pt x="150" y="50"/>
                    </a:lnTo>
                    <a:lnTo>
                      <a:pt x="150" y="52"/>
                    </a:lnTo>
                    <a:lnTo>
                      <a:pt x="150" y="54"/>
                    </a:lnTo>
                    <a:lnTo>
                      <a:pt x="152" y="54"/>
                    </a:lnTo>
                    <a:lnTo>
                      <a:pt x="154" y="58"/>
                    </a:lnTo>
                    <a:lnTo>
                      <a:pt x="154" y="60"/>
                    </a:lnTo>
                    <a:lnTo>
                      <a:pt x="154" y="64"/>
                    </a:lnTo>
                    <a:lnTo>
                      <a:pt x="154" y="69"/>
                    </a:lnTo>
                    <a:lnTo>
                      <a:pt x="154" y="71"/>
                    </a:lnTo>
                    <a:lnTo>
                      <a:pt x="154" y="73"/>
                    </a:lnTo>
                    <a:lnTo>
                      <a:pt x="156" y="73"/>
                    </a:lnTo>
                    <a:lnTo>
                      <a:pt x="154" y="77"/>
                    </a:lnTo>
                    <a:lnTo>
                      <a:pt x="156" y="79"/>
                    </a:lnTo>
                    <a:lnTo>
                      <a:pt x="156" y="81"/>
                    </a:lnTo>
                    <a:lnTo>
                      <a:pt x="156" y="83"/>
                    </a:lnTo>
                    <a:lnTo>
                      <a:pt x="158" y="85"/>
                    </a:lnTo>
                    <a:lnTo>
                      <a:pt x="160" y="85"/>
                    </a:lnTo>
                    <a:lnTo>
                      <a:pt x="160" y="83"/>
                    </a:lnTo>
                    <a:lnTo>
                      <a:pt x="162" y="83"/>
                    </a:lnTo>
                    <a:lnTo>
                      <a:pt x="162" y="85"/>
                    </a:lnTo>
                    <a:lnTo>
                      <a:pt x="164" y="87"/>
                    </a:lnTo>
                    <a:lnTo>
                      <a:pt x="164" y="89"/>
                    </a:lnTo>
                    <a:lnTo>
                      <a:pt x="166" y="89"/>
                    </a:lnTo>
                    <a:lnTo>
                      <a:pt x="168" y="90"/>
                    </a:lnTo>
                    <a:lnTo>
                      <a:pt x="168" y="92"/>
                    </a:lnTo>
                    <a:lnTo>
                      <a:pt x="166" y="94"/>
                    </a:lnTo>
                    <a:lnTo>
                      <a:pt x="166" y="96"/>
                    </a:lnTo>
                    <a:lnTo>
                      <a:pt x="168" y="96"/>
                    </a:lnTo>
                    <a:lnTo>
                      <a:pt x="168" y="98"/>
                    </a:lnTo>
                    <a:lnTo>
                      <a:pt x="166" y="98"/>
                    </a:lnTo>
                    <a:lnTo>
                      <a:pt x="166" y="100"/>
                    </a:lnTo>
                    <a:lnTo>
                      <a:pt x="168" y="100"/>
                    </a:lnTo>
                    <a:lnTo>
                      <a:pt x="169" y="100"/>
                    </a:lnTo>
                    <a:lnTo>
                      <a:pt x="171" y="100"/>
                    </a:lnTo>
                    <a:lnTo>
                      <a:pt x="173" y="100"/>
                    </a:lnTo>
                    <a:lnTo>
                      <a:pt x="173" y="98"/>
                    </a:lnTo>
                    <a:lnTo>
                      <a:pt x="175" y="100"/>
                    </a:lnTo>
                    <a:lnTo>
                      <a:pt x="173" y="100"/>
                    </a:lnTo>
                    <a:lnTo>
                      <a:pt x="173" y="102"/>
                    </a:lnTo>
                    <a:lnTo>
                      <a:pt x="175" y="102"/>
                    </a:lnTo>
                    <a:lnTo>
                      <a:pt x="175" y="104"/>
                    </a:lnTo>
                    <a:lnTo>
                      <a:pt x="175" y="106"/>
                    </a:lnTo>
                    <a:lnTo>
                      <a:pt x="175" y="108"/>
                    </a:lnTo>
                    <a:lnTo>
                      <a:pt x="175" y="110"/>
                    </a:lnTo>
                    <a:lnTo>
                      <a:pt x="173" y="110"/>
                    </a:lnTo>
                    <a:lnTo>
                      <a:pt x="173" y="112"/>
                    </a:lnTo>
                    <a:lnTo>
                      <a:pt x="173" y="114"/>
                    </a:lnTo>
                    <a:lnTo>
                      <a:pt x="173" y="115"/>
                    </a:lnTo>
                    <a:lnTo>
                      <a:pt x="173" y="117"/>
                    </a:lnTo>
                    <a:lnTo>
                      <a:pt x="173" y="119"/>
                    </a:lnTo>
                    <a:lnTo>
                      <a:pt x="173" y="121"/>
                    </a:lnTo>
                    <a:lnTo>
                      <a:pt x="173" y="123"/>
                    </a:lnTo>
                    <a:lnTo>
                      <a:pt x="173" y="125"/>
                    </a:lnTo>
                    <a:lnTo>
                      <a:pt x="173" y="127"/>
                    </a:lnTo>
                    <a:lnTo>
                      <a:pt x="173" y="129"/>
                    </a:lnTo>
                    <a:lnTo>
                      <a:pt x="173" y="131"/>
                    </a:lnTo>
                    <a:lnTo>
                      <a:pt x="171" y="131"/>
                    </a:lnTo>
                    <a:lnTo>
                      <a:pt x="173" y="131"/>
                    </a:lnTo>
                    <a:lnTo>
                      <a:pt x="171" y="133"/>
                    </a:lnTo>
                    <a:lnTo>
                      <a:pt x="173" y="133"/>
                    </a:lnTo>
                    <a:lnTo>
                      <a:pt x="173" y="131"/>
                    </a:lnTo>
                    <a:lnTo>
                      <a:pt x="173" y="133"/>
                    </a:lnTo>
                    <a:lnTo>
                      <a:pt x="175" y="133"/>
                    </a:lnTo>
                    <a:lnTo>
                      <a:pt x="177" y="133"/>
                    </a:lnTo>
                    <a:lnTo>
                      <a:pt x="177" y="131"/>
                    </a:lnTo>
                    <a:lnTo>
                      <a:pt x="177" y="133"/>
                    </a:lnTo>
                    <a:lnTo>
                      <a:pt x="179" y="133"/>
                    </a:lnTo>
                    <a:lnTo>
                      <a:pt x="179" y="135"/>
                    </a:lnTo>
                    <a:lnTo>
                      <a:pt x="181" y="135"/>
                    </a:lnTo>
                    <a:lnTo>
                      <a:pt x="179" y="137"/>
                    </a:lnTo>
                    <a:lnTo>
                      <a:pt x="179" y="139"/>
                    </a:lnTo>
                    <a:lnTo>
                      <a:pt x="179" y="137"/>
                    </a:lnTo>
                    <a:lnTo>
                      <a:pt x="177" y="139"/>
                    </a:lnTo>
                    <a:lnTo>
                      <a:pt x="177" y="140"/>
                    </a:lnTo>
                    <a:lnTo>
                      <a:pt x="179" y="140"/>
                    </a:lnTo>
                    <a:lnTo>
                      <a:pt x="179" y="142"/>
                    </a:lnTo>
                    <a:lnTo>
                      <a:pt x="177" y="142"/>
                    </a:lnTo>
                    <a:lnTo>
                      <a:pt x="175" y="142"/>
                    </a:lnTo>
                    <a:lnTo>
                      <a:pt x="175" y="144"/>
                    </a:lnTo>
                    <a:lnTo>
                      <a:pt x="173" y="142"/>
                    </a:lnTo>
                    <a:lnTo>
                      <a:pt x="175" y="142"/>
                    </a:lnTo>
                    <a:lnTo>
                      <a:pt x="175" y="140"/>
                    </a:lnTo>
                    <a:lnTo>
                      <a:pt x="173" y="140"/>
                    </a:lnTo>
                    <a:lnTo>
                      <a:pt x="173" y="139"/>
                    </a:lnTo>
                    <a:lnTo>
                      <a:pt x="171" y="139"/>
                    </a:lnTo>
                    <a:lnTo>
                      <a:pt x="173" y="140"/>
                    </a:lnTo>
                    <a:lnTo>
                      <a:pt x="171" y="142"/>
                    </a:lnTo>
                    <a:lnTo>
                      <a:pt x="171" y="144"/>
                    </a:lnTo>
                    <a:lnTo>
                      <a:pt x="171" y="146"/>
                    </a:lnTo>
                    <a:lnTo>
                      <a:pt x="173" y="146"/>
                    </a:lnTo>
                    <a:lnTo>
                      <a:pt x="175" y="144"/>
                    </a:lnTo>
                    <a:lnTo>
                      <a:pt x="177" y="144"/>
                    </a:lnTo>
                    <a:lnTo>
                      <a:pt x="177" y="146"/>
                    </a:lnTo>
                    <a:lnTo>
                      <a:pt x="175" y="146"/>
                    </a:lnTo>
                    <a:lnTo>
                      <a:pt x="177" y="146"/>
                    </a:lnTo>
                    <a:lnTo>
                      <a:pt x="177" y="148"/>
                    </a:lnTo>
                    <a:lnTo>
                      <a:pt x="177" y="150"/>
                    </a:lnTo>
                    <a:lnTo>
                      <a:pt x="175" y="150"/>
                    </a:lnTo>
                    <a:lnTo>
                      <a:pt x="175" y="152"/>
                    </a:lnTo>
                    <a:lnTo>
                      <a:pt x="177" y="152"/>
                    </a:lnTo>
                    <a:lnTo>
                      <a:pt x="179" y="150"/>
                    </a:lnTo>
                    <a:lnTo>
                      <a:pt x="177" y="152"/>
                    </a:lnTo>
                    <a:lnTo>
                      <a:pt x="177" y="154"/>
                    </a:lnTo>
                    <a:lnTo>
                      <a:pt x="177" y="156"/>
                    </a:lnTo>
                    <a:lnTo>
                      <a:pt x="175" y="154"/>
                    </a:lnTo>
                    <a:lnTo>
                      <a:pt x="175" y="156"/>
                    </a:lnTo>
                    <a:lnTo>
                      <a:pt x="175" y="158"/>
                    </a:lnTo>
                    <a:lnTo>
                      <a:pt x="173" y="158"/>
                    </a:lnTo>
                    <a:lnTo>
                      <a:pt x="173" y="160"/>
                    </a:lnTo>
                    <a:lnTo>
                      <a:pt x="175" y="160"/>
                    </a:lnTo>
                    <a:lnTo>
                      <a:pt x="175" y="162"/>
                    </a:lnTo>
                    <a:lnTo>
                      <a:pt x="173" y="162"/>
                    </a:lnTo>
                    <a:lnTo>
                      <a:pt x="173" y="164"/>
                    </a:lnTo>
                    <a:lnTo>
                      <a:pt x="171" y="164"/>
                    </a:lnTo>
                    <a:lnTo>
                      <a:pt x="173" y="164"/>
                    </a:lnTo>
                    <a:lnTo>
                      <a:pt x="173" y="165"/>
                    </a:lnTo>
                    <a:lnTo>
                      <a:pt x="175" y="164"/>
                    </a:lnTo>
                    <a:lnTo>
                      <a:pt x="175" y="165"/>
                    </a:lnTo>
                    <a:lnTo>
                      <a:pt x="175" y="167"/>
                    </a:lnTo>
                    <a:lnTo>
                      <a:pt x="177" y="167"/>
                    </a:lnTo>
                    <a:lnTo>
                      <a:pt x="177" y="165"/>
                    </a:lnTo>
                    <a:lnTo>
                      <a:pt x="179" y="167"/>
                    </a:lnTo>
                    <a:lnTo>
                      <a:pt x="179" y="169"/>
                    </a:lnTo>
                    <a:lnTo>
                      <a:pt x="179" y="171"/>
                    </a:lnTo>
                    <a:lnTo>
                      <a:pt x="181" y="169"/>
                    </a:lnTo>
                    <a:lnTo>
                      <a:pt x="183" y="169"/>
                    </a:lnTo>
                    <a:lnTo>
                      <a:pt x="185" y="169"/>
                    </a:lnTo>
                    <a:lnTo>
                      <a:pt x="185" y="167"/>
                    </a:lnTo>
                    <a:lnTo>
                      <a:pt x="185" y="164"/>
                    </a:lnTo>
                    <a:lnTo>
                      <a:pt x="187" y="164"/>
                    </a:lnTo>
                    <a:lnTo>
                      <a:pt x="187" y="162"/>
                    </a:lnTo>
                    <a:lnTo>
                      <a:pt x="187" y="160"/>
                    </a:lnTo>
                    <a:lnTo>
                      <a:pt x="189" y="160"/>
                    </a:lnTo>
                    <a:lnTo>
                      <a:pt x="191" y="160"/>
                    </a:lnTo>
                    <a:lnTo>
                      <a:pt x="189" y="160"/>
                    </a:lnTo>
                    <a:lnTo>
                      <a:pt x="191" y="160"/>
                    </a:lnTo>
                    <a:lnTo>
                      <a:pt x="191" y="162"/>
                    </a:lnTo>
                    <a:lnTo>
                      <a:pt x="189" y="162"/>
                    </a:lnTo>
                    <a:lnTo>
                      <a:pt x="189" y="164"/>
                    </a:lnTo>
                    <a:lnTo>
                      <a:pt x="189" y="162"/>
                    </a:lnTo>
                    <a:lnTo>
                      <a:pt x="191" y="162"/>
                    </a:lnTo>
                    <a:lnTo>
                      <a:pt x="191" y="160"/>
                    </a:lnTo>
                    <a:lnTo>
                      <a:pt x="193" y="160"/>
                    </a:lnTo>
                    <a:lnTo>
                      <a:pt x="193" y="162"/>
                    </a:lnTo>
                    <a:lnTo>
                      <a:pt x="194" y="160"/>
                    </a:lnTo>
                    <a:lnTo>
                      <a:pt x="196" y="158"/>
                    </a:lnTo>
                    <a:lnTo>
                      <a:pt x="196" y="156"/>
                    </a:lnTo>
                    <a:lnTo>
                      <a:pt x="198" y="156"/>
                    </a:lnTo>
                    <a:lnTo>
                      <a:pt x="198" y="158"/>
                    </a:lnTo>
                    <a:lnTo>
                      <a:pt x="200" y="158"/>
                    </a:lnTo>
                    <a:lnTo>
                      <a:pt x="198" y="158"/>
                    </a:lnTo>
                    <a:lnTo>
                      <a:pt x="198" y="160"/>
                    </a:lnTo>
                    <a:lnTo>
                      <a:pt x="198" y="162"/>
                    </a:lnTo>
                    <a:lnTo>
                      <a:pt x="200" y="160"/>
                    </a:lnTo>
                    <a:lnTo>
                      <a:pt x="200" y="162"/>
                    </a:lnTo>
                    <a:lnTo>
                      <a:pt x="200" y="164"/>
                    </a:lnTo>
                    <a:lnTo>
                      <a:pt x="202" y="164"/>
                    </a:lnTo>
                    <a:lnTo>
                      <a:pt x="204" y="164"/>
                    </a:lnTo>
                    <a:lnTo>
                      <a:pt x="206" y="164"/>
                    </a:lnTo>
                    <a:lnTo>
                      <a:pt x="208" y="164"/>
                    </a:lnTo>
                    <a:lnTo>
                      <a:pt x="208" y="165"/>
                    </a:lnTo>
                    <a:lnTo>
                      <a:pt x="206" y="165"/>
                    </a:lnTo>
                    <a:lnTo>
                      <a:pt x="208" y="165"/>
                    </a:lnTo>
                    <a:lnTo>
                      <a:pt x="206" y="165"/>
                    </a:lnTo>
                    <a:lnTo>
                      <a:pt x="206" y="167"/>
                    </a:lnTo>
                    <a:lnTo>
                      <a:pt x="204" y="167"/>
                    </a:lnTo>
                    <a:lnTo>
                      <a:pt x="204" y="169"/>
                    </a:lnTo>
                    <a:lnTo>
                      <a:pt x="202" y="169"/>
                    </a:lnTo>
                    <a:lnTo>
                      <a:pt x="202" y="173"/>
                    </a:lnTo>
                    <a:lnTo>
                      <a:pt x="200" y="175"/>
                    </a:lnTo>
                    <a:lnTo>
                      <a:pt x="202" y="175"/>
                    </a:lnTo>
                    <a:lnTo>
                      <a:pt x="204" y="175"/>
                    </a:lnTo>
                    <a:lnTo>
                      <a:pt x="204" y="173"/>
                    </a:lnTo>
                    <a:lnTo>
                      <a:pt x="204" y="171"/>
                    </a:lnTo>
                    <a:lnTo>
                      <a:pt x="204" y="173"/>
                    </a:lnTo>
                    <a:lnTo>
                      <a:pt x="206" y="173"/>
                    </a:lnTo>
                    <a:lnTo>
                      <a:pt x="206" y="175"/>
                    </a:lnTo>
                    <a:lnTo>
                      <a:pt x="204" y="175"/>
                    </a:lnTo>
                    <a:lnTo>
                      <a:pt x="204" y="177"/>
                    </a:lnTo>
                    <a:lnTo>
                      <a:pt x="202" y="177"/>
                    </a:lnTo>
                    <a:lnTo>
                      <a:pt x="202" y="179"/>
                    </a:lnTo>
                    <a:lnTo>
                      <a:pt x="202" y="181"/>
                    </a:lnTo>
                    <a:lnTo>
                      <a:pt x="200" y="181"/>
                    </a:lnTo>
                    <a:lnTo>
                      <a:pt x="200" y="183"/>
                    </a:lnTo>
                    <a:lnTo>
                      <a:pt x="198" y="183"/>
                    </a:lnTo>
                    <a:lnTo>
                      <a:pt x="196" y="183"/>
                    </a:lnTo>
                    <a:lnTo>
                      <a:pt x="194" y="183"/>
                    </a:lnTo>
                    <a:lnTo>
                      <a:pt x="194" y="185"/>
                    </a:lnTo>
                    <a:lnTo>
                      <a:pt x="193" y="185"/>
                    </a:lnTo>
                    <a:lnTo>
                      <a:pt x="193" y="187"/>
                    </a:lnTo>
                    <a:lnTo>
                      <a:pt x="191" y="187"/>
                    </a:lnTo>
                    <a:lnTo>
                      <a:pt x="191" y="185"/>
                    </a:lnTo>
                    <a:lnTo>
                      <a:pt x="191" y="187"/>
                    </a:lnTo>
                    <a:lnTo>
                      <a:pt x="189" y="189"/>
                    </a:lnTo>
                    <a:lnTo>
                      <a:pt x="189" y="190"/>
                    </a:lnTo>
                    <a:lnTo>
                      <a:pt x="189" y="192"/>
                    </a:lnTo>
                    <a:lnTo>
                      <a:pt x="191" y="192"/>
                    </a:lnTo>
                    <a:lnTo>
                      <a:pt x="193" y="192"/>
                    </a:lnTo>
                    <a:lnTo>
                      <a:pt x="193" y="190"/>
                    </a:lnTo>
                    <a:lnTo>
                      <a:pt x="194" y="190"/>
                    </a:lnTo>
                    <a:lnTo>
                      <a:pt x="196" y="190"/>
                    </a:lnTo>
                    <a:lnTo>
                      <a:pt x="196" y="189"/>
                    </a:lnTo>
                    <a:lnTo>
                      <a:pt x="198" y="189"/>
                    </a:lnTo>
                    <a:lnTo>
                      <a:pt x="198" y="190"/>
                    </a:lnTo>
                    <a:lnTo>
                      <a:pt x="196" y="190"/>
                    </a:lnTo>
                    <a:lnTo>
                      <a:pt x="194" y="190"/>
                    </a:lnTo>
                    <a:lnTo>
                      <a:pt x="196" y="192"/>
                    </a:lnTo>
                    <a:lnTo>
                      <a:pt x="198" y="192"/>
                    </a:lnTo>
                    <a:lnTo>
                      <a:pt x="200" y="192"/>
                    </a:lnTo>
                    <a:lnTo>
                      <a:pt x="198" y="192"/>
                    </a:lnTo>
                    <a:lnTo>
                      <a:pt x="200" y="194"/>
                    </a:lnTo>
                    <a:lnTo>
                      <a:pt x="200" y="196"/>
                    </a:lnTo>
                    <a:lnTo>
                      <a:pt x="202" y="196"/>
                    </a:lnTo>
                    <a:lnTo>
                      <a:pt x="200" y="196"/>
                    </a:lnTo>
                    <a:lnTo>
                      <a:pt x="200" y="198"/>
                    </a:lnTo>
                    <a:lnTo>
                      <a:pt x="198" y="198"/>
                    </a:lnTo>
                    <a:lnTo>
                      <a:pt x="198" y="200"/>
                    </a:lnTo>
                    <a:lnTo>
                      <a:pt x="200" y="200"/>
                    </a:lnTo>
                    <a:lnTo>
                      <a:pt x="200" y="198"/>
                    </a:lnTo>
                    <a:lnTo>
                      <a:pt x="202" y="198"/>
                    </a:lnTo>
                    <a:lnTo>
                      <a:pt x="202" y="200"/>
                    </a:lnTo>
                    <a:lnTo>
                      <a:pt x="202" y="202"/>
                    </a:lnTo>
                    <a:lnTo>
                      <a:pt x="200" y="204"/>
                    </a:lnTo>
                    <a:lnTo>
                      <a:pt x="200" y="206"/>
                    </a:lnTo>
                    <a:lnTo>
                      <a:pt x="198" y="206"/>
                    </a:lnTo>
                    <a:lnTo>
                      <a:pt x="198" y="208"/>
                    </a:lnTo>
                    <a:lnTo>
                      <a:pt x="198" y="210"/>
                    </a:lnTo>
                    <a:lnTo>
                      <a:pt x="200" y="210"/>
                    </a:lnTo>
                    <a:lnTo>
                      <a:pt x="200" y="212"/>
                    </a:lnTo>
                    <a:lnTo>
                      <a:pt x="198" y="212"/>
                    </a:lnTo>
                    <a:lnTo>
                      <a:pt x="196" y="212"/>
                    </a:lnTo>
                    <a:lnTo>
                      <a:pt x="194" y="212"/>
                    </a:lnTo>
                    <a:lnTo>
                      <a:pt x="194" y="214"/>
                    </a:lnTo>
                    <a:lnTo>
                      <a:pt x="193" y="215"/>
                    </a:lnTo>
                    <a:lnTo>
                      <a:pt x="194" y="217"/>
                    </a:lnTo>
                    <a:lnTo>
                      <a:pt x="196" y="217"/>
                    </a:lnTo>
                    <a:lnTo>
                      <a:pt x="196" y="219"/>
                    </a:lnTo>
                    <a:lnTo>
                      <a:pt x="196" y="221"/>
                    </a:lnTo>
                    <a:lnTo>
                      <a:pt x="196" y="223"/>
                    </a:lnTo>
                    <a:lnTo>
                      <a:pt x="194" y="223"/>
                    </a:lnTo>
                    <a:lnTo>
                      <a:pt x="194" y="225"/>
                    </a:lnTo>
                    <a:lnTo>
                      <a:pt x="194" y="227"/>
                    </a:lnTo>
                    <a:lnTo>
                      <a:pt x="194" y="229"/>
                    </a:lnTo>
                    <a:lnTo>
                      <a:pt x="193" y="229"/>
                    </a:lnTo>
                    <a:lnTo>
                      <a:pt x="193" y="231"/>
                    </a:lnTo>
                    <a:lnTo>
                      <a:pt x="191" y="231"/>
                    </a:lnTo>
                    <a:lnTo>
                      <a:pt x="191" y="233"/>
                    </a:lnTo>
                    <a:lnTo>
                      <a:pt x="193" y="233"/>
                    </a:lnTo>
                    <a:lnTo>
                      <a:pt x="194" y="233"/>
                    </a:lnTo>
                    <a:lnTo>
                      <a:pt x="196" y="233"/>
                    </a:lnTo>
                    <a:lnTo>
                      <a:pt x="198" y="231"/>
                    </a:lnTo>
                    <a:lnTo>
                      <a:pt x="196" y="231"/>
                    </a:lnTo>
                    <a:lnTo>
                      <a:pt x="196" y="229"/>
                    </a:lnTo>
                    <a:lnTo>
                      <a:pt x="198" y="229"/>
                    </a:lnTo>
                    <a:lnTo>
                      <a:pt x="198" y="227"/>
                    </a:lnTo>
                    <a:lnTo>
                      <a:pt x="196" y="225"/>
                    </a:lnTo>
                    <a:lnTo>
                      <a:pt x="196" y="223"/>
                    </a:lnTo>
                    <a:lnTo>
                      <a:pt x="198" y="223"/>
                    </a:lnTo>
                    <a:lnTo>
                      <a:pt x="200" y="225"/>
                    </a:lnTo>
                    <a:lnTo>
                      <a:pt x="202" y="225"/>
                    </a:lnTo>
                    <a:lnTo>
                      <a:pt x="204" y="227"/>
                    </a:lnTo>
                    <a:lnTo>
                      <a:pt x="202" y="227"/>
                    </a:lnTo>
                    <a:lnTo>
                      <a:pt x="202" y="229"/>
                    </a:lnTo>
                    <a:lnTo>
                      <a:pt x="202" y="231"/>
                    </a:lnTo>
                    <a:lnTo>
                      <a:pt x="204" y="231"/>
                    </a:lnTo>
                    <a:lnTo>
                      <a:pt x="204" y="233"/>
                    </a:lnTo>
                    <a:lnTo>
                      <a:pt x="204" y="238"/>
                    </a:lnTo>
                    <a:lnTo>
                      <a:pt x="206" y="240"/>
                    </a:lnTo>
                    <a:lnTo>
                      <a:pt x="208" y="238"/>
                    </a:lnTo>
                    <a:lnTo>
                      <a:pt x="210" y="238"/>
                    </a:lnTo>
                    <a:lnTo>
                      <a:pt x="210" y="237"/>
                    </a:lnTo>
                    <a:lnTo>
                      <a:pt x="212" y="237"/>
                    </a:lnTo>
                    <a:lnTo>
                      <a:pt x="214" y="237"/>
                    </a:lnTo>
                    <a:lnTo>
                      <a:pt x="216" y="235"/>
                    </a:lnTo>
                    <a:lnTo>
                      <a:pt x="217" y="233"/>
                    </a:lnTo>
                    <a:lnTo>
                      <a:pt x="219" y="233"/>
                    </a:lnTo>
                    <a:lnTo>
                      <a:pt x="219" y="235"/>
                    </a:lnTo>
                    <a:lnTo>
                      <a:pt x="221" y="235"/>
                    </a:lnTo>
                    <a:lnTo>
                      <a:pt x="221" y="233"/>
                    </a:lnTo>
                    <a:lnTo>
                      <a:pt x="221" y="235"/>
                    </a:lnTo>
                    <a:lnTo>
                      <a:pt x="223" y="235"/>
                    </a:lnTo>
                    <a:lnTo>
                      <a:pt x="225" y="233"/>
                    </a:lnTo>
                    <a:lnTo>
                      <a:pt x="225" y="231"/>
                    </a:lnTo>
                    <a:lnTo>
                      <a:pt x="227" y="231"/>
                    </a:lnTo>
                    <a:lnTo>
                      <a:pt x="227" y="229"/>
                    </a:lnTo>
                    <a:lnTo>
                      <a:pt x="229" y="229"/>
                    </a:lnTo>
                    <a:lnTo>
                      <a:pt x="229" y="227"/>
                    </a:lnTo>
                    <a:lnTo>
                      <a:pt x="231" y="227"/>
                    </a:lnTo>
                    <a:lnTo>
                      <a:pt x="231" y="229"/>
                    </a:lnTo>
                    <a:lnTo>
                      <a:pt x="231" y="231"/>
                    </a:lnTo>
                    <a:lnTo>
                      <a:pt x="233" y="233"/>
                    </a:lnTo>
                    <a:lnTo>
                      <a:pt x="235" y="231"/>
                    </a:lnTo>
                    <a:lnTo>
                      <a:pt x="237" y="233"/>
                    </a:lnTo>
                    <a:lnTo>
                      <a:pt x="237" y="235"/>
                    </a:lnTo>
                    <a:lnTo>
                      <a:pt x="239" y="237"/>
                    </a:lnTo>
                    <a:lnTo>
                      <a:pt x="242" y="238"/>
                    </a:lnTo>
                    <a:lnTo>
                      <a:pt x="241" y="240"/>
                    </a:lnTo>
                    <a:lnTo>
                      <a:pt x="242" y="242"/>
                    </a:lnTo>
                    <a:lnTo>
                      <a:pt x="246" y="242"/>
                    </a:lnTo>
                    <a:lnTo>
                      <a:pt x="248" y="242"/>
                    </a:lnTo>
                    <a:lnTo>
                      <a:pt x="252" y="242"/>
                    </a:lnTo>
                    <a:lnTo>
                      <a:pt x="254" y="242"/>
                    </a:lnTo>
                    <a:lnTo>
                      <a:pt x="254" y="244"/>
                    </a:lnTo>
                    <a:lnTo>
                      <a:pt x="256" y="244"/>
                    </a:lnTo>
                    <a:lnTo>
                      <a:pt x="258" y="244"/>
                    </a:lnTo>
                    <a:lnTo>
                      <a:pt x="260" y="242"/>
                    </a:lnTo>
                    <a:lnTo>
                      <a:pt x="262" y="238"/>
                    </a:lnTo>
                    <a:lnTo>
                      <a:pt x="264" y="238"/>
                    </a:lnTo>
                    <a:lnTo>
                      <a:pt x="264" y="237"/>
                    </a:lnTo>
                    <a:lnTo>
                      <a:pt x="264" y="233"/>
                    </a:lnTo>
                    <a:lnTo>
                      <a:pt x="266" y="233"/>
                    </a:lnTo>
                    <a:lnTo>
                      <a:pt x="266" y="229"/>
                    </a:lnTo>
                    <a:lnTo>
                      <a:pt x="267" y="229"/>
                    </a:lnTo>
                    <a:lnTo>
                      <a:pt x="269" y="227"/>
                    </a:lnTo>
                    <a:lnTo>
                      <a:pt x="267" y="227"/>
                    </a:lnTo>
                    <a:lnTo>
                      <a:pt x="267" y="223"/>
                    </a:lnTo>
                    <a:lnTo>
                      <a:pt x="267" y="221"/>
                    </a:lnTo>
                    <a:lnTo>
                      <a:pt x="269" y="219"/>
                    </a:lnTo>
                    <a:lnTo>
                      <a:pt x="271" y="219"/>
                    </a:lnTo>
                    <a:lnTo>
                      <a:pt x="271" y="217"/>
                    </a:lnTo>
                    <a:lnTo>
                      <a:pt x="271" y="215"/>
                    </a:lnTo>
                    <a:lnTo>
                      <a:pt x="273" y="212"/>
                    </a:lnTo>
                    <a:lnTo>
                      <a:pt x="273" y="214"/>
                    </a:lnTo>
                    <a:lnTo>
                      <a:pt x="275" y="215"/>
                    </a:lnTo>
                    <a:lnTo>
                      <a:pt x="279" y="219"/>
                    </a:lnTo>
                    <a:lnTo>
                      <a:pt x="279" y="217"/>
                    </a:lnTo>
                    <a:lnTo>
                      <a:pt x="281" y="217"/>
                    </a:lnTo>
                    <a:lnTo>
                      <a:pt x="283" y="217"/>
                    </a:lnTo>
                    <a:lnTo>
                      <a:pt x="283" y="215"/>
                    </a:lnTo>
                    <a:lnTo>
                      <a:pt x="283" y="214"/>
                    </a:lnTo>
                    <a:lnTo>
                      <a:pt x="281" y="212"/>
                    </a:lnTo>
                    <a:lnTo>
                      <a:pt x="281" y="210"/>
                    </a:lnTo>
                    <a:lnTo>
                      <a:pt x="283" y="208"/>
                    </a:lnTo>
                    <a:lnTo>
                      <a:pt x="283" y="206"/>
                    </a:lnTo>
                    <a:lnTo>
                      <a:pt x="285" y="206"/>
                    </a:lnTo>
                    <a:lnTo>
                      <a:pt x="287" y="206"/>
                    </a:lnTo>
                    <a:lnTo>
                      <a:pt x="287" y="208"/>
                    </a:lnTo>
                    <a:lnTo>
                      <a:pt x="287" y="210"/>
                    </a:lnTo>
                    <a:lnTo>
                      <a:pt x="287" y="212"/>
                    </a:lnTo>
                    <a:lnTo>
                      <a:pt x="287" y="214"/>
                    </a:lnTo>
                    <a:lnTo>
                      <a:pt x="289" y="217"/>
                    </a:lnTo>
                    <a:lnTo>
                      <a:pt x="289" y="219"/>
                    </a:lnTo>
                    <a:lnTo>
                      <a:pt x="290" y="219"/>
                    </a:lnTo>
                    <a:lnTo>
                      <a:pt x="292" y="217"/>
                    </a:lnTo>
                    <a:lnTo>
                      <a:pt x="292" y="215"/>
                    </a:lnTo>
                    <a:lnTo>
                      <a:pt x="294" y="214"/>
                    </a:lnTo>
                    <a:lnTo>
                      <a:pt x="292" y="214"/>
                    </a:lnTo>
                    <a:lnTo>
                      <a:pt x="292" y="212"/>
                    </a:lnTo>
                    <a:lnTo>
                      <a:pt x="294" y="212"/>
                    </a:lnTo>
                    <a:lnTo>
                      <a:pt x="296" y="212"/>
                    </a:lnTo>
                    <a:lnTo>
                      <a:pt x="296" y="210"/>
                    </a:lnTo>
                    <a:lnTo>
                      <a:pt x="296" y="208"/>
                    </a:lnTo>
                    <a:lnTo>
                      <a:pt x="298" y="208"/>
                    </a:lnTo>
                    <a:lnTo>
                      <a:pt x="298" y="210"/>
                    </a:lnTo>
                    <a:lnTo>
                      <a:pt x="300" y="210"/>
                    </a:lnTo>
                    <a:lnTo>
                      <a:pt x="302" y="210"/>
                    </a:lnTo>
                    <a:lnTo>
                      <a:pt x="302" y="212"/>
                    </a:lnTo>
                    <a:lnTo>
                      <a:pt x="302" y="214"/>
                    </a:lnTo>
                    <a:lnTo>
                      <a:pt x="304" y="214"/>
                    </a:lnTo>
                    <a:lnTo>
                      <a:pt x="304" y="215"/>
                    </a:lnTo>
                    <a:lnTo>
                      <a:pt x="306" y="214"/>
                    </a:lnTo>
                    <a:lnTo>
                      <a:pt x="308" y="215"/>
                    </a:lnTo>
                    <a:lnTo>
                      <a:pt x="310" y="215"/>
                    </a:lnTo>
                    <a:lnTo>
                      <a:pt x="310" y="217"/>
                    </a:lnTo>
                    <a:lnTo>
                      <a:pt x="312" y="217"/>
                    </a:lnTo>
                    <a:lnTo>
                      <a:pt x="312" y="215"/>
                    </a:lnTo>
                    <a:lnTo>
                      <a:pt x="314" y="215"/>
                    </a:lnTo>
                    <a:lnTo>
                      <a:pt x="315" y="214"/>
                    </a:lnTo>
                    <a:lnTo>
                      <a:pt x="317" y="215"/>
                    </a:lnTo>
                    <a:lnTo>
                      <a:pt x="317" y="217"/>
                    </a:lnTo>
                    <a:lnTo>
                      <a:pt x="317" y="219"/>
                    </a:lnTo>
                    <a:lnTo>
                      <a:pt x="319" y="221"/>
                    </a:lnTo>
                    <a:lnTo>
                      <a:pt x="321" y="221"/>
                    </a:lnTo>
                    <a:lnTo>
                      <a:pt x="323" y="223"/>
                    </a:lnTo>
                    <a:lnTo>
                      <a:pt x="325" y="223"/>
                    </a:lnTo>
                    <a:lnTo>
                      <a:pt x="325" y="225"/>
                    </a:lnTo>
                    <a:lnTo>
                      <a:pt x="327" y="225"/>
                    </a:lnTo>
                    <a:lnTo>
                      <a:pt x="325" y="225"/>
                    </a:lnTo>
                    <a:lnTo>
                      <a:pt x="325" y="229"/>
                    </a:lnTo>
                    <a:lnTo>
                      <a:pt x="323" y="229"/>
                    </a:lnTo>
                    <a:lnTo>
                      <a:pt x="325" y="229"/>
                    </a:lnTo>
                    <a:lnTo>
                      <a:pt x="323" y="231"/>
                    </a:lnTo>
                    <a:lnTo>
                      <a:pt x="321" y="233"/>
                    </a:lnTo>
                    <a:lnTo>
                      <a:pt x="321" y="235"/>
                    </a:lnTo>
                    <a:lnTo>
                      <a:pt x="319" y="235"/>
                    </a:lnTo>
                    <a:lnTo>
                      <a:pt x="317" y="235"/>
                    </a:lnTo>
                    <a:lnTo>
                      <a:pt x="317" y="237"/>
                    </a:lnTo>
                    <a:lnTo>
                      <a:pt x="315" y="237"/>
                    </a:lnTo>
                    <a:lnTo>
                      <a:pt x="314" y="237"/>
                    </a:lnTo>
                    <a:lnTo>
                      <a:pt x="312" y="237"/>
                    </a:lnTo>
                    <a:lnTo>
                      <a:pt x="312" y="238"/>
                    </a:lnTo>
                    <a:lnTo>
                      <a:pt x="310" y="240"/>
                    </a:lnTo>
                    <a:lnTo>
                      <a:pt x="310" y="242"/>
                    </a:lnTo>
                    <a:lnTo>
                      <a:pt x="308" y="242"/>
                    </a:lnTo>
                    <a:lnTo>
                      <a:pt x="308" y="244"/>
                    </a:lnTo>
                    <a:lnTo>
                      <a:pt x="310" y="244"/>
                    </a:lnTo>
                    <a:lnTo>
                      <a:pt x="310" y="246"/>
                    </a:lnTo>
                    <a:lnTo>
                      <a:pt x="310" y="248"/>
                    </a:lnTo>
                    <a:lnTo>
                      <a:pt x="310" y="250"/>
                    </a:lnTo>
                    <a:lnTo>
                      <a:pt x="310" y="252"/>
                    </a:lnTo>
                    <a:lnTo>
                      <a:pt x="310" y="254"/>
                    </a:lnTo>
                    <a:lnTo>
                      <a:pt x="310" y="256"/>
                    </a:lnTo>
                    <a:lnTo>
                      <a:pt x="310" y="258"/>
                    </a:lnTo>
                    <a:lnTo>
                      <a:pt x="312" y="258"/>
                    </a:lnTo>
                    <a:lnTo>
                      <a:pt x="312" y="260"/>
                    </a:lnTo>
                    <a:lnTo>
                      <a:pt x="312" y="258"/>
                    </a:lnTo>
                    <a:lnTo>
                      <a:pt x="314" y="258"/>
                    </a:lnTo>
                    <a:lnTo>
                      <a:pt x="312" y="258"/>
                    </a:lnTo>
                    <a:lnTo>
                      <a:pt x="312" y="256"/>
                    </a:lnTo>
                    <a:lnTo>
                      <a:pt x="314" y="256"/>
                    </a:lnTo>
                    <a:lnTo>
                      <a:pt x="314" y="258"/>
                    </a:lnTo>
                    <a:lnTo>
                      <a:pt x="317" y="263"/>
                    </a:lnTo>
                    <a:lnTo>
                      <a:pt x="319" y="265"/>
                    </a:lnTo>
                    <a:lnTo>
                      <a:pt x="319" y="267"/>
                    </a:lnTo>
                    <a:lnTo>
                      <a:pt x="321" y="267"/>
                    </a:lnTo>
                    <a:lnTo>
                      <a:pt x="323" y="267"/>
                    </a:lnTo>
                    <a:lnTo>
                      <a:pt x="321" y="269"/>
                    </a:lnTo>
                    <a:lnTo>
                      <a:pt x="319" y="269"/>
                    </a:lnTo>
                    <a:lnTo>
                      <a:pt x="319" y="271"/>
                    </a:lnTo>
                    <a:lnTo>
                      <a:pt x="317" y="271"/>
                    </a:lnTo>
                    <a:lnTo>
                      <a:pt x="317" y="273"/>
                    </a:lnTo>
                    <a:lnTo>
                      <a:pt x="317" y="271"/>
                    </a:lnTo>
                    <a:lnTo>
                      <a:pt x="317" y="273"/>
                    </a:lnTo>
                    <a:lnTo>
                      <a:pt x="315" y="273"/>
                    </a:lnTo>
                    <a:lnTo>
                      <a:pt x="314" y="273"/>
                    </a:lnTo>
                    <a:lnTo>
                      <a:pt x="315" y="275"/>
                    </a:lnTo>
                    <a:lnTo>
                      <a:pt x="315" y="277"/>
                    </a:lnTo>
                    <a:lnTo>
                      <a:pt x="319" y="279"/>
                    </a:lnTo>
                    <a:lnTo>
                      <a:pt x="319" y="281"/>
                    </a:lnTo>
                    <a:lnTo>
                      <a:pt x="333" y="285"/>
                    </a:lnTo>
                    <a:lnTo>
                      <a:pt x="333" y="287"/>
                    </a:lnTo>
                    <a:lnTo>
                      <a:pt x="331" y="287"/>
                    </a:lnTo>
                    <a:lnTo>
                      <a:pt x="331" y="288"/>
                    </a:lnTo>
                    <a:lnTo>
                      <a:pt x="329" y="288"/>
                    </a:lnTo>
                    <a:lnTo>
                      <a:pt x="331" y="290"/>
                    </a:lnTo>
                    <a:lnTo>
                      <a:pt x="331" y="292"/>
                    </a:lnTo>
                    <a:lnTo>
                      <a:pt x="329" y="292"/>
                    </a:lnTo>
                    <a:lnTo>
                      <a:pt x="331" y="292"/>
                    </a:lnTo>
                    <a:lnTo>
                      <a:pt x="331" y="294"/>
                    </a:lnTo>
                    <a:lnTo>
                      <a:pt x="331" y="296"/>
                    </a:lnTo>
                    <a:lnTo>
                      <a:pt x="333" y="296"/>
                    </a:lnTo>
                    <a:lnTo>
                      <a:pt x="335" y="296"/>
                    </a:lnTo>
                    <a:lnTo>
                      <a:pt x="335" y="298"/>
                    </a:lnTo>
                    <a:lnTo>
                      <a:pt x="337" y="298"/>
                    </a:lnTo>
                    <a:lnTo>
                      <a:pt x="339" y="298"/>
                    </a:lnTo>
                    <a:lnTo>
                      <a:pt x="339" y="300"/>
                    </a:lnTo>
                    <a:lnTo>
                      <a:pt x="340" y="300"/>
                    </a:lnTo>
                    <a:lnTo>
                      <a:pt x="342" y="302"/>
                    </a:lnTo>
                    <a:lnTo>
                      <a:pt x="342" y="304"/>
                    </a:lnTo>
                    <a:lnTo>
                      <a:pt x="344" y="304"/>
                    </a:lnTo>
                    <a:lnTo>
                      <a:pt x="346" y="306"/>
                    </a:lnTo>
                    <a:lnTo>
                      <a:pt x="346" y="304"/>
                    </a:lnTo>
                    <a:lnTo>
                      <a:pt x="346" y="306"/>
                    </a:lnTo>
                    <a:lnTo>
                      <a:pt x="346" y="308"/>
                    </a:lnTo>
                    <a:lnTo>
                      <a:pt x="346" y="310"/>
                    </a:lnTo>
                    <a:lnTo>
                      <a:pt x="346" y="312"/>
                    </a:lnTo>
                    <a:lnTo>
                      <a:pt x="350" y="317"/>
                    </a:lnTo>
                    <a:lnTo>
                      <a:pt x="344" y="317"/>
                    </a:lnTo>
                    <a:lnTo>
                      <a:pt x="339" y="329"/>
                    </a:lnTo>
                    <a:lnTo>
                      <a:pt x="335" y="335"/>
                    </a:lnTo>
                    <a:lnTo>
                      <a:pt x="331" y="344"/>
                    </a:lnTo>
                    <a:lnTo>
                      <a:pt x="312" y="344"/>
                    </a:lnTo>
                    <a:lnTo>
                      <a:pt x="306" y="346"/>
                    </a:lnTo>
                    <a:lnTo>
                      <a:pt x="304" y="346"/>
                    </a:lnTo>
                    <a:lnTo>
                      <a:pt x="304" y="344"/>
                    </a:lnTo>
                    <a:lnTo>
                      <a:pt x="302" y="344"/>
                    </a:lnTo>
                    <a:lnTo>
                      <a:pt x="298" y="342"/>
                    </a:lnTo>
                    <a:lnTo>
                      <a:pt x="296" y="342"/>
                    </a:lnTo>
                    <a:lnTo>
                      <a:pt x="294" y="340"/>
                    </a:lnTo>
                    <a:lnTo>
                      <a:pt x="292" y="340"/>
                    </a:lnTo>
                    <a:lnTo>
                      <a:pt x="289" y="338"/>
                    </a:lnTo>
                    <a:lnTo>
                      <a:pt x="287" y="333"/>
                    </a:lnTo>
                    <a:lnTo>
                      <a:pt x="287" y="329"/>
                    </a:lnTo>
                    <a:lnTo>
                      <a:pt x="289" y="327"/>
                    </a:lnTo>
                    <a:lnTo>
                      <a:pt x="283" y="323"/>
                    </a:lnTo>
                    <a:lnTo>
                      <a:pt x="281" y="327"/>
                    </a:lnTo>
                    <a:lnTo>
                      <a:pt x="279" y="329"/>
                    </a:lnTo>
                    <a:lnTo>
                      <a:pt x="279" y="331"/>
                    </a:lnTo>
                    <a:lnTo>
                      <a:pt x="279" y="333"/>
                    </a:lnTo>
                    <a:lnTo>
                      <a:pt x="277" y="335"/>
                    </a:lnTo>
                    <a:lnTo>
                      <a:pt x="273" y="337"/>
                    </a:lnTo>
                    <a:lnTo>
                      <a:pt x="271" y="337"/>
                    </a:lnTo>
                    <a:lnTo>
                      <a:pt x="269" y="340"/>
                    </a:lnTo>
                    <a:lnTo>
                      <a:pt x="267" y="340"/>
                    </a:lnTo>
                    <a:lnTo>
                      <a:pt x="262" y="338"/>
                    </a:lnTo>
                    <a:lnTo>
                      <a:pt x="258" y="340"/>
                    </a:lnTo>
                    <a:lnTo>
                      <a:pt x="258" y="338"/>
                    </a:lnTo>
                    <a:lnTo>
                      <a:pt x="258" y="337"/>
                    </a:lnTo>
                    <a:lnTo>
                      <a:pt x="256" y="337"/>
                    </a:lnTo>
                    <a:lnTo>
                      <a:pt x="258" y="335"/>
                    </a:lnTo>
                    <a:lnTo>
                      <a:pt x="258" y="333"/>
                    </a:lnTo>
                    <a:lnTo>
                      <a:pt x="260" y="335"/>
                    </a:lnTo>
                    <a:lnTo>
                      <a:pt x="262" y="335"/>
                    </a:lnTo>
                    <a:lnTo>
                      <a:pt x="260" y="333"/>
                    </a:lnTo>
                    <a:lnTo>
                      <a:pt x="260" y="331"/>
                    </a:lnTo>
                    <a:lnTo>
                      <a:pt x="260" y="329"/>
                    </a:lnTo>
                    <a:lnTo>
                      <a:pt x="258" y="329"/>
                    </a:lnTo>
                    <a:lnTo>
                      <a:pt x="256" y="327"/>
                    </a:lnTo>
                    <a:lnTo>
                      <a:pt x="254" y="327"/>
                    </a:lnTo>
                    <a:lnTo>
                      <a:pt x="252" y="327"/>
                    </a:lnTo>
                    <a:lnTo>
                      <a:pt x="252" y="325"/>
                    </a:lnTo>
                    <a:lnTo>
                      <a:pt x="250" y="325"/>
                    </a:lnTo>
                    <a:lnTo>
                      <a:pt x="250" y="323"/>
                    </a:lnTo>
                    <a:lnTo>
                      <a:pt x="248" y="323"/>
                    </a:lnTo>
                    <a:lnTo>
                      <a:pt x="246" y="323"/>
                    </a:lnTo>
                    <a:lnTo>
                      <a:pt x="246" y="321"/>
                    </a:lnTo>
                    <a:lnTo>
                      <a:pt x="244" y="321"/>
                    </a:lnTo>
                    <a:lnTo>
                      <a:pt x="244" y="319"/>
                    </a:lnTo>
                    <a:lnTo>
                      <a:pt x="242" y="319"/>
                    </a:lnTo>
                    <a:lnTo>
                      <a:pt x="241" y="319"/>
                    </a:lnTo>
                    <a:lnTo>
                      <a:pt x="241" y="317"/>
                    </a:lnTo>
                    <a:lnTo>
                      <a:pt x="241" y="315"/>
                    </a:lnTo>
                    <a:lnTo>
                      <a:pt x="239" y="313"/>
                    </a:lnTo>
                    <a:lnTo>
                      <a:pt x="239" y="312"/>
                    </a:lnTo>
                    <a:lnTo>
                      <a:pt x="241" y="312"/>
                    </a:lnTo>
                    <a:lnTo>
                      <a:pt x="241" y="310"/>
                    </a:lnTo>
                    <a:lnTo>
                      <a:pt x="237" y="308"/>
                    </a:lnTo>
                    <a:lnTo>
                      <a:pt x="235" y="308"/>
                    </a:lnTo>
                    <a:lnTo>
                      <a:pt x="237" y="306"/>
                    </a:lnTo>
                    <a:lnTo>
                      <a:pt x="239" y="306"/>
                    </a:lnTo>
                    <a:lnTo>
                      <a:pt x="239" y="304"/>
                    </a:lnTo>
                    <a:lnTo>
                      <a:pt x="237" y="304"/>
                    </a:lnTo>
                    <a:lnTo>
                      <a:pt x="235" y="304"/>
                    </a:lnTo>
                    <a:lnTo>
                      <a:pt x="235" y="300"/>
                    </a:lnTo>
                    <a:lnTo>
                      <a:pt x="237" y="298"/>
                    </a:lnTo>
                    <a:lnTo>
                      <a:pt x="237" y="296"/>
                    </a:lnTo>
                    <a:lnTo>
                      <a:pt x="239" y="296"/>
                    </a:lnTo>
                    <a:lnTo>
                      <a:pt x="239" y="294"/>
                    </a:lnTo>
                    <a:lnTo>
                      <a:pt x="239" y="292"/>
                    </a:lnTo>
                    <a:lnTo>
                      <a:pt x="239" y="290"/>
                    </a:lnTo>
                    <a:lnTo>
                      <a:pt x="239" y="288"/>
                    </a:lnTo>
                    <a:lnTo>
                      <a:pt x="235" y="288"/>
                    </a:lnTo>
                    <a:lnTo>
                      <a:pt x="233" y="287"/>
                    </a:lnTo>
                    <a:lnTo>
                      <a:pt x="233" y="285"/>
                    </a:lnTo>
                    <a:lnTo>
                      <a:pt x="235" y="281"/>
                    </a:lnTo>
                    <a:lnTo>
                      <a:pt x="233" y="281"/>
                    </a:lnTo>
                    <a:lnTo>
                      <a:pt x="231" y="281"/>
                    </a:lnTo>
                    <a:lnTo>
                      <a:pt x="229" y="281"/>
                    </a:lnTo>
                    <a:lnTo>
                      <a:pt x="227" y="283"/>
                    </a:lnTo>
                    <a:lnTo>
                      <a:pt x="229" y="283"/>
                    </a:lnTo>
                    <a:lnTo>
                      <a:pt x="227" y="285"/>
                    </a:lnTo>
                    <a:lnTo>
                      <a:pt x="225" y="285"/>
                    </a:lnTo>
                    <a:lnTo>
                      <a:pt x="223" y="285"/>
                    </a:lnTo>
                    <a:lnTo>
                      <a:pt x="223" y="283"/>
                    </a:lnTo>
                    <a:lnTo>
                      <a:pt x="223" y="281"/>
                    </a:lnTo>
                    <a:lnTo>
                      <a:pt x="221" y="281"/>
                    </a:lnTo>
                    <a:lnTo>
                      <a:pt x="219" y="281"/>
                    </a:lnTo>
                    <a:lnTo>
                      <a:pt x="217" y="281"/>
                    </a:lnTo>
                    <a:lnTo>
                      <a:pt x="217" y="279"/>
                    </a:lnTo>
                    <a:lnTo>
                      <a:pt x="216" y="279"/>
                    </a:lnTo>
                    <a:lnTo>
                      <a:pt x="216" y="277"/>
                    </a:lnTo>
                    <a:lnTo>
                      <a:pt x="216" y="275"/>
                    </a:lnTo>
                    <a:lnTo>
                      <a:pt x="214" y="275"/>
                    </a:lnTo>
                    <a:lnTo>
                      <a:pt x="212" y="279"/>
                    </a:lnTo>
                    <a:lnTo>
                      <a:pt x="212" y="281"/>
                    </a:lnTo>
                    <a:lnTo>
                      <a:pt x="208" y="287"/>
                    </a:lnTo>
                    <a:lnTo>
                      <a:pt x="208" y="288"/>
                    </a:lnTo>
                    <a:lnTo>
                      <a:pt x="206" y="288"/>
                    </a:lnTo>
                    <a:lnTo>
                      <a:pt x="206" y="287"/>
                    </a:lnTo>
                    <a:lnTo>
                      <a:pt x="204" y="287"/>
                    </a:lnTo>
                    <a:lnTo>
                      <a:pt x="202" y="287"/>
                    </a:lnTo>
                    <a:lnTo>
                      <a:pt x="202" y="285"/>
                    </a:lnTo>
                    <a:lnTo>
                      <a:pt x="200" y="287"/>
                    </a:lnTo>
                    <a:lnTo>
                      <a:pt x="198" y="288"/>
                    </a:lnTo>
                    <a:lnTo>
                      <a:pt x="196" y="288"/>
                    </a:lnTo>
                    <a:lnTo>
                      <a:pt x="196" y="287"/>
                    </a:lnTo>
                    <a:lnTo>
                      <a:pt x="196" y="285"/>
                    </a:lnTo>
                    <a:lnTo>
                      <a:pt x="194" y="285"/>
                    </a:lnTo>
                    <a:lnTo>
                      <a:pt x="194" y="283"/>
                    </a:lnTo>
                    <a:lnTo>
                      <a:pt x="194" y="281"/>
                    </a:lnTo>
                    <a:lnTo>
                      <a:pt x="194" y="279"/>
                    </a:lnTo>
                    <a:lnTo>
                      <a:pt x="194" y="277"/>
                    </a:lnTo>
                    <a:lnTo>
                      <a:pt x="194" y="279"/>
                    </a:lnTo>
                    <a:lnTo>
                      <a:pt x="194" y="277"/>
                    </a:lnTo>
                    <a:lnTo>
                      <a:pt x="194" y="275"/>
                    </a:lnTo>
                    <a:lnTo>
                      <a:pt x="193" y="275"/>
                    </a:lnTo>
                    <a:lnTo>
                      <a:pt x="193" y="273"/>
                    </a:lnTo>
                    <a:lnTo>
                      <a:pt x="193" y="271"/>
                    </a:lnTo>
                    <a:lnTo>
                      <a:pt x="193" y="269"/>
                    </a:lnTo>
                    <a:lnTo>
                      <a:pt x="191" y="269"/>
                    </a:lnTo>
                    <a:lnTo>
                      <a:pt x="187" y="269"/>
                    </a:lnTo>
                    <a:lnTo>
                      <a:pt x="185" y="269"/>
                    </a:lnTo>
                    <a:lnTo>
                      <a:pt x="185" y="267"/>
                    </a:lnTo>
                    <a:lnTo>
                      <a:pt x="183" y="267"/>
                    </a:lnTo>
                    <a:lnTo>
                      <a:pt x="181" y="265"/>
                    </a:lnTo>
                    <a:lnTo>
                      <a:pt x="179" y="265"/>
                    </a:lnTo>
                    <a:lnTo>
                      <a:pt x="177" y="265"/>
                    </a:lnTo>
                    <a:lnTo>
                      <a:pt x="175" y="265"/>
                    </a:lnTo>
                    <a:lnTo>
                      <a:pt x="175" y="271"/>
                    </a:lnTo>
                    <a:lnTo>
                      <a:pt x="173" y="271"/>
                    </a:lnTo>
                    <a:lnTo>
                      <a:pt x="173" y="269"/>
                    </a:lnTo>
                    <a:lnTo>
                      <a:pt x="171" y="269"/>
                    </a:lnTo>
                    <a:lnTo>
                      <a:pt x="171" y="267"/>
                    </a:lnTo>
                    <a:lnTo>
                      <a:pt x="171" y="265"/>
                    </a:lnTo>
                    <a:lnTo>
                      <a:pt x="169" y="265"/>
                    </a:lnTo>
                    <a:lnTo>
                      <a:pt x="169" y="263"/>
                    </a:lnTo>
                    <a:lnTo>
                      <a:pt x="169" y="262"/>
                    </a:lnTo>
                    <a:lnTo>
                      <a:pt x="168" y="262"/>
                    </a:lnTo>
                    <a:lnTo>
                      <a:pt x="166" y="269"/>
                    </a:lnTo>
                    <a:lnTo>
                      <a:pt x="164" y="267"/>
                    </a:lnTo>
                    <a:lnTo>
                      <a:pt x="162" y="267"/>
                    </a:lnTo>
                    <a:lnTo>
                      <a:pt x="162" y="269"/>
                    </a:lnTo>
                    <a:lnTo>
                      <a:pt x="160" y="271"/>
                    </a:lnTo>
                    <a:lnTo>
                      <a:pt x="158" y="269"/>
                    </a:lnTo>
                    <a:lnTo>
                      <a:pt x="156" y="269"/>
                    </a:lnTo>
                    <a:lnTo>
                      <a:pt x="156" y="265"/>
                    </a:lnTo>
                    <a:lnTo>
                      <a:pt x="154" y="269"/>
                    </a:lnTo>
                    <a:lnTo>
                      <a:pt x="152" y="269"/>
                    </a:lnTo>
                    <a:lnTo>
                      <a:pt x="150" y="273"/>
                    </a:lnTo>
                    <a:lnTo>
                      <a:pt x="150" y="275"/>
                    </a:lnTo>
                    <a:lnTo>
                      <a:pt x="148" y="277"/>
                    </a:lnTo>
                    <a:lnTo>
                      <a:pt x="146" y="279"/>
                    </a:lnTo>
                    <a:lnTo>
                      <a:pt x="144" y="281"/>
                    </a:lnTo>
                    <a:lnTo>
                      <a:pt x="143" y="281"/>
                    </a:lnTo>
                    <a:lnTo>
                      <a:pt x="141" y="281"/>
                    </a:lnTo>
                    <a:lnTo>
                      <a:pt x="139" y="281"/>
                    </a:lnTo>
                    <a:lnTo>
                      <a:pt x="137" y="283"/>
                    </a:lnTo>
                    <a:lnTo>
                      <a:pt x="137" y="281"/>
                    </a:lnTo>
                    <a:lnTo>
                      <a:pt x="135" y="281"/>
                    </a:lnTo>
                    <a:lnTo>
                      <a:pt x="135" y="283"/>
                    </a:lnTo>
                    <a:lnTo>
                      <a:pt x="133" y="283"/>
                    </a:lnTo>
                    <a:lnTo>
                      <a:pt x="131" y="283"/>
                    </a:lnTo>
                    <a:lnTo>
                      <a:pt x="131" y="285"/>
                    </a:lnTo>
                    <a:lnTo>
                      <a:pt x="129" y="285"/>
                    </a:lnTo>
                    <a:lnTo>
                      <a:pt x="127" y="283"/>
                    </a:lnTo>
                    <a:lnTo>
                      <a:pt x="127" y="281"/>
                    </a:lnTo>
                    <a:lnTo>
                      <a:pt x="127" y="279"/>
                    </a:lnTo>
                    <a:lnTo>
                      <a:pt x="125" y="279"/>
                    </a:lnTo>
                    <a:lnTo>
                      <a:pt x="125" y="277"/>
                    </a:lnTo>
                    <a:lnTo>
                      <a:pt x="125" y="275"/>
                    </a:lnTo>
                    <a:lnTo>
                      <a:pt x="125" y="273"/>
                    </a:lnTo>
                    <a:lnTo>
                      <a:pt x="123" y="273"/>
                    </a:lnTo>
                    <a:lnTo>
                      <a:pt x="123" y="271"/>
                    </a:lnTo>
                    <a:lnTo>
                      <a:pt x="121" y="271"/>
                    </a:lnTo>
                    <a:lnTo>
                      <a:pt x="121" y="273"/>
                    </a:lnTo>
                    <a:lnTo>
                      <a:pt x="120" y="267"/>
                    </a:lnTo>
                    <a:lnTo>
                      <a:pt x="118" y="260"/>
                    </a:lnTo>
                    <a:lnTo>
                      <a:pt x="116" y="260"/>
                    </a:lnTo>
                    <a:lnTo>
                      <a:pt x="114" y="258"/>
                    </a:lnTo>
                    <a:lnTo>
                      <a:pt x="116" y="256"/>
                    </a:lnTo>
                    <a:lnTo>
                      <a:pt x="118" y="256"/>
                    </a:lnTo>
                    <a:lnTo>
                      <a:pt x="118" y="254"/>
                    </a:lnTo>
                    <a:lnTo>
                      <a:pt x="120" y="254"/>
                    </a:lnTo>
                    <a:lnTo>
                      <a:pt x="118" y="254"/>
                    </a:lnTo>
                    <a:lnTo>
                      <a:pt x="118" y="252"/>
                    </a:lnTo>
                    <a:lnTo>
                      <a:pt x="116" y="252"/>
                    </a:lnTo>
                    <a:lnTo>
                      <a:pt x="118" y="252"/>
                    </a:lnTo>
                    <a:lnTo>
                      <a:pt x="116" y="252"/>
                    </a:lnTo>
                    <a:lnTo>
                      <a:pt x="114" y="250"/>
                    </a:lnTo>
                    <a:lnTo>
                      <a:pt x="112" y="250"/>
                    </a:lnTo>
                    <a:lnTo>
                      <a:pt x="112" y="248"/>
                    </a:lnTo>
                    <a:lnTo>
                      <a:pt x="114" y="246"/>
                    </a:lnTo>
                    <a:lnTo>
                      <a:pt x="112" y="246"/>
                    </a:lnTo>
                    <a:lnTo>
                      <a:pt x="112" y="244"/>
                    </a:lnTo>
                    <a:lnTo>
                      <a:pt x="110" y="244"/>
                    </a:lnTo>
                    <a:lnTo>
                      <a:pt x="110" y="242"/>
                    </a:lnTo>
                    <a:lnTo>
                      <a:pt x="110" y="240"/>
                    </a:lnTo>
                    <a:lnTo>
                      <a:pt x="110" y="238"/>
                    </a:lnTo>
                    <a:lnTo>
                      <a:pt x="108" y="238"/>
                    </a:lnTo>
                    <a:lnTo>
                      <a:pt x="108" y="240"/>
                    </a:lnTo>
                    <a:lnTo>
                      <a:pt x="108" y="238"/>
                    </a:lnTo>
                    <a:lnTo>
                      <a:pt x="106" y="238"/>
                    </a:lnTo>
                    <a:lnTo>
                      <a:pt x="104" y="238"/>
                    </a:lnTo>
                    <a:lnTo>
                      <a:pt x="102" y="238"/>
                    </a:lnTo>
                    <a:lnTo>
                      <a:pt x="102" y="240"/>
                    </a:lnTo>
                    <a:lnTo>
                      <a:pt x="102" y="242"/>
                    </a:lnTo>
                    <a:lnTo>
                      <a:pt x="102" y="240"/>
                    </a:lnTo>
                    <a:lnTo>
                      <a:pt x="102" y="242"/>
                    </a:lnTo>
                    <a:lnTo>
                      <a:pt x="102" y="244"/>
                    </a:lnTo>
                    <a:lnTo>
                      <a:pt x="102" y="242"/>
                    </a:lnTo>
                    <a:lnTo>
                      <a:pt x="100" y="244"/>
                    </a:lnTo>
                    <a:lnTo>
                      <a:pt x="100" y="242"/>
                    </a:lnTo>
                    <a:lnTo>
                      <a:pt x="100" y="244"/>
                    </a:lnTo>
                    <a:lnTo>
                      <a:pt x="100" y="242"/>
                    </a:lnTo>
                    <a:lnTo>
                      <a:pt x="100" y="244"/>
                    </a:lnTo>
                    <a:lnTo>
                      <a:pt x="102" y="244"/>
                    </a:lnTo>
                    <a:lnTo>
                      <a:pt x="102" y="246"/>
                    </a:lnTo>
                    <a:lnTo>
                      <a:pt x="104" y="246"/>
                    </a:lnTo>
                    <a:lnTo>
                      <a:pt x="104" y="248"/>
                    </a:lnTo>
                    <a:lnTo>
                      <a:pt x="102" y="252"/>
                    </a:lnTo>
                    <a:lnTo>
                      <a:pt x="100" y="252"/>
                    </a:lnTo>
                    <a:lnTo>
                      <a:pt x="100" y="256"/>
                    </a:lnTo>
                    <a:lnTo>
                      <a:pt x="98" y="260"/>
                    </a:lnTo>
                    <a:lnTo>
                      <a:pt x="98" y="262"/>
                    </a:lnTo>
                    <a:lnTo>
                      <a:pt x="98" y="263"/>
                    </a:lnTo>
                    <a:lnTo>
                      <a:pt x="98" y="265"/>
                    </a:lnTo>
                    <a:lnTo>
                      <a:pt x="96" y="267"/>
                    </a:lnTo>
                    <a:lnTo>
                      <a:pt x="95" y="267"/>
                    </a:lnTo>
                    <a:lnTo>
                      <a:pt x="93" y="269"/>
                    </a:lnTo>
                    <a:lnTo>
                      <a:pt x="91" y="269"/>
                    </a:lnTo>
                    <a:lnTo>
                      <a:pt x="91" y="267"/>
                    </a:lnTo>
                    <a:lnTo>
                      <a:pt x="89" y="269"/>
                    </a:lnTo>
                    <a:lnTo>
                      <a:pt x="89" y="267"/>
                    </a:lnTo>
                    <a:lnTo>
                      <a:pt x="87" y="265"/>
                    </a:lnTo>
                    <a:lnTo>
                      <a:pt x="87" y="262"/>
                    </a:lnTo>
                    <a:lnTo>
                      <a:pt x="89" y="260"/>
                    </a:lnTo>
                    <a:lnTo>
                      <a:pt x="89" y="258"/>
                    </a:lnTo>
                    <a:lnTo>
                      <a:pt x="91" y="258"/>
                    </a:lnTo>
                    <a:lnTo>
                      <a:pt x="91" y="256"/>
                    </a:lnTo>
                    <a:lnTo>
                      <a:pt x="93" y="256"/>
                    </a:lnTo>
                    <a:lnTo>
                      <a:pt x="93" y="254"/>
                    </a:lnTo>
                    <a:lnTo>
                      <a:pt x="93" y="252"/>
                    </a:lnTo>
                    <a:lnTo>
                      <a:pt x="95" y="252"/>
                    </a:lnTo>
                    <a:lnTo>
                      <a:pt x="95" y="250"/>
                    </a:lnTo>
                    <a:lnTo>
                      <a:pt x="96" y="250"/>
                    </a:lnTo>
                    <a:lnTo>
                      <a:pt x="96" y="248"/>
                    </a:lnTo>
                    <a:lnTo>
                      <a:pt x="98" y="248"/>
                    </a:lnTo>
                    <a:lnTo>
                      <a:pt x="96" y="248"/>
                    </a:lnTo>
                    <a:lnTo>
                      <a:pt x="95" y="248"/>
                    </a:lnTo>
                    <a:lnTo>
                      <a:pt x="95" y="246"/>
                    </a:lnTo>
                    <a:lnTo>
                      <a:pt x="95" y="244"/>
                    </a:lnTo>
                    <a:lnTo>
                      <a:pt x="93" y="244"/>
                    </a:lnTo>
                    <a:lnTo>
                      <a:pt x="93" y="242"/>
                    </a:lnTo>
                    <a:lnTo>
                      <a:pt x="93" y="240"/>
                    </a:lnTo>
                    <a:lnTo>
                      <a:pt x="91" y="242"/>
                    </a:lnTo>
                    <a:lnTo>
                      <a:pt x="91" y="240"/>
                    </a:lnTo>
                    <a:lnTo>
                      <a:pt x="93" y="238"/>
                    </a:lnTo>
                    <a:lnTo>
                      <a:pt x="91" y="238"/>
                    </a:lnTo>
                    <a:lnTo>
                      <a:pt x="93" y="238"/>
                    </a:lnTo>
                    <a:lnTo>
                      <a:pt x="91" y="238"/>
                    </a:lnTo>
                    <a:lnTo>
                      <a:pt x="91" y="237"/>
                    </a:lnTo>
                    <a:lnTo>
                      <a:pt x="89" y="237"/>
                    </a:lnTo>
                    <a:lnTo>
                      <a:pt x="89" y="235"/>
                    </a:lnTo>
                    <a:lnTo>
                      <a:pt x="91" y="235"/>
                    </a:lnTo>
                    <a:lnTo>
                      <a:pt x="89" y="235"/>
                    </a:lnTo>
                    <a:lnTo>
                      <a:pt x="89" y="233"/>
                    </a:lnTo>
                    <a:lnTo>
                      <a:pt x="91" y="233"/>
                    </a:lnTo>
                    <a:lnTo>
                      <a:pt x="89" y="233"/>
                    </a:lnTo>
                    <a:lnTo>
                      <a:pt x="91" y="233"/>
                    </a:lnTo>
                    <a:lnTo>
                      <a:pt x="91" y="231"/>
                    </a:lnTo>
                    <a:lnTo>
                      <a:pt x="91" y="233"/>
                    </a:lnTo>
                    <a:lnTo>
                      <a:pt x="91" y="231"/>
                    </a:lnTo>
                    <a:lnTo>
                      <a:pt x="91" y="229"/>
                    </a:lnTo>
                    <a:lnTo>
                      <a:pt x="91" y="231"/>
                    </a:lnTo>
                    <a:lnTo>
                      <a:pt x="91" y="229"/>
                    </a:lnTo>
                    <a:lnTo>
                      <a:pt x="91" y="227"/>
                    </a:lnTo>
                    <a:lnTo>
                      <a:pt x="91" y="225"/>
                    </a:lnTo>
                    <a:lnTo>
                      <a:pt x="89" y="223"/>
                    </a:lnTo>
                    <a:lnTo>
                      <a:pt x="91" y="223"/>
                    </a:lnTo>
                    <a:lnTo>
                      <a:pt x="91" y="221"/>
                    </a:lnTo>
                    <a:lnTo>
                      <a:pt x="89" y="221"/>
                    </a:lnTo>
                    <a:lnTo>
                      <a:pt x="89" y="219"/>
                    </a:lnTo>
                    <a:lnTo>
                      <a:pt x="87" y="219"/>
                    </a:lnTo>
                    <a:lnTo>
                      <a:pt x="89" y="219"/>
                    </a:lnTo>
                    <a:lnTo>
                      <a:pt x="87" y="219"/>
                    </a:lnTo>
                    <a:lnTo>
                      <a:pt x="87" y="217"/>
                    </a:lnTo>
                    <a:lnTo>
                      <a:pt x="85" y="217"/>
                    </a:lnTo>
                    <a:lnTo>
                      <a:pt x="85" y="215"/>
                    </a:lnTo>
                    <a:lnTo>
                      <a:pt x="85" y="217"/>
                    </a:lnTo>
                    <a:lnTo>
                      <a:pt x="85" y="215"/>
                    </a:lnTo>
                    <a:lnTo>
                      <a:pt x="83" y="215"/>
                    </a:lnTo>
                    <a:lnTo>
                      <a:pt x="85" y="215"/>
                    </a:lnTo>
                    <a:lnTo>
                      <a:pt x="83" y="215"/>
                    </a:lnTo>
                    <a:lnTo>
                      <a:pt x="83" y="214"/>
                    </a:lnTo>
                    <a:lnTo>
                      <a:pt x="83" y="215"/>
                    </a:lnTo>
                    <a:lnTo>
                      <a:pt x="83" y="214"/>
                    </a:lnTo>
                    <a:lnTo>
                      <a:pt x="81" y="214"/>
                    </a:lnTo>
                    <a:lnTo>
                      <a:pt x="81" y="212"/>
                    </a:lnTo>
                    <a:lnTo>
                      <a:pt x="79" y="212"/>
                    </a:lnTo>
                    <a:lnTo>
                      <a:pt x="81" y="212"/>
                    </a:lnTo>
                    <a:lnTo>
                      <a:pt x="79" y="212"/>
                    </a:lnTo>
                    <a:lnTo>
                      <a:pt x="79" y="210"/>
                    </a:lnTo>
                    <a:lnTo>
                      <a:pt x="81" y="210"/>
                    </a:lnTo>
                    <a:lnTo>
                      <a:pt x="79" y="210"/>
                    </a:lnTo>
                    <a:lnTo>
                      <a:pt x="81" y="210"/>
                    </a:lnTo>
                    <a:lnTo>
                      <a:pt x="79" y="210"/>
                    </a:lnTo>
                    <a:lnTo>
                      <a:pt x="79" y="208"/>
                    </a:lnTo>
                    <a:lnTo>
                      <a:pt x="79" y="210"/>
                    </a:lnTo>
                    <a:lnTo>
                      <a:pt x="79" y="208"/>
                    </a:lnTo>
                    <a:lnTo>
                      <a:pt x="81" y="208"/>
                    </a:lnTo>
                    <a:lnTo>
                      <a:pt x="79" y="208"/>
                    </a:lnTo>
                    <a:lnTo>
                      <a:pt x="79" y="206"/>
                    </a:lnTo>
                    <a:lnTo>
                      <a:pt x="79" y="204"/>
                    </a:lnTo>
                    <a:lnTo>
                      <a:pt x="81" y="204"/>
                    </a:lnTo>
                    <a:lnTo>
                      <a:pt x="81" y="206"/>
                    </a:lnTo>
                    <a:lnTo>
                      <a:pt x="81" y="204"/>
                    </a:lnTo>
                    <a:lnTo>
                      <a:pt x="81" y="202"/>
                    </a:lnTo>
                    <a:lnTo>
                      <a:pt x="81" y="204"/>
                    </a:lnTo>
                    <a:lnTo>
                      <a:pt x="81" y="202"/>
                    </a:lnTo>
                    <a:lnTo>
                      <a:pt x="81" y="204"/>
                    </a:lnTo>
                    <a:lnTo>
                      <a:pt x="81" y="202"/>
                    </a:lnTo>
                    <a:lnTo>
                      <a:pt x="81" y="204"/>
                    </a:lnTo>
                    <a:lnTo>
                      <a:pt x="81" y="202"/>
                    </a:lnTo>
                    <a:lnTo>
                      <a:pt x="83" y="202"/>
                    </a:lnTo>
                    <a:lnTo>
                      <a:pt x="83" y="200"/>
                    </a:lnTo>
                    <a:lnTo>
                      <a:pt x="83" y="202"/>
                    </a:lnTo>
                    <a:lnTo>
                      <a:pt x="83" y="200"/>
                    </a:lnTo>
                    <a:lnTo>
                      <a:pt x="81" y="200"/>
                    </a:lnTo>
                    <a:lnTo>
                      <a:pt x="81" y="198"/>
                    </a:lnTo>
                    <a:lnTo>
                      <a:pt x="83" y="198"/>
                    </a:lnTo>
                    <a:lnTo>
                      <a:pt x="81" y="198"/>
                    </a:lnTo>
                    <a:lnTo>
                      <a:pt x="81" y="196"/>
                    </a:lnTo>
                    <a:lnTo>
                      <a:pt x="79" y="196"/>
                    </a:lnTo>
                    <a:lnTo>
                      <a:pt x="79" y="194"/>
                    </a:lnTo>
                    <a:lnTo>
                      <a:pt x="79" y="196"/>
                    </a:lnTo>
                    <a:lnTo>
                      <a:pt x="79" y="194"/>
                    </a:lnTo>
                    <a:lnTo>
                      <a:pt x="77" y="194"/>
                    </a:lnTo>
                    <a:lnTo>
                      <a:pt x="79" y="194"/>
                    </a:lnTo>
                    <a:lnTo>
                      <a:pt x="79" y="192"/>
                    </a:lnTo>
                    <a:lnTo>
                      <a:pt x="77" y="190"/>
                    </a:lnTo>
                    <a:lnTo>
                      <a:pt x="77" y="189"/>
                    </a:lnTo>
                    <a:lnTo>
                      <a:pt x="75" y="189"/>
                    </a:lnTo>
                    <a:lnTo>
                      <a:pt x="73" y="190"/>
                    </a:lnTo>
                    <a:lnTo>
                      <a:pt x="73" y="189"/>
                    </a:lnTo>
                    <a:lnTo>
                      <a:pt x="73" y="187"/>
                    </a:lnTo>
                    <a:lnTo>
                      <a:pt x="71" y="187"/>
                    </a:lnTo>
                    <a:lnTo>
                      <a:pt x="73" y="187"/>
                    </a:lnTo>
                    <a:lnTo>
                      <a:pt x="73" y="185"/>
                    </a:lnTo>
                    <a:lnTo>
                      <a:pt x="71" y="185"/>
                    </a:lnTo>
                    <a:lnTo>
                      <a:pt x="71" y="187"/>
                    </a:lnTo>
                    <a:lnTo>
                      <a:pt x="71" y="185"/>
                    </a:lnTo>
                    <a:lnTo>
                      <a:pt x="70" y="185"/>
                    </a:lnTo>
                    <a:lnTo>
                      <a:pt x="70" y="187"/>
                    </a:lnTo>
                    <a:lnTo>
                      <a:pt x="71" y="187"/>
                    </a:lnTo>
                    <a:lnTo>
                      <a:pt x="70" y="189"/>
                    </a:lnTo>
                    <a:lnTo>
                      <a:pt x="70" y="187"/>
                    </a:lnTo>
                    <a:lnTo>
                      <a:pt x="68" y="187"/>
                    </a:lnTo>
                    <a:lnTo>
                      <a:pt x="68" y="185"/>
                    </a:lnTo>
                    <a:lnTo>
                      <a:pt x="68" y="187"/>
                    </a:lnTo>
                    <a:lnTo>
                      <a:pt x="66" y="187"/>
                    </a:lnTo>
                    <a:lnTo>
                      <a:pt x="64" y="187"/>
                    </a:lnTo>
                    <a:lnTo>
                      <a:pt x="64" y="185"/>
                    </a:lnTo>
                    <a:lnTo>
                      <a:pt x="64" y="187"/>
                    </a:lnTo>
                    <a:lnTo>
                      <a:pt x="64" y="185"/>
                    </a:lnTo>
                    <a:lnTo>
                      <a:pt x="62" y="185"/>
                    </a:lnTo>
                    <a:lnTo>
                      <a:pt x="62" y="187"/>
                    </a:lnTo>
                    <a:lnTo>
                      <a:pt x="64" y="187"/>
                    </a:lnTo>
                    <a:lnTo>
                      <a:pt x="62" y="187"/>
                    </a:lnTo>
                    <a:lnTo>
                      <a:pt x="62" y="185"/>
                    </a:lnTo>
                    <a:lnTo>
                      <a:pt x="62" y="183"/>
                    </a:lnTo>
                    <a:lnTo>
                      <a:pt x="62" y="185"/>
                    </a:lnTo>
                    <a:lnTo>
                      <a:pt x="62" y="183"/>
                    </a:lnTo>
                    <a:lnTo>
                      <a:pt x="60" y="185"/>
                    </a:lnTo>
                    <a:lnTo>
                      <a:pt x="60" y="183"/>
                    </a:lnTo>
                    <a:lnTo>
                      <a:pt x="62" y="183"/>
                    </a:lnTo>
                    <a:lnTo>
                      <a:pt x="60" y="183"/>
                    </a:lnTo>
                    <a:lnTo>
                      <a:pt x="60" y="181"/>
                    </a:lnTo>
                    <a:lnTo>
                      <a:pt x="60" y="183"/>
                    </a:lnTo>
                    <a:lnTo>
                      <a:pt x="60" y="181"/>
                    </a:lnTo>
                    <a:lnTo>
                      <a:pt x="60" y="183"/>
                    </a:lnTo>
                    <a:lnTo>
                      <a:pt x="58" y="183"/>
                    </a:lnTo>
                    <a:lnTo>
                      <a:pt x="60" y="181"/>
                    </a:lnTo>
                    <a:lnTo>
                      <a:pt x="58" y="181"/>
                    </a:lnTo>
                    <a:lnTo>
                      <a:pt x="58" y="179"/>
                    </a:lnTo>
                    <a:lnTo>
                      <a:pt x="58" y="181"/>
                    </a:lnTo>
                    <a:lnTo>
                      <a:pt x="56" y="181"/>
                    </a:lnTo>
                    <a:lnTo>
                      <a:pt x="54" y="181"/>
                    </a:lnTo>
                    <a:lnTo>
                      <a:pt x="54" y="183"/>
                    </a:lnTo>
                    <a:lnTo>
                      <a:pt x="54" y="181"/>
                    </a:lnTo>
                    <a:lnTo>
                      <a:pt x="52" y="181"/>
                    </a:lnTo>
                    <a:lnTo>
                      <a:pt x="50" y="181"/>
                    </a:lnTo>
                    <a:lnTo>
                      <a:pt x="50" y="179"/>
                    </a:lnTo>
                    <a:lnTo>
                      <a:pt x="50" y="181"/>
                    </a:lnTo>
                    <a:lnTo>
                      <a:pt x="48" y="181"/>
                    </a:lnTo>
                    <a:lnTo>
                      <a:pt x="48" y="179"/>
                    </a:lnTo>
                    <a:lnTo>
                      <a:pt x="50" y="179"/>
                    </a:lnTo>
                    <a:lnTo>
                      <a:pt x="50" y="177"/>
                    </a:lnTo>
                    <a:lnTo>
                      <a:pt x="48" y="177"/>
                    </a:lnTo>
                    <a:lnTo>
                      <a:pt x="50" y="177"/>
                    </a:lnTo>
                    <a:lnTo>
                      <a:pt x="50" y="175"/>
                    </a:lnTo>
                    <a:lnTo>
                      <a:pt x="50" y="173"/>
                    </a:lnTo>
                    <a:lnTo>
                      <a:pt x="50" y="171"/>
                    </a:lnTo>
                    <a:lnTo>
                      <a:pt x="50" y="169"/>
                    </a:lnTo>
                    <a:lnTo>
                      <a:pt x="50" y="167"/>
                    </a:lnTo>
                    <a:lnTo>
                      <a:pt x="50" y="164"/>
                    </a:lnTo>
                    <a:lnTo>
                      <a:pt x="50" y="162"/>
                    </a:lnTo>
                    <a:lnTo>
                      <a:pt x="52" y="162"/>
                    </a:lnTo>
                    <a:lnTo>
                      <a:pt x="52" y="158"/>
                    </a:lnTo>
                    <a:lnTo>
                      <a:pt x="50" y="158"/>
                    </a:lnTo>
                    <a:lnTo>
                      <a:pt x="50" y="160"/>
                    </a:lnTo>
                    <a:lnTo>
                      <a:pt x="47" y="160"/>
                    </a:lnTo>
                    <a:lnTo>
                      <a:pt x="47" y="158"/>
                    </a:lnTo>
                    <a:lnTo>
                      <a:pt x="45" y="158"/>
                    </a:lnTo>
                    <a:lnTo>
                      <a:pt x="45" y="160"/>
                    </a:lnTo>
                    <a:lnTo>
                      <a:pt x="43" y="160"/>
                    </a:lnTo>
                    <a:lnTo>
                      <a:pt x="41" y="162"/>
                    </a:lnTo>
                    <a:lnTo>
                      <a:pt x="41" y="160"/>
                    </a:lnTo>
                    <a:lnTo>
                      <a:pt x="39" y="160"/>
                    </a:lnTo>
                    <a:lnTo>
                      <a:pt x="37" y="160"/>
                    </a:lnTo>
                    <a:lnTo>
                      <a:pt x="39" y="158"/>
                    </a:lnTo>
                    <a:lnTo>
                      <a:pt x="35" y="156"/>
                    </a:lnTo>
                    <a:lnTo>
                      <a:pt x="35" y="158"/>
                    </a:lnTo>
                    <a:lnTo>
                      <a:pt x="33" y="156"/>
                    </a:lnTo>
                    <a:lnTo>
                      <a:pt x="33" y="158"/>
                    </a:lnTo>
                    <a:lnTo>
                      <a:pt x="31" y="158"/>
                    </a:lnTo>
                    <a:lnTo>
                      <a:pt x="31" y="160"/>
                    </a:lnTo>
                    <a:lnTo>
                      <a:pt x="29" y="160"/>
                    </a:lnTo>
                    <a:lnTo>
                      <a:pt x="29" y="162"/>
                    </a:lnTo>
                    <a:lnTo>
                      <a:pt x="27" y="162"/>
                    </a:lnTo>
                    <a:lnTo>
                      <a:pt x="27" y="167"/>
                    </a:lnTo>
                    <a:lnTo>
                      <a:pt x="23" y="167"/>
                    </a:lnTo>
                    <a:lnTo>
                      <a:pt x="20" y="167"/>
                    </a:lnTo>
                    <a:lnTo>
                      <a:pt x="20" y="165"/>
                    </a:lnTo>
                    <a:lnTo>
                      <a:pt x="22" y="164"/>
                    </a:lnTo>
                    <a:lnTo>
                      <a:pt x="22" y="162"/>
                    </a:lnTo>
                    <a:lnTo>
                      <a:pt x="22" y="160"/>
                    </a:lnTo>
                    <a:lnTo>
                      <a:pt x="20" y="160"/>
                    </a:lnTo>
                    <a:lnTo>
                      <a:pt x="20" y="162"/>
                    </a:lnTo>
                    <a:lnTo>
                      <a:pt x="16" y="162"/>
                    </a:lnTo>
                    <a:lnTo>
                      <a:pt x="14" y="162"/>
                    </a:lnTo>
                    <a:lnTo>
                      <a:pt x="12" y="162"/>
                    </a:lnTo>
                    <a:lnTo>
                      <a:pt x="10" y="160"/>
                    </a:lnTo>
                    <a:lnTo>
                      <a:pt x="10" y="158"/>
                    </a:lnTo>
                    <a:lnTo>
                      <a:pt x="8" y="156"/>
                    </a:lnTo>
                    <a:lnTo>
                      <a:pt x="10" y="156"/>
                    </a:lnTo>
                    <a:lnTo>
                      <a:pt x="10" y="154"/>
                    </a:lnTo>
                    <a:lnTo>
                      <a:pt x="14" y="156"/>
                    </a:lnTo>
                    <a:lnTo>
                      <a:pt x="16" y="152"/>
                    </a:lnTo>
                    <a:lnTo>
                      <a:pt x="14" y="150"/>
                    </a:lnTo>
                    <a:lnTo>
                      <a:pt x="14" y="148"/>
                    </a:lnTo>
                    <a:lnTo>
                      <a:pt x="14" y="146"/>
                    </a:lnTo>
                    <a:lnTo>
                      <a:pt x="12" y="146"/>
                    </a:lnTo>
                    <a:lnTo>
                      <a:pt x="10" y="146"/>
                    </a:lnTo>
                    <a:lnTo>
                      <a:pt x="12" y="146"/>
                    </a:lnTo>
                    <a:lnTo>
                      <a:pt x="10" y="146"/>
                    </a:lnTo>
                    <a:lnTo>
                      <a:pt x="10" y="144"/>
                    </a:lnTo>
                    <a:lnTo>
                      <a:pt x="10" y="146"/>
                    </a:lnTo>
                    <a:lnTo>
                      <a:pt x="10" y="144"/>
                    </a:lnTo>
                    <a:lnTo>
                      <a:pt x="8" y="144"/>
                    </a:lnTo>
                    <a:lnTo>
                      <a:pt x="6" y="144"/>
                    </a:lnTo>
                    <a:lnTo>
                      <a:pt x="6" y="142"/>
                    </a:lnTo>
                    <a:lnTo>
                      <a:pt x="6" y="144"/>
                    </a:lnTo>
                    <a:lnTo>
                      <a:pt x="6" y="142"/>
                    </a:lnTo>
                    <a:lnTo>
                      <a:pt x="6" y="144"/>
                    </a:lnTo>
                    <a:lnTo>
                      <a:pt x="6" y="142"/>
                    </a:lnTo>
                    <a:lnTo>
                      <a:pt x="4" y="144"/>
                    </a:lnTo>
                    <a:lnTo>
                      <a:pt x="4" y="142"/>
                    </a:lnTo>
                    <a:lnTo>
                      <a:pt x="6" y="142"/>
                    </a:lnTo>
                    <a:lnTo>
                      <a:pt x="4" y="142"/>
                    </a:lnTo>
                    <a:lnTo>
                      <a:pt x="2" y="142"/>
                    </a:lnTo>
                    <a:lnTo>
                      <a:pt x="2" y="140"/>
                    </a:lnTo>
                    <a:lnTo>
                      <a:pt x="4" y="137"/>
                    </a:lnTo>
                    <a:lnTo>
                      <a:pt x="0" y="133"/>
                    </a:lnTo>
                    <a:lnTo>
                      <a:pt x="8" y="131"/>
                    </a:lnTo>
                    <a:lnTo>
                      <a:pt x="12" y="129"/>
                    </a:lnTo>
                    <a:lnTo>
                      <a:pt x="14" y="129"/>
                    </a:lnTo>
                    <a:lnTo>
                      <a:pt x="16" y="129"/>
                    </a:lnTo>
                    <a:lnTo>
                      <a:pt x="18" y="129"/>
                    </a:lnTo>
                    <a:lnTo>
                      <a:pt x="20" y="127"/>
                    </a:lnTo>
                    <a:lnTo>
                      <a:pt x="20" y="125"/>
                    </a:lnTo>
                    <a:lnTo>
                      <a:pt x="22" y="127"/>
                    </a:lnTo>
                    <a:lnTo>
                      <a:pt x="23" y="125"/>
                    </a:lnTo>
                    <a:lnTo>
                      <a:pt x="29" y="125"/>
                    </a:lnTo>
                    <a:lnTo>
                      <a:pt x="29" y="123"/>
                    </a:lnTo>
                    <a:lnTo>
                      <a:pt x="31" y="123"/>
                    </a:lnTo>
                    <a:lnTo>
                      <a:pt x="33" y="121"/>
                    </a:lnTo>
                    <a:lnTo>
                      <a:pt x="33" y="119"/>
                    </a:lnTo>
                    <a:lnTo>
                      <a:pt x="35" y="119"/>
                    </a:lnTo>
                    <a:lnTo>
                      <a:pt x="37" y="115"/>
                    </a:lnTo>
                    <a:lnTo>
                      <a:pt x="35" y="114"/>
                    </a:lnTo>
                    <a:lnTo>
                      <a:pt x="35" y="112"/>
                    </a:lnTo>
                    <a:lnTo>
                      <a:pt x="37" y="112"/>
                    </a:lnTo>
                    <a:lnTo>
                      <a:pt x="37" y="110"/>
                    </a:lnTo>
                    <a:lnTo>
                      <a:pt x="37" y="108"/>
                    </a:lnTo>
                    <a:lnTo>
                      <a:pt x="39" y="108"/>
                    </a:lnTo>
                    <a:lnTo>
                      <a:pt x="39" y="106"/>
                    </a:lnTo>
                    <a:lnTo>
                      <a:pt x="41" y="106"/>
                    </a:lnTo>
                    <a:lnTo>
                      <a:pt x="41" y="108"/>
                    </a:lnTo>
                    <a:lnTo>
                      <a:pt x="41" y="106"/>
                    </a:lnTo>
                    <a:lnTo>
                      <a:pt x="43" y="106"/>
                    </a:lnTo>
                    <a:lnTo>
                      <a:pt x="43" y="104"/>
                    </a:lnTo>
                    <a:lnTo>
                      <a:pt x="45" y="104"/>
                    </a:lnTo>
                    <a:lnTo>
                      <a:pt x="47" y="102"/>
                    </a:lnTo>
                    <a:lnTo>
                      <a:pt x="47" y="100"/>
                    </a:lnTo>
                    <a:lnTo>
                      <a:pt x="47" y="98"/>
                    </a:lnTo>
                    <a:lnTo>
                      <a:pt x="45" y="98"/>
                    </a:lnTo>
                    <a:lnTo>
                      <a:pt x="47" y="94"/>
                    </a:lnTo>
                    <a:lnTo>
                      <a:pt x="48" y="94"/>
                    </a:lnTo>
                    <a:lnTo>
                      <a:pt x="48" y="96"/>
                    </a:lnTo>
                    <a:lnTo>
                      <a:pt x="48" y="94"/>
                    </a:lnTo>
                    <a:lnTo>
                      <a:pt x="48" y="92"/>
                    </a:lnTo>
                    <a:lnTo>
                      <a:pt x="48" y="90"/>
                    </a:lnTo>
                    <a:lnTo>
                      <a:pt x="50" y="90"/>
                    </a:lnTo>
                    <a:lnTo>
                      <a:pt x="52" y="89"/>
                    </a:lnTo>
                    <a:lnTo>
                      <a:pt x="54" y="90"/>
                    </a:lnTo>
                    <a:lnTo>
                      <a:pt x="54" y="92"/>
                    </a:lnTo>
                    <a:lnTo>
                      <a:pt x="56" y="92"/>
                    </a:lnTo>
                    <a:lnTo>
                      <a:pt x="58" y="92"/>
                    </a:lnTo>
                    <a:lnTo>
                      <a:pt x="62" y="89"/>
                    </a:lnTo>
                    <a:lnTo>
                      <a:pt x="64" y="85"/>
                    </a:lnTo>
                    <a:lnTo>
                      <a:pt x="62" y="83"/>
                    </a:lnTo>
                    <a:lnTo>
                      <a:pt x="64" y="79"/>
                    </a:lnTo>
                    <a:lnTo>
                      <a:pt x="66" y="81"/>
                    </a:lnTo>
                    <a:lnTo>
                      <a:pt x="68" y="81"/>
                    </a:lnTo>
                    <a:lnTo>
                      <a:pt x="70" y="79"/>
                    </a:lnTo>
                    <a:lnTo>
                      <a:pt x="71" y="77"/>
                    </a:lnTo>
                    <a:lnTo>
                      <a:pt x="73" y="77"/>
                    </a:lnTo>
                    <a:lnTo>
                      <a:pt x="75" y="79"/>
                    </a:lnTo>
                    <a:lnTo>
                      <a:pt x="81" y="71"/>
                    </a:lnTo>
                    <a:lnTo>
                      <a:pt x="85" y="73"/>
                    </a:lnTo>
                    <a:lnTo>
                      <a:pt x="85" y="71"/>
                    </a:lnTo>
                    <a:lnTo>
                      <a:pt x="85" y="69"/>
                    </a:lnTo>
                    <a:lnTo>
                      <a:pt x="83" y="69"/>
                    </a:lnTo>
                    <a:lnTo>
                      <a:pt x="83" y="67"/>
                    </a:lnTo>
                    <a:lnTo>
                      <a:pt x="85" y="67"/>
                    </a:lnTo>
                    <a:lnTo>
                      <a:pt x="87" y="65"/>
                    </a:lnTo>
                    <a:lnTo>
                      <a:pt x="87" y="64"/>
                    </a:lnTo>
                    <a:lnTo>
                      <a:pt x="89" y="64"/>
                    </a:lnTo>
                    <a:lnTo>
                      <a:pt x="91" y="60"/>
                    </a:lnTo>
                    <a:lnTo>
                      <a:pt x="89" y="60"/>
                    </a:lnTo>
                    <a:lnTo>
                      <a:pt x="91" y="60"/>
                    </a:lnTo>
                    <a:lnTo>
                      <a:pt x="93" y="58"/>
                    </a:lnTo>
                    <a:lnTo>
                      <a:pt x="91" y="58"/>
                    </a:lnTo>
                    <a:lnTo>
                      <a:pt x="95" y="56"/>
                    </a:lnTo>
                    <a:lnTo>
                      <a:pt x="93" y="54"/>
                    </a:lnTo>
                    <a:lnTo>
                      <a:pt x="93" y="52"/>
                    </a:lnTo>
                    <a:lnTo>
                      <a:pt x="95" y="52"/>
                    </a:lnTo>
                    <a:lnTo>
                      <a:pt x="95" y="50"/>
                    </a:lnTo>
                    <a:lnTo>
                      <a:pt x="93" y="50"/>
                    </a:lnTo>
                    <a:lnTo>
                      <a:pt x="93" y="48"/>
                    </a:lnTo>
                    <a:lnTo>
                      <a:pt x="95" y="46"/>
                    </a:lnTo>
                    <a:lnTo>
                      <a:pt x="93" y="46"/>
                    </a:lnTo>
                    <a:lnTo>
                      <a:pt x="93" y="44"/>
                    </a:lnTo>
                    <a:lnTo>
                      <a:pt x="95" y="44"/>
                    </a:lnTo>
                    <a:lnTo>
                      <a:pt x="95" y="42"/>
                    </a:lnTo>
                    <a:lnTo>
                      <a:pt x="96" y="42"/>
                    </a:lnTo>
                    <a:lnTo>
                      <a:pt x="98" y="44"/>
                    </a:lnTo>
                    <a:lnTo>
                      <a:pt x="100" y="42"/>
                    </a:lnTo>
                    <a:lnTo>
                      <a:pt x="102" y="40"/>
                    </a:lnTo>
                    <a:lnTo>
                      <a:pt x="102" y="39"/>
                    </a:lnTo>
                    <a:lnTo>
                      <a:pt x="104" y="39"/>
                    </a:lnTo>
                    <a:lnTo>
                      <a:pt x="104" y="37"/>
                    </a:lnTo>
                    <a:lnTo>
                      <a:pt x="106" y="37"/>
                    </a:lnTo>
                    <a:lnTo>
                      <a:pt x="106" y="35"/>
                    </a:lnTo>
                    <a:lnTo>
                      <a:pt x="106" y="33"/>
                    </a:lnTo>
                    <a:lnTo>
                      <a:pt x="108" y="33"/>
                    </a:lnTo>
                    <a:lnTo>
                      <a:pt x="110" y="31"/>
                    </a:lnTo>
                    <a:lnTo>
                      <a:pt x="114" y="25"/>
                    </a:lnTo>
                    <a:lnTo>
                      <a:pt x="116" y="25"/>
                    </a:lnTo>
                    <a:lnTo>
                      <a:pt x="116" y="23"/>
                    </a:lnTo>
                    <a:lnTo>
                      <a:pt x="118" y="23"/>
                    </a:lnTo>
                    <a:lnTo>
                      <a:pt x="118" y="21"/>
                    </a:lnTo>
                    <a:lnTo>
                      <a:pt x="116" y="21"/>
                    </a:lnTo>
                    <a:lnTo>
                      <a:pt x="116" y="19"/>
                    </a:lnTo>
                    <a:lnTo>
                      <a:pt x="120" y="17"/>
                    </a:lnTo>
                    <a:lnTo>
                      <a:pt x="121" y="17"/>
                    </a:lnTo>
                    <a:lnTo>
                      <a:pt x="123" y="17"/>
                    </a:lnTo>
                    <a:lnTo>
                      <a:pt x="123" y="15"/>
                    </a:lnTo>
                    <a:lnTo>
                      <a:pt x="123" y="14"/>
                    </a:lnTo>
                    <a:lnTo>
                      <a:pt x="121" y="14"/>
                    </a:lnTo>
                    <a:lnTo>
                      <a:pt x="121" y="12"/>
                    </a:lnTo>
                    <a:lnTo>
                      <a:pt x="121" y="10"/>
                    </a:lnTo>
                    <a:lnTo>
                      <a:pt x="120" y="10"/>
                    </a:lnTo>
                    <a:lnTo>
                      <a:pt x="120" y="12"/>
                    </a:lnTo>
                    <a:lnTo>
                      <a:pt x="120" y="10"/>
                    </a:lnTo>
                    <a:lnTo>
                      <a:pt x="120" y="8"/>
                    </a:lnTo>
                    <a:lnTo>
                      <a:pt x="121" y="6"/>
                    </a:lnTo>
                    <a:lnTo>
                      <a:pt x="123" y="4"/>
                    </a:lnTo>
                    <a:lnTo>
                      <a:pt x="125" y="4"/>
                    </a:lnTo>
                    <a:lnTo>
                      <a:pt x="123" y="0"/>
                    </a:lnTo>
                    <a:lnTo>
                      <a:pt x="125" y="0"/>
                    </a:lnTo>
                    <a:lnTo>
                      <a:pt x="127" y="0"/>
                    </a:lnTo>
                    <a:lnTo>
                      <a:pt x="129" y="0"/>
                    </a:lnTo>
                    <a:lnTo>
                      <a:pt x="129" y="2"/>
                    </a:lnTo>
                    <a:lnTo>
                      <a:pt x="131" y="2"/>
                    </a:lnTo>
                    <a:lnTo>
                      <a:pt x="133" y="0"/>
                    </a:lnTo>
                    <a:lnTo>
                      <a:pt x="135" y="0"/>
                    </a:lnTo>
                    <a:lnTo>
                      <a:pt x="135" y="2"/>
                    </a:lnTo>
                    <a:lnTo>
                      <a:pt x="137" y="0"/>
                    </a:lnTo>
                    <a:lnTo>
                      <a:pt x="137" y="2"/>
                    </a:lnTo>
                    <a:lnTo>
                      <a:pt x="139" y="2"/>
                    </a:lnTo>
                    <a:lnTo>
                      <a:pt x="141" y="4"/>
                    </a:lnTo>
                    <a:lnTo>
                      <a:pt x="141" y="6"/>
                    </a:lnTo>
                    <a:lnTo>
                      <a:pt x="143" y="6"/>
                    </a:lnTo>
                    <a:lnTo>
                      <a:pt x="143" y="8"/>
                    </a:lnTo>
                    <a:lnTo>
                      <a:pt x="141" y="8"/>
                    </a:lnTo>
                    <a:lnTo>
                      <a:pt x="141" y="10"/>
                    </a:lnTo>
                    <a:lnTo>
                      <a:pt x="143" y="10"/>
                    </a:lnTo>
                    <a:lnTo>
                      <a:pt x="144" y="10"/>
                    </a:lnTo>
                    <a:lnTo>
                      <a:pt x="146" y="10"/>
                    </a:lnTo>
                    <a:lnTo>
                      <a:pt x="146" y="8"/>
                    </a:lnTo>
                    <a:lnTo>
                      <a:pt x="148" y="6"/>
                    </a:lnTo>
                    <a:lnTo>
                      <a:pt x="148" y="8"/>
                    </a:lnTo>
                    <a:lnTo>
                      <a:pt x="148" y="10"/>
                    </a:lnTo>
                    <a:lnTo>
                      <a:pt x="148" y="12"/>
                    </a:lnTo>
                    <a:lnTo>
                      <a:pt x="150" y="12"/>
                    </a:lnTo>
                    <a:lnTo>
                      <a:pt x="148" y="12"/>
                    </a:lnTo>
                    <a:lnTo>
                      <a:pt x="148" y="14"/>
                    </a:lnTo>
                    <a:lnTo>
                      <a:pt x="146" y="14"/>
                    </a:lnTo>
                    <a:lnTo>
                      <a:pt x="144" y="14"/>
                    </a:lnTo>
                    <a:lnTo>
                      <a:pt x="144" y="15"/>
                    </a:lnTo>
                    <a:lnTo>
                      <a:pt x="144" y="14"/>
                    </a:lnTo>
                    <a:lnTo>
                      <a:pt x="143" y="14"/>
                    </a:lnTo>
                    <a:lnTo>
                      <a:pt x="144" y="14"/>
                    </a:lnTo>
                    <a:lnTo>
                      <a:pt x="143" y="14"/>
                    </a:lnTo>
                    <a:lnTo>
                      <a:pt x="143" y="12"/>
                    </a:lnTo>
                    <a:lnTo>
                      <a:pt x="141" y="14"/>
                    </a:lnTo>
                    <a:lnTo>
                      <a:pt x="143" y="14"/>
                    </a:lnTo>
                    <a:lnTo>
                      <a:pt x="141" y="14"/>
                    </a:lnTo>
                    <a:lnTo>
                      <a:pt x="141" y="15"/>
                    </a:lnTo>
                    <a:lnTo>
                      <a:pt x="141" y="17"/>
                    </a:lnTo>
                    <a:lnTo>
                      <a:pt x="143" y="17"/>
                    </a:lnTo>
                    <a:lnTo>
                      <a:pt x="143" y="19"/>
                    </a:lnTo>
                    <a:lnTo>
                      <a:pt x="143" y="21"/>
                    </a:lnTo>
                    <a:lnTo>
                      <a:pt x="143" y="23"/>
                    </a:lnTo>
                    <a:lnTo>
                      <a:pt x="141" y="23"/>
                    </a:lnTo>
                    <a:lnTo>
                      <a:pt x="141" y="25"/>
                    </a:lnTo>
                    <a:lnTo>
                      <a:pt x="143" y="23"/>
                    </a:lnTo>
                    <a:lnTo>
                      <a:pt x="143" y="25"/>
                    </a:lnTo>
                    <a:lnTo>
                      <a:pt x="144" y="25"/>
                    </a:lnTo>
                    <a:lnTo>
                      <a:pt x="146" y="25"/>
                    </a:lnTo>
                    <a:lnTo>
                      <a:pt x="146" y="23"/>
                    </a:lnTo>
                    <a:lnTo>
                      <a:pt x="146" y="25"/>
                    </a:lnTo>
                    <a:lnTo>
                      <a:pt x="148" y="27"/>
                    </a:lnTo>
                    <a:lnTo>
                      <a:pt x="146" y="29"/>
                    </a:lnTo>
                    <a:lnTo>
                      <a:pt x="146" y="31"/>
                    </a:lnTo>
                    <a:lnTo>
                      <a:pt x="148" y="33"/>
                    </a:lnTo>
                    <a:lnTo>
                      <a:pt x="146" y="33"/>
                    </a:lnTo>
                    <a:lnTo>
                      <a:pt x="146" y="35"/>
                    </a:lnTo>
                    <a:lnTo>
                      <a:pt x="148" y="35"/>
                    </a:lnTo>
                    <a:lnTo>
                      <a:pt x="148" y="33"/>
                    </a:lnTo>
                    <a:lnTo>
                      <a:pt x="150" y="31"/>
                    </a:lnTo>
                    <a:lnTo>
                      <a:pt x="152" y="31"/>
                    </a:lnTo>
                    <a:lnTo>
                      <a:pt x="154" y="3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78">
                <a:extLst>
                  <a:ext uri="{FF2B5EF4-FFF2-40B4-BE49-F238E27FC236}">
                    <a16:creationId xmlns="" xmlns:a16="http://schemas.microsoft.com/office/drawing/2014/main" id="{5DF90DD9-92F9-4209-A404-2F8A213DA4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5925" y="3619501"/>
                <a:ext cx="180975" cy="207963"/>
              </a:xfrm>
              <a:custGeom>
                <a:avLst/>
                <a:gdLst>
                  <a:gd name="T0" fmla="*/ 81 w 114"/>
                  <a:gd name="T1" fmla="*/ 7 h 131"/>
                  <a:gd name="T2" fmla="*/ 87 w 114"/>
                  <a:gd name="T3" fmla="*/ 15 h 131"/>
                  <a:gd name="T4" fmla="*/ 87 w 114"/>
                  <a:gd name="T5" fmla="*/ 23 h 131"/>
                  <a:gd name="T6" fmla="*/ 89 w 114"/>
                  <a:gd name="T7" fmla="*/ 29 h 131"/>
                  <a:gd name="T8" fmla="*/ 91 w 114"/>
                  <a:gd name="T9" fmla="*/ 31 h 131"/>
                  <a:gd name="T10" fmla="*/ 95 w 114"/>
                  <a:gd name="T11" fmla="*/ 40 h 131"/>
                  <a:gd name="T12" fmla="*/ 97 w 114"/>
                  <a:gd name="T13" fmla="*/ 42 h 131"/>
                  <a:gd name="T14" fmla="*/ 100 w 114"/>
                  <a:gd name="T15" fmla="*/ 44 h 131"/>
                  <a:gd name="T16" fmla="*/ 108 w 114"/>
                  <a:gd name="T17" fmla="*/ 48 h 131"/>
                  <a:gd name="T18" fmla="*/ 112 w 114"/>
                  <a:gd name="T19" fmla="*/ 56 h 131"/>
                  <a:gd name="T20" fmla="*/ 108 w 114"/>
                  <a:gd name="T21" fmla="*/ 65 h 131"/>
                  <a:gd name="T22" fmla="*/ 112 w 114"/>
                  <a:gd name="T23" fmla="*/ 69 h 131"/>
                  <a:gd name="T24" fmla="*/ 110 w 114"/>
                  <a:gd name="T25" fmla="*/ 77 h 131"/>
                  <a:gd name="T26" fmla="*/ 106 w 114"/>
                  <a:gd name="T27" fmla="*/ 82 h 131"/>
                  <a:gd name="T28" fmla="*/ 102 w 114"/>
                  <a:gd name="T29" fmla="*/ 90 h 131"/>
                  <a:gd name="T30" fmla="*/ 98 w 114"/>
                  <a:gd name="T31" fmla="*/ 94 h 131"/>
                  <a:gd name="T32" fmla="*/ 93 w 114"/>
                  <a:gd name="T33" fmla="*/ 96 h 131"/>
                  <a:gd name="T34" fmla="*/ 93 w 114"/>
                  <a:gd name="T35" fmla="*/ 102 h 131"/>
                  <a:gd name="T36" fmla="*/ 91 w 114"/>
                  <a:gd name="T37" fmla="*/ 109 h 131"/>
                  <a:gd name="T38" fmla="*/ 91 w 114"/>
                  <a:gd name="T39" fmla="*/ 117 h 131"/>
                  <a:gd name="T40" fmla="*/ 83 w 114"/>
                  <a:gd name="T41" fmla="*/ 121 h 131"/>
                  <a:gd name="T42" fmla="*/ 75 w 114"/>
                  <a:gd name="T43" fmla="*/ 121 h 131"/>
                  <a:gd name="T44" fmla="*/ 73 w 114"/>
                  <a:gd name="T45" fmla="*/ 127 h 131"/>
                  <a:gd name="T46" fmla="*/ 68 w 114"/>
                  <a:gd name="T47" fmla="*/ 131 h 131"/>
                  <a:gd name="T48" fmla="*/ 60 w 114"/>
                  <a:gd name="T49" fmla="*/ 127 h 131"/>
                  <a:gd name="T50" fmla="*/ 58 w 114"/>
                  <a:gd name="T51" fmla="*/ 121 h 131"/>
                  <a:gd name="T52" fmla="*/ 56 w 114"/>
                  <a:gd name="T53" fmla="*/ 115 h 131"/>
                  <a:gd name="T54" fmla="*/ 52 w 114"/>
                  <a:gd name="T55" fmla="*/ 109 h 131"/>
                  <a:gd name="T56" fmla="*/ 47 w 114"/>
                  <a:gd name="T57" fmla="*/ 104 h 131"/>
                  <a:gd name="T58" fmla="*/ 45 w 114"/>
                  <a:gd name="T59" fmla="*/ 94 h 131"/>
                  <a:gd name="T60" fmla="*/ 43 w 114"/>
                  <a:gd name="T61" fmla="*/ 84 h 131"/>
                  <a:gd name="T62" fmla="*/ 35 w 114"/>
                  <a:gd name="T63" fmla="*/ 81 h 131"/>
                  <a:gd name="T64" fmla="*/ 25 w 114"/>
                  <a:gd name="T65" fmla="*/ 79 h 131"/>
                  <a:gd name="T66" fmla="*/ 18 w 114"/>
                  <a:gd name="T67" fmla="*/ 75 h 131"/>
                  <a:gd name="T68" fmla="*/ 22 w 114"/>
                  <a:gd name="T69" fmla="*/ 67 h 131"/>
                  <a:gd name="T70" fmla="*/ 20 w 114"/>
                  <a:gd name="T71" fmla="*/ 61 h 131"/>
                  <a:gd name="T72" fmla="*/ 16 w 114"/>
                  <a:gd name="T73" fmla="*/ 63 h 131"/>
                  <a:gd name="T74" fmla="*/ 10 w 114"/>
                  <a:gd name="T75" fmla="*/ 57 h 131"/>
                  <a:gd name="T76" fmla="*/ 2 w 114"/>
                  <a:gd name="T77" fmla="*/ 57 h 131"/>
                  <a:gd name="T78" fmla="*/ 0 w 114"/>
                  <a:gd name="T79" fmla="*/ 50 h 131"/>
                  <a:gd name="T80" fmla="*/ 6 w 114"/>
                  <a:gd name="T81" fmla="*/ 46 h 131"/>
                  <a:gd name="T82" fmla="*/ 20 w 114"/>
                  <a:gd name="T83" fmla="*/ 36 h 131"/>
                  <a:gd name="T84" fmla="*/ 18 w 114"/>
                  <a:gd name="T85" fmla="*/ 31 h 131"/>
                  <a:gd name="T86" fmla="*/ 18 w 114"/>
                  <a:gd name="T87" fmla="*/ 25 h 131"/>
                  <a:gd name="T88" fmla="*/ 24 w 114"/>
                  <a:gd name="T89" fmla="*/ 21 h 131"/>
                  <a:gd name="T90" fmla="*/ 27 w 114"/>
                  <a:gd name="T91" fmla="*/ 21 h 131"/>
                  <a:gd name="T92" fmla="*/ 33 w 114"/>
                  <a:gd name="T93" fmla="*/ 23 h 131"/>
                  <a:gd name="T94" fmla="*/ 37 w 114"/>
                  <a:gd name="T95" fmla="*/ 23 h 131"/>
                  <a:gd name="T96" fmla="*/ 41 w 114"/>
                  <a:gd name="T97" fmla="*/ 19 h 131"/>
                  <a:gd name="T98" fmla="*/ 39 w 114"/>
                  <a:gd name="T99" fmla="*/ 15 h 131"/>
                  <a:gd name="T100" fmla="*/ 41 w 114"/>
                  <a:gd name="T101" fmla="*/ 11 h 131"/>
                  <a:gd name="T102" fmla="*/ 43 w 114"/>
                  <a:gd name="T103" fmla="*/ 2 h 131"/>
                  <a:gd name="T104" fmla="*/ 47 w 114"/>
                  <a:gd name="T105" fmla="*/ 7 h 131"/>
                  <a:gd name="T106" fmla="*/ 56 w 114"/>
                  <a:gd name="T107" fmla="*/ 4 h 131"/>
                  <a:gd name="T108" fmla="*/ 64 w 114"/>
                  <a:gd name="T109" fmla="*/ 2 h 131"/>
                  <a:gd name="T110" fmla="*/ 70 w 114"/>
                  <a:gd name="T111" fmla="*/ 6 h 131"/>
                  <a:gd name="T112" fmla="*/ 77 w 114"/>
                  <a:gd name="T113" fmla="*/ 2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14" h="131">
                    <a:moveTo>
                      <a:pt x="81" y="4"/>
                    </a:moveTo>
                    <a:lnTo>
                      <a:pt x="83" y="6"/>
                    </a:lnTo>
                    <a:lnTo>
                      <a:pt x="81" y="6"/>
                    </a:lnTo>
                    <a:lnTo>
                      <a:pt x="79" y="6"/>
                    </a:lnTo>
                    <a:lnTo>
                      <a:pt x="79" y="7"/>
                    </a:lnTo>
                    <a:lnTo>
                      <a:pt x="81" y="7"/>
                    </a:lnTo>
                    <a:lnTo>
                      <a:pt x="81" y="9"/>
                    </a:lnTo>
                    <a:lnTo>
                      <a:pt x="83" y="11"/>
                    </a:lnTo>
                    <a:lnTo>
                      <a:pt x="85" y="11"/>
                    </a:lnTo>
                    <a:lnTo>
                      <a:pt x="85" y="13"/>
                    </a:lnTo>
                    <a:lnTo>
                      <a:pt x="87" y="13"/>
                    </a:lnTo>
                    <a:lnTo>
                      <a:pt x="87" y="15"/>
                    </a:lnTo>
                    <a:lnTo>
                      <a:pt x="85" y="15"/>
                    </a:lnTo>
                    <a:lnTo>
                      <a:pt x="85" y="17"/>
                    </a:lnTo>
                    <a:lnTo>
                      <a:pt x="85" y="19"/>
                    </a:lnTo>
                    <a:lnTo>
                      <a:pt x="85" y="21"/>
                    </a:lnTo>
                    <a:lnTo>
                      <a:pt x="85" y="23"/>
                    </a:lnTo>
                    <a:lnTo>
                      <a:pt x="87" y="23"/>
                    </a:lnTo>
                    <a:lnTo>
                      <a:pt x="85" y="23"/>
                    </a:lnTo>
                    <a:lnTo>
                      <a:pt x="87" y="23"/>
                    </a:lnTo>
                    <a:lnTo>
                      <a:pt x="87" y="25"/>
                    </a:lnTo>
                    <a:lnTo>
                      <a:pt x="87" y="27"/>
                    </a:lnTo>
                    <a:lnTo>
                      <a:pt x="87" y="29"/>
                    </a:lnTo>
                    <a:lnTo>
                      <a:pt x="89" y="29"/>
                    </a:lnTo>
                    <a:lnTo>
                      <a:pt x="91" y="29"/>
                    </a:lnTo>
                    <a:lnTo>
                      <a:pt x="91" y="27"/>
                    </a:lnTo>
                    <a:lnTo>
                      <a:pt x="91" y="29"/>
                    </a:lnTo>
                    <a:lnTo>
                      <a:pt x="93" y="29"/>
                    </a:lnTo>
                    <a:lnTo>
                      <a:pt x="93" y="31"/>
                    </a:lnTo>
                    <a:lnTo>
                      <a:pt x="91" y="31"/>
                    </a:lnTo>
                    <a:lnTo>
                      <a:pt x="91" y="32"/>
                    </a:lnTo>
                    <a:lnTo>
                      <a:pt x="91" y="34"/>
                    </a:lnTo>
                    <a:lnTo>
                      <a:pt x="91" y="36"/>
                    </a:lnTo>
                    <a:lnTo>
                      <a:pt x="91" y="38"/>
                    </a:lnTo>
                    <a:lnTo>
                      <a:pt x="93" y="38"/>
                    </a:lnTo>
                    <a:lnTo>
                      <a:pt x="95" y="40"/>
                    </a:lnTo>
                    <a:lnTo>
                      <a:pt x="93" y="40"/>
                    </a:lnTo>
                    <a:lnTo>
                      <a:pt x="95" y="40"/>
                    </a:lnTo>
                    <a:lnTo>
                      <a:pt x="97" y="40"/>
                    </a:lnTo>
                    <a:lnTo>
                      <a:pt x="97" y="42"/>
                    </a:lnTo>
                    <a:lnTo>
                      <a:pt x="97" y="40"/>
                    </a:lnTo>
                    <a:lnTo>
                      <a:pt x="97" y="42"/>
                    </a:lnTo>
                    <a:lnTo>
                      <a:pt x="98" y="40"/>
                    </a:lnTo>
                    <a:lnTo>
                      <a:pt x="98" y="42"/>
                    </a:lnTo>
                    <a:lnTo>
                      <a:pt x="97" y="42"/>
                    </a:lnTo>
                    <a:lnTo>
                      <a:pt x="97" y="44"/>
                    </a:lnTo>
                    <a:lnTo>
                      <a:pt x="98" y="44"/>
                    </a:lnTo>
                    <a:lnTo>
                      <a:pt x="100" y="44"/>
                    </a:lnTo>
                    <a:lnTo>
                      <a:pt x="100" y="46"/>
                    </a:lnTo>
                    <a:lnTo>
                      <a:pt x="102" y="48"/>
                    </a:lnTo>
                    <a:lnTo>
                      <a:pt x="104" y="48"/>
                    </a:lnTo>
                    <a:lnTo>
                      <a:pt x="108" y="48"/>
                    </a:lnTo>
                    <a:lnTo>
                      <a:pt x="108" y="50"/>
                    </a:lnTo>
                    <a:lnTo>
                      <a:pt x="108" y="48"/>
                    </a:lnTo>
                    <a:lnTo>
                      <a:pt x="110" y="50"/>
                    </a:lnTo>
                    <a:lnTo>
                      <a:pt x="110" y="52"/>
                    </a:lnTo>
                    <a:lnTo>
                      <a:pt x="110" y="54"/>
                    </a:lnTo>
                    <a:lnTo>
                      <a:pt x="112" y="54"/>
                    </a:lnTo>
                    <a:lnTo>
                      <a:pt x="114" y="54"/>
                    </a:lnTo>
                    <a:lnTo>
                      <a:pt x="112" y="56"/>
                    </a:lnTo>
                    <a:lnTo>
                      <a:pt x="112" y="57"/>
                    </a:lnTo>
                    <a:lnTo>
                      <a:pt x="110" y="57"/>
                    </a:lnTo>
                    <a:lnTo>
                      <a:pt x="110" y="59"/>
                    </a:lnTo>
                    <a:lnTo>
                      <a:pt x="108" y="61"/>
                    </a:lnTo>
                    <a:lnTo>
                      <a:pt x="108" y="63"/>
                    </a:lnTo>
                    <a:lnTo>
                      <a:pt x="108" y="65"/>
                    </a:lnTo>
                    <a:lnTo>
                      <a:pt x="110" y="65"/>
                    </a:lnTo>
                    <a:lnTo>
                      <a:pt x="112" y="65"/>
                    </a:lnTo>
                    <a:lnTo>
                      <a:pt x="112" y="67"/>
                    </a:lnTo>
                    <a:lnTo>
                      <a:pt x="112" y="69"/>
                    </a:lnTo>
                    <a:lnTo>
                      <a:pt x="114" y="69"/>
                    </a:lnTo>
                    <a:lnTo>
                      <a:pt x="112" y="69"/>
                    </a:lnTo>
                    <a:lnTo>
                      <a:pt x="112" y="71"/>
                    </a:lnTo>
                    <a:lnTo>
                      <a:pt x="112" y="73"/>
                    </a:lnTo>
                    <a:lnTo>
                      <a:pt x="112" y="75"/>
                    </a:lnTo>
                    <a:lnTo>
                      <a:pt x="110" y="77"/>
                    </a:lnTo>
                    <a:lnTo>
                      <a:pt x="110" y="75"/>
                    </a:lnTo>
                    <a:lnTo>
                      <a:pt x="110" y="77"/>
                    </a:lnTo>
                    <a:lnTo>
                      <a:pt x="108" y="77"/>
                    </a:lnTo>
                    <a:lnTo>
                      <a:pt x="108" y="79"/>
                    </a:lnTo>
                    <a:lnTo>
                      <a:pt x="108" y="81"/>
                    </a:lnTo>
                    <a:lnTo>
                      <a:pt x="106" y="82"/>
                    </a:lnTo>
                    <a:lnTo>
                      <a:pt x="106" y="81"/>
                    </a:lnTo>
                    <a:lnTo>
                      <a:pt x="106" y="82"/>
                    </a:lnTo>
                    <a:lnTo>
                      <a:pt x="104" y="82"/>
                    </a:lnTo>
                    <a:lnTo>
                      <a:pt x="104" y="84"/>
                    </a:lnTo>
                    <a:lnTo>
                      <a:pt x="104" y="86"/>
                    </a:lnTo>
                    <a:lnTo>
                      <a:pt x="104" y="88"/>
                    </a:lnTo>
                    <a:lnTo>
                      <a:pt x="102" y="88"/>
                    </a:lnTo>
                    <a:lnTo>
                      <a:pt x="102" y="90"/>
                    </a:lnTo>
                    <a:lnTo>
                      <a:pt x="100" y="90"/>
                    </a:lnTo>
                    <a:lnTo>
                      <a:pt x="98" y="90"/>
                    </a:lnTo>
                    <a:lnTo>
                      <a:pt x="98" y="92"/>
                    </a:lnTo>
                    <a:lnTo>
                      <a:pt x="97" y="92"/>
                    </a:lnTo>
                    <a:lnTo>
                      <a:pt x="97" y="94"/>
                    </a:lnTo>
                    <a:lnTo>
                      <a:pt x="98" y="94"/>
                    </a:lnTo>
                    <a:lnTo>
                      <a:pt x="97" y="94"/>
                    </a:lnTo>
                    <a:lnTo>
                      <a:pt x="97" y="96"/>
                    </a:lnTo>
                    <a:lnTo>
                      <a:pt x="95" y="96"/>
                    </a:lnTo>
                    <a:lnTo>
                      <a:pt x="95" y="94"/>
                    </a:lnTo>
                    <a:lnTo>
                      <a:pt x="95" y="96"/>
                    </a:lnTo>
                    <a:lnTo>
                      <a:pt x="93" y="96"/>
                    </a:lnTo>
                    <a:lnTo>
                      <a:pt x="93" y="94"/>
                    </a:lnTo>
                    <a:lnTo>
                      <a:pt x="93" y="96"/>
                    </a:lnTo>
                    <a:lnTo>
                      <a:pt x="91" y="96"/>
                    </a:lnTo>
                    <a:lnTo>
                      <a:pt x="93" y="98"/>
                    </a:lnTo>
                    <a:lnTo>
                      <a:pt x="93" y="100"/>
                    </a:lnTo>
                    <a:lnTo>
                      <a:pt x="93" y="102"/>
                    </a:lnTo>
                    <a:lnTo>
                      <a:pt x="91" y="102"/>
                    </a:lnTo>
                    <a:lnTo>
                      <a:pt x="91" y="104"/>
                    </a:lnTo>
                    <a:lnTo>
                      <a:pt x="93" y="106"/>
                    </a:lnTo>
                    <a:lnTo>
                      <a:pt x="93" y="107"/>
                    </a:lnTo>
                    <a:lnTo>
                      <a:pt x="91" y="107"/>
                    </a:lnTo>
                    <a:lnTo>
                      <a:pt x="91" y="109"/>
                    </a:lnTo>
                    <a:lnTo>
                      <a:pt x="91" y="111"/>
                    </a:lnTo>
                    <a:lnTo>
                      <a:pt x="93" y="111"/>
                    </a:lnTo>
                    <a:lnTo>
                      <a:pt x="91" y="113"/>
                    </a:lnTo>
                    <a:lnTo>
                      <a:pt x="91" y="115"/>
                    </a:lnTo>
                    <a:lnTo>
                      <a:pt x="93" y="117"/>
                    </a:lnTo>
                    <a:lnTo>
                      <a:pt x="91" y="117"/>
                    </a:lnTo>
                    <a:lnTo>
                      <a:pt x="91" y="119"/>
                    </a:lnTo>
                    <a:lnTo>
                      <a:pt x="89" y="119"/>
                    </a:lnTo>
                    <a:lnTo>
                      <a:pt x="89" y="121"/>
                    </a:lnTo>
                    <a:lnTo>
                      <a:pt x="87" y="121"/>
                    </a:lnTo>
                    <a:lnTo>
                      <a:pt x="85" y="121"/>
                    </a:lnTo>
                    <a:lnTo>
                      <a:pt x="83" y="121"/>
                    </a:lnTo>
                    <a:lnTo>
                      <a:pt x="83" y="119"/>
                    </a:lnTo>
                    <a:lnTo>
                      <a:pt x="83" y="121"/>
                    </a:lnTo>
                    <a:lnTo>
                      <a:pt x="81" y="121"/>
                    </a:lnTo>
                    <a:lnTo>
                      <a:pt x="79" y="121"/>
                    </a:lnTo>
                    <a:lnTo>
                      <a:pt x="77" y="121"/>
                    </a:lnTo>
                    <a:lnTo>
                      <a:pt x="75" y="121"/>
                    </a:lnTo>
                    <a:lnTo>
                      <a:pt x="75" y="123"/>
                    </a:lnTo>
                    <a:lnTo>
                      <a:pt x="77" y="123"/>
                    </a:lnTo>
                    <a:lnTo>
                      <a:pt x="75" y="123"/>
                    </a:lnTo>
                    <a:lnTo>
                      <a:pt x="75" y="125"/>
                    </a:lnTo>
                    <a:lnTo>
                      <a:pt x="73" y="125"/>
                    </a:lnTo>
                    <a:lnTo>
                      <a:pt x="73" y="127"/>
                    </a:lnTo>
                    <a:lnTo>
                      <a:pt x="72" y="129"/>
                    </a:lnTo>
                    <a:lnTo>
                      <a:pt x="72" y="127"/>
                    </a:lnTo>
                    <a:lnTo>
                      <a:pt x="72" y="129"/>
                    </a:lnTo>
                    <a:lnTo>
                      <a:pt x="70" y="129"/>
                    </a:lnTo>
                    <a:lnTo>
                      <a:pt x="70" y="131"/>
                    </a:lnTo>
                    <a:lnTo>
                      <a:pt x="68" y="131"/>
                    </a:lnTo>
                    <a:lnTo>
                      <a:pt x="66" y="131"/>
                    </a:lnTo>
                    <a:lnTo>
                      <a:pt x="66" y="129"/>
                    </a:lnTo>
                    <a:lnTo>
                      <a:pt x="64" y="127"/>
                    </a:lnTo>
                    <a:lnTo>
                      <a:pt x="64" y="125"/>
                    </a:lnTo>
                    <a:lnTo>
                      <a:pt x="62" y="125"/>
                    </a:lnTo>
                    <a:lnTo>
                      <a:pt x="60" y="127"/>
                    </a:lnTo>
                    <a:lnTo>
                      <a:pt x="58" y="129"/>
                    </a:lnTo>
                    <a:lnTo>
                      <a:pt x="56" y="127"/>
                    </a:lnTo>
                    <a:lnTo>
                      <a:pt x="56" y="125"/>
                    </a:lnTo>
                    <a:lnTo>
                      <a:pt x="56" y="123"/>
                    </a:lnTo>
                    <a:lnTo>
                      <a:pt x="58" y="123"/>
                    </a:lnTo>
                    <a:lnTo>
                      <a:pt x="58" y="121"/>
                    </a:lnTo>
                    <a:lnTo>
                      <a:pt x="56" y="121"/>
                    </a:lnTo>
                    <a:lnTo>
                      <a:pt x="56" y="119"/>
                    </a:lnTo>
                    <a:lnTo>
                      <a:pt x="54" y="119"/>
                    </a:lnTo>
                    <a:lnTo>
                      <a:pt x="54" y="117"/>
                    </a:lnTo>
                    <a:lnTo>
                      <a:pt x="56" y="117"/>
                    </a:lnTo>
                    <a:lnTo>
                      <a:pt x="56" y="115"/>
                    </a:lnTo>
                    <a:lnTo>
                      <a:pt x="54" y="115"/>
                    </a:lnTo>
                    <a:lnTo>
                      <a:pt x="54" y="113"/>
                    </a:lnTo>
                    <a:lnTo>
                      <a:pt x="54" y="111"/>
                    </a:lnTo>
                    <a:lnTo>
                      <a:pt x="52" y="113"/>
                    </a:lnTo>
                    <a:lnTo>
                      <a:pt x="52" y="111"/>
                    </a:lnTo>
                    <a:lnTo>
                      <a:pt x="52" y="109"/>
                    </a:lnTo>
                    <a:lnTo>
                      <a:pt x="50" y="109"/>
                    </a:lnTo>
                    <a:lnTo>
                      <a:pt x="49" y="109"/>
                    </a:lnTo>
                    <a:lnTo>
                      <a:pt x="49" y="107"/>
                    </a:lnTo>
                    <a:lnTo>
                      <a:pt x="49" y="106"/>
                    </a:lnTo>
                    <a:lnTo>
                      <a:pt x="47" y="106"/>
                    </a:lnTo>
                    <a:lnTo>
                      <a:pt x="47" y="104"/>
                    </a:lnTo>
                    <a:lnTo>
                      <a:pt x="47" y="102"/>
                    </a:lnTo>
                    <a:lnTo>
                      <a:pt x="47" y="100"/>
                    </a:lnTo>
                    <a:lnTo>
                      <a:pt x="45" y="100"/>
                    </a:lnTo>
                    <a:lnTo>
                      <a:pt x="45" y="98"/>
                    </a:lnTo>
                    <a:lnTo>
                      <a:pt x="45" y="96"/>
                    </a:lnTo>
                    <a:lnTo>
                      <a:pt x="45" y="94"/>
                    </a:lnTo>
                    <a:lnTo>
                      <a:pt x="43" y="94"/>
                    </a:lnTo>
                    <a:lnTo>
                      <a:pt x="43" y="92"/>
                    </a:lnTo>
                    <a:lnTo>
                      <a:pt x="43" y="90"/>
                    </a:lnTo>
                    <a:lnTo>
                      <a:pt x="43" y="88"/>
                    </a:lnTo>
                    <a:lnTo>
                      <a:pt x="43" y="86"/>
                    </a:lnTo>
                    <a:lnTo>
                      <a:pt x="43" y="84"/>
                    </a:lnTo>
                    <a:lnTo>
                      <a:pt x="43" y="82"/>
                    </a:lnTo>
                    <a:lnTo>
                      <a:pt x="43" y="81"/>
                    </a:lnTo>
                    <a:lnTo>
                      <a:pt x="41" y="81"/>
                    </a:lnTo>
                    <a:lnTo>
                      <a:pt x="39" y="81"/>
                    </a:lnTo>
                    <a:lnTo>
                      <a:pt x="37" y="81"/>
                    </a:lnTo>
                    <a:lnTo>
                      <a:pt x="35" y="81"/>
                    </a:lnTo>
                    <a:lnTo>
                      <a:pt x="33" y="81"/>
                    </a:lnTo>
                    <a:lnTo>
                      <a:pt x="33" y="79"/>
                    </a:lnTo>
                    <a:lnTo>
                      <a:pt x="31" y="79"/>
                    </a:lnTo>
                    <a:lnTo>
                      <a:pt x="29" y="79"/>
                    </a:lnTo>
                    <a:lnTo>
                      <a:pt x="27" y="79"/>
                    </a:lnTo>
                    <a:lnTo>
                      <a:pt x="25" y="79"/>
                    </a:lnTo>
                    <a:lnTo>
                      <a:pt x="25" y="77"/>
                    </a:lnTo>
                    <a:lnTo>
                      <a:pt x="25" y="75"/>
                    </a:lnTo>
                    <a:lnTo>
                      <a:pt x="24" y="75"/>
                    </a:lnTo>
                    <a:lnTo>
                      <a:pt x="22" y="75"/>
                    </a:lnTo>
                    <a:lnTo>
                      <a:pt x="20" y="75"/>
                    </a:lnTo>
                    <a:lnTo>
                      <a:pt x="18" y="75"/>
                    </a:lnTo>
                    <a:lnTo>
                      <a:pt x="18" y="73"/>
                    </a:lnTo>
                    <a:lnTo>
                      <a:pt x="20" y="73"/>
                    </a:lnTo>
                    <a:lnTo>
                      <a:pt x="20" y="71"/>
                    </a:lnTo>
                    <a:lnTo>
                      <a:pt x="22" y="71"/>
                    </a:lnTo>
                    <a:lnTo>
                      <a:pt x="22" y="69"/>
                    </a:lnTo>
                    <a:lnTo>
                      <a:pt x="22" y="67"/>
                    </a:lnTo>
                    <a:lnTo>
                      <a:pt x="22" y="65"/>
                    </a:lnTo>
                    <a:lnTo>
                      <a:pt x="22" y="63"/>
                    </a:lnTo>
                    <a:lnTo>
                      <a:pt x="24" y="63"/>
                    </a:lnTo>
                    <a:lnTo>
                      <a:pt x="24" y="61"/>
                    </a:lnTo>
                    <a:lnTo>
                      <a:pt x="22" y="61"/>
                    </a:lnTo>
                    <a:lnTo>
                      <a:pt x="20" y="61"/>
                    </a:lnTo>
                    <a:lnTo>
                      <a:pt x="18" y="61"/>
                    </a:lnTo>
                    <a:lnTo>
                      <a:pt x="18" y="59"/>
                    </a:lnTo>
                    <a:lnTo>
                      <a:pt x="16" y="61"/>
                    </a:lnTo>
                    <a:lnTo>
                      <a:pt x="16" y="63"/>
                    </a:lnTo>
                    <a:lnTo>
                      <a:pt x="16" y="61"/>
                    </a:lnTo>
                    <a:lnTo>
                      <a:pt x="16" y="63"/>
                    </a:lnTo>
                    <a:lnTo>
                      <a:pt x="14" y="61"/>
                    </a:lnTo>
                    <a:lnTo>
                      <a:pt x="12" y="61"/>
                    </a:lnTo>
                    <a:lnTo>
                      <a:pt x="14" y="61"/>
                    </a:lnTo>
                    <a:lnTo>
                      <a:pt x="12" y="59"/>
                    </a:lnTo>
                    <a:lnTo>
                      <a:pt x="10" y="59"/>
                    </a:lnTo>
                    <a:lnTo>
                      <a:pt x="10" y="57"/>
                    </a:lnTo>
                    <a:lnTo>
                      <a:pt x="10" y="59"/>
                    </a:lnTo>
                    <a:lnTo>
                      <a:pt x="8" y="59"/>
                    </a:lnTo>
                    <a:lnTo>
                      <a:pt x="6" y="59"/>
                    </a:lnTo>
                    <a:lnTo>
                      <a:pt x="4" y="57"/>
                    </a:lnTo>
                    <a:lnTo>
                      <a:pt x="4" y="59"/>
                    </a:lnTo>
                    <a:lnTo>
                      <a:pt x="2" y="57"/>
                    </a:lnTo>
                    <a:lnTo>
                      <a:pt x="4" y="56"/>
                    </a:lnTo>
                    <a:lnTo>
                      <a:pt x="2" y="56"/>
                    </a:lnTo>
                    <a:lnTo>
                      <a:pt x="2" y="54"/>
                    </a:lnTo>
                    <a:lnTo>
                      <a:pt x="0" y="54"/>
                    </a:lnTo>
                    <a:lnTo>
                      <a:pt x="0" y="52"/>
                    </a:lnTo>
                    <a:lnTo>
                      <a:pt x="0" y="50"/>
                    </a:lnTo>
                    <a:lnTo>
                      <a:pt x="2" y="50"/>
                    </a:lnTo>
                    <a:lnTo>
                      <a:pt x="2" y="48"/>
                    </a:lnTo>
                    <a:lnTo>
                      <a:pt x="2" y="46"/>
                    </a:lnTo>
                    <a:lnTo>
                      <a:pt x="2" y="48"/>
                    </a:lnTo>
                    <a:lnTo>
                      <a:pt x="4" y="46"/>
                    </a:lnTo>
                    <a:lnTo>
                      <a:pt x="6" y="46"/>
                    </a:lnTo>
                    <a:lnTo>
                      <a:pt x="8" y="46"/>
                    </a:lnTo>
                    <a:lnTo>
                      <a:pt x="10" y="46"/>
                    </a:lnTo>
                    <a:lnTo>
                      <a:pt x="16" y="38"/>
                    </a:lnTo>
                    <a:lnTo>
                      <a:pt x="18" y="38"/>
                    </a:lnTo>
                    <a:lnTo>
                      <a:pt x="20" y="38"/>
                    </a:lnTo>
                    <a:lnTo>
                      <a:pt x="20" y="36"/>
                    </a:lnTo>
                    <a:lnTo>
                      <a:pt x="18" y="36"/>
                    </a:lnTo>
                    <a:lnTo>
                      <a:pt x="18" y="34"/>
                    </a:lnTo>
                    <a:lnTo>
                      <a:pt x="20" y="34"/>
                    </a:lnTo>
                    <a:lnTo>
                      <a:pt x="20" y="32"/>
                    </a:lnTo>
                    <a:lnTo>
                      <a:pt x="18" y="32"/>
                    </a:lnTo>
                    <a:lnTo>
                      <a:pt x="18" y="31"/>
                    </a:lnTo>
                    <a:lnTo>
                      <a:pt x="20" y="31"/>
                    </a:lnTo>
                    <a:lnTo>
                      <a:pt x="18" y="31"/>
                    </a:lnTo>
                    <a:lnTo>
                      <a:pt x="18" y="29"/>
                    </a:lnTo>
                    <a:lnTo>
                      <a:pt x="18" y="27"/>
                    </a:lnTo>
                    <a:lnTo>
                      <a:pt x="16" y="27"/>
                    </a:lnTo>
                    <a:lnTo>
                      <a:pt x="18" y="25"/>
                    </a:lnTo>
                    <a:lnTo>
                      <a:pt x="18" y="23"/>
                    </a:lnTo>
                    <a:lnTo>
                      <a:pt x="20" y="23"/>
                    </a:lnTo>
                    <a:lnTo>
                      <a:pt x="20" y="21"/>
                    </a:lnTo>
                    <a:lnTo>
                      <a:pt x="22" y="21"/>
                    </a:lnTo>
                    <a:lnTo>
                      <a:pt x="24" y="23"/>
                    </a:lnTo>
                    <a:lnTo>
                      <a:pt x="24" y="21"/>
                    </a:lnTo>
                    <a:lnTo>
                      <a:pt x="24" y="23"/>
                    </a:lnTo>
                    <a:lnTo>
                      <a:pt x="25" y="23"/>
                    </a:lnTo>
                    <a:lnTo>
                      <a:pt x="25" y="21"/>
                    </a:lnTo>
                    <a:lnTo>
                      <a:pt x="27" y="21"/>
                    </a:lnTo>
                    <a:lnTo>
                      <a:pt x="27" y="23"/>
                    </a:lnTo>
                    <a:lnTo>
                      <a:pt x="27" y="21"/>
                    </a:lnTo>
                    <a:lnTo>
                      <a:pt x="29" y="21"/>
                    </a:lnTo>
                    <a:lnTo>
                      <a:pt x="29" y="23"/>
                    </a:lnTo>
                    <a:lnTo>
                      <a:pt x="31" y="23"/>
                    </a:lnTo>
                    <a:lnTo>
                      <a:pt x="31" y="25"/>
                    </a:lnTo>
                    <a:lnTo>
                      <a:pt x="31" y="23"/>
                    </a:lnTo>
                    <a:lnTo>
                      <a:pt x="33" y="23"/>
                    </a:lnTo>
                    <a:lnTo>
                      <a:pt x="33" y="21"/>
                    </a:lnTo>
                    <a:lnTo>
                      <a:pt x="35" y="23"/>
                    </a:lnTo>
                    <a:lnTo>
                      <a:pt x="33" y="23"/>
                    </a:lnTo>
                    <a:lnTo>
                      <a:pt x="35" y="23"/>
                    </a:lnTo>
                    <a:lnTo>
                      <a:pt x="35" y="25"/>
                    </a:lnTo>
                    <a:lnTo>
                      <a:pt x="37" y="23"/>
                    </a:lnTo>
                    <a:lnTo>
                      <a:pt x="37" y="25"/>
                    </a:lnTo>
                    <a:lnTo>
                      <a:pt x="37" y="23"/>
                    </a:lnTo>
                    <a:lnTo>
                      <a:pt x="39" y="23"/>
                    </a:lnTo>
                    <a:lnTo>
                      <a:pt x="39" y="21"/>
                    </a:lnTo>
                    <a:lnTo>
                      <a:pt x="41" y="21"/>
                    </a:lnTo>
                    <a:lnTo>
                      <a:pt x="41" y="19"/>
                    </a:lnTo>
                    <a:lnTo>
                      <a:pt x="39" y="19"/>
                    </a:lnTo>
                    <a:lnTo>
                      <a:pt x="41" y="19"/>
                    </a:lnTo>
                    <a:lnTo>
                      <a:pt x="41" y="17"/>
                    </a:lnTo>
                    <a:lnTo>
                      <a:pt x="39" y="17"/>
                    </a:lnTo>
                    <a:lnTo>
                      <a:pt x="41" y="15"/>
                    </a:lnTo>
                    <a:lnTo>
                      <a:pt x="39" y="15"/>
                    </a:lnTo>
                    <a:lnTo>
                      <a:pt x="37" y="13"/>
                    </a:lnTo>
                    <a:lnTo>
                      <a:pt x="39" y="13"/>
                    </a:lnTo>
                    <a:lnTo>
                      <a:pt x="39" y="11"/>
                    </a:lnTo>
                    <a:lnTo>
                      <a:pt x="39" y="13"/>
                    </a:lnTo>
                    <a:lnTo>
                      <a:pt x="39" y="11"/>
                    </a:lnTo>
                    <a:lnTo>
                      <a:pt x="41" y="11"/>
                    </a:lnTo>
                    <a:lnTo>
                      <a:pt x="41" y="9"/>
                    </a:lnTo>
                    <a:lnTo>
                      <a:pt x="41" y="7"/>
                    </a:lnTo>
                    <a:lnTo>
                      <a:pt x="43" y="7"/>
                    </a:lnTo>
                    <a:lnTo>
                      <a:pt x="43" y="6"/>
                    </a:lnTo>
                    <a:lnTo>
                      <a:pt x="43" y="4"/>
                    </a:lnTo>
                    <a:lnTo>
                      <a:pt x="43" y="2"/>
                    </a:lnTo>
                    <a:lnTo>
                      <a:pt x="45" y="2"/>
                    </a:lnTo>
                    <a:lnTo>
                      <a:pt x="45" y="4"/>
                    </a:lnTo>
                    <a:lnTo>
                      <a:pt x="45" y="6"/>
                    </a:lnTo>
                    <a:lnTo>
                      <a:pt x="47" y="7"/>
                    </a:lnTo>
                    <a:lnTo>
                      <a:pt x="45" y="7"/>
                    </a:lnTo>
                    <a:lnTo>
                      <a:pt x="47" y="7"/>
                    </a:lnTo>
                    <a:lnTo>
                      <a:pt x="49" y="6"/>
                    </a:lnTo>
                    <a:lnTo>
                      <a:pt x="50" y="6"/>
                    </a:lnTo>
                    <a:lnTo>
                      <a:pt x="52" y="7"/>
                    </a:lnTo>
                    <a:lnTo>
                      <a:pt x="54" y="4"/>
                    </a:lnTo>
                    <a:lnTo>
                      <a:pt x="56" y="6"/>
                    </a:lnTo>
                    <a:lnTo>
                      <a:pt x="56" y="4"/>
                    </a:lnTo>
                    <a:lnTo>
                      <a:pt x="58" y="4"/>
                    </a:lnTo>
                    <a:lnTo>
                      <a:pt x="58" y="2"/>
                    </a:lnTo>
                    <a:lnTo>
                      <a:pt x="60" y="2"/>
                    </a:lnTo>
                    <a:lnTo>
                      <a:pt x="62" y="4"/>
                    </a:lnTo>
                    <a:lnTo>
                      <a:pt x="64" y="4"/>
                    </a:lnTo>
                    <a:lnTo>
                      <a:pt x="64" y="2"/>
                    </a:lnTo>
                    <a:lnTo>
                      <a:pt x="66" y="2"/>
                    </a:lnTo>
                    <a:lnTo>
                      <a:pt x="68" y="2"/>
                    </a:lnTo>
                    <a:lnTo>
                      <a:pt x="68" y="0"/>
                    </a:lnTo>
                    <a:lnTo>
                      <a:pt x="70" y="2"/>
                    </a:lnTo>
                    <a:lnTo>
                      <a:pt x="70" y="4"/>
                    </a:lnTo>
                    <a:lnTo>
                      <a:pt x="70" y="6"/>
                    </a:lnTo>
                    <a:lnTo>
                      <a:pt x="72" y="6"/>
                    </a:lnTo>
                    <a:lnTo>
                      <a:pt x="72" y="4"/>
                    </a:lnTo>
                    <a:lnTo>
                      <a:pt x="73" y="4"/>
                    </a:lnTo>
                    <a:lnTo>
                      <a:pt x="73" y="2"/>
                    </a:lnTo>
                    <a:lnTo>
                      <a:pt x="75" y="2"/>
                    </a:lnTo>
                    <a:lnTo>
                      <a:pt x="77" y="2"/>
                    </a:lnTo>
                    <a:lnTo>
                      <a:pt x="79" y="2"/>
                    </a:lnTo>
                    <a:lnTo>
                      <a:pt x="81" y="2"/>
                    </a:lnTo>
                    <a:lnTo>
                      <a:pt x="79" y="2"/>
                    </a:lnTo>
                    <a:lnTo>
                      <a:pt x="81" y="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79">
                <a:extLst>
                  <a:ext uri="{FF2B5EF4-FFF2-40B4-BE49-F238E27FC236}">
                    <a16:creationId xmlns="" xmlns:a16="http://schemas.microsoft.com/office/drawing/2014/main" id="{E307841A-C408-4BEF-BF2D-27C5B74BB5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1688" y="3787776"/>
                <a:ext cx="239713" cy="239713"/>
              </a:xfrm>
              <a:custGeom>
                <a:avLst/>
                <a:gdLst>
                  <a:gd name="T0" fmla="*/ 121 w 151"/>
                  <a:gd name="T1" fmla="*/ 144 h 151"/>
                  <a:gd name="T2" fmla="*/ 113 w 151"/>
                  <a:gd name="T3" fmla="*/ 140 h 151"/>
                  <a:gd name="T4" fmla="*/ 103 w 151"/>
                  <a:gd name="T5" fmla="*/ 142 h 151"/>
                  <a:gd name="T6" fmla="*/ 94 w 151"/>
                  <a:gd name="T7" fmla="*/ 149 h 151"/>
                  <a:gd name="T8" fmla="*/ 86 w 151"/>
                  <a:gd name="T9" fmla="*/ 144 h 151"/>
                  <a:gd name="T10" fmla="*/ 82 w 151"/>
                  <a:gd name="T11" fmla="*/ 142 h 151"/>
                  <a:gd name="T12" fmla="*/ 74 w 151"/>
                  <a:gd name="T13" fmla="*/ 142 h 151"/>
                  <a:gd name="T14" fmla="*/ 67 w 151"/>
                  <a:gd name="T15" fmla="*/ 140 h 151"/>
                  <a:gd name="T16" fmla="*/ 61 w 151"/>
                  <a:gd name="T17" fmla="*/ 138 h 151"/>
                  <a:gd name="T18" fmla="*/ 55 w 151"/>
                  <a:gd name="T19" fmla="*/ 136 h 151"/>
                  <a:gd name="T20" fmla="*/ 51 w 151"/>
                  <a:gd name="T21" fmla="*/ 123 h 151"/>
                  <a:gd name="T22" fmla="*/ 46 w 151"/>
                  <a:gd name="T23" fmla="*/ 124 h 151"/>
                  <a:gd name="T24" fmla="*/ 36 w 151"/>
                  <a:gd name="T25" fmla="*/ 128 h 151"/>
                  <a:gd name="T26" fmla="*/ 28 w 151"/>
                  <a:gd name="T27" fmla="*/ 123 h 151"/>
                  <a:gd name="T28" fmla="*/ 25 w 151"/>
                  <a:gd name="T29" fmla="*/ 111 h 151"/>
                  <a:gd name="T30" fmla="*/ 11 w 151"/>
                  <a:gd name="T31" fmla="*/ 107 h 151"/>
                  <a:gd name="T32" fmla="*/ 7 w 151"/>
                  <a:gd name="T33" fmla="*/ 100 h 151"/>
                  <a:gd name="T34" fmla="*/ 1 w 151"/>
                  <a:gd name="T35" fmla="*/ 101 h 151"/>
                  <a:gd name="T36" fmla="*/ 5 w 151"/>
                  <a:gd name="T37" fmla="*/ 96 h 151"/>
                  <a:gd name="T38" fmla="*/ 7 w 151"/>
                  <a:gd name="T39" fmla="*/ 90 h 151"/>
                  <a:gd name="T40" fmla="*/ 17 w 151"/>
                  <a:gd name="T41" fmla="*/ 75 h 151"/>
                  <a:gd name="T42" fmla="*/ 15 w 151"/>
                  <a:gd name="T43" fmla="*/ 63 h 151"/>
                  <a:gd name="T44" fmla="*/ 11 w 151"/>
                  <a:gd name="T45" fmla="*/ 48 h 151"/>
                  <a:gd name="T46" fmla="*/ 15 w 151"/>
                  <a:gd name="T47" fmla="*/ 32 h 151"/>
                  <a:gd name="T48" fmla="*/ 11 w 151"/>
                  <a:gd name="T49" fmla="*/ 26 h 151"/>
                  <a:gd name="T50" fmla="*/ 15 w 151"/>
                  <a:gd name="T51" fmla="*/ 17 h 151"/>
                  <a:gd name="T52" fmla="*/ 19 w 151"/>
                  <a:gd name="T53" fmla="*/ 7 h 151"/>
                  <a:gd name="T54" fmla="*/ 23 w 151"/>
                  <a:gd name="T55" fmla="*/ 0 h 151"/>
                  <a:gd name="T56" fmla="*/ 28 w 151"/>
                  <a:gd name="T57" fmla="*/ 3 h 151"/>
                  <a:gd name="T58" fmla="*/ 30 w 151"/>
                  <a:gd name="T59" fmla="*/ 9 h 151"/>
                  <a:gd name="T60" fmla="*/ 38 w 151"/>
                  <a:gd name="T61" fmla="*/ 7 h 151"/>
                  <a:gd name="T62" fmla="*/ 32 w 151"/>
                  <a:gd name="T63" fmla="*/ 11 h 151"/>
                  <a:gd name="T64" fmla="*/ 40 w 151"/>
                  <a:gd name="T65" fmla="*/ 9 h 151"/>
                  <a:gd name="T66" fmla="*/ 40 w 151"/>
                  <a:gd name="T67" fmla="*/ 13 h 151"/>
                  <a:gd name="T68" fmla="*/ 49 w 151"/>
                  <a:gd name="T69" fmla="*/ 15 h 151"/>
                  <a:gd name="T70" fmla="*/ 55 w 151"/>
                  <a:gd name="T71" fmla="*/ 17 h 151"/>
                  <a:gd name="T72" fmla="*/ 59 w 151"/>
                  <a:gd name="T73" fmla="*/ 9 h 151"/>
                  <a:gd name="T74" fmla="*/ 65 w 151"/>
                  <a:gd name="T75" fmla="*/ 11 h 151"/>
                  <a:gd name="T76" fmla="*/ 74 w 151"/>
                  <a:gd name="T77" fmla="*/ 19 h 151"/>
                  <a:gd name="T78" fmla="*/ 78 w 151"/>
                  <a:gd name="T79" fmla="*/ 28 h 151"/>
                  <a:gd name="T80" fmla="*/ 74 w 151"/>
                  <a:gd name="T81" fmla="*/ 36 h 151"/>
                  <a:gd name="T82" fmla="*/ 80 w 151"/>
                  <a:gd name="T83" fmla="*/ 42 h 151"/>
                  <a:gd name="T84" fmla="*/ 88 w 151"/>
                  <a:gd name="T85" fmla="*/ 50 h 151"/>
                  <a:gd name="T86" fmla="*/ 92 w 151"/>
                  <a:gd name="T87" fmla="*/ 50 h 151"/>
                  <a:gd name="T88" fmla="*/ 98 w 151"/>
                  <a:gd name="T89" fmla="*/ 48 h 151"/>
                  <a:gd name="T90" fmla="*/ 98 w 151"/>
                  <a:gd name="T91" fmla="*/ 38 h 151"/>
                  <a:gd name="T92" fmla="*/ 103 w 151"/>
                  <a:gd name="T93" fmla="*/ 40 h 151"/>
                  <a:gd name="T94" fmla="*/ 107 w 151"/>
                  <a:gd name="T95" fmla="*/ 38 h 151"/>
                  <a:gd name="T96" fmla="*/ 117 w 151"/>
                  <a:gd name="T97" fmla="*/ 42 h 151"/>
                  <a:gd name="T98" fmla="*/ 119 w 151"/>
                  <a:gd name="T99" fmla="*/ 51 h 151"/>
                  <a:gd name="T100" fmla="*/ 128 w 151"/>
                  <a:gd name="T101" fmla="*/ 51 h 151"/>
                  <a:gd name="T102" fmla="*/ 136 w 151"/>
                  <a:gd name="T103" fmla="*/ 53 h 151"/>
                  <a:gd name="T104" fmla="*/ 144 w 151"/>
                  <a:gd name="T105" fmla="*/ 53 h 151"/>
                  <a:gd name="T106" fmla="*/ 147 w 151"/>
                  <a:gd name="T107" fmla="*/ 63 h 151"/>
                  <a:gd name="T108" fmla="*/ 144 w 151"/>
                  <a:gd name="T109" fmla="*/ 71 h 151"/>
                  <a:gd name="T110" fmla="*/ 146 w 151"/>
                  <a:gd name="T111" fmla="*/ 80 h 151"/>
                  <a:gd name="T112" fmla="*/ 142 w 151"/>
                  <a:gd name="T113" fmla="*/ 92 h 151"/>
                  <a:gd name="T114" fmla="*/ 146 w 151"/>
                  <a:gd name="T115" fmla="*/ 98 h 151"/>
                  <a:gd name="T116" fmla="*/ 149 w 151"/>
                  <a:gd name="T117" fmla="*/ 103 h 151"/>
                  <a:gd name="T118" fmla="*/ 149 w 151"/>
                  <a:gd name="T119" fmla="*/ 115 h 151"/>
                  <a:gd name="T120" fmla="*/ 144 w 151"/>
                  <a:gd name="T121" fmla="*/ 124 h 151"/>
                  <a:gd name="T122" fmla="*/ 136 w 151"/>
                  <a:gd name="T123" fmla="*/ 136 h 151"/>
                  <a:gd name="T124" fmla="*/ 132 w 151"/>
                  <a:gd name="T125" fmla="*/ 148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51" h="151">
                    <a:moveTo>
                      <a:pt x="124" y="151"/>
                    </a:moveTo>
                    <a:lnTo>
                      <a:pt x="123" y="151"/>
                    </a:lnTo>
                    <a:lnTo>
                      <a:pt x="121" y="149"/>
                    </a:lnTo>
                    <a:lnTo>
                      <a:pt x="121" y="148"/>
                    </a:lnTo>
                    <a:lnTo>
                      <a:pt x="121" y="146"/>
                    </a:lnTo>
                    <a:lnTo>
                      <a:pt x="119" y="146"/>
                    </a:lnTo>
                    <a:lnTo>
                      <a:pt x="121" y="146"/>
                    </a:lnTo>
                    <a:lnTo>
                      <a:pt x="121" y="144"/>
                    </a:lnTo>
                    <a:lnTo>
                      <a:pt x="121" y="142"/>
                    </a:lnTo>
                    <a:lnTo>
                      <a:pt x="119" y="142"/>
                    </a:lnTo>
                    <a:lnTo>
                      <a:pt x="119" y="144"/>
                    </a:lnTo>
                    <a:lnTo>
                      <a:pt x="117" y="144"/>
                    </a:lnTo>
                    <a:lnTo>
                      <a:pt x="117" y="142"/>
                    </a:lnTo>
                    <a:lnTo>
                      <a:pt x="115" y="142"/>
                    </a:lnTo>
                    <a:lnTo>
                      <a:pt x="113" y="142"/>
                    </a:lnTo>
                    <a:lnTo>
                      <a:pt x="113" y="140"/>
                    </a:lnTo>
                    <a:lnTo>
                      <a:pt x="111" y="140"/>
                    </a:lnTo>
                    <a:lnTo>
                      <a:pt x="109" y="140"/>
                    </a:lnTo>
                    <a:lnTo>
                      <a:pt x="109" y="142"/>
                    </a:lnTo>
                    <a:lnTo>
                      <a:pt x="107" y="142"/>
                    </a:lnTo>
                    <a:lnTo>
                      <a:pt x="107" y="144"/>
                    </a:lnTo>
                    <a:lnTo>
                      <a:pt x="107" y="142"/>
                    </a:lnTo>
                    <a:lnTo>
                      <a:pt x="105" y="142"/>
                    </a:lnTo>
                    <a:lnTo>
                      <a:pt x="103" y="142"/>
                    </a:lnTo>
                    <a:lnTo>
                      <a:pt x="101" y="144"/>
                    </a:lnTo>
                    <a:lnTo>
                      <a:pt x="101" y="146"/>
                    </a:lnTo>
                    <a:lnTo>
                      <a:pt x="99" y="146"/>
                    </a:lnTo>
                    <a:lnTo>
                      <a:pt x="99" y="144"/>
                    </a:lnTo>
                    <a:lnTo>
                      <a:pt x="98" y="146"/>
                    </a:lnTo>
                    <a:lnTo>
                      <a:pt x="96" y="146"/>
                    </a:lnTo>
                    <a:lnTo>
                      <a:pt x="94" y="148"/>
                    </a:lnTo>
                    <a:lnTo>
                      <a:pt x="94" y="149"/>
                    </a:lnTo>
                    <a:lnTo>
                      <a:pt x="92" y="149"/>
                    </a:lnTo>
                    <a:lnTo>
                      <a:pt x="90" y="151"/>
                    </a:lnTo>
                    <a:lnTo>
                      <a:pt x="90" y="149"/>
                    </a:lnTo>
                    <a:lnTo>
                      <a:pt x="88" y="149"/>
                    </a:lnTo>
                    <a:lnTo>
                      <a:pt x="88" y="148"/>
                    </a:lnTo>
                    <a:lnTo>
                      <a:pt x="86" y="148"/>
                    </a:lnTo>
                    <a:lnTo>
                      <a:pt x="86" y="146"/>
                    </a:lnTo>
                    <a:lnTo>
                      <a:pt x="86" y="144"/>
                    </a:lnTo>
                    <a:lnTo>
                      <a:pt x="84" y="144"/>
                    </a:lnTo>
                    <a:lnTo>
                      <a:pt x="84" y="142"/>
                    </a:lnTo>
                    <a:lnTo>
                      <a:pt x="86" y="142"/>
                    </a:lnTo>
                    <a:lnTo>
                      <a:pt x="84" y="142"/>
                    </a:lnTo>
                    <a:lnTo>
                      <a:pt x="84" y="140"/>
                    </a:lnTo>
                    <a:lnTo>
                      <a:pt x="82" y="140"/>
                    </a:lnTo>
                    <a:lnTo>
                      <a:pt x="80" y="142"/>
                    </a:lnTo>
                    <a:lnTo>
                      <a:pt x="82" y="142"/>
                    </a:lnTo>
                    <a:lnTo>
                      <a:pt x="80" y="142"/>
                    </a:lnTo>
                    <a:lnTo>
                      <a:pt x="80" y="140"/>
                    </a:lnTo>
                    <a:lnTo>
                      <a:pt x="80" y="138"/>
                    </a:lnTo>
                    <a:lnTo>
                      <a:pt x="78" y="140"/>
                    </a:lnTo>
                    <a:lnTo>
                      <a:pt x="78" y="142"/>
                    </a:lnTo>
                    <a:lnTo>
                      <a:pt x="76" y="142"/>
                    </a:lnTo>
                    <a:lnTo>
                      <a:pt x="76" y="140"/>
                    </a:lnTo>
                    <a:lnTo>
                      <a:pt x="74" y="142"/>
                    </a:lnTo>
                    <a:lnTo>
                      <a:pt x="73" y="142"/>
                    </a:lnTo>
                    <a:lnTo>
                      <a:pt x="71" y="142"/>
                    </a:lnTo>
                    <a:lnTo>
                      <a:pt x="73" y="140"/>
                    </a:lnTo>
                    <a:lnTo>
                      <a:pt x="71" y="140"/>
                    </a:lnTo>
                    <a:lnTo>
                      <a:pt x="69" y="140"/>
                    </a:lnTo>
                    <a:lnTo>
                      <a:pt x="69" y="142"/>
                    </a:lnTo>
                    <a:lnTo>
                      <a:pt x="69" y="140"/>
                    </a:lnTo>
                    <a:lnTo>
                      <a:pt x="67" y="140"/>
                    </a:lnTo>
                    <a:lnTo>
                      <a:pt x="67" y="138"/>
                    </a:lnTo>
                    <a:lnTo>
                      <a:pt x="67" y="136"/>
                    </a:lnTo>
                    <a:lnTo>
                      <a:pt x="65" y="136"/>
                    </a:lnTo>
                    <a:lnTo>
                      <a:pt x="63" y="136"/>
                    </a:lnTo>
                    <a:lnTo>
                      <a:pt x="63" y="138"/>
                    </a:lnTo>
                    <a:lnTo>
                      <a:pt x="63" y="136"/>
                    </a:lnTo>
                    <a:lnTo>
                      <a:pt x="63" y="138"/>
                    </a:lnTo>
                    <a:lnTo>
                      <a:pt x="61" y="138"/>
                    </a:lnTo>
                    <a:lnTo>
                      <a:pt x="61" y="140"/>
                    </a:lnTo>
                    <a:lnTo>
                      <a:pt x="61" y="142"/>
                    </a:lnTo>
                    <a:lnTo>
                      <a:pt x="59" y="142"/>
                    </a:lnTo>
                    <a:lnTo>
                      <a:pt x="59" y="140"/>
                    </a:lnTo>
                    <a:lnTo>
                      <a:pt x="59" y="138"/>
                    </a:lnTo>
                    <a:lnTo>
                      <a:pt x="59" y="136"/>
                    </a:lnTo>
                    <a:lnTo>
                      <a:pt x="57" y="136"/>
                    </a:lnTo>
                    <a:lnTo>
                      <a:pt x="55" y="136"/>
                    </a:lnTo>
                    <a:lnTo>
                      <a:pt x="57" y="134"/>
                    </a:lnTo>
                    <a:lnTo>
                      <a:pt x="59" y="132"/>
                    </a:lnTo>
                    <a:lnTo>
                      <a:pt x="57" y="130"/>
                    </a:lnTo>
                    <a:lnTo>
                      <a:pt x="57" y="128"/>
                    </a:lnTo>
                    <a:lnTo>
                      <a:pt x="55" y="128"/>
                    </a:lnTo>
                    <a:lnTo>
                      <a:pt x="53" y="126"/>
                    </a:lnTo>
                    <a:lnTo>
                      <a:pt x="53" y="124"/>
                    </a:lnTo>
                    <a:lnTo>
                      <a:pt x="51" y="123"/>
                    </a:lnTo>
                    <a:lnTo>
                      <a:pt x="51" y="121"/>
                    </a:lnTo>
                    <a:lnTo>
                      <a:pt x="51" y="119"/>
                    </a:lnTo>
                    <a:lnTo>
                      <a:pt x="49" y="119"/>
                    </a:lnTo>
                    <a:lnTo>
                      <a:pt x="49" y="121"/>
                    </a:lnTo>
                    <a:lnTo>
                      <a:pt x="48" y="121"/>
                    </a:lnTo>
                    <a:lnTo>
                      <a:pt x="48" y="123"/>
                    </a:lnTo>
                    <a:lnTo>
                      <a:pt x="48" y="124"/>
                    </a:lnTo>
                    <a:lnTo>
                      <a:pt x="46" y="124"/>
                    </a:lnTo>
                    <a:lnTo>
                      <a:pt x="44" y="124"/>
                    </a:lnTo>
                    <a:lnTo>
                      <a:pt x="42" y="124"/>
                    </a:lnTo>
                    <a:lnTo>
                      <a:pt x="40" y="124"/>
                    </a:lnTo>
                    <a:lnTo>
                      <a:pt x="40" y="126"/>
                    </a:lnTo>
                    <a:lnTo>
                      <a:pt x="38" y="126"/>
                    </a:lnTo>
                    <a:lnTo>
                      <a:pt x="36" y="128"/>
                    </a:lnTo>
                    <a:lnTo>
                      <a:pt x="38" y="128"/>
                    </a:lnTo>
                    <a:lnTo>
                      <a:pt x="36" y="128"/>
                    </a:lnTo>
                    <a:lnTo>
                      <a:pt x="36" y="126"/>
                    </a:lnTo>
                    <a:lnTo>
                      <a:pt x="34" y="126"/>
                    </a:lnTo>
                    <a:lnTo>
                      <a:pt x="34" y="124"/>
                    </a:lnTo>
                    <a:lnTo>
                      <a:pt x="32" y="124"/>
                    </a:lnTo>
                    <a:lnTo>
                      <a:pt x="32" y="123"/>
                    </a:lnTo>
                    <a:lnTo>
                      <a:pt x="30" y="123"/>
                    </a:lnTo>
                    <a:lnTo>
                      <a:pt x="30" y="121"/>
                    </a:lnTo>
                    <a:lnTo>
                      <a:pt x="28" y="123"/>
                    </a:lnTo>
                    <a:lnTo>
                      <a:pt x="28" y="121"/>
                    </a:lnTo>
                    <a:lnTo>
                      <a:pt x="28" y="119"/>
                    </a:lnTo>
                    <a:lnTo>
                      <a:pt x="28" y="117"/>
                    </a:lnTo>
                    <a:lnTo>
                      <a:pt x="26" y="117"/>
                    </a:lnTo>
                    <a:lnTo>
                      <a:pt x="26" y="115"/>
                    </a:lnTo>
                    <a:lnTo>
                      <a:pt x="25" y="115"/>
                    </a:lnTo>
                    <a:lnTo>
                      <a:pt x="25" y="113"/>
                    </a:lnTo>
                    <a:lnTo>
                      <a:pt x="25" y="111"/>
                    </a:lnTo>
                    <a:lnTo>
                      <a:pt x="23" y="111"/>
                    </a:lnTo>
                    <a:lnTo>
                      <a:pt x="21" y="111"/>
                    </a:lnTo>
                    <a:lnTo>
                      <a:pt x="19" y="111"/>
                    </a:lnTo>
                    <a:lnTo>
                      <a:pt x="17" y="109"/>
                    </a:lnTo>
                    <a:lnTo>
                      <a:pt x="15" y="109"/>
                    </a:lnTo>
                    <a:lnTo>
                      <a:pt x="13" y="109"/>
                    </a:lnTo>
                    <a:lnTo>
                      <a:pt x="11" y="109"/>
                    </a:lnTo>
                    <a:lnTo>
                      <a:pt x="11" y="107"/>
                    </a:lnTo>
                    <a:lnTo>
                      <a:pt x="9" y="107"/>
                    </a:lnTo>
                    <a:lnTo>
                      <a:pt x="9" y="105"/>
                    </a:lnTo>
                    <a:lnTo>
                      <a:pt x="9" y="103"/>
                    </a:lnTo>
                    <a:lnTo>
                      <a:pt x="9" y="101"/>
                    </a:lnTo>
                    <a:lnTo>
                      <a:pt x="7" y="101"/>
                    </a:lnTo>
                    <a:lnTo>
                      <a:pt x="9" y="101"/>
                    </a:lnTo>
                    <a:lnTo>
                      <a:pt x="7" y="101"/>
                    </a:lnTo>
                    <a:lnTo>
                      <a:pt x="7" y="100"/>
                    </a:lnTo>
                    <a:lnTo>
                      <a:pt x="5" y="100"/>
                    </a:lnTo>
                    <a:lnTo>
                      <a:pt x="3" y="101"/>
                    </a:lnTo>
                    <a:lnTo>
                      <a:pt x="1" y="103"/>
                    </a:lnTo>
                    <a:lnTo>
                      <a:pt x="1" y="101"/>
                    </a:lnTo>
                    <a:lnTo>
                      <a:pt x="1" y="103"/>
                    </a:lnTo>
                    <a:lnTo>
                      <a:pt x="0" y="103"/>
                    </a:lnTo>
                    <a:lnTo>
                      <a:pt x="0" y="101"/>
                    </a:lnTo>
                    <a:lnTo>
                      <a:pt x="1" y="101"/>
                    </a:lnTo>
                    <a:lnTo>
                      <a:pt x="1" y="100"/>
                    </a:lnTo>
                    <a:lnTo>
                      <a:pt x="1" y="101"/>
                    </a:lnTo>
                    <a:lnTo>
                      <a:pt x="1" y="100"/>
                    </a:lnTo>
                    <a:lnTo>
                      <a:pt x="3" y="100"/>
                    </a:lnTo>
                    <a:lnTo>
                      <a:pt x="1" y="98"/>
                    </a:lnTo>
                    <a:lnTo>
                      <a:pt x="3" y="96"/>
                    </a:lnTo>
                    <a:lnTo>
                      <a:pt x="3" y="94"/>
                    </a:lnTo>
                    <a:lnTo>
                      <a:pt x="5" y="96"/>
                    </a:lnTo>
                    <a:lnTo>
                      <a:pt x="7" y="96"/>
                    </a:lnTo>
                    <a:lnTo>
                      <a:pt x="7" y="94"/>
                    </a:lnTo>
                    <a:lnTo>
                      <a:pt x="5" y="94"/>
                    </a:lnTo>
                    <a:lnTo>
                      <a:pt x="5" y="92"/>
                    </a:lnTo>
                    <a:lnTo>
                      <a:pt x="7" y="92"/>
                    </a:lnTo>
                    <a:lnTo>
                      <a:pt x="7" y="90"/>
                    </a:lnTo>
                    <a:lnTo>
                      <a:pt x="7" y="92"/>
                    </a:lnTo>
                    <a:lnTo>
                      <a:pt x="7" y="90"/>
                    </a:lnTo>
                    <a:lnTo>
                      <a:pt x="9" y="90"/>
                    </a:lnTo>
                    <a:lnTo>
                      <a:pt x="9" y="92"/>
                    </a:lnTo>
                    <a:lnTo>
                      <a:pt x="13" y="90"/>
                    </a:lnTo>
                    <a:lnTo>
                      <a:pt x="15" y="90"/>
                    </a:lnTo>
                    <a:lnTo>
                      <a:pt x="17" y="82"/>
                    </a:lnTo>
                    <a:lnTo>
                      <a:pt x="17" y="80"/>
                    </a:lnTo>
                    <a:lnTo>
                      <a:pt x="17" y="76"/>
                    </a:lnTo>
                    <a:lnTo>
                      <a:pt x="17" y="75"/>
                    </a:lnTo>
                    <a:lnTo>
                      <a:pt x="17" y="73"/>
                    </a:lnTo>
                    <a:lnTo>
                      <a:pt x="17" y="71"/>
                    </a:lnTo>
                    <a:lnTo>
                      <a:pt x="17" y="69"/>
                    </a:lnTo>
                    <a:lnTo>
                      <a:pt x="15" y="69"/>
                    </a:lnTo>
                    <a:lnTo>
                      <a:pt x="17" y="69"/>
                    </a:lnTo>
                    <a:lnTo>
                      <a:pt x="17" y="67"/>
                    </a:lnTo>
                    <a:lnTo>
                      <a:pt x="17" y="65"/>
                    </a:lnTo>
                    <a:lnTo>
                      <a:pt x="15" y="63"/>
                    </a:lnTo>
                    <a:lnTo>
                      <a:pt x="15" y="61"/>
                    </a:lnTo>
                    <a:lnTo>
                      <a:pt x="13" y="59"/>
                    </a:lnTo>
                    <a:lnTo>
                      <a:pt x="13" y="57"/>
                    </a:lnTo>
                    <a:lnTo>
                      <a:pt x="13" y="55"/>
                    </a:lnTo>
                    <a:lnTo>
                      <a:pt x="13" y="53"/>
                    </a:lnTo>
                    <a:lnTo>
                      <a:pt x="13" y="51"/>
                    </a:lnTo>
                    <a:lnTo>
                      <a:pt x="13" y="50"/>
                    </a:lnTo>
                    <a:lnTo>
                      <a:pt x="11" y="48"/>
                    </a:lnTo>
                    <a:lnTo>
                      <a:pt x="11" y="46"/>
                    </a:lnTo>
                    <a:lnTo>
                      <a:pt x="13" y="46"/>
                    </a:lnTo>
                    <a:lnTo>
                      <a:pt x="15" y="44"/>
                    </a:lnTo>
                    <a:lnTo>
                      <a:pt x="13" y="42"/>
                    </a:lnTo>
                    <a:lnTo>
                      <a:pt x="13" y="40"/>
                    </a:lnTo>
                    <a:lnTo>
                      <a:pt x="13" y="38"/>
                    </a:lnTo>
                    <a:lnTo>
                      <a:pt x="13" y="36"/>
                    </a:lnTo>
                    <a:lnTo>
                      <a:pt x="15" y="32"/>
                    </a:lnTo>
                    <a:lnTo>
                      <a:pt x="13" y="34"/>
                    </a:lnTo>
                    <a:lnTo>
                      <a:pt x="13" y="32"/>
                    </a:lnTo>
                    <a:lnTo>
                      <a:pt x="13" y="30"/>
                    </a:lnTo>
                    <a:lnTo>
                      <a:pt x="13" y="28"/>
                    </a:lnTo>
                    <a:lnTo>
                      <a:pt x="11" y="28"/>
                    </a:lnTo>
                    <a:lnTo>
                      <a:pt x="11" y="26"/>
                    </a:lnTo>
                    <a:lnTo>
                      <a:pt x="13" y="26"/>
                    </a:lnTo>
                    <a:lnTo>
                      <a:pt x="11" y="26"/>
                    </a:lnTo>
                    <a:lnTo>
                      <a:pt x="13" y="26"/>
                    </a:lnTo>
                    <a:lnTo>
                      <a:pt x="15" y="26"/>
                    </a:lnTo>
                    <a:lnTo>
                      <a:pt x="15" y="25"/>
                    </a:lnTo>
                    <a:lnTo>
                      <a:pt x="15" y="23"/>
                    </a:lnTo>
                    <a:lnTo>
                      <a:pt x="15" y="21"/>
                    </a:lnTo>
                    <a:lnTo>
                      <a:pt x="13" y="21"/>
                    </a:lnTo>
                    <a:lnTo>
                      <a:pt x="13" y="19"/>
                    </a:lnTo>
                    <a:lnTo>
                      <a:pt x="15" y="17"/>
                    </a:lnTo>
                    <a:lnTo>
                      <a:pt x="13" y="17"/>
                    </a:lnTo>
                    <a:lnTo>
                      <a:pt x="11" y="17"/>
                    </a:lnTo>
                    <a:lnTo>
                      <a:pt x="13" y="17"/>
                    </a:lnTo>
                    <a:lnTo>
                      <a:pt x="13" y="15"/>
                    </a:lnTo>
                    <a:lnTo>
                      <a:pt x="15" y="15"/>
                    </a:lnTo>
                    <a:lnTo>
                      <a:pt x="15" y="13"/>
                    </a:lnTo>
                    <a:lnTo>
                      <a:pt x="17" y="9"/>
                    </a:lnTo>
                    <a:lnTo>
                      <a:pt x="19" y="7"/>
                    </a:lnTo>
                    <a:lnTo>
                      <a:pt x="19" y="5"/>
                    </a:lnTo>
                    <a:lnTo>
                      <a:pt x="19" y="3"/>
                    </a:lnTo>
                    <a:lnTo>
                      <a:pt x="21" y="3"/>
                    </a:lnTo>
                    <a:lnTo>
                      <a:pt x="21" y="1"/>
                    </a:lnTo>
                    <a:lnTo>
                      <a:pt x="21" y="3"/>
                    </a:lnTo>
                    <a:lnTo>
                      <a:pt x="23" y="3"/>
                    </a:lnTo>
                    <a:lnTo>
                      <a:pt x="23" y="1"/>
                    </a:lnTo>
                    <a:lnTo>
                      <a:pt x="23" y="0"/>
                    </a:lnTo>
                    <a:lnTo>
                      <a:pt x="25" y="0"/>
                    </a:lnTo>
                    <a:lnTo>
                      <a:pt x="25" y="1"/>
                    </a:lnTo>
                    <a:lnTo>
                      <a:pt x="26" y="0"/>
                    </a:lnTo>
                    <a:lnTo>
                      <a:pt x="26" y="1"/>
                    </a:lnTo>
                    <a:lnTo>
                      <a:pt x="26" y="0"/>
                    </a:lnTo>
                    <a:lnTo>
                      <a:pt x="26" y="1"/>
                    </a:lnTo>
                    <a:lnTo>
                      <a:pt x="28" y="1"/>
                    </a:lnTo>
                    <a:lnTo>
                      <a:pt x="28" y="3"/>
                    </a:lnTo>
                    <a:lnTo>
                      <a:pt x="28" y="5"/>
                    </a:lnTo>
                    <a:lnTo>
                      <a:pt x="30" y="5"/>
                    </a:lnTo>
                    <a:lnTo>
                      <a:pt x="30" y="7"/>
                    </a:lnTo>
                    <a:lnTo>
                      <a:pt x="30" y="9"/>
                    </a:lnTo>
                    <a:lnTo>
                      <a:pt x="30" y="7"/>
                    </a:lnTo>
                    <a:lnTo>
                      <a:pt x="30" y="9"/>
                    </a:lnTo>
                    <a:lnTo>
                      <a:pt x="32" y="9"/>
                    </a:lnTo>
                    <a:lnTo>
                      <a:pt x="30" y="9"/>
                    </a:lnTo>
                    <a:lnTo>
                      <a:pt x="30" y="11"/>
                    </a:lnTo>
                    <a:lnTo>
                      <a:pt x="32" y="13"/>
                    </a:lnTo>
                    <a:lnTo>
                      <a:pt x="34" y="11"/>
                    </a:lnTo>
                    <a:lnTo>
                      <a:pt x="32" y="11"/>
                    </a:lnTo>
                    <a:lnTo>
                      <a:pt x="32" y="9"/>
                    </a:lnTo>
                    <a:lnTo>
                      <a:pt x="34" y="7"/>
                    </a:lnTo>
                    <a:lnTo>
                      <a:pt x="36" y="7"/>
                    </a:lnTo>
                    <a:lnTo>
                      <a:pt x="38" y="7"/>
                    </a:lnTo>
                    <a:lnTo>
                      <a:pt x="36" y="7"/>
                    </a:lnTo>
                    <a:lnTo>
                      <a:pt x="36" y="9"/>
                    </a:lnTo>
                    <a:lnTo>
                      <a:pt x="36" y="7"/>
                    </a:lnTo>
                    <a:lnTo>
                      <a:pt x="36" y="9"/>
                    </a:lnTo>
                    <a:lnTo>
                      <a:pt x="34" y="9"/>
                    </a:lnTo>
                    <a:lnTo>
                      <a:pt x="32" y="11"/>
                    </a:lnTo>
                    <a:lnTo>
                      <a:pt x="34" y="11"/>
                    </a:lnTo>
                    <a:lnTo>
                      <a:pt x="32" y="11"/>
                    </a:lnTo>
                    <a:lnTo>
                      <a:pt x="34" y="11"/>
                    </a:lnTo>
                    <a:lnTo>
                      <a:pt x="36" y="11"/>
                    </a:lnTo>
                    <a:lnTo>
                      <a:pt x="38" y="9"/>
                    </a:lnTo>
                    <a:lnTo>
                      <a:pt x="40" y="9"/>
                    </a:lnTo>
                    <a:lnTo>
                      <a:pt x="38" y="9"/>
                    </a:lnTo>
                    <a:lnTo>
                      <a:pt x="38" y="11"/>
                    </a:lnTo>
                    <a:lnTo>
                      <a:pt x="40" y="11"/>
                    </a:lnTo>
                    <a:lnTo>
                      <a:pt x="40" y="9"/>
                    </a:lnTo>
                    <a:lnTo>
                      <a:pt x="40" y="11"/>
                    </a:lnTo>
                    <a:lnTo>
                      <a:pt x="42" y="9"/>
                    </a:lnTo>
                    <a:lnTo>
                      <a:pt x="42" y="11"/>
                    </a:lnTo>
                    <a:lnTo>
                      <a:pt x="40" y="11"/>
                    </a:lnTo>
                    <a:lnTo>
                      <a:pt x="38" y="13"/>
                    </a:lnTo>
                    <a:lnTo>
                      <a:pt x="38" y="15"/>
                    </a:lnTo>
                    <a:lnTo>
                      <a:pt x="40" y="15"/>
                    </a:lnTo>
                    <a:lnTo>
                      <a:pt x="40" y="13"/>
                    </a:lnTo>
                    <a:lnTo>
                      <a:pt x="42" y="11"/>
                    </a:lnTo>
                    <a:lnTo>
                      <a:pt x="42" y="13"/>
                    </a:lnTo>
                    <a:lnTo>
                      <a:pt x="44" y="13"/>
                    </a:lnTo>
                    <a:lnTo>
                      <a:pt x="46" y="15"/>
                    </a:lnTo>
                    <a:lnTo>
                      <a:pt x="48" y="15"/>
                    </a:lnTo>
                    <a:lnTo>
                      <a:pt x="49" y="15"/>
                    </a:lnTo>
                    <a:lnTo>
                      <a:pt x="51" y="17"/>
                    </a:lnTo>
                    <a:lnTo>
                      <a:pt x="49" y="15"/>
                    </a:lnTo>
                    <a:lnTo>
                      <a:pt x="49" y="17"/>
                    </a:lnTo>
                    <a:lnTo>
                      <a:pt x="51" y="17"/>
                    </a:lnTo>
                    <a:lnTo>
                      <a:pt x="51" y="15"/>
                    </a:lnTo>
                    <a:lnTo>
                      <a:pt x="51" y="13"/>
                    </a:lnTo>
                    <a:lnTo>
                      <a:pt x="53" y="13"/>
                    </a:lnTo>
                    <a:lnTo>
                      <a:pt x="53" y="15"/>
                    </a:lnTo>
                    <a:lnTo>
                      <a:pt x="53" y="17"/>
                    </a:lnTo>
                    <a:lnTo>
                      <a:pt x="55" y="17"/>
                    </a:lnTo>
                    <a:lnTo>
                      <a:pt x="55" y="15"/>
                    </a:lnTo>
                    <a:lnTo>
                      <a:pt x="57" y="13"/>
                    </a:lnTo>
                    <a:lnTo>
                      <a:pt x="55" y="13"/>
                    </a:lnTo>
                    <a:lnTo>
                      <a:pt x="55" y="11"/>
                    </a:lnTo>
                    <a:lnTo>
                      <a:pt x="57" y="9"/>
                    </a:lnTo>
                    <a:lnTo>
                      <a:pt x="57" y="7"/>
                    </a:lnTo>
                    <a:lnTo>
                      <a:pt x="59" y="7"/>
                    </a:lnTo>
                    <a:lnTo>
                      <a:pt x="59" y="9"/>
                    </a:lnTo>
                    <a:lnTo>
                      <a:pt x="59" y="7"/>
                    </a:lnTo>
                    <a:lnTo>
                      <a:pt x="61" y="7"/>
                    </a:lnTo>
                    <a:lnTo>
                      <a:pt x="61" y="9"/>
                    </a:lnTo>
                    <a:lnTo>
                      <a:pt x="63" y="9"/>
                    </a:lnTo>
                    <a:lnTo>
                      <a:pt x="65" y="9"/>
                    </a:lnTo>
                    <a:lnTo>
                      <a:pt x="65" y="7"/>
                    </a:lnTo>
                    <a:lnTo>
                      <a:pt x="65" y="9"/>
                    </a:lnTo>
                    <a:lnTo>
                      <a:pt x="65" y="11"/>
                    </a:lnTo>
                    <a:lnTo>
                      <a:pt x="67" y="11"/>
                    </a:lnTo>
                    <a:lnTo>
                      <a:pt x="69" y="13"/>
                    </a:lnTo>
                    <a:lnTo>
                      <a:pt x="71" y="13"/>
                    </a:lnTo>
                    <a:lnTo>
                      <a:pt x="73" y="13"/>
                    </a:lnTo>
                    <a:lnTo>
                      <a:pt x="73" y="15"/>
                    </a:lnTo>
                    <a:lnTo>
                      <a:pt x="73" y="17"/>
                    </a:lnTo>
                    <a:lnTo>
                      <a:pt x="73" y="19"/>
                    </a:lnTo>
                    <a:lnTo>
                      <a:pt x="74" y="19"/>
                    </a:lnTo>
                    <a:lnTo>
                      <a:pt x="76" y="19"/>
                    </a:lnTo>
                    <a:lnTo>
                      <a:pt x="76" y="21"/>
                    </a:lnTo>
                    <a:lnTo>
                      <a:pt x="76" y="23"/>
                    </a:lnTo>
                    <a:lnTo>
                      <a:pt x="78" y="23"/>
                    </a:lnTo>
                    <a:lnTo>
                      <a:pt x="76" y="23"/>
                    </a:lnTo>
                    <a:lnTo>
                      <a:pt x="76" y="25"/>
                    </a:lnTo>
                    <a:lnTo>
                      <a:pt x="78" y="26"/>
                    </a:lnTo>
                    <a:lnTo>
                      <a:pt x="78" y="28"/>
                    </a:lnTo>
                    <a:lnTo>
                      <a:pt x="76" y="28"/>
                    </a:lnTo>
                    <a:lnTo>
                      <a:pt x="76" y="30"/>
                    </a:lnTo>
                    <a:lnTo>
                      <a:pt x="74" y="30"/>
                    </a:lnTo>
                    <a:lnTo>
                      <a:pt x="74" y="32"/>
                    </a:lnTo>
                    <a:lnTo>
                      <a:pt x="74" y="34"/>
                    </a:lnTo>
                    <a:lnTo>
                      <a:pt x="74" y="36"/>
                    </a:lnTo>
                    <a:lnTo>
                      <a:pt x="76" y="36"/>
                    </a:lnTo>
                    <a:lnTo>
                      <a:pt x="74" y="36"/>
                    </a:lnTo>
                    <a:lnTo>
                      <a:pt x="76" y="36"/>
                    </a:lnTo>
                    <a:lnTo>
                      <a:pt x="76" y="38"/>
                    </a:lnTo>
                    <a:lnTo>
                      <a:pt x="78" y="38"/>
                    </a:lnTo>
                    <a:lnTo>
                      <a:pt x="78" y="40"/>
                    </a:lnTo>
                    <a:lnTo>
                      <a:pt x="78" y="38"/>
                    </a:lnTo>
                    <a:lnTo>
                      <a:pt x="78" y="40"/>
                    </a:lnTo>
                    <a:lnTo>
                      <a:pt x="78" y="42"/>
                    </a:lnTo>
                    <a:lnTo>
                      <a:pt x="80" y="42"/>
                    </a:lnTo>
                    <a:lnTo>
                      <a:pt x="80" y="44"/>
                    </a:lnTo>
                    <a:lnTo>
                      <a:pt x="82" y="44"/>
                    </a:lnTo>
                    <a:lnTo>
                      <a:pt x="84" y="46"/>
                    </a:lnTo>
                    <a:lnTo>
                      <a:pt x="84" y="44"/>
                    </a:lnTo>
                    <a:lnTo>
                      <a:pt x="86" y="46"/>
                    </a:lnTo>
                    <a:lnTo>
                      <a:pt x="86" y="48"/>
                    </a:lnTo>
                    <a:lnTo>
                      <a:pt x="88" y="48"/>
                    </a:lnTo>
                    <a:lnTo>
                      <a:pt x="88" y="50"/>
                    </a:lnTo>
                    <a:lnTo>
                      <a:pt x="90" y="50"/>
                    </a:lnTo>
                    <a:lnTo>
                      <a:pt x="90" y="51"/>
                    </a:lnTo>
                    <a:lnTo>
                      <a:pt x="88" y="51"/>
                    </a:lnTo>
                    <a:lnTo>
                      <a:pt x="88" y="50"/>
                    </a:lnTo>
                    <a:lnTo>
                      <a:pt x="88" y="51"/>
                    </a:lnTo>
                    <a:lnTo>
                      <a:pt x="90" y="51"/>
                    </a:lnTo>
                    <a:lnTo>
                      <a:pt x="92" y="51"/>
                    </a:lnTo>
                    <a:lnTo>
                      <a:pt x="92" y="50"/>
                    </a:lnTo>
                    <a:lnTo>
                      <a:pt x="92" y="51"/>
                    </a:lnTo>
                    <a:lnTo>
                      <a:pt x="94" y="51"/>
                    </a:lnTo>
                    <a:lnTo>
                      <a:pt x="96" y="53"/>
                    </a:lnTo>
                    <a:lnTo>
                      <a:pt x="96" y="51"/>
                    </a:lnTo>
                    <a:lnTo>
                      <a:pt x="98" y="51"/>
                    </a:lnTo>
                    <a:lnTo>
                      <a:pt x="96" y="51"/>
                    </a:lnTo>
                    <a:lnTo>
                      <a:pt x="96" y="50"/>
                    </a:lnTo>
                    <a:lnTo>
                      <a:pt x="98" y="48"/>
                    </a:lnTo>
                    <a:lnTo>
                      <a:pt x="96" y="48"/>
                    </a:lnTo>
                    <a:lnTo>
                      <a:pt x="96" y="46"/>
                    </a:lnTo>
                    <a:lnTo>
                      <a:pt x="98" y="46"/>
                    </a:lnTo>
                    <a:lnTo>
                      <a:pt x="98" y="44"/>
                    </a:lnTo>
                    <a:lnTo>
                      <a:pt x="96" y="44"/>
                    </a:lnTo>
                    <a:lnTo>
                      <a:pt x="98" y="42"/>
                    </a:lnTo>
                    <a:lnTo>
                      <a:pt x="98" y="40"/>
                    </a:lnTo>
                    <a:lnTo>
                      <a:pt x="98" y="38"/>
                    </a:lnTo>
                    <a:lnTo>
                      <a:pt x="99" y="38"/>
                    </a:lnTo>
                    <a:lnTo>
                      <a:pt x="99" y="40"/>
                    </a:lnTo>
                    <a:lnTo>
                      <a:pt x="101" y="38"/>
                    </a:lnTo>
                    <a:lnTo>
                      <a:pt x="99" y="38"/>
                    </a:lnTo>
                    <a:lnTo>
                      <a:pt x="101" y="38"/>
                    </a:lnTo>
                    <a:lnTo>
                      <a:pt x="103" y="38"/>
                    </a:lnTo>
                    <a:lnTo>
                      <a:pt x="101" y="40"/>
                    </a:lnTo>
                    <a:lnTo>
                      <a:pt x="103" y="40"/>
                    </a:lnTo>
                    <a:lnTo>
                      <a:pt x="103" y="38"/>
                    </a:lnTo>
                    <a:lnTo>
                      <a:pt x="105" y="38"/>
                    </a:lnTo>
                    <a:lnTo>
                      <a:pt x="105" y="40"/>
                    </a:lnTo>
                    <a:lnTo>
                      <a:pt x="105" y="38"/>
                    </a:lnTo>
                    <a:lnTo>
                      <a:pt x="105" y="40"/>
                    </a:lnTo>
                    <a:lnTo>
                      <a:pt x="107" y="38"/>
                    </a:lnTo>
                    <a:lnTo>
                      <a:pt x="107" y="40"/>
                    </a:lnTo>
                    <a:lnTo>
                      <a:pt x="107" y="38"/>
                    </a:lnTo>
                    <a:lnTo>
                      <a:pt x="109" y="38"/>
                    </a:lnTo>
                    <a:lnTo>
                      <a:pt x="111" y="38"/>
                    </a:lnTo>
                    <a:lnTo>
                      <a:pt x="111" y="40"/>
                    </a:lnTo>
                    <a:lnTo>
                      <a:pt x="113" y="40"/>
                    </a:lnTo>
                    <a:lnTo>
                      <a:pt x="115" y="40"/>
                    </a:lnTo>
                    <a:lnTo>
                      <a:pt x="113" y="40"/>
                    </a:lnTo>
                    <a:lnTo>
                      <a:pt x="115" y="42"/>
                    </a:lnTo>
                    <a:lnTo>
                      <a:pt x="117" y="42"/>
                    </a:lnTo>
                    <a:lnTo>
                      <a:pt x="117" y="44"/>
                    </a:lnTo>
                    <a:lnTo>
                      <a:pt x="117" y="42"/>
                    </a:lnTo>
                    <a:lnTo>
                      <a:pt x="119" y="44"/>
                    </a:lnTo>
                    <a:lnTo>
                      <a:pt x="119" y="46"/>
                    </a:lnTo>
                    <a:lnTo>
                      <a:pt x="121" y="48"/>
                    </a:lnTo>
                    <a:lnTo>
                      <a:pt x="121" y="50"/>
                    </a:lnTo>
                    <a:lnTo>
                      <a:pt x="119" y="50"/>
                    </a:lnTo>
                    <a:lnTo>
                      <a:pt x="119" y="51"/>
                    </a:lnTo>
                    <a:lnTo>
                      <a:pt x="121" y="51"/>
                    </a:lnTo>
                    <a:lnTo>
                      <a:pt x="123" y="51"/>
                    </a:lnTo>
                    <a:lnTo>
                      <a:pt x="124" y="51"/>
                    </a:lnTo>
                    <a:lnTo>
                      <a:pt x="126" y="51"/>
                    </a:lnTo>
                    <a:lnTo>
                      <a:pt x="124" y="53"/>
                    </a:lnTo>
                    <a:lnTo>
                      <a:pt x="126" y="53"/>
                    </a:lnTo>
                    <a:lnTo>
                      <a:pt x="128" y="53"/>
                    </a:lnTo>
                    <a:lnTo>
                      <a:pt x="128" y="51"/>
                    </a:lnTo>
                    <a:lnTo>
                      <a:pt x="130" y="51"/>
                    </a:lnTo>
                    <a:lnTo>
                      <a:pt x="130" y="53"/>
                    </a:lnTo>
                    <a:lnTo>
                      <a:pt x="132" y="53"/>
                    </a:lnTo>
                    <a:lnTo>
                      <a:pt x="132" y="55"/>
                    </a:lnTo>
                    <a:lnTo>
                      <a:pt x="132" y="57"/>
                    </a:lnTo>
                    <a:lnTo>
                      <a:pt x="134" y="55"/>
                    </a:lnTo>
                    <a:lnTo>
                      <a:pt x="134" y="53"/>
                    </a:lnTo>
                    <a:lnTo>
                      <a:pt x="136" y="53"/>
                    </a:lnTo>
                    <a:lnTo>
                      <a:pt x="138" y="53"/>
                    </a:lnTo>
                    <a:lnTo>
                      <a:pt x="140" y="53"/>
                    </a:lnTo>
                    <a:lnTo>
                      <a:pt x="142" y="53"/>
                    </a:lnTo>
                    <a:lnTo>
                      <a:pt x="142" y="55"/>
                    </a:lnTo>
                    <a:lnTo>
                      <a:pt x="142" y="53"/>
                    </a:lnTo>
                    <a:lnTo>
                      <a:pt x="144" y="53"/>
                    </a:lnTo>
                    <a:lnTo>
                      <a:pt x="144" y="51"/>
                    </a:lnTo>
                    <a:lnTo>
                      <a:pt x="144" y="53"/>
                    </a:lnTo>
                    <a:lnTo>
                      <a:pt x="144" y="55"/>
                    </a:lnTo>
                    <a:lnTo>
                      <a:pt x="146" y="55"/>
                    </a:lnTo>
                    <a:lnTo>
                      <a:pt x="144" y="57"/>
                    </a:lnTo>
                    <a:lnTo>
                      <a:pt x="146" y="57"/>
                    </a:lnTo>
                    <a:lnTo>
                      <a:pt x="146" y="59"/>
                    </a:lnTo>
                    <a:lnTo>
                      <a:pt x="146" y="61"/>
                    </a:lnTo>
                    <a:lnTo>
                      <a:pt x="147" y="61"/>
                    </a:lnTo>
                    <a:lnTo>
                      <a:pt x="147" y="63"/>
                    </a:lnTo>
                    <a:lnTo>
                      <a:pt x="147" y="65"/>
                    </a:lnTo>
                    <a:lnTo>
                      <a:pt x="146" y="65"/>
                    </a:lnTo>
                    <a:lnTo>
                      <a:pt x="146" y="67"/>
                    </a:lnTo>
                    <a:lnTo>
                      <a:pt x="144" y="67"/>
                    </a:lnTo>
                    <a:lnTo>
                      <a:pt x="144" y="69"/>
                    </a:lnTo>
                    <a:lnTo>
                      <a:pt x="142" y="69"/>
                    </a:lnTo>
                    <a:lnTo>
                      <a:pt x="144" y="69"/>
                    </a:lnTo>
                    <a:lnTo>
                      <a:pt x="144" y="71"/>
                    </a:lnTo>
                    <a:lnTo>
                      <a:pt x="146" y="71"/>
                    </a:lnTo>
                    <a:lnTo>
                      <a:pt x="146" y="73"/>
                    </a:lnTo>
                    <a:lnTo>
                      <a:pt x="144" y="73"/>
                    </a:lnTo>
                    <a:lnTo>
                      <a:pt x="144" y="75"/>
                    </a:lnTo>
                    <a:lnTo>
                      <a:pt x="146" y="75"/>
                    </a:lnTo>
                    <a:lnTo>
                      <a:pt x="146" y="76"/>
                    </a:lnTo>
                    <a:lnTo>
                      <a:pt x="146" y="78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7" y="82"/>
                    </a:lnTo>
                    <a:lnTo>
                      <a:pt x="147" y="84"/>
                    </a:lnTo>
                    <a:lnTo>
                      <a:pt x="146" y="84"/>
                    </a:lnTo>
                    <a:lnTo>
                      <a:pt x="146" y="86"/>
                    </a:lnTo>
                    <a:lnTo>
                      <a:pt x="144" y="90"/>
                    </a:lnTo>
                    <a:lnTo>
                      <a:pt x="144" y="92"/>
                    </a:lnTo>
                    <a:lnTo>
                      <a:pt x="142" y="92"/>
                    </a:lnTo>
                    <a:lnTo>
                      <a:pt x="142" y="94"/>
                    </a:lnTo>
                    <a:lnTo>
                      <a:pt x="144" y="94"/>
                    </a:lnTo>
                    <a:lnTo>
                      <a:pt x="144" y="96"/>
                    </a:lnTo>
                    <a:lnTo>
                      <a:pt x="144" y="94"/>
                    </a:lnTo>
                    <a:lnTo>
                      <a:pt x="146" y="94"/>
                    </a:lnTo>
                    <a:lnTo>
                      <a:pt x="144" y="96"/>
                    </a:lnTo>
                    <a:lnTo>
                      <a:pt x="146" y="96"/>
                    </a:lnTo>
                    <a:lnTo>
                      <a:pt x="146" y="98"/>
                    </a:lnTo>
                    <a:lnTo>
                      <a:pt x="147" y="98"/>
                    </a:lnTo>
                    <a:lnTo>
                      <a:pt x="147" y="100"/>
                    </a:lnTo>
                    <a:lnTo>
                      <a:pt x="146" y="100"/>
                    </a:lnTo>
                    <a:lnTo>
                      <a:pt x="146" y="101"/>
                    </a:lnTo>
                    <a:lnTo>
                      <a:pt x="147" y="100"/>
                    </a:lnTo>
                    <a:lnTo>
                      <a:pt x="147" y="101"/>
                    </a:lnTo>
                    <a:lnTo>
                      <a:pt x="147" y="103"/>
                    </a:lnTo>
                    <a:lnTo>
                      <a:pt x="149" y="103"/>
                    </a:lnTo>
                    <a:lnTo>
                      <a:pt x="149" y="105"/>
                    </a:lnTo>
                    <a:lnTo>
                      <a:pt x="149" y="107"/>
                    </a:lnTo>
                    <a:lnTo>
                      <a:pt x="149" y="109"/>
                    </a:lnTo>
                    <a:lnTo>
                      <a:pt x="151" y="109"/>
                    </a:lnTo>
                    <a:lnTo>
                      <a:pt x="149" y="109"/>
                    </a:lnTo>
                    <a:lnTo>
                      <a:pt x="147" y="113"/>
                    </a:lnTo>
                    <a:lnTo>
                      <a:pt x="149" y="113"/>
                    </a:lnTo>
                    <a:lnTo>
                      <a:pt x="149" y="115"/>
                    </a:lnTo>
                    <a:lnTo>
                      <a:pt x="147" y="115"/>
                    </a:lnTo>
                    <a:lnTo>
                      <a:pt x="146" y="115"/>
                    </a:lnTo>
                    <a:lnTo>
                      <a:pt x="146" y="117"/>
                    </a:lnTo>
                    <a:lnTo>
                      <a:pt x="144" y="119"/>
                    </a:lnTo>
                    <a:lnTo>
                      <a:pt x="146" y="121"/>
                    </a:lnTo>
                    <a:lnTo>
                      <a:pt x="146" y="123"/>
                    </a:lnTo>
                    <a:lnTo>
                      <a:pt x="146" y="124"/>
                    </a:lnTo>
                    <a:lnTo>
                      <a:pt x="144" y="124"/>
                    </a:lnTo>
                    <a:lnTo>
                      <a:pt x="142" y="124"/>
                    </a:lnTo>
                    <a:lnTo>
                      <a:pt x="144" y="124"/>
                    </a:lnTo>
                    <a:lnTo>
                      <a:pt x="142" y="128"/>
                    </a:lnTo>
                    <a:lnTo>
                      <a:pt x="138" y="132"/>
                    </a:lnTo>
                    <a:lnTo>
                      <a:pt x="140" y="132"/>
                    </a:lnTo>
                    <a:lnTo>
                      <a:pt x="138" y="134"/>
                    </a:lnTo>
                    <a:lnTo>
                      <a:pt x="138" y="136"/>
                    </a:lnTo>
                    <a:lnTo>
                      <a:pt x="136" y="136"/>
                    </a:lnTo>
                    <a:lnTo>
                      <a:pt x="136" y="138"/>
                    </a:lnTo>
                    <a:lnTo>
                      <a:pt x="136" y="140"/>
                    </a:lnTo>
                    <a:lnTo>
                      <a:pt x="134" y="142"/>
                    </a:lnTo>
                    <a:lnTo>
                      <a:pt x="136" y="142"/>
                    </a:lnTo>
                    <a:lnTo>
                      <a:pt x="134" y="144"/>
                    </a:lnTo>
                    <a:lnTo>
                      <a:pt x="134" y="146"/>
                    </a:lnTo>
                    <a:lnTo>
                      <a:pt x="132" y="146"/>
                    </a:lnTo>
                    <a:lnTo>
                      <a:pt x="132" y="148"/>
                    </a:lnTo>
                    <a:lnTo>
                      <a:pt x="130" y="148"/>
                    </a:lnTo>
                    <a:lnTo>
                      <a:pt x="128" y="148"/>
                    </a:lnTo>
                    <a:lnTo>
                      <a:pt x="126" y="148"/>
                    </a:lnTo>
                    <a:lnTo>
                      <a:pt x="126" y="149"/>
                    </a:lnTo>
                    <a:lnTo>
                      <a:pt x="124" y="149"/>
                    </a:lnTo>
                    <a:lnTo>
                      <a:pt x="124" y="151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80">
                <a:extLst>
                  <a:ext uri="{FF2B5EF4-FFF2-40B4-BE49-F238E27FC236}">
                    <a16:creationId xmlns="" xmlns:a16="http://schemas.microsoft.com/office/drawing/2014/main" id="{D87C4969-4DE3-4A84-9563-18C3824D0D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7175" y="3351213"/>
                <a:ext cx="454025" cy="566738"/>
              </a:xfrm>
              <a:custGeom>
                <a:avLst/>
                <a:gdLst>
                  <a:gd name="T0" fmla="*/ 92 w 286"/>
                  <a:gd name="T1" fmla="*/ 351 h 357"/>
                  <a:gd name="T2" fmla="*/ 82 w 286"/>
                  <a:gd name="T3" fmla="*/ 355 h 357"/>
                  <a:gd name="T4" fmla="*/ 77 w 286"/>
                  <a:gd name="T5" fmla="*/ 346 h 357"/>
                  <a:gd name="T6" fmla="*/ 75 w 286"/>
                  <a:gd name="T7" fmla="*/ 334 h 357"/>
                  <a:gd name="T8" fmla="*/ 65 w 286"/>
                  <a:gd name="T9" fmla="*/ 336 h 357"/>
                  <a:gd name="T10" fmla="*/ 57 w 286"/>
                  <a:gd name="T11" fmla="*/ 325 h 357"/>
                  <a:gd name="T12" fmla="*/ 50 w 286"/>
                  <a:gd name="T13" fmla="*/ 323 h 357"/>
                  <a:gd name="T14" fmla="*/ 40 w 286"/>
                  <a:gd name="T15" fmla="*/ 323 h 357"/>
                  <a:gd name="T16" fmla="*/ 31 w 286"/>
                  <a:gd name="T17" fmla="*/ 321 h 357"/>
                  <a:gd name="T18" fmla="*/ 29 w 286"/>
                  <a:gd name="T19" fmla="*/ 319 h 357"/>
                  <a:gd name="T20" fmla="*/ 23 w 286"/>
                  <a:gd name="T21" fmla="*/ 305 h 357"/>
                  <a:gd name="T22" fmla="*/ 19 w 286"/>
                  <a:gd name="T23" fmla="*/ 301 h 357"/>
                  <a:gd name="T24" fmla="*/ 9 w 286"/>
                  <a:gd name="T25" fmla="*/ 305 h 357"/>
                  <a:gd name="T26" fmla="*/ 7 w 286"/>
                  <a:gd name="T27" fmla="*/ 294 h 357"/>
                  <a:gd name="T28" fmla="*/ 4 w 286"/>
                  <a:gd name="T29" fmla="*/ 286 h 357"/>
                  <a:gd name="T30" fmla="*/ 6 w 286"/>
                  <a:gd name="T31" fmla="*/ 280 h 357"/>
                  <a:gd name="T32" fmla="*/ 7 w 286"/>
                  <a:gd name="T33" fmla="*/ 278 h 357"/>
                  <a:gd name="T34" fmla="*/ 29 w 286"/>
                  <a:gd name="T35" fmla="*/ 269 h 357"/>
                  <a:gd name="T36" fmla="*/ 31 w 286"/>
                  <a:gd name="T37" fmla="*/ 255 h 357"/>
                  <a:gd name="T38" fmla="*/ 29 w 286"/>
                  <a:gd name="T39" fmla="*/ 244 h 357"/>
                  <a:gd name="T40" fmla="*/ 36 w 286"/>
                  <a:gd name="T41" fmla="*/ 232 h 357"/>
                  <a:gd name="T42" fmla="*/ 32 w 286"/>
                  <a:gd name="T43" fmla="*/ 228 h 357"/>
                  <a:gd name="T44" fmla="*/ 42 w 286"/>
                  <a:gd name="T45" fmla="*/ 217 h 357"/>
                  <a:gd name="T46" fmla="*/ 46 w 286"/>
                  <a:gd name="T47" fmla="*/ 200 h 357"/>
                  <a:gd name="T48" fmla="*/ 44 w 286"/>
                  <a:gd name="T49" fmla="*/ 186 h 357"/>
                  <a:gd name="T50" fmla="*/ 50 w 286"/>
                  <a:gd name="T51" fmla="*/ 171 h 357"/>
                  <a:gd name="T52" fmla="*/ 61 w 286"/>
                  <a:gd name="T53" fmla="*/ 153 h 357"/>
                  <a:gd name="T54" fmla="*/ 71 w 286"/>
                  <a:gd name="T55" fmla="*/ 134 h 357"/>
                  <a:gd name="T56" fmla="*/ 61 w 286"/>
                  <a:gd name="T57" fmla="*/ 125 h 357"/>
                  <a:gd name="T58" fmla="*/ 63 w 286"/>
                  <a:gd name="T59" fmla="*/ 105 h 357"/>
                  <a:gd name="T60" fmla="*/ 88 w 286"/>
                  <a:gd name="T61" fmla="*/ 63 h 357"/>
                  <a:gd name="T62" fmla="*/ 57 w 286"/>
                  <a:gd name="T63" fmla="*/ 44 h 357"/>
                  <a:gd name="T64" fmla="*/ 55 w 286"/>
                  <a:gd name="T65" fmla="*/ 19 h 357"/>
                  <a:gd name="T66" fmla="*/ 94 w 286"/>
                  <a:gd name="T67" fmla="*/ 2 h 357"/>
                  <a:gd name="T68" fmla="*/ 144 w 286"/>
                  <a:gd name="T69" fmla="*/ 34 h 357"/>
                  <a:gd name="T70" fmla="*/ 186 w 286"/>
                  <a:gd name="T71" fmla="*/ 28 h 357"/>
                  <a:gd name="T72" fmla="*/ 219 w 286"/>
                  <a:gd name="T73" fmla="*/ 25 h 357"/>
                  <a:gd name="T74" fmla="*/ 271 w 286"/>
                  <a:gd name="T75" fmla="*/ 42 h 357"/>
                  <a:gd name="T76" fmla="*/ 286 w 286"/>
                  <a:gd name="T77" fmla="*/ 42 h 357"/>
                  <a:gd name="T78" fmla="*/ 275 w 286"/>
                  <a:gd name="T79" fmla="*/ 59 h 357"/>
                  <a:gd name="T80" fmla="*/ 269 w 286"/>
                  <a:gd name="T81" fmla="*/ 80 h 357"/>
                  <a:gd name="T82" fmla="*/ 259 w 286"/>
                  <a:gd name="T83" fmla="*/ 109 h 357"/>
                  <a:gd name="T84" fmla="*/ 244 w 286"/>
                  <a:gd name="T85" fmla="*/ 127 h 357"/>
                  <a:gd name="T86" fmla="*/ 232 w 286"/>
                  <a:gd name="T87" fmla="*/ 138 h 357"/>
                  <a:gd name="T88" fmla="*/ 203 w 286"/>
                  <a:gd name="T89" fmla="*/ 163 h 357"/>
                  <a:gd name="T90" fmla="*/ 213 w 286"/>
                  <a:gd name="T91" fmla="*/ 180 h 357"/>
                  <a:gd name="T92" fmla="*/ 213 w 286"/>
                  <a:gd name="T93" fmla="*/ 205 h 357"/>
                  <a:gd name="T94" fmla="*/ 217 w 286"/>
                  <a:gd name="T95" fmla="*/ 223 h 357"/>
                  <a:gd name="T96" fmla="*/ 200 w 286"/>
                  <a:gd name="T97" fmla="*/ 246 h 357"/>
                  <a:gd name="T98" fmla="*/ 178 w 286"/>
                  <a:gd name="T99" fmla="*/ 255 h 357"/>
                  <a:gd name="T100" fmla="*/ 178 w 286"/>
                  <a:gd name="T101" fmla="*/ 275 h 357"/>
                  <a:gd name="T102" fmla="*/ 152 w 286"/>
                  <a:gd name="T103" fmla="*/ 275 h 357"/>
                  <a:gd name="T104" fmla="*/ 142 w 286"/>
                  <a:gd name="T105" fmla="*/ 296 h 357"/>
                  <a:gd name="T106" fmla="*/ 138 w 286"/>
                  <a:gd name="T107" fmla="*/ 307 h 357"/>
                  <a:gd name="T108" fmla="*/ 136 w 286"/>
                  <a:gd name="T109" fmla="*/ 307 h 357"/>
                  <a:gd name="T110" fmla="*/ 125 w 286"/>
                  <a:gd name="T111" fmla="*/ 313 h 357"/>
                  <a:gd name="T112" fmla="*/ 107 w 286"/>
                  <a:gd name="T113" fmla="*/ 315 h 357"/>
                  <a:gd name="T114" fmla="*/ 105 w 286"/>
                  <a:gd name="T115" fmla="*/ 332 h 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86" h="357">
                    <a:moveTo>
                      <a:pt x="100" y="348"/>
                    </a:moveTo>
                    <a:lnTo>
                      <a:pt x="98" y="348"/>
                    </a:lnTo>
                    <a:lnTo>
                      <a:pt x="96" y="348"/>
                    </a:lnTo>
                    <a:lnTo>
                      <a:pt x="96" y="350"/>
                    </a:lnTo>
                    <a:lnTo>
                      <a:pt x="96" y="351"/>
                    </a:lnTo>
                    <a:lnTo>
                      <a:pt x="94" y="350"/>
                    </a:lnTo>
                    <a:lnTo>
                      <a:pt x="92" y="351"/>
                    </a:lnTo>
                    <a:lnTo>
                      <a:pt x="90" y="351"/>
                    </a:lnTo>
                    <a:lnTo>
                      <a:pt x="90" y="353"/>
                    </a:lnTo>
                    <a:lnTo>
                      <a:pt x="92" y="351"/>
                    </a:lnTo>
                    <a:lnTo>
                      <a:pt x="90" y="353"/>
                    </a:lnTo>
                    <a:lnTo>
                      <a:pt x="90" y="355"/>
                    </a:lnTo>
                    <a:lnTo>
                      <a:pt x="90" y="353"/>
                    </a:lnTo>
                    <a:lnTo>
                      <a:pt x="92" y="355"/>
                    </a:lnTo>
                    <a:lnTo>
                      <a:pt x="90" y="355"/>
                    </a:lnTo>
                    <a:lnTo>
                      <a:pt x="88" y="355"/>
                    </a:lnTo>
                    <a:lnTo>
                      <a:pt x="86" y="355"/>
                    </a:lnTo>
                    <a:lnTo>
                      <a:pt x="84" y="355"/>
                    </a:lnTo>
                    <a:lnTo>
                      <a:pt x="84" y="357"/>
                    </a:lnTo>
                    <a:lnTo>
                      <a:pt x="82" y="355"/>
                    </a:lnTo>
                    <a:lnTo>
                      <a:pt x="80" y="355"/>
                    </a:lnTo>
                    <a:lnTo>
                      <a:pt x="80" y="357"/>
                    </a:lnTo>
                    <a:lnTo>
                      <a:pt x="79" y="357"/>
                    </a:lnTo>
                    <a:lnTo>
                      <a:pt x="79" y="355"/>
                    </a:lnTo>
                    <a:lnTo>
                      <a:pt x="79" y="353"/>
                    </a:lnTo>
                    <a:lnTo>
                      <a:pt x="79" y="351"/>
                    </a:lnTo>
                    <a:lnTo>
                      <a:pt x="77" y="351"/>
                    </a:lnTo>
                    <a:lnTo>
                      <a:pt x="77" y="350"/>
                    </a:lnTo>
                    <a:lnTo>
                      <a:pt x="77" y="348"/>
                    </a:lnTo>
                    <a:lnTo>
                      <a:pt x="77" y="346"/>
                    </a:lnTo>
                    <a:lnTo>
                      <a:pt x="75" y="346"/>
                    </a:lnTo>
                    <a:lnTo>
                      <a:pt x="75" y="344"/>
                    </a:lnTo>
                    <a:lnTo>
                      <a:pt x="75" y="342"/>
                    </a:lnTo>
                    <a:lnTo>
                      <a:pt x="73" y="340"/>
                    </a:lnTo>
                    <a:lnTo>
                      <a:pt x="73" y="338"/>
                    </a:lnTo>
                    <a:lnTo>
                      <a:pt x="73" y="336"/>
                    </a:lnTo>
                    <a:lnTo>
                      <a:pt x="75" y="336"/>
                    </a:lnTo>
                    <a:lnTo>
                      <a:pt x="75" y="334"/>
                    </a:lnTo>
                    <a:lnTo>
                      <a:pt x="77" y="334"/>
                    </a:lnTo>
                    <a:lnTo>
                      <a:pt x="75" y="334"/>
                    </a:lnTo>
                    <a:lnTo>
                      <a:pt x="73" y="334"/>
                    </a:lnTo>
                    <a:lnTo>
                      <a:pt x="71" y="334"/>
                    </a:lnTo>
                    <a:lnTo>
                      <a:pt x="71" y="332"/>
                    </a:lnTo>
                    <a:lnTo>
                      <a:pt x="71" y="330"/>
                    </a:lnTo>
                    <a:lnTo>
                      <a:pt x="69" y="332"/>
                    </a:lnTo>
                    <a:lnTo>
                      <a:pt x="69" y="334"/>
                    </a:lnTo>
                    <a:lnTo>
                      <a:pt x="67" y="332"/>
                    </a:lnTo>
                    <a:lnTo>
                      <a:pt x="67" y="334"/>
                    </a:lnTo>
                    <a:lnTo>
                      <a:pt x="65" y="334"/>
                    </a:lnTo>
                    <a:lnTo>
                      <a:pt x="65" y="336"/>
                    </a:lnTo>
                    <a:lnTo>
                      <a:pt x="65" y="334"/>
                    </a:lnTo>
                    <a:lnTo>
                      <a:pt x="63" y="334"/>
                    </a:lnTo>
                    <a:lnTo>
                      <a:pt x="61" y="334"/>
                    </a:lnTo>
                    <a:lnTo>
                      <a:pt x="59" y="334"/>
                    </a:lnTo>
                    <a:lnTo>
                      <a:pt x="59" y="332"/>
                    </a:lnTo>
                    <a:lnTo>
                      <a:pt x="59" y="330"/>
                    </a:lnTo>
                    <a:lnTo>
                      <a:pt x="57" y="330"/>
                    </a:lnTo>
                    <a:lnTo>
                      <a:pt x="57" y="328"/>
                    </a:lnTo>
                    <a:lnTo>
                      <a:pt x="57" y="326"/>
                    </a:lnTo>
                    <a:lnTo>
                      <a:pt x="57" y="325"/>
                    </a:lnTo>
                    <a:lnTo>
                      <a:pt x="57" y="323"/>
                    </a:lnTo>
                    <a:lnTo>
                      <a:pt x="57" y="321"/>
                    </a:lnTo>
                    <a:lnTo>
                      <a:pt x="55" y="323"/>
                    </a:lnTo>
                    <a:lnTo>
                      <a:pt x="57" y="323"/>
                    </a:lnTo>
                    <a:lnTo>
                      <a:pt x="55" y="323"/>
                    </a:lnTo>
                    <a:lnTo>
                      <a:pt x="54" y="323"/>
                    </a:lnTo>
                    <a:lnTo>
                      <a:pt x="54" y="321"/>
                    </a:lnTo>
                    <a:lnTo>
                      <a:pt x="52" y="321"/>
                    </a:lnTo>
                    <a:lnTo>
                      <a:pt x="50" y="321"/>
                    </a:lnTo>
                    <a:lnTo>
                      <a:pt x="50" y="323"/>
                    </a:lnTo>
                    <a:lnTo>
                      <a:pt x="50" y="321"/>
                    </a:lnTo>
                    <a:lnTo>
                      <a:pt x="50" y="323"/>
                    </a:lnTo>
                    <a:lnTo>
                      <a:pt x="48" y="323"/>
                    </a:lnTo>
                    <a:lnTo>
                      <a:pt x="48" y="321"/>
                    </a:lnTo>
                    <a:lnTo>
                      <a:pt x="46" y="321"/>
                    </a:lnTo>
                    <a:lnTo>
                      <a:pt x="44" y="321"/>
                    </a:lnTo>
                    <a:lnTo>
                      <a:pt x="44" y="323"/>
                    </a:lnTo>
                    <a:lnTo>
                      <a:pt x="42" y="323"/>
                    </a:lnTo>
                    <a:lnTo>
                      <a:pt x="42" y="325"/>
                    </a:lnTo>
                    <a:lnTo>
                      <a:pt x="40" y="323"/>
                    </a:lnTo>
                    <a:lnTo>
                      <a:pt x="38" y="325"/>
                    </a:lnTo>
                    <a:lnTo>
                      <a:pt x="38" y="323"/>
                    </a:lnTo>
                    <a:lnTo>
                      <a:pt x="36" y="323"/>
                    </a:lnTo>
                    <a:lnTo>
                      <a:pt x="34" y="323"/>
                    </a:lnTo>
                    <a:lnTo>
                      <a:pt x="34" y="321"/>
                    </a:lnTo>
                    <a:lnTo>
                      <a:pt x="34" y="319"/>
                    </a:lnTo>
                    <a:lnTo>
                      <a:pt x="32" y="321"/>
                    </a:lnTo>
                    <a:lnTo>
                      <a:pt x="32" y="323"/>
                    </a:lnTo>
                    <a:lnTo>
                      <a:pt x="32" y="321"/>
                    </a:lnTo>
                    <a:lnTo>
                      <a:pt x="31" y="321"/>
                    </a:lnTo>
                    <a:lnTo>
                      <a:pt x="32" y="321"/>
                    </a:lnTo>
                    <a:lnTo>
                      <a:pt x="32" y="319"/>
                    </a:lnTo>
                    <a:lnTo>
                      <a:pt x="31" y="319"/>
                    </a:lnTo>
                    <a:lnTo>
                      <a:pt x="29" y="319"/>
                    </a:lnTo>
                    <a:lnTo>
                      <a:pt x="29" y="317"/>
                    </a:lnTo>
                    <a:lnTo>
                      <a:pt x="29" y="319"/>
                    </a:lnTo>
                    <a:lnTo>
                      <a:pt x="29" y="317"/>
                    </a:lnTo>
                    <a:lnTo>
                      <a:pt x="29" y="319"/>
                    </a:lnTo>
                    <a:lnTo>
                      <a:pt x="29" y="317"/>
                    </a:lnTo>
                    <a:lnTo>
                      <a:pt x="29" y="319"/>
                    </a:lnTo>
                    <a:lnTo>
                      <a:pt x="27" y="319"/>
                    </a:lnTo>
                    <a:lnTo>
                      <a:pt x="27" y="317"/>
                    </a:lnTo>
                    <a:lnTo>
                      <a:pt x="27" y="315"/>
                    </a:lnTo>
                    <a:lnTo>
                      <a:pt x="27" y="313"/>
                    </a:lnTo>
                    <a:lnTo>
                      <a:pt x="25" y="313"/>
                    </a:lnTo>
                    <a:lnTo>
                      <a:pt x="25" y="311"/>
                    </a:lnTo>
                    <a:lnTo>
                      <a:pt x="25" y="309"/>
                    </a:lnTo>
                    <a:lnTo>
                      <a:pt x="23" y="309"/>
                    </a:lnTo>
                    <a:lnTo>
                      <a:pt x="23" y="307"/>
                    </a:lnTo>
                    <a:lnTo>
                      <a:pt x="23" y="305"/>
                    </a:lnTo>
                    <a:lnTo>
                      <a:pt x="23" y="303"/>
                    </a:lnTo>
                    <a:lnTo>
                      <a:pt x="21" y="303"/>
                    </a:lnTo>
                    <a:lnTo>
                      <a:pt x="21" y="301"/>
                    </a:lnTo>
                    <a:lnTo>
                      <a:pt x="21" y="300"/>
                    </a:lnTo>
                    <a:lnTo>
                      <a:pt x="19" y="300"/>
                    </a:lnTo>
                    <a:lnTo>
                      <a:pt x="19" y="301"/>
                    </a:lnTo>
                    <a:lnTo>
                      <a:pt x="19" y="300"/>
                    </a:lnTo>
                    <a:lnTo>
                      <a:pt x="19" y="301"/>
                    </a:lnTo>
                    <a:lnTo>
                      <a:pt x="17" y="301"/>
                    </a:lnTo>
                    <a:lnTo>
                      <a:pt x="19" y="301"/>
                    </a:lnTo>
                    <a:lnTo>
                      <a:pt x="17" y="301"/>
                    </a:lnTo>
                    <a:lnTo>
                      <a:pt x="17" y="303"/>
                    </a:lnTo>
                    <a:lnTo>
                      <a:pt x="15" y="303"/>
                    </a:lnTo>
                    <a:lnTo>
                      <a:pt x="15" y="305"/>
                    </a:lnTo>
                    <a:lnTo>
                      <a:pt x="13" y="307"/>
                    </a:lnTo>
                    <a:lnTo>
                      <a:pt x="11" y="307"/>
                    </a:lnTo>
                    <a:lnTo>
                      <a:pt x="11" y="309"/>
                    </a:lnTo>
                    <a:lnTo>
                      <a:pt x="11" y="307"/>
                    </a:lnTo>
                    <a:lnTo>
                      <a:pt x="9" y="307"/>
                    </a:lnTo>
                    <a:lnTo>
                      <a:pt x="9" y="305"/>
                    </a:lnTo>
                    <a:lnTo>
                      <a:pt x="9" y="303"/>
                    </a:lnTo>
                    <a:lnTo>
                      <a:pt x="11" y="303"/>
                    </a:lnTo>
                    <a:lnTo>
                      <a:pt x="11" y="301"/>
                    </a:lnTo>
                    <a:lnTo>
                      <a:pt x="11" y="300"/>
                    </a:lnTo>
                    <a:lnTo>
                      <a:pt x="7" y="300"/>
                    </a:lnTo>
                    <a:lnTo>
                      <a:pt x="7" y="298"/>
                    </a:lnTo>
                    <a:lnTo>
                      <a:pt x="9" y="296"/>
                    </a:lnTo>
                    <a:lnTo>
                      <a:pt x="7" y="296"/>
                    </a:lnTo>
                    <a:lnTo>
                      <a:pt x="9" y="294"/>
                    </a:lnTo>
                    <a:lnTo>
                      <a:pt x="7" y="294"/>
                    </a:lnTo>
                    <a:lnTo>
                      <a:pt x="7" y="292"/>
                    </a:lnTo>
                    <a:lnTo>
                      <a:pt x="7" y="290"/>
                    </a:lnTo>
                    <a:lnTo>
                      <a:pt x="6" y="290"/>
                    </a:lnTo>
                    <a:lnTo>
                      <a:pt x="6" y="288"/>
                    </a:lnTo>
                    <a:lnTo>
                      <a:pt x="7" y="288"/>
                    </a:lnTo>
                    <a:lnTo>
                      <a:pt x="7" y="286"/>
                    </a:lnTo>
                    <a:lnTo>
                      <a:pt x="9" y="286"/>
                    </a:lnTo>
                    <a:lnTo>
                      <a:pt x="7" y="284"/>
                    </a:lnTo>
                    <a:lnTo>
                      <a:pt x="6" y="286"/>
                    </a:lnTo>
                    <a:lnTo>
                      <a:pt x="4" y="286"/>
                    </a:lnTo>
                    <a:lnTo>
                      <a:pt x="6" y="284"/>
                    </a:lnTo>
                    <a:lnTo>
                      <a:pt x="4" y="284"/>
                    </a:lnTo>
                    <a:lnTo>
                      <a:pt x="2" y="284"/>
                    </a:lnTo>
                    <a:lnTo>
                      <a:pt x="2" y="286"/>
                    </a:lnTo>
                    <a:lnTo>
                      <a:pt x="0" y="286"/>
                    </a:lnTo>
                    <a:lnTo>
                      <a:pt x="0" y="284"/>
                    </a:lnTo>
                    <a:lnTo>
                      <a:pt x="2" y="284"/>
                    </a:lnTo>
                    <a:lnTo>
                      <a:pt x="2" y="282"/>
                    </a:lnTo>
                    <a:lnTo>
                      <a:pt x="4" y="282"/>
                    </a:lnTo>
                    <a:lnTo>
                      <a:pt x="6" y="280"/>
                    </a:lnTo>
                    <a:lnTo>
                      <a:pt x="4" y="278"/>
                    </a:lnTo>
                    <a:lnTo>
                      <a:pt x="6" y="276"/>
                    </a:lnTo>
                    <a:lnTo>
                      <a:pt x="4" y="276"/>
                    </a:lnTo>
                    <a:lnTo>
                      <a:pt x="4" y="275"/>
                    </a:lnTo>
                    <a:lnTo>
                      <a:pt x="6" y="275"/>
                    </a:lnTo>
                    <a:lnTo>
                      <a:pt x="4" y="273"/>
                    </a:lnTo>
                    <a:lnTo>
                      <a:pt x="6" y="273"/>
                    </a:lnTo>
                    <a:lnTo>
                      <a:pt x="7" y="273"/>
                    </a:lnTo>
                    <a:lnTo>
                      <a:pt x="7" y="276"/>
                    </a:lnTo>
                    <a:lnTo>
                      <a:pt x="7" y="278"/>
                    </a:lnTo>
                    <a:lnTo>
                      <a:pt x="9" y="278"/>
                    </a:lnTo>
                    <a:lnTo>
                      <a:pt x="11" y="278"/>
                    </a:lnTo>
                    <a:lnTo>
                      <a:pt x="11" y="276"/>
                    </a:lnTo>
                    <a:lnTo>
                      <a:pt x="13" y="276"/>
                    </a:lnTo>
                    <a:lnTo>
                      <a:pt x="15" y="275"/>
                    </a:lnTo>
                    <a:lnTo>
                      <a:pt x="19" y="269"/>
                    </a:lnTo>
                    <a:lnTo>
                      <a:pt x="21" y="267"/>
                    </a:lnTo>
                    <a:lnTo>
                      <a:pt x="25" y="269"/>
                    </a:lnTo>
                    <a:lnTo>
                      <a:pt x="27" y="269"/>
                    </a:lnTo>
                    <a:lnTo>
                      <a:pt x="29" y="269"/>
                    </a:lnTo>
                    <a:lnTo>
                      <a:pt x="31" y="267"/>
                    </a:lnTo>
                    <a:lnTo>
                      <a:pt x="29" y="267"/>
                    </a:lnTo>
                    <a:lnTo>
                      <a:pt x="29" y="265"/>
                    </a:lnTo>
                    <a:lnTo>
                      <a:pt x="29" y="263"/>
                    </a:lnTo>
                    <a:lnTo>
                      <a:pt x="27" y="261"/>
                    </a:lnTo>
                    <a:lnTo>
                      <a:pt x="29" y="261"/>
                    </a:lnTo>
                    <a:lnTo>
                      <a:pt x="27" y="261"/>
                    </a:lnTo>
                    <a:lnTo>
                      <a:pt x="29" y="259"/>
                    </a:lnTo>
                    <a:lnTo>
                      <a:pt x="31" y="257"/>
                    </a:lnTo>
                    <a:lnTo>
                      <a:pt x="31" y="255"/>
                    </a:lnTo>
                    <a:lnTo>
                      <a:pt x="32" y="255"/>
                    </a:lnTo>
                    <a:lnTo>
                      <a:pt x="32" y="253"/>
                    </a:lnTo>
                    <a:lnTo>
                      <a:pt x="31" y="251"/>
                    </a:lnTo>
                    <a:lnTo>
                      <a:pt x="32" y="251"/>
                    </a:lnTo>
                    <a:lnTo>
                      <a:pt x="32" y="250"/>
                    </a:lnTo>
                    <a:lnTo>
                      <a:pt x="34" y="250"/>
                    </a:lnTo>
                    <a:lnTo>
                      <a:pt x="31" y="248"/>
                    </a:lnTo>
                    <a:lnTo>
                      <a:pt x="31" y="246"/>
                    </a:lnTo>
                    <a:lnTo>
                      <a:pt x="29" y="246"/>
                    </a:lnTo>
                    <a:lnTo>
                      <a:pt x="29" y="244"/>
                    </a:lnTo>
                    <a:lnTo>
                      <a:pt x="31" y="242"/>
                    </a:lnTo>
                    <a:lnTo>
                      <a:pt x="32" y="240"/>
                    </a:lnTo>
                    <a:lnTo>
                      <a:pt x="32" y="242"/>
                    </a:lnTo>
                    <a:lnTo>
                      <a:pt x="34" y="240"/>
                    </a:lnTo>
                    <a:lnTo>
                      <a:pt x="36" y="240"/>
                    </a:lnTo>
                    <a:lnTo>
                      <a:pt x="36" y="238"/>
                    </a:lnTo>
                    <a:lnTo>
                      <a:pt x="34" y="238"/>
                    </a:lnTo>
                    <a:lnTo>
                      <a:pt x="34" y="236"/>
                    </a:lnTo>
                    <a:lnTo>
                      <a:pt x="34" y="234"/>
                    </a:lnTo>
                    <a:lnTo>
                      <a:pt x="36" y="232"/>
                    </a:lnTo>
                    <a:lnTo>
                      <a:pt x="34" y="232"/>
                    </a:lnTo>
                    <a:lnTo>
                      <a:pt x="32" y="232"/>
                    </a:lnTo>
                    <a:lnTo>
                      <a:pt x="31" y="230"/>
                    </a:lnTo>
                    <a:lnTo>
                      <a:pt x="32" y="230"/>
                    </a:lnTo>
                    <a:lnTo>
                      <a:pt x="32" y="228"/>
                    </a:lnTo>
                    <a:lnTo>
                      <a:pt x="31" y="228"/>
                    </a:lnTo>
                    <a:lnTo>
                      <a:pt x="31" y="226"/>
                    </a:lnTo>
                    <a:lnTo>
                      <a:pt x="32" y="228"/>
                    </a:lnTo>
                    <a:lnTo>
                      <a:pt x="32" y="226"/>
                    </a:lnTo>
                    <a:lnTo>
                      <a:pt x="32" y="228"/>
                    </a:lnTo>
                    <a:lnTo>
                      <a:pt x="34" y="226"/>
                    </a:lnTo>
                    <a:lnTo>
                      <a:pt x="36" y="226"/>
                    </a:lnTo>
                    <a:lnTo>
                      <a:pt x="36" y="225"/>
                    </a:lnTo>
                    <a:lnTo>
                      <a:pt x="36" y="223"/>
                    </a:lnTo>
                    <a:lnTo>
                      <a:pt x="36" y="221"/>
                    </a:lnTo>
                    <a:lnTo>
                      <a:pt x="38" y="221"/>
                    </a:lnTo>
                    <a:lnTo>
                      <a:pt x="40" y="223"/>
                    </a:lnTo>
                    <a:lnTo>
                      <a:pt x="40" y="221"/>
                    </a:lnTo>
                    <a:lnTo>
                      <a:pt x="40" y="219"/>
                    </a:lnTo>
                    <a:lnTo>
                      <a:pt x="42" y="217"/>
                    </a:lnTo>
                    <a:lnTo>
                      <a:pt x="42" y="215"/>
                    </a:lnTo>
                    <a:lnTo>
                      <a:pt x="42" y="213"/>
                    </a:lnTo>
                    <a:lnTo>
                      <a:pt x="44" y="213"/>
                    </a:lnTo>
                    <a:lnTo>
                      <a:pt x="44" y="211"/>
                    </a:lnTo>
                    <a:lnTo>
                      <a:pt x="44" y="209"/>
                    </a:lnTo>
                    <a:lnTo>
                      <a:pt x="44" y="207"/>
                    </a:lnTo>
                    <a:lnTo>
                      <a:pt x="46" y="205"/>
                    </a:lnTo>
                    <a:lnTo>
                      <a:pt x="46" y="203"/>
                    </a:lnTo>
                    <a:lnTo>
                      <a:pt x="46" y="201"/>
                    </a:lnTo>
                    <a:lnTo>
                      <a:pt x="46" y="200"/>
                    </a:lnTo>
                    <a:lnTo>
                      <a:pt x="46" y="198"/>
                    </a:lnTo>
                    <a:lnTo>
                      <a:pt x="44" y="196"/>
                    </a:lnTo>
                    <a:lnTo>
                      <a:pt x="44" y="194"/>
                    </a:lnTo>
                    <a:lnTo>
                      <a:pt x="46" y="194"/>
                    </a:lnTo>
                    <a:lnTo>
                      <a:pt x="46" y="192"/>
                    </a:lnTo>
                    <a:lnTo>
                      <a:pt x="46" y="190"/>
                    </a:lnTo>
                    <a:lnTo>
                      <a:pt x="44" y="190"/>
                    </a:lnTo>
                    <a:lnTo>
                      <a:pt x="46" y="190"/>
                    </a:lnTo>
                    <a:lnTo>
                      <a:pt x="46" y="188"/>
                    </a:lnTo>
                    <a:lnTo>
                      <a:pt x="44" y="186"/>
                    </a:lnTo>
                    <a:lnTo>
                      <a:pt x="44" y="184"/>
                    </a:lnTo>
                    <a:lnTo>
                      <a:pt x="46" y="182"/>
                    </a:lnTo>
                    <a:lnTo>
                      <a:pt x="48" y="182"/>
                    </a:lnTo>
                    <a:lnTo>
                      <a:pt x="48" y="180"/>
                    </a:lnTo>
                    <a:lnTo>
                      <a:pt x="50" y="180"/>
                    </a:lnTo>
                    <a:lnTo>
                      <a:pt x="48" y="178"/>
                    </a:lnTo>
                    <a:lnTo>
                      <a:pt x="48" y="176"/>
                    </a:lnTo>
                    <a:lnTo>
                      <a:pt x="48" y="175"/>
                    </a:lnTo>
                    <a:lnTo>
                      <a:pt x="48" y="173"/>
                    </a:lnTo>
                    <a:lnTo>
                      <a:pt x="50" y="171"/>
                    </a:lnTo>
                    <a:lnTo>
                      <a:pt x="50" y="167"/>
                    </a:lnTo>
                    <a:lnTo>
                      <a:pt x="50" y="165"/>
                    </a:lnTo>
                    <a:lnTo>
                      <a:pt x="52" y="161"/>
                    </a:lnTo>
                    <a:lnTo>
                      <a:pt x="54" y="159"/>
                    </a:lnTo>
                    <a:lnTo>
                      <a:pt x="55" y="157"/>
                    </a:lnTo>
                    <a:lnTo>
                      <a:pt x="55" y="155"/>
                    </a:lnTo>
                    <a:lnTo>
                      <a:pt x="57" y="155"/>
                    </a:lnTo>
                    <a:lnTo>
                      <a:pt x="57" y="153"/>
                    </a:lnTo>
                    <a:lnTo>
                      <a:pt x="59" y="153"/>
                    </a:lnTo>
                    <a:lnTo>
                      <a:pt x="61" y="153"/>
                    </a:lnTo>
                    <a:lnTo>
                      <a:pt x="63" y="151"/>
                    </a:lnTo>
                    <a:lnTo>
                      <a:pt x="61" y="148"/>
                    </a:lnTo>
                    <a:lnTo>
                      <a:pt x="59" y="146"/>
                    </a:lnTo>
                    <a:lnTo>
                      <a:pt x="59" y="144"/>
                    </a:lnTo>
                    <a:lnTo>
                      <a:pt x="61" y="140"/>
                    </a:lnTo>
                    <a:lnTo>
                      <a:pt x="61" y="138"/>
                    </a:lnTo>
                    <a:lnTo>
                      <a:pt x="65" y="136"/>
                    </a:lnTo>
                    <a:lnTo>
                      <a:pt x="67" y="136"/>
                    </a:lnTo>
                    <a:lnTo>
                      <a:pt x="69" y="134"/>
                    </a:lnTo>
                    <a:lnTo>
                      <a:pt x="71" y="134"/>
                    </a:lnTo>
                    <a:lnTo>
                      <a:pt x="69" y="132"/>
                    </a:lnTo>
                    <a:lnTo>
                      <a:pt x="71" y="132"/>
                    </a:lnTo>
                    <a:lnTo>
                      <a:pt x="71" y="130"/>
                    </a:lnTo>
                    <a:lnTo>
                      <a:pt x="69" y="130"/>
                    </a:lnTo>
                    <a:lnTo>
                      <a:pt x="67" y="127"/>
                    </a:lnTo>
                    <a:lnTo>
                      <a:pt x="65" y="127"/>
                    </a:lnTo>
                    <a:lnTo>
                      <a:pt x="65" y="128"/>
                    </a:lnTo>
                    <a:lnTo>
                      <a:pt x="65" y="130"/>
                    </a:lnTo>
                    <a:lnTo>
                      <a:pt x="63" y="128"/>
                    </a:lnTo>
                    <a:lnTo>
                      <a:pt x="61" y="125"/>
                    </a:lnTo>
                    <a:lnTo>
                      <a:pt x="59" y="125"/>
                    </a:lnTo>
                    <a:lnTo>
                      <a:pt x="57" y="125"/>
                    </a:lnTo>
                    <a:lnTo>
                      <a:pt x="57" y="123"/>
                    </a:lnTo>
                    <a:lnTo>
                      <a:pt x="57" y="121"/>
                    </a:lnTo>
                    <a:lnTo>
                      <a:pt x="57" y="117"/>
                    </a:lnTo>
                    <a:lnTo>
                      <a:pt x="57" y="111"/>
                    </a:lnTo>
                    <a:lnTo>
                      <a:pt x="57" y="109"/>
                    </a:lnTo>
                    <a:lnTo>
                      <a:pt x="59" y="109"/>
                    </a:lnTo>
                    <a:lnTo>
                      <a:pt x="61" y="107"/>
                    </a:lnTo>
                    <a:lnTo>
                      <a:pt x="63" y="105"/>
                    </a:lnTo>
                    <a:lnTo>
                      <a:pt x="75" y="90"/>
                    </a:lnTo>
                    <a:lnTo>
                      <a:pt x="79" y="94"/>
                    </a:lnTo>
                    <a:lnTo>
                      <a:pt x="84" y="82"/>
                    </a:lnTo>
                    <a:lnTo>
                      <a:pt x="88" y="77"/>
                    </a:lnTo>
                    <a:lnTo>
                      <a:pt x="90" y="75"/>
                    </a:lnTo>
                    <a:lnTo>
                      <a:pt x="90" y="69"/>
                    </a:lnTo>
                    <a:lnTo>
                      <a:pt x="90" y="67"/>
                    </a:lnTo>
                    <a:lnTo>
                      <a:pt x="90" y="65"/>
                    </a:lnTo>
                    <a:lnTo>
                      <a:pt x="90" y="63"/>
                    </a:lnTo>
                    <a:lnTo>
                      <a:pt x="88" y="63"/>
                    </a:lnTo>
                    <a:lnTo>
                      <a:pt x="88" y="61"/>
                    </a:lnTo>
                    <a:lnTo>
                      <a:pt x="88" y="59"/>
                    </a:lnTo>
                    <a:lnTo>
                      <a:pt x="88" y="57"/>
                    </a:lnTo>
                    <a:lnTo>
                      <a:pt x="84" y="63"/>
                    </a:lnTo>
                    <a:lnTo>
                      <a:pt x="73" y="57"/>
                    </a:lnTo>
                    <a:lnTo>
                      <a:pt x="71" y="55"/>
                    </a:lnTo>
                    <a:lnTo>
                      <a:pt x="67" y="53"/>
                    </a:lnTo>
                    <a:lnTo>
                      <a:pt x="61" y="48"/>
                    </a:lnTo>
                    <a:lnTo>
                      <a:pt x="59" y="48"/>
                    </a:lnTo>
                    <a:lnTo>
                      <a:pt x="57" y="44"/>
                    </a:lnTo>
                    <a:lnTo>
                      <a:pt x="59" y="42"/>
                    </a:lnTo>
                    <a:lnTo>
                      <a:pt x="63" y="36"/>
                    </a:lnTo>
                    <a:lnTo>
                      <a:pt x="61" y="36"/>
                    </a:lnTo>
                    <a:lnTo>
                      <a:pt x="63" y="32"/>
                    </a:lnTo>
                    <a:lnTo>
                      <a:pt x="65" y="32"/>
                    </a:lnTo>
                    <a:lnTo>
                      <a:pt x="61" y="28"/>
                    </a:lnTo>
                    <a:lnTo>
                      <a:pt x="59" y="27"/>
                    </a:lnTo>
                    <a:lnTo>
                      <a:pt x="63" y="23"/>
                    </a:lnTo>
                    <a:lnTo>
                      <a:pt x="59" y="21"/>
                    </a:lnTo>
                    <a:lnTo>
                      <a:pt x="55" y="19"/>
                    </a:lnTo>
                    <a:lnTo>
                      <a:pt x="54" y="15"/>
                    </a:lnTo>
                    <a:lnTo>
                      <a:pt x="57" y="9"/>
                    </a:lnTo>
                    <a:lnTo>
                      <a:pt x="63" y="3"/>
                    </a:lnTo>
                    <a:lnTo>
                      <a:pt x="65" y="0"/>
                    </a:lnTo>
                    <a:lnTo>
                      <a:pt x="73" y="5"/>
                    </a:lnTo>
                    <a:lnTo>
                      <a:pt x="75" y="7"/>
                    </a:lnTo>
                    <a:lnTo>
                      <a:pt x="82" y="0"/>
                    </a:lnTo>
                    <a:lnTo>
                      <a:pt x="84" y="3"/>
                    </a:lnTo>
                    <a:lnTo>
                      <a:pt x="90" y="7"/>
                    </a:lnTo>
                    <a:lnTo>
                      <a:pt x="94" y="2"/>
                    </a:lnTo>
                    <a:lnTo>
                      <a:pt x="96" y="0"/>
                    </a:lnTo>
                    <a:lnTo>
                      <a:pt x="104" y="5"/>
                    </a:lnTo>
                    <a:lnTo>
                      <a:pt x="109" y="9"/>
                    </a:lnTo>
                    <a:lnTo>
                      <a:pt x="105" y="13"/>
                    </a:lnTo>
                    <a:lnTo>
                      <a:pt x="104" y="17"/>
                    </a:lnTo>
                    <a:lnTo>
                      <a:pt x="115" y="27"/>
                    </a:lnTo>
                    <a:lnTo>
                      <a:pt x="121" y="19"/>
                    </a:lnTo>
                    <a:lnTo>
                      <a:pt x="121" y="17"/>
                    </a:lnTo>
                    <a:lnTo>
                      <a:pt x="125" y="21"/>
                    </a:lnTo>
                    <a:lnTo>
                      <a:pt x="144" y="34"/>
                    </a:lnTo>
                    <a:lnTo>
                      <a:pt x="148" y="38"/>
                    </a:lnTo>
                    <a:lnTo>
                      <a:pt x="148" y="36"/>
                    </a:lnTo>
                    <a:lnTo>
                      <a:pt x="150" y="34"/>
                    </a:lnTo>
                    <a:lnTo>
                      <a:pt x="153" y="30"/>
                    </a:lnTo>
                    <a:lnTo>
                      <a:pt x="157" y="32"/>
                    </a:lnTo>
                    <a:lnTo>
                      <a:pt x="163" y="25"/>
                    </a:lnTo>
                    <a:lnTo>
                      <a:pt x="173" y="34"/>
                    </a:lnTo>
                    <a:lnTo>
                      <a:pt x="177" y="28"/>
                    </a:lnTo>
                    <a:lnTo>
                      <a:pt x="180" y="25"/>
                    </a:lnTo>
                    <a:lnTo>
                      <a:pt x="186" y="28"/>
                    </a:lnTo>
                    <a:lnTo>
                      <a:pt x="192" y="32"/>
                    </a:lnTo>
                    <a:lnTo>
                      <a:pt x="196" y="28"/>
                    </a:lnTo>
                    <a:lnTo>
                      <a:pt x="196" y="27"/>
                    </a:lnTo>
                    <a:lnTo>
                      <a:pt x="194" y="27"/>
                    </a:lnTo>
                    <a:lnTo>
                      <a:pt x="200" y="19"/>
                    </a:lnTo>
                    <a:lnTo>
                      <a:pt x="203" y="23"/>
                    </a:lnTo>
                    <a:lnTo>
                      <a:pt x="207" y="19"/>
                    </a:lnTo>
                    <a:lnTo>
                      <a:pt x="209" y="19"/>
                    </a:lnTo>
                    <a:lnTo>
                      <a:pt x="209" y="17"/>
                    </a:lnTo>
                    <a:lnTo>
                      <a:pt x="219" y="25"/>
                    </a:lnTo>
                    <a:lnTo>
                      <a:pt x="221" y="25"/>
                    </a:lnTo>
                    <a:lnTo>
                      <a:pt x="221" y="23"/>
                    </a:lnTo>
                    <a:lnTo>
                      <a:pt x="223" y="25"/>
                    </a:lnTo>
                    <a:lnTo>
                      <a:pt x="240" y="30"/>
                    </a:lnTo>
                    <a:lnTo>
                      <a:pt x="250" y="34"/>
                    </a:lnTo>
                    <a:lnTo>
                      <a:pt x="265" y="42"/>
                    </a:lnTo>
                    <a:lnTo>
                      <a:pt x="269" y="42"/>
                    </a:lnTo>
                    <a:lnTo>
                      <a:pt x="269" y="40"/>
                    </a:lnTo>
                    <a:lnTo>
                      <a:pt x="271" y="40"/>
                    </a:lnTo>
                    <a:lnTo>
                      <a:pt x="271" y="42"/>
                    </a:lnTo>
                    <a:lnTo>
                      <a:pt x="273" y="42"/>
                    </a:lnTo>
                    <a:lnTo>
                      <a:pt x="275" y="42"/>
                    </a:lnTo>
                    <a:lnTo>
                      <a:pt x="276" y="40"/>
                    </a:lnTo>
                    <a:lnTo>
                      <a:pt x="278" y="38"/>
                    </a:lnTo>
                    <a:lnTo>
                      <a:pt x="278" y="36"/>
                    </a:lnTo>
                    <a:lnTo>
                      <a:pt x="280" y="38"/>
                    </a:lnTo>
                    <a:lnTo>
                      <a:pt x="282" y="38"/>
                    </a:lnTo>
                    <a:lnTo>
                      <a:pt x="284" y="38"/>
                    </a:lnTo>
                    <a:lnTo>
                      <a:pt x="286" y="40"/>
                    </a:lnTo>
                    <a:lnTo>
                      <a:pt x="286" y="42"/>
                    </a:lnTo>
                    <a:lnTo>
                      <a:pt x="284" y="44"/>
                    </a:lnTo>
                    <a:lnTo>
                      <a:pt x="284" y="46"/>
                    </a:lnTo>
                    <a:lnTo>
                      <a:pt x="284" y="48"/>
                    </a:lnTo>
                    <a:lnTo>
                      <a:pt x="282" y="50"/>
                    </a:lnTo>
                    <a:lnTo>
                      <a:pt x="282" y="52"/>
                    </a:lnTo>
                    <a:lnTo>
                      <a:pt x="282" y="53"/>
                    </a:lnTo>
                    <a:lnTo>
                      <a:pt x="280" y="53"/>
                    </a:lnTo>
                    <a:lnTo>
                      <a:pt x="278" y="55"/>
                    </a:lnTo>
                    <a:lnTo>
                      <a:pt x="276" y="57"/>
                    </a:lnTo>
                    <a:lnTo>
                      <a:pt x="275" y="59"/>
                    </a:lnTo>
                    <a:lnTo>
                      <a:pt x="273" y="61"/>
                    </a:lnTo>
                    <a:lnTo>
                      <a:pt x="273" y="63"/>
                    </a:lnTo>
                    <a:lnTo>
                      <a:pt x="273" y="67"/>
                    </a:lnTo>
                    <a:lnTo>
                      <a:pt x="273" y="69"/>
                    </a:lnTo>
                    <a:lnTo>
                      <a:pt x="273" y="71"/>
                    </a:lnTo>
                    <a:lnTo>
                      <a:pt x="273" y="73"/>
                    </a:lnTo>
                    <a:lnTo>
                      <a:pt x="271" y="75"/>
                    </a:lnTo>
                    <a:lnTo>
                      <a:pt x="271" y="77"/>
                    </a:lnTo>
                    <a:lnTo>
                      <a:pt x="271" y="78"/>
                    </a:lnTo>
                    <a:lnTo>
                      <a:pt x="269" y="80"/>
                    </a:lnTo>
                    <a:lnTo>
                      <a:pt x="271" y="82"/>
                    </a:lnTo>
                    <a:lnTo>
                      <a:pt x="273" y="82"/>
                    </a:lnTo>
                    <a:lnTo>
                      <a:pt x="271" y="86"/>
                    </a:lnTo>
                    <a:lnTo>
                      <a:pt x="269" y="90"/>
                    </a:lnTo>
                    <a:lnTo>
                      <a:pt x="269" y="92"/>
                    </a:lnTo>
                    <a:lnTo>
                      <a:pt x="267" y="94"/>
                    </a:lnTo>
                    <a:lnTo>
                      <a:pt x="265" y="96"/>
                    </a:lnTo>
                    <a:lnTo>
                      <a:pt x="263" y="100"/>
                    </a:lnTo>
                    <a:lnTo>
                      <a:pt x="261" y="105"/>
                    </a:lnTo>
                    <a:lnTo>
                      <a:pt x="259" y="109"/>
                    </a:lnTo>
                    <a:lnTo>
                      <a:pt x="257" y="107"/>
                    </a:lnTo>
                    <a:lnTo>
                      <a:pt x="255" y="109"/>
                    </a:lnTo>
                    <a:lnTo>
                      <a:pt x="253" y="111"/>
                    </a:lnTo>
                    <a:lnTo>
                      <a:pt x="251" y="113"/>
                    </a:lnTo>
                    <a:lnTo>
                      <a:pt x="250" y="115"/>
                    </a:lnTo>
                    <a:lnTo>
                      <a:pt x="250" y="117"/>
                    </a:lnTo>
                    <a:lnTo>
                      <a:pt x="248" y="119"/>
                    </a:lnTo>
                    <a:lnTo>
                      <a:pt x="248" y="121"/>
                    </a:lnTo>
                    <a:lnTo>
                      <a:pt x="246" y="123"/>
                    </a:lnTo>
                    <a:lnTo>
                      <a:pt x="244" y="127"/>
                    </a:lnTo>
                    <a:lnTo>
                      <a:pt x="242" y="128"/>
                    </a:lnTo>
                    <a:lnTo>
                      <a:pt x="240" y="130"/>
                    </a:lnTo>
                    <a:lnTo>
                      <a:pt x="240" y="132"/>
                    </a:lnTo>
                    <a:lnTo>
                      <a:pt x="238" y="134"/>
                    </a:lnTo>
                    <a:lnTo>
                      <a:pt x="236" y="136"/>
                    </a:lnTo>
                    <a:lnTo>
                      <a:pt x="236" y="138"/>
                    </a:lnTo>
                    <a:lnTo>
                      <a:pt x="234" y="138"/>
                    </a:lnTo>
                    <a:lnTo>
                      <a:pt x="236" y="140"/>
                    </a:lnTo>
                    <a:lnTo>
                      <a:pt x="234" y="140"/>
                    </a:lnTo>
                    <a:lnTo>
                      <a:pt x="232" y="138"/>
                    </a:lnTo>
                    <a:lnTo>
                      <a:pt x="228" y="142"/>
                    </a:lnTo>
                    <a:lnTo>
                      <a:pt x="226" y="144"/>
                    </a:lnTo>
                    <a:lnTo>
                      <a:pt x="225" y="142"/>
                    </a:lnTo>
                    <a:lnTo>
                      <a:pt x="219" y="151"/>
                    </a:lnTo>
                    <a:lnTo>
                      <a:pt x="217" y="150"/>
                    </a:lnTo>
                    <a:lnTo>
                      <a:pt x="215" y="148"/>
                    </a:lnTo>
                    <a:lnTo>
                      <a:pt x="209" y="157"/>
                    </a:lnTo>
                    <a:lnTo>
                      <a:pt x="207" y="159"/>
                    </a:lnTo>
                    <a:lnTo>
                      <a:pt x="203" y="161"/>
                    </a:lnTo>
                    <a:lnTo>
                      <a:pt x="203" y="163"/>
                    </a:lnTo>
                    <a:lnTo>
                      <a:pt x="205" y="163"/>
                    </a:lnTo>
                    <a:lnTo>
                      <a:pt x="207" y="165"/>
                    </a:lnTo>
                    <a:lnTo>
                      <a:pt x="209" y="165"/>
                    </a:lnTo>
                    <a:lnTo>
                      <a:pt x="209" y="167"/>
                    </a:lnTo>
                    <a:lnTo>
                      <a:pt x="209" y="169"/>
                    </a:lnTo>
                    <a:lnTo>
                      <a:pt x="211" y="173"/>
                    </a:lnTo>
                    <a:lnTo>
                      <a:pt x="209" y="173"/>
                    </a:lnTo>
                    <a:lnTo>
                      <a:pt x="209" y="176"/>
                    </a:lnTo>
                    <a:lnTo>
                      <a:pt x="211" y="178"/>
                    </a:lnTo>
                    <a:lnTo>
                      <a:pt x="213" y="180"/>
                    </a:lnTo>
                    <a:lnTo>
                      <a:pt x="217" y="182"/>
                    </a:lnTo>
                    <a:lnTo>
                      <a:pt x="219" y="184"/>
                    </a:lnTo>
                    <a:lnTo>
                      <a:pt x="219" y="188"/>
                    </a:lnTo>
                    <a:lnTo>
                      <a:pt x="221" y="190"/>
                    </a:lnTo>
                    <a:lnTo>
                      <a:pt x="217" y="198"/>
                    </a:lnTo>
                    <a:lnTo>
                      <a:pt x="215" y="200"/>
                    </a:lnTo>
                    <a:lnTo>
                      <a:pt x="215" y="201"/>
                    </a:lnTo>
                    <a:lnTo>
                      <a:pt x="217" y="203"/>
                    </a:lnTo>
                    <a:lnTo>
                      <a:pt x="215" y="207"/>
                    </a:lnTo>
                    <a:lnTo>
                      <a:pt x="213" y="205"/>
                    </a:lnTo>
                    <a:lnTo>
                      <a:pt x="211" y="207"/>
                    </a:lnTo>
                    <a:lnTo>
                      <a:pt x="211" y="209"/>
                    </a:lnTo>
                    <a:lnTo>
                      <a:pt x="209" y="213"/>
                    </a:lnTo>
                    <a:lnTo>
                      <a:pt x="209" y="215"/>
                    </a:lnTo>
                    <a:lnTo>
                      <a:pt x="211" y="217"/>
                    </a:lnTo>
                    <a:lnTo>
                      <a:pt x="211" y="219"/>
                    </a:lnTo>
                    <a:lnTo>
                      <a:pt x="213" y="221"/>
                    </a:lnTo>
                    <a:lnTo>
                      <a:pt x="215" y="221"/>
                    </a:lnTo>
                    <a:lnTo>
                      <a:pt x="217" y="221"/>
                    </a:lnTo>
                    <a:lnTo>
                      <a:pt x="217" y="223"/>
                    </a:lnTo>
                    <a:lnTo>
                      <a:pt x="217" y="225"/>
                    </a:lnTo>
                    <a:lnTo>
                      <a:pt x="215" y="226"/>
                    </a:lnTo>
                    <a:lnTo>
                      <a:pt x="215" y="228"/>
                    </a:lnTo>
                    <a:lnTo>
                      <a:pt x="213" y="236"/>
                    </a:lnTo>
                    <a:lnTo>
                      <a:pt x="211" y="238"/>
                    </a:lnTo>
                    <a:lnTo>
                      <a:pt x="207" y="240"/>
                    </a:lnTo>
                    <a:lnTo>
                      <a:pt x="205" y="240"/>
                    </a:lnTo>
                    <a:lnTo>
                      <a:pt x="205" y="242"/>
                    </a:lnTo>
                    <a:lnTo>
                      <a:pt x="202" y="244"/>
                    </a:lnTo>
                    <a:lnTo>
                      <a:pt x="200" y="246"/>
                    </a:lnTo>
                    <a:lnTo>
                      <a:pt x="196" y="248"/>
                    </a:lnTo>
                    <a:lnTo>
                      <a:pt x="194" y="250"/>
                    </a:lnTo>
                    <a:lnTo>
                      <a:pt x="192" y="248"/>
                    </a:lnTo>
                    <a:lnTo>
                      <a:pt x="190" y="248"/>
                    </a:lnTo>
                    <a:lnTo>
                      <a:pt x="188" y="248"/>
                    </a:lnTo>
                    <a:lnTo>
                      <a:pt x="186" y="248"/>
                    </a:lnTo>
                    <a:lnTo>
                      <a:pt x="184" y="250"/>
                    </a:lnTo>
                    <a:lnTo>
                      <a:pt x="182" y="251"/>
                    </a:lnTo>
                    <a:lnTo>
                      <a:pt x="180" y="253"/>
                    </a:lnTo>
                    <a:lnTo>
                      <a:pt x="178" y="255"/>
                    </a:lnTo>
                    <a:lnTo>
                      <a:pt x="177" y="257"/>
                    </a:lnTo>
                    <a:lnTo>
                      <a:pt x="177" y="259"/>
                    </a:lnTo>
                    <a:lnTo>
                      <a:pt x="177" y="261"/>
                    </a:lnTo>
                    <a:lnTo>
                      <a:pt x="177" y="263"/>
                    </a:lnTo>
                    <a:lnTo>
                      <a:pt x="177" y="265"/>
                    </a:lnTo>
                    <a:lnTo>
                      <a:pt x="178" y="265"/>
                    </a:lnTo>
                    <a:lnTo>
                      <a:pt x="178" y="267"/>
                    </a:lnTo>
                    <a:lnTo>
                      <a:pt x="178" y="269"/>
                    </a:lnTo>
                    <a:lnTo>
                      <a:pt x="180" y="271"/>
                    </a:lnTo>
                    <a:lnTo>
                      <a:pt x="178" y="275"/>
                    </a:lnTo>
                    <a:lnTo>
                      <a:pt x="178" y="276"/>
                    </a:lnTo>
                    <a:lnTo>
                      <a:pt x="177" y="276"/>
                    </a:lnTo>
                    <a:lnTo>
                      <a:pt x="165" y="284"/>
                    </a:lnTo>
                    <a:lnTo>
                      <a:pt x="163" y="280"/>
                    </a:lnTo>
                    <a:lnTo>
                      <a:pt x="165" y="276"/>
                    </a:lnTo>
                    <a:lnTo>
                      <a:pt x="155" y="273"/>
                    </a:lnTo>
                    <a:lnTo>
                      <a:pt x="155" y="271"/>
                    </a:lnTo>
                    <a:lnTo>
                      <a:pt x="153" y="275"/>
                    </a:lnTo>
                    <a:lnTo>
                      <a:pt x="152" y="276"/>
                    </a:lnTo>
                    <a:lnTo>
                      <a:pt x="152" y="275"/>
                    </a:lnTo>
                    <a:lnTo>
                      <a:pt x="150" y="276"/>
                    </a:lnTo>
                    <a:lnTo>
                      <a:pt x="150" y="278"/>
                    </a:lnTo>
                    <a:lnTo>
                      <a:pt x="148" y="278"/>
                    </a:lnTo>
                    <a:lnTo>
                      <a:pt x="148" y="280"/>
                    </a:lnTo>
                    <a:lnTo>
                      <a:pt x="146" y="282"/>
                    </a:lnTo>
                    <a:lnTo>
                      <a:pt x="148" y="282"/>
                    </a:lnTo>
                    <a:lnTo>
                      <a:pt x="142" y="292"/>
                    </a:lnTo>
                    <a:lnTo>
                      <a:pt x="142" y="294"/>
                    </a:lnTo>
                    <a:lnTo>
                      <a:pt x="140" y="294"/>
                    </a:lnTo>
                    <a:lnTo>
                      <a:pt x="142" y="296"/>
                    </a:lnTo>
                    <a:lnTo>
                      <a:pt x="142" y="298"/>
                    </a:lnTo>
                    <a:lnTo>
                      <a:pt x="140" y="300"/>
                    </a:lnTo>
                    <a:lnTo>
                      <a:pt x="138" y="300"/>
                    </a:lnTo>
                    <a:lnTo>
                      <a:pt x="140" y="301"/>
                    </a:lnTo>
                    <a:lnTo>
                      <a:pt x="140" y="303"/>
                    </a:lnTo>
                    <a:lnTo>
                      <a:pt x="142" y="305"/>
                    </a:lnTo>
                    <a:lnTo>
                      <a:pt x="140" y="307"/>
                    </a:lnTo>
                    <a:lnTo>
                      <a:pt x="140" y="305"/>
                    </a:lnTo>
                    <a:lnTo>
                      <a:pt x="138" y="305"/>
                    </a:lnTo>
                    <a:lnTo>
                      <a:pt x="138" y="307"/>
                    </a:lnTo>
                    <a:lnTo>
                      <a:pt x="140" y="307"/>
                    </a:lnTo>
                    <a:lnTo>
                      <a:pt x="138" y="309"/>
                    </a:lnTo>
                    <a:lnTo>
                      <a:pt x="138" y="311"/>
                    </a:lnTo>
                    <a:lnTo>
                      <a:pt x="136" y="311"/>
                    </a:lnTo>
                    <a:lnTo>
                      <a:pt x="136" y="309"/>
                    </a:lnTo>
                    <a:lnTo>
                      <a:pt x="136" y="311"/>
                    </a:lnTo>
                    <a:lnTo>
                      <a:pt x="136" y="309"/>
                    </a:lnTo>
                    <a:lnTo>
                      <a:pt x="134" y="309"/>
                    </a:lnTo>
                    <a:lnTo>
                      <a:pt x="136" y="309"/>
                    </a:lnTo>
                    <a:lnTo>
                      <a:pt x="136" y="307"/>
                    </a:lnTo>
                    <a:lnTo>
                      <a:pt x="134" y="307"/>
                    </a:lnTo>
                    <a:lnTo>
                      <a:pt x="134" y="309"/>
                    </a:lnTo>
                    <a:lnTo>
                      <a:pt x="134" y="307"/>
                    </a:lnTo>
                    <a:lnTo>
                      <a:pt x="132" y="309"/>
                    </a:lnTo>
                    <a:lnTo>
                      <a:pt x="132" y="307"/>
                    </a:lnTo>
                    <a:lnTo>
                      <a:pt x="129" y="313"/>
                    </a:lnTo>
                    <a:lnTo>
                      <a:pt x="127" y="311"/>
                    </a:lnTo>
                    <a:lnTo>
                      <a:pt x="127" y="313"/>
                    </a:lnTo>
                    <a:lnTo>
                      <a:pt x="125" y="315"/>
                    </a:lnTo>
                    <a:lnTo>
                      <a:pt x="125" y="313"/>
                    </a:lnTo>
                    <a:lnTo>
                      <a:pt x="123" y="315"/>
                    </a:lnTo>
                    <a:lnTo>
                      <a:pt x="121" y="315"/>
                    </a:lnTo>
                    <a:lnTo>
                      <a:pt x="119" y="315"/>
                    </a:lnTo>
                    <a:lnTo>
                      <a:pt x="115" y="313"/>
                    </a:lnTo>
                    <a:lnTo>
                      <a:pt x="115" y="311"/>
                    </a:lnTo>
                    <a:lnTo>
                      <a:pt x="113" y="309"/>
                    </a:lnTo>
                    <a:lnTo>
                      <a:pt x="111" y="309"/>
                    </a:lnTo>
                    <a:lnTo>
                      <a:pt x="109" y="311"/>
                    </a:lnTo>
                    <a:lnTo>
                      <a:pt x="107" y="313"/>
                    </a:lnTo>
                    <a:lnTo>
                      <a:pt x="107" y="315"/>
                    </a:lnTo>
                    <a:lnTo>
                      <a:pt x="107" y="317"/>
                    </a:lnTo>
                    <a:lnTo>
                      <a:pt x="107" y="319"/>
                    </a:lnTo>
                    <a:lnTo>
                      <a:pt x="107" y="321"/>
                    </a:lnTo>
                    <a:lnTo>
                      <a:pt x="107" y="323"/>
                    </a:lnTo>
                    <a:lnTo>
                      <a:pt x="107" y="325"/>
                    </a:lnTo>
                    <a:lnTo>
                      <a:pt x="109" y="326"/>
                    </a:lnTo>
                    <a:lnTo>
                      <a:pt x="109" y="328"/>
                    </a:lnTo>
                    <a:lnTo>
                      <a:pt x="105" y="330"/>
                    </a:lnTo>
                    <a:lnTo>
                      <a:pt x="107" y="330"/>
                    </a:lnTo>
                    <a:lnTo>
                      <a:pt x="105" y="332"/>
                    </a:lnTo>
                    <a:lnTo>
                      <a:pt x="105" y="334"/>
                    </a:lnTo>
                    <a:lnTo>
                      <a:pt x="104" y="336"/>
                    </a:lnTo>
                    <a:lnTo>
                      <a:pt x="102" y="338"/>
                    </a:lnTo>
                    <a:lnTo>
                      <a:pt x="100" y="342"/>
                    </a:lnTo>
                    <a:lnTo>
                      <a:pt x="98" y="344"/>
                    </a:lnTo>
                    <a:lnTo>
                      <a:pt x="100" y="346"/>
                    </a:lnTo>
                    <a:lnTo>
                      <a:pt x="100" y="348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u="sng" dirty="0"/>
              </a:p>
            </p:txBody>
          </p:sp>
          <p:sp>
            <p:nvSpPr>
              <p:cNvPr id="86" name="Freeform 81">
                <a:extLst>
                  <a:ext uri="{FF2B5EF4-FFF2-40B4-BE49-F238E27FC236}">
                    <a16:creationId xmlns="" xmlns:a16="http://schemas.microsoft.com/office/drawing/2014/main" id="{F9700C6D-B15E-4562-9E7A-1B5BDA37B1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21525" y="4565651"/>
                <a:ext cx="360363" cy="814388"/>
              </a:xfrm>
              <a:custGeom>
                <a:avLst/>
                <a:gdLst>
                  <a:gd name="T0" fmla="*/ 221 w 227"/>
                  <a:gd name="T1" fmla="*/ 94 h 513"/>
                  <a:gd name="T2" fmla="*/ 223 w 227"/>
                  <a:gd name="T3" fmla="*/ 127 h 513"/>
                  <a:gd name="T4" fmla="*/ 225 w 227"/>
                  <a:gd name="T5" fmla="*/ 167 h 513"/>
                  <a:gd name="T6" fmla="*/ 219 w 227"/>
                  <a:gd name="T7" fmla="*/ 200 h 513"/>
                  <a:gd name="T8" fmla="*/ 211 w 227"/>
                  <a:gd name="T9" fmla="*/ 232 h 513"/>
                  <a:gd name="T10" fmla="*/ 207 w 227"/>
                  <a:gd name="T11" fmla="*/ 257 h 513"/>
                  <a:gd name="T12" fmla="*/ 206 w 227"/>
                  <a:gd name="T13" fmla="*/ 284 h 513"/>
                  <a:gd name="T14" fmla="*/ 196 w 227"/>
                  <a:gd name="T15" fmla="*/ 311 h 513"/>
                  <a:gd name="T16" fmla="*/ 198 w 227"/>
                  <a:gd name="T17" fmla="*/ 330 h 513"/>
                  <a:gd name="T18" fmla="*/ 196 w 227"/>
                  <a:gd name="T19" fmla="*/ 352 h 513"/>
                  <a:gd name="T20" fmla="*/ 196 w 227"/>
                  <a:gd name="T21" fmla="*/ 367 h 513"/>
                  <a:gd name="T22" fmla="*/ 183 w 227"/>
                  <a:gd name="T23" fmla="*/ 388 h 513"/>
                  <a:gd name="T24" fmla="*/ 169 w 227"/>
                  <a:gd name="T25" fmla="*/ 413 h 513"/>
                  <a:gd name="T26" fmla="*/ 156 w 227"/>
                  <a:gd name="T27" fmla="*/ 430 h 513"/>
                  <a:gd name="T28" fmla="*/ 142 w 227"/>
                  <a:gd name="T29" fmla="*/ 448 h 513"/>
                  <a:gd name="T30" fmla="*/ 131 w 227"/>
                  <a:gd name="T31" fmla="*/ 442 h 513"/>
                  <a:gd name="T32" fmla="*/ 123 w 227"/>
                  <a:gd name="T33" fmla="*/ 448 h 513"/>
                  <a:gd name="T34" fmla="*/ 111 w 227"/>
                  <a:gd name="T35" fmla="*/ 450 h 513"/>
                  <a:gd name="T36" fmla="*/ 104 w 227"/>
                  <a:gd name="T37" fmla="*/ 453 h 513"/>
                  <a:gd name="T38" fmla="*/ 98 w 227"/>
                  <a:gd name="T39" fmla="*/ 432 h 513"/>
                  <a:gd name="T40" fmla="*/ 88 w 227"/>
                  <a:gd name="T41" fmla="*/ 434 h 513"/>
                  <a:gd name="T42" fmla="*/ 79 w 227"/>
                  <a:gd name="T43" fmla="*/ 446 h 513"/>
                  <a:gd name="T44" fmla="*/ 81 w 227"/>
                  <a:gd name="T45" fmla="*/ 428 h 513"/>
                  <a:gd name="T46" fmla="*/ 69 w 227"/>
                  <a:gd name="T47" fmla="*/ 430 h 513"/>
                  <a:gd name="T48" fmla="*/ 71 w 227"/>
                  <a:gd name="T49" fmla="*/ 444 h 513"/>
                  <a:gd name="T50" fmla="*/ 67 w 227"/>
                  <a:gd name="T51" fmla="*/ 465 h 513"/>
                  <a:gd name="T52" fmla="*/ 65 w 227"/>
                  <a:gd name="T53" fmla="*/ 480 h 513"/>
                  <a:gd name="T54" fmla="*/ 61 w 227"/>
                  <a:gd name="T55" fmla="*/ 484 h 513"/>
                  <a:gd name="T56" fmla="*/ 56 w 227"/>
                  <a:gd name="T57" fmla="*/ 486 h 513"/>
                  <a:gd name="T58" fmla="*/ 46 w 227"/>
                  <a:gd name="T59" fmla="*/ 486 h 513"/>
                  <a:gd name="T60" fmla="*/ 56 w 227"/>
                  <a:gd name="T61" fmla="*/ 496 h 513"/>
                  <a:gd name="T62" fmla="*/ 46 w 227"/>
                  <a:gd name="T63" fmla="*/ 505 h 513"/>
                  <a:gd name="T64" fmla="*/ 33 w 227"/>
                  <a:gd name="T65" fmla="*/ 486 h 513"/>
                  <a:gd name="T66" fmla="*/ 52 w 227"/>
                  <a:gd name="T67" fmla="*/ 471 h 513"/>
                  <a:gd name="T68" fmla="*/ 52 w 227"/>
                  <a:gd name="T69" fmla="*/ 450 h 513"/>
                  <a:gd name="T70" fmla="*/ 40 w 227"/>
                  <a:gd name="T71" fmla="*/ 421 h 513"/>
                  <a:gd name="T72" fmla="*/ 35 w 227"/>
                  <a:gd name="T73" fmla="*/ 400 h 513"/>
                  <a:gd name="T74" fmla="*/ 2 w 227"/>
                  <a:gd name="T75" fmla="*/ 344 h 513"/>
                  <a:gd name="T76" fmla="*/ 15 w 227"/>
                  <a:gd name="T77" fmla="*/ 330 h 513"/>
                  <a:gd name="T78" fmla="*/ 23 w 227"/>
                  <a:gd name="T79" fmla="*/ 302 h 513"/>
                  <a:gd name="T80" fmla="*/ 71 w 227"/>
                  <a:gd name="T81" fmla="*/ 302 h 513"/>
                  <a:gd name="T82" fmla="*/ 75 w 227"/>
                  <a:gd name="T83" fmla="*/ 292 h 513"/>
                  <a:gd name="T84" fmla="*/ 69 w 227"/>
                  <a:gd name="T85" fmla="*/ 275 h 513"/>
                  <a:gd name="T86" fmla="*/ 69 w 227"/>
                  <a:gd name="T87" fmla="*/ 265 h 513"/>
                  <a:gd name="T88" fmla="*/ 73 w 227"/>
                  <a:gd name="T89" fmla="*/ 248 h 513"/>
                  <a:gd name="T90" fmla="*/ 73 w 227"/>
                  <a:gd name="T91" fmla="*/ 229 h 513"/>
                  <a:gd name="T92" fmla="*/ 71 w 227"/>
                  <a:gd name="T93" fmla="*/ 200 h 513"/>
                  <a:gd name="T94" fmla="*/ 79 w 227"/>
                  <a:gd name="T95" fmla="*/ 175 h 513"/>
                  <a:gd name="T96" fmla="*/ 79 w 227"/>
                  <a:gd name="T97" fmla="*/ 142 h 513"/>
                  <a:gd name="T98" fmla="*/ 104 w 227"/>
                  <a:gd name="T99" fmla="*/ 134 h 513"/>
                  <a:gd name="T100" fmla="*/ 123 w 227"/>
                  <a:gd name="T101" fmla="*/ 138 h 513"/>
                  <a:gd name="T102" fmla="*/ 150 w 227"/>
                  <a:gd name="T103" fmla="*/ 134 h 513"/>
                  <a:gd name="T104" fmla="*/ 163 w 227"/>
                  <a:gd name="T105" fmla="*/ 115 h 513"/>
                  <a:gd name="T106" fmla="*/ 173 w 227"/>
                  <a:gd name="T107" fmla="*/ 94 h 513"/>
                  <a:gd name="T108" fmla="*/ 188 w 227"/>
                  <a:gd name="T109" fmla="*/ 67 h 513"/>
                  <a:gd name="T110" fmla="*/ 171 w 227"/>
                  <a:gd name="T111" fmla="*/ 54 h 513"/>
                  <a:gd name="T112" fmla="*/ 152 w 227"/>
                  <a:gd name="T113" fmla="*/ 44 h 513"/>
                  <a:gd name="T114" fmla="*/ 159 w 227"/>
                  <a:gd name="T115" fmla="*/ 23 h 513"/>
                  <a:gd name="T116" fmla="*/ 179 w 227"/>
                  <a:gd name="T117" fmla="*/ 6 h 513"/>
                  <a:gd name="T118" fmla="*/ 196 w 227"/>
                  <a:gd name="T119" fmla="*/ 25 h 513"/>
                  <a:gd name="T120" fmla="*/ 204 w 227"/>
                  <a:gd name="T121" fmla="*/ 48 h 5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27" h="513">
                    <a:moveTo>
                      <a:pt x="225" y="54"/>
                    </a:moveTo>
                    <a:lnTo>
                      <a:pt x="225" y="56"/>
                    </a:lnTo>
                    <a:lnTo>
                      <a:pt x="225" y="57"/>
                    </a:lnTo>
                    <a:lnTo>
                      <a:pt x="225" y="59"/>
                    </a:lnTo>
                    <a:lnTo>
                      <a:pt x="227" y="59"/>
                    </a:lnTo>
                    <a:lnTo>
                      <a:pt x="227" y="61"/>
                    </a:lnTo>
                    <a:lnTo>
                      <a:pt x="225" y="61"/>
                    </a:lnTo>
                    <a:lnTo>
                      <a:pt x="223" y="61"/>
                    </a:lnTo>
                    <a:lnTo>
                      <a:pt x="223" y="63"/>
                    </a:lnTo>
                    <a:lnTo>
                      <a:pt x="223" y="65"/>
                    </a:lnTo>
                    <a:lnTo>
                      <a:pt x="223" y="67"/>
                    </a:lnTo>
                    <a:lnTo>
                      <a:pt x="223" y="69"/>
                    </a:lnTo>
                    <a:lnTo>
                      <a:pt x="223" y="71"/>
                    </a:lnTo>
                    <a:lnTo>
                      <a:pt x="221" y="75"/>
                    </a:lnTo>
                    <a:lnTo>
                      <a:pt x="221" y="77"/>
                    </a:lnTo>
                    <a:lnTo>
                      <a:pt x="221" y="79"/>
                    </a:lnTo>
                    <a:lnTo>
                      <a:pt x="221" y="81"/>
                    </a:lnTo>
                    <a:lnTo>
                      <a:pt x="221" y="82"/>
                    </a:lnTo>
                    <a:lnTo>
                      <a:pt x="219" y="84"/>
                    </a:lnTo>
                    <a:lnTo>
                      <a:pt x="221" y="88"/>
                    </a:lnTo>
                    <a:lnTo>
                      <a:pt x="221" y="90"/>
                    </a:lnTo>
                    <a:lnTo>
                      <a:pt x="221" y="92"/>
                    </a:lnTo>
                    <a:lnTo>
                      <a:pt x="221" y="94"/>
                    </a:lnTo>
                    <a:lnTo>
                      <a:pt x="221" y="96"/>
                    </a:lnTo>
                    <a:lnTo>
                      <a:pt x="223" y="96"/>
                    </a:lnTo>
                    <a:lnTo>
                      <a:pt x="223" y="98"/>
                    </a:lnTo>
                    <a:lnTo>
                      <a:pt x="223" y="100"/>
                    </a:lnTo>
                    <a:lnTo>
                      <a:pt x="221" y="100"/>
                    </a:lnTo>
                    <a:lnTo>
                      <a:pt x="221" y="102"/>
                    </a:lnTo>
                    <a:lnTo>
                      <a:pt x="223" y="104"/>
                    </a:lnTo>
                    <a:lnTo>
                      <a:pt x="221" y="106"/>
                    </a:lnTo>
                    <a:lnTo>
                      <a:pt x="223" y="106"/>
                    </a:lnTo>
                    <a:lnTo>
                      <a:pt x="223" y="107"/>
                    </a:lnTo>
                    <a:lnTo>
                      <a:pt x="223" y="109"/>
                    </a:lnTo>
                    <a:lnTo>
                      <a:pt x="223" y="111"/>
                    </a:lnTo>
                    <a:lnTo>
                      <a:pt x="223" y="113"/>
                    </a:lnTo>
                    <a:lnTo>
                      <a:pt x="225" y="115"/>
                    </a:lnTo>
                    <a:lnTo>
                      <a:pt x="225" y="117"/>
                    </a:lnTo>
                    <a:lnTo>
                      <a:pt x="227" y="117"/>
                    </a:lnTo>
                    <a:lnTo>
                      <a:pt x="227" y="119"/>
                    </a:lnTo>
                    <a:lnTo>
                      <a:pt x="227" y="121"/>
                    </a:lnTo>
                    <a:lnTo>
                      <a:pt x="227" y="123"/>
                    </a:lnTo>
                    <a:lnTo>
                      <a:pt x="225" y="123"/>
                    </a:lnTo>
                    <a:lnTo>
                      <a:pt x="225" y="125"/>
                    </a:lnTo>
                    <a:lnTo>
                      <a:pt x="225" y="127"/>
                    </a:lnTo>
                    <a:lnTo>
                      <a:pt x="223" y="127"/>
                    </a:lnTo>
                    <a:lnTo>
                      <a:pt x="223" y="129"/>
                    </a:lnTo>
                    <a:lnTo>
                      <a:pt x="223" y="131"/>
                    </a:lnTo>
                    <a:lnTo>
                      <a:pt x="225" y="131"/>
                    </a:lnTo>
                    <a:lnTo>
                      <a:pt x="225" y="132"/>
                    </a:lnTo>
                    <a:lnTo>
                      <a:pt x="225" y="134"/>
                    </a:lnTo>
                    <a:lnTo>
                      <a:pt x="225" y="136"/>
                    </a:lnTo>
                    <a:lnTo>
                      <a:pt x="225" y="138"/>
                    </a:lnTo>
                    <a:lnTo>
                      <a:pt x="225" y="140"/>
                    </a:lnTo>
                    <a:lnTo>
                      <a:pt x="227" y="140"/>
                    </a:lnTo>
                    <a:lnTo>
                      <a:pt x="227" y="142"/>
                    </a:lnTo>
                    <a:lnTo>
                      <a:pt x="227" y="144"/>
                    </a:lnTo>
                    <a:lnTo>
                      <a:pt x="227" y="146"/>
                    </a:lnTo>
                    <a:lnTo>
                      <a:pt x="227" y="148"/>
                    </a:lnTo>
                    <a:lnTo>
                      <a:pt x="227" y="150"/>
                    </a:lnTo>
                    <a:lnTo>
                      <a:pt x="227" y="152"/>
                    </a:lnTo>
                    <a:lnTo>
                      <a:pt x="225" y="154"/>
                    </a:lnTo>
                    <a:lnTo>
                      <a:pt x="225" y="155"/>
                    </a:lnTo>
                    <a:lnTo>
                      <a:pt x="225" y="157"/>
                    </a:lnTo>
                    <a:lnTo>
                      <a:pt x="225" y="159"/>
                    </a:lnTo>
                    <a:lnTo>
                      <a:pt x="225" y="161"/>
                    </a:lnTo>
                    <a:lnTo>
                      <a:pt x="225" y="163"/>
                    </a:lnTo>
                    <a:lnTo>
                      <a:pt x="225" y="165"/>
                    </a:lnTo>
                    <a:lnTo>
                      <a:pt x="225" y="167"/>
                    </a:lnTo>
                    <a:lnTo>
                      <a:pt x="223" y="167"/>
                    </a:lnTo>
                    <a:lnTo>
                      <a:pt x="225" y="167"/>
                    </a:lnTo>
                    <a:lnTo>
                      <a:pt x="225" y="169"/>
                    </a:lnTo>
                    <a:lnTo>
                      <a:pt x="225" y="171"/>
                    </a:lnTo>
                    <a:lnTo>
                      <a:pt x="225" y="173"/>
                    </a:lnTo>
                    <a:lnTo>
                      <a:pt x="223" y="173"/>
                    </a:lnTo>
                    <a:lnTo>
                      <a:pt x="223" y="175"/>
                    </a:lnTo>
                    <a:lnTo>
                      <a:pt x="225" y="175"/>
                    </a:lnTo>
                    <a:lnTo>
                      <a:pt x="225" y="177"/>
                    </a:lnTo>
                    <a:lnTo>
                      <a:pt x="225" y="179"/>
                    </a:lnTo>
                    <a:lnTo>
                      <a:pt x="225" y="180"/>
                    </a:lnTo>
                    <a:lnTo>
                      <a:pt x="223" y="180"/>
                    </a:lnTo>
                    <a:lnTo>
                      <a:pt x="223" y="182"/>
                    </a:lnTo>
                    <a:lnTo>
                      <a:pt x="223" y="184"/>
                    </a:lnTo>
                    <a:lnTo>
                      <a:pt x="223" y="186"/>
                    </a:lnTo>
                    <a:lnTo>
                      <a:pt x="221" y="188"/>
                    </a:lnTo>
                    <a:lnTo>
                      <a:pt x="221" y="190"/>
                    </a:lnTo>
                    <a:lnTo>
                      <a:pt x="219" y="190"/>
                    </a:lnTo>
                    <a:lnTo>
                      <a:pt x="219" y="192"/>
                    </a:lnTo>
                    <a:lnTo>
                      <a:pt x="219" y="194"/>
                    </a:lnTo>
                    <a:lnTo>
                      <a:pt x="219" y="196"/>
                    </a:lnTo>
                    <a:lnTo>
                      <a:pt x="219" y="198"/>
                    </a:lnTo>
                    <a:lnTo>
                      <a:pt x="219" y="200"/>
                    </a:lnTo>
                    <a:lnTo>
                      <a:pt x="219" y="202"/>
                    </a:lnTo>
                    <a:lnTo>
                      <a:pt x="219" y="204"/>
                    </a:lnTo>
                    <a:lnTo>
                      <a:pt x="219" y="205"/>
                    </a:lnTo>
                    <a:lnTo>
                      <a:pt x="217" y="205"/>
                    </a:lnTo>
                    <a:lnTo>
                      <a:pt x="217" y="207"/>
                    </a:lnTo>
                    <a:lnTo>
                      <a:pt x="217" y="209"/>
                    </a:lnTo>
                    <a:lnTo>
                      <a:pt x="217" y="211"/>
                    </a:lnTo>
                    <a:lnTo>
                      <a:pt x="217" y="213"/>
                    </a:lnTo>
                    <a:lnTo>
                      <a:pt x="217" y="215"/>
                    </a:lnTo>
                    <a:lnTo>
                      <a:pt x="215" y="215"/>
                    </a:lnTo>
                    <a:lnTo>
                      <a:pt x="215" y="217"/>
                    </a:lnTo>
                    <a:lnTo>
                      <a:pt x="215" y="219"/>
                    </a:lnTo>
                    <a:lnTo>
                      <a:pt x="213" y="219"/>
                    </a:lnTo>
                    <a:lnTo>
                      <a:pt x="213" y="221"/>
                    </a:lnTo>
                    <a:lnTo>
                      <a:pt x="213" y="223"/>
                    </a:lnTo>
                    <a:lnTo>
                      <a:pt x="213" y="225"/>
                    </a:lnTo>
                    <a:lnTo>
                      <a:pt x="211" y="225"/>
                    </a:lnTo>
                    <a:lnTo>
                      <a:pt x="211" y="227"/>
                    </a:lnTo>
                    <a:lnTo>
                      <a:pt x="211" y="229"/>
                    </a:lnTo>
                    <a:lnTo>
                      <a:pt x="211" y="230"/>
                    </a:lnTo>
                    <a:lnTo>
                      <a:pt x="209" y="230"/>
                    </a:lnTo>
                    <a:lnTo>
                      <a:pt x="209" y="232"/>
                    </a:lnTo>
                    <a:lnTo>
                      <a:pt x="211" y="232"/>
                    </a:lnTo>
                    <a:lnTo>
                      <a:pt x="211" y="234"/>
                    </a:lnTo>
                    <a:lnTo>
                      <a:pt x="211" y="236"/>
                    </a:lnTo>
                    <a:lnTo>
                      <a:pt x="211" y="238"/>
                    </a:lnTo>
                    <a:lnTo>
                      <a:pt x="211" y="240"/>
                    </a:lnTo>
                    <a:lnTo>
                      <a:pt x="209" y="240"/>
                    </a:lnTo>
                    <a:lnTo>
                      <a:pt x="209" y="242"/>
                    </a:lnTo>
                    <a:lnTo>
                      <a:pt x="207" y="242"/>
                    </a:lnTo>
                    <a:lnTo>
                      <a:pt x="209" y="244"/>
                    </a:lnTo>
                    <a:lnTo>
                      <a:pt x="209" y="246"/>
                    </a:lnTo>
                    <a:lnTo>
                      <a:pt x="209" y="248"/>
                    </a:lnTo>
                    <a:lnTo>
                      <a:pt x="207" y="248"/>
                    </a:lnTo>
                    <a:lnTo>
                      <a:pt x="207" y="250"/>
                    </a:lnTo>
                    <a:lnTo>
                      <a:pt x="209" y="250"/>
                    </a:lnTo>
                    <a:lnTo>
                      <a:pt x="207" y="250"/>
                    </a:lnTo>
                    <a:lnTo>
                      <a:pt x="207" y="252"/>
                    </a:lnTo>
                    <a:lnTo>
                      <a:pt x="209" y="252"/>
                    </a:lnTo>
                    <a:lnTo>
                      <a:pt x="209" y="254"/>
                    </a:lnTo>
                    <a:lnTo>
                      <a:pt x="207" y="254"/>
                    </a:lnTo>
                    <a:lnTo>
                      <a:pt x="209" y="254"/>
                    </a:lnTo>
                    <a:lnTo>
                      <a:pt x="207" y="254"/>
                    </a:lnTo>
                    <a:lnTo>
                      <a:pt x="207" y="255"/>
                    </a:lnTo>
                    <a:lnTo>
                      <a:pt x="209" y="257"/>
                    </a:lnTo>
                    <a:lnTo>
                      <a:pt x="207" y="257"/>
                    </a:lnTo>
                    <a:lnTo>
                      <a:pt x="207" y="259"/>
                    </a:lnTo>
                    <a:lnTo>
                      <a:pt x="207" y="261"/>
                    </a:lnTo>
                    <a:lnTo>
                      <a:pt x="209" y="261"/>
                    </a:lnTo>
                    <a:lnTo>
                      <a:pt x="209" y="263"/>
                    </a:lnTo>
                    <a:lnTo>
                      <a:pt x="207" y="263"/>
                    </a:lnTo>
                    <a:lnTo>
                      <a:pt x="206" y="263"/>
                    </a:lnTo>
                    <a:lnTo>
                      <a:pt x="206" y="265"/>
                    </a:lnTo>
                    <a:lnTo>
                      <a:pt x="206" y="267"/>
                    </a:lnTo>
                    <a:lnTo>
                      <a:pt x="204" y="267"/>
                    </a:lnTo>
                    <a:lnTo>
                      <a:pt x="206" y="267"/>
                    </a:lnTo>
                    <a:lnTo>
                      <a:pt x="206" y="269"/>
                    </a:lnTo>
                    <a:lnTo>
                      <a:pt x="204" y="271"/>
                    </a:lnTo>
                    <a:lnTo>
                      <a:pt x="204" y="273"/>
                    </a:lnTo>
                    <a:lnTo>
                      <a:pt x="204" y="275"/>
                    </a:lnTo>
                    <a:lnTo>
                      <a:pt x="206" y="275"/>
                    </a:lnTo>
                    <a:lnTo>
                      <a:pt x="206" y="277"/>
                    </a:lnTo>
                    <a:lnTo>
                      <a:pt x="204" y="275"/>
                    </a:lnTo>
                    <a:lnTo>
                      <a:pt x="204" y="277"/>
                    </a:lnTo>
                    <a:lnTo>
                      <a:pt x="206" y="277"/>
                    </a:lnTo>
                    <a:lnTo>
                      <a:pt x="206" y="279"/>
                    </a:lnTo>
                    <a:lnTo>
                      <a:pt x="206" y="280"/>
                    </a:lnTo>
                    <a:lnTo>
                      <a:pt x="206" y="282"/>
                    </a:lnTo>
                    <a:lnTo>
                      <a:pt x="206" y="284"/>
                    </a:lnTo>
                    <a:lnTo>
                      <a:pt x="206" y="286"/>
                    </a:lnTo>
                    <a:lnTo>
                      <a:pt x="206" y="288"/>
                    </a:lnTo>
                    <a:lnTo>
                      <a:pt x="204" y="288"/>
                    </a:lnTo>
                    <a:lnTo>
                      <a:pt x="204" y="290"/>
                    </a:lnTo>
                    <a:lnTo>
                      <a:pt x="202" y="290"/>
                    </a:lnTo>
                    <a:lnTo>
                      <a:pt x="202" y="292"/>
                    </a:lnTo>
                    <a:lnTo>
                      <a:pt x="200" y="292"/>
                    </a:lnTo>
                    <a:lnTo>
                      <a:pt x="200" y="294"/>
                    </a:lnTo>
                    <a:lnTo>
                      <a:pt x="200" y="296"/>
                    </a:lnTo>
                    <a:lnTo>
                      <a:pt x="198" y="296"/>
                    </a:lnTo>
                    <a:lnTo>
                      <a:pt x="198" y="298"/>
                    </a:lnTo>
                    <a:lnTo>
                      <a:pt x="198" y="300"/>
                    </a:lnTo>
                    <a:lnTo>
                      <a:pt x="198" y="302"/>
                    </a:lnTo>
                    <a:lnTo>
                      <a:pt x="200" y="302"/>
                    </a:lnTo>
                    <a:lnTo>
                      <a:pt x="200" y="304"/>
                    </a:lnTo>
                    <a:lnTo>
                      <a:pt x="198" y="304"/>
                    </a:lnTo>
                    <a:lnTo>
                      <a:pt x="200" y="305"/>
                    </a:lnTo>
                    <a:lnTo>
                      <a:pt x="198" y="305"/>
                    </a:lnTo>
                    <a:lnTo>
                      <a:pt x="200" y="305"/>
                    </a:lnTo>
                    <a:lnTo>
                      <a:pt x="200" y="307"/>
                    </a:lnTo>
                    <a:lnTo>
                      <a:pt x="198" y="307"/>
                    </a:lnTo>
                    <a:lnTo>
                      <a:pt x="198" y="309"/>
                    </a:lnTo>
                    <a:lnTo>
                      <a:pt x="196" y="311"/>
                    </a:lnTo>
                    <a:lnTo>
                      <a:pt x="198" y="311"/>
                    </a:lnTo>
                    <a:lnTo>
                      <a:pt x="196" y="311"/>
                    </a:lnTo>
                    <a:lnTo>
                      <a:pt x="198" y="311"/>
                    </a:lnTo>
                    <a:lnTo>
                      <a:pt x="196" y="311"/>
                    </a:lnTo>
                    <a:lnTo>
                      <a:pt x="198" y="313"/>
                    </a:lnTo>
                    <a:lnTo>
                      <a:pt x="196" y="315"/>
                    </a:lnTo>
                    <a:lnTo>
                      <a:pt x="198" y="317"/>
                    </a:lnTo>
                    <a:lnTo>
                      <a:pt x="198" y="319"/>
                    </a:lnTo>
                    <a:lnTo>
                      <a:pt x="198" y="321"/>
                    </a:lnTo>
                    <a:lnTo>
                      <a:pt x="198" y="323"/>
                    </a:lnTo>
                    <a:lnTo>
                      <a:pt x="200" y="323"/>
                    </a:lnTo>
                    <a:lnTo>
                      <a:pt x="200" y="325"/>
                    </a:lnTo>
                    <a:lnTo>
                      <a:pt x="200" y="323"/>
                    </a:lnTo>
                    <a:lnTo>
                      <a:pt x="198" y="325"/>
                    </a:lnTo>
                    <a:lnTo>
                      <a:pt x="198" y="327"/>
                    </a:lnTo>
                    <a:lnTo>
                      <a:pt x="196" y="327"/>
                    </a:lnTo>
                    <a:lnTo>
                      <a:pt x="196" y="329"/>
                    </a:lnTo>
                    <a:lnTo>
                      <a:pt x="198" y="329"/>
                    </a:lnTo>
                    <a:lnTo>
                      <a:pt x="198" y="330"/>
                    </a:lnTo>
                    <a:lnTo>
                      <a:pt x="196" y="330"/>
                    </a:lnTo>
                    <a:lnTo>
                      <a:pt x="196" y="329"/>
                    </a:lnTo>
                    <a:lnTo>
                      <a:pt x="196" y="330"/>
                    </a:lnTo>
                    <a:lnTo>
                      <a:pt x="198" y="330"/>
                    </a:lnTo>
                    <a:lnTo>
                      <a:pt x="196" y="330"/>
                    </a:lnTo>
                    <a:lnTo>
                      <a:pt x="198" y="332"/>
                    </a:lnTo>
                    <a:lnTo>
                      <a:pt x="198" y="330"/>
                    </a:lnTo>
                    <a:lnTo>
                      <a:pt x="198" y="332"/>
                    </a:lnTo>
                    <a:lnTo>
                      <a:pt x="198" y="330"/>
                    </a:lnTo>
                    <a:lnTo>
                      <a:pt x="198" y="332"/>
                    </a:lnTo>
                    <a:lnTo>
                      <a:pt x="196" y="332"/>
                    </a:lnTo>
                    <a:lnTo>
                      <a:pt x="196" y="334"/>
                    </a:lnTo>
                    <a:lnTo>
                      <a:pt x="198" y="334"/>
                    </a:lnTo>
                    <a:lnTo>
                      <a:pt x="198" y="336"/>
                    </a:lnTo>
                    <a:lnTo>
                      <a:pt x="198" y="334"/>
                    </a:lnTo>
                    <a:lnTo>
                      <a:pt x="200" y="334"/>
                    </a:lnTo>
                    <a:lnTo>
                      <a:pt x="200" y="336"/>
                    </a:lnTo>
                    <a:lnTo>
                      <a:pt x="200" y="338"/>
                    </a:lnTo>
                    <a:lnTo>
                      <a:pt x="200" y="340"/>
                    </a:lnTo>
                    <a:lnTo>
                      <a:pt x="200" y="342"/>
                    </a:lnTo>
                    <a:lnTo>
                      <a:pt x="200" y="344"/>
                    </a:lnTo>
                    <a:lnTo>
                      <a:pt x="200" y="346"/>
                    </a:lnTo>
                    <a:lnTo>
                      <a:pt x="198" y="346"/>
                    </a:lnTo>
                    <a:lnTo>
                      <a:pt x="198" y="348"/>
                    </a:lnTo>
                    <a:lnTo>
                      <a:pt x="198" y="350"/>
                    </a:lnTo>
                    <a:lnTo>
                      <a:pt x="196" y="350"/>
                    </a:lnTo>
                    <a:lnTo>
                      <a:pt x="196" y="352"/>
                    </a:lnTo>
                    <a:lnTo>
                      <a:pt x="194" y="352"/>
                    </a:lnTo>
                    <a:lnTo>
                      <a:pt x="194" y="350"/>
                    </a:lnTo>
                    <a:lnTo>
                      <a:pt x="194" y="348"/>
                    </a:lnTo>
                    <a:lnTo>
                      <a:pt x="194" y="350"/>
                    </a:lnTo>
                    <a:lnTo>
                      <a:pt x="192" y="350"/>
                    </a:lnTo>
                    <a:lnTo>
                      <a:pt x="190" y="350"/>
                    </a:lnTo>
                    <a:lnTo>
                      <a:pt x="192" y="350"/>
                    </a:lnTo>
                    <a:lnTo>
                      <a:pt x="192" y="352"/>
                    </a:lnTo>
                    <a:lnTo>
                      <a:pt x="194" y="352"/>
                    </a:lnTo>
                    <a:lnTo>
                      <a:pt x="194" y="354"/>
                    </a:lnTo>
                    <a:lnTo>
                      <a:pt x="194" y="352"/>
                    </a:lnTo>
                    <a:lnTo>
                      <a:pt x="194" y="354"/>
                    </a:lnTo>
                    <a:lnTo>
                      <a:pt x="194" y="355"/>
                    </a:lnTo>
                    <a:lnTo>
                      <a:pt x="196" y="355"/>
                    </a:lnTo>
                    <a:lnTo>
                      <a:pt x="194" y="355"/>
                    </a:lnTo>
                    <a:lnTo>
                      <a:pt x="194" y="357"/>
                    </a:lnTo>
                    <a:lnTo>
                      <a:pt x="194" y="359"/>
                    </a:lnTo>
                    <a:lnTo>
                      <a:pt x="194" y="361"/>
                    </a:lnTo>
                    <a:lnTo>
                      <a:pt x="196" y="361"/>
                    </a:lnTo>
                    <a:lnTo>
                      <a:pt x="194" y="363"/>
                    </a:lnTo>
                    <a:lnTo>
                      <a:pt x="196" y="363"/>
                    </a:lnTo>
                    <a:lnTo>
                      <a:pt x="196" y="365"/>
                    </a:lnTo>
                    <a:lnTo>
                      <a:pt x="196" y="367"/>
                    </a:lnTo>
                    <a:lnTo>
                      <a:pt x="194" y="367"/>
                    </a:lnTo>
                    <a:lnTo>
                      <a:pt x="192" y="369"/>
                    </a:lnTo>
                    <a:lnTo>
                      <a:pt x="192" y="371"/>
                    </a:lnTo>
                    <a:lnTo>
                      <a:pt x="192" y="369"/>
                    </a:lnTo>
                    <a:lnTo>
                      <a:pt x="192" y="371"/>
                    </a:lnTo>
                    <a:lnTo>
                      <a:pt x="190" y="371"/>
                    </a:lnTo>
                    <a:lnTo>
                      <a:pt x="190" y="373"/>
                    </a:lnTo>
                    <a:lnTo>
                      <a:pt x="190" y="375"/>
                    </a:lnTo>
                    <a:lnTo>
                      <a:pt x="188" y="375"/>
                    </a:lnTo>
                    <a:lnTo>
                      <a:pt x="188" y="377"/>
                    </a:lnTo>
                    <a:lnTo>
                      <a:pt x="188" y="379"/>
                    </a:lnTo>
                    <a:lnTo>
                      <a:pt x="186" y="379"/>
                    </a:lnTo>
                    <a:lnTo>
                      <a:pt x="186" y="380"/>
                    </a:lnTo>
                    <a:lnTo>
                      <a:pt x="186" y="382"/>
                    </a:lnTo>
                    <a:lnTo>
                      <a:pt x="186" y="384"/>
                    </a:lnTo>
                    <a:lnTo>
                      <a:pt x="186" y="382"/>
                    </a:lnTo>
                    <a:lnTo>
                      <a:pt x="186" y="384"/>
                    </a:lnTo>
                    <a:lnTo>
                      <a:pt x="184" y="384"/>
                    </a:lnTo>
                    <a:lnTo>
                      <a:pt x="184" y="386"/>
                    </a:lnTo>
                    <a:lnTo>
                      <a:pt x="183" y="386"/>
                    </a:lnTo>
                    <a:lnTo>
                      <a:pt x="184" y="386"/>
                    </a:lnTo>
                    <a:lnTo>
                      <a:pt x="184" y="388"/>
                    </a:lnTo>
                    <a:lnTo>
                      <a:pt x="183" y="388"/>
                    </a:lnTo>
                    <a:lnTo>
                      <a:pt x="183" y="390"/>
                    </a:lnTo>
                    <a:lnTo>
                      <a:pt x="183" y="392"/>
                    </a:lnTo>
                    <a:lnTo>
                      <a:pt x="181" y="392"/>
                    </a:lnTo>
                    <a:lnTo>
                      <a:pt x="181" y="394"/>
                    </a:lnTo>
                    <a:lnTo>
                      <a:pt x="179" y="396"/>
                    </a:lnTo>
                    <a:lnTo>
                      <a:pt x="179" y="398"/>
                    </a:lnTo>
                    <a:lnTo>
                      <a:pt x="177" y="398"/>
                    </a:lnTo>
                    <a:lnTo>
                      <a:pt x="175" y="398"/>
                    </a:lnTo>
                    <a:lnTo>
                      <a:pt x="177" y="398"/>
                    </a:lnTo>
                    <a:lnTo>
                      <a:pt x="177" y="400"/>
                    </a:lnTo>
                    <a:lnTo>
                      <a:pt x="179" y="400"/>
                    </a:lnTo>
                    <a:lnTo>
                      <a:pt x="177" y="400"/>
                    </a:lnTo>
                    <a:lnTo>
                      <a:pt x="177" y="402"/>
                    </a:lnTo>
                    <a:lnTo>
                      <a:pt x="177" y="403"/>
                    </a:lnTo>
                    <a:lnTo>
                      <a:pt x="175" y="403"/>
                    </a:lnTo>
                    <a:lnTo>
                      <a:pt x="175" y="405"/>
                    </a:lnTo>
                    <a:lnTo>
                      <a:pt x="173" y="405"/>
                    </a:lnTo>
                    <a:lnTo>
                      <a:pt x="173" y="407"/>
                    </a:lnTo>
                    <a:lnTo>
                      <a:pt x="171" y="407"/>
                    </a:lnTo>
                    <a:lnTo>
                      <a:pt x="171" y="409"/>
                    </a:lnTo>
                    <a:lnTo>
                      <a:pt x="171" y="411"/>
                    </a:lnTo>
                    <a:lnTo>
                      <a:pt x="171" y="413"/>
                    </a:lnTo>
                    <a:lnTo>
                      <a:pt x="169" y="413"/>
                    </a:lnTo>
                    <a:lnTo>
                      <a:pt x="171" y="415"/>
                    </a:lnTo>
                    <a:lnTo>
                      <a:pt x="169" y="415"/>
                    </a:lnTo>
                    <a:lnTo>
                      <a:pt x="169" y="417"/>
                    </a:lnTo>
                    <a:lnTo>
                      <a:pt x="167" y="417"/>
                    </a:lnTo>
                    <a:lnTo>
                      <a:pt x="167" y="419"/>
                    </a:lnTo>
                    <a:lnTo>
                      <a:pt x="167" y="421"/>
                    </a:lnTo>
                    <a:lnTo>
                      <a:pt x="167" y="423"/>
                    </a:lnTo>
                    <a:lnTo>
                      <a:pt x="167" y="425"/>
                    </a:lnTo>
                    <a:lnTo>
                      <a:pt x="165" y="425"/>
                    </a:lnTo>
                    <a:lnTo>
                      <a:pt x="165" y="427"/>
                    </a:lnTo>
                    <a:lnTo>
                      <a:pt x="165" y="425"/>
                    </a:lnTo>
                    <a:lnTo>
                      <a:pt x="163" y="425"/>
                    </a:lnTo>
                    <a:lnTo>
                      <a:pt x="165" y="425"/>
                    </a:lnTo>
                    <a:lnTo>
                      <a:pt x="163" y="425"/>
                    </a:lnTo>
                    <a:lnTo>
                      <a:pt x="161" y="427"/>
                    </a:lnTo>
                    <a:lnTo>
                      <a:pt x="161" y="428"/>
                    </a:lnTo>
                    <a:lnTo>
                      <a:pt x="159" y="430"/>
                    </a:lnTo>
                    <a:lnTo>
                      <a:pt x="159" y="432"/>
                    </a:lnTo>
                    <a:lnTo>
                      <a:pt x="159" y="434"/>
                    </a:lnTo>
                    <a:lnTo>
                      <a:pt x="159" y="432"/>
                    </a:lnTo>
                    <a:lnTo>
                      <a:pt x="158" y="432"/>
                    </a:lnTo>
                    <a:lnTo>
                      <a:pt x="158" y="430"/>
                    </a:lnTo>
                    <a:lnTo>
                      <a:pt x="156" y="430"/>
                    </a:lnTo>
                    <a:lnTo>
                      <a:pt x="156" y="432"/>
                    </a:lnTo>
                    <a:lnTo>
                      <a:pt x="154" y="432"/>
                    </a:lnTo>
                    <a:lnTo>
                      <a:pt x="154" y="434"/>
                    </a:lnTo>
                    <a:lnTo>
                      <a:pt x="152" y="434"/>
                    </a:lnTo>
                    <a:lnTo>
                      <a:pt x="154" y="434"/>
                    </a:lnTo>
                    <a:lnTo>
                      <a:pt x="154" y="436"/>
                    </a:lnTo>
                    <a:lnTo>
                      <a:pt x="152" y="436"/>
                    </a:lnTo>
                    <a:lnTo>
                      <a:pt x="152" y="434"/>
                    </a:lnTo>
                    <a:lnTo>
                      <a:pt x="152" y="436"/>
                    </a:lnTo>
                    <a:lnTo>
                      <a:pt x="150" y="436"/>
                    </a:lnTo>
                    <a:lnTo>
                      <a:pt x="152" y="436"/>
                    </a:lnTo>
                    <a:lnTo>
                      <a:pt x="150" y="436"/>
                    </a:lnTo>
                    <a:lnTo>
                      <a:pt x="152" y="438"/>
                    </a:lnTo>
                    <a:lnTo>
                      <a:pt x="150" y="438"/>
                    </a:lnTo>
                    <a:lnTo>
                      <a:pt x="150" y="440"/>
                    </a:lnTo>
                    <a:lnTo>
                      <a:pt x="148" y="440"/>
                    </a:lnTo>
                    <a:lnTo>
                      <a:pt x="148" y="442"/>
                    </a:lnTo>
                    <a:lnTo>
                      <a:pt x="146" y="442"/>
                    </a:lnTo>
                    <a:lnTo>
                      <a:pt x="144" y="442"/>
                    </a:lnTo>
                    <a:lnTo>
                      <a:pt x="144" y="444"/>
                    </a:lnTo>
                    <a:lnTo>
                      <a:pt x="142" y="444"/>
                    </a:lnTo>
                    <a:lnTo>
                      <a:pt x="142" y="446"/>
                    </a:lnTo>
                    <a:lnTo>
                      <a:pt x="142" y="448"/>
                    </a:lnTo>
                    <a:lnTo>
                      <a:pt x="142" y="450"/>
                    </a:lnTo>
                    <a:lnTo>
                      <a:pt x="142" y="448"/>
                    </a:lnTo>
                    <a:lnTo>
                      <a:pt x="140" y="448"/>
                    </a:lnTo>
                    <a:lnTo>
                      <a:pt x="140" y="450"/>
                    </a:lnTo>
                    <a:lnTo>
                      <a:pt x="140" y="452"/>
                    </a:lnTo>
                    <a:lnTo>
                      <a:pt x="138" y="452"/>
                    </a:lnTo>
                    <a:lnTo>
                      <a:pt x="136" y="452"/>
                    </a:lnTo>
                    <a:lnTo>
                      <a:pt x="136" y="453"/>
                    </a:lnTo>
                    <a:lnTo>
                      <a:pt x="136" y="452"/>
                    </a:lnTo>
                    <a:lnTo>
                      <a:pt x="134" y="452"/>
                    </a:lnTo>
                    <a:lnTo>
                      <a:pt x="134" y="450"/>
                    </a:lnTo>
                    <a:lnTo>
                      <a:pt x="136" y="450"/>
                    </a:lnTo>
                    <a:lnTo>
                      <a:pt x="134" y="450"/>
                    </a:lnTo>
                    <a:lnTo>
                      <a:pt x="134" y="448"/>
                    </a:lnTo>
                    <a:lnTo>
                      <a:pt x="134" y="450"/>
                    </a:lnTo>
                    <a:lnTo>
                      <a:pt x="134" y="448"/>
                    </a:lnTo>
                    <a:lnTo>
                      <a:pt x="136" y="448"/>
                    </a:lnTo>
                    <a:lnTo>
                      <a:pt x="134" y="448"/>
                    </a:lnTo>
                    <a:lnTo>
                      <a:pt x="134" y="446"/>
                    </a:lnTo>
                    <a:lnTo>
                      <a:pt x="133" y="446"/>
                    </a:lnTo>
                    <a:lnTo>
                      <a:pt x="131" y="446"/>
                    </a:lnTo>
                    <a:lnTo>
                      <a:pt x="131" y="444"/>
                    </a:lnTo>
                    <a:lnTo>
                      <a:pt x="131" y="442"/>
                    </a:lnTo>
                    <a:lnTo>
                      <a:pt x="131" y="440"/>
                    </a:lnTo>
                    <a:lnTo>
                      <a:pt x="131" y="438"/>
                    </a:lnTo>
                    <a:lnTo>
                      <a:pt x="131" y="440"/>
                    </a:lnTo>
                    <a:lnTo>
                      <a:pt x="131" y="442"/>
                    </a:lnTo>
                    <a:lnTo>
                      <a:pt x="131" y="444"/>
                    </a:lnTo>
                    <a:lnTo>
                      <a:pt x="131" y="442"/>
                    </a:lnTo>
                    <a:lnTo>
                      <a:pt x="131" y="444"/>
                    </a:lnTo>
                    <a:lnTo>
                      <a:pt x="131" y="442"/>
                    </a:lnTo>
                    <a:lnTo>
                      <a:pt x="131" y="444"/>
                    </a:lnTo>
                    <a:lnTo>
                      <a:pt x="129" y="444"/>
                    </a:lnTo>
                    <a:lnTo>
                      <a:pt x="127" y="444"/>
                    </a:lnTo>
                    <a:lnTo>
                      <a:pt x="127" y="446"/>
                    </a:lnTo>
                    <a:lnTo>
                      <a:pt x="127" y="448"/>
                    </a:lnTo>
                    <a:lnTo>
                      <a:pt x="129" y="448"/>
                    </a:lnTo>
                    <a:lnTo>
                      <a:pt x="129" y="446"/>
                    </a:lnTo>
                    <a:lnTo>
                      <a:pt x="129" y="448"/>
                    </a:lnTo>
                    <a:lnTo>
                      <a:pt x="129" y="450"/>
                    </a:lnTo>
                    <a:lnTo>
                      <a:pt x="129" y="452"/>
                    </a:lnTo>
                    <a:lnTo>
                      <a:pt x="127" y="452"/>
                    </a:lnTo>
                    <a:lnTo>
                      <a:pt x="125" y="452"/>
                    </a:lnTo>
                    <a:lnTo>
                      <a:pt x="125" y="450"/>
                    </a:lnTo>
                    <a:lnTo>
                      <a:pt x="125" y="448"/>
                    </a:lnTo>
                    <a:lnTo>
                      <a:pt x="123" y="448"/>
                    </a:lnTo>
                    <a:lnTo>
                      <a:pt x="123" y="446"/>
                    </a:lnTo>
                    <a:lnTo>
                      <a:pt x="121" y="446"/>
                    </a:lnTo>
                    <a:lnTo>
                      <a:pt x="121" y="444"/>
                    </a:lnTo>
                    <a:lnTo>
                      <a:pt x="121" y="442"/>
                    </a:lnTo>
                    <a:lnTo>
                      <a:pt x="119" y="442"/>
                    </a:lnTo>
                    <a:lnTo>
                      <a:pt x="119" y="444"/>
                    </a:lnTo>
                    <a:lnTo>
                      <a:pt x="117" y="444"/>
                    </a:lnTo>
                    <a:lnTo>
                      <a:pt x="119" y="444"/>
                    </a:lnTo>
                    <a:lnTo>
                      <a:pt x="119" y="446"/>
                    </a:lnTo>
                    <a:lnTo>
                      <a:pt x="117" y="446"/>
                    </a:lnTo>
                    <a:lnTo>
                      <a:pt x="119" y="446"/>
                    </a:lnTo>
                    <a:lnTo>
                      <a:pt x="119" y="448"/>
                    </a:lnTo>
                    <a:lnTo>
                      <a:pt x="117" y="448"/>
                    </a:lnTo>
                    <a:lnTo>
                      <a:pt x="115" y="448"/>
                    </a:lnTo>
                    <a:lnTo>
                      <a:pt x="115" y="450"/>
                    </a:lnTo>
                    <a:lnTo>
                      <a:pt x="113" y="450"/>
                    </a:lnTo>
                    <a:lnTo>
                      <a:pt x="113" y="448"/>
                    </a:lnTo>
                    <a:lnTo>
                      <a:pt x="113" y="450"/>
                    </a:lnTo>
                    <a:lnTo>
                      <a:pt x="111" y="450"/>
                    </a:lnTo>
                    <a:lnTo>
                      <a:pt x="113" y="450"/>
                    </a:lnTo>
                    <a:lnTo>
                      <a:pt x="111" y="450"/>
                    </a:lnTo>
                    <a:lnTo>
                      <a:pt x="111" y="448"/>
                    </a:lnTo>
                    <a:lnTo>
                      <a:pt x="111" y="450"/>
                    </a:lnTo>
                    <a:lnTo>
                      <a:pt x="111" y="448"/>
                    </a:lnTo>
                    <a:lnTo>
                      <a:pt x="110" y="446"/>
                    </a:lnTo>
                    <a:lnTo>
                      <a:pt x="111" y="446"/>
                    </a:lnTo>
                    <a:lnTo>
                      <a:pt x="110" y="446"/>
                    </a:lnTo>
                    <a:lnTo>
                      <a:pt x="108" y="446"/>
                    </a:lnTo>
                    <a:lnTo>
                      <a:pt x="106" y="446"/>
                    </a:lnTo>
                    <a:lnTo>
                      <a:pt x="106" y="448"/>
                    </a:lnTo>
                    <a:lnTo>
                      <a:pt x="106" y="446"/>
                    </a:lnTo>
                    <a:lnTo>
                      <a:pt x="104" y="446"/>
                    </a:lnTo>
                    <a:lnTo>
                      <a:pt x="106" y="446"/>
                    </a:lnTo>
                    <a:lnTo>
                      <a:pt x="106" y="448"/>
                    </a:lnTo>
                    <a:lnTo>
                      <a:pt x="104" y="448"/>
                    </a:lnTo>
                    <a:lnTo>
                      <a:pt x="104" y="450"/>
                    </a:lnTo>
                    <a:lnTo>
                      <a:pt x="104" y="448"/>
                    </a:lnTo>
                    <a:lnTo>
                      <a:pt x="102" y="448"/>
                    </a:lnTo>
                    <a:lnTo>
                      <a:pt x="104" y="448"/>
                    </a:lnTo>
                    <a:lnTo>
                      <a:pt x="104" y="450"/>
                    </a:lnTo>
                    <a:lnTo>
                      <a:pt x="106" y="450"/>
                    </a:lnTo>
                    <a:lnTo>
                      <a:pt x="106" y="452"/>
                    </a:lnTo>
                    <a:lnTo>
                      <a:pt x="106" y="453"/>
                    </a:lnTo>
                    <a:lnTo>
                      <a:pt x="106" y="452"/>
                    </a:lnTo>
                    <a:lnTo>
                      <a:pt x="104" y="452"/>
                    </a:lnTo>
                    <a:lnTo>
                      <a:pt x="104" y="453"/>
                    </a:lnTo>
                    <a:lnTo>
                      <a:pt x="104" y="452"/>
                    </a:lnTo>
                    <a:lnTo>
                      <a:pt x="102" y="452"/>
                    </a:lnTo>
                    <a:lnTo>
                      <a:pt x="102" y="450"/>
                    </a:lnTo>
                    <a:lnTo>
                      <a:pt x="102" y="448"/>
                    </a:lnTo>
                    <a:lnTo>
                      <a:pt x="100" y="448"/>
                    </a:lnTo>
                    <a:lnTo>
                      <a:pt x="100" y="446"/>
                    </a:lnTo>
                    <a:lnTo>
                      <a:pt x="100" y="444"/>
                    </a:lnTo>
                    <a:lnTo>
                      <a:pt x="100" y="442"/>
                    </a:lnTo>
                    <a:lnTo>
                      <a:pt x="98" y="442"/>
                    </a:lnTo>
                    <a:lnTo>
                      <a:pt x="98" y="440"/>
                    </a:lnTo>
                    <a:lnTo>
                      <a:pt x="96" y="440"/>
                    </a:lnTo>
                    <a:lnTo>
                      <a:pt x="96" y="438"/>
                    </a:lnTo>
                    <a:lnTo>
                      <a:pt x="98" y="440"/>
                    </a:lnTo>
                    <a:lnTo>
                      <a:pt x="98" y="438"/>
                    </a:lnTo>
                    <a:lnTo>
                      <a:pt x="98" y="436"/>
                    </a:lnTo>
                    <a:lnTo>
                      <a:pt x="96" y="436"/>
                    </a:lnTo>
                    <a:lnTo>
                      <a:pt x="98" y="436"/>
                    </a:lnTo>
                    <a:lnTo>
                      <a:pt x="98" y="434"/>
                    </a:lnTo>
                    <a:lnTo>
                      <a:pt x="96" y="434"/>
                    </a:lnTo>
                    <a:lnTo>
                      <a:pt x="98" y="434"/>
                    </a:lnTo>
                    <a:lnTo>
                      <a:pt x="96" y="434"/>
                    </a:lnTo>
                    <a:lnTo>
                      <a:pt x="96" y="432"/>
                    </a:lnTo>
                    <a:lnTo>
                      <a:pt x="98" y="432"/>
                    </a:lnTo>
                    <a:lnTo>
                      <a:pt x="98" y="430"/>
                    </a:lnTo>
                    <a:lnTo>
                      <a:pt x="98" y="428"/>
                    </a:lnTo>
                    <a:lnTo>
                      <a:pt x="96" y="428"/>
                    </a:lnTo>
                    <a:lnTo>
                      <a:pt x="98" y="428"/>
                    </a:lnTo>
                    <a:lnTo>
                      <a:pt x="96" y="428"/>
                    </a:lnTo>
                    <a:lnTo>
                      <a:pt x="96" y="430"/>
                    </a:lnTo>
                    <a:lnTo>
                      <a:pt x="94" y="428"/>
                    </a:lnTo>
                    <a:lnTo>
                      <a:pt x="94" y="430"/>
                    </a:lnTo>
                    <a:lnTo>
                      <a:pt x="94" y="428"/>
                    </a:lnTo>
                    <a:lnTo>
                      <a:pt x="94" y="427"/>
                    </a:lnTo>
                    <a:lnTo>
                      <a:pt x="94" y="425"/>
                    </a:lnTo>
                    <a:lnTo>
                      <a:pt x="94" y="423"/>
                    </a:lnTo>
                    <a:lnTo>
                      <a:pt x="92" y="423"/>
                    </a:lnTo>
                    <a:lnTo>
                      <a:pt x="90" y="423"/>
                    </a:lnTo>
                    <a:lnTo>
                      <a:pt x="90" y="425"/>
                    </a:lnTo>
                    <a:lnTo>
                      <a:pt x="92" y="425"/>
                    </a:lnTo>
                    <a:lnTo>
                      <a:pt x="92" y="427"/>
                    </a:lnTo>
                    <a:lnTo>
                      <a:pt x="90" y="427"/>
                    </a:lnTo>
                    <a:lnTo>
                      <a:pt x="90" y="428"/>
                    </a:lnTo>
                    <a:lnTo>
                      <a:pt x="90" y="430"/>
                    </a:lnTo>
                    <a:lnTo>
                      <a:pt x="90" y="432"/>
                    </a:lnTo>
                    <a:lnTo>
                      <a:pt x="88" y="432"/>
                    </a:lnTo>
                    <a:lnTo>
                      <a:pt x="88" y="434"/>
                    </a:lnTo>
                    <a:lnTo>
                      <a:pt x="86" y="434"/>
                    </a:lnTo>
                    <a:lnTo>
                      <a:pt x="86" y="436"/>
                    </a:lnTo>
                    <a:lnTo>
                      <a:pt x="86" y="438"/>
                    </a:lnTo>
                    <a:lnTo>
                      <a:pt x="86" y="440"/>
                    </a:lnTo>
                    <a:lnTo>
                      <a:pt x="85" y="440"/>
                    </a:lnTo>
                    <a:lnTo>
                      <a:pt x="85" y="442"/>
                    </a:lnTo>
                    <a:lnTo>
                      <a:pt x="85" y="444"/>
                    </a:lnTo>
                    <a:lnTo>
                      <a:pt x="85" y="446"/>
                    </a:lnTo>
                    <a:lnTo>
                      <a:pt x="85" y="444"/>
                    </a:lnTo>
                    <a:lnTo>
                      <a:pt x="83" y="444"/>
                    </a:lnTo>
                    <a:lnTo>
                      <a:pt x="83" y="446"/>
                    </a:lnTo>
                    <a:lnTo>
                      <a:pt x="83" y="444"/>
                    </a:lnTo>
                    <a:lnTo>
                      <a:pt x="83" y="446"/>
                    </a:lnTo>
                    <a:lnTo>
                      <a:pt x="83" y="444"/>
                    </a:lnTo>
                    <a:lnTo>
                      <a:pt x="81" y="444"/>
                    </a:lnTo>
                    <a:lnTo>
                      <a:pt x="81" y="442"/>
                    </a:lnTo>
                    <a:lnTo>
                      <a:pt x="81" y="444"/>
                    </a:lnTo>
                    <a:lnTo>
                      <a:pt x="81" y="442"/>
                    </a:lnTo>
                    <a:lnTo>
                      <a:pt x="83" y="442"/>
                    </a:lnTo>
                    <a:lnTo>
                      <a:pt x="81" y="442"/>
                    </a:lnTo>
                    <a:lnTo>
                      <a:pt x="81" y="444"/>
                    </a:lnTo>
                    <a:lnTo>
                      <a:pt x="81" y="446"/>
                    </a:lnTo>
                    <a:lnTo>
                      <a:pt x="79" y="446"/>
                    </a:lnTo>
                    <a:lnTo>
                      <a:pt x="79" y="444"/>
                    </a:lnTo>
                    <a:lnTo>
                      <a:pt x="81" y="444"/>
                    </a:lnTo>
                    <a:lnTo>
                      <a:pt x="79" y="444"/>
                    </a:lnTo>
                    <a:lnTo>
                      <a:pt x="81" y="442"/>
                    </a:lnTo>
                    <a:lnTo>
                      <a:pt x="79" y="442"/>
                    </a:lnTo>
                    <a:lnTo>
                      <a:pt x="81" y="442"/>
                    </a:lnTo>
                    <a:lnTo>
                      <a:pt x="79" y="442"/>
                    </a:lnTo>
                    <a:lnTo>
                      <a:pt x="81" y="442"/>
                    </a:lnTo>
                    <a:lnTo>
                      <a:pt x="81" y="440"/>
                    </a:lnTo>
                    <a:lnTo>
                      <a:pt x="79" y="438"/>
                    </a:lnTo>
                    <a:lnTo>
                      <a:pt x="79" y="436"/>
                    </a:lnTo>
                    <a:lnTo>
                      <a:pt x="81" y="436"/>
                    </a:lnTo>
                    <a:lnTo>
                      <a:pt x="81" y="434"/>
                    </a:lnTo>
                    <a:lnTo>
                      <a:pt x="81" y="432"/>
                    </a:lnTo>
                    <a:lnTo>
                      <a:pt x="83" y="432"/>
                    </a:lnTo>
                    <a:lnTo>
                      <a:pt x="81" y="432"/>
                    </a:lnTo>
                    <a:lnTo>
                      <a:pt x="81" y="430"/>
                    </a:lnTo>
                    <a:lnTo>
                      <a:pt x="83" y="430"/>
                    </a:lnTo>
                    <a:lnTo>
                      <a:pt x="83" y="428"/>
                    </a:lnTo>
                    <a:lnTo>
                      <a:pt x="83" y="427"/>
                    </a:lnTo>
                    <a:lnTo>
                      <a:pt x="81" y="427"/>
                    </a:lnTo>
                    <a:lnTo>
                      <a:pt x="79" y="427"/>
                    </a:lnTo>
                    <a:lnTo>
                      <a:pt x="81" y="428"/>
                    </a:lnTo>
                    <a:lnTo>
                      <a:pt x="81" y="430"/>
                    </a:lnTo>
                    <a:lnTo>
                      <a:pt x="81" y="432"/>
                    </a:lnTo>
                    <a:lnTo>
                      <a:pt x="81" y="430"/>
                    </a:lnTo>
                    <a:lnTo>
                      <a:pt x="79" y="428"/>
                    </a:lnTo>
                    <a:lnTo>
                      <a:pt x="77" y="428"/>
                    </a:lnTo>
                    <a:lnTo>
                      <a:pt x="75" y="428"/>
                    </a:lnTo>
                    <a:lnTo>
                      <a:pt x="75" y="430"/>
                    </a:lnTo>
                    <a:lnTo>
                      <a:pt x="73" y="430"/>
                    </a:lnTo>
                    <a:lnTo>
                      <a:pt x="73" y="432"/>
                    </a:lnTo>
                    <a:lnTo>
                      <a:pt x="73" y="430"/>
                    </a:lnTo>
                    <a:lnTo>
                      <a:pt x="73" y="428"/>
                    </a:lnTo>
                    <a:lnTo>
                      <a:pt x="71" y="428"/>
                    </a:lnTo>
                    <a:lnTo>
                      <a:pt x="73" y="428"/>
                    </a:lnTo>
                    <a:lnTo>
                      <a:pt x="73" y="430"/>
                    </a:lnTo>
                    <a:lnTo>
                      <a:pt x="71" y="430"/>
                    </a:lnTo>
                    <a:lnTo>
                      <a:pt x="71" y="428"/>
                    </a:lnTo>
                    <a:lnTo>
                      <a:pt x="69" y="428"/>
                    </a:lnTo>
                    <a:lnTo>
                      <a:pt x="71" y="427"/>
                    </a:lnTo>
                    <a:lnTo>
                      <a:pt x="69" y="427"/>
                    </a:lnTo>
                    <a:lnTo>
                      <a:pt x="69" y="425"/>
                    </a:lnTo>
                    <a:lnTo>
                      <a:pt x="69" y="427"/>
                    </a:lnTo>
                    <a:lnTo>
                      <a:pt x="69" y="428"/>
                    </a:lnTo>
                    <a:lnTo>
                      <a:pt x="69" y="430"/>
                    </a:lnTo>
                    <a:lnTo>
                      <a:pt x="69" y="428"/>
                    </a:lnTo>
                    <a:lnTo>
                      <a:pt x="69" y="430"/>
                    </a:lnTo>
                    <a:lnTo>
                      <a:pt x="71" y="432"/>
                    </a:lnTo>
                    <a:lnTo>
                      <a:pt x="71" y="434"/>
                    </a:lnTo>
                    <a:lnTo>
                      <a:pt x="71" y="436"/>
                    </a:lnTo>
                    <a:lnTo>
                      <a:pt x="73" y="436"/>
                    </a:lnTo>
                    <a:lnTo>
                      <a:pt x="73" y="438"/>
                    </a:lnTo>
                    <a:lnTo>
                      <a:pt x="71" y="438"/>
                    </a:lnTo>
                    <a:lnTo>
                      <a:pt x="71" y="440"/>
                    </a:lnTo>
                    <a:lnTo>
                      <a:pt x="73" y="440"/>
                    </a:lnTo>
                    <a:lnTo>
                      <a:pt x="75" y="440"/>
                    </a:lnTo>
                    <a:lnTo>
                      <a:pt x="73" y="440"/>
                    </a:lnTo>
                    <a:lnTo>
                      <a:pt x="73" y="442"/>
                    </a:lnTo>
                    <a:lnTo>
                      <a:pt x="71" y="440"/>
                    </a:lnTo>
                    <a:lnTo>
                      <a:pt x="69" y="440"/>
                    </a:lnTo>
                    <a:lnTo>
                      <a:pt x="71" y="442"/>
                    </a:lnTo>
                    <a:lnTo>
                      <a:pt x="69" y="442"/>
                    </a:lnTo>
                    <a:lnTo>
                      <a:pt x="69" y="444"/>
                    </a:lnTo>
                    <a:lnTo>
                      <a:pt x="71" y="444"/>
                    </a:lnTo>
                    <a:lnTo>
                      <a:pt x="71" y="442"/>
                    </a:lnTo>
                    <a:lnTo>
                      <a:pt x="71" y="440"/>
                    </a:lnTo>
                    <a:lnTo>
                      <a:pt x="71" y="442"/>
                    </a:lnTo>
                    <a:lnTo>
                      <a:pt x="71" y="444"/>
                    </a:lnTo>
                    <a:lnTo>
                      <a:pt x="71" y="446"/>
                    </a:lnTo>
                    <a:lnTo>
                      <a:pt x="71" y="448"/>
                    </a:lnTo>
                    <a:lnTo>
                      <a:pt x="71" y="450"/>
                    </a:lnTo>
                    <a:lnTo>
                      <a:pt x="71" y="452"/>
                    </a:lnTo>
                    <a:lnTo>
                      <a:pt x="69" y="452"/>
                    </a:lnTo>
                    <a:lnTo>
                      <a:pt x="69" y="453"/>
                    </a:lnTo>
                    <a:lnTo>
                      <a:pt x="71" y="453"/>
                    </a:lnTo>
                    <a:lnTo>
                      <a:pt x="71" y="455"/>
                    </a:lnTo>
                    <a:lnTo>
                      <a:pt x="69" y="455"/>
                    </a:lnTo>
                    <a:lnTo>
                      <a:pt x="67" y="455"/>
                    </a:lnTo>
                    <a:lnTo>
                      <a:pt x="67" y="457"/>
                    </a:lnTo>
                    <a:lnTo>
                      <a:pt x="65" y="457"/>
                    </a:lnTo>
                    <a:lnTo>
                      <a:pt x="65" y="459"/>
                    </a:lnTo>
                    <a:lnTo>
                      <a:pt x="67" y="459"/>
                    </a:lnTo>
                    <a:lnTo>
                      <a:pt x="67" y="457"/>
                    </a:lnTo>
                    <a:lnTo>
                      <a:pt x="69" y="457"/>
                    </a:lnTo>
                    <a:lnTo>
                      <a:pt x="69" y="459"/>
                    </a:lnTo>
                    <a:lnTo>
                      <a:pt x="67" y="461"/>
                    </a:lnTo>
                    <a:lnTo>
                      <a:pt x="65" y="461"/>
                    </a:lnTo>
                    <a:lnTo>
                      <a:pt x="65" y="463"/>
                    </a:lnTo>
                    <a:lnTo>
                      <a:pt x="65" y="461"/>
                    </a:lnTo>
                    <a:lnTo>
                      <a:pt x="65" y="463"/>
                    </a:lnTo>
                    <a:lnTo>
                      <a:pt x="67" y="465"/>
                    </a:lnTo>
                    <a:lnTo>
                      <a:pt x="67" y="463"/>
                    </a:lnTo>
                    <a:lnTo>
                      <a:pt x="65" y="463"/>
                    </a:lnTo>
                    <a:lnTo>
                      <a:pt x="67" y="463"/>
                    </a:lnTo>
                    <a:lnTo>
                      <a:pt x="67" y="465"/>
                    </a:lnTo>
                    <a:lnTo>
                      <a:pt x="67" y="467"/>
                    </a:lnTo>
                    <a:lnTo>
                      <a:pt x="67" y="465"/>
                    </a:lnTo>
                    <a:lnTo>
                      <a:pt x="69" y="465"/>
                    </a:lnTo>
                    <a:lnTo>
                      <a:pt x="69" y="463"/>
                    </a:lnTo>
                    <a:lnTo>
                      <a:pt x="69" y="465"/>
                    </a:lnTo>
                    <a:lnTo>
                      <a:pt x="69" y="467"/>
                    </a:lnTo>
                    <a:lnTo>
                      <a:pt x="67" y="467"/>
                    </a:lnTo>
                    <a:lnTo>
                      <a:pt x="67" y="469"/>
                    </a:lnTo>
                    <a:lnTo>
                      <a:pt x="67" y="471"/>
                    </a:lnTo>
                    <a:lnTo>
                      <a:pt x="67" y="473"/>
                    </a:lnTo>
                    <a:lnTo>
                      <a:pt x="69" y="473"/>
                    </a:lnTo>
                    <a:lnTo>
                      <a:pt x="67" y="473"/>
                    </a:lnTo>
                    <a:lnTo>
                      <a:pt x="65" y="473"/>
                    </a:lnTo>
                    <a:lnTo>
                      <a:pt x="65" y="475"/>
                    </a:lnTo>
                    <a:lnTo>
                      <a:pt x="63" y="475"/>
                    </a:lnTo>
                    <a:lnTo>
                      <a:pt x="65" y="475"/>
                    </a:lnTo>
                    <a:lnTo>
                      <a:pt x="65" y="477"/>
                    </a:lnTo>
                    <a:lnTo>
                      <a:pt x="65" y="478"/>
                    </a:lnTo>
                    <a:lnTo>
                      <a:pt x="65" y="480"/>
                    </a:lnTo>
                    <a:lnTo>
                      <a:pt x="65" y="482"/>
                    </a:lnTo>
                    <a:lnTo>
                      <a:pt x="65" y="484"/>
                    </a:lnTo>
                    <a:lnTo>
                      <a:pt x="65" y="486"/>
                    </a:lnTo>
                    <a:lnTo>
                      <a:pt x="67" y="486"/>
                    </a:lnTo>
                    <a:lnTo>
                      <a:pt x="67" y="488"/>
                    </a:lnTo>
                    <a:lnTo>
                      <a:pt x="69" y="490"/>
                    </a:lnTo>
                    <a:lnTo>
                      <a:pt x="67" y="488"/>
                    </a:lnTo>
                    <a:lnTo>
                      <a:pt x="67" y="490"/>
                    </a:lnTo>
                    <a:lnTo>
                      <a:pt x="67" y="488"/>
                    </a:lnTo>
                    <a:lnTo>
                      <a:pt x="67" y="490"/>
                    </a:lnTo>
                    <a:lnTo>
                      <a:pt x="65" y="488"/>
                    </a:lnTo>
                    <a:lnTo>
                      <a:pt x="65" y="486"/>
                    </a:lnTo>
                    <a:lnTo>
                      <a:pt x="65" y="488"/>
                    </a:lnTo>
                    <a:lnTo>
                      <a:pt x="65" y="486"/>
                    </a:lnTo>
                    <a:lnTo>
                      <a:pt x="63" y="486"/>
                    </a:lnTo>
                    <a:lnTo>
                      <a:pt x="63" y="484"/>
                    </a:lnTo>
                    <a:lnTo>
                      <a:pt x="63" y="486"/>
                    </a:lnTo>
                    <a:lnTo>
                      <a:pt x="61" y="486"/>
                    </a:lnTo>
                    <a:lnTo>
                      <a:pt x="61" y="484"/>
                    </a:lnTo>
                    <a:lnTo>
                      <a:pt x="63" y="484"/>
                    </a:lnTo>
                    <a:lnTo>
                      <a:pt x="61" y="484"/>
                    </a:lnTo>
                    <a:lnTo>
                      <a:pt x="61" y="482"/>
                    </a:lnTo>
                    <a:lnTo>
                      <a:pt x="61" y="484"/>
                    </a:lnTo>
                    <a:lnTo>
                      <a:pt x="61" y="486"/>
                    </a:lnTo>
                    <a:lnTo>
                      <a:pt x="60" y="486"/>
                    </a:lnTo>
                    <a:lnTo>
                      <a:pt x="58" y="486"/>
                    </a:lnTo>
                    <a:lnTo>
                      <a:pt x="58" y="488"/>
                    </a:lnTo>
                    <a:lnTo>
                      <a:pt x="58" y="486"/>
                    </a:lnTo>
                    <a:lnTo>
                      <a:pt x="56" y="486"/>
                    </a:lnTo>
                    <a:lnTo>
                      <a:pt x="56" y="488"/>
                    </a:lnTo>
                    <a:lnTo>
                      <a:pt x="56" y="490"/>
                    </a:lnTo>
                    <a:lnTo>
                      <a:pt x="56" y="492"/>
                    </a:lnTo>
                    <a:lnTo>
                      <a:pt x="54" y="492"/>
                    </a:lnTo>
                    <a:lnTo>
                      <a:pt x="52" y="492"/>
                    </a:lnTo>
                    <a:lnTo>
                      <a:pt x="54" y="490"/>
                    </a:lnTo>
                    <a:lnTo>
                      <a:pt x="52" y="490"/>
                    </a:lnTo>
                    <a:lnTo>
                      <a:pt x="52" y="492"/>
                    </a:lnTo>
                    <a:lnTo>
                      <a:pt x="52" y="490"/>
                    </a:lnTo>
                    <a:lnTo>
                      <a:pt x="50" y="490"/>
                    </a:lnTo>
                    <a:lnTo>
                      <a:pt x="50" y="488"/>
                    </a:lnTo>
                    <a:lnTo>
                      <a:pt x="52" y="488"/>
                    </a:lnTo>
                    <a:lnTo>
                      <a:pt x="54" y="488"/>
                    </a:lnTo>
                    <a:lnTo>
                      <a:pt x="54" y="490"/>
                    </a:lnTo>
                    <a:lnTo>
                      <a:pt x="56" y="490"/>
                    </a:lnTo>
                    <a:lnTo>
                      <a:pt x="56" y="488"/>
                    </a:lnTo>
                    <a:lnTo>
                      <a:pt x="56" y="486"/>
                    </a:lnTo>
                    <a:lnTo>
                      <a:pt x="54" y="486"/>
                    </a:lnTo>
                    <a:lnTo>
                      <a:pt x="54" y="488"/>
                    </a:lnTo>
                    <a:lnTo>
                      <a:pt x="54" y="486"/>
                    </a:lnTo>
                    <a:lnTo>
                      <a:pt x="54" y="488"/>
                    </a:lnTo>
                    <a:lnTo>
                      <a:pt x="52" y="488"/>
                    </a:lnTo>
                    <a:lnTo>
                      <a:pt x="52" y="486"/>
                    </a:lnTo>
                    <a:lnTo>
                      <a:pt x="52" y="488"/>
                    </a:lnTo>
                    <a:lnTo>
                      <a:pt x="50" y="488"/>
                    </a:lnTo>
                    <a:lnTo>
                      <a:pt x="50" y="490"/>
                    </a:lnTo>
                    <a:lnTo>
                      <a:pt x="48" y="490"/>
                    </a:lnTo>
                    <a:lnTo>
                      <a:pt x="48" y="488"/>
                    </a:lnTo>
                    <a:lnTo>
                      <a:pt x="50" y="488"/>
                    </a:lnTo>
                    <a:lnTo>
                      <a:pt x="50" y="486"/>
                    </a:lnTo>
                    <a:lnTo>
                      <a:pt x="50" y="484"/>
                    </a:lnTo>
                    <a:lnTo>
                      <a:pt x="50" y="486"/>
                    </a:lnTo>
                    <a:lnTo>
                      <a:pt x="50" y="484"/>
                    </a:lnTo>
                    <a:lnTo>
                      <a:pt x="50" y="486"/>
                    </a:lnTo>
                    <a:lnTo>
                      <a:pt x="50" y="484"/>
                    </a:lnTo>
                    <a:lnTo>
                      <a:pt x="50" y="486"/>
                    </a:lnTo>
                    <a:lnTo>
                      <a:pt x="48" y="486"/>
                    </a:lnTo>
                    <a:lnTo>
                      <a:pt x="48" y="488"/>
                    </a:lnTo>
                    <a:lnTo>
                      <a:pt x="46" y="488"/>
                    </a:lnTo>
                    <a:lnTo>
                      <a:pt x="46" y="486"/>
                    </a:lnTo>
                    <a:lnTo>
                      <a:pt x="44" y="486"/>
                    </a:lnTo>
                    <a:lnTo>
                      <a:pt x="44" y="488"/>
                    </a:lnTo>
                    <a:lnTo>
                      <a:pt x="44" y="490"/>
                    </a:lnTo>
                    <a:lnTo>
                      <a:pt x="44" y="492"/>
                    </a:lnTo>
                    <a:lnTo>
                      <a:pt x="46" y="492"/>
                    </a:lnTo>
                    <a:lnTo>
                      <a:pt x="48" y="492"/>
                    </a:lnTo>
                    <a:lnTo>
                      <a:pt x="48" y="494"/>
                    </a:lnTo>
                    <a:lnTo>
                      <a:pt x="46" y="496"/>
                    </a:lnTo>
                    <a:lnTo>
                      <a:pt x="48" y="496"/>
                    </a:lnTo>
                    <a:lnTo>
                      <a:pt x="46" y="496"/>
                    </a:lnTo>
                    <a:lnTo>
                      <a:pt x="48" y="496"/>
                    </a:lnTo>
                    <a:lnTo>
                      <a:pt x="48" y="494"/>
                    </a:lnTo>
                    <a:lnTo>
                      <a:pt x="48" y="492"/>
                    </a:lnTo>
                    <a:lnTo>
                      <a:pt x="48" y="494"/>
                    </a:lnTo>
                    <a:lnTo>
                      <a:pt x="48" y="492"/>
                    </a:lnTo>
                    <a:lnTo>
                      <a:pt x="50" y="492"/>
                    </a:lnTo>
                    <a:lnTo>
                      <a:pt x="50" y="490"/>
                    </a:lnTo>
                    <a:lnTo>
                      <a:pt x="50" y="492"/>
                    </a:lnTo>
                    <a:lnTo>
                      <a:pt x="50" y="494"/>
                    </a:lnTo>
                    <a:lnTo>
                      <a:pt x="52" y="494"/>
                    </a:lnTo>
                    <a:lnTo>
                      <a:pt x="54" y="494"/>
                    </a:lnTo>
                    <a:lnTo>
                      <a:pt x="54" y="496"/>
                    </a:lnTo>
                    <a:lnTo>
                      <a:pt x="56" y="496"/>
                    </a:lnTo>
                    <a:lnTo>
                      <a:pt x="56" y="498"/>
                    </a:lnTo>
                    <a:lnTo>
                      <a:pt x="54" y="496"/>
                    </a:lnTo>
                    <a:lnTo>
                      <a:pt x="54" y="498"/>
                    </a:lnTo>
                    <a:lnTo>
                      <a:pt x="56" y="498"/>
                    </a:lnTo>
                    <a:lnTo>
                      <a:pt x="56" y="500"/>
                    </a:lnTo>
                    <a:lnTo>
                      <a:pt x="56" y="502"/>
                    </a:lnTo>
                    <a:lnTo>
                      <a:pt x="54" y="502"/>
                    </a:lnTo>
                    <a:lnTo>
                      <a:pt x="54" y="500"/>
                    </a:lnTo>
                    <a:lnTo>
                      <a:pt x="54" y="502"/>
                    </a:lnTo>
                    <a:lnTo>
                      <a:pt x="54" y="503"/>
                    </a:lnTo>
                    <a:lnTo>
                      <a:pt x="54" y="507"/>
                    </a:lnTo>
                    <a:lnTo>
                      <a:pt x="54" y="509"/>
                    </a:lnTo>
                    <a:lnTo>
                      <a:pt x="54" y="511"/>
                    </a:lnTo>
                    <a:lnTo>
                      <a:pt x="54" y="513"/>
                    </a:lnTo>
                    <a:lnTo>
                      <a:pt x="52" y="513"/>
                    </a:lnTo>
                    <a:lnTo>
                      <a:pt x="52" y="511"/>
                    </a:lnTo>
                    <a:lnTo>
                      <a:pt x="50" y="511"/>
                    </a:lnTo>
                    <a:lnTo>
                      <a:pt x="52" y="509"/>
                    </a:lnTo>
                    <a:lnTo>
                      <a:pt x="50" y="509"/>
                    </a:lnTo>
                    <a:lnTo>
                      <a:pt x="50" y="507"/>
                    </a:lnTo>
                    <a:lnTo>
                      <a:pt x="48" y="507"/>
                    </a:lnTo>
                    <a:lnTo>
                      <a:pt x="48" y="505"/>
                    </a:lnTo>
                    <a:lnTo>
                      <a:pt x="46" y="505"/>
                    </a:lnTo>
                    <a:lnTo>
                      <a:pt x="46" y="503"/>
                    </a:lnTo>
                    <a:lnTo>
                      <a:pt x="44" y="503"/>
                    </a:lnTo>
                    <a:lnTo>
                      <a:pt x="44" y="502"/>
                    </a:lnTo>
                    <a:lnTo>
                      <a:pt x="42" y="502"/>
                    </a:lnTo>
                    <a:lnTo>
                      <a:pt x="42" y="500"/>
                    </a:lnTo>
                    <a:lnTo>
                      <a:pt x="42" y="498"/>
                    </a:lnTo>
                    <a:lnTo>
                      <a:pt x="44" y="498"/>
                    </a:lnTo>
                    <a:lnTo>
                      <a:pt x="44" y="496"/>
                    </a:lnTo>
                    <a:lnTo>
                      <a:pt x="44" y="494"/>
                    </a:lnTo>
                    <a:lnTo>
                      <a:pt x="42" y="494"/>
                    </a:lnTo>
                    <a:lnTo>
                      <a:pt x="42" y="492"/>
                    </a:lnTo>
                    <a:lnTo>
                      <a:pt x="40" y="492"/>
                    </a:lnTo>
                    <a:lnTo>
                      <a:pt x="40" y="490"/>
                    </a:lnTo>
                    <a:lnTo>
                      <a:pt x="38" y="490"/>
                    </a:lnTo>
                    <a:lnTo>
                      <a:pt x="37" y="490"/>
                    </a:lnTo>
                    <a:lnTo>
                      <a:pt x="37" y="492"/>
                    </a:lnTo>
                    <a:lnTo>
                      <a:pt x="35" y="492"/>
                    </a:lnTo>
                    <a:lnTo>
                      <a:pt x="33" y="492"/>
                    </a:lnTo>
                    <a:lnTo>
                      <a:pt x="33" y="490"/>
                    </a:lnTo>
                    <a:lnTo>
                      <a:pt x="31" y="490"/>
                    </a:lnTo>
                    <a:lnTo>
                      <a:pt x="33" y="490"/>
                    </a:lnTo>
                    <a:lnTo>
                      <a:pt x="33" y="488"/>
                    </a:lnTo>
                    <a:lnTo>
                      <a:pt x="33" y="486"/>
                    </a:lnTo>
                    <a:lnTo>
                      <a:pt x="35" y="486"/>
                    </a:lnTo>
                    <a:lnTo>
                      <a:pt x="35" y="484"/>
                    </a:lnTo>
                    <a:lnTo>
                      <a:pt x="35" y="482"/>
                    </a:lnTo>
                    <a:lnTo>
                      <a:pt x="37" y="482"/>
                    </a:lnTo>
                    <a:lnTo>
                      <a:pt x="37" y="480"/>
                    </a:lnTo>
                    <a:lnTo>
                      <a:pt x="38" y="480"/>
                    </a:lnTo>
                    <a:lnTo>
                      <a:pt x="38" y="478"/>
                    </a:lnTo>
                    <a:lnTo>
                      <a:pt x="40" y="478"/>
                    </a:lnTo>
                    <a:lnTo>
                      <a:pt x="42" y="478"/>
                    </a:lnTo>
                    <a:lnTo>
                      <a:pt x="42" y="477"/>
                    </a:lnTo>
                    <a:lnTo>
                      <a:pt x="42" y="478"/>
                    </a:lnTo>
                    <a:lnTo>
                      <a:pt x="44" y="478"/>
                    </a:lnTo>
                    <a:lnTo>
                      <a:pt x="44" y="477"/>
                    </a:lnTo>
                    <a:lnTo>
                      <a:pt x="42" y="477"/>
                    </a:lnTo>
                    <a:lnTo>
                      <a:pt x="44" y="475"/>
                    </a:lnTo>
                    <a:lnTo>
                      <a:pt x="46" y="475"/>
                    </a:lnTo>
                    <a:lnTo>
                      <a:pt x="48" y="475"/>
                    </a:lnTo>
                    <a:lnTo>
                      <a:pt x="48" y="473"/>
                    </a:lnTo>
                    <a:lnTo>
                      <a:pt x="50" y="473"/>
                    </a:lnTo>
                    <a:lnTo>
                      <a:pt x="52" y="473"/>
                    </a:lnTo>
                    <a:lnTo>
                      <a:pt x="54" y="473"/>
                    </a:lnTo>
                    <a:lnTo>
                      <a:pt x="54" y="471"/>
                    </a:lnTo>
                    <a:lnTo>
                      <a:pt x="52" y="471"/>
                    </a:lnTo>
                    <a:lnTo>
                      <a:pt x="52" y="469"/>
                    </a:lnTo>
                    <a:lnTo>
                      <a:pt x="52" y="467"/>
                    </a:lnTo>
                    <a:lnTo>
                      <a:pt x="52" y="469"/>
                    </a:lnTo>
                    <a:lnTo>
                      <a:pt x="52" y="467"/>
                    </a:lnTo>
                    <a:lnTo>
                      <a:pt x="54" y="467"/>
                    </a:lnTo>
                    <a:lnTo>
                      <a:pt x="54" y="469"/>
                    </a:lnTo>
                    <a:lnTo>
                      <a:pt x="54" y="467"/>
                    </a:lnTo>
                    <a:lnTo>
                      <a:pt x="56" y="467"/>
                    </a:lnTo>
                    <a:lnTo>
                      <a:pt x="56" y="465"/>
                    </a:lnTo>
                    <a:lnTo>
                      <a:pt x="56" y="463"/>
                    </a:lnTo>
                    <a:lnTo>
                      <a:pt x="54" y="463"/>
                    </a:lnTo>
                    <a:lnTo>
                      <a:pt x="54" y="465"/>
                    </a:lnTo>
                    <a:lnTo>
                      <a:pt x="54" y="463"/>
                    </a:lnTo>
                    <a:lnTo>
                      <a:pt x="52" y="461"/>
                    </a:lnTo>
                    <a:lnTo>
                      <a:pt x="54" y="461"/>
                    </a:lnTo>
                    <a:lnTo>
                      <a:pt x="52" y="461"/>
                    </a:lnTo>
                    <a:lnTo>
                      <a:pt x="52" y="459"/>
                    </a:lnTo>
                    <a:lnTo>
                      <a:pt x="52" y="457"/>
                    </a:lnTo>
                    <a:lnTo>
                      <a:pt x="52" y="455"/>
                    </a:lnTo>
                    <a:lnTo>
                      <a:pt x="52" y="453"/>
                    </a:lnTo>
                    <a:lnTo>
                      <a:pt x="54" y="453"/>
                    </a:lnTo>
                    <a:lnTo>
                      <a:pt x="54" y="452"/>
                    </a:lnTo>
                    <a:lnTo>
                      <a:pt x="52" y="450"/>
                    </a:lnTo>
                    <a:lnTo>
                      <a:pt x="52" y="448"/>
                    </a:lnTo>
                    <a:lnTo>
                      <a:pt x="50" y="448"/>
                    </a:lnTo>
                    <a:lnTo>
                      <a:pt x="50" y="446"/>
                    </a:lnTo>
                    <a:lnTo>
                      <a:pt x="50" y="444"/>
                    </a:lnTo>
                    <a:lnTo>
                      <a:pt x="52" y="444"/>
                    </a:lnTo>
                    <a:lnTo>
                      <a:pt x="52" y="442"/>
                    </a:lnTo>
                    <a:lnTo>
                      <a:pt x="52" y="440"/>
                    </a:lnTo>
                    <a:lnTo>
                      <a:pt x="50" y="440"/>
                    </a:lnTo>
                    <a:lnTo>
                      <a:pt x="50" y="438"/>
                    </a:lnTo>
                    <a:lnTo>
                      <a:pt x="50" y="436"/>
                    </a:lnTo>
                    <a:lnTo>
                      <a:pt x="50" y="434"/>
                    </a:lnTo>
                    <a:lnTo>
                      <a:pt x="50" y="432"/>
                    </a:lnTo>
                    <a:lnTo>
                      <a:pt x="50" y="430"/>
                    </a:lnTo>
                    <a:lnTo>
                      <a:pt x="48" y="430"/>
                    </a:lnTo>
                    <a:lnTo>
                      <a:pt x="48" y="428"/>
                    </a:lnTo>
                    <a:lnTo>
                      <a:pt x="46" y="428"/>
                    </a:lnTo>
                    <a:lnTo>
                      <a:pt x="46" y="427"/>
                    </a:lnTo>
                    <a:lnTo>
                      <a:pt x="44" y="427"/>
                    </a:lnTo>
                    <a:lnTo>
                      <a:pt x="42" y="427"/>
                    </a:lnTo>
                    <a:lnTo>
                      <a:pt x="42" y="425"/>
                    </a:lnTo>
                    <a:lnTo>
                      <a:pt x="42" y="423"/>
                    </a:lnTo>
                    <a:lnTo>
                      <a:pt x="42" y="421"/>
                    </a:lnTo>
                    <a:lnTo>
                      <a:pt x="40" y="421"/>
                    </a:lnTo>
                    <a:lnTo>
                      <a:pt x="40" y="419"/>
                    </a:lnTo>
                    <a:lnTo>
                      <a:pt x="42" y="419"/>
                    </a:lnTo>
                    <a:lnTo>
                      <a:pt x="40" y="419"/>
                    </a:lnTo>
                    <a:lnTo>
                      <a:pt x="40" y="417"/>
                    </a:lnTo>
                    <a:lnTo>
                      <a:pt x="40" y="415"/>
                    </a:lnTo>
                    <a:lnTo>
                      <a:pt x="38" y="415"/>
                    </a:lnTo>
                    <a:lnTo>
                      <a:pt x="40" y="415"/>
                    </a:lnTo>
                    <a:lnTo>
                      <a:pt x="38" y="415"/>
                    </a:lnTo>
                    <a:lnTo>
                      <a:pt x="38" y="413"/>
                    </a:lnTo>
                    <a:lnTo>
                      <a:pt x="38" y="411"/>
                    </a:lnTo>
                    <a:lnTo>
                      <a:pt x="37" y="411"/>
                    </a:lnTo>
                    <a:lnTo>
                      <a:pt x="37" y="409"/>
                    </a:lnTo>
                    <a:lnTo>
                      <a:pt x="38" y="409"/>
                    </a:lnTo>
                    <a:lnTo>
                      <a:pt x="37" y="409"/>
                    </a:lnTo>
                    <a:lnTo>
                      <a:pt x="37" y="407"/>
                    </a:lnTo>
                    <a:lnTo>
                      <a:pt x="37" y="405"/>
                    </a:lnTo>
                    <a:lnTo>
                      <a:pt x="37" y="403"/>
                    </a:lnTo>
                    <a:lnTo>
                      <a:pt x="35" y="403"/>
                    </a:lnTo>
                    <a:lnTo>
                      <a:pt x="37" y="403"/>
                    </a:lnTo>
                    <a:lnTo>
                      <a:pt x="37" y="402"/>
                    </a:lnTo>
                    <a:lnTo>
                      <a:pt x="35" y="402"/>
                    </a:lnTo>
                    <a:lnTo>
                      <a:pt x="37" y="400"/>
                    </a:lnTo>
                    <a:lnTo>
                      <a:pt x="35" y="400"/>
                    </a:lnTo>
                    <a:lnTo>
                      <a:pt x="35" y="398"/>
                    </a:lnTo>
                    <a:lnTo>
                      <a:pt x="33" y="398"/>
                    </a:lnTo>
                    <a:lnTo>
                      <a:pt x="33" y="396"/>
                    </a:lnTo>
                    <a:lnTo>
                      <a:pt x="33" y="394"/>
                    </a:lnTo>
                    <a:lnTo>
                      <a:pt x="33" y="392"/>
                    </a:lnTo>
                    <a:lnTo>
                      <a:pt x="35" y="392"/>
                    </a:lnTo>
                    <a:lnTo>
                      <a:pt x="31" y="386"/>
                    </a:lnTo>
                    <a:lnTo>
                      <a:pt x="29" y="384"/>
                    </a:lnTo>
                    <a:lnTo>
                      <a:pt x="27" y="379"/>
                    </a:lnTo>
                    <a:lnTo>
                      <a:pt x="21" y="371"/>
                    </a:lnTo>
                    <a:lnTo>
                      <a:pt x="21" y="369"/>
                    </a:lnTo>
                    <a:lnTo>
                      <a:pt x="13" y="359"/>
                    </a:lnTo>
                    <a:lnTo>
                      <a:pt x="10" y="352"/>
                    </a:lnTo>
                    <a:lnTo>
                      <a:pt x="10" y="350"/>
                    </a:lnTo>
                    <a:lnTo>
                      <a:pt x="8" y="350"/>
                    </a:lnTo>
                    <a:lnTo>
                      <a:pt x="8" y="348"/>
                    </a:lnTo>
                    <a:lnTo>
                      <a:pt x="6" y="348"/>
                    </a:lnTo>
                    <a:lnTo>
                      <a:pt x="4" y="348"/>
                    </a:lnTo>
                    <a:lnTo>
                      <a:pt x="4" y="346"/>
                    </a:lnTo>
                    <a:lnTo>
                      <a:pt x="2" y="346"/>
                    </a:lnTo>
                    <a:lnTo>
                      <a:pt x="2" y="344"/>
                    </a:lnTo>
                    <a:lnTo>
                      <a:pt x="0" y="344"/>
                    </a:lnTo>
                    <a:lnTo>
                      <a:pt x="2" y="344"/>
                    </a:lnTo>
                    <a:lnTo>
                      <a:pt x="2" y="342"/>
                    </a:lnTo>
                    <a:lnTo>
                      <a:pt x="4" y="342"/>
                    </a:lnTo>
                    <a:lnTo>
                      <a:pt x="4" y="340"/>
                    </a:lnTo>
                    <a:lnTo>
                      <a:pt x="6" y="340"/>
                    </a:lnTo>
                    <a:lnTo>
                      <a:pt x="6" y="338"/>
                    </a:lnTo>
                    <a:lnTo>
                      <a:pt x="4" y="338"/>
                    </a:lnTo>
                    <a:lnTo>
                      <a:pt x="4" y="336"/>
                    </a:lnTo>
                    <a:lnTo>
                      <a:pt x="6" y="336"/>
                    </a:lnTo>
                    <a:lnTo>
                      <a:pt x="6" y="334"/>
                    </a:lnTo>
                    <a:lnTo>
                      <a:pt x="6" y="336"/>
                    </a:lnTo>
                    <a:lnTo>
                      <a:pt x="8" y="336"/>
                    </a:lnTo>
                    <a:lnTo>
                      <a:pt x="8" y="334"/>
                    </a:lnTo>
                    <a:lnTo>
                      <a:pt x="8" y="336"/>
                    </a:lnTo>
                    <a:lnTo>
                      <a:pt x="10" y="336"/>
                    </a:lnTo>
                    <a:lnTo>
                      <a:pt x="10" y="334"/>
                    </a:lnTo>
                    <a:lnTo>
                      <a:pt x="12" y="334"/>
                    </a:lnTo>
                    <a:lnTo>
                      <a:pt x="12" y="332"/>
                    </a:lnTo>
                    <a:lnTo>
                      <a:pt x="12" y="330"/>
                    </a:lnTo>
                    <a:lnTo>
                      <a:pt x="12" y="329"/>
                    </a:lnTo>
                    <a:lnTo>
                      <a:pt x="13" y="330"/>
                    </a:lnTo>
                    <a:lnTo>
                      <a:pt x="13" y="329"/>
                    </a:lnTo>
                    <a:lnTo>
                      <a:pt x="15" y="329"/>
                    </a:lnTo>
                    <a:lnTo>
                      <a:pt x="15" y="330"/>
                    </a:lnTo>
                    <a:lnTo>
                      <a:pt x="17" y="329"/>
                    </a:lnTo>
                    <a:lnTo>
                      <a:pt x="17" y="327"/>
                    </a:lnTo>
                    <a:lnTo>
                      <a:pt x="17" y="325"/>
                    </a:lnTo>
                    <a:lnTo>
                      <a:pt x="19" y="325"/>
                    </a:lnTo>
                    <a:lnTo>
                      <a:pt x="19" y="323"/>
                    </a:lnTo>
                    <a:lnTo>
                      <a:pt x="19" y="321"/>
                    </a:lnTo>
                    <a:lnTo>
                      <a:pt x="21" y="321"/>
                    </a:lnTo>
                    <a:lnTo>
                      <a:pt x="21" y="319"/>
                    </a:lnTo>
                    <a:lnTo>
                      <a:pt x="21" y="317"/>
                    </a:lnTo>
                    <a:lnTo>
                      <a:pt x="21" y="315"/>
                    </a:lnTo>
                    <a:lnTo>
                      <a:pt x="19" y="315"/>
                    </a:lnTo>
                    <a:lnTo>
                      <a:pt x="19" y="313"/>
                    </a:lnTo>
                    <a:lnTo>
                      <a:pt x="19" y="311"/>
                    </a:lnTo>
                    <a:lnTo>
                      <a:pt x="19" y="309"/>
                    </a:lnTo>
                    <a:lnTo>
                      <a:pt x="21" y="307"/>
                    </a:lnTo>
                    <a:lnTo>
                      <a:pt x="21" y="309"/>
                    </a:lnTo>
                    <a:lnTo>
                      <a:pt x="23" y="309"/>
                    </a:lnTo>
                    <a:lnTo>
                      <a:pt x="23" y="307"/>
                    </a:lnTo>
                    <a:lnTo>
                      <a:pt x="21" y="305"/>
                    </a:lnTo>
                    <a:lnTo>
                      <a:pt x="23" y="305"/>
                    </a:lnTo>
                    <a:lnTo>
                      <a:pt x="21" y="304"/>
                    </a:lnTo>
                    <a:lnTo>
                      <a:pt x="23" y="304"/>
                    </a:lnTo>
                    <a:lnTo>
                      <a:pt x="23" y="302"/>
                    </a:lnTo>
                    <a:lnTo>
                      <a:pt x="21" y="302"/>
                    </a:lnTo>
                    <a:lnTo>
                      <a:pt x="23" y="302"/>
                    </a:lnTo>
                    <a:lnTo>
                      <a:pt x="23" y="300"/>
                    </a:lnTo>
                    <a:lnTo>
                      <a:pt x="23" y="298"/>
                    </a:lnTo>
                    <a:lnTo>
                      <a:pt x="25" y="298"/>
                    </a:lnTo>
                    <a:lnTo>
                      <a:pt x="25" y="300"/>
                    </a:lnTo>
                    <a:lnTo>
                      <a:pt x="27" y="302"/>
                    </a:lnTo>
                    <a:lnTo>
                      <a:pt x="29" y="302"/>
                    </a:lnTo>
                    <a:lnTo>
                      <a:pt x="29" y="304"/>
                    </a:lnTo>
                    <a:lnTo>
                      <a:pt x="31" y="302"/>
                    </a:lnTo>
                    <a:lnTo>
                      <a:pt x="31" y="304"/>
                    </a:lnTo>
                    <a:lnTo>
                      <a:pt x="31" y="302"/>
                    </a:lnTo>
                    <a:lnTo>
                      <a:pt x="33" y="302"/>
                    </a:lnTo>
                    <a:lnTo>
                      <a:pt x="42" y="302"/>
                    </a:lnTo>
                    <a:lnTo>
                      <a:pt x="46" y="302"/>
                    </a:lnTo>
                    <a:lnTo>
                      <a:pt x="52" y="302"/>
                    </a:lnTo>
                    <a:lnTo>
                      <a:pt x="63" y="302"/>
                    </a:lnTo>
                    <a:lnTo>
                      <a:pt x="67" y="302"/>
                    </a:lnTo>
                    <a:lnTo>
                      <a:pt x="69" y="302"/>
                    </a:lnTo>
                    <a:lnTo>
                      <a:pt x="67" y="304"/>
                    </a:lnTo>
                    <a:lnTo>
                      <a:pt x="69" y="304"/>
                    </a:lnTo>
                    <a:lnTo>
                      <a:pt x="71" y="304"/>
                    </a:lnTo>
                    <a:lnTo>
                      <a:pt x="71" y="302"/>
                    </a:lnTo>
                    <a:lnTo>
                      <a:pt x="73" y="304"/>
                    </a:lnTo>
                    <a:lnTo>
                      <a:pt x="73" y="302"/>
                    </a:lnTo>
                    <a:lnTo>
                      <a:pt x="73" y="300"/>
                    </a:lnTo>
                    <a:lnTo>
                      <a:pt x="75" y="300"/>
                    </a:lnTo>
                    <a:lnTo>
                      <a:pt x="73" y="300"/>
                    </a:lnTo>
                    <a:lnTo>
                      <a:pt x="75" y="300"/>
                    </a:lnTo>
                    <a:lnTo>
                      <a:pt x="73" y="300"/>
                    </a:lnTo>
                    <a:lnTo>
                      <a:pt x="73" y="298"/>
                    </a:lnTo>
                    <a:lnTo>
                      <a:pt x="73" y="300"/>
                    </a:lnTo>
                    <a:lnTo>
                      <a:pt x="73" y="298"/>
                    </a:lnTo>
                    <a:lnTo>
                      <a:pt x="75" y="298"/>
                    </a:lnTo>
                    <a:lnTo>
                      <a:pt x="73" y="298"/>
                    </a:lnTo>
                    <a:lnTo>
                      <a:pt x="75" y="298"/>
                    </a:lnTo>
                    <a:lnTo>
                      <a:pt x="73" y="298"/>
                    </a:lnTo>
                    <a:lnTo>
                      <a:pt x="75" y="298"/>
                    </a:lnTo>
                    <a:lnTo>
                      <a:pt x="73" y="298"/>
                    </a:lnTo>
                    <a:lnTo>
                      <a:pt x="75" y="298"/>
                    </a:lnTo>
                    <a:lnTo>
                      <a:pt x="73" y="296"/>
                    </a:lnTo>
                    <a:lnTo>
                      <a:pt x="75" y="296"/>
                    </a:lnTo>
                    <a:lnTo>
                      <a:pt x="75" y="294"/>
                    </a:lnTo>
                    <a:lnTo>
                      <a:pt x="75" y="292"/>
                    </a:lnTo>
                    <a:lnTo>
                      <a:pt x="75" y="294"/>
                    </a:lnTo>
                    <a:lnTo>
                      <a:pt x="75" y="292"/>
                    </a:lnTo>
                    <a:lnTo>
                      <a:pt x="75" y="290"/>
                    </a:lnTo>
                    <a:lnTo>
                      <a:pt x="73" y="290"/>
                    </a:lnTo>
                    <a:lnTo>
                      <a:pt x="75" y="290"/>
                    </a:lnTo>
                    <a:lnTo>
                      <a:pt x="73" y="290"/>
                    </a:lnTo>
                    <a:lnTo>
                      <a:pt x="73" y="288"/>
                    </a:lnTo>
                    <a:lnTo>
                      <a:pt x="71" y="288"/>
                    </a:lnTo>
                    <a:lnTo>
                      <a:pt x="71" y="286"/>
                    </a:lnTo>
                    <a:lnTo>
                      <a:pt x="71" y="284"/>
                    </a:lnTo>
                    <a:lnTo>
                      <a:pt x="69" y="284"/>
                    </a:lnTo>
                    <a:lnTo>
                      <a:pt x="71" y="284"/>
                    </a:lnTo>
                    <a:lnTo>
                      <a:pt x="69" y="284"/>
                    </a:lnTo>
                    <a:lnTo>
                      <a:pt x="71" y="282"/>
                    </a:lnTo>
                    <a:lnTo>
                      <a:pt x="69" y="282"/>
                    </a:lnTo>
                    <a:lnTo>
                      <a:pt x="71" y="282"/>
                    </a:lnTo>
                    <a:lnTo>
                      <a:pt x="69" y="282"/>
                    </a:lnTo>
                    <a:lnTo>
                      <a:pt x="71" y="282"/>
                    </a:lnTo>
                    <a:lnTo>
                      <a:pt x="69" y="282"/>
                    </a:lnTo>
                    <a:lnTo>
                      <a:pt x="69" y="280"/>
                    </a:lnTo>
                    <a:lnTo>
                      <a:pt x="69" y="279"/>
                    </a:lnTo>
                    <a:lnTo>
                      <a:pt x="69" y="277"/>
                    </a:lnTo>
                    <a:lnTo>
                      <a:pt x="69" y="275"/>
                    </a:lnTo>
                    <a:lnTo>
                      <a:pt x="67" y="275"/>
                    </a:lnTo>
                    <a:lnTo>
                      <a:pt x="69" y="275"/>
                    </a:lnTo>
                    <a:lnTo>
                      <a:pt x="67" y="275"/>
                    </a:lnTo>
                    <a:lnTo>
                      <a:pt x="69" y="275"/>
                    </a:lnTo>
                    <a:lnTo>
                      <a:pt x="67" y="273"/>
                    </a:lnTo>
                    <a:lnTo>
                      <a:pt x="69" y="273"/>
                    </a:lnTo>
                    <a:lnTo>
                      <a:pt x="67" y="273"/>
                    </a:lnTo>
                    <a:lnTo>
                      <a:pt x="69" y="273"/>
                    </a:lnTo>
                    <a:lnTo>
                      <a:pt x="69" y="271"/>
                    </a:lnTo>
                    <a:lnTo>
                      <a:pt x="69" y="273"/>
                    </a:lnTo>
                    <a:lnTo>
                      <a:pt x="67" y="271"/>
                    </a:lnTo>
                    <a:lnTo>
                      <a:pt x="69" y="271"/>
                    </a:lnTo>
                    <a:lnTo>
                      <a:pt x="67" y="271"/>
                    </a:lnTo>
                    <a:lnTo>
                      <a:pt x="69" y="271"/>
                    </a:lnTo>
                    <a:lnTo>
                      <a:pt x="67" y="271"/>
                    </a:lnTo>
                    <a:lnTo>
                      <a:pt x="69" y="271"/>
                    </a:lnTo>
                    <a:lnTo>
                      <a:pt x="67" y="269"/>
                    </a:lnTo>
                    <a:lnTo>
                      <a:pt x="69" y="269"/>
                    </a:lnTo>
                    <a:lnTo>
                      <a:pt x="67" y="269"/>
                    </a:lnTo>
                    <a:lnTo>
                      <a:pt x="69" y="269"/>
                    </a:lnTo>
                    <a:lnTo>
                      <a:pt x="69" y="267"/>
                    </a:lnTo>
                    <a:lnTo>
                      <a:pt x="67" y="269"/>
                    </a:lnTo>
                    <a:lnTo>
                      <a:pt x="67" y="267"/>
                    </a:lnTo>
                    <a:lnTo>
                      <a:pt x="69" y="267"/>
                    </a:lnTo>
                    <a:lnTo>
                      <a:pt x="69" y="265"/>
                    </a:lnTo>
                    <a:lnTo>
                      <a:pt x="71" y="265"/>
                    </a:lnTo>
                    <a:lnTo>
                      <a:pt x="71" y="263"/>
                    </a:lnTo>
                    <a:lnTo>
                      <a:pt x="73" y="263"/>
                    </a:lnTo>
                    <a:lnTo>
                      <a:pt x="71" y="261"/>
                    </a:lnTo>
                    <a:lnTo>
                      <a:pt x="73" y="261"/>
                    </a:lnTo>
                    <a:lnTo>
                      <a:pt x="73" y="263"/>
                    </a:lnTo>
                    <a:lnTo>
                      <a:pt x="73" y="261"/>
                    </a:lnTo>
                    <a:lnTo>
                      <a:pt x="75" y="261"/>
                    </a:lnTo>
                    <a:lnTo>
                      <a:pt x="75" y="259"/>
                    </a:lnTo>
                    <a:lnTo>
                      <a:pt x="73" y="259"/>
                    </a:lnTo>
                    <a:lnTo>
                      <a:pt x="73" y="257"/>
                    </a:lnTo>
                    <a:lnTo>
                      <a:pt x="75" y="257"/>
                    </a:lnTo>
                    <a:lnTo>
                      <a:pt x="75" y="255"/>
                    </a:lnTo>
                    <a:lnTo>
                      <a:pt x="73" y="255"/>
                    </a:lnTo>
                    <a:lnTo>
                      <a:pt x="75" y="254"/>
                    </a:lnTo>
                    <a:lnTo>
                      <a:pt x="73" y="254"/>
                    </a:lnTo>
                    <a:lnTo>
                      <a:pt x="73" y="252"/>
                    </a:lnTo>
                    <a:lnTo>
                      <a:pt x="71" y="252"/>
                    </a:lnTo>
                    <a:lnTo>
                      <a:pt x="71" y="254"/>
                    </a:lnTo>
                    <a:lnTo>
                      <a:pt x="71" y="252"/>
                    </a:lnTo>
                    <a:lnTo>
                      <a:pt x="71" y="250"/>
                    </a:lnTo>
                    <a:lnTo>
                      <a:pt x="73" y="250"/>
                    </a:lnTo>
                    <a:lnTo>
                      <a:pt x="73" y="248"/>
                    </a:lnTo>
                    <a:lnTo>
                      <a:pt x="71" y="248"/>
                    </a:lnTo>
                    <a:lnTo>
                      <a:pt x="71" y="246"/>
                    </a:lnTo>
                    <a:lnTo>
                      <a:pt x="73" y="246"/>
                    </a:lnTo>
                    <a:lnTo>
                      <a:pt x="71" y="246"/>
                    </a:lnTo>
                    <a:lnTo>
                      <a:pt x="69" y="244"/>
                    </a:lnTo>
                    <a:lnTo>
                      <a:pt x="69" y="242"/>
                    </a:lnTo>
                    <a:lnTo>
                      <a:pt x="71" y="242"/>
                    </a:lnTo>
                    <a:lnTo>
                      <a:pt x="69" y="242"/>
                    </a:lnTo>
                    <a:lnTo>
                      <a:pt x="69" y="240"/>
                    </a:lnTo>
                    <a:lnTo>
                      <a:pt x="71" y="240"/>
                    </a:lnTo>
                    <a:lnTo>
                      <a:pt x="69" y="240"/>
                    </a:lnTo>
                    <a:lnTo>
                      <a:pt x="69" y="238"/>
                    </a:lnTo>
                    <a:lnTo>
                      <a:pt x="71" y="238"/>
                    </a:lnTo>
                    <a:lnTo>
                      <a:pt x="73" y="240"/>
                    </a:lnTo>
                    <a:lnTo>
                      <a:pt x="73" y="238"/>
                    </a:lnTo>
                    <a:lnTo>
                      <a:pt x="73" y="236"/>
                    </a:lnTo>
                    <a:lnTo>
                      <a:pt x="71" y="234"/>
                    </a:lnTo>
                    <a:lnTo>
                      <a:pt x="73" y="234"/>
                    </a:lnTo>
                    <a:lnTo>
                      <a:pt x="73" y="232"/>
                    </a:lnTo>
                    <a:lnTo>
                      <a:pt x="75" y="232"/>
                    </a:lnTo>
                    <a:lnTo>
                      <a:pt x="73" y="232"/>
                    </a:lnTo>
                    <a:lnTo>
                      <a:pt x="73" y="230"/>
                    </a:lnTo>
                    <a:lnTo>
                      <a:pt x="73" y="229"/>
                    </a:lnTo>
                    <a:lnTo>
                      <a:pt x="73" y="227"/>
                    </a:lnTo>
                    <a:lnTo>
                      <a:pt x="73" y="225"/>
                    </a:lnTo>
                    <a:lnTo>
                      <a:pt x="73" y="223"/>
                    </a:lnTo>
                    <a:lnTo>
                      <a:pt x="71" y="223"/>
                    </a:lnTo>
                    <a:lnTo>
                      <a:pt x="69" y="221"/>
                    </a:lnTo>
                    <a:lnTo>
                      <a:pt x="69" y="219"/>
                    </a:lnTo>
                    <a:lnTo>
                      <a:pt x="71" y="217"/>
                    </a:lnTo>
                    <a:lnTo>
                      <a:pt x="71" y="215"/>
                    </a:lnTo>
                    <a:lnTo>
                      <a:pt x="71" y="213"/>
                    </a:lnTo>
                    <a:lnTo>
                      <a:pt x="73" y="213"/>
                    </a:lnTo>
                    <a:lnTo>
                      <a:pt x="73" y="211"/>
                    </a:lnTo>
                    <a:lnTo>
                      <a:pt x="73" y="209"/>
                    </a:lnTo>
                    <a:lnTo>
                      <a:pt x="75" y="209"/>
                    </a:lnTo>
                    <a:lnTo>
                      <a:pt x="75" y="207"/>
                    </a:lnTo>
                    <a:lnTo>
                      <a:pt x="73" y="207"/>
                    </a:lnTo>
                    <a:lnTo>
                      <a:pt x="73" y="205"/>
                    </a:lnTo>
                    <a:lnTo>
                      <a:pt x="73" y="204"/>
                    </a:lnTo>
                    <a:lnTo>
                      <a:pt x="71" y="205"/>
                    </a:lnTo>
                    <a:lnTo>
                      <a:pt x="71" y="204"/>
                    </a:lnTo>
                    <a:lnTo>
                      <a:pt x="71" y="202"/>
                    </a:lnTo>
                    <a:lnTo>
                      <a:pt x="73" y="202"/>
                    </a:lnTo>
                    <a:lnTo>
                      <a:pt x="73" y="200"/>
                    </a:lnTo>
                    <a:lnTo>
                      <a:pt x="71" y="200"/>
                    </a:lnTo>
                    <a:lnTo>
                      <a:pt x="71" y="198"/>
                    </a:lnTo>
                    <a:lnTo>
                      <a:pt x="69" y="198"/>
                    </a:lnTo>
                    <a:lnTo>
                      <a:pt x="67" y="198"/>
                    </a:lnTo>
                    <a:lnTo>
                      <a:pt x="67" y="196"/>
                    </a:lnTo>
                    <a:lnTo>
                      <a:pt x="65" y="196"/>
                    </a:lnTo>
                    <a:lnTo>
                      <a:pt x="65" y="194"/>
                    </a:lnTo>
                    <a:lnTo>
                      <a:pt x="67" y="194"/>
                    </a:lnTo>
                    <a:lnTo>
                      <a:pt x="65" y="194"/>
                    </a:lnTo>
                    <a:lnTo>
                      <a:pt x="65" y="192"/>
                    </a:lnTo>
                    <a:lnTo>
                      <a:pt x="65" y="190"/>
                    </a:lnTo>
                    <a:lnTo>
                      <a:pt x="65" y="188"/>
                    </a:lnTo>
                    <a:lnTo>
                      <a:pt x="65" y="186"/>
                    </a:lnTo>
                    <a:lnTo>
                      <a:pt x="67" y="184"/>
                    </a:lnTo>
                    <a:lnTo>
                      <a:pt x="67" y="182"/>
                    </a:lnTo>
                    <a:lnTo>
                      <a:pt x="69" y="182"/>
                    </a:lnTo>
                    <a:lnTo>
                      <a:pt x="69" y="180"/>
                    </a:lnTo>
                    <a:lnTo>
                      <a:pt x="71" y="180"/>
                    </a:lnTo>
                    <a:lnTo>
                      <a:pt x="73" y="180"/>
                    </a:lnTo>
                    <a:lnTo>
                      <a:pt x="75" y="179"/>
                    </a:lnTo>
                    <a:lnTo>
                      <a:pt x="75" y="177"/>
                    </a:lnTo>
                    <a:lnTo>
                      <a:pt x="77" y="177"/>
                    </a:lnTo>
                    <a:lnTo>
                      <a:pt x="79" y="177"/>
                    </a:lnTo>
                    <a:lnTo>
                      <a:pt x="79" y="175"/>
                    </a:lnTo>
                    <a:lnTo>
                      <a:pt x="81" y="175"/>
                    </a:lnTo>
                    <a:lnTo>
                      <a:pt x="81" y="177"/>
                    </a:lnTo>
                    <a:lnTo>
                      <a:pt x="81" y="175"/>
                    </a:lnTo>
                    <a:lnTo>
                      <a:pt x="81" y="173"/>
                    </a:lnTo>
                    <a:lnTo>
                      <a:pt x="83" y="171"/>
                    </a:lnTo>
                    <a:lnTo>
                      <a:pt x="81" y="169"/>
                    </a:lnTo>
                    <a:lnTo>
                      <a:pt x="81" y="167"/>
                    </a:lnTo>
                    <a:lnTo>
                      <a:pt x="79" y="165"/>
                    </a:lnTo>
                    <a:lnTo>
                      <a:pt x="77" y="163"/>
                    </a:lnTo>
                    <a:lnTo>
                      <a:pt x="77" y="161"/>
                    </a:lnTo>
                    <a:lnTo>
                      <a:pt x="77" y="159"/>
                    </a:lnTo>
                    <a:lnTo>
                      <a:pt x="75" y="157"/>
                    </a:lnTo>
                    <a:lnTo>
                      <a:pt x="75" y="155"/>
                    </a:lnTo>
                    <a:lnTo>
                      <a:pt x="75" y="154"/>
                    </a:lnTo>
                    <a:lnTo>
                      <a:pt x="77" y="154"/>
                    </a:lnTo>
                    <a:lnTo>
                      <a:pt x="79" y="154"/>
                    </a:lnTo>
                    <a:lnTo>
                      <a:pt x="79" y="152"/>
                    </a:lnTo>
                    <a:lnTo>
                      <a:pt x="79" y="150"/>
                    </a:lnTo>
                    <a:lnTo>
                      <a:pt x="77" y="150"/>
                    </a:lnTo>
                    <a:lnTo>
                      <a:pt x="77" y="148"/>
                    </a:lnTo>
                    <a:lnTo>
                      <a:pt x="79" y="146"/>
                    </a:lnTo>
                    <a:lnTo>
                      <a:pt x="79" y="144"/>
                    </a:lnTo>
                    <a:lnTo>
                      <a:pt x="79" y="142"/>
                    </a:lnTo>
                    <a:lnTo>
                      <a:pt x="81" y="140"/>
                    </a:lnTo>
                    <a:lnTo>
                      <a:pt x="83" y="140"/>
                    </a:lnTo>
                    <a:lnTo>
                      <a:pt x="83" y="138"/>
                    </a:lnTo>
                    <a:lnTo>
                      <a:pt x="83" y="136"/>
                    </a:lnTo>
                    <a:lnTo>
                      <a:pt x="85" y="136"/>
                    </a:lnTo>
                    <a:lnTo>
                      <a:pt x="86" y="136"/>
                    </a:lnTo>
                    <a:lnTo>
                      <a:pt x="88" y="136"/>
                    </a:lnTo>
                    <a:lnTo>
                      <a:pt x="90" y="136"/>
                    </a:lnTo>
                    <a:lnTo>
                      <a:pt x="90" y="134"/>
                    </a:lnTo>
                    <a:lnTo>
                      <a:pt x="90" y="132"/>
                    </a:lnTo>
                    <a:lnTo>
                      <a:pt x="90" y="131"/>
                    </a:lnTo>
                    <a:lnTo>
                      <a:pt x="92" y="131"/>
                    </a:lnTo>
                    <a:lnTo>
                      <a:pt x="92" y="129"/>
                    </a:lnTo>
                    <a:lnTo>
                      <a:pt x="94" y="131"/>
                    </a:lnTo>
                    <a:lnTo>
                      <a:pt x="96" y="131"/>
                    </a:lnTo>
                    <a:lnTo>
                      <a:pt x="98" y="131"/>
                    </a:lnTo>
                    <a:lnTo>
                      <a:pt x="96" y="131"/>
                    </a:lnTo>
                    <a:lnTo>
                      <a:pt x="98" y="131"/>
                    </a:lnTo>
                    <a:lnTo>
                      <a:pt x="100" y="131"/>
                    </a:lnTo>
                    <a:lnTo>
                      <a:pt x="100" y="132"/>
                    </a:lnTo>
                    <a:lnTo>
                      <a:pt x="102" y="132"/>
                    </a:lnTo>
                    <a:lnTo>
                      <a:pt x="104" y="132"/>
                    </a:lnTo>
                    <a:lnTo>
                      <a:pt x="104" y="134"/>
                    </a:lnTo>
                    <a:lnTo>
                      <a:pt x="106" y="134"/>
                    </a:lnTo>
                    <a:lnTo>
                      <a:pt x="108" y="134"/>
                    </a:lnTo>
                    <a:lnTo>
                      <a:pt x="108" y="136"/>
                    </a:lnTo>
                    <a:lnTo>
                      <a:pt x="108" y="138"/>
                    </a:lnTo>
                    <a:lnTo>
                      <a:pt x="110" y="140"/>
                    </a:lnTo>
                    <a:lnTo>
                      <a:pt x="108" y="140"/>
                    </a:lnTo>
                    <a:lnTo>
                      <a:pt x="108" y="142"/>
                    </a:lnTo>
                    <a:lnTo>
                      <a:pt x="108" y="144"/>
                    </a:lnTo>
                    <a:lnTo>
                      <a:pt x="110" y="144"/>
                    </a:lnTo>
                    <a:lnTo>
                      <a:pt x="111" y="142"/>
                    </a:lnTo>
                    <a:lnTo>
                      <a:pt x="111" y="140"/>
                    </a:lnTo>
                    <a:lnTo>
                      <a:pt x="113" y="140"/>
                    </a:lnTo>
                    <a:lnTo>
                      <a:pt x="113" y="138"/>
                    </a:lnTo>
                    <a:lnTo>
                      <a:pt x="115" y="138"/>
                    </a:lnTo>
                    <a:lnTo>
                      <a:pt x="115" y="136"/>
                    </a:lnTo>
                    <a:lnTo>
                      <a:pt x="115" y="138"/>
                    </a:lnTo>
                    <a:lnTo>
                      <a:pt x="117" y="138"/>
                    </a:lnTo>
                    <a:lnTo>
                      <a:pt x="119" y="138"/>
                    </a:lnTo>
                    <a:lnTo>
                      <a:pt x="119" y="136"/>
                    </a:lnTo>
                    <a:lnTo>
                      <a:pt x="121" y="136"/>
                    </a:lnTo>
                    <a:lnTo>
                      <a:pt x="123" y="136"/>
                    </a:lnTo>
                    <a:lnTo>
                      <a:pt x="121" y="138"/>
                    </a:lnTo>
                    <a:lnTo>
                      <a:pt x="123" y="138"/>
                    </a:lnTo>
                    <a:lnTo>
                      <a:pt x="125" y="140"/>
                    </a:lnTo>
                    <a:lnTo>
                      <a:pt x="127" y="140"/>
                    </a:lnTo>
                    <a:lnTo>
                      <a:pt x="127" y="142"/>
                    </a:lnTo>
                    <a:lnTo>
                      <a:pt x="129" y="142"/>
                    </a:lnTo>
                    <a:lnTo>
                      <a:pt x="131" y="142"/>
                    </a:lnTo>
                    <a:lnTo>
                      <a:pt x="133" y="142"/>
                    </a:lnTo>
                    <a:lnTo>
                      <a:pt x="134" y="142"/>
                    </a:lnTo>
                    <a:lnTo>
                      <a:pt x="134" y="140"/>
                    </a:lnTo>
                    <a:lnTo>
                      <a:pt x="136" y="138"/>
                    </a:lnTo>
                    <a:lnTo>
                      <a:pt x="136" y="136"/>
                    </a:lnTo>
                    <a:lnTo>
                      <a:pt x="138" y="136"/>
                    </a:lnTo>
                    <a:lnTo>
                      <a:pt x="138" y="138"/>
                    </a:lnTo>
                    <a:lnTo>
                      <a:pt x="140" y="138"/>
                    </a:lnTo>
                    <a:lnTo>
                      <a:pt x="142" y="138"/>
                    </a:lnTo>
                    <a:lnTo>
                      <a:pt x="142" y="140"/>
                    </a:lnTo>
                    <a:lnTo>
                      <a:pt x="144" y="138"/>
                    </a:lnTo>
                    <a:lnTo>
                      <a:pt x="144" y="140"/>
                    </a:lnTo>
                    <a:lnTo>
                      <a:pt x="144" y="138"/>
                    </a:lnTo>
                    <a:lnTo>
                      <a:pt x="146" y="138"/>
                    </a:lnTo>
                    <a:lnTo>
                      <a:pt x="148" y="138"/>
                    </a:lnTo>
                    <a:lnTo>
                      <a:pt x="150" y="138"/>
                    </a:lnTo>
                    <a:lnTo>
                      <a:pt x="150" y="136"/>
                    </a:lnTo>
                    <a:lnTo>
                      <a:pt x="150" y="134"/>
                    </a:lnTo>
                    <a:lnTo>
                      <a:pt x="150" y="132"/>
                    </a:lnTo>
                    <a:lnTo>
                      <a:pt x="152" y="132"/>
                    </a:lnTo>
                    <a:lnTo>
                      <a:pt x="152" y="134"/>
                    </a:lnTo>
                    <a:lnTo>
                      <a:pt x="152" y="132"/>
                    </a:lnTo>
                    <a:lnTo>
                      <a:pt x="154" y="134"/>
                    </a:lnTo>
                    <a:lnTo>
                      <a:pt x="154" y="132"/>
                    </a:lnTo>
                    <a:lnTo>
                      <a:pt x="156" y="132"/>
                    </a:lnTo>
                    <a:lnTo>
                      <a:pt x="158" y="132"/>
                    </a:lnTo>
                    <a:lnTo>
                      <a:pt x="158" y="131"/>
                    </a:lnTo>
                    <a:lnTo>
                      <a:pt x="158" y="129"/>
                    </a:lnTo>
                    <a:lnTo>
                      <a:pt x="159" y="129"/>
                    </a:lnTo>
                    <a:lnTo>
                      <a:pt x="159" y="127"/>
                    </a:lnTo>
                    <a:lnTo>
                      <a:pt x="159" y="125"/>
                    </a:lnTo>
                    <a:lnTo>
                      <a:pt x="159" y="123"/>
                    </a:lnTo>
                    <a:lnTo>
                      <a:pt x="161" y="123"/>
                    </a:lnTo>
                    <a:lnTo>
                      <a:pt x="161" y="121"/>
                    </a:lnTo>
                    <a:lnTo>
                      <a:pt x="161" y="119"/>
                    </a:lnTo>
                    <a:lnTo>
                      <a:pt x="159" y="119"/>
                    </a:lnTo>
                    <a:lnTo>
                      <a:pt x="161" y="119"/>
                    </a:lnTo>
                    <a:lnTo>
                      <a:pt x="163" y="119"/>
                    </a:lnTo>
                    <a:lnTo>
                      <a:pt x="163" y="117"/>
                    </a:lnTo>
                    <a:lnTo>
                      <a:pt x="161" y="115"/>
                    </a:lnTo>
                    <a:lnTo>
                      <a:pt x="163" y="115"/>
                    </a:lnTo>
                    <a:lnTo>
                      <a:pt x="163" y="113"/>
                    </a:lnTo>
                    <a:lnTo>
                      <a:pt x="163" y="111"/>
                    </a:lnTo>
                    <a:lnTo>
                      <a:pt x="161" y="111"/>
                    </a:lnTo>
                    <a:lnTo>
                      <a:pt x="161" y="109"/>
                    </a:lnTo>
                    <a:lnTo>
                      <a:pt x="161" y="107"/>
                    </a:lnTo>
                    <a:lnTo>
                      <a:pt x="161" y="106"/>
                    </a:lnTo>
                    <a:lnTo>
                      <a:pt x="159" y="106"/>
                    </a:lnTo>
                    <a:lnTo>
                      <a:pt x="159" y="104"/>
                    </a:lnTo>
                    <a:lnTo>
                      <a:pt x="159" y="100"/>
                    </a:lnTo>
                    <a:lnTo>
                      <a:pt x="159" y="98"/>
                    </a:lnTo>
                    <a:lnTo>
                      <a:pt x="159" y="94"/>
                    </a:lnTo>
                    <a:lnTo>
                      <a:pt x="159" y="92"/>
                    </a:lnTo>
                    <a:lnTo>
                      <a:pt x="161" y="92"/>
                    </a:lnTo>
                    <a:lnTo>
                      <a:pt x="163" y="92"/>
                    </a:lnTo>
                    <a:lnTo>
                      <a:pt x="163" y="94"/>
                    </a:lnTo>
                    <a:lnTo>
                      <a:pt x="165" y="92"/>
                    </a:lnTo>
                    <a:lnTo>
                      <a:pt x="165" y="90"/>
                    </a:lnTo>
                    <a:lnTo>
                      <a:pt x="167" y="90"/>
                    </a:lnTo>
                    <a:lnTo>
                      <a:pt x="167" y="92"/>
                    </a:lnTo>
                    <a:lnTo>
                      <a:pt x="169" y="92"/>
                    </a:lnTo>
                    <a:lnTo>
                      <a:pt x="171" y="92"/>
                    </a:lnTo>
                    <a:lnTo>
                      <a:pt x="171" y="94"/>
                    </a:lnTo>
                    <a:lnTo>
                      <a:pt x="173" y="94"/>
                    </a:lnTo>
                    <a:lnTo>
                      <a:pt x="173" y="92"/>
                    </a:lnTo>
                    <a:lnTo>
                      <a:pt x="175" y="92"/>
                    </a:lnTo>
                    <a:lnTo>
                      <a:pt x="175" y="90"/>
                    </a:lnTo>
                    <a:lnTo>
                      <a:pt x="177" y="90"/>
                    </a:lnTo>
                    <a:lnTo>
                      <a:pt x="177" y="86"/>
                    </a:lnTo>
                    <a:lnTo>
                      <a:pt x="179" y="86"/>
                    </a:lnTo>
                    <a:lnTo>
                      <a:pt x="179" y="84"/>
                    </a:lnTo>
                    <a:lnTo>
                      <a:pt x="177" y="84"/>
                    </a:lnTo>
                    <a:lnTo>
                      <a:pt x="179" y="82"/>
                    </a:lnTo>
                    <a:lnTo>
                      <a:pt x="179" y="81"/>
                    </a:lnTo>
                    <a:lnTo>
                      <a:pt x="181" y="81"/>
                    </a:lnTo>
                    <a:lnTo>
                      <a:pt x="181" y="79"/>
                    </a:lnTo>
                    <a:lnTo>
                      <a:pt x="183" y="81"/>
                    </a:lnTo>
                    <a:lnTo>
                      <a:pt x="183" y="79"/>
                    </a:lnTo>
                    <a:lnTo>
                      <a:pt x="184" y="77"/>
                    </a:lnTo>
                    <a:lnTo>
                      <a:pt x="184" y="75"/>
                    </a:lnTo>
                    <a:lnTo>
                      <a:pt x="186" y="73"/>
                    </a:lnTo>
                    <a:lnTo>
                      <a:pt x="184" y="73"/>
                    </a:lnTo>
                    <a:lnTo>
                      <a:pt x="184" y="71"/>
                    </a:lnTo>
                    <a:lnTo>
                      <a:pt x="184" y="69"/>
                    </a:lnTo>
                    <a:lnTo>
                      <a:pt x="186" y="69"/>
                    </a:lnTo>
                    <a:lnTo>
                      <a:pt x="186" y="67"/>
                    </a:lnTo>
                    <a:lnTo>
                      <a:pt x="188" y="67"/>
                    </a:lnTo>
                    <a:lnTo>
                      <a:pt x="186" y="63"/>
                    </a:lnTo>
                    <a:lnTo>
                      <a:pt x="188" y="63"/>
                    </a:lnTo>
                    <a:lnTo>
                      <a:pt x="188" y="61"/>
                    </a:lnTo>
                    <a:lnTo>
                      <a:pt x="186" y="61"/>
                    </a:lnTo>
                    <a:lnTo>
                      <a:pt x="186" y="59"/>
                    </a:lnTo>
                    <a:lnTo>
                      <a:pt x="186" y="57"/>
                    </a:lnTo>
                    <a:lnTo>
                      <a:pt x="184" y="57"/>
                    </a:lnTo>
                    <a:lnTo>
                      <a:pt x="184" y="59"/>
                    </a:lnTo>
                    <a:lnTo>
                      <a:pt x="184" y="57"/>
                    </a:lnTo>
                    <a:lnTo>
                      <a:pt x="183" y="59"/>
                    </a:lnTo>
                    <a:lnTo>
                      <a:pt x="183" y="57"/>
                    </a:lnTo>
                    <a:lnTo>
                      <a:pt x="183" y="56"/>
                    </a:lnTo>
                    <a:lnTo>
                      <a:pt x="183" y="54"/>
                    </a:lnTo>
                    <a:lnTo>
                      <a:pt x="183" y="52"/>
                    </a:lnTo>
                    <a:lnTo>
                      <a:pt x="181" y="54"/>
                    </a:lnTo>
                    <a:lnTo>
                      <a:pt x="181" y="52"/>
                    </a:lnTo>
                    <a:lnTo>
                      <a:pt x="179" y="52"/>
                    </a:lnTo>
                    <a:lnTo>
                      <a:pt x="177" y="52"/>
                    </a:lnTo>
                    <a:lnTo>
                      <a:pt x="175" y="50"/>
                    </a:lnTo>
                    <a:lnTo>
                      <a:pt x="175" y="52"/>
                    </a:lnTo>
                    <a:lnTo>
                      <a:pt x="173" y="54"/>
                    </a:lnTo>
                    <a:lnTo>
                      <a:pt x="173" y="56"/>
                    </a:lnTo>
                    <a:lnTo>
                      <a:pt x="171" y="54"/>
                    </a:lnTo>
                    <a:lnTo>
                      <a:pt x="169" y="54"/>
                    </a:lnTo>
                    <a:lnTo>
                      <a:pt x="167" y="54"/>
                    </a:lnTo>
                    <a:lnTo>
                      <a:pt x="165" y="54"/>
                    </a:lnTo>
                    <a:lnTo>
                      <a:pt x="163" y="52"/>
                    </a:lnTo>
                    <a:lnTo>
                      <a:pt x="163" y="54"/>
                    </a:lnTo>
                    <a:lnTo>
                      <a:pt x="161" y="54"/>
                    </a:lnTo>
                    <a:lnTo>
                      <a:pt x="159" y="56"/>
                    </a:lnTo>
                    <a:lnTo>
                      <a:pt x="158" y="56"/>
                    </a:lnTo>
                    <a:lnTo>
                      <a:pt x="156" y="56"/>
                    </a:lnTo>
                    <a:lnTo>
                      <a:pt x="158" y="56"/>
                    </a:lnTo>
                    <a:lnTo>
                      <a:pt x="158" y="54"/>
                    </a:lnTo>
                    <a:lnTo>
                      <a:pt x="159" y="50"/>
                    </a:lnTo>
                    <a:lnTo>
                      <a:pt x="159" y="48"/>
                    </a:lnTo>
                    <a:lnTo>
                      <a:pt x="161" y="48"/>
                    </a:lnTo>
                    <a:lnTo>
                      <a:pt x="161" y="46"/>
                    </a:lnTo>
                    <a:lnTo>
                      <a:pt x="159" y="46"/>
                    </a:lnTo>
                    <a:lnTo>
                      <a:pt x="159" y="44"/>
                    </a:lnTo>
                    <a:lnTo>
                      <a:pt x="158" y="44"/>
                    </a:lnTo>
                    <a:lnTo>
                      <a:pt x="156" y="44"/>
                    </a:lnTo>
                    <a:lnTo>
                      <a:pt x="156" y="42"/>
                    </a:lnTo>
                    <a:lnTo>
                      <a:pt x="154" y="42"/>
                    </a:lnTo>
                    <a:lnTo>
                      <a:pt x="154" y="44"/>
                    </a:lnTo>
                    <a:lnTo>
                      <a:pt x="152" y="44"/>
                    </a:lnTo>
                    <a:lnTo>
                      <a:pt x="152" y="42"/>
                    </a:lnTo>
                    <a:lnTo>
                      <a:pt x="150" y="42"/>
                    </a:lnTo>
                    <a:lnTo>
                      <a:pt x="148" y="40"/>
                    </a:lnTo>
                    <a:lnTo>
                      <a:pt x="146" y="40"/>
                    </a:lnTo>
                    <a:lnTo>
                      <a:pt x="144" y="38"/>
                    </a:lnTo>
                    <a:lnTo>
                      <a:pt x="146" y="36"/>
                    </a:lnTo>
                    <a:lnTo>
                      <a:pt x="144" y="36"/>
                    </a:lnTo>
                    <a:lnTo>
                      <a:pt x="144" y="34"/>
                    </a:lnTo>
                    <a:lnTo>
                      <a:pt x="146" y="34"/>
                    </a:lnTo>
                    <a:lnTo>
                      <a:pt x="146" y="32"/>
                    </a:lnTo>
                    <a:lnTo>
                      <a:pt x="146" y="31"/>
                    </a:lnTo>
                    <a:lnTo>
                      <a:pt x="146" y="29"/>
                    </a:lnTo>
                    <a:lnTo>
                      <a:pt x="148" y="29"/>
                    </a:lnTo>
                    <a:lnTo>
                      <a:pt x="150" y="27"/>
                    </a:lnTo>
                    <a:lnTo>
                      <a:pt x="150" y="25"/>
                    </a:lnTo>
                    <a:lnTo>
                      <a:pt x="152" y="25"/>
                    </a:lnTo>
                    <a:lnTo>
                      <a:pt x="152" y="23"/>
                    </a:lnTo>
                    <a:lnTo>
                      <a:pt x="154" y="23"/>
                    </a:lnTo>
                    <a:lnTo>
                      <a:pt x="154" y="25"/>
                    </a:lnTo>
                    <a:lnTo>
                      <a:pt x="156" y="25"/>
                    </a:lnTo>
                    <a:lnTo>
                      <a:pt x="156" y="23"/>
                    </a:lnTo>
                    <a:lnTo>
                      <a:pt x="158" y="23"/>
                    </a:lnTo>
                    <a:lnTo>
                      <a:pt x="159" y="23"/>
                    </a:lnTo>
                    <a:lnTo>
                      <a:pt x="159" y="21"/>
                    </a:lnTo>
                    <a:lnTo>
                      <a:pt x="161" y="23"/>
                    </a:lnTo>
                    <a:lnTo>
                      <a:pt x="161" y="21"/>
                    </a:lnTo>
                    <a:lnTo>
                      <a:pt x="161" y="19"/>
                    </a:lnTo>
                    <a:lnTo>
                      <a:pt x="161" y="17"/>
                    </a:lnTo>
                    <a:lnTo>
                      <a:pt x="163" y="17"/>
                    </a:lnTo>
                    <a:lnTo>
                      <a:pt x="163" y="15"/>
                    </a:lnTo>
                    <a:lnTo>
                      <a:pt x="163" y="13"/>
                    </a:lnTo>
                    <a:lnTo>
                      <a:pt x="165" y="13"/>
                    </a:lnTo>
                    <a:lnTo>
                      <a:pt x="165" y="11"/>
                    </a:lnTo>
                    <a:lnTo>
                      <a:pt x="167" y="9"/>
                    </a:lnTo>
                    <a:lnTo>
                      <a:pt x="167" y="7"/>
                    </a:lnTo>
                    <a:lnTo>
                      <a:pt x="165" y="6"/>
                    </a:lnTo>
                    <a:lnTo>
                      <a:pt x="165" y="4"/>
                    </a:lnTo>
                    <a:lnTo>
                      <a:pt x="167" y="2"/>
                    </a:lnTo>
                    <a:lnTo>
                      <a:pt x="167" y="0"/>
                    </a:lnTo>
                    <a:lnTo>
                      <a:pt x="169" y="0"/>
                    </a:lnTo>
                    <a:lnTo>
                      <a:pt x="171" y="0"/>
                    </a:lnTo>
                    <a:lnTo>
                      <a:pt x="173" y="0"/>
                    </a:lnTo>
                    <a:lnTo>
                      <a:pt x="175" y="0"/>
                    </a:lnTo>
                    <a:lnTo>
                      <a:pt x="177" y="2"/>
                    </a:lnTo>
                    <a:lnTo>
                      <a:pt x="177" y="4"/>
                    </a:lnTo>
                    <a:lnTo>
                      <a:pt x="179" y="6"/>
                    </a:lnTo>
                    <a:lnTo>
                      <a:pt x="179" y="7"/>
                    </a:lnTo>
                    <a:lnTo>
                      <a:pt x="181" y="7"/>
                    </a:lnTo>
                    <a:lnTo>
                      <a:pt x="183" y="7"/>
                    </a:lnTo>
                    <a:lnTo>
                      <a:pt x="183" y="9"/>
                    </a:lnTo>
                    <a:lnTo>
                      <a:pt x="183" y="11"/>
                    </a:lnTo>
                    <a:lnTo>
                      <a:pt x="184" y="11"/>
                    </a:lnTo>
                    <a:lnTo>
                      <a:pt x="184" y="13"/>
                    </a:lnTo>
                    <a:lnTo>
                      <a:pt x="186" y="11"/>
                    </a:lnTo>
                    <a:lnTo>
                      <a:pt x="188" y="11"/>
                    </a:lnTo>
                    <a:lnTo>
                      <a:pt x="188" y="9"/>
                    </a:lnTo>
                    <a:lnTo>
                      <a:pt x="190" y="9"/>
                    </a:lnTo>
                    <a:lnTo>
                      <a:pt x="190" y="11"/>
                    </a:lnTo>
                    <a:lnTo>
                      <a:pt x="192" y="11"/>
                    </a:lnTo>
                    <a:lnTo>
                      <a:pt x="192" y="13"/>
                    </a:lnTo>
                    <a:lnTo>
                      <a:pt x="192" y="15"/>
                    </a:lnTo>
                    <a:lnTo>
                      <a:pt x="190" y="15"/>
                    </a:lnTo>
                    <a:lnTo>
                      <a:pt x="190" y="17"/>
                    </a:lnTo>
                    <a:lnTo>
                      <a:pt x="190" y="19"/>
                    </a:lnTo>
                    <a:lnTo>
                      <a:pt x="190" y="21"/>
                    </a:lnTo>
                    <a:lnTo>
                      <a:pt x="190" y="23"/>
                    </a:lnTo>
                    <a:lnTo>
                      <a:pt x="192" y="23"/>
                    </a:lnTo>
                    <a:lnTo>
                      <a:pt x="194" y="23"/>
                    </a:lnTo>
                    <a:lnTo>
                      <a:pt x="196" y="25"/>
                    </a:lnTo>
                    <a:lnTo>
                      <a:pt x="198" y="27"/>
                    </a:lnTo>
                    <a:lnTo>
                      <a:pt x="200" y="27"/>
                    </a:lnTo>
                    <a:lnTo>
                      <a:pt x="202" y="29"/>
                    </a:lnTo>
                    <a:lnTo>
                      <a:pt x="204" y="29"/>
                    </a:lnTo>
                    <a:lnTo>
                      <a:pt x="206" y="29"/>
                    </a:lnTo>
                    <a:lnTo>
                      <a:pt x="204" y="29"/>
                    </a:lnTo>
                    <a:lnTo>
                      <a:pt x="204" y="31"/>
                    </a:lnTo>
                    <a:lnTo>
                      <a:pt x="206" y="31"/>
                    </a:lnTo>
                    <a:lnTo>
                      <a:pt x="206" y="32"/>
                    </a:lnTo>
                    <a:lnTo>
                      <a:pt x="204" y="32"/>
                    </a:lnTo>
                    <a:lnTo>
                      <a:pt x="204" y="34"/>
                    </a:lnTo>
                    <a:lnTo>
                      <a:pt x="206" y="34"/>
                    </a:lnTo>
                    <a:lnTo>
                      <a:pt x="206" y="36"/>
                    </a:lnTo>
                    <a:lnTo>
                      <a:pt x="204" y="36"/>
                    </a:lnTo>
                    <a:lnTo>
                      <a:pt x="204" y="38"/>
                    </a:lnTo>
                    <a:lnTo>
                      <a:pt x="202" y="38"/>
                    </a:lnTo>
                    <a:lnTo>
                      <a:pt x="202" y="40"/>
                    </a:lnTo>
                    <a:lnTo>
                      <a:pt x="200" y="42"/>
                    </a:lnTo>
                    <a:lnTo>
                      <a:pt x="200" y="44"/>
                    </a:lnTo>
                    <a:lnTo>
                      <a:pt x="198" y="46"/>
                    </a:lnTo>
                    <a:lnTo>
                      <a:pt x="200" y="46"/>
                    </a:lnTo>
                    <a:lnTo>
                      <a:pt x="202" y="46"/>
                    </a:lnTo>
                    <a:lnTo>
                      <a:pt x="204" y="48"/>
                    </a:lnTo>
                    <a:lnTo>
                      <a:pt x="206" y="48"/>
                    </a:lnTo>
                    <a:lnTo>
                      <a:pt x="206" y="50"/>
                    </a:lnTo>
                    <a:lnTo>
                      <a:pt x="206" y="52"/>
                    </a:lnTo>
                    <a:lnTo>
                      <a:pt x="206" y="54"/>
                    </a:lnTo>
                    <a:lnTo>
                      <a:pt x="206" y="56"/>
                    </a:lnTo>
                    <a:lnTo>
                      <a:pt x="206" y="57"/>
                    </a:lnTo>
                    <a:lnTo>
                      <a:pt x="207" y="56"/>
                    </a:lnTo>
                    <a:lnTo>
                      <a:pt x="207" y="57"/>
                    </a:lnTo>
                    <a:lnTo>
                      <a:pt x="209" y="57"/>
                    </a:lnTo>
                    <a:lnTo>
                      <a:pt x="211" y="57"/>
                    </a:lnTo>
                    <a:lnTo>
                      <a:pt x="213" y="57"/>
                    </a:lnTo>
                    <a:lnTo>
                      <a:pt x="213" y="56"/>
                    </a:lnTo>
                    <a:lnTo>
                      <a:pt x="215" y="54"/>
                    </a:lnTo>
                    <a:lnTo>
                      <a:pt x="217" y="54"/>
                    </a:lnTo>
                    <a:lnTo>
                      <a:pt x="217" y="52"/>
                    </a:lnTo>
                    <a:lnTo>
                      <a:pt x="217" y="54"/>
                    </a:lnTo>
                    <a:lnTo>
                      <a:pt x="219" y="54"/>
                    </a:lnTo>
                    <a:lnTo>
                      <a:pt x="221" y="54"/>
                    </a:lnTo>
                    <a:lnTo>
                      <a:pt x="223" y="54"/>
                    </a:lnTo>
                    <a:lnTo>
                      <a:pt x="223" y="56"/>
                    </a:lnTo>
                    <a:lnTo>
                      <a:pt x="225" y="56"/>
                    </a:lnTo>
                    <a:lnTo>
                      <a:pt x="225" y="5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82">
                <a:extLst>
                  <a:ext uri="{FF2B5EF4-FFF2-40B4-BE49-F238E27FC236}">
                    <a16:creationId xmlns="" xmlns:a16="http://schemas.microsoft.com/office/drawing/2014/main" id="{6275E580-E803-42D7-84D8-8048665DFD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13600" y="4949826"/>
                <a:ext cx="239713" cy="409575"/>
              </a:xfrm>
              <a:custGeom>
                <a:avLst/>
                <a:gdLst>
                  <a:gd name="T0" fmla="*/ 0 w 151"/>
                  <a:gd name="T1" fmla="*/ 258 h 258"/>
                  <a:gd name="T2" fmla="*/ 2 w 151"/>
                  <a:gd name="T3" fmla="*/ 256 h 258"/>
                  <a:gd name="T4" fmla="*/ 17 w 151"/>
                  <a:gd name="T5" fmla="*/ 236 h 258"/>
                  <a:gd name="T6" fmla="*/ 17 w 151"/>
                  <a:gd name="T7" fmla="*/ 236 h 258"/>
                  <a:gd name="T8" fmla="*/ 17 w 151"/>
                  <a:gd name="T9" fmla="*/ 233 h 258"/>
                  <a:gd name="T10" fmla="*/ 17 w 151"/>
                  <a:gd name="T11" fmla="*/ 233 h 258"/>
                  <a:gd name="T12" fmla="*/ 50 w 151"/>
                  <a:gd name="T13" fmla="*/ 215 h 258"/>
                  <a:gd name="T14" fmla="*/ 52 w 151"/>
                  <a:gd name="T15" fmla="*/ 217 h 258"/>
                  <a:gd name="T16" fmla="*/ 50 w 151"/>
                  <a:gd name="T17" fmla="*/ 219 h 258"/>
                  <a:gd name="T18" fmla="*/ 48 w 151"/>
                  <a:gd name="T19" fmla="*/ 217 h 258"/>
                  <a:gd name="T20" fmla="*/ 50 w 151"/>
                  <a:gd name="T21" fmla="*/ 215 h 258"/>
                  <a:gd name="T22" fmla="*/ 13 w 151"/>
                  <a:gd name="T23" fmla="*/ 229 h 258"/>
                  <a:gd name="T24" fmla="*/ 13 w 151"/>
                  <a:gd name="T25" fmla="*/ 225 h 258"/>
                  <a:gd name="T26" fmla="*/ 11 w 151"/>
                  <a:gd name="T27" fmla="*/ 227 h 258"/>
                  <a:gd name="T28" fmla="*/ 13 w 151"/>
                  <a:gd name="T29" fmla="*/ 225 h 258"/>
                  <a:gd name="T30" fmla="*/ 21 w 151"/>
                  <a:gd name="T31" fmla="*/ 221 h 258"/>
                  <a:gd name="T32" fmla="*/ 19 w 151"/>
                  <a:gd name="T33" fmla="*/ 219 h 258"/>
                  <a:gd name="T34" fmla="*/ 21 w 151"/>
                  <a:gd name="T35" fmla="*/ 219 h 258"/>
                  <a:gd name="T36" fmla="*/ 19 w 151"/>
                  <a:gd name="T37" fmla="*/ 217 h 258"/>
                  <a:gd name="T38" fmla="*/ 21 w 151"/>
                  <a:gd name="T39" fmla="*/ 219 h 258"/>
                  <a:gd name="T40" fmla="*/ 52 w 151"/>
                  <a:gd name="T41" fmla="*/ 208 h 258"/>
                  <a:gd name="T42" fmla="*/ 52 w 151"/>
                  <a:gd name="T43" fmla="*/ 211 h 258"/>
                  <a:gd name="T44" fmla="*/ 52 w 151"/>
                  <a:gd name="T45" fmla="*/ 211 h 258"/>
                  <a:gd name="T46" fmla="*/ 50 w 151"/>
                  <a:gd name="T47" fmla="*/ 210 h 258"/>
                  <a:gd name="T48" fmla="*/ 50 w 151"/>
                  <a:gd name="T49" fmla="*/ 210 h 258"/>
                  <a:gd name="T50" fmla="*/ 50 w 151"/>
                  <a:gd name="T51" fmla="*/ 210 h 258"/>
                  <a:gd name="T52" fmla="*/ 48 w 151"/>
                  <a:gd name="T53" fmla="*/ 208 h 258"/>
                  <a:gd name="T54" fmla="*/ 50 w 151"/>
                  <a:gd name="T55" fmla="*/ 206 h 258"/>
                  <a:gd name="T56" fmla="*/ 21 w 151"/>
                  <a:gd name="T57" fmla="*/ 215 h 258"/>
                  <a:gd name="T58" fmla="*/ 23 w 151"/>
                  <a:gd name="T59" fmla="*/ 217 h 258"/>
                  <a:gd name="T60" fmla="*/ 21 w 151"/>
                  <a:gd name="T61" fmla="*/ 215 h 258"/>
                  <a:gd name="T62" fmla="*/ 25 w 151"/>
                  <a:gd name="T63" fmla="*/ 211 h 258"/>
                  <a:gd name="T64" fmla="*/ 21 w 151"/>
                  <a:gd name="T65" fmla="*/ 211 h 258"/>
                  <a:gd name="T66" fmla="*/ 21 w 151"/>
                  <a:gd name="T67" fmla="*/ 215 h 258"/>
                  <a:gd name="T68" fmla="*/ 19 w 151"/>
                  <a:gd name="T69" fmla="*/ 213 h 258"/>
                  <a:gd name="T70" fmla="*/ 21 w 151"/>
                  <a:gd name="T71" fmla="*/ 211 h 258"/>
                  <a:gd name="T72" fmla="*/ 23 w 151"/>
                  <a:gd name="T73" fmla="*/ 204 h 258"/>
                  <a:gd name="T74" fmla="*/ 23 w 151"/>
                  <a:gd name="T75" fmla="*/ 204 h 258"/>
                  <a:gd name="T76" fmla="*/ 25 w 151"/>
                  <a:gd name="T77" fmla="*/ 206 h 258"/>
                  <a:gd name="T78" fmla="*/ 27 w 151"/>
                  <a:gd name="T79" fmla="*/ 208 h 258"/>
                  <a:gd name="T80" fmla="*/ 27 w 151"/>
                  <a:gd name="T81" fmla="*/ 208 h 258"/>
                  <a:gd name="T82" fmla="*/ 27 w 151"/>
                  <a:gd name="T83" fmla="*/ 211 h 258"/>
                  <a:gd name="T84" fmla="*/ 27 w 151"/>
                  <a:gd name="T85" fmla="*/ 211 h 258"/>
                  <a:gd name="T86" fmla="*/ 25 w 151"/>
                  <a:gd name="T87" fmla="*/ 210 h 258"/>
                  <a:gd name="T88" fmla="*/ 23 w 151"/>
                  <a:gd name="T89" fmla="*/ 211 h 258"/>
                  <a:gd name="T90" fmla="*/ 21 w 151"/>
                  <a:gd name="T91" fmla="*/ 210 h 258"/>
                  <a:gd name="T92" fmla="*/ 21 w 151"/>
                  <a:gd name="T93" fmla="*/ 210 h 258"/>
                  <a:gd name="T94" fmla="*/ 21 w 151"/>
                  <a:gd name="T95" fmla="*/ 206 h 258"/>
                  <a:gd name="T96" fmla="*/ 23 w 151"/>
                  <a:gd name="T97" fmla="*/ 208 h 258"/>
                  <a:gd name="T98" fmla="*/ 27 w 151"/>
                  <a:gd name="T99" fmla="*/ 208 h 258"/>
                  <a:gd name="T100" fmla="*/ 27 w 151"/>
                  <a:gd name="T101" fmla="*/ 208 h 258"/>
                  <a:gd name="T102" fmla="*/ 25 w 151"/>
                  <a:gd name="T103" fmla="*/ 206 h 258"/>
                  <a:gd name="T104" fmla="*/ 25 w 151"/>
                  <a:gd name="T105" fmla="*/ 206 h 258"/>
                  <a:gd name="T106" fmla="*/ 21 w 151"/>
                  <a:gd name="T107" fmla="*/ 206 h 258"/>
                  <a:gd name="T108" fmla="*/ 13 w 151"/>
                  <a:gd name="T109" fmla="*/ 186 h 258"/>
                  <a:gd name="T110" fmla="*/ 13 w 151"/>
                  <a:gd name="T111" fmla="*/ 190 h 258"/>
                  <a:gd name="T112" fmla="*/ 11 w 151"/>
                  <a:gd name="T113" fmla="*/ 188 h 258"/>
                  <a:gd name="T114" fmla="*/ 11 w 151"/>
                  <a:gd name="T115" fmla="*/ 188 h 258"/>
                  <a:gd name="T116" fmla="*/ 13 w 151"/>
                  <a:gd name="T117" fmla="*/ 186 h 258"/>
                  <a:gd name="T118" fmla="*/ 151 w 151"/>
                  <a:gd name="T119" fmla="*/ 2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51" h="258">
                    <a:moveTo>
                      <a:pt x="2" y="258"/>
                    </a:moveTo>
                    <a:lnTo>
                      <a:pt x="0" y="258"/>
                    </a:lnTo>
                    <a:lnTo>
                      <a:pt x="2" y="258"/>
                    </a:lnTo>
                    <a:lnTo>
                      <a:pt x="2" y="256"/>
                    </a:lnTo>
                    <a:lnTo>
                      <a:pt x="2" y="258"/>
                    </a:lnTo>
                    <a:close/>
                    <a:moveTo>
                      <a:pt x="17" y="236"/>
                    </a:moveTo>
                    <a:lnTo>
                      <a:pt x="17" y="238"/>
                    </a:lnTo>
                    <a:lnTo>
                      <a:pt x="17" y="236"/>
                    </a:lnTo>
                    <a:close/>
                    <a:moveTo>
                      <a:pt x="19" y="233"/>
                    </a:moveTo>
                    <a:lnTo>
                      <a:pt x="17" y="233"/>
                    </a:lnTo>
                    <a:lnTo>
                      <a:pt x="17" y="231"/>
                    </a:lnTo>
                    <a:lnTo>
                      <a:pt x="17" y="233"/>
                    </a:lnTo>
                    <a:lnTo>
                      <a:pt x="19" y="233"/>
                    </a:lnTo>
                    <a:close/>
                    <a:moveTo>
                      <a:pt x="50" y="215"/>
                    </a:moveTo>
                    <a:lnTo>
                      <a:pt x="50" y="217"/>
                    </a:lnTo>
                    <a:lnTo>
                      <a:pt x="52" y="217"/>
                    </a:lnTo>
                    <a:lnTo>
                      <a:pt x="50" y="217"/>
                    </a:lnTo>
                    <a:lnTo>
                      <a:pt x="50" y="219"/>
                    </a:lnTo>
                    <a:lnTo>
                      <a:pt x="50" y="217"/>
                    </a:lnTo>
                    <a:lnTo>
                      <a:pt x="48" y="217"/>
                    </a:lnTo>
                    <a:lnTo>
                      <a:pt x="48" y="215"/>
                    </a:lnTo>
                    <a:lnTo>
                      <a:pt x="50" y="215"/>
                    </a:lnTo>
                    <a:close/>
                    <a:moveTo>
                      <a:pt x="13" y="227"/>
                    </a:moveTo>
                    <a:lnTo>
                      <a:pt x="13" y="229"/>
                    </a:lnTo>
                    <a:lnTo>
                      <a:pt x="13" y="227"/>
                    </a:lnTo>
                    <a:close/>
                    <a:moveTo>
                      <a:pt x="13" y="225"/>
                    </a:moveTo>
                    <a:lnTo>
                      <a:pt x="13" y="227"/>
                    </a:lnTo>
                    <a:lnTo>
                      <a:pt x="11" y="227"/>
                    </a:lnTo>
                    <a:lnTo>
                      <a:pt x="11" y="225"/>
                    </a:lnTo>
                    <a:lnTo>
                      <a:pt x="13" y="225"/>
                    </a:lnTo>
                    <a:close/>
                    <a:moveTo>
                      <a:pt x="19" y="221"/>
                    </a:moveTo>
                    <a:lnTo>
                      <a:pt x="21" y="221"/>
                    </a:lnTo>
                    <a:lnTo>
                      <a:pt x="19" y="221"/>
                    </a:lnTo>
                    <a:lnTo>
                      <a:pt x="19" y="219"/>
                    </a:lnTo>
                    <a:lnTo>
                      <a:pt x="19" y="221"/>
                    </a:lnTo>
                    <a:close/>
                    <a:moveTo>
                      <a:pt x="21" y="219"/>
                    </a:moveTo>
                    <a:lnTo>
                      <a:pt x="19" y="219"/>
                    </a:lnTo>
                    <a:lnTo>
                      <a:pt x="19" y="217"/>
                    </a:lnTo>
                    <a:lnTo>
                      <a:pt x="19" y="219"/>
                    </a:lnTo>
                    <a:lnTo>
                      <a:pt x="21" y="219"/>
                    </a:lnTo>
                    <a:close/>
                    <a:moveTo>
                      <a:pt x="50" y="208"/>
                    </a:moveTo>
                    <a:lnTo>
                      <a:pt x="52" y="208"/>
                    </a:lnTo>
                    <a:lnTo>
                      <a:pt x="52" y="210"/>
                    </a:lnTo>
                    <a:lnTo>
                      <a:pt x="52" y="211"/>
                    </a:lnTo>
                    <a:lnTo>
                      <a:pt x="53" y="211"/>
                    </a:lnTo>
                    <a:lnTo>
                      <a:pt x="52" y="211"/>
                    </a:lnTo>
                    <a:lnTo>
                      <a:pt x="52" y="210"/>
                    </a:lnTo>
                    <a:lnTo>
                      <a:pt x="50" y="210"/>
                    </a:lnTo>
                    <a:lnTo>
                      <a:pt x="50" y="211"/>
                    </a:lnTo>
                    <a:lnTo>
                      <a:pt x="50" y="210"/>
                    </a:lnTo>
                    <a:lnTo>
                      <a:pt x="48" y="210"/>
                    </a:lnTo>
                    <a:lnTo>
                      <a:pt x="50" y="210"/>
                    </a:lnTo>
                    <a:lnTo>
                      <a:pt x="50" y="208"/>
                    </a:lnTo>
                    <a:lnTo>
                      <a:pt x="48" y="208"/>
                    </a:lnTo>
                    <a:lnTo>
                      <a:pt x="48" y="206"/>
                    </a:lnTo>
                    <a:lnTo>
                      <a:pt x="50" y="206"/>
                    </a:lnTo>
                    <a:lnTo>
                      <a:pt x="50" y="208"/>
                    </a:lnTo>
                    <a:close/>
                    <a:moveTo>
                      <a:pt x="21" y="215"/>
                    </a:moveTo>
                    <a:lnTo>
                      <a:pt x="23" y="215"/>
                    </a:lnTo>
                    <a:lnTo>
                      <a:pt x="23" y="217"/>
                    </a:lnTo>
                    <a:lnTo>
                      <a:pt x="21" y="217"/>
                    </a:lnTo>
                    <a:lnTo>
                      <a:pt x="21" y="215"/>
                    </a:lnTo>
                    <a:close/>
                    <a:moveTo>
                      <a:pt x="25" y="213"/>
                    </a:moveTo>
                    <a:lnTo>
                      <a:pt x="25" y="211"/>
                    </a:lnTo>
                    <a:lnTo>
                      <a:pt x="25" y="213"/>
                    </a:lnTo>
                    <a:close/>
                    <a:moveTo>
                      <a:pt x="21" y="211"/>
                    </a:moveTo>
                    <a:lnTo>
                      <a:pt x="21" y="213"/>
                    </a:lnTo>
                    <a:lnTo>
                      <a:pt x="21" y="215"/>
                    </a:lnTo>
                    <a:lnTo>
                      <a:pt x="21" y="213"/>
                    </a:lnTo>
                    <a:lnTo>
                      <a:pt x="19" y="213"/>
                    </a:lnTo>
                    <a:lnTo>
                      <a:pt x="19" y="211"/>
                    </a:lnTo>
                    <a:lnTo>
                      <a:pt x="21" y="211"/>
                    </a:lnTo>
                    <a:close/>
                    <a:moveTo>
                      <a:pt x="21" y="204"/>
                    </a:moveTo>
                    <a:lnTo>
                      <a:pt x="23" y="204"/>
                    </a:lnTo>
                    <a:lnTo>
                      <a:pt x="23" y="206"/>
                    </a:lnTo>
                    <a:lnTo>
                      <a:pt x="23" y="204"/>
                    </a:lnTo>
                    <a:lnTo>
                      <a:pt x="25" y="204"/>
                    </a:lnTo>
                    <a:lnTo>
                      <a:pt x="25" y="206"/>
                    </a:lnTo>
                    <a:lnTo>
                      <a:pt x="27" y="206"/>
                    </a:lnTo>
                    <a:lnTo>
                      <a:pt x="27" y="208"/>
                    </a:lnTo>
                    <a:lnTo>
                      <a:pt x="27" y="206"/>
                    </a:lnTo>
                    <a:lnTo>
                      <a:pt x="27" y="208"/>
                    </a:lnTo>
                    <a:lnTo>
                      <a:pt x="27" y="210"/>
                    </a:lnTo>
                    <a:lnTo>
                      <a:pt x="27" y="211"/>
                    </a:lnTo>
                    <a:lnTo>
                      <a:pt x="27" y="210"/>
                    </a:lnTo>
                    <a:lnTo>
                      <a:pt x="27" y="211"/>
                    </a:lnTo>
                    <a:lnTo>
                      <a:pt x="27" y="210"/>
                    </a:lnTo>
                    <a:lnTo>
                      <a:pt x="25" y="210"/>
                    </a:lnTo>
                    <a:lnTo>
                      <a:pt x="25" y="211"/>
                    </a:lnTo>
                    <a:lnTo>
                      <a:pt x="23" y="211"/>
                    </a:lnTo>
                    <a:lnTo>
                      <a:pt x="21" y="211"/>
                    </a:lnTo>
                    <a:lnTo>
                      <a:pt x="21" y="210"/>
                    </a:lnTo>
                    <a:lnTo>
                      <a:pt x="23" y="210"/>
                    </a:lnTo>
                    <a:lnTo>
                      <a:pt x="21" y="210"/>
                    </a:lnTo>
                    <a:lnTo>
                      <a:pt x="21" y="208"/>
                    </a:lnTo>
                    <a:lnTo>
                      <a:pt x="21" y="206"/>
                    </a:lnTo>
                    <a:lnTo>
                      <a:pt x="23" y="206"/>
                    </a:lnTo>
                    <a:lnTo>
                      <a:pt x="23" y="208"/>
                    </a:lnTo>
                    <a:lnTo>
                      <a:pt x="25" y="208"/>
                    </a:lnTo>
                    <a:lnTo>
                      <a:pt x="27" y="208"/>
                    </a:lnTo>
                    <a:lnTo>
                      <a:pt x="27" y="210"/>
                    </a:lnTo>
                    <a:lnTo>
                      <a:pt x="27" y="208"/>
                    </a:lnTo>
                    <a:lnTo>
                      <a:pt x="25" y="208"/>
                    </a:lnTo>
                    <a:lnTo>
                      <a:pt x="25" y="206"/>
                    </a:lnTo>
                    <a:lnTo>
                      <a:pt x="23" y="206"/>
                    </a:lnTo>
                    <a:lnTo>
                      <a:pt x="25" y="206"/>
                    </a:lnTo>
                    <a:lnTo>
                      <a:pt x="23" y="206"/>
                    </a:lnTo>
                    <a:lnTo>
                      <a:pt x="21" y="206"/>
                    </a:lnTo>
                    <a:lnTo>
                      <a:pt x="21" y="204"/>
                    </a:lnTo>
                    <a:close/>
                    <a:moveTo>
                      <a:pt x="13" y="186"/>
                    </a:moveTo>
                    <a:lnTo>
                      <a:pt x="13" y="188"/>
                    </a:lnTo>
                    <a:lnTo>
                      <a:pt x="13" y="190"/>
                    </a:lnTo>
                    <a:lnTo>
                      <a:pt x="13" y="188"/>
                    </a:lnTo>
                    <a:lnTo>
                      <a:pt x="11" y="188"/>
                    </a:lnTo>
                    <a:lnTo>
                      <a:pt x="13" y="188"/>
                    </a:lnTo>
                    <a:lnTo>
                      <a:pt x="11" y="188"/>
                    </a:lnTo>
                    <a:lnTo>
                      <a:pt x="11" y="186"/>
                    </a:lnTo>
                    <a:lnTo>
                      <a:pt x="13" y="186"/>
                    </a:lnTo>
                    <a:close/>
                    <a:moveTo>
                      <a:pt x="151" y="0"/>
                    </a:moveTo>
                    <a:lnTo>
                      <a:pt x="151" y="2"/>
                    </a:lnTo>
                    <a:lnTo>
                      <a:pt x="151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83">
                <a:extLst>
                  <a:ext uri="{FF2B5EF4-FFF2-40B4-BE49-F238E27FC236}">
                    <a16:creationId xmlns="" xmlns:a16="http://schemas.microsoft.com/office/drawing/2014/main" id="{C891077A-91F1-484B-A7C8-4DA6B4F659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07250" y="5124451"/>
                <a:ext cx="225425" cy="238125"/>
              </a:xfrm>
              <a:custGeom>
                <a:avLst/>
                <a:gdLst>
                  <a:gd name="T0" fmla="*/ 2 w 142"/>
                  <a:gd name="T1" fmla="*/ 150 h 150"/>
                  <a:gd name="T2" fmla="*/ 13 w 142"/>
                  <a:gd name="T3" fmla="*/ 138 h 150"/>
                  <a:gd name="T4" fmla="*/ 13 w 142"/>
                  <a:gd name="T5" fmla="*/ 134 h 150"/>
                  <a:gd name="T6" fmla="*/ 4 w 142"/>
                  <a:gd name="T7" fmla="*/ 138 h 150"/>
                  <a:gd name="T8" fmla="*/ 2 w 142"/>
                  <a:gd name="T9" fmla="*/ 136 h 150"/>
                  <a:gd name="T10" fmla="*/ 19 w 142"/>
                  <a:gd name="T11" fmla="*/ 126 h 150"/>
                  <a:gd name="T12" fmla="*/ 19 w 142"/>
                  <a:gd name="T13" fmla="*/ 126 h 150"/>
                  <a:gd name="T14" fmla="*/ 17 w 142"/>
                  <a:gd name="T15" fmla="*/ 126 h 150"/>
                  <a:gd name="T16" fmla="*/ 19 w 142"/>
                  <a:gd name="T17" fmla="*/ 126 h 150"/>
                  <a:gd name="T18" fmla="*/ 19 w 142"/>
                  <a:gd name="T19" fmla="*/ 126 h 150"/>
                  <a:gd name="T20" fmla="*/ 17 w 142"/>
                  <a:gd name="T21" fmla="*/ 126 h 150"/>
                  <a:gd name="T22" fmla="*/ 88 w 142"/>
                  <a:gd name="T23" fmla="*/ 94 h 150"/>
                  <a:gd name="T24" fmla="*/ 88 w 142"/>
                  <a:gd name="T25" fmla="*/ 94 h 150"/>
                  <a:gd name="T26" fmla="*/ 13 w 142"/>
                  <a:gd name="T27" fmla="*/ 123 h 150"/>
                  <a:gd name="T28" fmla="*/ 13 w 142"/>
                  <a:gd name="T29" fmla="*/ 121 h 150"/>
                  <a:gd name="T30" fmla="*/ 57 w 142"/>
                  <a:gd name="T31" fmla="*/ 103 h 150"/>
                  <a:gd name="T32" fmla="*/ 52 w 142"/>
                  <a:gd name="T33" fmla="*/ 103 h 150"/>
                  <a:gd name="T34" fmla="*/ 77 w 142"/>
                  <a:gd name="T35" fmla="*/ 92 h 150"/>
                  <a:gd name="T36" fmla="*/ 23 w 142"/>
                  <a:gd name="T37" fmla="*/ 113 h 150"/>
                  <a:gd name="T38" fmla="*/ 23 w 142"/>
                  <a:gd name="T39" fmla="*/ 113 h 150"/>
                  <a:gd name="T40" fmla="*/ 25 w 142"/>
                  <a:gd name="T41" fmla="*/ 111 h 150"/>
                  <a:gd name="T42" fmla="*/ 25 w 142"/>
                  <a:gd name="T43" fmla="*/ 111 h 150"/>
                  <a:gd name="T44" fmla="*/ 23 w 142"/>
                  <a:gd name="T45" fmla="*/ 113 h 150"/>
                  <a:gd name="T46" fmla="*/ 100 w 142"/>
                  <a:gd name="T47" fmla="*/ 80 h 150"/>
                  <a:gd name="T48" fmla="*/ 23 w 142"/>
                  <a:gd name="T49" fmla="*/ 111 h 150"/>
                  <a:gd name="T50" fmla="*/ 107 w 142"/>
                  <a:gd name="T51" fmla="*/ 76 h 150"/>
                  <a:gd name="T52" fmla="*/ 107 w 142"/>
                  <a:gd name="T53" fmla="*/ 76 h 150"/>
                  <a:gd name="T54" fmla="*/ 107 w 142"/>
                  <a:gd name="T55" fmla="*/ 76 h 150"/>
                  <a:gd name="T56" fmla="*/ 109 w 142"/>
                  <a:gd name="T57" fmla="*/ 73 h 150"/>
                  <a:gd name="T58" fmla="*/ 23 w 142"/>
                  <a:gd name="T59" fmla="*/ 109 h 150"/>
                  <a:gd name="T60" fmla="*/ 15 w 142"/>
                  <a:gd name="T61" fmla="*/ 111 h 150"/>
                  <a:gd name="T62" fmla="*/ 15 w 142"/>
                  <a:gd name="T63" fmla="*/ 109 h 150"/>
                  <a:gd name="T64" fmla="*/ 25 w 142"/>
                  <a:gd name="T65" fmla="*/ 105 h 150"/>
                  <a:gd name="T66" fmla="*/ 15 w 142"/>
                  <a:gd name="T67" fmla="*/ 109 h 150"/>
                  <a:gd name="T68" fmla="*/ 15 w 142"/>
                  <a:gd name="T69" fmla="*/ 109 h 150"/>
                  <a:gd name="T70" fmla="*/ 13 w 142"/>
                  <a:gd name="T71" fmla="*/ 109 h 150"/>
                  <a:gd name="T72" fmla="*/ 23 w 142"/>
                  <a:gd name="T73" fmla="*/ 105 h 150"/>
                  <a:gd name="T74" fmla="*/ 27 w 142"/>
                  <a:gd name="T75" fmla="*/ 103 h 150"/>
                  <a:gd name="T76" fmla="*/ 27 w 142"/>
                  <a:gd name="T77" fmla="*/ 103 h 150"/>
                  <a:gd name="T78" fmla="*/ 27 w 142"/>
                  <a:gd name="T79" fmla="*/ 103 h 150"/>
                  <a:gd name="T80" fmla="*/ 27 w 142"/>
                  <a:gd name="T81" fmla="*/ 103 h 150"/>
                  <a:gd name="T82" fmla="*/ 27 w 142"/>
                  <a:gd name="T83" fmla="*/ 101 h 150"/>
                  <a:gd name="T84" fmla="*/ 27 w 142"/>
                  <a:gd name="T85" fmla="*/ 101 h 150"/>
                  <a:gd name="T86" fmla="*/ 27 w 142"/>
                  <a:gd name="T87" fmla="*/ 101 h 150"/>
                  <a:gd name="T88" fmla="*/ 25 w 142"/>
                  <a:gd name="T89" fmla="*/ 101 h 150"/>
                  <a:gd name="T90" fmla="*/ 46 w 142"/>
                  <a:gd name="T91" fmla="*/ 90 h 150"/>
                  <a:gd name="T92" fmla="*/ 117 w 142"/>
                  <a:gd name="T93" fmla="*/ 59 h 150"/>
                  <a:gd name="T94" fmla="*/ 117 w 142"/>
                  <a:gd name="T95" fmla="*/ 59 h 150"/>
                  <a:gd name="T96" fmla="*/ 31 w 142"/>
                  <a:gd name="T97" fmla="*/ 96 h 150"/>
                  <a:gd name="T98" fmla="*/ 142 w 142"/>
                  <a:gd name="T99" fmla="*/ 0 h 150"/>
                  <a:gd name="T100" fmla="*/ 142 w 142"/>
                  <a:gd name="T101" fmla="*/ 0 h 150"/>
                  <a:gd name="T102" fmla="*/ 138 w 142"/>
                  <a:gd name="T103" fmla="*/ 0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42" h="150">
                    <a:moveTo>
                      <a:pt x="2" y="150"/>
                    </a:moveTo>
                    <a:lnTo>
                      <a:pt x="2" y="150"/>
                    </a:lnTo>
                    <a:lnTo>
                      <a:pt x="0" y="150"/>
                    </a:lnTo>
                    <a:lnTo>
                      <a:pt x="2" y="150"/>
                    </a:lnTo>
                    <a:lnTo>
                      <a:pt x="2" y="150"/>
                    </a:lnTo>
                    <a:close/>
                    <a:moveTo>
                      <a:pt x="13" y="138"/>
                    </a:moveTo>
                    <a:lnTo>
                      <a:pt x="13" y="138"/>
                    </a:lnTo>
                    <a:lnTo>
                      <a:pt x="13" y="138"/>
                    </a:lnTo>
                    <a:lnTo>
                      <a:pt x="13" y="138"/>
                    </a:lnTo>
                    <a:lnTo>
                      <a:pt x="13" y="138"/>
                    </a:lnTo>
                    <a:lnTo>
                      <a:pt x="13" y="138"/>
                    </a:lnTo>
                    <a:lnTo>
                      <a:pt x="13" y="138"/>
                    </a:lnTo>
                    <a:close/>
                    <a:moveTo>
                      <a:pt x="13" y="134"/>
                    </a:moveTo>
                    <a:lnTo>
                      <a:pt x="13" y="134"/>
                    </a:lnTo>
                    <a:lnTo>
                      <a:pt x="13" y="134"/>
                    </a:lnTo>
                    <a:lnTo>
                      <a:pt x="13" y="134"/>
                    </a:lnTo>
                    <a:lnTo>
                      <a:pt x="13" y="134"/>
                    </a:lnTo>
                    <a:lnTo>
                      <a:pt x="13" y="134"/>
                    </a:lnTo>
                    <a:close/>
                    <a:moveTo>
                      <a:pt x="4" y="136"/>
                    </a:moveTo>
                    <a:lnTo>
                      <a:pt x="4" y="138"/>
                    </a:lnTo>
                    <a:lnTo>
                      <a:pt x="4" y="138"/>
                    </a:lnTo>
                    <a:lnTo>
                      <a:pt x="4" y="136"/>
                    </a:lnTo>
                    <a:lnTo>
                      <a:pt x="4" y="136"/>
                    </a:lnTo>
                    <a:lnTo>
                      <a:pt x="4" y="136"/>
                    </a:lnTo>
                    <a:close/>
                    <a:moveTo>
                      <a:pt x="2" y="136"/>
                    </a:moveTo>
                    <a:lnTo>
                      <a:pt x="2" y="136"/>
                    </a:lnTo>
                    <a:lnTo>
                      <a:pt x="2" y="136"/>
                    </a:lnTo>
                    <a:lnTo>
                      <a:pt x="2" y="136"/>
                    </a:lnTo>
                    <a:lnTo>
                      <a:pt x="2" y="136"/>
                    </a:lnTo>
                    <a:close/>
                    <a:moveTo>
                      <a:pt x="19" y="126"/>
                    </a:moveTo>
                    <a:lnTo>
                      <a:pt x="21" y="126"/>
                    </a:lnTo>
                    <a:lnTo>
                      <a:pt x="19" y="126"/>
                    </a:lnTo>
                    <a:lnTo>
                      <a:pt x="19" y="126"/>
                    </a:lnTo>
                    <a:lnTo>
                      <a:pt x="19" y="126"/>
                    </a:lnTo>
                    <a:lnTo>
                      <a:pt x="19" y="126"/>
                    </a:lnTo>
                    <a:lnTo>
                      <a:pt x="19" y="126"/>
                    </a:lnTo>
                    <a:close/>
                    <a:moveTo>
                      <a:pt x="17" y="128"/>
                    </a:moveTo>
                    <a:lnTo>
                      <a:pt x="17" y="128"/>
                    </a:lnTo>
                    <a:lnTo>
                      <a:pt x="17" y="126"/>
                    </a:lnTo>
                    <a:lnTo>
                      <a:pt x="17" y="126"/>
                    </a:lnTo>
                    <a:lnTo>
                      <a:pt x="17" y="126"/>
                    </a:lnTo>
                    <a:lnTo>
                      <a:pt x="17" y="126"/>
                    </a:lnTo>
                    <a:lnTo>
                      <a:pt x="17" y="128"/>
                    </a:lnTo>
                    <a:close/>
                    <a:moveTo>
                      <a:pt x="19" y="126"/>
                    </a:moveTo>
                    <a:lnTo>
                      <a:pt x="19" y="126"/>
                    </a:lnTo>
                    <a:lnTo>
                      <a:pt x="19" y="126"/>
                    </a:lnTo>
                    <a:lnTo>
                      <a:pt x="19" y="126"/>
                    </a:lnTo>
                    <a:lnTo>
                      <a:pt x="19" y="126"/>
                    </a:lnTo>
                    <a:lnTo>
                      <a:pt x="19" y="126"/>
                    </a:lnTo>
                    <a:lnTo>
                      <a:pt x="19" y="126"/>
                    </a:lnTo>
                    <a:close/>
                    <a:moveTo>
                      <a:pt x="17" y="126"/>
                    </a:moveTo>
                    <a:lnTo>
                      <a:pt x="17" y="126"/>
                    </a:lnTo>
                    <a:lnTo>
                      <a:pt x="17" y="126"/>
                    </a:lnTo>
                    <a:lnTo>
                      <a:pt x="17" y="126"/>
                    </a:lnTo>
                    <a:lnTo>
                      <a:pt x="17" y="126"/>
                    </a:lnTo>
                    <a:close/>
                    <a:moveTo>
                      <a:pt x="88" y="94"/>
                    </a:moveTo>
                    <a:lnTo>
                      <a:pt x="88" y="94"/>
                    </a:lnTo>
                    <a:lnTo>
                      <a:pt x="88" y="94"/>
                    </a:lnTo>
                    <a:lnTo>
                      <a:pt x="88" y="94"/>
                    </a:lnTo>
                    <a:lnTo>
                      <a:pt x="88" y="94"/>
                    </a:lnTo>
                    <a:lnTo>
                      <a:pt x="88" y="94"/>
                    </a:lnTo>
                    <a:lnTo>
                      <a:pt x="88" y="94"/>
                    </a:lnTo>
                    <a:close/>
                    <a:moveTo>
                      <a:pt x="88" y="94"/>
                    </a:moveTo>
                    <a:lnTo>
                      <a:pt x="88" y="94"/>
                    </a:lnTo>
                    <a:lnTo>
                      <a:pt x="88" y="94"/>
                    </a:lnTo>
                    <a:lnTo>
                      <a:pt x="88" y="94"/>
                    </a:lnTo>
                    <a:lnTo>
                      <a:pt x="88" y="94"/>
                    </a:lnTo>
                    <a:lnTo>
                      <a:pt x="88" y="94"/>
                    </a:lnTo>
                    <a:close/>
                    <a:moveTo>
                      <a:pt x="13" y="121"/>
                    </a:moveTo>
                    <a:lnTo>
                      <a:pt x="13" y="123"/>
                    </a:lnTo>
                    <a:lnTo>
                      <a:pt x="13" y="123"/>
                    </a:lnTo>
                    <a:lnTo>
                      <a:pt x="13" y="121"/>
                    </a:lnTo>
                    <a:lnTo>
                      <a:pt x="13" y="121"/>
                    </a:lnTo>
                    <a:lnTo>
                      <a:pt x="13" y="121"/>
                    </a:lnTo>
                    <a:lnTo>
                      <a:pt x="13" y="121"/>
                    </a:lnTo>
                    <a:close/>
                    <a:moveTo>
                      <a:pt x="57" y="103"/>
                    </a:moveTo>
                    <a:lnTo>
                      <a:pt x="57" y="103"/>
                    </a:lnTo>
                    <a:lnTo>
                      <a:pt x="57" y="103"/>
                    </a:lnTo>
                    <a:lnTo>
                      <a:pt x="57" y="103"/>
                    </a:lnTo>
                    <a:lnTo>
                      <a:pt x="57" y="103"/>
                    </a:lnTo>
                    <a:close/>
                    <a:moveTo>
                      <a:pt x="54" y="103"/>
                    </a:moveTo>
                    <a:lnTo>
                      <a:pt x="52" y="103"/>
                    </a:lnTo>
                    <a:lnTo>
                      <a:pt x="52" y="103"/>
                    </a:lnTo>
                    <a:lnTo>
                      <a:pt x="52" y="103"/>
                    </a:lnTo>
                    <a:lnTo>
                      <a:pt x="52" y="103"/>
                    </a:lnTo>
                    <a:lnTo>
                      <a:pt x="52" y="103"/>
                    </a:lnTo>
                    <a:lnTo>
                      <a:pt x="54" y="103"/>
                    </a:lnTo>
                    <a:close/>
                    <a:moveTo>
                      <a:pt x="77" y="92"/>
                    </a:moveTo>
                    <a:lnTo>
                      <a:pt x="77" y="92"/>
                    </a:lnTo>
                    <a:lnTo>
                      <a:pt x="77" y="92"/>
                    </a:lnTo>
                    <a:lnTo>
                      <a:pt x="77" y="92"/>
                    </a:lnTo>
                    <a:lnTo>
                      <a:pt x="77" y="92"/>
                    </a:lnTo>
                    <a:lnTo>
                      <a:pt x="77" y="92"/>
                    </a:lnTo>
                    <a:lnTo>
                      <a:pt x="77" y="92"/>
                    </a:lnTo>
                    <a:close/>
                    <a:moveTo>
                      <a:pt x="23" y="113"/>
                    </a:moveTo>
                    <a:lnTo>
                      <a:pt x="23" y="113"/>
                    </a:lnTo>
                    <a:lnTo>
                      <a:pt x="23" y="113"/>
                    </a:lnTo>
                    <a:lnTo>
                      <a:pt x="23" y="113"/>
                    </a:lnTo>
                    <a:lnTo>
                      <a:pt x="23" y="113"/>
                    </a:lnTo>
                    <a:lnTo>
                      <a:pt x="23" y="113"/>
                    </a:lnTo>
                    <a:lnTo>
                      <a:pt x="23" y="113"/>
                    </a:lnTo>
                    <a:lnTo>
                      <a:pt x="23" y="113"/>
                    </a:lnTo>
                    <a:lnTo>
                      <a:pt x="23" y="113"/>
                    </a:lnTo>
                    <a:close/>
                    <a:moveTo>
                      <a:pt x="25" y="111"/>
                    </a:moveTo>
                    <a:lnTo>
                      <a:pt x="25" y="111"/>
                    </a:lnTo>
                    <a:lnTo>
                      <a:pt x="25" y="111"/>
                    </a:lnTo>
                    <a:lnTo>
                      <a:pt x="25" y="111"/>
                    </a:lnTo>
                    <a:lnTo>
                      <a:pt x="25" y="111"/>
                    </a:lnTo>
                    <a:lnTo>
                      <a:pt x="25" y="111"/>
                    </a:lnTo>
                    <a:lnTo>
                      <a:pt x="25" y="111"/>
                    </a:lnTo>
                    <a:close/>
                    <a:moveTo>
                      <a:pt x="23" y="113"/>
                    </a:moveTo>
                    <a:lnTo>
                      <a:pt x="23" y="113"/>
                    </a:lnTo>
                    <a:lnTo>
                      <a:pt x="23" y="113"/>
                    </a:lnTo>
                    <a:lnTo>
                      <a:pt x="23" y="113"/>
                    </a:lnTo>
                    <a:lnTo>
                      <a:pt x="23" y="113"/>
                    </a:lnTo>
                    <a:close/>
                    <a:moveTo>
                      <a:pt x="100" y="80"/>
                    </a:moveTo>
                    <a:lnTo>
                      <a:pt x="100" y="80"/>
                    </a:lnTo>
                    <a:lnTo>
                      <a:pt x="100" y="80"/>
                    </a:lnTo>
                    <a:lnTo>
                      <a:pt x="100" y="80"/>
                    </a:lnTo>
                    <a:lnTo>
                      <a:pt x="100" y="80"/>
                    </a:lnTo>
                    <a:close/>
                    <a:moveTo>
                      <a:pt x="23" y="111"/>
                    </a:moveTo>
                    <a:lnTo>
                      <a:pt x="23" y="111"/>
                    </a:lnTo>
                    <a:lnTo>
                      <a:pt x="23" y="111"/>
                    </a:lnTo>
                    <a:lnTo>
                      <a:pt x="23" y="111"/>
                    </a:lnTo>
                    <a:lnTo>
                      <a:pt x="23" y="111"/>
                    </a:lnTo>
                    <a:lnTo>
                      <a:pt x="23" y="111"/>
                    </a:lnTo>
                    <a:close/>
                    <a:moveTo>
                      <a:pt x="107" y="76"/>
                    </a:moveTo>
                    <a:lnTo>
                      <a:pt x="107" y="76"/>
                    </a:lnTo>
                    <a:lnTo>
                      <a:pt x="107" y="76"/>
                    </a:lnTo>
                    <a:lnTo>
                      <a:pt x="107" y="76"/>
                    </a:lnTo>
                    <a:lnTo>
                      <a:pt x="107" y="76"/>
                    </a:lnTo>
                    <a:lnTo>
                      <a:pt x="107" y="76"/>
                    </a:lnTo>
                    <a:lnTo>
                      <a:pt x="107" y="76"/>
                    </a:lnTo>
                    <a:lnTo>
                      <a:pt x="107" y="76"/>
                    </a:lnTo>
                    <a:lnTo>
                      <a:pt x="107" y="76"/>
                    </a:lnTo>
                    <a:close/>
                    <a:moveTo>
                      <a:pt x="107" y="76"/>
                    </a:moveTo>
                    <a:lnTo>
                      <a:pt x="107" y="76"/>
                    </a:lnTo>
                    <a:lnTo>
                      <a:pt x="107" y="76"/>
                    </a:lnTo>
                    <a:lnTo>
                      <a:pt x="107" y="76"/>
                    </a:lnTo>
                    <a:lnTo>
                      <a:pt x="107" y="76"/>
                    </a:lnTo>
                    <a:close/>
                    <a:moveTo>
                      <a:pt x="109" y="73"/>
                    </a:moveTo>
                    <a:lnTo>
                      <a:pt x="109" y="73"/>
                    </a:lnTo>
                    <a:lnTo>
                      <a:pt x="109" y="73"/>
                    </a:lnTo>
                    <a:lnTo>
                      <a:pt x="109" y="73"/>
                    </a:lnTo>
                    <a:lnTo>
                      <a:pt x="109" y="73"/>
                    </a:lnTo>
                    <a:lnTo>
                      <a:pt x="109" y="73"/>
                    </a:lnTo>
                    <a:close/>
                    <a:moveTo>
                      <a:pt x="23" y="109"/>
                    </a:moveTo>
                    <a:lnTo>
                      <a:pt x="23" y="109"/>
                    </a:lnTo>
                    <a:lnTo>
                      <a:pt x="23" y="109"/>
                    </a:lnTo>
                    <a:lnTo>
                      <a:pt x="23" y="109"/>
                    </a:lnTo>
                    <a:lnTo>
                      <a:pt x="23" y="109"/>
                    </a:lnTo>
                    <a:lnTo>
                      <a:pt x="23" y="109"/>
                    </a:lnTo>
                    <a:lnTo>
                      <a:pt x="23" y="109"/>
                    </a:lnTo>
                    <a:lnTo>
                      <a:pt x="23" y="109"/>
                    </a:lnTo>
                    <a:close/>
                    <a:moveTo>
                      <a:pt x="15" y="111"/>
                    </a:moveTo>
                    <a:lnTo>
                      <a:pt x="15" y="111"/>
                    </a:lnTo>
                    <a:lnTo>
                      <a:pt x="15" y="111"/>
                    </a:lnTo>
                    <a:lnTo>
                      <a:pt x="15" y="111"/>
                    </a:lnTo>
                    <a:lnTo>
                      <a:pt x="15" y="109"/>
                    </a:lnTo>
                    <a:lnTo>
                      <a:pt x="15" y="109"/>
                    </a:lnTo>
                    <a:lnTo>
                      <a:pt x="15" y="109"/>
                    </a:lnTo>
                    <a:lnTo>
                      <a:pt x="15" y="111"/>
                    </a:lnTo>
                    <a:lnTo>
                      <a:pt x="15" y="111"/>
                    </a:lnTo>
                    <a:close/>
                    <a:moveTo>
                      <a:pt x="27" y="105"/>
                    </a:moveTo>
                    <a:lnTo>
                      <a:pt x="25" y="105"/>
                    </a:lnTo>
                    <a:lnTo>
                      <a:pt x="25" y="105"/>
                    </a:lnTo>
                    <a:lnTo>
                      <a:pt x="25" y="105"/>
                    </a:lnTo>
                    <a:lnTo>
                      <a:pt x="27" y="105"/>
                    </a:lnTo>
                    <a:close/>
                    <a:moveTo>
                      <a:pt x="15" y="109"/>
                    </a:moveTo>
                    <a:lnTo>
                      <a:pt x="15" y="109"/>
                    </a:lnTo>
                    <a:lnTo>
                      <a:pt x="15" y="109"/>
                    </a:lnTo>
                    <a:lnTo>
                      <a:pt x="15" y="109"/>
                    </a:lnTo>
                    <a:lnTo>
                      <a:pt x="15" y="109"/>
                    </a:lnTo>
                    <a:lnTo>
                      <a:pt x="15" y="109"/>
                    </a:lnTo>
                    <a:lnTo>
                      <a:pt x="15" y="109"/>
                    </a:lnTo>
                    <a:close/>
                    <a:moveTo>
                      <a:pt x="13" y="109"/>
                    </a:moveTo>
                    <a:lnTo>
                      <a:pt x="13" y="109"/>
                    </a:lnTo>
                    <a:lnTo>
                      <a:pt x="13" y="109"/>
                    </a:lnTo>
                    <a:lnTo>
                      <a:pt x="13" y="109"/>
                    </a:lnTo>
                    <a:lnTo>
                      <a:pt x="13" y="109"/>
                    </a:lnTo>
                    <a:lnTo>
                      <a:pt x="13" y="109"/>
                    </a:lnTo>
                    <a:lnTo>
                      <a:pt x="13" y="109"/>
                    </a:lnTo>
                    <a:close/>
                    <a:moveTo>
                      <a:pt x="23" y="105"/>
                    </a:moveTo>
                    <a:lnTo>
                      <a:pt x="23" y="105"/>
                    </a:lnTo>
                    <a:lnTo>
                      <a:pt x="23" y="105"/>
                    </a:lnTo>
                    <a:lnTo>
                      <a:pt x="23" y="105"/>
                    </a:lnTo>
                    <a:lnTo>
                      <a:pt x="23" y="105"/>
                    </a:lnTo>
                    <a:lnTo>
                      <a:pt x="23" y="105"/>
                    </a:lnTo>
                    <a:close/>
                    <a:moveTo>
                      <a:pt x="27" y="103"/>
                    </a:moveTo>
                    <a:lnTo>
                      <a:pt x="27" y="103"/>
                    </a:lnTo>
                    <a:lnTo>
                      <a:pt x="27" y="103"/>
                    </a:lnTo>
                    <a:lnTo>
                      <a:pt x="27" y="103"/>
                    </a:lnTo>
                    <a:lnTo>
                      <a:pt x="27" y="103"/>
                    </a:lnTo>
                    <a:lnTo>
                      <a:pt x="27" y="103"/>
                    </a:lnTo>
                    <a:lnTo>
                      <a:pt x="27" y="103"/>
                    </a:lnTo>
                    <a:close/>
                    <a:moveTo>
                      <a:pt x="27" y="103"/>
                    </a:moveTo>
                    <a:lnTo>
                      <a:pt x="27" y="103"/>
                    </a:lnTo>
                    <a:lnTo>
                      <a:pt x="27" y="103"/>
                    </a:lnTo>
                    <a:lnTo>
                      <a:pt x="27" y="103"/>
                    </a:lnTo>
                    <a:lnTo>
                      <a:pt x="27" y="103"/>
                    </a:lnTo>
                    <a:close/>
                    <a:moveTo>
                      <a:pt x="27" y="103"/>
                    </a:moveTo>
                    <a:lnTo>
                      <a:pt x="27" y="103"/>
                    </a:lnTo>
                    <a:lnTo>
                      <a:pt x="27" y="103"/>
                    </a:lnTo>
                    <a:lnTo>
                      <a:pt x="27" y="103"/>
                    </a:lnTo>
                    <a:lnTo>
                      <a:pt x="27" y="103"/>
                    </a:lnTo>
                    <a:lnTo>
                      <a:pt x="27" y="103"/>
                    </a:lnTo>
                    <a:close/>
                    <a:moveTo>
                      <a:pt x="27" y="101"/>
                    </a:moveTo>
                    <a:lnTo>
                      <a:pt x="27" y="101"/>
                    </a:lnTo>
                    <a:lnTo>
                      <a:pt x="27" y="101"/>
                    </a:lnTo>
                    <a:lnTo>
                      <a:pt x="27" y="101"/>
                    </a:lnTo>
                    <a:lnTo>
                      <a:pt x="27" y="101"/>
                    </a:lnTo>
                    <a:lnTo>
                      <a:pt x="27" y="101"/>
                    </a:lnTo>
                    <a:lnTo>
                      <a:pt x="27" y="101"/>
                    </a:lnTo>
                    <a:lnTo>
                      <a:pt x="27" y="101"/>
                    </a:lnTo>
                    <a:lnTo>
                      <a:pt x="27" y="101"/>
                    </a:lnTo>
                    <a:lnTo>
                      <a:pt x="27" y="101"/>
                    </a:lnTo>
                    <a:lnTo>
                      <a:pt x="27" y="101"/>
                    </a:lnTo>
                    <a:lnTo>
                      <a:pt x="27" y="101"/>
                    </a:lnTo>
                    <a:lnTo>
                      <a:pt x="27" y="101"/>
                    </a:lnTo>
                    <a:lnTo>
                      <a:pt x="27" y="101"/>
                    </a:lnTo>
                    <a:lnTo>
                      <a:pt x="27" y="101"/>
                    </a:lnTo>
                    <a:lnTo>
                      <a:pt x="27" y="101"/>
                    </a:lnTo>
                    <a:close/>
                    <a:moveTo>
                      <a:pt x="25" y="101"/>
                    </a:moveTo>
                    <a:lnTo>
                      <a:pt x="25" y="101"/>
                    </a:lnTo>
                    <a:lnTo>
                      <a:pt x="25" y="101"/>
                    </a:lnTo>
                    <a:lnTo>
                      <a:pt x="25" y="101"/>
                    </a:lnTo>
                    <a:lnTo>
                      <a:pt x="25" y="101"/>
                    </a:lnTo>
                    <a:lnTo>
                      <a:pt x="25" y="101"/>
                    </a:lnTo>
                    <a:close/>
                    <a:moveTo>
                      <a:pt x="46" y="90"/>
                    </a:move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close/>
                    <a:moveTo>
                      <a:pt x="117" y="59"/>
                    </a:moveTo>
                    <a:lnTo>
                      <a:pt x="117" y="59"/>
                    </a:lnTo>
                    <a:lnTo>
                      <a:pt x="117" y="59"/>
                    </a:lnTo>
                    <a:lnTo>
                      <a:pt x="117" y="59"/>
                    </a:lnTo>
                    <a:lnTo>
                      <a:pt x="117" y="59"/>
                    </a:lnTo>
                    <a:lnTo>
                      <a:pt x="117" y="59"/>
                    </a:lnTo>
                    <a:lnTo>
                      <a:pt x="117" y="59"/>
                    </a:lnTo>
                    <a:close/>
                    <a:moveTo>
                      <a:pt x="31" y="96"/>
                    </a:moveTo>
                    <a:lnTo>
                      <a:pt x="31" y="96"/>
                    </a:lnTo>
                    <a:lnTo>
                      <a:pt x="31" y="96"/>
                    </a:lnTo>
                    <a:lnTo>
                      <a:pt x="31" y="96"/>
                    </a:lnTo>
                    <a:lnTo>
                      <a:pt x="31" y="96"/>
                    </a:lnTo>
                    <a:lnTo>
                      <a:pt x="31" y="96"/>
                    </a:lnTo>
                    <a:lnTo>
                      <a:pt x="31" y="96"/>
                    </a:lnTo>
                    <a:lnTo>
                      <a:pt x="31" y="96"/>
                    </a:lnTo>
                    <a:close/>
                    <a:moveTo>
                      <a:pt x="142" y="0"/>
                    </a:moveTo>
                    <a:lnTo>
                      <a:pt x="142" y="0"/>
                    </a:lnTo>
                    <a:lnTo>
                      <a:pt x="142" y="0"/>
                    </a:lnTo>
                    <a:lnTo>
                      <a:pt x="142" y="0"/>
                    </a:lnTo>
                    <a:lnTo>
                      <a:pt x="142" y="0"/>
                    </a:lnTo>
                    <a:lnTo>
                      <a:pt x="142" y="0"/>
                    </a:lnTo>
                    <a:lnTo>
                      <a:pt x="142" y="0"/>
                    </a:lnTo>
                    <a:lnTo>
                      <a:pt x="142" y="0"/>
                    </a:lnTo>
                    <a:close/>
                    <a:moveTo>
                      <a:pt x="138" y="0"/>
                    </a:moveTo>
                    <a:lnTo>
                      <a:pt x="138" y="0"/>
                    </a:lnTo>
                    <a:lnTo>
                      <a:pt x="138" y="0"/>
                    </a:lnTo>
                    <a:lnTo>
                      <a:pt x="138" y="0"/>
                    </a:lnTo>
                    <a:lnTo>
                      <a:pt x="138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84">
                <a:extLst>
                  <a:ext uri="{FF2B5EF4-FFF2-40B4-BE49-F238E27FC236}">
                    <a16:creationId xmlns="" xmlns:a16="http://schemas.microsoft.com/office/drawing/2014/main" id="{72FE5E9F-2195-474F-B13B-90DA2583D0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4650" y="2905126"/>
                <a:ext cx="222250" cy="393700"/>
              </a:xfrm>
              <a:custGeom>
                <a:avLst/>
                <a:gdLst>
                  <a:gd name="T0" fmla="*/ 136 w 140"/>
                  <a:gd name="T1" fmla="*/ 75 h 248"/>
                  <a:gd name="T2" fmla="*/ 128 w 140"/>
                  <a:gd name="T3" fmla="*/ 79 h 248"/>
                  <a:gd name="T4" fmla="*/ 123 w 140"/>
                  <a:gd name="T5" fmla="*/ 81 h 248"/>
                  <a:gd name="T6" fmla="*/ 123 w 140"/>
                  <a:gd name="T7" fmla="*/ 86 h 248"/>
                  <a:gd name="T8" fmla="*/ 121 w 140"/>
                  <a:gd name="T9" fmla="*/ 94 h 248"/>
                  <a:gd name="T10" fmla="*/ 123 w 140"/>
                  <a:gd name="T11" fmla="*/ 102 h 248"/>
                  <a:gd name="T12" fmla="*/ 130 w 140"/>
                  <a:gd name="T13" fmla="*/ 111 h 248"/>
                  <a:gd name="T14" fmla="*/ 126 w 140"/>
                  <a:gd name="T15" fmla="*/ 115 h 248"/>
                  <a:gd name="T16" fmla="*/ 121 w 140"/>
                  <a:gd name="T17" fmla="*/ 129 h 248"/>
                  <a:gd name="T18" fmla="*/ 111 w 140"/>
                  <a:gd name="T19" fmla="*/ 135 h 248"/>
                  <a:gd name="T20" fmla="*/ 107 w 140"/>
                  <a:gd name="T21" fmla="*/ 140 h 248"/>
                  <a:gd name="T22" fmla="*/ 109 w 140"/>
                  <a:gd name="T23" fmla="*/ 152 h 248"/>
                  <a:gd name="T24" fmla="*/ 99 w 140"/>
                  <a:gd name="T25" fmla="*/ 163 h 248"/>
                  <a:gd name="T26" fmla="*/ 103 w 140"/>
                  <a:gd name="T27" fmla="*/ 173 h 248"/>
                  <a:gd name="T28" fmla="*/ 98 w 140"/>
                  <a:gd name="T29" fmla="*/ 177 h 248"/>
                  <a:gd name="T30" fmla="*/ 92 w 140"/>
                  <a:gd name="T31" fmla="*/ 179 h 248"/>
                  <a:gd name="T32" fmla="*/ 94 w 140"/>
                  <a:gd name="T33" fmla="*/ 188 h 248"/>
                  <a:gd name="T34" fmla="*/ 88 w 140"/>
                  <a:gd name="T35" fmla="*/ 194 h 248"/>
                  <a:gd name="T36" fmla="*/ 88 w 140"/>
                  <a:gd name="T37" fmla="*/ 208 h 248"/>
                  <a:gd name="T38" fmla="*/ 90 w 140"/>
                  <a:gd name="T39" fmla="*/ 215 h 248"/>
                  <a:gd name="T40" fmla="*/ 82 w 140"/>
                  <a:gd name="T41" fmla="*/ 225 h 248"/>
                  <a:gd name="T42" fmla="*/ 73 w 140"/>
                  <a:gd name="T43" fmla="*/ 233 h 248"/>
                  <a:gd name="T44" fmla="*/ 69 w 140"/>
                  <a:gd name="T45" fmla="*/ 246 h 248"/>
                  <a:gd name="T46" fmla="*/ 61 w 140"/>
                  <a:gd name="T47" fmla="*/ 242 h 248"/>
                  <a:gd name="T48" fmla="*/ 55 w 140"/>
                  <a:gd name="T49" fmla="*/ 240 h 248"/>
                  <a:gd name="T50" fmla="*/ 46 w 140"/>
                  <a:gd name="T51" fmla="*/ 240 h 248"/>
                  <a:gd name="T52" fmla="*/ 44 w 140"/>
                  <a:gd name="T53" fmla="*/ 233 h 248"/>
                  <a:gd name="T54" fmla="*/ 42 w 140"/>
                  <a:gd name="T55" fmla="*/ 221 h 248"/>
                  <a:gd name="T56" fmla="*/ 36 w 140"/>
                  <a:gd name="T57" fmla="*/ 211 h 248"/>
                  <a:gd name="T58" fmla="*/ 26 w 140"/>
                  <a:gd name="T59" fmla="*/ 211 h 248"/>
                  <a:gd name="T60" fmla="*/ 15 w 140"/>
                  <a:gd name="T61" fmla="*/ 209 h 248"/>
                  <a:gd name="T62" fmla="*/ 19 w 140"/>
                  <a:gd name="T63" fmla="*/ 198 h 248"/>
                  <a:gd name="T64" fmla="*/ 23 w 140"/>
                  <a:gd name="T65" fmla="*/ 190 h 248"/>
                  <a:gd name="T66" fmla="*/ 19 w 140"/>
                  <a:gd name="T67" fmla="*/ 183 h 248"/>
                  <a:gd name="T68" fmla="*/ 7 w 140"/>
                  <a:gd name="T69" fmla="*/ 179 h 248"/>
                  <a:gd name="T70" fmla="*/ 7 w 140"/>
                  <a:gd name="T71" fmla="*/ 167 h 248"/>
                  <a:gd name="T72" fmla="*/ 0 w 140"/>
                  <a:gd name="T73" fmla="*/ 165 h 248"/>
                  <a:gd name="T74" fmla="*/ 5 w 140"/>
                  <a:gd name="T75" fmla="*/ 154 h 248"/>
                  <a:gd name="T76" fmla="*/ 13 w 140"/>
                  <a:gd name="T77" fmla="*/ 138 h 248"/>
                  <a:gd name="T78" fmla="*/ 17 w 140"/>
                  <a:gd name="T79" fmla="*/ 133 h 248"/>
                  <a:gd name="T80" fmla="*/ 19 w 140"/>
                  <a:gd name="T81" fmla="*/ 119 h 248"/>
                  <a:gd name="T82" fmla="*/ 23 w 140"/>
                  <a:gd name="T83" fmla="*/ 113 h 248"/>
                  <a:gd name="T84" fmla="*/ 23 w 140"/>
                  <a:gd name="T85" fmla="*/ 106 h 248"/>
                  <a:gd name="T86" fmla="*/ 30 w 140"/>
                  <a:gd name="T87" fmla="*/ 98 h 248"/>
                  <a:gd name="T88" fmla="*/ 42 w 140"/>
                  <a:gd name="T89" fmla="*/ 88 h 248"/>
                  <a:gd name="T90" fmla="*/ 38 w 140"/>
                  <a:gd name="T91" fmla="*/ 79 h 248"/>
                  <a:gd name="T92" fmla="*/ 40 w 140"/>
                  <a:gd name="T93" fmla="*/ 69 h 248"/>
                  <a:gd name="T94" fmla="*/ 48 w 140"/>
                  <a:gd name="T95" fmla="*/ 61 h 248"/>
                  <a:gd name="T96" fmla="*/ 57 w 140"/>
                  <a:gd name="T97" fmla="*/ 56 h 248"/>
                  <a:gd name="T98" fmla="*/ 65 w 140"/>
                  <a:gd name="T99" fmla="*/ 58 h 248"/>
                  <a:gd name="T100" fmla="*/ 67 w 140"/>
                  <a:gd name="T101" fmla="*/ 48 h 248"/>
                  <a:gd name="T102" fmla="*/ 71 w 140"/>
                  <a:gd name="T103" fmla="*/ 36 h 248"/>
                  <a:gd name="T104" fmla="*/ 101 w 140"/>
                  <a:gd name="T105" fmla="*/ 2 h 248"/>
                  <a:gd name="T106" fmla="*/ 119 w 140"/>
                  <a:gd name="T107" fmla="*/ 8 h 248"/>
                  <a:gd name="T108" fmla="*/ 117 w 140"/>
                  <a:gd name="T109" fmla="*/ 19 h 248"/>
                  <a:gd name="T110" fmla="*/ 123 w 140"/>
                  <a:gd name="T111" fmla="*/ 19 h 248"/>
                  <a:gd name="T112" fmla="*/ 128 w 140"/>
                  <a:gd name="T113" fmla="*/ 27 h 248"/>
                  <a:gd name="T114" fmla="*/ 134 w 140"/>
                  <a:gd name="T115" fmla="*/ 35 h 248"/>
                  <a:gd name="T116" fmla="*/ 134 w 140"/>
                  <a:gd name="T117" fmla="*/ 42 h 248"/>
                  <a:gd name="T118" fmla="*/ 132 w 140"/>
                  <a:gd name="T119" fmla="*/ 48 h 248"/>
                  <a:gd name="T120" fmla="*/ 130 w 140"/>
                  <a:gd name="T121" fmla="*/ 52 h 248"/>
                  <a:gd name="T122" fmla="*/ 136 w 140"/>
                  <a:gd name="T123" fmla="*/ 60 h 248"/>
                  <a:gd name="T124" fmla="*/ 136 w 140"/>
                  <a:gd name="T125" fmla="*/ 67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40" h="248">
                    <a:moveTo>
                      <a:pt x="140" y="69"/>
                    </a:moveTo>
                    <a:lnTo>
                      <a:pt x="138" y="71"/>
                    </a:lnTo>
                    <a:lnTo>
                      <a:pt x="140" y="71"/>
                    </a:lnTo>
                    <a:lnTo>
                      <a:pt x="138" y="71"/>
                    </a:lnTo>
                    <a:lnTo>
                      <a:pt x="138" y="73"/>
                    </a:lnTo>
                    <a:lnTo>
                      <a:pt x="136" y="73"/>
                    </a:lnTo>
                    <a:lnTo>
                      <a:pt x="136" y="75"/>
                    </a:lnTo>
                    <a:lnTo>
                      <a:pt x="138" y="75"/>
                    </a:lnTo>
                    <a:lnTo>
                      <a:pt x="136" y="75"/>
                    </a:lnTo>
                    <a:lnTo>
                      <a:pt x="134" y="77"/>
                    </a:lnTo>
                    <a:lnTo>
                      <a:pt x="132" y="77"/>
                    </a:lnTo>
                    <a:lnTo>
                      <a:pt x="132" y="79"/>
                    </a:lnTo>
                    <a:lnTo>
                      <a:pt x="132" y="77"/>
                    </a:lnTo>
                    <a:lnTo>
                      <a:pt x="130" y="77"/>
                    </a:lnTo>
                    <a:lnTo>
                      <a:pt x="130" y="79"/>
                    </a:lnTo>
                    <a:lnTo>
                      <a:pt x="130" y="77"/>
                    </a:lnTo>
                    <a:lnTo>
                      <a:pt x="130" y="79"/>
                    </a:lnTo>
                    <a:lnTo>
                      <a:pt x="128" y="79"/>
                    </a:lnTo>
                    <a:lnTo>
                      <a:pt x="128" y="77"/>
                    </a:lnTo>
                    <a:lnTo>
                      <a:pt x="126" y="77"/>
                    </a:lnTo>
                    <a:lnTo>
                      <a:pt x="126" y="75"/>
                    </a:lnTo>
                    <a:lnTo>
                      <a:pt x="124" y="75"/>
                    </a:lnTo>
                    <a:lnTo>
                      <a:pt x="124" y="77"/>
                    </a:lnTo>
                    <a:lnTo>
                      <a:pt x="124" y="79"/>
                    </a:lnTo>
                    <a:lnTo>
                      <a:pt x="123" y="81"/>
                    </a:lnTo>
                    <a:lnTo>
                      <a:pt x="123" y="79"/>
                    </a:lnTo>
                    <a:lnTo>
                      <a:pt x="123" y="81"/>
                    </a:lnTo>
                    <a:lnTo>
                      <a:pt x="121" y="83"/>
                    </a:lnTo>
                    <a:lnTo>
                      <a:pt x="119" y="83"/>
                    </a:lnTo>
                    <a:lnTo>
                      <a:pt x="119" y="85"/>
                    </a:lnTo>
                    <a:lnTo>
                      <a:pt x="119" y="86"/>
                    </a:lnTo>
                    <a:lnTo>
                      <a:pt x="119" y="85"/>
                    </a:lnTo>
                    <a:lnTo>
                      <a:pt x="119" y="86"/>
                    </a:lnTo>
                    <a:lnTo>
                      <a:pt x="121" y="85"/>
                    </a:lnTo>
                    <a:lnTo>
                      <a:pt x="121" y="86"/>
                    </a:lnTo>
                    <a:lnTo>
                      <a:pt x="123" y="86"/>
                    </a:lnTo>
                    <a:lnTo>
                      <a:pt x="121" y="86"/>
                    </a:lnTo>
                    <a:lnTo>
                      <a:pt x="123" y="86"/>
                    </a:lnTo>
                    <a:lnTo>
                      <a:pt x="123" y="88"/>
                    </a:lnTo>
                    <a:lnTo>
                      <a:pt x="123" y="90"/>
                    </a:lnTo>
                    <a:lnTo>
                      <a:pt x="123" y="92"/>
                    </a:lnTo>
                    <a:lnTo>
                      <a:pt x="124" y="92"/>
                    </a:lnTo>
                    <a:lnTo>
                      <a:pt x="124" y="94"/>
                    </a:lnTo>
                    <a:lnTo>
                      <a:pt x="123" y="94"/>
                    </a:lnTo>
                    <a:lnTo>
                      <a:pt x="121" y="94"/>
                    </a:lnTo>
                    <a:lnTo>
                      <a:pt x="119" y="94"/>
                    </a:lnTo>
                    <a:lnTo>
                      <a:pt x="119" y="96"/>
                    </a:lnTo>
                    <a:lnTo>
                      <a:pt x="119" y="98"/>
                    </a:lnTo>
                    <a:lnTo>
                      <a:pt x="121" y="98"/>
                    </a:lnTo>
                    <a:lnTo>
                      <a:pt x="121" y="100"/>
                    </a:lnTo>
                    <a:lnTo>
                      <a:pt x="123" y="100"/>
                    </a:lnTo>
                    <a:lnTo>
                      <a:pt x="124" y="100"/>
                    </a:lnTo>
                    <a:lnTo>
                      <a:pt x="123" y="100"/>
                    </a:lnTo>
                    <a:lnTo>
                      <a:pt x="123" y="102"/>
                    </a:lnTo>
                    <a:lnTo>
                      <a:pt x="124" y="102"/>
                    </a:lnTo>
                    <a:lnTo>
                      <a:pt x="124" y="104"/>
                    </a:lnTo>
                    <a:lnTo>
                      <a:pt x="124" y="106"/>
                    </a:lnTo>
                    <a:lnTo>
                      <a:pt x="126" y="106"/>
                    </a:lnTo>
                    <a:lnTo>
                      <a:pt x="128" y="106"/>
                    </a:lnTo>
                    <a:lnTo>
                      <a:pt x="128" y="108"/>
                    </a:lnTo>
                    <a:lnTo>
                      <a:pt x="128" y="110"/>
                    </a:lnTo>
                    <a:lnTo>
                      <a:pt x="128" y="111"/>
                    </a:lnTo>
                    <a:lnTo>
                      <a:pt x="130" y="111"/>
                    </a:lnTo>
                    <a:lnTo>
                      <a:pt x="132" y="111"/>
                    </a:lnTo>
                    <a:lnTo>
                      <a:pt x="130" y="113"/>
                    </a:lnTo>
                    <a:lnTo>
                      <a:pt x="132" y="113"/>
                    </a:lnTo>
                    <a:lnTo>
                      <a:pt x="130" y="113"/>
                    </a:lnTo>
                    <a:lnTo>
                      <a:pt x="130" y="115"/>
                    </a:lnTo>
                    <a:lnTo>
                      <a:pt x="128" y="115"/>
                    </a:lnTo>
                    <a:lnTo>
                      <a:pt x="126" y="115"/>
                    </a:lnTo>
                    <a:lnTo>
                      <a:pt x="124" y="115"/>
                    </a:lnTo>
                    <a:lnTo>
                      <a:pt x="126" y="115"/>
                    </a:lnTo>
                    <a:lnTo>
                      <a:pt x="126" y="117"/>
                    </a:lnTo>
                    <a:lnTo>
                      <a:pt x="126" y="119"/>
                    </a:lnTo>
                    <a:lnTo>
                      <a:pt x="124" y="119"/>
                    </a:lnTo>
                    <a:lnTo>
                      <a:pt x="124" y="121"/>
                    </a:lnTo>
                    <a:lnTo>
                      <a:pt x="123" y="121"/>
                    </a:lnTo>
                    <a:lnTo>
                      <a:pt x="123" y="123"/>
                    </a:lnTo>
                    <a:lnTo>
                      <a:pt x="123" y="125"/>
                    </a:lnTo>
                    <a:lnTo>
                      <a:pt x="126" y="129"/>
                    </a:lnTo>
                    <a:lnTo>
                      <a:pt x="121" y="129"/>
                    </a:lnTo>
                    <a:lnTo>
                      <a:pt x="119" y="131"/>
                    </a:lnTo>
                    <a:lnTo>
                      <a:pt x="117" y="131"/>
                    </a:lnTo>
                    <a:lnTo>
                      <a:pt x="115" y="131"/>
                    </a:lnTo>
                    <a:lnTo>
                      <a:pt x="115" y="133"/>
                    </a:lnTo>
                    <a:lnTo>
                      <a:pt x="117" y="133"/>
                    </a:lnTo>
                    <a:lnTo>
                      <a:pt x="115" y="133"/>
                    </a:lnTo>
                    <a:lnTo>
                      <a:pt x="113" y="133"/>
                    </a:lnTo>
                    <a:lnTo>
                      <a:pt x="113" y="135"/>
                    </a:lnTo>
                    <a:lnTo>
                      <a:pt x="111" y="135"/>
                    </a:lnTo>
                    <a:lnTo>
                      <a:pt x="109" y="136"/>
                    </a:lnTo>
                    <a:lnTo>
                      <a:pt x="107" y="138"/>
                    </a:lnTo>
                    <a:lnTo>
                      <a:pt x="109" y="138"/>
                    </a:lnTo>
                    <a:lnTo>
                      <a:pt x="109" y="136"/>
                    </a:lnTo>
                    <a:lnTo>
                      <a:pt x="111" y="136"/>
                    </a:lnTo>
                    <a:lnTo>
                      <a:pt x="111" y="138"/>
                    </a:lnTo>
                    <a:lnTo>
                      <a:pt x="109" y="138"/>
                    </a:lnTo>
                    <a:lnTo>
                      <a:pt x="109" y="140"/>
                    </a:lnTo>
                    <a:lnTo>
                      <a:pt x="107" y="140"/>
                    </a:lnTo>
                    <a:lnTo>
                      <a:pt x="109" y="140"/>
                    </a:lnTo>
                    <a:lnTo>
                      <a:pt x="109" y="142"/>
                    </a:lnTo>
                    <a:lnTo>
                      <a:pt x="109" y="144"/>
                    </a:lnTo>
                    <a:lnTo>
                      <a:pt x="109" y="146"/>
                    </a:lnTo>
                    <a:lnTo>
                      <a:pt x="111" y="146"/>
                    </a:lnTo>
                    <a:lnTo>
                      <a:pt x="111" y="148"/>
                    </a:lnTo>
                    <a:lnTo>
                      <a:pt x="111" y="150"/>
                    </a:lnTo>
                    <a:lnTo>
                      <a:pt x="109" y="150"/>
                    </a:lnTo>
                    <a:lnTo>
                      <a:pt x="109" y="152"/>
                    </a:lnTo>
                    <a:lnTo>
                      <a:pt x="107" y="152"/>
                    </a:lnTo>
                    <a:lnTo>
                      <a:pt x="105" y="152"/>
                    </a:lnTo>
                    <a:lnTo>
                      <a:pt x="105" y="154"/>
                    </a:lnTo>
                    <a:lnTo>
                      <a:pt x="105" y="156"/>
                    </a:lnTo>
                    <a:lnTo>
                      <a:pt x="103" y="158"/>
                    </a:lnTo>
                    <a:lnTo>
                      <a:pt x="103" y="160"/>
                    </a:lnTo>
                    <a:lnTo>
                      <a:pt x="101" y="161"/>
                    </a:lnTo>
                    <a:lnTo>
                      <a:pt x="99" y="161"/>
                    </a:lnTo>
                    <a:lnTo>
                      <a:pt x="99" y="163"/>
                    </a:lnTo>
                    <a:lnTo>
                      <a:pt x="99" y="165"/>
                    </a:lnTo>
                    <a:lnTo>
                      <a:pt x="99" y="167"/>
                    </a:lnTo>
                    <a:lnTo>
                      <a:pt x="101" y="167"/>
                    </a:lnTo>
                    <a:lnTo>
                      <a:pt x="101" y="169"/>
                    </a:lnTo>
                    <a:lnTo>
                      <a:pt x="103" y="169"/>
                    </a:lnTo>
                    <a:lnTo>
                      <a:pt x="105" y="169"/>
                    </a:lnTo>
                    <a:lnTo>
                      <a:pt x="105" y="171"/>
                    </a:lnTo>
                    <a:lnTo>
                      <a:pt x="103" y="171"/>
                    </a:lnTo>
                    <a:lnTo>
                      <a:pt x="103" y="173"/>
                    </a:lnTo>
                    <a:lnTo>
                      <a:pt x="101" y="173"/>
                    </a:lnTo>
                    <a:lnTo>
                      <a:pt x="101" y="175"/>
                    </a:lnTo>
                    <a:lnTo>
                      <a:pt x="99" y="175"/>
                    </a:lnTo>
                    <a:lnTo>
                      <a:pt x="99" y="173"/>
                    </a:lnTo>
                    <a:lnTo>
                      <a:pt x="98" y="173"/>
                    </a:lnTo>
                    <a:lnTo>
                      <a:pt x="98" y="175"/>
                    </a:lnTo>
                    <a:lnTo>
                      <a:pt x="99" y="175"/>
                    </a:lnTo>
                    <a:lnTo>
                      <a:pt x="98" y="175"/>
                    </a:lnTo>
                    <a:lnTo>
                      <a:pt x="98" y="177"/>
                    </a:lnTo>
                    <a:lnTo>
                      <a:pt x="96" y="177"/>
                    </a:lnTo>
                    <a:lnTo>
                      <a:pt x="94" y="175"/>
                    </a:lnTo>
                    <a:lnTo>
                      <a:pt x="94" y="177"/>
                    </a:lnTo>
                    <a:lnTo>
                      <a:pt x="92" y="177"/>
                    </a:lnTo>
                    <a:lnTo>
                      <a:pt x="92" y="179"/>
                    </a:lnTo>
                    <a:lnTo>
                      <a:pt x="94" y="179"/>
                    </a:lnTo>
                    <a:lnTo>
                      <a:pt x="92" y="179"/>
                    </a:lnTo>
                    <a:lnTo>
                      <a:pt x="92" y="181"/>
                    </a:lnTo>
                    <a:lnTo>
                      <a:pt x="92" y="179"/>
                    </a:lnTo>
                    <a:lnTo>
                      <a:pt x="90" y="179"/>
                    </a:lnTo>
                    <a:lnTo>
                      <a:pt x="92" y="179"/>
                    </a:lnTo>
                    <a:lnTo>
                      <a:pt x="92" y="181"/>
                    </a:lnTo>
                    <a:lnTo>
                      <a:pt x="90" y="181"/>
                    </a:lnTo>
                    <a:lnTo>
                      <a:pt x="90" y="183"/>
                    </a:lnTo>
                    <a:lnTo>
                      <a:pt x="90" y="184"/>
                    </a:lnTo>
                    <a:lnTo>
                      <a:pt x="90" y="186"/>
                    </a:lnTo>
                    <a:lnTo>
                      <a:pt x="92" y="186"/>
                    </a:lnTo>
                    <a:lnTo>
                      <a:pt x="94" y="188"/>
                    </a:lnTo>
                    <a:lnTo>
                      <a:pt x="94" y="190"/>
                    </a:lnTo>
                    <a:lnTo>
                      <a:pt x="96" y="190"/>
                    </a:lnTo>
                    <a:lnTo>
                      <a:pt x="94" y="190"/>
                    </a:lnTo>
                    <a:lnTo>
                      <a:pt x="92" y="192"/>
                    </a:lnTo>
                    <a:lnTo>
                      <a:pt x="90" y="192"/>
                    </a:lnTo>
                    <a:lnTo>
                      <a:pt x="90" y="194"/>
                    </a:lnTo>
                    <a:lnTo>
                      <a:pt x="88" y="194"/>
                    </a:lnTo>
                    <a:lnTo>
                      <a:pt x="88" y="196"/>
                    </a:lnTo>
                    <a:lnTo>
                      <a:pt x="88" y="194"/>
                    </a:lnTo>
                    <a:lnTo>
                      <a:pt x="88" y="196"/>
                    </a:lnTo>
                    <a:lnTo>
                      <a:pt x="86" y="196"/>
                    </a:lnTo>
                    <a:lnTo>
                      <a:pt x="86" y="198"/>
                    </a:lnTo>
                    <a:lnTo>
                      <a:pt x="88" y="200"/>
                    </a:lnTo>
                    <a:lnTo>
                      <a:pt x="88" y="202"/>
                    </a:lnTo>
                    <a:lnTo>
                      <a:pt x="90" y="204"/>
                    </a:lnTo>
                    <a:lnTo>
                      <a:pt x="90" y="206"/>
                    </a:lnTo>
                    <a:lnTo>
                      <a:pt x="88" y="206"/>
                    </a:lnTo>
                    <a:lnTo>
                      <a:pt x="88" y="208"/>
                    </a:lnTo>
                    <a:lnTo>
                      <a:pt x="86" y="208"/>
                    </a:lnTo>
                    <a:lnTo>
                      <a:pt x="86" y="209"/>
                    </a:lnTo>
                    <a:lnTo>
                      <a:pt x="86" y="211"/>
                    </a:lnTo>
                    <a:lnTo>
                      <a:pt x="88" y="211"/>
                    </a:lnTo>
                    <a:lnTo>
                      <a:pt x="88" y="213"/>
                    </a:lnTo>
                    <a:lnTo>
                      <a:pt x="90" y="213"/>
                    </a:lnTo>
                    <a:lnTo>
                      <a:pt x="88" y="213"/>
                    </a:lnTo>
                    <a:lnTo>
                      <a:pt x="90" y="213"/>
                    </a:lnTo>
                    <a:lnTo>
                      <a:pt x="90" y="215"/>
                    </a:lnTo>
                    <a:lnTo>
                      <a:pt x="92" y="215"/>
                    </a:lnTo>
                    <a:lnTo>
                      <a:pt x="92" y="217"/>
                    </a:lnTo>
                    <a:lnTo>
                      <a:pt x="90" y="219"/>
                    </a:lnTo>
                    <a:lnTo>
                      <a:pt x="88" y="219"/>
                    </a:lnTo>
                    <a:lnTo>
                      <a:pt x="86" y="221"/>
                    </a:lnTo>
                    <a:lnTo>
                      <a:pt x="88" y="223"/>
                    </a:lnTo>
                    <a:lnTo>
                      <a:pt x="86" y="225"/>
                    </a:lnTo>
                    <a:lnTo>
                      <a:pt x="84" y="225"/>
                    </a:lnTo>
                    <a:lnTo>
                      <a:pt x="82" y="225"/>
                    </a:lnTo>
                    <a:lnTo>
                      <a:pt x="82" y="227"/>
                    </a:lnTo>
                    <a:lnTo>
                      <a:pt x="82" y="229"/>
                    </a:lnTo>
                    <a:lnTo>
                      <a:pt x="82" y="231"/>
                    </a:lnTo>
                    <a:lnTo>
                      <a:pt x="80" y="231"/>
                    </a:lnTo>
                    <a:lnTo>
                      <a:pt x="78" y="231"/>
                    </a:lnTo>
                    <a:lnTo>
                      <a:pt x="76" y="231"/>
                    </a:lnTo>
                    <a:lnTo>
                      <a:pt x="76" y="233"/>
                    </a:lnTo>
                    <a:lnTo>
                      <a:pt x="75" y="233"/>
                    </a:lnTo>
                    <a:lnTo>
                      <a:pt x="73" y="233"/>
                    </a:lnTo>
                    <a:lnTo>
                      <a:pt x="73" y="234"/>
                    </a:lnTo>
                    <a:lnTo>
                      <a:pt x="73" y="236"/>
                    </a:lnTo>
                    <a:lnTo>
                      <a:pt x="73" y="238"/>
                    </a:lnTo>
                    <a:lnTo>
                      <a:pt x="71" y="238"/>
                    </a:lnTo>
                    <a:lnTo>
                      <a:pt x="71" y="240"/>
                    </a:lnTo>
                    <a:lnTo>
                      <a:pt x="69" y="240"/>
                    </a:lnTo>
                    <a:lnTo>
                      <a:pt x="69" y="242"/>
                    </a:lnTo>
                    <a:lnTo>
                      <a:pt x="69" y="244"/>
                    </a:lnTo>
                    <a:lnTo>
                      <a:pt x="69" y="246"/>
                    </a:lnTo>
                    <a:lnTo>
                      <a:pt x="67" y="246"/>
                    </a:lnTo>
                    <a:lnTo>
                      <a:pt x="67" y="248"/>
                    </a:lnTo>
                    <a:lnTo>
                      <a:pt x="65" y="248"/>
                    </a:lnTo>
                    <a:lnTo>
                      <a:pt x="65" y="246"/>
                    </a:lnTo>
                    <a:lnTo>
                      <a:pt x="65" y="244"/>
                    </a:lnTo>
                    <a:lnTo>
                      <a:pt x="63" y="242"/>
                    </a:lnTo>
                    <a:lnTo>
                      <a:pt x="63" y="244"/>
                    </a:lnTo>
                    <a:lnTo>
                      <a:pt x="63" y="242"/>
                    </a:lnTo>
                    <a:lnTo>
                      <a:pt x="61" y="242"/>
                    </a:lnTo>
                    <a:lnTo>
                      <a:pt x="59" y="242"/>
                    </a:lnTo>
                    <a:lnTo>
                      <a:pt x="61" y="242"/>
                    </a:lnTo>
                    <a:lnTo>
                      <a:pt x="61" y="240"/>
                    </a:lnTo>
                    <a:lnTo>
                      <a:pt x="59" y="240"/>
                    </a:lnTo>
                    <a:lnTo>
                      <a:pt x="59" y="238"/>
                    </a:lnTo>
                    <a:lnTo>
                      <a:pt x="57" y="236"/>
                    </a:lnTo>
                    <a:lnTo>
                      <a:pt x="57" y="238"/>
                    </a:lnTo>
                    <a:lnTo>
                      <a:pt x="55" y="238"/>
                    </a:lnTo>
                    <a:lnTo>
                      <a:pt x="55" y="240"/>
                    </a:lnTo>
                    <a:lnTo>
                      <a:pt x="53" y="240"/>
                    </a:lnTo>
                    <a:lnTo>
                      <a:pt x="51" y="240"/>
                    </a:lnTo>
                    <a:lnTo>
                      <a:pt x="50" y="240"/>
                    </a:lnTo>
                    <a:lnTo>
                      <a:pt x="50" y="242"/>
                    </a:lnTo>
                    <a:lnTo>
                      <a:pt x="50" y="240"/>
                    </a:lnTo>
                    <a:lnTo>
                      <a:pt x="50" y="242"/>
                    </a:lnTo>
                    <a:lnTo>
                      <a:pt x="48" y="242"/>
                    </a:lnTo>
                    <a:lnTo>
                      <a:pt x="48" y="240"/>
                    </a:lnTo>
                    <a:lnTo>
                      <a:pt x="46" y="240"/>
                    </a:lnTo>
                    <a:lnTo>
                      <a:pt x="44" y="240"/>
                    </a:lnTo>
                    <a:lnTo>
                      <a:pt x="44" y="238"/>
                    </a:lnTo>
                    <a:lnTo>
                      <a:pt x="44" y="236"/>
                    </a:lnTo>
                    <a:lnTo>
                      <a:pt x="46" y="236"/>
                    </a:lnTo>
                    <a:lnTo>
                      <a:pt x="44" y="234"/>
                    </a:lnTo>
                    <a:lnTo>
                      <a:pt x="44" y="236"/>
                    </a:lnTo>
                    <a:lnTo>
                      <a:pt x="42" y="236"/>
                    </a:lnTo>
                    <a:lnTo>
                      <a:pt x="44" y="234"/>
                    </a:lnTo>
                    <a:lnTo>
                      <a:pt x="44" y="233"/>
                    </a:lnTo>
                    <a:lnTo>
                      <a:pt x="46" y="233"/>
                    </a:lnTo>
                    <a:lnTo>
                      <a:pt x="46" y="231"/>
                    </a:lnTo>
                    <a:lnTo>
                      <a:pt x="46" y="229"/>
                    </a:lnTo>
                    <a:lnTo>
                      <a:pt x="44" y="227"/>
                    </a:lnTo>
                    <a:lnTo>
                      <a:pt x="44" y="225"/>
                    </a:lnTo>
                    <a:lnTo>
                      <a:pt x="46" y="225"/>
                    </a:lnTo>
                    <a:lnTo>
                      <a:pt x="46" y="223"/>
                    </a:lnTo>
                    <a:lnTo>
                      <a:pt x="44" y="221"/>
                    </a:lnTo>
                    <a:lnTo>
                      <a:pt x="42" y="221"/>
                    </a:lnTo>
                    <a:lnTo>
                      <a:pt x="42" y="219"/>
                    </a:lnTo>
                    <a:lnTo>
                      <a:pt x="42" y="217"/>
                    </a:lnTo>
                    <a:lnTo>
                      <a:pt x="42" y="215"/>
                    </a:lnTo>
                    <a:lnTo>
                      <a:pt x="40" y="215"/>
                    </a:lnTo>
                    <a:lnTo>
                      <a:pt x="40" y="213"/>
                    </a:lnTo>
                    <a:lnTo>
                      <a:pt x="38" y="213"/>
                    </a:lnTo>
                    <a:lnTo>
                      <a:pt x="36" y="215"/>
                    </a:lnTo>
                    <a:lnTo>
                      <a:pt x="36" y="213"/>
                    </a:lnTo>
                    <a:lnTo>
                      <a:pt x="36" y="211"/>
                    </a:lnTo>
                    <a:lnTo>
                      <a:pt x="34" y="211"/>
                    </a:lnTo>
                    <a:lnTo>
                      <a:pt x="34" y="209"/>
                    </a:lnTo>
                    <a:lnTo>
                      <a:pt x="32" y="209"/>
                    </a:lnTo>
                    <a:lnTo>
                      <a:pt x="32" y="208"/>
                    </a:lnTo>
                    <a:lnTo>
                      <a:pt x="30" y="208"/>
                    </a:lnTo>
                    <a:lnTo>
                      <a:pt x="30" y="209"/>
                    </a:lnTo>
                    <a:lnTo>
                      <a:pt x="28" y="209"/>
                    </a:lnTo>
                    <a:lnTo>
                      <a:pt x="26" y="209"/>
                    </a:lnTo>
                    <a:lnTo>
                      <a:pt x="26" y="211"/>
                    </a:lnTo>
                    <a:lnTo>
                      <a:pt x="26" y="209"/>
                    </a:lnTo>
                    <a:lnTo>
                      <a:pt x="25" y="209"/>
                    </a:lnTo>
                    <a:lnTo>
                      <a:pt x="26" y="209"/>
                    </a:lnTo>
                    <a:lnTo>
                      <a:pt x="25" y="208"/>
                    </a:lnTo>
                    <a:lnTo>
                      <a:pt x="23" y="208"/>
                    </a:lnTo>
                    <a:lnTo>
                      <a:pt x="21" y="208"/>
                    </a:lnTo>
                    <a:lnTo>
                      <a:pt x="19" y="208"/>
                    </a:lnTo>
                    <a:lnTo>
                      <a:pt x="17" y="208"/>
                    </a:lnTo>
                    <a:lnTo>
                      <a:pt x="15" y="209"/>
                    </a:lnTo>
                    <a:lnTo>
                      <a:pt x="15" y="208"/>
                    </a:lnTo>
                    <a:lnTo>
                      <a:pt x="15" y="206"/>
                    </a:lnTo>
                    <a:lnTo>
                      <a:pt x="15" y="204"/>
                    </a:lnTo>
                    <a:lnTo>
                      <a:pt x="13" y="204"/>
                    </a:lnTo>
                    <a:lnTo>
                      <a:pt x="13" y="202"/>
                    </a:lnTo>
                    <a:lnTo>
                      <a:pt x="15" y="202"/>
                    </a:lnTo>
                    <a:lnTo>
                      <a:pt x="15" y="200"/>
                    </a:lnTo>
                    <a:lnTo>
                      <a:pt x="17" y="200"/>
                    </a:lnTo>
                    <a:lnTo>
                      <a:pt x="19" y="198"/>
                    </a:lnTo>
                    <a:lnTo>
                      <a:pt x="21" y="198"/>
                    </a:lnTo>
                    <a:lnTo>
                      <a:pt x="21" y="196"/>
                    </a:lnTo>
                    <a:lnTo>
                      <a:pt x="23" y="196"/>
                    </a:lnTo>
                    <a:lnTo>
                      <a:pt x="25" y="196"/>
                    </a:lnTo>
                    <a:lnTo>
                      <a:pt x="23" y="194"/>
                    </a:lnTo>
                    <a:lnTo>
                      <a:pt x="25" y="194"/>
                    </a:lnTo>
                    <a:lnTo>
                      <a:pt x="25" y="192"/>
                    </a:lnTo>
                    <a:lnTo>
                      <a:pt x="23" y="192"/>
                    </a:lnTo>
                    <a:lnTo>
                      <a:pt x="23" y="190"/>
                    </a:lnTo>
                    <a:lnTo>
                      <a:pt x="23" y="188"/>
                    </a:lnTo>
                    <a:lnTo>
                      <a:pt x="21" y="188"/>
                    </a:lnTo>
                    <a:lnTo>
                      <a:pt x="19" y="188"/>
                    </a:lnTo>
                    <a:lnTo>
                      <a:pt x="19" y="186"/>
                    </a:lnTo>
                    <a:lnTo>
                      <a:pt x="21" y="186"/>
                    </a:lnTo>
                    <a:lnTo>
                      <a:pt x="21" y="184"/>
                    </a:lnTo>
                    <a:lnTo>
                      <a:pt x="19" y="184"/>
                    </a:lnTo>
                    <a:lnTo>
                      <a:pt x="17" y="184"/>
                    </a:lnTo>
                    <a:lnTo>
                      <a:pt x="19" y="183"/>
                    </a:lnTo>
                    <a:lnTo>
                      <a:pt x="17" y="183"/>
                    </a:lnTo>
                    <a:lnTo>
                      <a:pt x="17" y="181"/>
                    </a:lnTo>
                    <a:lnTo>
                      <a:pt x="15" y="181"/>
                    </a:lnTo>
                    <a:lnTo>
                      <a:pt x="15" y="183"/>
                    </a:lnTo>
                    <a:lnTo>
                      <a:pt x="15" y="181"/>
                    </a:lnTo>
                    <a:lnTo>
                      <a:pt x="13" y="181"/>
                    </a:lnTo>
                    <a:lnTo>
                      <a:pt x="11" y="181"/>
                    </a:lnTo>
                    <a:lnTo>
                      <a:pt x="9" y="181"/>
                    </a:lnTo>
                    <a:lnTo>
                      <a:pt x="7" y="179"/>
                    </a:lnTo>
                    <a:lnTo>
                      <a:pt x="7" y="177"/>
                    </a:lnTo>
                    <a:lnTo>
                      <a:pt x="7" y="175"/>
                    </a:lnTo>
                    <a:lnTo>
                      <a:pt x="7" y="173"/>
                    </a:lnTo>
                    <a:lnTo>
                      <a:pt x="7" y="171"/>
                    </a:lnTo>
                    <a:lnTo>
                      <a:pt x="9" y="171"/>
                    </a:lnTo>
                    <a:lnTo>
                      <a:pt x="11" y="171"/>
                    </a:lnTo>
                    <a:lnTo>
                      <a:pt x="9" y="169"/>
                    </a:lnTo>
                    <a:lnTo>
                      <a:pt x="9" y="167"/>
                    </a:lnTo>
                    <a:lnTo>
                      <a:pt x="7" y="167"/>
                    </a:lnTo>
                    <a:lnTo>
                      <a:pt x="5" y="167"/>
                    </a:lnTo>
                    <a:lnTo>
                      <a:pt x="5" y="165"/>
                    </a:lnTo>
                    <a:lnTo>
                      <a:pt x="3" y="165"/>
                    </a:lnTo>
                    <a:lnTo>
                      <a:pt x="3" y="163"/>
                    </a:lnTo>
                    <a:lnTo>
                      <a:pt x="3" y="165"/>
                    </a:lnTo>
                    <a:lnTo>
                      <a:pt x="2" y="165"/>
                    </a:lnTo>
                    <a:lnTo>
                      <a:pt x="2" y="167"/>
                    </a:lnTo>
                    <a:lnTo>
                      <a:pt x="2" y="165"/>
                    </a:lnTo>
                    <a:lnTo>
                      <a:pt x="0" y="165"/>
                    </a:lnTo>
                    <a:lnTo>
                      <a:pt x="0" y="163"/>
                    </a:lnTo>
                    <a:lnTo>
                      <a:pt x="0" y="161"/>
                    </a:lnTo>
                    <a:lnTo>
                      <a:pt x="0" y="160"/>
                    </a:lnTo>
                    <a:lnTo>
                      <a:pt x="0" y="158"/>
                    </a:lnTo>
                    <a:lnTo>
                      <a:pt x="0" y="156"/>
                    </a:lnTo>
                    <a:lnTo>
                      <a:pt x="2" y="156"/>
                    </a:lnTo>
                    <a:lnTo>
                      <a:pt x="3" y="156"/>
                    </a:lnTo>
                    <a:lnTo>
                      <a:pt x="3" y="154"/>
                    </a:lnTo>
                    <a:lnTo>
                      <a:pt x="5" y="154"/>
                    </a:lnTo>
                    <a:lnTo>
                      <a:pt x="7" y="152"/>
                    </a:lnTo>
                    <a:lnTo>
                      <a:pt x="7" y="150"/>
                    </a:lnTo>
                    <a:lnTo>
                      <a:pt x="9" y="148"/>
                    </a:lnTo>
                    <a:lnTo>
                      <a:pt x="9" y="146"/>
                    </a:lnTo>
                    <a:lnTo>
                      <a:pt x="9" y="144"/>
                    </a:lnTo>
                    <a:lnTo>
                      <a:pt x="11" y="144"/>
                    </a:lnTo>
                    <a:lnTo>
                      <a:pt x="13" y="142"/>
                    </a:lnTo>
                    <a:lnTo>
                      <a:pt x="13" y="140"/>
                    </a:lnTo>
                    <a:lnTo>
                      <a:pt x="13" y="138"/>
                    </a:lnTo>
                    <a:lnTo>
                      <a:pt x="15" y="138"/>
                    </a:lnTo>
                    <a:lnTo>
                      <a:pt x="15" y="136"/>
                    </a:lnTo>
                    <a:lnTo>
                      <a:pt x="13" y="136"/>
                    </a:lnTo>
                    <a:lnTo>
                      <a:pt x="15" y="136"/>
                    </a:lnTo>
                    <a:lnTo>
                      <a:pt x="15" y="135"/>
                    </a:lnTo>
                    <a:lnTo>
                      <a:pt x="15" y="136"/>
                    </a:lnTo>
                    <a:lnTo>
                      <a:pt x="17" y="136"/>
                    </a:lnTo>
                    <a:lnTo>
                      <a:pt x="17" y="135"/>
                    </a:lnTo>
                    <a:lnTo>
                      <a:pt x="17" y="133"/>
                    </a:lnTo>
                    <a:lnTo>
                      <a:pt x="15" y="133"/>
                    </a:lnTo>
                    <a:lnTo>
                      <a:pt x="15" y="131"/>
                    </a:lnTo>
                    <a:lnTo>
                      <a:pt x="17" y="129"/>
                    </a:lnTo>
                    <a:lnTo>
                      <a:pt x="17" y="127"/>
                    </a:lnTo>
                    <a:lnTo>
                      <a:pt x="19" y="127"/>
                    </a:lnTo>
                    <a:lnTo>
                      <a:pt x="19" y="125"/>
                    </a:lnTo>
                    <a:lnTo>
                      <a:pt x="19" y="123"/>
                    </a:lnTo>
                    <a:lnTo>
                      <a:pt x="19" y="121"/>
                    </a:lnTo>
                    <a:lnTo>
                      <a:pt x="19" y="119"/>
                    </a:lnTo>
                    <a:lnTo>
                      <a:pt x="21" y="119"/>
                    </a:lnTo>
                    <a:lnTo>
                      <a:pt x="23" y="119"/>
                    </a:lnTo>
                    <a:lnTo>
                      <a:pt x="23" y="117"/>
                    </a:lnTo>
                    <a:lnTo>
                      <a:pt x="25" y="117"/>
                    </a:lnTo>
                    <a:lnTo>
                      <a:pt x="23" y="117"/>
                    </a:lnTo>
                    <a:lnTo>
                      <a:pt x="25" y="117"/>
                    </a:lnTo>
                    <a:lnTo>
                      <a:pt x="23" y="117"/>
                    </a:lnTo>
                    <a:lnTo>
                      <a:pt x="23" y="115"/>
                    </a:lnTo>
                    <a:lnTo>
                      <a:pt x="23" y="113"/>
                    </a:lnTo>
                    <a:lnTo>
                      <a:pt x="21" y="111"/>
                    </a:lnTo>
                    <a:lnTo>
                      <a:pt x="19" y="111"/>
                    </a:lnTo>
                    <a:lnTo>
                      <a:pt x="17" y="111"/>
                    </a:lnTo>
                    <a:lnTo>
                      <a:pt x="17" y="110"/>
                    </a:lnTo>
                    <a:lnTo>
                      <a:pt x="19" y="110"/>
                    </a:lnTo>
                    <a:lnTo>
                      <a:pt x="19" y="108"/>
                    </a:lnTo>
                    <a:lnTo>
                      <a:pt x="21" y="108"/>
                    </a:lnTo>
                    <a:lnTo>
                      <a:pt x="23" y="108"/>
                    </a:lnTo>
                    <a:lnTo>
                      <a:pt x="23" y="106"/>
                    </a:lnTo>
                    <a:lnTo>
                      <a:pt x="26" y="104"/>
                    </a:lnTo>
                    <a:lnTo>
                      <a:pt x="25" y="104"/>
                    </a:lnTo>
                    <a:lnTo>
                      <a:pt x="26" y="102"/>
                    </a:lnTo>
                    <a:lnTo>
                      <a:pt x="28" y="102"/>
                    </a:lnTo>
                    <a:lnTo>
                      <a:pt x="28" y="100"/>
                    </a:lnTo>
                    <a:lnTo>
                      <a:pt x="30" y="100"/>
                    </a:lnTo>
                    <a:lnTo>
                      <a:pt x="28" y="100"/>
                    </a:lnTo>
                    <a:lnTo>
                      <a:pt x="28" y="98"/>
                    </a:lnTo>
                    <a:lnTo>
                      <a:pt x="30" y="98"/>
                    </a:lnTo>
                    <a:lnTo>
                      <a:pt x="32" y="98"/>
                    </a:lnTo>
                    <a:lnTo>
                      <a:pt x="34" y="98"/>
                    </a:lnTo>
                    <a:lnTo>
                      <a:pt x="36" y="96"/>
                    </a:lnTo>
                    <a:lnTo>
                      <a:pt x="36" y="94"/>
                    </a:lnTo>
                    <a:lnTo>
                      <a:pt x="38" y="94"/>
                    </a:lnTo>
                    <a:lnTo>
                      <a:pt x="40" y="94"/>
                    </a:lnTo>
                    <a:lnTo>
                      <a:pt x="40" y="92"/>
                    </a:lnTo>
                    <a:lnTo>
                      <a:pt x="42" y="90"/>
                    </a:lnTo>
                    <a:lnTo>
                      <a:pt x="42" y="88"/>
                    </a:lnTo>
                    <a:lnTo>
                      <a:pt x="40" y="88"/>
                    </a:lnTo>
                    <a:lnTo>
                      <a:pt x="40" y="86"/>
                    </a:lnTo>
                    <a:lnTo>
                      <a:pt x="42" y="86"/>
                    </a:lnTo>
                    <a:lnTo>
                      <a:pt x="40" y="86"/>
                    </a:lnTo>
                    <a:lnTo>
                      <a:pt x="40" y="85"/>
                    </a:lnTo>
                    <a:lnTo>
                      <a:pt x="40" y="83"/>
                    </a:lnTo>
                    <a:lnTo>
                      <a:pt x="40" y="81"/>
                    </a:lnTo>
                    <a:lnTo>
                      <a:pt x="40" y="79"/>
                    </a:lnTo>
                    <a:lnTo>
                      <a:pt x="38" y="79"/>
                    </a:lnTo>
                    <a:lnTo>
                      <a:pt x="38" y="77"/>
                    </a:lnTo>
                    <a:lnTo>
                      <a:pt x="40" y="77"/>
                    </a:lnTo>
                    <a:lnTo>
                      <a:pt x="40" y="75"/>
                    </a:lnTo>
                    <a:lnTo>
                      <a:pt x="42" y="75"/>
                    </a:lnTo>
                    <a:lnTo>
                      <a:pt x="42" y="73"/>
                    </a:lnTo>
                    <a:lnTo>
                      <a:pt x="44" y="73"/>
                    </a:lnTo>
                    <a:lnTo>
                      <a:pt x="44" y="71"/>
                    </a:lnTo>
                    <a:lnTo>
                      <a:pt x="42" y="71"/>
                    </a:lnTo>
                    <a:lnTo>
                      <a:pt x="40" y="69"/>
                    </a:lnTo>
                    <a:lnTo>
                      <a:pt x="38" y="69"/>
                    </a:lnTo>
                    <a:lnTo>
                      <a:pt x="38" y="67"/>
                    </a:lnTo>
                    <a:lnTo>
                      <a:pt x="40" y="67"/>
                    </a:lnTo>
                    <a:lnTo>
                      <a:pt x="40" y="65"/>
                    </a:lnTo>
                    <a:lnTo>
                      <a:pt x="42" y="65"/>
                    </a:lnTo>
                    <a:lnTo>
                      <a:pt x="44" y="65"/>
                    </a:lnTo>
                    <a:lnTo>
                      <a:pt x="44" y="63"/>
                    </a:lnTo>
                    <a:lnTo>
                      <a:pt x="46" y="61"/>
                    </a:lnTo>
                    <a:lnTo>
                      <a:pt x="48" y="61"/>
                    </a:lnTo>
                    <a:lnTo>
                      <a:pt x="48" y="60"/>
                    </a:lnTo>
                    <a:lnTo>
                      <a:pt x="50" y="60"/>
                    </a:lnTo>
                    <a:lnTo>
                      <a:pt x="50" y="61"/>
                    </a:lnTo>
                    <a:lnTo>
                      <a:pt x="51" y="61"/>
                    </a:lnTo>
                    <a:lnTo>
                      <a:pt x="51" y="60"/>
                    </a:lnTo>
                    <a:lnTo>
                      <a:pt x="53" y="60"/>
                    </a:lnTo>
                    <a:lnTo>
                      <a:pt x="53" y="58"/>
                    </a:lnTo>
                    <a:lnTo>
                      <a:pt x="55" y="58"/>
                    </a:lnTo>
                    <a:lnTo>
                      <a:pt x="57" y="56"/>
                    </a:lnTo>
                    <a:lnTo>
                      <a:pt x="57" y="58"/>
                    </a:lnTo>
                    <a:lnTo>
                      <a:pt x="59" y="58"/>
                    </a:lnTo>
                    <a:lnTo>
                      <a:pt x="59" y="60"/>
                    </a:lnTo>
                    <a:lnTo>
                      <a:pt x="61" y="60"/>
                    </a:lnTo>
                    <a:lnTo>
                      <a:pt x="61" y="61"/>
                    </a:lnTo>
                    <a:lnTo>
                      <a:pt x="63" y="61"/>
                    </a:lnTo>
                    <a:lnTo>
                      <a:pt x="63" y="60"/>
                    </a:lnTo>
                    <a:lnTo>
                      <a:pt x="65" y="60"/>
                    </a:lnTo>
                    <a:lnTo>
                      <a:pt x="65" y="58"/>
                    </a:lnTo>
                    <a:lnTo>
                      <a:pt x="63" y="58"/>
                    </a:lnTo>
                    <a:lnTo>
                      <a:pt x="63" y="56"/>
                    </a:lnTo>
                    <a:lnTo>
                      <a:pt x="65" y="56"/>
                    </a:lnTo>
                    <a:lnTo>
                      <a:pt x="63" y="54"/>
                    </a:lnTo>
                    <a:lnTo>
                      <a:pt x="63" y="52"/>
                    </a:lnTo>
                    <a:lnTo>
                      <a:pt x="65" y="52"/>
                    </a:lnTo>
                    <a:lnTo>
                      <a:pt x="67" y="52"/>
                    </a:lnTo>
                    <a:lnTo>
                      <a:pt x="67" y="50"/>
                    </a:lnTo>
                    <a:lnTo>
                      <a:pt x="67" y="48"/>
                    </a:lnTo>
                    <a:lnTo>
                      <a:pt x="67" y="50"/>
                    </a:lnTo>
                    <a:lnTo>
                      <a:pt x="65" y="50"/>
                    </a:lnTo>
                    <a:lnTo>
                      <a:pt x="65" y="48"/>
                    </a:lnTo>
                    <a:lnTo>
                      <a:pt x="67" y="48"/>
                    </a:lnTo>
                    <a:lnTo>
                      <a:pt x="67" y="46"/>
                    </a:lnTo>
                    <a:lnTo>
                      <a:pt x="69" y="46"/>
                    </a:lnTo>
                    <a:lnTo>
                      <a:pt x="69" y="44"/>
                    </a:lnTo>
                    <a:lnTo>
                      <a:pt x="71" y="42"/>
                    </a:lnTo>
                    <a:lnTo>
                      <a:pt x="71" y="36"/>
                    </a:lnTo>
                    <a:lnTo>
                      <a:pt x="71" y="35"/>
                    </a:lnTo>
                    <a:lnTo>
                      <a:pt x="75" y="31"/>
                    </a:lnTo>
                    <a:lnTo>
                      <a:pt x="78" y="29"/>
                    </a:lnTo>
                    <a:lnTo>
                      <a:pt x="82" y="21"/>
                    </a:lnTo>
                    <a:lnTo>
                      <a:pt x="88" y="13"/>
                    </a:lnTo>
                    <a:lnTo>
                      <a:pt x="90" y="8"/>
                    </a:lnTo>
                    <a:lnTo>
                      <a:pt x="92" y="4"/>
                    </a:lnTo>
                    <a:lnTo>
                      <a:pt x="98" y="2"/>
                    </a:lnTo>
                    <a:lnTo>
                      <a:pt x="101" y="2"/>
                    </a:lnTo>
                    <a:lnTo>
                      <a:pt x="109" y="0"/>
                    </a:lnTo>
                    <a:lnTo>
                      <a:pt x="111" y="0"/>
                    </a:lnTo>
                    <a:lnTo>
                      <a:pt x="113" y="0"/>
                    </a:lnTo>
                    <a:lnTo>
                      <a:pt x="115" y="2"/>
                    </a:lnTo>
                    <a:lnTo>
                      <a:pt x="117" y="2"/>
                    </a:lnTo>
                    <a:lnTo>
                      <a:pt x="117" y="4"/>
                    </a:lnTo>
                    <a:lnTo>
                      <a:pt x="117" y="6"/>
                    </a:lnTo>
                    <a:lnTo>
                      <a:pt x="119" y="6"/>
                    </a:lnTo>
                    <a:lnTo>
                      <a:pt x="119" y="8"/>
                    </a:lnTo>
                    <a:lnTo>
                      <a:pt x="119" y="10"/>
                    </a:lnTo>
                    <a:lnTo>
                      <a:pt x="119" y="11"/>
                    </a:lnTo>
                    <a:lnTo>
                      <a:pt x="119" y="13"/>
                    </a:lnTo>
                    <a:lnTo>
                      <a:pt x="117" y="13"/>
                    </a:lnTo>
                    <a:lnTo>
                      <a:pt x="119" y="13"/>
                    </a:lnTo>
                    <a:lnTo>
                      <a:pt x="119" y="15"/>
                    </a:lnTo>
                    <a:lnTo>
                      <a:pt x="117" y="15"/>
                    </a:lnTo>
                    <a:lnTo>
                      <a:pt x="117" y="17"/>
                    </a:lnTo>
                    <a:lnTo>
                      <a:pt x="117" y="19"/>
                    </a:lnTo>
                    <a:lnTo>
                      <a:pt x="119" y="19"/>
                    </a:lnTo>
                    <a:lnTo>
                      <a:pt x="119" y="17"/>
                    </a:lnTo>
                    <a:lnTo>
                      <a:pt x="119" y="19"/>
                    </a:lnTo>
                    <a:lnTo>
                      <a:pt x="121" y="19"/>
                    </a:lnTo>
                    <a:lnTo>
                      <a:pt x="121" y="17"/>
                    </a:lnTo>
                    <a:lnTo>
                      <a:pt x="121" y="19"/>
                    </a:lnTo>
                    <a:lnTo>
                      <a:pt x="121" y="21"/>
                    </a:lnTo>
                    <a:lnTo>
                      <a:pt x="121" y="19"/>
                    </a:lnTo>
                    <a:lnTo>
                      <a:pt x="123" y="19"/>
                    </a:lnTo>
                    <a:lnTo>
                      <a:pt x="123" y="21"/>
                    </a:lnTo>
                    <a:lnTo>
                      <a:pt x="124" y="21"/>
                    </a:lnTo>
                    <a:lnTo>
                      <a:pt x="124" y="23"/>
                    </a:lnTo>
                    <a:lnTo>
                      <a:pt x="126" y="23"/>
                    </a:lnTo>
                    <a:lnTo>
                      <a:pt x="126" y="25"/>
                    </a:lnTo>
                    <a:lnTo>
                      <a:pt x="128" y="25"/>
                    </a:lnTo>
                    <a:lnTo>
                      <a:pt x="126" y="25"/>
                    </a:lnTo>
                    <a:lnTo>
                      <a:pt x="126" y="27"/>
                    </a:lnTo>
                    <a:lnTo>
                      <a:pt x="128" y="27"/>
                    </a:lnTo>
                    <a:lnTo>
                      <a:pt x="128" y="29"/>
                    </a:lnTo>
                    <a:lnTo>
                      <a:pt x="130" y="31"/>
                    </a:lnTo>
                    <a:lnTo>
                      <a:pt x="130" y="33"/>
                    </a:lnTo>
                    <a:lnTo>
                      <a:pt x="132" y="35"/>
                    </a:lnTo>
                    <a:lnTo>
                      <a:pt x="132" y="33"/>
                    </a:lnTo>
                    <a:lnTo>
                      <a:pt x="132" y="35"/>
                    </a:lnTo>
                    <a:lnTo>
                      <a:pt x="134" y="35"/>
                    </a:lnTo>
                    <a:lnTo>
                      <a:pt x="134" y="33"/>
                    </a:lnTo>
                    <a:lnTo>
                      <a:pt x="134" y="35"/>
                    </a:lnTo>
                    <a:lnTo>
                      <a:pt x="132" y="36"/>
                    </a:lnTo>
                    <a:lnTo>
                      <a:pt x="132" y="38"/>
                    </a:lnTo>
                    <a:lnTo>
                      <a:pt x="130" y="38"/>
                    </a:lnTo>
                    <a:lnTo>
                      <a:pt x="132" y="38"/>
                    </a:lnTo>
                    <a:lnTo>
                      <a:pt x="132" y="40"/>
                    </a:lnTo>
                    <a:lnTo>
                      <a:pt x="132" y="42"/>
                    </a:lnTo>
                    <a:lnTo>
                      <a:pt x="134" y="42"/>
                    </a:lnTo>
                    <a:lnTo>
                      <a:pt x="134" y="44"/>
                    </a:lnTo>
                    <a:lnTo>
                      <a:pt x="134" y="42"/>
                    </a:lnTo>
                    <a:lnTo>
                      <a:pt x="134" y="44"/>
                    </a:lnTo>
                    <a:lnTo>
                      <a:pt x="136" y="44"/>
                    </a:lnTo>
                    <a:lnTo>
                      <a:pt x="134" y="44"/>
                    </a:lnTo>
                    <a:lnTo>
                      <a:pt x="136" y="44"/>
                    </a:lnTo>
                    <a:lnTo>
                      <a:pt x="134" y="46"/>
                    </a:lnTo>
                    <a:lnTo>
                      <a:pt x="134" y="44"/>
                    </a:lnTo>
                    <a:lnTo>
                      <a:pt x="134" y="46"/>
                    </a:lnTo>
                    <a:lnTo>
                      <a:pt x="134" y="48"/>
                    </a:lnTo>
                    <a:lnTo>
                      <a:pt x="132" y="48"/>
                    </a:lnTo>
                    <a:lnTo>
                      <a:pt x="130" y="48"/>
                    </a:lnTo>
                    <a:lnTo>
                      <a:pt x="130" y="50"/>
                    </a:lnTo>
                    <a:lnTo>
                      <a:pt x="132" y="50"/>
                    </a:lnTo>
                    <a:lnTo>
                      <a:pt x="132" y="52"/>
                    </a:lnTo>
                    <a:lnTo>
                      <a:pt x="134" y="52"/>
                    </a:lnTo>
                    <a:lnTo>
                      <a:pt x="132" y="52"/>
                    </a:lnTo>
                    <a:lnTo>
                      <a:pt x="132" y="54"/>
                    </a:lnTo>
                    <a:lnTo>
                      <a:pt x="132" y="52"/>
                    </a:lnTo>
                    <a:lnTo>
                      <a:pt x="130" y="52"/>
                    </a:lnTo>
                    <a:lnTo>
                      <a:pt x="130" y="54"/>
                    </a:lnTo>
                    <a:lnTo>
                      <a:pt x="132" y="54"/>
                    </a:lnTo>
                    <a:lnTo>
                      <a:pt x="132" y="56"/>
                    </a:lnTo>
                    <a:lnTo>
                      <a:pt x="132" y="54"/>
                    </a:lnTo>
                    <a:lnTo>
                      <a:pt x="134" y="54"/>
                    </a:lnTo>
                    <a:lnTo>
                      <a:pt x="134" y="56"/>
                    </a:lnTo>
                    <a:lnTo>
                      <a:pt x="134" y="58"/>
                    </a:lnTo>
                    <a:lnTo>
                      <a:pt x="136" y="58"/>
                    </a:lnTo>
                    <a:lnTo>
                      <a:pt x="136" y="60"/>
                    </a:lnTo>
                    <a:lnTo>
                      <a:pt x="134" y="60"/>
                    </a:lnTo>
                    <a:lnTo>
                      <a:pt x="134" y="61"/>
                    </a:lnTo>
                    <a:lnTo>
                      <a:pt x="132" y="61"/>
                    </a:lnTo>
                    <a:lnTo>
                      <a:pt x="132" y="63"/>
                    </a:lnTo>
                    <a:lnTo>
                      <a:pt x="134" y="65"/>
                    </a:lnTo>
                    <a:lnTo>
                      <a:pt x="136" y="65"/>
                    </a:lnTo>
                    <a:lnTo>
                      <a:pt x="136" y="67"/>
                    </a:lnTo>
                    <a:lnTo>
                      <a:pt x="134" y="67"/>
                    </a:lnTo>
                    <a:lnTo>
                      <a:pt x="136" y="67"/>
                    </a:lnTo>
                    <a:lnTo>
                      <a:pt x="134" y="67"/>
                    </a:lnTo>
                    <a:lnTo>
                      <a:pt x="136" y="67"/>
                    </a:lnTo>
                    <a:lnTo>
                      <a:pt x="134" y="67"/>
                    </a:lnTo>
                    <a:lnTo>
                      <a:pt x="134" y="69"/>
                    </a:lnTo>
                    <a:lnTo>
                      <a:pt x="136" y="69"/>
                    </a:lnTo>
                    <a:lnTo>
                      <a:pt x="138" y="71"/>
                    </a:lnTo>
                    <a:lnTo>
                      <a:pt x="138" y="69"/>
                    </a:lnTo>
                    <a:lnTo>
                      <a:pt x="140" y="6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85">
                <a:extLst>
                  <a:ext uri="{FF2B5EF4-FFF2-40B4-BE49-F238E27FC236}">
                    <a16:creationId xmlns="" xmlns:a16="http://schemas.microsoft.com/office/drawing/2014/main" id="{4FF3DF33-73B7-45B2-8823-7BC227E8CC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4463" y="4497388"/>
                <a:ext cx="104775" cy="180975"/>
              </a:xfrm>
              <a:custGeom>
                <a:avLst/>
                <a:gdLst>
                  <a:gd name="T0" fmla="*/ 20 w 66"/>
                  <a:gd name="T1" fmla="*/ 14 h 114"/>
                  <a:gd name="T2" fmla="*/ 31 w 66"/>
                  <a:gd name="T3" fmla="*/ 16 h 114"/>
                  <a:gd name="T4" fmla="*/ 33 w 66"/>
                  <a:gd name="T5" fmla="*/ 16 h 114"/>
                  <a:gd name="T6" fmla="*/ 41 w 66"/>
                  <a:gd name="T7" fmla="*/ 12 h 114"/>
                  <a:gd name="T8" fmla="*/ 47 w 66"/>
                  <a:gd name="T9" fmla="*/ 16 h 114"/>
                  <a:gd name="T10" fmla="*/ 47 w 66"/>
                  <a:gd name="T11" fmla="*/ 20 h 114"/>
                  <a:gd name="T12" fmla="*/ 49 w 66"/>
                  <a:gd name="T13" fmla="*/ 20 h 114"/>
                  <a:gd name="T14" fmla="*/ 52 w 66"/>
                  <a:gd name="T15" fmla="*/ 27 h 114"/>
                  <a:gd name="T16" fmla="*/ 58 w 66"/>
                  <a:gd name="T17" fmla="*/ 29 h 114"/>
                  <a:gd name="T18" fmla="*/ 62 w 66"/>
                  <a:gd name="T19" fmla="*/ 29 h 114"/>
                  <a:gd name="T20" fmla="*/ 62 w 66"/>
                  <a:gd name="T21" fmla="*/ 35 h 114"/>
                  <a:gd name="T22" fmla="*/ 64 w 66"/>
                  <a:gd name="T23" fmla="*/ 39 h 114"/>
                  <a:gd name="T24" fmla="*/ 66 w 66"/>
                  <a:gd name="T25" fmla="*/ 43 h 114"/>
                  <a:gd name="T26" fmla="*/ 64 w 66"/>
                  <a:gd name="T27" fmla="*/ 47 h 114"/>
                  <a:gd name="T28" fmla="*/ 64 w 66"/>
                  <a:gd name="T29" fmla="*/ 49 h 114"/>
                  <a:gd name="T30" fmla="*/ 64 w 66"/>
                  <a:gd name="T31" fmla="*/ 56 h 114"/>
                  <a:gd name="T32" fmla="*/ 62 w 66"/>
                  <a:gd name="T33" fmla="*/ 66 h 114"/>
                  <a:gd name="T34" fmla="*/ 60 w 66"/>
                  <a:gd name="T35" fmla="*/ 72 h 114"/>
                  <a:gd name="T36" fmla="*/ 58 w 66"/>
                  <a:gd name="T37" fmla="*/ 79 h 114"/>
                  <a:gd name="T38" fmla="*/ 56 w 66"/>
                  <a:gd name="T39" fmla="*/ 74 h 114"/>
                  <a:gd name="T40" fmla="*/ 58 w 66"/>
                  <a:gd name="T41" fmla="*/ 60 h 114"/>
                  <a:gd name="T42" fmla="*/ 54 w 66"/>
                  <a:gd name="T43" fmla="*/ 58 h 114"/>
                  <a:gd name="T44" fmla="*/ 49 w 66"/>
                  <a:gd name="T45" fmla="*/ 64 h 114"/>
                  <a:gd name="T46" fmla="*/ 47 w 66"/>
                  <a:gd name="T47" fmla="*/ 70 h 114"/>
                  <a:gd name="T48" fmla="*/ 45 w 66"/>
                  <a:gd name="T49" fmla="*/ 75 h 114"/>
                  <a:gd name="T50" fmla="*/ 37 w 66"/>
                  <a:gd name="T51" fmla="*/ 85 h 114"/>
                  <a:gd name="T52" fmla="*/ 33 w 66"/>
                  <a:gd name="T53" fmla="*/ 93 h 114"/>
                  <a:gd name="T54" fmla="*/ 31 w 66"/>
                  <a:gd name="T55" fmla="*/ 99 h 114"/>
                  <a:gd name="T56" fmla="*/ 25 w 66"/>
                  <a:gd name="T57" fmla="*/ 106 h 114"/>
                  <a:gd name="T58" fmla="*/ 20 w 66"/>
                  <a:gd name="T59" fmla="*/ 112 h 114"/>
                  <a:gd name="T60" fmla="*/ 14 w 66"/>
                  <a:gd name="T61" fmla="*/ 112 h 114"/>
                  <a:gd name="T62" fmla="*/ 14 w 66"/>
                  <a:gd name="T63" fmla="*/ 106 h 114"/>
                  <a:gd name="T64" fmla="*/ 10 w 66"/>
                  <a:gd name="T65" fmla="*/ 102 h 114"/>
                  <a:gd name="T66" fmla="*/ 4 w 66"/>
                  <a:gd name="T67" fmla="*/ 95 h 114"/>
                  <a:gd name="T68" fmla="*/ 4 w 66"/>
                  <a:gd name="T69" fmla="*/ 87 h 114"/>
                  <a:gd name="T70" fmla="*/ 8 w 66"/>
                  <a:gd name="T71" fmla="*/ 77 h 114"/>
                  <a:gd name="T72" fmla="*/ 12 w 66"/>
                  <a:gd name="T73" fmla="*/ 77 h 114"/>
                  <a:gd name="T74" fmla="*/ 12 w 66"/>
                  <a:gd name="T75" fmla="*/ 79 h 114"/>
                  <a:gd name="T76" fmla="*/ 14 w 66"/>
                  <a:gd name="T77" fmla="*/ 87 h 114"/>
                  <a:gd name="T78" fmla="*/ 22 w 66"/>
                  <a:gd name="T79" fmla="*/ 83 h 114"/>
                  <a:gd name="T80" fmla="*/ 24 w 66"/>
                  <a:gd name="T81" fmla="*/ 77 h 114"/>
                  <a:gd name="T82" fmla="*/ 25 w 66"/>
                  <a:gd name="T83" fmla="*/ 70 h 114"/>
                  <a:gd name="T84" fmla="*/ 22 w 66"/>
                  <a:gd name="T85" fmla="*/ 70 h 114"/>
                  <a:gd name="T86" fmla="*/ 25 w 66"/>
                  <a:gd name="T87" fmla="*/ 64 h 114"/>
                  <a:gd name="T88" fmla="*/ 29 w 66"/>
                  <a:gd name="T89" fmla="*/ 54 h 114"/>
                  <a:gd name="T90" fmla="*/ 37 w 66"/>
                  <a:gd name="T91" fmla="*/ 50 h 114"/>
                  <a:gd name="T92" fmla="*/ 35 w 66"/>
                  <a:gd name="T93" fmla="*/ 49 h 114"/>
                  <a:gd name="T94" fmla="*/ 41 w 66"/>
                  <a:gd name="T95" fmla="*/ 47 h 114"/>
                  <a:gd name="T96" fmla="*/ 43 w 66"/>
                  <a:gd name="T97" fmla="*/ 43 h 114"/>
                  <a:gd name="T98" fmla="*/ 45 w 66"/>
                  <a:gd name="T99" fmla="*/ 39 h 114"/>
                  <a:gd name="T100" fmla="*/ 43 w 66"/>
                  <a:gd name="T101" fmla="*/ 29 h 114"/>
                  <a:gd name="T102" fmla="*/ 37 w 66"/>
                  <a:gd name="T103" fmla="*/ 27 h 114"/>
                  <a:gd name="T104" fmla="*/ 39 w 66"/>
                  <a:gd name="T105" fmla="*/ 22 h 114"/>
                  <a:gd name="T106" fmla="*/ 33 w 66"/>
                  <a:gd name="T107" fmla="*/ 22 h 114"/>
                  <a:gd name="T108" fmla="*/ 33 w 66"/>
                  <a:gd name="T109" fmla="*/ 27 h 114"/>
                  <a:gd name="T110" fmla="*/ 29 w 66"/>
                  <a:gd name="T111" fmla="*/ 35 h 114"/>
                  <a:gd name="T112" fmla="*/ 24 w 66"/>
                  <a:gd name="T113" fmla="*/ 33 h 114"/>
                  <a:gd name="T114" fmla="*/ 18 w 66"/>
                  <a:gd name="T115" fmla="*/ 27 h 114"/>
                  <a:gd name="T116" fmla="*/ 10 w 66"/>
                  <a:gd name="T117" fmla="*/ 18 h 114"/>
                  <a:gd name="T118" fmla="*/ 8 w 66"/>
                  <a:gd name="T119" fmla="*/ 10 h 114"/>
                  <a:gd name="T120" fmla="*/ 4 w 66"/>
                  <a:gd name="T121" fmla="*/ 4 h 114"/>
                  <a:gd name="T122" fmla="*/ 10 w 66"/>
                  <a:gd name="T123" fmla="*/ 4 h 114"/>
                  <a:gd name="T124" fmla="*/ 14 w 66"/>
                  <a:gd name="T125" fmla="*/ 6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6" h="114">
                    <a:moveTo>
                      <a:pt x="16" y="10"/>
                    </a:moveTo>
                    <a:lnTo>
                      <a:pt x="16" y="12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18" y="14"/>
                    </a:lnTo>
                    <a:lnTo>
                      <a:pt x="20" y="14"/>
                    </a:lnTo>
                    <a:lnTo>
                      <a:pt x="22" y="16"/>
                    </a:lnTo>
                    <a:lnTo>
                      <a:pt x="24" y="16"/>
                    </a:lnTo>
                    <a:lnTo>
                      <a:pt x="25" y="18"/>
                    </a:lnTo>
                    <a:lnTo>
                      <a:pt x="27" y="18"/>
                    </a:lnTo>
                    <a:lnTo>
                      <a:pt x="29" y="18"/>
                    </a:lnTo>
                    <a:lnTo>
                      <a:pt x="31" y="16"/>
                    </a:lnTo>
                    <a:lnTo>
                      <a:pt x="31" y="14"/>
                    </a:lnTo>
                    <a:lnTo>
                      <a:pt x="31" y="16"/>
                    </a:lnTo>
                    <a:lnTo>
                      <a:pt x="33" y="14"/>
                    </a:lnTo>
                    <a:lnTo>
                      <a:pt x="33" y="16"/>
                    </a:lnTo>
                    <a:lnTo>
                      <a:pt x="33" y="14"/>
                    </a:lnTo>
                    <a:lnTo>
                      <a:pt x="33" y="16"/>
                    </a:lnTo>
                    <a:lnTo>
                      <a:pt x="35" y="14"/>
                    </a:lnTo>
                    <a:lnTo>
                      <a:pt x="37" y="14"/>
                    </a:lnTo>
                    <a:lnTo>
                      <a:pt x="39" y="14"/>
                    </a:lnTo>
                    <a:lnTo>
                      <a:pt x="39" y="12"/>
                    </a:lnTo>
                    <a:lnTo>
                      <a:pt x="41" y="14"/>
                    </a:lnTo>
                    <a:lnTo>
                      <a:pt x="41" y="12"/>
                    </a:lnTo>
                    <a:lnTo>
                      <a:pt x="43" y="12"/>
                    </a:lnTo>
                    <a:lnTo>
                      <a:pt x="45" y="12"/>
                    </a:lnTo>
                    <a:lnTo>
                      <a:pt x="47" y="14"/>
                    </a:lnTo>
                    <a:lnTo>
                      <a:pt x="47" y="16"/>
                    </a:lnTo>
                    <a:lnTo>
                      <a:pt x="47" y="14"/>
                    </a:lnTo>
                    <a:lnTo>
                      <a:pt x="47" y="16"/>
                    </a:lnTo>
                    <a:lnTo>
                      <a:pt x="45" y="16"/>
                    </a:lnTo>
                    <a:lnTo>
                      <a:pt x="45" y="18"/>
                    </a:lnTo>
                    <a:lnTo>
                      <a:pt x="47" y="18"/>
                    </a:lnTo>
                    <a:lnTo>
                      <a:pt x="45" y="18"/>
                    </a:lnTo>
                    <a:lnTo>
                      <a:pt x="47" y="18"/>
                    </a:lnTo>
                    <a:lnTo>
                      <a:pt x="47" y="20"/>
                    </a:lnTo>
                    <a:lnTo>
                      <a:pt x="49" y="20"/>
                    </a:lnTo>
                    <a:lnTo>
                      <a:pt x="47" y="20"/>
                    </a:lnTo>
                    <a:lnTo>
                      <a:pt x="47" y="22"/>
                    </a:lnTo>
                    <a:lnTo>
                      <a:pt x="49" y="20"/>
                    </a:lnTo>
                    <a:lnTo>
                      <a:pt x="49" y="22"/>
                    </a:lnTo>
                    <a:lnTo>
                      <a:pt x="49" y="20"/>
                    </a:lnTo>
                    <a:lnTo>
                      <a:pt x="49" y="22"/>
                    </a:lnTo>
                    <a:lnTo>
                      <a:pt x="49" y="24"/>
                    </a:lnTo>
                    <a:lnTo>
                      <a:pt x="50" y="24"/>
                    </a:lnTo>
                    <a:lnTo>
                      <a:pt x="50" y="25"/>
                    </a:lnTo>
                    <a:lnTo>
                      <a:pt x="52" y="25"/>
                    </a:lnTo>
                    <a:lnTo>
                      <a:pt x="52" y="27"/>
                    </a:lnTo>
                    <a:lnTo>
                      <a:pt x="54" y="27"/>
                    </a:lnTo>
                    <a:lnTo>
                      <a:pt x="56" y="27"/>
                    </a:lnTo>
                    <a:lnTo>
                      <a:pt x="56" y="29"/>
                    </a:lnTo>
                    <a:lnTo>
                      <a:pt x="56" y="27"/>
                    </a:lnTo>
                    <a:lnTo>
                      <a:pt x="56" y="29"/>
                    </a:lnTo>
                    <a:lnTo>
                      <a:pt x="58" y="29"/>
                    </a:lnTo>
                    <a:lnTo>
                      <a:pt x="58" y="27"/>
                    </a:lnTo>
                    <a:lnTo>
                      <a:pt x="58" y="29"/>
                    </a:lnTo>
                    <a:lnTo>
                      <a:pt x="58" y="27"/>
                    </a:lnTo>
                    <a:lnTo>
                      <a:pt x="58" y="29"/>
                    </a:lnTo>
                    <a:lnTo>
                      <a:pt x="60" y="29"/>
                    </a:lnTo>
                    <a:lnTo>
                      <a:pt x="62" y="29"/>
                    </a:lnTo>
                    <a:lnTo>
                      <a:pt x="60" y="29"/>
                    </a:lnTo>
                    <a:lnTo>
                      <a:pt x="62" y="31"/>
                    </a:lnTo>
                    <a:lnTo>
                      <a:pt x="62" y="33"/>
                    </a:lnTo>
                    <a:lnTo>
                      <a:pt x="64" y="33"/>
                    </a:lnTo>
                    <a:lnTo>
                      <a:pt x="64" y="35"/>
                    </a:lnTo>
                    <a:lnTo>
                      <a:pt x="62" y="35"/>
                    </a:lnTo>
                    <a:lnTo>
                      <a:pt x="64" y="35"/>
                    </a:lnTo>
                    <a:lnTo>
                      <a:pt x="62" y="35"/>
                    </a:lnTo>
                    <a:lnTo>
                      <a:pt x="64" y="37"/>
                    </a:lnTo>
                    <a:lnTo>
                      <a:pt x="64" y="35"/>
                    </a:lnTo>
                    <a:lnTo>
                      <a:pt x="64" y="37"/>
                    </a:lnTo>
                    <a:lnTo>
                      <a:pt x="64" y="39"/>
                    </a:lnTo>
                    <a:lnTo>
                      <a:pt x="64" y="37"/>
                    </a:lnTo>
                    <a:lnTo>
                      <a:pt x="64" y="39"/>
                    </a:lnTo>
                    <a:lnTo>
                      <a:pt x="64" y="41"/>
                    </a:lnTo>
                    <a:lnTo>
                      <a:pt x="66" y="41"/>
                    </a:lnTo>
                    <a:lnTo>
                      <a:pt x="64" y="43"/>
                    </a:lnTo>
                    <a:lnTo>
                      <a:pt x="66" y="43"/>
                    </a:lnTo>
                    <a:lnTo>
                      <a:pt x="64" y="43"/>
                    </a:lnTo>
                    <a:lnTo>
                      <a:pt x="66" y="43"/>
                    </a:lnTo>
                    <a:lnTo>
                      <a:pt x="64" y="43"/>
                    </a:lnTo>
                    <a:lnTo>
                      <a:pt x="66" y="45"/>
                    </a:lnTo>
                    <a:lnTo>
                      <a:pt x="64" y="45"/>
                    </a:lnTo>
                    <a:lnTo>
                      <a:pt x="64" y="47"/>
                    </a:lnTo>
                    <a:lnTo>
                      <a:pt x="66" y="45"/>
                    </a:lnTo>
                    <a:lnTo>
                      <a:pt x="66" y="47"/>
                    </a:lnTo>
                    <a:lnTo>
                      <a:pt x="64" y="47"/>
                    </a:lnTo>
                    <a:lnTo>
                      <a:pt x="66" y="47"/>
                    </a:lnTo>
                    <a:lnTo>
                      <a:pt x="64" y="47"/>
                    </a:lnTo>
                    <a:lnTo>
                      <a:pt x="64" y="49"/>
                    </a:lnTo>
                    <a:lnTo>
                      <a:pt x="66" y="50"/>
                    </a:lnTo>
                    <a:lnTo>
                      <a:pt x="64" y="50"/>
                    </a:lnTo>
                    <a:lnTo>
                      <a:pt x="66" y="52"/>
                    </a:lnTo>
                    <a:lnTo>
                      <a:pt x="64" y="52"/>
                    </a:lnTo>
                    <a:lnTo>
                      <a:pt x="64" y="54"/>
                    </a:lnTo>
                    <a:lnTo>
                      <a:pt x="64" y="56"/>
                    </a:lnTo>
                    <a:lnTo>
                      <a:pt x="64" y="58"/>
                    </a:lnTo>
                    <a:lnTo>
                      <a:pt x="64" y="60"/>
                    </a:lnTo>
                    <a:lnTo>
                      <a:pt x="64" y="62"/>
                    </a:lnTo>
                    <a:lnTo>
                      <a:pt x="62" y="62"/>
                    </a:lnTo>
                    <a:lnTo>
                      <a:pt x="62" y="64"/>
                    </a:lnTo>
                    <a:lnTo>
                      <a:pt x="62" y="66"/>
                    </a:lnTo>
                    <a:lnTo>
                      <a:pt x="62" y="68"/>
                    </a:lnTo>
                    <a:lnTo>
                      <a:pt x="60" y="68"/>
                    </a:lnTo>
                    <a:lnTo>
                      <a:pt x="62" y="68"/>
                    </a:lnTo>
                    <a:lnTo>
                      <a:pt x="62" y="70"/>
                    </a:lnTo>
                    <a:lnTo>
                      <a:pt x="62" y="72"/>
                    </a:lnTo>
                    <a:lnTo>
                      <a:pt x="60" y="72"/>
                    </a:lnTo>
                    <a:lnTo>
                      <a:pt x="60" y="74"/>
                    </a:lnTo>
                    <a:lnTo>
                      <a:pt x="58" y="75"/>
                    </a:lnTo>
                    <a:lnTo>
                      <a:pt x="60" y="75"/>
                    </a:lnTo>
                    <a:lnTo>
                      <a:pt x="58" y="75"/>
                    </a:lnTo>
                    <a:lnTo>
                      <a:pt x="58" y="77"/>
                    </a:lnTo>
                    <a:lnTo>
                      <a:pt x="58" y="79"/>
                    </a:lnTo>
                    <a:lnTo>
                      <a:pt x="58" y="81"/>
                    </a:lnTo>
                    <a:lnTo>
                      <a:pt x="52" y="79"/>
                    </a:lnTo>
                    <a:lnTo>
                      <a:pt x="52" y="77"/>
                    </a:lnTo>
                    <a:lnTo>
                      <a:pt x="54" y="77"/>
                    </a:lnTo>
                    <a:lnTo>
                      <a:pt x="56" y="75"/>
                    </a:lnTo>
                    <a:lnTo>
                      <a:pt x="56" y="74"/>
                    </a:lnTo>
                    <a:lnTo>
                      <a:pt x="56" y="72"/>
                    </a:lnTo>
                    <a:lnTo>
                      <a:pt x="58" y="68"/>
                    </a:lnTo>
                    <a:lnTo>
                      <a:pt x="58" y="66"/>
                    </a:lnTo>
                    <a:lnTo>
                      <a:pt x="56" y="66"/>
                    </a:lnTo>
                    <a:lnTo>
                      <a:pt x="60" y="60"/>
                    </a:lnTo>
                    <a:lnTo>
                      <a:pt x="58" y="60"/>
                    </a:lnTo>
                    <a:lnTo>
                      <a:pt x="58" y="58"/>
                    </a:lnTo>
                    <a:lnTo>
                      <a:pt x="60" y="58"/>
                    </a:lnTo>
                    <a:lnTo>
                      <a:pt x="56" y="56"/>
                    </a:lnTo>
                    <a:lnTo>
                      <a:pt x="56" y="58"/>
                    </a:lnTo>
                    <a:lnTo>
                      <a:pt x="54" y="56"/>
                    </a:lnTo>
                    <a:lnTo>
                      <a:pt x="54" y="58"/>
                    </a:lnTo>
                    <a:lnTo>
                      <a:pt x="52" y="58"/>
                    </a:lnTo>
                    <a:lnTo>
                      <a:pt x="52" y="60"/>
                    </a:lnTo>
                    <a:lnTo>
                      <a:pt x="50" y="60"/>
                    </a:lnTo>
                    <a:lnTo>
                      <a:pt x="49" y="60"/>
                    </a:lnTo>
                    <a:lnTo>
                      <a:pt x="49" y="62"/>
                    </a:lnTo>
                    <a:lnTo>
                      <a:pt x="49" y="64"/>
                    </a:lnTo>
                    <a:lnTo>
                      <a:pt x="47" y="64"/>
                    </a:lnTo>
                    <a:lnTo>
                      <a:pt x="47" y="66"/>
                    </a:lnTo>
                    <a:lnTo>
                      <a:pt x="47" y="68"/>
                    </a:lnTo>
                    <a:lnTo>
                      <a:pt x="47" y="70"/>
                    </a:lnTo>
                    <a:lnTo>
                      <a:pt x="47" y="72"/>
                    </a:lnTo>
                    <a:lnTo>
                      <a:pt x="47" y="70"/>
                    </a:lnTo>
                    <a:lnTo>
                      <a:pt x="47" y="72"/>
                    </a:lnTo>
                    <a:lnTo>
                      <a:pt x="45" y="72"/>
                    </a:lnTo>
                    <a:lnTo>
                      <a:pt x="45" y="74"/>
                    </a:lnTo>
                    <a:lnTo>
                      <a:pt x="45" y="75"/>
                    </a:lnTo>
                    <a:lnTo>
                      <a:pt x="43" y="75"/>
                    </a:lnTo>
                    <a:lnTo>
                      <a:pt x="45" y="75"/>
                    </a:lnTo>
                    <a:lnTo>
                      <a:pt x="43" y="81"/>
                    </a:lnTo>
                    <a:lnTo>
                      <a:pt x="43" y="83"/>
                    </a:lnTo>
                    <a:lnTo>
                      <a:pt x="41" y="83"/>
                    </a:lnTo>
                    <a:lnTo>
                      <a:pt x="39" y="83"/>
                    </a:lnTo>
                    <a:lnTo>
                      <a:pt x="39" y="85"/>
                    </a:lnTo>
                    <a:lnTo>
                      <a:pt x="37" y="85"/>
                    </a:lnTo>
                    <a:lnTo>
                      <a:pt x="35" y="85"/>
                    </a:lnTo>
                    <a:lnTo>
                      <a:pt x="35" y="87"/>
                    </a:lnTo>
                    <a:lnTo>
                      <a:pt x="35" y="89"/>
                    </a:lnTo>
                    <a:lnTo>
                      <a:pt x="33" y="89"/>
                    </a:lnTo>
                    <a:lnTo>
                      <a:pt x="33" y="91"/>
                    </a:lnTo>
                    <a:lnTo>
                      <a:pt x="33" y="93"/>
                    </a:lnTo>
                    <a:lnTo>
                      <a:pt x="33" y="95"/>
                    </a:lnTo>
                    <a:lnTo>
                      <a:pt x="31" y="95"/>
                    </a:lnTo>
                    <a:lnTo>
                      <a:pt x="31" y="97"/>
                    </a:lnTo>
                    <a:lnTo>
                      <a:pt x="29" y="97"/>
                    </a:lnTo>
                    <a:lnTo>
                      <a:pt x="31" y="97"/>
                    </a:lnTo>
                    <a:lnTo>
                      <a:pt x="31" y="99"/>
                    </a:lnTo>
                    <a:lnTo>
                      <a:pt x="29" y="99"/>
                    </a:lnTo>
                    <a:lnTo>
                      <a:pt x="29" y="100"/>
                    </a:lnTo>
                    <a:lnTo>
                      <a:pt x="29" y="102"/>
                    </a:lnTo>
                    <a:lnTo>
                      <a:pt x="27" y="104"/>
                    </a:lnTo>
                    <a:lnTo>
                      <a:pt x="27" y="106"/>
                    </a:lnTo>
                    <a:lnTo>
                      <a:pt x="25" y="106"/>
                    </a:lnTo>
                    <a:lnTo>
                      <a:pt x="24" y="106"/>
                    </a:lnTo>
                    <a:lnTo>
                      <a:pt x="24" y="108"/>
                    </a:lnTo>
                    <a:lnTo>
                      <a:pt x="22" y="108"/>
                    </a:lnTo>
                    <a:lnTo>
                      <a:pt x="22" y="110"/>
                    </a:lnTo>
                    <a:lnTo>
                      <a:pt x="20" y="110"/>
                    </a:lnTo>
                    <a:lnTo>
                      <a:pt x="20" y="112"/>
                    </a:lnTo>
                    <a:lnTo>
                      <a:pt x="18" y="112"/>
                    </a:lnTo>
                    <a:lnTo>
                      <a:pt x="18" y="114"/>
                    </a:lnTo>
                    <a:lnTo>
                      <a:pt x="18" y="112"/>
                    </a:lnTo>
                    <a:lnTo>
                      <a:pt x="16" y="114"/>
                    </a:lnTo>
                    <a:lnTo>
                      <a:pt x="14" y="114"/>
                    </a:lnTo>
                    <a:lnTo>
                      <a:pt x="14" y="112"/>
                    </a:lnTo>
                    <a:lnTo>
                      <a:pt x="14" y="110"/>
                    </a:lnTo>
                    <a:lnTo>
                      <a:pt x="12" y="110"/>
                    </a:lnTo>
                    <a:lnTo>
                      <a:pt x="14" y="108"/>
                    </a:lnTo>
                    <a:lnTo>
                      <a:pt x="12" y="108"/>
                    </a:lnTo>
                    <a:lnTo>
                      <a:pt x="12" y="106"/>
                    </a:lnTo>
                    <a:lnTo>
                      <a:pt x="14" y="106"/>
                    </a:lnTo>
                    <a:lnTo>
                      <a:pt x="12" y="106"/>
                    </a:lnTo>
                    <a:lnTo>
                      <a:pt x="12" y="104"/>
                    </a:lnTo>
                    <a:lnTo>
                      <a:pt x="12" y="102"/>
                    </a:lnTo>
                    <a:lnTo>
                      <a:pt x="10" y="102"/>
                    </a:lnTo>
                    <a:lnTo>
                      <a:pt x="10" y="100"/>
                    </a:lnTo>
                    <a:lnTo>
                      <a:pt x="10" y="102"/>
                    </a:lnTo>
                    <a:lnTo>
                      <a:pt x="8" y="100"/>
                    </a:lnTo>
                    <a:lnTo>
                      <a:pt x="8" y="99"/>
                    </a:lnTo>
                    <a:lnTo>
                      <a:pt x="6" y="97"/>
                    </a:lnTo>
                    <a:lnTo>
                      <a:pt x="8" y="97"/>
                    </a:lnTo>
                    <a:lnTo>
                      <a:pt x="6" y="95"/>
                    </a:lnTo>
                    <a:lnTo>
                      <a:pt x="4" y="95"/>
                    </a:lnTo>
                    <a:lnTo>
                      <a:pt x="2" y="95"/>
                    </a:lnTo>
                    <a:lnTo>
                      <a:pt x="2" y="93"/>
                    </a:lnTo>
                    <a:lnTo>
                      <a:pt x="0" y="91"/>
                    </a:lnTo>
                    <a:lnTo>
                      <a:pt x="2" y="89"/>
                    </a:lnTo>
                    <a:lnTo>
                      <a:pt x="2" y="87"/>
                    </a:lnTo>
                    <a:lnTo>
                      <a:pt x="4" y="87"/>
                    </a:lnTo>
                    <a:lnTo>
                      <a:pt x="4" y="85"/>
                    </a:lnTo>
                    <a:lnTo>
                      <a:pt x="6" y="85"/>
                    </a:lnTo>
                    <a:lnTo>
                      <a:pt x="6" y="83"/>
                    </a:lnTo>
                    <a:lnTo>
                      <a:pt x="8" y="81"/>
                    </a:lnTo>
                    <a:lnTo>
                      <a:pt x="8" y="79"/>
                    </a:lnTo>
                    <a:lnTo>
                      <a:pt x="8" y="77"/>
                    </a:lnTo>
                    <a:lnTo>
                      <a:pt x="8" y="75"/>
                    </a:lnTo>
                    <a:lnTo>
                      <a:pt x="10" y="75"/>
                    </a:lnTo>
                    <a:lnTo>
                      <a:pt x="10" y="74"/>
                    </a:lnTo>
                    <a:lnTo>
                      <a:pt x="12" y="75"/>
                    </a:lnTo>
                    <a:lnTo>
                      <a:pt x="14" y="75"/>
                    </a:lnTo>
                    <a:lnTo>
                      <a:pt x="12" y="77"/>
                    </a:lnTo>
                    <a:lnTo>
                      <a:pt x="14" y="75"/>
                    </a:lnTo>
                    <a:lnTo>
                      <a:pt x="14" y="77"/>
                    </a:lnTo>
                    <a:lnTo>
                      <a:pt x="12" y="77"/>
                    </a:lnTo>
                    <a:lnTo>
                      <a:pt x="14" y="77"/>
                    </a:lnTo>
                    <a:lnTo>
                      <a:pt x="14" y="79"/>
                    </a:lnTo>
                    <a:lnTo>
                      <a:pt x="12" y="79"/>
                    </a:lnTo>
                    <a:lnTo>
                      <a:pt x="12" y="81"/>
                    </a:lnTo>
                    <a:lnTo>
                      <a:pt x="14" y="81"/>
                    </a:lnTo>
                    <a:lnTo>
                      <a:pt x="14" y="83"/>
                    </a:lnTo>
                    <a:lnTo>
                      <a:pt x="14" y="85"/>
                    </a:lnTo>
                    <a:lnTo>
                      <a:pt x="12" y="85"/>
                    </a:lnTo>
                    <a:lnTo>
                      <a:pt x="14" y="87"/>
                    </a:lnTo>
                    <a:lnTo>
                      <a:pt x="16" y="87"/>
                    </a:lnTo>
                    <a:lnTo>
                      <a:pt x="18" y="87"/>
                    </a:lnTo>
                    <a:lnTo>
                      <a:pt x="18" y="85"/>
                    </a:lnTo>
                    <a:lnTo>
                      <a:pt x="18" y="83"/>
                    </a:lnTo>
                    <a:lnTo>
                      <a:pt x="20" y="83"/>
                    </a:lnTo>
                    <a:lnTo>
                      <a:pt x="22" y="83"/>
                    </a:lnTo>
                    <a:lnTo>
                      <a:pt x="24" y="81"/>
                    </a:lnTo>
                    <a:lnTo>
                      <a:pt x="24" y="79"/>
                    </a:lnTo>
                    <a:lnTo>
                      <a:pt x="25" y="79"/>
                    </a:lnTo>
                    <a:lnTo>
                      <a:pt x="25" y="77"/>
                    </a:lnTo>
                    <a:lnTo>
                      <a:pt x="24" y="75"/>
                    </a:lnTo>
                    <a:lnTo>
                      <a:pt x="24" y="77"/>
                    </a:lnTo>
                    <a:lnTo>
                      <a:pt x="22" y="75"/>
                    </a:lnTo>
                    <a:lnTo>
                      <a:pt x="24" y="75"/>
                    </a:lnTo>
                    <a:lnTo>
                      <a:pt x="24" y="74"/>
                    </a:lnTo>
                    <a:lnTo>
                      <a:pt x="24" y="72"/>
                    </a:lnTo>
                    <a:lnTo>
                      <a:pt x="25" y="72"/>
                    </a:lnTo>
                    <a:lnTo>
                      <a:pt x="25" y="70"/>
                    </a:lnTo>
                    <a:lnTo>
                      <a:pt x="24" y="70"/>
                    </a:lnTo>
                    <a:lnTo>
                      <a:pt x="24" y="72"/>
                    </a:lnTo>
                    <a:lnTo>
                      <a:pt x="24" y="70"/>
                    </a:lnTo>
                    <a:lnTo>
                      <a:pt x="24" y="68"/>
                    </a:lnTo>
                    <a:lnTo>
                      <a:pt x="22" y="68"/>
                    </a:lnTo>
                    <a:lnTo>
                      <a:pt x="22" y="70"/>
                    </a:lnTo>
                    <a:lnTo>
                      <a:pt x="22" y="68"/>
                    </a:lnTo>
                    <a:lnTo>
                      <a:pt x="22" y="70"/>
                    </a:lnTo>
                    <a:lnTo>
                      <a:pt x="22" y="68"/>
                    </a:lnTo>
                    <a:lnTo>
                      <a:pt x="24" y="66"/>
                    </a:lnTo>
                    <a:lnTo>
                      <a:pt x="24" y="64"/>
                    </a:lnTo>
                    <a:lnTo>
                      <a:pt x="25" y="64"/>
                    </a:lnTo>
                    <a:lnTo>
                      <a:pt x="25" y="62"/>
                    </a:lnTo>
                    <a:lnTo>
                      <a:pt x="27" y="62"/>
                    </a:lnTo>
                    <a:lnTo>
                      <a:pt x="27" y="60"/>
                    </a:lnTo>
                    <a:lnTo>
                      <a:pt x="29" y="58"/>
                    </a:lnTo>
                    <a:lnTo>
                      <a:pt x="29" y="56"/>
                    </a:lnTo>
                    <a:lnTo>
                      <a:pt x="29" y="54"/>
                    </a:lnTo>
                    <a:lnTo>
                      <a:pt x="31" y="54"/>
                    </a:lnTo>
                    <a:lnTo>
                      <a:pt x="33" y="56"/>
                    </a:lnTo>
                    <a:lnTo>
                      <a:pt x="33" y="54"/>
                    </a:lnTo>
                    <a:lnTo>
                      <a:pt x="33" y="52"/>
                    </a:lnTo>
                    <a:lnTo>
                      <a:pt x="35" y="50"/>
                    </a:lnTo>
                    <a:lnTo>
                      <a:pt x="37" y="50"/>
                    </a:lnTo>
                    <a:lnTo>
                      <a:pt x="35" y="50"/>
                    </a:lnTo>
                    <a:lnTo>
                      <a:pt x="37" y="50"/>
                    </a:lnTo>
                    <a:lnTo>
                      <a:pt x="37" y="49"/>
                    </a:lnTo>
                    <a:lnTo>
                      <a:pt x="35" y="49"/>
                    </a:lnTo>
                    <a:lnTo>
                      <a:pt x="37" y="49"/>
                    </a:lnTo>
                    <a:lnTo>
                      <a:pt x="35" y="49"/>
                    </a:lnTo>
                    <a:lnTo>
                      <a:pt x="37" y="49"/>
                    </a:lnTo>
                    <a:lnTo>
                      <a:pt x="37" y="47"/>
                    </a:lnTo>
                    <a:lnTo>
                      <a:pt x="39" y="47"/>
                    </a:lnTo>
                    <a:lnTo>
                      <a:pt x="39" y="49"/>
                    </a:lnTo>
                    <a:lnTo>
                      <a:pt x="43" y="49"/>
                    </a:lnTo>
                    <a:lnTo>
                      <a:pt x="41" y="47"/>
                    </a:lnTo>
                    <a:lnTo>
                      <a:pt x="43" y="45"/>
                    </a:lnTo>
                    <a:lnTo>
                      <a:pt x="41" y="45"/>
                    </a:lnTo>
                    <a:lnTo>
                      <a:pt x="41" y="43"/>
                    </a:lnTo>
                    <a:lnTo>
                      <a:pt x="41" y="41"/>
                    </a:lnTo>
                    <a:lnTo>
                      <a:pt x="43" y="41"/>
                    </a:lnTo>
                    <a:lnTo>
                      <a:pt x="43" y="43"/>
                    </a:lnTo>
                    <a:lnTo>
                      <a:pt x="45" y="43"/>
                    </a:lnTo>
                    <a:lnTo>
                      <a:pt x="43" y="41"/>
                    </a:lnTo>
                    <a:lnTo>
                      <a:pt x="43" y="39"/>
                    </a:lnTo>
                    <a:lnTo>
                      <a:pt x="45" y="39"/>
                    </a:lnTo>
                    <a:lnTo>
                      <a:pt x="43" y="39"/>
                    </a:lnTo>
                    <a:lnTo>
                      <a:pt x="45" y="39"/>
                    </a:lnTo>
                    <a:lnTo>
                      <a:pt x="47" y="35"/>
                    </a:lnTo>
                    <a:lnTo>
                      <a:pt x="45" y="35"/>
                    </a:lnTo>
                    <a:lnTo>
                      <a:pt x="47" y="31"/>
                    </a:lnTo>
                    <a:lnTo>
                      <a:pt x="47" y="29"/>
                    </a:lnTo>
                    <a:lnTo>
                      <a:pt x="45" y="29"/>
                    </a:lnTo>
                    <a:lnTo>
                      <a:pt x="43" y="29"/>
                    </a:lnTo>
                    <a:lnTo>
                      <a:pt x="41" y="27"/>
                    </a:lnTo>
                    <a:lnTo>
                      <a:pt x="41" y="29"/>
                    </a:lnTo>
                    <a:lnTo>
                      <a:pt x="39" y="29"/>
                    </a:lnTo>
                    <a:lnTo>
                      <a:pt x="39" y="27"/>
                    </a:lnTo>
                    <a:lnTo>
                      <a:pt x="39" y="25"/>
                    </a:lnTo>
                    <a:lnTo>
                      <a:pt x="37" y="27"/>
                    </a:lnTo>
                    <a:lnTo>
                      <a:pt x="35" y="27"/>
                    </a:lnTo>
                    <a:lnTo>
                      <a:pt x="35" y="25"/>
                    </a:lnTo>
                    <a:lnTo>
                      <a:pt x="37" y="25"/>
                    </a:lnTo>
                    <a:lnTo>
                      <a:pt x="39" y="25"/>
                    </a:lnTo>
                    <a:lnTo>
                      <a:pt x="39" y="24"/>
                    </a:lnTo>
                    <a:lnTo>
                      <a:pt x="39" y="22"/>
                    </a:lnTo>
                    <a:lnTo>
                      <a:pt x="37" y="22"/>
                    </a:lnTo>
                    <a:lnTo>
                      <a:pt x="37" y="20"/>
                    </a:lnTo>
                    <a:lnTo>
                      <a:pt x="37" y="22"/>
                    </a:lnTo>
                    <a:lnTo>
                      <a:pt x="37" y="20"/>
                    </a:lnTo>
                    <a:lnTo>
                      <a:pt x="35" y="20"/>
                    </a:lnTo>
                    <a:lnTo>
                      <a:pt x="33" y="22"/>
                    </a:lnTo>
                    <a:lnTo>
                      <a:pt x="31" y="22"/>
                    </a:lnTo>
                    <a:lnTo>
                      <a:pt x="33" y="22"/>
                    </a:lnTo>
                    <a:lnTo>
                      <a:pt x="31" y="24"/>
                    </a:lnTo>
                    <a:lnTo>
                      <a:pt x="33" y="24"/>
                    </a:lnTo>
                    <a:lnTo>
                      <a:pt x="33" y="25"/>
                    </a:lnTo>
                    <a:lnTo>
                      <a:pt x="33" y="27"/>
                    </a:lnTo>
                    <a:lnTo>
                      <a:pt x="33" y="29"/>
                    </a:lnTo>
                    <a:lnTo>
                      <a:pt x="33" y="31"/>
                    </a:lnTo>
                    <a:lnTo>
                      <a:pt x="33" y="33"/>
                    </a:lnTo>
                    <a:lnTo>
                      <a:pt x="31" y="33"/>
                    </a:lnTo>
                    <a:lnTo>
                      <a:pt x="29" y="33"/>
                    </a:lnTo>
                    <a:lnTo>
                      <a:pt x="29" y="35"/>
                    </a:lnTo>
                    <a:lnTo>
                      <a:pt x="27" y="35"/>
                    </a:lnTo>
                    <a:lnTo>
                      <a:pt x="27" y="33"/>
                    </a:lnTo>
                    <a:lnTo>
                      <a:pt x="25" y="33"/>
                    </a:lnTo>
                    <a:lnTo>
                      <a:pt x="25" y="31"/>
                    </a:lnTo>
                    <a:lnTo>
                      <a:pt x="25" y="33"/>
                    </a:lnTo>
                    <a:lnTo>
                      <a:pt x="24" y="33"/>
                    </a:lnTo>
                    <a:lnTo>
                      <a:pt x="25" y="31"/>
                    </a:lnTo>
                    <a:lnTo>
                      <a:pt x="22" y="29"/>
                    </a:lnTo>
                    <a:lnTo>
                      <a:pt x="22" y="31"/>
                    </a:lnTo>
                    <a:lnTo>
                      <a:pt x="22" y="29"/>
                    </a:lnTo>
                    <a:lnTo>
                      <a:pt x="20" y="27"/>
                    </a:lnTo>
                    <a:lnTo>
                      <a:pt x="18" y="27"/>
                    </a:lnTo>
                    <a:lnTo>
                      <a:pt x="16" y="24"/>
                    </a:lnTo>
                    <a:lnTo>
                      <a:pt x="14" y="24"/>
                    </a:lnTo>
                    <a:lnTo>
                      <a:pt x="12" y="24"/>
                    </a:lnTo>
                    <a:lnTo>
                      <a:pt x="12" y="22"/>
                    </a:lnTo>
                    <a:lnTo>
                      <a:pt x="10" y="20"/>
                    </a:lnTo>
                    <a:lnTo>
                      <a:pt x="10" y="18"/>
                    </a:lnTo>
                    <a:lnTo>
                      <a:pt x="8" y="16"/>
                    </a:lnTo>
                    <a:lnTo>
                      <a:pt x="8" y="14"/>
                    </a:lnTo>
                    <a:lnTo>
                      <a:pt x="6" y="14"/>
                    </a:lnTo>
                    <a:lnTo>
                      <a:pt x="8" y="14"/>
                    </a:lnTo>
                    <a:lnTo>
                      <a:pt x="8" y="12"/>
                    </a:lnTo>
                    <a:lnTo>
                      <a:pt x="8" y="10"/>
                    </a:lnTo>
                    <a:lnTo>
                      <a:pt x="6" y="10"/>
                    </a:lnTo>
                    <a:lnTo>
                      <a:pt x="6" y="8"/>
                    </a:lnTo>
                    <a:lnTo>
                      <a:pt x="8" y="8"/>
                    </a:lnTo>
                    <a:lnTo>
                      <a:pt x="6" y="8"/>
                    </a:lnTo>
                    <a:lnTo>
                      <a:pt x="2" y="6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10" y="2"/>
                    </a:lnTo>
                    <a:lnTo>
                      <a:pt x="8" y="4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2" y="8"/>
                    </a:lnTo>
                    <a:lnTo>
                      <a:pt x="12" y="6"/>
                    </a:lnTo>
                    <a:lnTo>
                      <a:pt x="14" y="6"/>
                    </a:lnTo>
                    <a:lnTo>
                      <a:pt x="14" y="8"/>
                    </a:lnTo>
                    <a:lnTo>
                      <a:pt x="16" y="8"/>
                    </a:lnTo>
                    <a:lnTo>
                      <a:pt x="14" y="8"/>
                    </a:lnTo>
                    <a:lnTo>
                      <a:pt x="14" y="10"/>
                    </a:lnTo>
                    <a:lnTo>
                      <a:pt x="16" y="1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86">
                <a:extLst>
                  <a:ext uri="{FF2B5EF4-FFF2-40B4-BE49-F238E27FC236}">
                    <a16:creationId xmlns="" xmlns:a16="http://schemas.microsoft.com/office/drawing/2014/main" id="{865C61C2-CB7F-4AF5-B256-433373FDCE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7988" y="4654551"/>
                <a:ext cx="334963" cy="393700"/>
              </a:xfrm>
              <a:custGeom>
                <a:avLst/>
                <a:gdLst>
                  <a:gd name="T0" fmla="*/ 131 w 211"/>
                  <a:gd name="T1" fmla="*/ 11 h 248"/>
                  <a:gd name="T2" fmla="*/ 142 w 211"/>
                  <a:gd name="T3" fmla="*/ 15 h 248"/>
                  <a:gd name="T4" fmla="*/ 158 w 211"/>
                  <a:gd name="T5" fmla="*/ 15 h 248"/>
                  <a:gd name="T6" fmla="*/ 167 w 211"/>
                  <a:gd name="T7" fmla="*/ 23 h 248"/>
                  <a:gd name="T8" fmla="*/ 165 w 211"/>
                  <a:gd name="T9" fmla="*/ 36 h 248"/>
                  <a:gd name="T10" fmla="*/ 154 w 211"/>
                  <a:gd name="T11" fmla="*/ 46 h 248"/>
                  <a:gd name="T12" fmla="*/ 144 w 211"/>
                  <a:gd name="T13" fmla="*/ 63 h 248"/>
                  <a:gd name="T14" fmla="*/ 154 w 211"/>
                  <a:gd name="T15" fmla="*/ 69 h 248"/>
                  <a:gd name="T16" fmla="*/ 144 w 211"/>
                  <a:gd name="T17" fmla="*/ 80 h 248"/>
                  <a:gd name="T18" fmla="*/ 156 w 211"/>
                  <a:gd name="T19" fmla="*/ 92 h 248"/>
                  <a:gd name="T20" fmla="*/ 169 w 211"/>
                  <a:gd name="T21" fmla="*/ 94 h 248"/>
                  <a:gd name="T22" fmla="*/ 177 w 211"/>
                  <a:gd name="T23" fmla="*/ 78 h 248"/>
                  <a:gd name="T24" fmla="*/ 183 w 211"/>
                  <a:gd name="T25" fmla="*/ 99 h 248"/>
                  <a:gd name="T26" fmla="*/ 186 w 211"/>
                  <a:gd name="T27" fmla="*/ 119 h 248"/>
                  <a:gd name="T28" fmla="*/ 196 w 211"/>
                  <a:gd name="T29" fmla="*/ 128 h 248"/>
                  <a:gd name="T30" fmla="*/ 204 w 211"/>
                  <a:gd name="T31" fmla="*/ 149 h 248"/>
                  <a:gd name="T32" fmla="*/ 204 w 211"/>
                  <a:gd name="T33" fmla="*/ 163 h 248"/>
                  <a:gd name="T34" fmla="*/ 194 w 211"/>
                  <a:gd name="T35" fmla="*/ 165 h 248"/>
                  <a:gd name="T36" fmla="*/ 198 w 211"/>
                  <a:gd name="T37" fmla="*/ 176 h 248"/>
                  <a:gd name="T38" fmla="*/ 200 w 211"/>
                  <a:gd name="T39" fmla="*/ 194 h 248"/>
                  <a:gd name="T40" fmla="*/ 204 w 211"/>
                  <a:gd name="T41" fmla="*/ 203 h 248"/>
                  <a:gd name="T42" fmla="*/ 192 w 211"/>
                  <a:gd name="T43" fmla="*/ 213 h 248"/>
                  <a:gd name="T44" fmla="*/ 184 w 211"/>
                  <a:gd name="T45" fmla="*/ 215 h 248"/>
                  <a:gd name="T46" fmla="*/ 177 w 211"/>
                  <a:gd name="T47" fmla="*/ 224 h 248"/>
                  <a:gd name="T48" fmla="*/ 169 w 211"/>
                  <a:gd name="T49" fmla="*/ 224 h 248"/>
                  <a:gd name="T50" fmla="*/ 154 w 211"/>
                  <a:gd name="T51" fmla="*/ 221 h 248"/>
                  <a:gd name="T52" fmla="*/ 144 w 211"/>
                  <a:gd name="T53" fmla="*/ 226 h 248"/>
                  <a:gd name="T54" fmla="*/ 138 w 211"/>
                  <a:gd name="T55" fmla="*/ 242 h 248"/>
                  <a:gd name="T56" fmla="*/ 119 w 211"/>
                  <a:gd name="T57" fmla="*/ 244 h 248"/>
                  <a:gd name="T58" fmla="*/ 111 w 211"/>
                  <a:gd name="T59" fmla="*/ 242 h 248"/>
                  <a:gd name="T60" fmla="*/ 102 w 211"/>
                  <a:gd name="T61" fmla="*/ 234 h 248"/>
                  <a:gd name="T62" fmla="*/ 96 w 211"/>
                  <a:gd name="T63" fmla="*/ 219 h 248"/>
                  <a:gd name="T64" fmla="*/ 88 w 211"/>
                  <a:gd name="T65" fmla="*/ 211 h 248"/>
                  <a:gd name="T66" fmla="*/ 94 w 211"/>
                  <a:gd name="T67" fmla="*/ 196 h 248"/>
                  <a:gd name="T68" fmla="*/ 87 w 211"/>
                  <a:gd name="T69" fmla="*/ 201 h 248"/>
                  <a:gd name="T70" fmla="*/ 73 w 211"/>
                  <a:gd name="T71" fmla="*/ 213 h 248"/>
                  <a:gd name="T72" fmla="*/ 62 w 211"/>
                  <a:gd name="T73" fmla="*/ 213 h 248"/>
                  <a:gd name="T74" fmla="*/ 54 w 211"/>
                  <a:gd name="T75" fmla="*/ 209 h 248"/>
                  <a:gd name="T76" fmla="*/ 37 w 211"/>
                  <a:gd name="T77" fmla="*/ 203 h 248"/>
                  <a:gd name="T78" fmla="*/ 33 w 211"/>
                  <a:gd name="T79" fmla="*/ 188 h 248"/>
                  <a:gd name="T80" fmla="*/ 31 w 211"/>
                  <a:gd name="T81" fmla="*/ 176 h 248"/>
                  <a:gd name="T82" fmla="*/ 25 w 211"/>
                  <a:gd name="T83" fmla="*/ 165 h 248"/>
                  <a:gd name="T84" fmla="*/ 12 w 211"/>
                  <a:gd name="T85" fmla="*/ 157 h 248"/>
                  <a:gd name="T86" fmla="*/ 6 w 211"/>
                  <a:gd name="T87" fmla="*/ 146 h 248"/>
                  <a:gd name="T88" fmla="*/ 2 w 211"/>
                  <a:gd name="T89" fmla="*/ 128 h 248"/>
                  <a:gd name="T90" fmla="*/ 17 w 211"/>
                  <a:gd name="T91" fmla="*/ 123 h 248"/>
                  <a:gd name="T92" fmla="*/ 17 w 211"/>
                  <a:gd name="T93" fmla="*/ 111 h 248"/>
                  <a:gd name="T94" fmla="*/ 10 w 211"/>
                  <a:gd name="T95" fmla="*/ 105 h 248"/>
                  <a:gd name="T96" fmla="*/ 2 w 211"/>
                  <a:gd name="T97" fmla="*/ 96 h 248"/>
                  <a:gd name="T98" fmla="*/ 8 w 211"/>
                  <a:gd name="T99" fmla="*/ 94 h 248"/>
                  <a:gd name="T100" fmla="*/ 21 w 211"/>
                  <a:gd name="T101" fmla="*/ 82 h 248"/>
                  <a:gd name="T102" fmla="*/ 38 w 211"/>
                  <a:gd name="T103" fmla="*/ 73 h 248"/>
                  <a:gd name="T104" fmla="*/ 50 w 211"/>
                  <a:gd name="T105" fmla="*/ 71 h 248"/>
                  <a:gd name="T106" fmla="*/ 58 w 211"/>
                  <a:gd name="T107" fmla="*/ 65 h 248"/>
                  <a:gd name="T108" fmla="*/ 69 w 211"/>
                  <a:gd name="T109" fmla="*/ 55 h 248"/>
                  <a:gd name="T110" fmla="*/ 75 w 211"/>
                  <a:gd name="T111" fmla="*/ 42 h 248"/>
                  <a:gd name="T112" fmla="*/ 79 w 211"/>
                  <a:gd name="T113" fmla="*/ 34 h 248"/>
                  <a:gd name="T114" fmla="*/ 87 w 211"/>
                  <a:gd name="T115" fmla="*/ 40 h 248"/>
                  <a:gd name="T116" fmla="*/ 96 w 211"/>
                  <a:gd name="T117" fmla="*/ 34 h 248"/>
                  <a:gd name="T118" fmla="*/ 110 w 211"/>
                  <a:gd name="T119" fmla="*/ 28 h 248"/>
                  <a:gd name="T120" fmla="*/ 108 w 211"/>
                  <a:gd name="T121" fmla="*/ 15 h 248"/>
                  <a:gd name="T122" fmla="*/ 113 w 211"/>
                  <a:gd name="T123" fmla="*/ 1 h 248"/>
                  <a:gd name="T124" fmla="*/ 123 w 211"/>
                  <a:gd name="T125" fmla="*/ 3 h 2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11" h="248">
                    <a:moveTo>
                      <a:pt x="123" y="3"/>
                    </a:moveTo>
                    <a:lnTo>
                      <a:pt x="125" y="3"/>
                    </a:lnTo>
                    <a:lnTo>
                      <a:pt x="125" y="5"/>
                    </a:lnTo>
                    <a:lnTo>
                      <a:pt x="127" y="5"/>
                    </a:lnTo>
                    <a:lnTo>
                      <a:pt x="129" y="5"/>
                    </a:lnTo>
                    <a:lnTo>
                      <a:pt x="131" y="5"/>
                    </a:lnTo>
                    <a:lnTo>
                      <a:pt x="131" y="7"/>
                    </a:lnTo>
                    <a:lnTo>
                      <a:pt x="133" y="7"/>
                    </a:lnTo>
                    <a:lnTo>
                      <a:pt x="131" y="7"/>
                    </a:lnTo>
                    <a:lnTo>
                      <a:pt x="131" y="9"/>
                    </a:lnTo>
                    <a:lnTo>
                      <a:pt x="131" y="11"/>
                    </a:lnTo>
                    <a:lnTo>
                      <a:pt x="133" y="11"/>
                    </a:lnTo>
                    <a:lnTo>
                      <a:pt x="135" y="13"/>
                    </a:lnTo>
                    <a:lnTo>
                      <a:pt x="136" y="13"/>
                    </a:lnTo>
                    <a:lnTo>
                      <a:pt x="138" y="13"/>
                    </a:lnTo>
                    <a:lnTo>
                      <a:pt x="138" y="15"/>
                    </a:lnTo>
                    <a:lnTo>
                      <a:pt x="138" y="13"/>
                    </a:lnTo>
                    <a:lnTo>
                      <a:pt x="140" y="13"/>
                    </a:lnTo>
                    <a:lnTo>
                      <a:pt x="140" y="15"/>
                    </a:lnTo>
                    <a:lnTo>
                      <a:pt x="140" y="17"/>
                    </a:lnTo>
                    <a:lnTo>
                      <a:pt x="142" y="17"/>
                    </a:lnTo>
                    <a:lnTo>
                      <a:pt x="142" y="15"/>
                    </a:lnTo>
                    <a:lnTo>
                      <a:pt x="144" y="15"/>
                    </a:lnTo>
                    <a:lnTo>
                      <a:pt x="144" y="13"/>
                    </a:lnTo>
                    <a:lnTo>
                      <a:pt x="146" y="13"/>
                    </a:lnTo>
                    <a:lnTo>
                      <a:pt x="148" y="13"/>
                    </a:lnTo>
                    <a:lnTo>
                      <a:pt x="148" y="11"/>
                    </a:lnTo>
                    <a:lnTo>
                      <a:pt x="150" y="11"/>
                    </a:lnTo>
                    <a:lnTo>
                      <a:pt x="152" y="11"/>
                    </a:lnTo>
                    <a:lnTo>
                      <a:pt x="154" y="11"/>
                    </a:lnTo>
                    <a:lnTo>
                      <a:pt x="154" y="13"/>
                    </a:lnTo>
                    <a:lnTo>
                      <a:pt x="156" y="15"/>
                    </a:lnTo>
                    <a:lnTo>
                      <a:pt x="158" y="15"/>
                    </a:lnTo>
                    <a:lnTo>
                      <a:pt x="158" y="17"/>
                    </a:lnTo>
                    <a:lnTo>
                      <a:pt x="160" y="19"/>
                    </a:lnTo>
                    <a:lnTo>
                      <a:pt x="161" y="21"/>
                    </a:lnTo>
                    <a:lnTo>
                      <a:pt x="163" y="19"/>
                    </a:lnTo>
                    <a:lnTo>
                      <a:pt x="165" y="17"/>
                    </a:lnTo>
                    <a:lnTo>
                      <a:pt x="167" y="17"/>
                    </a:lnTo>
                    <a:lnTo>
                      <a:pt x="167" y="19"/>
                    </a:lnTo>
                    <a:lnTo>
                      <a:pt x="169" y="19"/>
                    </a:lnTo>
                    <a:lnTo>
                      <a:pt x="169" y="21"/>
                    </a:lnTo>
                    <a:lnTo>
                      <a:pt x="167" y="21"/>
                    </a:lnTo>
                    <a:lnTo>
                      <a:pt x="167" y="23"/>
                    </a:lnTo>
                    <a:lnTo>
                      <a:pt x="167" y="25"/>
                    </a:lnTo>
                    <a:lnTo>
                      <a:pt x="169" y="25"/>
                    </a:lnTo>
                    <a:lnTo>
                      <a:pt x="169" y="26"/>
                    </a:lnTo>
                    <a:lnTo>
                      <a:pt x="167" y="26"/>
                    </a:lnTo>
                    <a:lnTo>
                      <a:pt x="167" y="28"/>
                    </a:lnTo>
                    <a:lnTo>
                      <a:pt x="167" y="30"/>
                    </a:lnTo>
                    <a:lnTo>
                      <a:pt x="165" y="30"/>
                    </a:lnTo>
                    <a:lnTo>
                      <a:pt x="167" y="32"/>
                    </a:lnTo>
                    <a:lnTo>
                      <a:pt x="165" y="32"/>
                    </a:lnTo>
                    <a:lnTo>
                      <a:pt x="165" y="34"/>
                    </a:lnTo>
                    <a:lnTo>
                      <a:pt x="165" y="36"/>
                    </a:lnTo>
                    <a:lnTo>
                      <a:pt x="165" y="38"/>
                    </a:lnTo>
                    <a:lnTo>
                      <a:pt x="165" y="40"/>
                    </a:lnTo>
                    <a:lnTo>
                      <a:pt x="161" y="40"/>
                    </a:lnTo>
                    <a:lnTo>
                      <a:pt x="161" y="42"/>
                    </a:lnTo>
                    <a:lnTo>
                      <a:pt x="160" y="42"/>
                    </a:lnTo>
                    <a:lnTo>
                      <a:pt x="160" y="44"/>
                    </a:lnTo>
                    <a:lnTo>
                      <a:pt x="158" y="44"/>
                    </a:lnTo>
                    <a:lnTo>
                      <a:pt x="158" y="42"/>
                    </a:lnTo>
                    <a:lnTo>
                      <a:pt x="156" y="44"/>
                    </a:lnTo>
                    <a:lnTo>
                      <a:pt x="154" y="44"/>
                    </a:lnTo>
                    <a:lnTo>
                      <a:pt x="154" y="46"/>
                    </a:lnTo>
                    <a:lnTo>
                      <a:pt x="154" y="48"/>
                    </a:lnTo>
                    <a:lnTo>
                      <a:pt x="152" y="48"/>
                    </a:lnTo>
                    <a:lnTo>
                      <a:pt x="150" y="50"/>
                    </a:lnTo>
                    <a:lnTo>
                      <a:pt x="150" y="51"/>
                    </a:lnTo>
                    <a:lnTo>
                      <a:pt x="150" y="53"/>
                    </a:lnTo>
                    <a:lnTo>
                      <a:pt x="148" y="55"/>
                    </a:lnTo>
                    <a:lnTo>
                      <a:pt x="148" y="57"/>
                    </a:lnTo>
                    <a:lnTo>
                      <a:pt x="146" y="59"/>
                    </a:lnTo>
                    <a:lnTo>
                      <a:pt x="144" y="59"/>
                    </a:lnTo>
                    <a:lnTo>
                      <a:pt x="144" y="61"/>
                    </a:lnTo>
                    <a:lnTo>
                      <a:pt x="144" y="63"/>
                    </a:lnTo>
                    <a:lnTo>
                      <a:pt x="146" y="63"/>
                    </a:lnTo>
                    <a:lnTo>
                      <a:pt x="146" y="61"/>
                    </a:lnTo>
                    <a:lnTo>
                      <a:pt x="148" y="61"/>
                    </a:lnTo>
                    <a:lnTo>
                      <a:pt x="148" y="63"/>
                    </a:lnTo>
                    <a:lnTo>
                      <a:pt x="150" y="65"/>
                    </a:lnTo>
                    <a:lnTo>
                      <a:pt x="150" y="63"/>
                    </a:lnTo>
                    <a:lnTo>
                      <a:pt x="152" y="63"/>
                    </a:lnTo>
                    <a:lnTo>
                      <a:pt x="154" y="63"/>
                    </a:lnTo>
                    <a:lnTo>
                      <a:pt x="154" y="65"/>
                    </a:lnTo>
                    <a:lnTo>
                      <a:pt x="154" y="67"/>
                    </a:lnTo>
                    <a:lnTo>
                      <a:pt x="154" y="69"/>
                    </a:lnTo>
                    <a:lnTo>
                      <a:pt x="152" y="69"/>
                    </a:lnTo>
                    <a:lnTo>
                      <a:pt x="152" y="71"/>
                    </a:lnTo>
                    <a:lnTo>
                      <a:pt x="150" y="71"/>
                    </a:lnTo>
                    <a:lnTo>
                      <a:pt x="150" y="73"/>
                    </a:lnTo>
                    <a:lnTo>
                      <a:pt x="150" y="75"/>
                    </a:lnTo>
                    <a:lnTo>
                      <a:pt x="150" y="76"/>
                    </a:lnTo>
                    <a:lnTo>
                      <a:pt x="148" y="76"/>
                    </a:lnTo>
                    <a:lnTo>
                      <a:pt x="146" y="76"/>
                    </a:lnTo>
                    <a:lnTo>
                      <a:pt x="146" y="78"/>
                    </a:lnTo>
                    <a:lnTo>
                      <a:pt x="144" y="78"/>
                    </a:lnTo>
                    <a:lnTo>
                      <a:pt x="144" y="80"/>
                    </a:lnTo>
                    <a:lnTo>
                      <a:pt x="146" y="82"/>
                    </a:lnTo>
                    <a:lnTo>
                      <a:pt x="146" y="84"/>
                    </a:lnTo>
                    <a:lnTo>
                      <a:pt x="148" y="84"/>
                    </a:lnTo>
                    <a:lnTo>
                      <a:pt x="150" y="84"/>
                    </a:lnTo>
                    <a:lnTo>
                      <a:pt x="152" y="86"/>
                    </a:lnTo>
                    <a:lnTo>
                      <a:pt x="154" y="86"/>
                    </a:lnTo>
                    <a:lnTo>
                      <a:pt x="154" y="88"/>
                    </a:lnTo>
                    <a:lnTo>
                      <a:pt x="152" y="90"/>
                    </a:lnTo>
                    <a:lnTo>
                      <a:pt x="154" y="90"/>
                    </a:lnTo>
                    <a:lnTo>
                      <a:pt x="154" y="92"/>
                    </a:lnTo>
                    <a:lnTo>
                      <a:pt x="156" y="92"/>
                    </a:lnTo>
                    <a:lnTo>
                      <a:pt x="158" y="92"/>
                    </a:lnTo>
                    <a:lnTo>
                      <a:pt x="158" y="94"/>
                    </a:lnTo>
                    <a:lnTo>
                      <a:pt x="160" y="94"/>
                    </a:lnTo>
                    <a:lnTo>
                      <a:pt x="160" y="96"/>
                    </a:lnTo>
                    <a:lnTo>
                      <a:pt x="161" y="96"/>
                    </a:lnTo>
                    <a:lnTo>
                      <a:pt x="163" y="98"/>
                    </a:lnTo>
                    <a:lnTo>
                      <a:pt x="165" y="96"/>
                    </a:lnTo>
                    <a:lnTo>
                      <a:pt x="165" y="98"/>
                    </a:lnTo>
                    <a:lnTo>
                      <a:pt x="167" y="96"/>
                    </a:lnTo>
                    <a:lnTo>
                      <a:pt x="169" y="96"/>
                    </a:lnTo>
                    <a:lnTo>
                      <a:pt x="169" y="94"/>
                    </a:lnTo>
                    <a:lnTo>
                      <a:pt x="171" y="94"/>
                    </a:lnTo>
                    <a:lnTo>
                      <a:pt x="171" y="92"/>
                    </a:lnTo>
                    <a:lnTo>
                      <a:pt x="173" y="92"/>
                    </a:lnTo>
                    <a:lnTo>
                      <a:pt x="173" y="90"/>
                    </a:lnTo>
                    <a:lnTo>
                      <a:pt x="173" y="88"/>
                    </a:lnTo>
                    <a:lnTo>
                      <a:pt x="173" y="84"/>
                    </a:lnTo>
                    <a:lnTo>
                      <a:pt x="173" y="82"/>
                    </a:lnTo>
                    <a:lnTo>
                      <a:pt x="173" y="80"/>
                    </a:lnTo>
                    <a:lnTo>
                      <a:pt x="175" y="80"/>
                    </a:lnTo>
                    <a:lnTo>
                      <a:pt x="175" y="78"/>
                    </a:lnTo>
                    <a:lnTo>
                      <a:pt x="177" y="78"/>
                    </a:lnTo>
                    <a:lnTo>
                      <a:pt x="177" y="80"/>
                    </a:lnTo>
                    <a:lnTo>
                      <a:pt x="179" y="82"/>
                    </a:lnTo>
                    <a:lnTo>
                      <a:pt x="179" y="84"/>
                    </a:lnTo>
                    <a:lnTo>
                      <a:pt x="181" y="86"/>
                    </a:lnTo>
                    <a:lnTo>
                      <a:pt x="183" y="86"/>
                    </a:lnTo>
                    <a:lnTo>
                      <a:pt x="183" y="88"/>
                    </a:lnTo>
                    <a:lnTo>
                      <a:pt x="184" y="92"/>
                    </a:lnTo>
                    <a:lnTo>
                      <a:pt x="183" y="94"/>
                    </a:lnTo>
                    <a:lnTo>
                      <a:pt x="184" y="96"/>
                    </a:lnTo>
                    <a:lnTo>
                      <a:pt x="183" y="98"/>
                    </a:lnTo>
                    <a:lnTo>
                      <a:pt x="183" y="99"/>
                    </a:lnTo>
                    <a:lnTo>
                      <a:pt x="183" y="101"/>
                    </a:lnTo>
                    <a:lnTo>
                      <a:pt x="183" y="105"/>
                    </a:lnTo>
                    <a:lnTo>
                      <a:pt x="184" y="105"/>
                    </a:lnTo>
                    <a:lnTo>
                      <a:pt x="184" y="107"/>
                    </a:lnTo>
                    <a:lnTo>
                      <a:pt x="184" y="109"/>
                    </a:lnTo>
                    <a:lnTo>
                      <a:pt x="184" y="111"/>
                    </a:lnTo>
                    <a:lnTo>
                      <a:pt x="184" y="113"/>
                    </a:lnTo>
                    <a:lnTo>
                      <a:pt x="184" y="115"/>
                    </a:lnTo>
                    <a:lnTo>
                      <a:pt x="184" y="117"/>
                    </a:lnTo>
                    <a:lnTo>
                      <a:pt x="186" y="117"/>
                    </a:lnTo>
                    <a:lnTo>
                      <a:pt x="186" y="119"/>
                    </a:lnTo>
                    <a:lnTo>
                      <a:pt x="188" y="119"/>
                    </a:lnTo>
                    <a:lnTo>
                      <a:pt x="188" y="121"/>
                    </a:lnTo>
                    <a:lnTo>
                      <a:pt x="190" y="121"/>
                    </a:lnTo>
                    <a:lnTo>
                      <a:pt x="190" y="123"/>
                    </a:lnTo>
                    <a:lnTo>
                      <a:pt x="192" y="124"/>
                    </a:lnTo>
                    <a:lnTo>
                      <a:pt x="192" y="126"/>
                    </a:lnTo>
                    <a:lnTo>
                      <a:pt x="192" y="128"/>
                    </a:lnTo>
                    <a:lnTo>
                      <a:pt x="192" y="126"/>
                    </a:lnTo>
                    <a:lnTo>
                      <a:pt x="194" y="126"/>
                    </a:lnTo>
                    <a:lnTo>
                      <a:pt x="194" y="128"/>
                    </a:lnTo>
                    <a:lnTo>
                      <a:pt x="196" y="128"/>
                    </a:lnTo>
                    <a:lnTo>
                      <a:pt x="196" y="130"/>
                    </a:lnTo>
                    <a:lnTo>
                      <a:pt x="196" y="132"/>
                    </a:lnTo>
                    <a:lnTo>
                      <a:pt x="198" y="134"/>
                    </a:lnTo>
                    <a:lnTo>
                      <a:pt x="198" y="136"/>
                    </a:lnTo>
                    <a:lnTo>
                      <a:pt x="200" y="138"/>
                    </a:lnTo>
                    <a:lnTo>
                      <a:pt x="200" y="140"/>
                    </a:lnTo>
                    <a:lnTo>
                      <a:pt x="202" y="142"/>
                    </a:lnTo>
                    <a:lnTo>
                      <a:pt x="202" y="144"/>
                    </a:lnTo>
                    <a:lnTo>
                      <a:pt x="204" y="146"/>
                    </a:lnTo>
                    <a:lnTo>
                      <a:pt x="204" y="148"/>
                    </a:lnTo>
                    <a:lnTo>
                      <a:pt x="204" y="149"/>
                    </a:lnTo>
                    <a:lnTo>
                      <a:pt x="206" y="149"/>
                    </a:lnTo>
                    <a:lnTo>
                      <a:pt x="208" y="149"/>
                    </a:lnTo>
                    <a:lnTo>
                      <a:pt x="209" y="151"/>
                    </a:lnTo>
                    <a:lnTo>
                      <a:pt x="211" y="153"/>
                    </a:lnTo>
                    <a:lnTo>
                      <a:pt x="211" y="155"/>
                    </a:lnTo>
                    <a:lnTo>
                      <a:pt x="211" y="157"/>
                    </a:lnTo>
                    <a:lnTo>
                      <a:pt x="211" y="159"/>
                    </a:lnTo>
                    <a:lnTo>
                      <a:pt x="209" y="161"/>
                    </a:lnTo>
                    <a:lnTo>
                      <a:pt x="208" y="161"/>
                    </a:lnTo>
                    <a:lnTo>
                      <a:pt x="206" y="163"/>
                    </a:lnTo>
                    <a:lnTo>
                      <a:pt x="204" y="163"/>
                    </a:lnTo>
                    <a:lnTo>
                      <a:pt x="202" y="163"/>
                    </a:lnTo>
                    <a:lnTo>
                      <a:pt x="202" y="161"/>
                    </a:lnTo>
                    <a:lnTo>
                      <a:pt x="202" y="159"/>
                    </a:lnTo>
                    <a:lnTo>
                      <a:pt x="202" y="157"/>
                    </a:lnTo>
                    <a:lnTo>
                      <a:pt x="200" y="157"/>
                    </a:lnTo>
                    <a:lnTo>
                      <a:pt x="198" y="157"/>
                    </a:lnTo>
                    <a:lnTo>
                      <a:pt x="198" y="159"/>
                    </a:lnTo>
                    <a:lnTo>
                      <a:pt x="198" y="161"/>
                    </a:lnTo>
                    <a:lnTo>
                      <a:pt x="198" y="163"/>
                    </a:lnTo>
                    <a:lnTo>
                      <a:pt x="196" y="165"/>
                    </a:lnTo>
                    <a:lnTo>
                      <a:pt x="194" y="165"/>
                    </a:lnTo>
                    <a:lnTo>
                      <a:pt x="194" y="167"/>
                    </a:lnTo>
                    <a:lnTo>
                      <a:pt x="194" y="169"/>
                    </a:lnTo>
                    <a:lnTo>
                      <a:pt x="192" y="171"/>
                    </a:lnTo>
                    <a:lnTo>
                      <a:pt x="192" y="173"/>
                    </a:lnTo>
                    <a:lnTo>
                      <a:pt x="190" y="174"/>
                    </a:lnTo>
                    <a:lnTo>
                      <a:pt x="192" y="174"/>
                    </a:lnTo>
                    <a:lnTo>
                      <a:pt x="192" y="176"/>
                    </a:lnTo>
                    <a:lnTo>
                      <a:pt x="194" y="176"/>
                    </a:lnTo>
                    <a:lnTo>
                      <a:pt x="194" y="174"/>
                    </a:lnTo>
                    <a:lnTo>
                      <a:pt x="196" y="174"/>
                    </a:lnTo>
                    <a:lnTo>
                      <a:pt x="198" y="176"/>
                    </a:lnTo>
                    <a:lnTo>
                      <a:pt x="198" y="178"/>
                    </a:lnTo>
                    <a:lnTo>
                      <a:pt x="198" y="180"/>
                    </a:lnTo>
                    <a:lnTo>
                      <a:pt x="198" y="182"/>
                    </a:lnTo>
                    <a:lnTo>
                      <a:pt x="200" y="182"/>
                    </a:lnTo>
                    <a:lnTo>
                      <a:pt x="200" y="184"/>
                    </a:lnTo>
                    <a:lnTo>
                      <a:pt x="198" y="186"/>
                    </a:lnTo>
                    <a:lnTo>
                      <a:pt x="198" y="188"/>
                    </a:lnTo>
                    <a:lnTo>
                      <a:pt x="200" y="188"/>
                    </a:lnTo>
                    <a:lnTo>
                      <a:pt x="202" y="190"/>
                    </a:lnTo>
                    <a:lnTo>
                      <a:pt x="200" y="192"/>
                    </a:lnTo>
                    <a:lnTo>
                      <a:pt x="200" y="194"/>
                    </a:lnTo>
                    <a:lnTo>
                      <a:pt x="200" y="196"/>
                    </a:lnTo>
                    <a:lnTo>
                      <a:pt x="202" y="196"/>
                    </a:lnTo>
                    <a:lnTo>
                      <a:pt x="202" y="198"/>
                    </a:lnTo>
                    <a:lnTo>
                      <a:pt x="200" y="198"/>
                    </a:lnTo>
                    <a:lnTo>
                      <a:pt x="200" y="199"/>
                    </a:lnTo>
                    <a:lnTo>
                      <a:pt x="202" y="199"/>
                    </a:lnTo>
                    <a:lnTo>
                      <a:pt x="202" y="201"/>
                    </a:lnTo>
                    <a:lnTo>
                      <a:pt x="200" y="201"/>
                    </a:lnTo>
                    <a:lnTo>
                      <a:pt x="200" y="203"/>
                    </a:lnTo>
                    <a:lnTo>
                      <a:pt x="202" y="205"/>
                    </a:lnTo>
                    <a:lnTo>
                      <a:pt x="204" y="203"/>
                    </a:lnTo>
                    <a:lnTo>
                      <a:pt x="204" y="205"/>
                    </a:lnTo>
                    <a:lnTo>
                      <a:pt x="204" y="207"/>
                    </a:lnTo>
                    <a:lnTo>
                      <a:pt x="204" y="209"/>
                    </a:lnTo>
                    <a:lnTo>
                      <a:pt x="202" y="209"/>
                    </a:lnTo>
                    <a:lnTo>
                      <a:pt x="202" y="211"/>
                    </a:lnTo>
                    <a:lnTo>
                      <a:pt x="200" y="211"/>
                    </a:lnTo>
                    <a:lnTo>
                      <a:pt x="198" y="211"/>
                    </a:lnTo>
                    <a:lnTo>
                      <a:pt x="196" y="211"/>
                    </a:lnTo>
                    <a:lnTo>
                      <a:pt x="196" y="213"/>
                    </a:lnTo>
                    <a:lnTo>
                      <a:pt x="194" y="213"/>
                    </a:lnTo>
                    <a:lnTo>
                      <a:pt x="192" y="213"/>
                    </a:lnTo>
                    <a:lnTo>
                      <a:pt x="192" y="215"/>
                    </a:lnTo>
                    <a:lnTo>
                      <a:pt x="190" y="215"/>
                    </a:lnTo>
                    <a:lnTo>
                      <a:pt x="190" y="217"/>
                    </a:lnTo>
                    <a:lnTo>
                      <a:pt x="188" y="217"/>
                    </a:lnTo>
                    <a:lnTo>
                      <a:pt x="190" y="217"/>
                    </a:lnTo>
                    <a:lnTo>
                      <a:pt x="188" y="217"/>
                    </a:lnTo>
                    <a:lnTo>
                      <a:pt x="188" y="215"/>
                    </a:lnTo>
                    <a:lnTo>
                      <a:pt x="186" y="213"/>
                    </a:lnTo>
                    <a:lnTo>
                      <a:pt x="184" y="213"/>
                    </a:lnTo>
                    <a:lnTo>
                      <a:pt x="183" y="215"/>
                    </a:lnTo>
                    <a:lnTo>
                      <a:pt x="184" y="215"/>
                    </a:lnTo>
                    <a:lnTo>
                      <a:pt x="184" y="217"/>
                    </a:lnTo>
                    <a:lnTo>
                      <a:pt x="184" y="219"/>
                    </a:lnTo>
                    <a:lnTo>
                      <a:pt x="184" y="221"/>
                    </a:lnTo>
                    <a:lnTo>
                      <a:pt x="183" y="223"/>
                    </a:lnTo>
                    <a:lnTo>
                      <a:pt x="183" y="221"/>
                    </a:lnTo>
                    <a:lnTo>
                      <a:pt x="183" y="223"/>
                    </a:lnTo>
                    <a:lnTo>
                      <a:pt x="181" y="223"/>
                    </a:lnTo>
                    <a:lnTo>
                      <a:pt x="179" y="223"/>
                    </a:lnTo>
                    <a:lnTo>
                      <a:pt x="179" y="224"/>
                    </a:lnTo>
                    <a:lnTo>
                      <a:pt x="177" y="223"/>
                    </a:lnTo>
                    <a:lnTo>
                      <a:pt x="177" y="224"/>
                    </a:lnTo>
                    <a:lnTo>
                      <a:pt x="175" y="224"/>
                    </a:lnTo>
                    <a:lnTo>
                      <a:pt x="175" y="223"/>
                    </a:lnTo>
                    <a:lnTo>
                      <a:pt x="173" y="221"/>
                    </a:lnTo>
                    <a:lnTo>
                      <a:pt x="173" y="219"/>
                    </a:lnTo>
                    <a:lnTo>
                      <a:pt x="171" y="219"/>
                    </a:lnTo>
                    <a:lnTo>
                      <a:pt x="171" y="221"/>
                    </a:lnTo>
                    <a:lnTo>
                      <a:pt x="171" y="223"/>
                    </a:lnTo>
                    <a:lnTo>
                      <a:pt x="171" y="224"/>
                    </a:lnTo>
                    <a:lnTo>
                      <a:pt x="171" y="226"/>
                    </a:lnTo>
                    <a:lnTo>
                      <a:pt x="169" y="226"/>
                    </a:lnTo>
                    <a:lnTo>
                      <a:pt x="169" y="224"/>
                    </a:lnTo>
                    <a:lnTo>
                      <a:pt x="167" y="224"/>
                    </a:lnTo>
                    <a:lnTo>
                      <a:pt x="165" y="224"/>
                    </a:lnTo>
                    <a:lnTo>
                      <a:pt x="163" y="224"/>
                    </a:lnTo>
                    <a:lnTo>
                      <a:pt x="163" y="223"/>
                    </a:lnTo>
                    <a:lnTo>
                      <a:pt x="161" y="223"/>
                    </a:lnTo>
                    <a:lnTo>
                      <a:pt x="161" y="221"/>
                    </a:lnTo>
                    <a:lnTo>
                      <a:pt x="160" y="223"/>
                    </a:lnTo>
                    <a:lnTo>
                      <a:pt x="158" y="223"/>
                    </a:lnTo>
                    <a:lnTo>
                      <a:pt x="156" y="223"/>
                    </a:lnTo>
                    <a:lnTo>
                      <a:pt x="154" y="223"/>
                    </a:lnTo>
                    <a:lnTo>
                      <a:pt x="154" y="221"/>
                    </a:lnTo>
                    <a:lnTo>
                      <a:pt x="154" y="223"/>
                    </a:lnTo>
                    <a:lnTo>
                      <a:pt x="152" y="223"/>
                    </a:lnTo>
                    <a:lnTo>
                      <a:pt x="152" y="221"/>
                    </a:lnTo>
                    <a:lnTo>
                      <a:pt x="150" y="223"/>
                    </a:lnTo>
                    <a:lnTo>
                      <a:pt x="148" y="223"/>
                    </a:lnTo>
                    <a:lnTo>
                      <a:pt x="146" y="223"/>
                    </a:lnTo>
                    <a:lnTo>
                      <a:pt x="144" y="224"/>
                    </a:lnTo>
                    <a:lnTo>
                      <a:pt x="146" y="224"/>
                    </a:lnTo>
                    <a:lnTo>
                      <a:pt x="144" y="226"/>
                    </a:lnTo>
                    <a:lnTo>
                      <a:pt x="146" y="226"/>
                    </a:lnTo>
                    <a:lnTo>
                      <a:pt x="144" y="226"/>
                    </a:lnTo>
                    <a:lnTo>
                      <a:pt x="142" y="228"/>
                    </a:lnTo>
                    <a:lnTo>
                      <a:pt x="144" y="230"/>
                    </a:lnTo>
                    <a:lnTo>
                      <a:pt x="144" y="232"/>
                    </a:lnTo>
                    <a:lnTo>
                      <a:pt x="144" y="234"/>
                    </a:lnTo>
                    <a:lnTo>
                      <a:pt x="142" y="236"/>
                    </a:lnTo>
                    <a:lnTo>
                      <a:pt x="142" y="238"/>
                    </a:lnTo>
                    <a:lnTo>
                      <a:pt x="140" y="238"/>
                    </a:lnTo>
                    <a:lnTo>
                      <a:pt x="140" y="236"/>
                    </a:lnTo>
                    <a:lnTo>
                      <a:pt x="140" y="238"/>
                    </a:lnTo>
                    <a:lnTo>
                      <a:pt x="138" y="240"/>
                    </a:lnTo>
                    <a:lnTo>
                      <a:pt x="138" y="242"/>
                    </a:lnTo>
                    <a:lnTo>
                      <a:pt x="136" y="242"/>
                    </a:lnTo>
                    <a:lnTo>
                      <a:pt x="135" y="242"/>
                    </a:lnTo>
                    <a:lnTo>
                      <a:pt x="133" y="242"/>
                    </a:lnTo>
                    <a:lnTo>
                      <a:pt x="131" y="242"/>
                    </a:lnTo>
                    <a:lnTo>
                      <a:pt x="129" y="242"/>
                    </a:lnTo>
                    <a:lnTo>
                      <a:pt x="127" y="242"/>
                    </a:lnTo>
                    <a:lnTo>
                      <a:pt x="125" y="242"/>
                    </a:lnTo>
                    <a:lnTo>
                      <a:pt x="125" y="244"/>
                    </a:lnTo>
                    <a:lnTo>
                      <a:pt x="123" y="244"/>
                    </a:lnTo>
                    <a:lnTo>
                      <a:pt x="121" y="244"/>
                    </a:lnTo>
                    <a:lnTo>
                      <a:pt x="119" y="244"/>
                    </a:lnTo>
                    <a:lnTo>
                      <a:pt x="117" y="244"/>
                    </a:lnTo>
                    <a:lnTo>
                      <a:pt x="119" y="246"/>
                    </a:lnTo>
                    <a:lnTo>
                      <a:pt x="117" y="248"/>
                    </a:lnTo>
                    <a:lnTo>
                      <a:pt x="115" y="248"/>
                    </a:lnTo>
                    <a:lnTo>
                      <a:pt x="113" y="248"/>
                    </a:lnTo>
                    <a:lnTo>
                      <a:pt x="113" y="246"/>
                    </a:lnTo>
                    <a:lnTo>
                      <a:pt x="111" y="246"/>
                    </a:lnTo>
                    <a:lnTo>
                      <a:pt x="110" y="246"/>
                    </a:lnTo>
                    <a:lnTo>
                      <a:pt x="110" y="244"/>
                    </a:lnTo>
                    <a:lnTo>
                      <a:pt x="111" y="244"/>
                    </a:lnTo>
                    <a:lnTo>
                      <a:pt x="111" y="242"/>
                    </a:lnTo>
                    <a:lnTo>
                      <a:pt x="111" y="240"/>
                    </a:lnTo>
                    <a:lnTo>
                      <a:pt x="111" y="238"/>
                    </a:lnTo>
                    <a:lnTo>
                      <a:pt x="111" y="236"/>
                    </a:lnTo>
                    <a:lnTo>
                      <a:pt x="110" y="236"/>
                    </a:lnTo>
                    <a:lnTo>
                      <a:pt x="108" y="234"/>
                    </a:lnTo>
                    <a:lnTo>
                      <a:pt x="108" y="236"/>
                    </a:lnTo>
                    <a:lnTo>
                      <a:pt x="106" y="234"/>
                    </a:lnTo>
                    <a:lnTo>
                      <a:pt x="106" y="236"/>
                    </a:lnTo>
                    <a:lnTo>
                      <a:pt x="106" y="234"/>
                    </a:lnTo>
                    <a:lnTo>
                      <a:pt x="104" y="234"/>
                    </a:lnTo>
                    <a:lnTo>
                      <a:pt x="102" y="234"/>
                    </a:lnTo>
                    <a:lnTo>
                      <a:pt x="100" y="230"/>
                    </a:lnTo>
                    <a:lnTo>
                      <a:pt x="98" y="230"/>
                    </a:lnTo>
                    <a:lnTo>
                      <a:pt x="100" y="228"/>
                    </a:lnTo>
                    <a:lnTo>
                      <a:pt x="98" y="228"/>
                    </a:lnTo>
                    <a:lnTo>
                      <a:pt x="98" y="226"/>
                    </a:lnTo>
                    <a:lnTo>
                      <a:pt x="98" y="224"/>
                    </a:lnTo>
                    <a:lnTo>
                      <a:pt x="98" y="223"/>
                    </a:lnTo>
                    <a:lnTo>
                      <a:pt x="96" y="223"/>
                    </a:lnTo>
                    <a:lnTo>
                      <a:pt x="96" y="221"/>
                    </a:lnTo>
                    <a:lnTo>
                      <a:pt x="94" y="221"/>
                    </a:lnTo>
                    <a:lnTo>
                      <a:pt x="96" y="219"/>
                    </a:lnTo>
                    <a:lnTo>
                      <a:pt x="94" y="219"/>
                    </a:lnTo>
                    <a:lnTo>
                      <a:pt x="96" y="217"/>
                    </a:lnTo>
                    <a:lnTo>
                      <a:pt x="96" y="215"/>
                    </a:lnTo>
                    <a:lnTo>
                      <a:pt x="94" y="215"/>
                    </a:lnTo>
                    <a:lnTo>
                      <a:pt x="96" y="215"/>
                    </a:lnTo>
                    <a:lnTo>
                      <a:pt x="96" y="213"/>
                    </a:lnTo>
                    <a:lnTo>
                      <a:pt x="94" y="213"/>
                    </a:lnTo>
                    <a:lnTo>
                      <a:pt x="92" y="213"/>
                    </a:lnTo>
                    <a:lnTo>
                      <a:pt x="92" y="211"/>
                    </a:lnTo>
                    <a:lnTo>
                      <a:pt x="90" y="211"/>
                    </a:lnTo>
                    <a:lnTo>
                      <a:pt x="88" y="211"/>
                    </a:lnTo>
                    <a:lnTo>
                      <a:pt x="87" y="209"/>
                    </a:lnTo>
                    <a:lnTo>
                      <a:pt x="88" y="207"/>
                    </a:lnTo>
                    <a:lnTo>
                      <a:pt x="90" y="207"/>
                    </a:lnTo>
                    <a:lnTo>
                      <a:pt x="90" y="205"/>
                    </a:lnTo>
                    <a:lnTo>
                      <a:pt x="90" y="203"/>
                    </a:lnTo>
                    <a:lnTo>
                      <a:pt x="92" y="203"/>
                    </a:lnTo>
                    <a:lnTo>
                      <a:pt x="94" y="203"/>
                    </a:lnTo>
                    <a:lnTo>
                      <a:pt x="94" y="201"/>
                    </a:lnTo>
                    <a:lnTo>
                      <a:pt x="94" y="199"/>
                    </a:lnTo>
                    <a:lnTo>
                      <a:pt x="94" y="198"/>
                    </a:lnTo>
                    <a:lnTo>
                      <a:pt x="94" y="196"/>
                    </a:lnTo>
                    <a:lnTo>
                      <a:pt x="94" y="198"/>
                    </a:lnTo>
                    <a:lnTo>
                      <a:pt x="94" y="196"/>
                    </a:lnTo>
                    <a:lnTo>
                      <a:pt x="92" y="196"/>
                    </a:lnTo>
                    <a:lnTo>
                      <a:pt x="90" y="196"/>
                    </a:lnTo>
                    <a:lnTo>
                      <a:pt x="90" y="194"/>
                    </a:lnTo>
                    <a:lnTo>
                      <a:pt x="90" y="196"/>
                    </a:lnTo>
                    <a:lnTo>
                      <a:pt x="88" y="196"/>
                    </a:lnTo>
                    <a:lnTo>
                      <a:pt x="88" y="198"/>
                    </a:lnTo>
                    <a:lnTo>
                      <a:pt x="88" y="199"/>
                    </a:lnTo>
                    <a:lnTo>
                      <a:pt x="87" y="199"/>
                    </a:lnTo>
                    <a:lnTo>
                      <a:pt x="87" y="201"/>
                    </a:lnTo>
                    <a:lnTo>
                      <a:pt x="85" y="201"/>
                    </a:lnTo>
                    <a:lnTo>
                      <a:pt x="85" y="203"/>
                    </a:lnTo>
                    <a:lnTo>
                      <a:pt x="85" y="205"/>
                    </a:lnTo>
                    <a:lnTo>
                      <a:pt x="83" y="205"/>
                    </a:lnTo>
                    <a:lnTo>
                      <a:pt x="81" y="205"/>
                    </a:lnTo>
                    <a:lnTo>
                      <a:pt x="81" y="207"/>
                    </a:lnTo>
                    <a:lnTo>
                      <a:pt x="79" y="209"/>
                    </a:lnTo>
                    <a:lnTo>
                      <a:pt x="77" y="209"/>
                    </a:lnTo>
                    <a:lnTo>
                      <a:pt x="75" y="209"/>
                    </a:lnTo>
                    <a:lnTo>
                      <a:pt x="75" y="211"/>
                    </a:lnTo>
                    <a:lnTo>
                      <a:pt x="73" y="213"/>
                    </a:lnTo>
                    <a:lnTo>
                      <a:pt x="73" y="215"/>
                    </a:lnTo>
                    <a:lnTo>
                      <a:pt x="73" y="217"/>
                    </a:lnTo>
                    <a:lnTo>
                      <a:pt x="71" y="217"/>
                    </a:lnTo>
                    <a:lnTo>
                      <a:pt x="71" y="215"/>
                    </a:lnTo>
                    <a:lnTo>
                      <a:pt x="69" y="213"/>
                    </a:lnTo>
                    <a:lnTo>
                      <a:pt x="67" y="213"/>
                    </a:lnTo>
                    <a:lnTo>
                      <a:pt x="65" y="213"/>
                    </a:lnTo>
                    <a:lnTo>
                      <a:pt x="65" y="215"/>
                    </a:lnTo>
                    <a:lnTo>
                      <a:pt x="63" y="215"/>
                    </a:lnTo>
                    <a:lnTo>
                      <a:pt x="63" y="213"/>
                    </a:lnTo>
                    <a:lnTo>
                      <a:pt x="62" y="213"/>
                    </a:lnTo>
                    <a:lnTo>
                      <a:pt x="62" y="211"/>
                    </a:lnTo>
                    <a:lnTo>
                      <a:pt x="63" y="211"/>
                    </a:lnTo>
                    <a:lnTo>
                      <a:pt x="63" y="209"/>
                    </a:lnTo>
                    <a:lnTo>
                      <a:pt x="62" y="209"/>
                    </a:lnTo>
                    <a:lnTo>
                      <a:pt x="60" y="209"/>
                    </a:lnTo>
                    <a:lnTo>
                      <a:pt x="60" y="211"/>
                    </a:lnTo>
                    <a:lnTo>
                      <a:pt x="58" y="211"/>
                    </a:lnTo>
                    <a:lnTo>
                      <a:pt x="58" y="209"/>
                    </a:lnTo>
                    <a:lnTo>
                      <a:pt x="56" y="209"/>
                    </a:lnTo>
                    <a:lnTo>
                      <a:pt x="56" y="207"/>
                    </a:lnTo>
                    <a:lnTo>
                      <a:pt x="54" y="209"/>
                    </a:lnTo>
                    <a:lnTo>
                      <a:pt x="52" y="209"/>
                    </a:lnTo>
                    <a:lnTo>
                      <a:pt x="50" y="207"/>
                    </a:lnTo>
                    <a:lnTo>
                      <a:pt x="52" y="205"/>
                    </a:lnTo>
                    <a:lnTo>
                      <a:pt x="50" y="205"/>
                    </a:lnTo>
                    <a:lnTo>
                      <a:pt x="48" y="205"/>
                    </a:lnTo>
                    <a:lnTo>
                      <a:pt x="46" y="205"/>
                    </a:lnTo>
                    <a:lnTo>
                      <a:pt x="42" y="203"/>
                    </a:lnTo>
                    <a:lnTo>
                      <a:pt x="40" y="205"/>
                    </a:lnTo>
                    <a:lnTo>
                      <a:pt x="38" y="205"/>
                    </a:lnTo>
                    <a:lnTo>
                      <a:pt x="37" y="205"/>
                    </a:lnTo>
                    <a:lnTo>
                      <a:pt x="37" y="203"/>
                    </a:lnTo>
                    <a:lnTo>
                      <a:pt x="38" y="203"/>
                    </a:lnTo>
                    <a:lnTo>
                      <a:pt x="37" y="203"/>
                    </a:lnTo>
                    <a:lnTo>
                      <a:pt x="37" y="201"/>
                    </a:lnTo>
                    <a:lnTo>
                      <a:pt x="37" y="199"/>
                    </a:lnTo>
                    <a:lnTo>
                      <a:pt x="37" y="198"/>
                    </a:lnTo>
                    <a:lnTo>
                      <a:pt x="37" y="196"/>
                    </a:lnTo>
                    <a:lnTo>
                      <a:pt x="37" y="194"/>
                    </a:lnTo>
                    <a:lnTo>
                      <a:pt x="35" y="194"/>
                    </a:lnTo>
                    <a:lnTo>
                      <a:pt x="35" y="192"/>
                    </a:lnTo>
                    <a:lnTo>
                      <a:pt x="35" y="190"/>
                    </a:lnTo>
                    <a:lnTo>
                      <a:pt x="33" y="188"/>
                    </a:lnTo>
                    <a:lnTo>
                      <a:pt x="33" y="186"/>
                    </a:lnTo>
                    <a:lnTo>
                      <a:pt x="33" y="184"/>
                    </a:lnTo>
                    <a:lnTo>
                      <a:pt x="31" y="184"/>
                    </a:lnTo>
                    <a:lnTo>
                      <a:pt x="31" y="182"/>
                    </a:lnTo>
                    <a:lnTo>
                      <a:pt x="29" y="182"/>
                    </a:lnTo>
                    <a:lnTo>
                      <a:pt x="29" y="180"/>
                    </a:lnTo>
                    <a:lnTo>
                      <a:pt x="29" y="178"/>
                    </a:lnTo>
                    <a:lnTo>
                      <a:pt x="31" y="178"/>
                    </a:lnTo>
                    <a:lnTo>
                      <a:pt x="29" y="178"/>
                    </a:lnTo>
                    <a:lnTo>
                      <a:pt x="29" y="176"/>
                    </a:lnTo>
                    <a:lnTo>
                      <a:pt x="31" y="176"/>
                    </a:lnTo>
                    <a:lnTo>
                      <a:pt x="33" y="176"/>
                    </a:lnTo>
                    <a:lnTo>
                      <a:pt x="33" y="174"/>
                    </a:lnTo>
                    <a:lnTo>
                      <a:pt x="33" y="173"/>
                    </a:lnTo>
                    <a:lnTo>
                      <a:pt x="31" y="173"/>
                    </a:lnTo>
                    <a:lnTo>
                      <a:pt x="31" y="171"/>
                    </a:lnTo>
                    <a:lnTo>
                      <a:pt x="29" y="171"/>
                    </a:lnTo>
                    <a:lnTo>
                      <a:pt x="29" y="169"/>
                    </a:lnTo>
                    <a:lnTo>
                      <a:pt x="27" y="169"/>
                    </a:lnTo>
                    <a:lnTo>
                      <a:pt x="25" y="169"/>
                    </a:lnTo>
                    <a:lnTo>
                      <a:pt x="25" y="167"/>
                    </a:lnTo>
                    <a:lnTo>
                      <a:pt x="25" y="165"/>
                    </a:lnTo>
                    <a:lnTo>
                      <a:pt x="23" y="165"/>
                    </a:lnTo>
                    <a:lnTo>
                      <a:pt x="21" y="165"/>
                    </a:lnTo>
                    <a:lnTo>
                      <a:pt x="21" y="163"/>
                    </a:lnTo>
                    <a:lnTo>
                      <a:pt x="19" y="161"/>
                    </a:lnTo>
                    <a:lnTo>
                      <a:pt x="19" y="159"/>
                    </a:lnTo>
                    <a:lnTo>
                      <a:pt x="17" y="159"/>
                    </a:lnTo>
                    <a:lnTo>
                      <a:pt x="15" y="161"/>
                    </a:lnTo>
                    <a:lnTo>
                      <a:pt x="15" y="159"/>
                    </a:lnTo>
                    <a:lnTo>
                      <a:pt x="14" y="159"/>
                    </a:lnTo>
                    <a:lnTo>
                      <a:pt x="14" y="157"/>
                    </a:lnTo>
                    <a:lnTo>
                      <a:pt x="12" y="157"/>
                    </a:lnTo>
                    <a:lnTo>
                      <a:pt x="12" y="159"/>
                    </a:lnTo>
                    <a:lnTo>
                      <a:pt x="10" y="159"/>
                    </a:lnTo>
                    <a:lnTo>
                      <a:pt x="8" y="159"/>
                    </a:lnTo>
                    <a:lnTo>
                      <a:pt x="8" y="157"/>
                    </a:lnTo>
                    <a:lnTo>
                      <a:pt x="8" y="155"/>
                    </a:lnTo>
                    <a:lnTo>
                      <a:pt x="6" y="155"/>
                    </a:lnTo>
                    <a:lnTo>
                      <a:pt x="6" y="153"/>
                    </a:lnTo>
                    <a:lnTo>
                      <a:pt x="6" y="151"/>
                    </a:lnTo>
                    <a:lnTo>
                      <a:pt x="6" y="149"/>
                    </a:lnTo>
                    <a:lnTo>
                      <a:pt x="6" y="148"/>
                    </a:lnTo>
                    <a:lnTo>
                      <a:pt x="6" y="146"/>
                    </a:lnTo>
                    <a:lnTo>
                      <a:pt x="6" y="144"/>
                    </a:lnTo>
                    <a:lnTo>
                      <a:pt x="6" y="142"/>
                    </a:lnTo>
                    <a:lnTo>
                      <a:pt x="4" y="140"/>
                    </a:lnTo>
                    <a:lnTo>
                      <a:pt x="6" y="140"/>
                    </a:lnTo>
                    <a:lnTo>
                      <a:pt x="6" y="138"/>
                    </a:lnTo>
                    <a:lnTo>
                      <a:pt x="6" y="136"/>
                    </a:lnTo>
                    <a:lnTo>
                      <a:pt x="4" y="134"/>
                    </a:lnTo>
                    <a:lnTo>
                      <a:pt x="4" y="132"/>
                    </a:lnTo>
                    <a:lnTo>
                      <a:pt x="4" y="130"/>
                    </a:lnTo>
                    <a:lnTo>
                      <a:pt x="2" y="130"/>
                    </a:lnTo>
                    <a:lnTo>
                      <a:pt x="2" y="128"/>
                    </a:lnTo>
                    <a:lnTo>
                      <a:pt x="4" y="126"/>
                    </a:lnTo>
                    <a:lnTo>
                      <a:pt x="6" y="126"/>
                    </a:lnTo>
                    <a:lnTo>
                      <a:pt x="8" y="126"/>
                    </a:lnTo>
                    <a:lnTo>
                      <a:pt x="10" y="126"/>
                    </a:lnTo>
                    <a:lnTo>
                      <a:pt x="12" y="126"/>
                    </a:lnTo>
                    <a:lnTo>
                      <a:pt x="14" y="124"/>
                    </a:lnTo>
                    <a:lnTo>
                      <a:pt x="14" y="126"/>
                    </a:lnTo>
                    <a:lnTo>
                      <a:pt x="15" y="126"/>
                    </a:lnTo>
                    <a:lnTo>
                      <a:pt x="17" y="126"/>
                    </a:lnTo>
                    <a:lnTo>
                      <a:pt x="17" y="124"/>
                    </a:lnTo>
                    <a:lnTo>
                      <a:pt x="17" y="123"/>
                    </a:lnTo>
                    <a:lnTo>
                      <a:pt x="17" y="121"/>
                    </a:lnTo>
                    <a:lnTo>
                      <a:pt x="19" y="121"/>
                    </a:lnTo>
                    <a:lnTo>
                      <a:pt x="21" y="119"/>
                    </a:lnTo>
                    <a:lnTo>
                      <a:pt x="21" y="117"/>
                    </a:lnTo>
                    <a:lnTo>
                      <a:pt x="19" y="117"/>
                    </a:lnTo>
                    <a:lnTo>
                      <a:pt x="19" y="115"/>
                    </a:lnTo>
                    <a:lnTo>
                      <a:pt x="17" y="115"/>
                    </a:lnTo>
                    <a:lnTo>
                      <a:pt x="15" y="115"/>
                    </a:lnTo>
                    <a:lnTo>
                      <a:pt x="15" y="113"/>
                    </a:lnTo>
                    <a:lnTo>
                      <a:pt x="17" y="113"/>
                    </a:lnTo>
                    <a:lnTo>
                      <a:pt x="17" y="111"/>
                    </a:lnTo>
                    <a:lnTo>
                      <a:pt x="19" y="109"/>
                    </a:lnTo>
                    <a:lnTo>
                      <a:pt x="17" y="109"/>
                    </a:lnTo>
                    <a:lnTo>
                      <a:pt x="17" y="107"/>
                    </a:lnTo>
                    <a:lnTo>
                      <a:pt x="15" y="107"/>
                    </a:lnTo>
                    <a:lnTo>
                      <a:pt x="14" y="105"/>
                    </a:lnTo>
                    <a:lnTo>
                      <a:pt x="14" y="103"/>
                    </a:lnTo>
                    <a:lnTo>
                      <a:pt x="12" y="103"/>
                    </a:lnTo>
                    <a:lnTo>
                      <a:pt x="12" y="105"/>
                    </a:lnTo>
                    <a:lnTo>
                      <a:pt x="12" y="103"/>
                    </a:lnTo>
                    <a:lnTo>
                      <a:pt x="10" y="103"/>
                    </a:lnTo>
                    <a:lnTo>
                      <a:pt x="10" y="105"/>
                    </a:lnTo>
                    <a:lnTo>
                      <a:pt x="10" y="103"/>
                    </a:lnTo>
                    <a:lnTo>
                      <a:pt x="8" y="103"/>
                    </a:lnTo>
                    <a:lnTo>
                      <a:pt x="6" y="103"/>
                    </a:lnTo>
                    <a:lnTo>
                      <a:pt x="6" y="101"/>
                    </a:lnTo>
                    <a:lnTo>
                      <a:pt x="4" y="101"/>
                    </a:lnTo>
                    <a:lnTo>
                      <a:pt x="4" y="99"/>
                    </a:lnTo>
                    <a:lnTo>
                      <a:pt x="2" y="99"/>
                    </a:lnTo>
                    <a:lnTo>
                      <a:pt x="2" y="98"/>
                    </a:lnTo>
                    <a:lnTo>
                      <a:pt x="0" y="98"/>
                    </a:lnTo>
                    <a:lnTo>
                      <a:pt x="0" y="96"/>
                    </a:lnTo>
                    <a:lnTo>
                      <a:pt x="2" y="96"/>
                    </a:lnTo>
                    <a:lnTo>
                      <a:pt x="2" y="94"/>
                    </a:lnTo>
                    <a:lnTo>
                      <a:pt x="2" y="92"/>
                    </a:lnTo>
                    <a:lnTo>
                      <a:pt x="2" y="94"/>
                    </a:lnTo>
                    <a:lnTo>
                      <a:pt x="4" y="94"/>
                    </a:lnTo>
                    <a:lnTo>
                      <a:pt x="4" y="92"/>
                    </a:lnTo>
                    <a:lnTo>
                      <a:pt x="4" y="94"/>
                    </a:lnTo>
                    <a:lnTo>
                      <a:pt x="6" y="94"/>
                    </a:lnTo>
                    <a:lnTo>
                      <a:pt x="6" y="96"/>
                    </a:lnTo>
                    <a:lnTo>
                      <a:pt x="6" y="98"/>
                    </a:lnTo>
                    <a:lnTo>
                      <a:pt x="8" y="96"/>
                    </a:lnTo>
                    <a:lnTo>
                      <a:pt x="8" y="94"/>
                    </a:lnTo>
                    <a:lnTo>
                      <a:pt x="8" y="92"/>
                    </a:lnTo>
                    <a:lnTo>
                      <a:pt x="10" y="90"/>
                    </a:lnTo>
                    <a:lnTo>
                      <a:pt x="10" y="88"/>
                    </a:lnTo>
                    <a:lnTo>
                      <a:pt x="12" y="86"/>
                    </a:lnTo>
                    <a:lnTo>
                      <a:pt x="14" y="84"/>
                    </a:lnTo>
                    <a:lnTo>
                      <a:pt x="15" y="84"/>
                    </a:lnTo>
                    <a:lnTo>
                      <a:pt x="17" y="86"/>
                    </a:lnTo>
                    <a:lnTo>
                      <a:pt x="19" y="86"/>
                    </a:lnTo>
                    <a:lnTo>
                      <a:pt x="19" y="84"/>
                    </a:lnTo>
                    <a:lnTo>
                      <a:pt x="21" y="84"/>
                    </a:lnTo>
                    <a:lnTo>
                      <a:pt x="21" y="82"/>
                    </a:lnTo>
                    <a:lnTo>
                      <a:pt x="23" y="82"/>
                    </a:lnTo>
                    <a:lnTo>
                      <a:pt x="25" y="82"/>
                    </a:lnTo>
                    <a:lnTo>
                      <a:pt x="27" y="82"/>
                    </a:lnTo>
                    <a:lnTo>
                      <a:pt x="27" y="80"/>
                    </a:lnTo>
                    <a:lnTo>
                      <a:pt x="29" y="78"/>
                    </a:lnTo>
                    <a:lnTo>
                      <a:pt x="31" y="76"/>
                    </a:lnTo>
                    <a:lnTo>
                      <a:pt x="33" y="76"/>
                    </a:lnTo>
                    <a:lnTo>
                      <a:pt x="35" y="76"/>
                    </a:lnTo>
                    <a:lnTo>
                      <a:pt x="37" y="76"/>
                    </a:lnTo>
                    <a:lnTo>
                      <a:pt x="38" y="75"/>
                    </a:lnTo>
                    <a:lnTo>
                      <a:pt x="38" y="73"/>
                    </a:lnTo>
                    <a:lnTo>
                      <a:pt x="40" y="73"/>
                    </a:lnTo>
                    <a:lnTo>
                      <a:pt x="40" y="71"/>
                    </a:lnTo>
                    <a:lnTo>
                      <a:pt x="42" y="73"/>
                    </a:lnTo>
                    <a:lnTo>
                      <a:pt x="44" y="71"/>
                    </a:lnTo>
                    <a:lnTo>
                      <a:pt x="46" y="71"/>
                    </a:lnTo>
                    <a:lnTo>
                      <a:pt x="46" y="73"/>
                    </a:lnTo>
                    <a:lnTo>
                      <a:pt x="46" y="75"/>
                    </a:lnTo>
                    <a:lnTo>
                      <a:pt x="48" y="75"/>
                    </a:lnTo>
                    <a:lnTo>
                      <a:pt x="48" y="73"/>
                    </a:lnTo>
                    <a:lnTo>
                      <a:pt x="50" y="73"/>
                    </a:lnTo>
                    <a:lnTo>
                      <a:pt x="50" y="71"/>
                    </a:lnTo>
                    <a:lnTo>
                      <a:pt x="50" y="69"/>
                    </a:lnTo>
                    <a:lnTo>
                      <a:pt x="52" y="69"/>
                    </a:lnTo>
                    <a:lnTo>
                      <a:pt x="52" y="71"/>
                    </a:lnTo>
                    <a:lnTo>
                      <a:pt x="52" y="69"/>
                    </a:lnTo>
                    <a:lnTo>
                      <a:pt x="54" y="69"/>
                    </a:lnTo>
                    <a:lnTo>
                      <a:pt x="56" y="69"/>
                    </a:lnTo>
                    <a:lnTo>
                      <a:pt x="56" y="71"/>
                    </a:lnTo>
                    <a:lnTo>
                      <a:pt x="58" y="71"/>
                    </a:lnTo>
                    <a:lnTo>
                      <a:pt x="58" y="69"/>
                    </a:lnTo>
                    <a:lnTo>
                      <a:pt x="58" y="67"/>
                    </a:lnTo>
                    <a:lnTo>
                      <a:pt x="58" y="65"/>
                    </a:lnTo>
                    <a:lnTo>
                      <a:pt x="60" y="65"/>
                    </a:lnTo>
                    <a:lnTo>
                      <a:pt x="60" y="63"/>
                    </a:lnTo>
                    <a:lnTo>
                      <a:pt x="60" y="61"/>
                    </a:lnTo>
                    <a:lnTo>
                      <a:pt x="62" y="61"/>
                    </a:lnTo>
                    <a:lnTo>
                      <a:pt x="63" y="61"/>
                    </a:lnTo>
                    <a:lnTo>
                      <a:pt x="63" y="59"/>
                    </a:lnTo>
                    <a:lnTo>
                      <a:pt x="65" y="57"/>
                    </a:lnTo>
                    <a:lnTo>
                      <a:pt x="65" y="59"/>
                    </a:lnTo>
                    <a:lnTo>
                      <a:pt x="67" y="59"/>
                    </a:lnTo>
                    <a:lnTo>
                      <a:pt x="69" y="57"/>
                    </a:lnTo>
                    <a:lnTo>
                      <a:pt x="69" y="55"/>
                    </a:lnTo>
                    <a:lnTo>
                      <a:pt x="69" y="53"/>
                    </a:lnTo>
                    <a:lnTo>
                      <a:pt x="71" y="53"/>
                    </a:lnTo>
                    <a:lnTo>
                      <a:pt x="71" y="51"/>
                    </a:lnTo>
                    <a:lnTo>
                      <a:pt x="69" y="51"/>
                    </a:lnTo>
                    <a:lnTo>
                      <a:pt x="71" y="50"/>
                    </a:lnTo>
                    <a:lnTo>
                      <a:pt x="73" y="50"/>
                    </a:lnTo>
                    <a:lnTo>
                      <a:pt x="75" y="48"/>
                    </a:lnTo>
                    <a:lnTo>
                      <a:pt x="73" y="46"/>
                    </a:lnTo>
                    <a:lnTo>
                      <a:pt x="73" y="44"/>
                    </a:lnTo>
                    <a:lnTo>
                      <a:pt x="73" y="42"/>
                    </a:lnTo>
                    <a:lnTo>
                      <a:pt x="75" y="42"/>
                    </a:lnTo>
                    <a:lnTo>
                      <a:pt x="75" y="40"/>
                    </a:lnTo>
                    <a:lnTo>
                      <a:pt x="77" y="40"/>
                    </a:lnTo>
                    <a:lnTo>
                      <a:pt x="75" y="40"/>
                    </a:lnTo>
                    <a:lnTo>
                      <a:pt x="75" y="38"/>
                    </a:lnTo>
                    <a:lnTo>
                      <a:pt x="73" y="38"/>
                    </a:lnTo>
                    <a:lnTo>
                      <a:pt x="75" y="38"/>
                    </a:lnTo>
                    <a:lnTo>
                      <a:pt x="75" y="36"/>
                    </a:lnTo>
                    <a:lnTo>
                      <a:pt x="77" y="36"/>
                    </a:lnTo>
                    <a:lnTo>
                      <a:pt x="77" y="38"/>
                    </a:lnTo>
                    <a:lnTo>
                      <a:pt x="77" y="36"/>
                    </a:lnTo>
                    <a:lnTo>
                      <a:pt x="79" y="34"/>
                    </a:lnTo>
                    <a:lnTo>
                      <a:pt x="77" y="34"/>
                    </a:lnTo>
                    <a:lnTo>
                      <a:pt x="79" y="34"/>
                    </a:lnTo>
                    <a:lnTo>
                      <a:pt x="77" y="34"/>
                    </a:lnTo>
                    <a:lnTo>
                      <a:pt x="79" y="34"/>
                    </a:lnTo>
                    <a:lnTo>
                      <a:pt x="81" y="34"/>
                    </a:lnTo>
                    <a:lnTo>
                      <a:pt x="81" y="36"/>
                    </a:lnTo>
                    <a:lnTo>
                      <a:pt x="83" y="36"/>
                    </a:lnTo>
                    <a:lnTo>
                      <a:pt x="85" y="36"/>
                    </a:lnTo>
                    <a:lnTo>
                      <a:pt x="85" y="38"/>
                    </a:lnTo>
                    <a:lnTo>
                      <a:pt x="87" y="38"/>
                    </a:lnTo>
                    <a:lnTo>
                      <a:pt x="87" y="40"/>
                    </a:lnTo>
                    <a:lnTo>
                      <a:pt x="88" y="42"/>
                    </a:lnTo>
                    <a:lnTo>
                      <a:pt x="88" y="40"/>
                    </a:lnTo>
                    <a:lnTo>
                      <a:pt x="90" y="40"/>
                    </a:lnTo>
                    <a:lnTo>
                      <a:pt x="92" y="40"/>
                    </a:lnTo>
                    <a:lnTo>
                      <a:pt x="94" y="40"/>
                    </a:lnTo>
                    <a:lnTo>
                      <a:pt x="94" y="38"/>
                    </a:lnTo>
                    <a:lnTo>
                      <a:pt x="96" y="38"/>
                    </a:lnTo>
                    <a:lnTo>
                      <a:pt x="96" y="36"/>
                    </a:lnTo>
                    <a:lnTo>
                      <a:pt x="96" y="34"/>
                    </a:lnTo>
                    <a:lnTo>
                      <a:pt x="96" y="36"/>
                    </a:lnTo>
                    <a:lnTo>
                      <a:pt x="96" y="34"/>
                    </a:lnTo>
                    <a:lnTo>
                      <a:pt x="98" y="34"/>
                    </a:lnTo>
                    <a:lnTo>
                      <a:pt x="100" y="34"/>
                    </a:lnTo>
                    <a:lnTo>
                      <a:pt x="100" y="36"/>
                    </a:lnTo>
                    <a:lnTo>
                      <a:pt x="102" y="36"/>
                    </a:lnTo>
                    <a:lnTo>
                      <a:pt x="104" y="36"/>
                    </a:lnTo>
                    <a:lnTo>
                      <a:pt x="106" y="36"/>
                    </a:lnTo>
                    <a:lnTo>
                      <a:pt x="108" y="36"/>
                    </a:lnTo>
                    <a:lnTo>
                      <a:pt x="110" y="34"/>
                    </a:lnTo>
                    <a:lnTo>
                      <a:pt x="110" y="32"/>
                    </a:lnTo>
                    <a:lnTo>
                      <a:pt x="110" y="30"/>
                    </a:lnTo>
                    <a:lnTo>
                      <a:pt x="110" y="28"/>
                    </a:lnTo>
                    <a:lnTo>
                      <a:pt x="111" y="28"/>
                    </a:lnTo>
                    <a:lnTo>
                      <a:pt x="111" y="26"/>
                    </a:lnTo>
                    <a:lnTo>
                      <a:pt x="111" y="25"/>
                    </a:lnTo>
                    <a:lnTo>
                      <a:pt x="111" y="23"/>
                    </a:lnTo>
                    <a:lnTo>
                      <a:pt x="111" y="21"/>
                    </a:lnTo>
                    <a:lnTo>
                      <a:pt x="111" y="19"/>
                    </a:lnTo>
                    <a:lnTo>
                      <a:pt x="111" y="17"/>
                    </a:lnTo>
                    <a:lnTo>
                      <a:pt x="111" y="15"/>
                    </a:lnTo>
                    <a:lnTo>
                      <a:pt x="110" y="15"/>
                    </a:lnTo>
                    <a:lnTo>
                      <a:pt x="110" y="17"/>
                    </a:lnTo>
                    <a:lnTo>
                      <a:pt x="108" y="15"/>
                    </a:lnTo>
                    <a:lnTo>
                      <a:pt x="106" y="15"/>
                    </a:lnTo>
                    <a:lnTo>
                      <a:pt x="106" y="13"/>
                    </a:lnTo>
                    <a:lnTo>
                      <a:pt x="106" y="11"/>
                    </a:lnTo>
                    <a:lnTo>
                      <a:pt x="106" y="9"/>
                    </a:lnTo>
                    <a:lnTo>
                      <a:pt x="108" y="9"/>
                    </a:lnTo>
                    <a:lnTo>
                      <a:pt x="108" y="7"/>
                    </a:lnTo>
                    <a:lnTo>
                      <a:pt x="110" y="7"/>
                    </a:lnTo>
                    <a:lnTo>
                      <a:pt x="111" y="7"/>
                    </a:lnTo>
                    <a:lnTo>
                      <a:pt x="111" y="5"/>
                    </a:lnTo>
                    <a:lnTo>
                      <a:pt x="111" y="3"/>
                    </a:lnTo>
                    <a:lnTo>
                      <a:pt x="113" y="1"/>
                    </a:lnTo>
                    <a:lnTo>
                      <a:pt x="113" y="0"/>
                    </a:lnTo>
                    <a:lnTo>
                      <a:pt x="113" y="1"/>
                    </a:lnTo>
                    <a:lnTo>
                      <a:pt x="115" y="1"/>
                    </a:lnTo>
                    <a:lnTo>
                      <a:pt x="117" y="1"/>
                    </a:lnTo>
                    <a:lnTo>
                      <a:pt x="117" y="0"/>
                    </a:lnTo>
                    <a:lnTo>
                      <a:pt x="119" y="0"/>
                    </a:lnTo>
                    <a:lnTo>
                      <a:pt x="119" y="1"/>
                    </a:lnTo>
                    <a:lnTo>
                      <a:pt x="121" y="0"/>
                    </a:lnTo>
                    <a:lnTo>
                      <a:pt x="121" y="1"/>
                    </a:lnTo>
                    <a:lnTo>
                      <a:pt x="123" y="1"/>
                    </a:lnTo>
                    <a:lnTo>
                      <a:pt x="123" y="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87">
                <a:extLst>
                  <a:ext uri="{FF2B5EF4-FFF2-40B4-BE49-F238E27FC236}">
                    <a16:creationId xmlns="" xmlns:a16="http://schemas.microsoft.com/office/drawing/2014/main" id="{41B714AF-1511-4527-90D6-1041A1669C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62238" y="3827463"/>
                <a:ext cx="377825" cy="560388"/>
              </a:xfrm>
              <a:custGeom>
                <a:avLst/>
                <a:gdLst>
                  <a:gd name="T0" fmla="*/ 185 w 238"/>
                  <a:gd name="T1" fmla="*/ 65 h 353"/>
                  <a:gd name="T2" fmla="*/ 206 w 238"/>
                  <a:gd name="T3" fmla="*/ 75 h 353"/>
                  <a:gd name="T4" fmla="*/ 221 w 238"/>
                  <a:gd name="T5" fmla="*/ 82 h 353"/>
                  <a:gd name="T6" fmla="*/ 237 w 238"/>
                  <a:gd name="T7" fmla="*/ 88 h 353"/>
                  <a:gd name="T8" fmla="*/ 223 w 238"/>
                  <a:gd name="T9" fmla="*/ 103 h 353"/>
                  <a:gd name="T10" fmla="*/ 231 w 238"/>
                  <a:gd name="T11" fmla="*/ 119 h 353"/>
                  <a:gd name="T12" fmla="*/ 223 w 238"/>
                  <a:gd name="T13" fmla="*/ 126 h 353"/>
                  <a:gd name="T14" fmla="*/ 204 w 238"/>
                  <a:gd name="T15" fmla="*/ 130 h 353"/>
                  <a:gd name="T16" fmla="*/ 196 w 238"/>
                  <a:gd name="T17" fmla="*/ 138 h 353"/>
                  <a:gd name="T18" fmla="*/ 190 w 238"/>
                  <a:gd name="T19" fmla="*/ 149 h 353"/>
                  <a:gd name="T20" fmla="*/ 185 w 238"/>
                  <a:gd name="T21" fmla="*/ 134 h 353"/>
                  <a:gd name="T22" fmla="*/ 173 w 238"/>
                  <a:gd name="T23" fmla="*/ 142 h 353"/>
                  <a:gd name="T24" fmla="*/ 173 w 238"/>
                  <a:gd name="T25" fmla="*/ 132 h 353"/>
                  <a:gd name="T26" fmla="*/ 162 w 238"/>
                  <a:gd name="T27" fmla="*/ 113 h 353"/>
                  <a:gd name="T28" fmla="*/ 144 w 238"/>
                  <a:gd name="T29" fmla="*/ 126 h 353"/>
                  <a:gd name="T30" fmla="*/ 140 w 238"/>
                  <a:gd name="T31" fmla="*/ 140 h 353"/>
                  <a:gd name="T32" fmla="*/ 150 w 238"/>
                  <a:gd name="T33" fmla="*/ 165 h 353"/>
                  <a:gd name="T34" fmla="*/ 173 w 238"/>
                  <a:gd name="T35" fmla="*/ 176 h 353"/>
                  <a:gd name="T36" fmla="*/ 202 w 238"/>
                  <a:gd name="T37" fmla="*/ 176 h 353"/>
                  <a:gd name="T38" fmla="*/ 225 w 238"/>
                  <a:gd name="T39" fmla="*/ 173 h 353"/>
                  <a:gd name="T40" fmla="*/ 214 w 238"/>
                  <a:gd name="T41" fmla="*/ 190 h 353"/>
                  <a:gd name="T42" fmla="*/ 200 w 238"/>
                  <a:gd name="T43" fmla="*/ 215 h 353"/>
                  <a:gd name="T44" fmla="*/ 177 w 238"/>
                  <a:gd name="T45" fmla="*/ 219 h 353"/>
                  <a:gd name="T46" fmla="*/ 160 w 238"/>
                  <a:gd name="T47" fmla="*/ 240 h 353"/>
                  <a:gd name="T48" fmla="*/ 146 w 238"/>
                  <a:gd name="T49" fmla="*/ 276 h 353"/>
                  <a:gd name="T50" fmla="*/ 131 w 238"/>
                  <a:gd name="T51" fmla="*/ 311 h 353"/>
                  <a:gd name="T52" fmla="*/ 121 w 238"/>
                  <a:gd name="T53" fmla="*/ 328 h 353"/>
                  <a:gd name="T54" fmla="*/ 102 w 238"/>
                  <a:gd name="T55" fmla="*/ 351 h 353"/>
                  <a:gd name="T56" fmla="*/ 75 w 238"/>
                  <a:gd name="T57" fmla="*/ 340 h 353"/>
                  <a:gd name="T58" fmla="*/ 54 w 238"/>
                  <a:gd name="T59" fmla="*/ 340 h 353"/>
                  <a:gd name="T60" fmla="*/ 41 w 238"/>
                  <a:gd name="T61" fmla="*/ 342 h 353"/>
                  <a:gd name="T62" fmla="*/ 50 w 238"/>
                  <a:gd name="T63" fmla="*/ 321 h 353"/>
                  <a:gd name="T64" fmla="*/ 50 w 238"/>
                  <a:gd name="T65" fmla="*/ 303 h 353"/>
                  <a:gd name="T66" fmla="*/ 41 w 238"/>
                  <a:gd name="T67" fmla="*/ 296 h 353"/>
                  <a:gd name="T68" fmla="*/ 54 w 238"/>
                  <a:gd name="T69" fmla="*/ 282 h 353"/>
                  <a:gd name="T70" fmla="*/ 52 w 238"/>
                  <a:gd name="T71" fmla="*/ 273 h 353"/>
                  <a:gd name="T72" fmla="*/ 39 w 238"/>
                  <a:gd name="T73" fmla="*/ 273 h 353"/>
                  <a:gd name="T74" fmla="*/ 27 w 238"/>
                  <a:gd name="T75" fmla="*/ 274 h 353"/>
                  <a:gd name="T76" fmla="*/ 27 w 238"/>
                  <a:gd name="T77" fmla="*/ 263 h 353"/>
                  <a:gd name="T78" fmla="*/ 21 w 238"/>
                  <a:gd name="T79" fmla="*/ 248 h 353"/>
                  <a:gd name="T80" fmla="*/ 29 w 238"/>
                  <a:gd name="T81" fmla="*/ 242 h 353"/>
                  <a:gd name="T82" fmla="*/ 23 w 238"/>
                  <a:gd name="T83" fmla="*/ 226 h 353"/>
                  <a:gd name="T84" fmla="*/ 16 w 238"/>
                  <a:gd name="T85" fmla="*/ 209 h 353"/>
                  <a:gd name="T86" fmla="*/ 6 w 238"/>
                  <a:gd name="T87" fmla="*/ 188 h 353"/>
                  <a:gd name="T88" fmla="*/ 2 w 238"/>
                  <a:gd name="T89" fmla="*/ 149 h 353"/>
                  <a:gd name="T90" fmla="*/ 8 w 238"/>
                  <a:gd name="T91" fmla="*/ 126 h 353"/>
                  <a:gd name="T92" fmla="*/ 16 w 238"/>
                  <a:gd name="T93" fmla="*/ 111 h 353"/>
                  <a:gd name="T94" fmla="*/ 27 w 238"/>
                  <a:gd name="T95" fmla="*/ 98 h 353"/>
                  <a:gd name="T96" fmla="*/ 29 w 238"/>
                  <a:gd name="T97" fmla="*/ 82 h 353"/>
                  <a:gd name="T98" fmla="*/ 31 w 238"/>
                  <a:gd name="T99" fmla="*/ 69 h 353"/>
                  <a:gd name="T100" fmla="*/ 52 w 238"/>
                  <a:gd name="T101" fmla="*/ 63 h 353"/>
                  <a:gd name="T102" fmla="*/ 71 w 238"/>
                  <a:gd name="T103" fmla="*/ 50 h 353"/>
                  <a:gd name="T104" fmla="*/ 69 w 238"/>
                  <a:gd name="T105" fmla="*/ 38 h 353"/>
                  <a:gd name="T106" fmla="*/ 62 w 238"/>
                  <a:gd name="T107" fmla="*/ 26 h 353"/>
                  <a:gd name="T108" fmla="*/ 81 w 238"/>
                  <a:gd name="T109" fmla="*/ 19 h 353"/>
                  <a:gd name="T110" fmla="*/ 96 w 238"/>
                  <a:gd name="T111" fmla="*/ 9 h 353"/>
                  <a:gd name="T112" fmla="*/ 108 w 238"/>
                  <a:gd name="T113" fmla="*/ 7 h 353"/>
                  <a:gd name="T114" fmla="*/ 117 w 238"/>
                  <a:gd name="T115" fmla="*/ 21 h 353"/>
                  <a:gd name="T116" fmla="*/ 133 w 238"/>
                  <a:gd name="T117" fmla="*/ 23 h 353"/>
                  <a:gd name="T118" fmla="*/ 144 w 238"/>
                  <a:gd name="T119" fmla="*/ 32 h 353"/>
                  <a:gd name="T120" fmla="*/ 160 w 238"/>
                  <a:gd name="T121" fmla="*/ 36 h 353"/>
                  <a:gd name="T122" fmla="*/ 169 w 238"/>
                  <a:gd name="T123" fmla="*/ 57 h 353"/>
                  <a:gd name="T124" fmla="*/ 185 w 238"/>
                  <a:gd name="T125" fmla="*/ 48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38" h="353">
                    <a:moveTo>
                      <a:pt x="185" y="48"/>
                    </a:moveTo>
                    <a:lnTo>
                      <a:pt x="185" y="50"/>
                    </a:lnTo>
                    <a:lnTo>
                      <a:pt x="185" y="51"/>
                    </a:lnTo>
                    <a:lnTo>
                      <a:pt x="183" y="51"/>
                    </a:lnTo>
                    <a:lnTo>
                      <a:pt x="183" y="53"/>
                    </a:lnTo>
                    <a:lnTo>
                      <a:pt x="185" y="53"/>
                    </a:lnTo>
                    <a:lnTo>
                      <a:pt x="183" y="53"/>
                    </a:lnTo>
                    <a:lnTo>
                      <a:pt x="183" y="55"/>
                    </a:lnTo>
                    <a:lnTo>
                      <a:pt x="185" y="55"/>
                    </a:lnTo>
                    <a:lnTo>
                      <a:pt x="185" y="57"/>
                    </a:lnTo>
                    <a:lnTo>
                      <a:pt x="183" y="57"/>
                    </a:lnTo>
                    <a:lnTo>
                      <a:pt x="183" y="59"/>
                    </a:lnTo>
                    <a:lnTo>
                      <a:pt x="183" y="61"/>
                    </a:lnTo>
                    <a:lnTo>
                      <a:pt x="181" y="61"/>
                    </a:lnTo>
                    <a:lnTo>
                      <a:pt x="183" y="63"/>
                    </a:lnTo>
                    <a:lnTo>
                      <a:pt x="183" y="65"/>
                    </a:lnTo>
                    <a:lnTo>
                      <a:pt x="185" y="67"/>
                    </a:lnTo>
                    <a:lnTo>
                      <a:pt x="185" y="65"/>
                    </a:lnTo>
                    <a:lnTo>
                      <a:pt x="187" y="67"/>
                    </a:lnTo>
                    <a:lnTo>
                      <a:pt x="187" y="65"/>
                    </a:lnTo>
                    <a:lnTo>
                      <a:pt x="189" y="65"/>
                    </a:lnTo>
                    <a:lnTo>
                      <a:pt x="189" y="63"/>
                    </a:lnTo>
                    <a:lnTo>
                      <a:pt x="189" y="65"/>
                    </a:lnTo>
                    <a:lnTo>
                      <a:pt x="190" y="65"/>
                    </a:lnTo>
                    <a:lnTo>
                      <a:pt x="192" y="65"/>
                    </a:lnTo>
                    <a:lnTo>
                      <a:pt x="194" y="65"/>
                    </a:lnTo>
                    <a:lnTo>
                      <a:pt x="194" y="67"/>
                    </a:lnTo>
                    <a:lnTo>
                      <a:pt x="194" y="69"/>
                    </a:lnTo>
                    <a:lnTo>
                      <a:pt x="196" y="69"/>
                    </a:lnTo>
                    <a:lnTo>
                      <a:pt x="198" y="69"/>
                    </a:lnTo>
                    <a:lnTo>
                      <a:pt x="200" y="71"/>
                    </a:lnTo>
                    <a:lnTo>
                      <a:pt x="202" y="69"/>
                    </a:lnTo>
                    <a:lnTo>
                      <a:pt x="204" y="71"/>
                    </a:lnTo>
                    <a:lnTo>
                      <a:pt x="204" y="73"/>
                    </a:lnTo>
                    <a:lnTo>
                      <a:pt x="206" y="73"/>
                    </a:lnTo>
                    <a:lnTo>
                      <a:pt x="206" y="75"/>
                    </a:lnTo>
                    <a:lnTo>
                      <a:pt x="206" y="73"/>
                    </a:lnTo>
                    <a:lnTo>
                      <a:pt x="208" y="73"/>
                    </a:lnTo>
                    <a:lnTo>
                      <a:pt x="208" y="75"/>
                    </a:lnTo>
                    <a:lnTo>
                      <a:pt x="208" y="76"/>
                    </a:lnTo>
                    <a:lnTo>
                      <a:pt x="208" y="75"/>
                    </a:lnTo>
                    <a:lnTo>
                      <a:pt x="210" y="75"/>
                    </a:lnTo>
                    <a:lnTo>
                      <a:pt x="212" y="75"/>
                    </a:lnTo>
                    <a:lnTo>
                      <a:pt x="214" y="73"/>
                    </a:lnTo>
                    <a:lnTo>
                      <a:pt x="214" y="71"/>
                    </a:lnTo>
                    <a:lnTo>
                      <a:pt x="215" y="73"/>
                    </a:lnTo>
                    <a:lnTo>
                      <a:pt x="215" y="75"/>
                    </a:lnTo>
                    <a:lnTo>
                      <a:pt x="217" y="75"/>
                    </a:lnTo>
                    <a:lnTo>
                      <a:pt x="217" y="76"/>
                    </a:lnTo>
                    <a:lnTo>
                      <a:pt x="219" y="76"/>
                    </a:lnTo>
                    <a:lnTo>
                      <a:pt x="219" y="78"/>
                    </a:lnTo>
                    <a:lnTo>
                      <a:pt x="219" y="80"/>
                    </a:lnTo>
                    <a:lnTo>
                      <a:pt x="221" y="80"/>
                    </a:lnTo>
                    <a:lnTo>
                      <a:pt x="221" y="82"/>
                    </a:lnTo>
                    <a:lnTo>
                      <a:pt x="223" y="82"/>
                    </a:lnTo>
                    <a:lnTo>
                      <a:pt x="223" y="84"/>
                    </a:lnTo>
                    <a:lnTo>
                      <a:pt x="225" y="84"/>
                    </a:lnTo>
                    <a:lnTo>
                      <a:pt x="225" y="82"/>
                    </a:lnTo>
                    <a:lnTo>
                      <a:pt x="227" y="82"/>
                    </a:lnTo>
                    <a:lnTo>
                      <a:pt x="229" y="80"/>
                    </a:lnTo>
                    <a:lnTo>
                      <a:pt x="229" y="78"/>
                    </a:lnTo>
                    <a:lnTo>
                      <a:pt x="231" y="78"/>
                    </a:lnTo>
                    <a:lnTo>
                      <a:pt x="233" y="80"/>
                    </a:lnTo>
                    <a:lnTo>
                      <a:pt x="233" y="82"/>
                    </a:lnTo>
                    <a:lnTo>
                      <a:pt x="235" y="82"/>
                    </a:lnTo>
                    <a:lnTo>
                      <a:pt x="237" y="82"/>
                    </a:lnTo>
                    <a:lnTo>
                      <a:pt x="237" y="80"/>
                    </a:lnTo>
                    <a:lnTo>
                      <a:pt x="238" y="82"/>
                    </a:lnTo>
                    <a:lnTo>
                      <a:pt x="238" y="84"/>
                    </a:lnTo>
                    <a:lnTo>
                      <a:pt x="238" y="86"/>
                    </a:lnTo>
                    <a:lnTo>
                      <a:pt x="237" y="86"/>
                    </a:lnTo>
                    <a:lnTo>
                      <a:pt x="237" y="88"/>
                    </a:lnTo>
                    <a:lnTo>
                      <a:pt x="235" y="88"/>
                    </a:lnTo>
                    <a:lnTo>
                      <a:pt x="235" y="90"/>
                    </a:lnTo>
                    <a:lnTo>
                      <a:pt x="235" y="88"/>
                    </a:lnTo>
                    <a:lnTo>
                      <a:pt x="235" y="90"/>
                    </a:lnTo>
                    <a:lnTo>
                      <a:pt x="233" y="90"/>
                    </a:lnTo>
                    <a:lnTo>
                      <a:pt x="233" y="88"/>
                    </a:lnTo>
                    <a:lnTo>
                      <a:pt x="231" y="88"/>
                    </a:lnTo>
                    <a:lnTo>
                      <a:pt x="231" y="90"/>
                    </a:lnTo>
                    <a:lnTo>
                      <a:pt x="231" y="92"/>
                    </a:lnTo>
                    <a:lnTo>
                      <a:pt x="231" y="94"/>
                    </a:lnTo>
                    <a:lnTo>
                      <a:pt x="231" y="96"/>
                    </a:lnTo>
                    <a:lnTo>
                      <a:pt x="231" y="98"/>
                    </a:lnTo>
                    <a:lnTo>
                      <a:pt x="229" y="98"/>
                    </a:lnTo>
                    <a:lnTo>
                      <a:pt x="229" y="99"/>
                    </a:lnTo>
                    <a:lnTo>
                      <a:pt x="227" y="101"/>
                    </a:lnTo>
                    <a:lnTo>
                      <a:pt x="225" y="101"/>
                    </a:lnTo>
                    <a:lnTo>
                      <a:pt x="225" y="103"/>
                    </a:lnTo>
                    <a:lnTo>
                      <a:pt x="223" y="103"/>
                    </a:lnTo>
                    <a:lnTo>
                      <a:pt x="225" y="103"/>
                    </a:lnTo>
                    <a:lnTo>
                      <a:pt x="227" y="103"/>
                    </a:lnTo>
                    <a:lnTo>
                      <a:pt x="227" y="105"/>
                    </a:lnTo>
                    <a:lnTo>
                      <a:pt x="229" y="105"/>
                    </a:lnTo>
                    <a:lnTo>
                      <a:pt x="229" y="107"/>
                    </a:lnTo>
                    <a:lnTo>
                      <a:pt x="227" y="109"/>
                    </a:lnTo>
                    <a:lnTo>
                      <a:pt x="227" y="111"/>
                    </a:lnTo>
                    <a:lnTo>
                      <a:pt x="227" y="113"/>
                    </a:lnTo>
                    <a:lnTo>
                      <a:pt x="227" y="115"/>
                    </a:lnTo>
                    <a:lnTo>
                      <a:pt x="225" y="115"/>
                    </a:lnTo>
                    <a:lnTo>
                      <a:pt x="225" y="117"/>
                    </a:lnTo>
                    <a:lnTo>
                      <a:pt x="223" y="117"/>
                    </a:lnTo>
                    <a:lnTo>
                      <a:pt x="223" y="119"/>
                    </a:lnTo>
                    <a:lnTo>
                      <a:pt x="225" y="117"/>
                    </a:lnTo>
                    <a:lnTo>
                      <a:pt x="227" y="117"/>
                    </a:lnTo>
                    <a:lnTo>
                      <a:pt x="229" y="115"/>
                    </a:lnTo>
                    <a:lnTo>
                      <a:pt x="231" y="117"/>
                    </a:lnTo>
                    <a:lnTo>
                      <a:pt x="231" y="119"/>
                    </a:lnTo>
                    <a:lnTo>
                      <a:pt x="229" y="119"/>
                    </a:lnTo>
                    <a:lnTo>
                      <a:pt x="231" y="121"/>
                    </a:lnTo>
                    <a:lnTo>
                      <a:pt x="233" y="121"/>
                    </a:lnTo>
                    <a:lnTo>
                      <a:pt x="235" y="121"/>
                    </a:lnTo>
                    <a:lnTo>
                      <a:pt x="235" y="123"/>
                    </a:lnTo>
                    <a:lnTo>
                      <a:pt x="235" y="124"/>
                    </a:lnTo>
                    <a:lnTo>
                      <a:pt x="233" y="123"/>
                    </a:lnTo>
                    <a:lnTo>
                      <a:pt x="233" y="124"/>
                    </a:lnTo>
                    <a:lnTo>
                      <a:pt x="231" y="124"/>
                    </a:lnTo>
                    <a:lnTo>
                      <a:pt x="231" y="126"/>
                    </a:lnTo>
                    <a:lnTo>
                      <a:pt x="229" y="126"/>
                    </a:lnTo>
                    <a:lnTo>
                      <a:pt x="227" y="126"/>
                    </a:lnTo>
                    <a:lnTo>
                      <a:pt x="225" y="126"/>
                    </a:lnTo>
                    <a:lnTo>
                      <a:pt x="225" y="124"/>
                    </a:lnTo>
                    <a:lnTo>
                      <a:pt x="225" y="126"/>
                    </a:lnTo>
                    <a:lnTo>
                      <a:pt x="223" y="126"/>
                    </a:lnTo>
                    <a:lnTo>
                      <a:pt x="223" y="124"/>
                    </a:lnTo>
                    <a:lnTo>
                      <a:pt x="223" y="126"/>
                    </a:lnTo>
                    <a:lnTo>
                      <a:pt x="219" y="126"/>
                    </a:lnTo>
                    <a:lnTo>
                      <a:pt x="219" y="124"/>
                    </a:lnTo>
                    <a:lnTo>
                      <a:pt x="217" y="124"/>
                    </a:lnTo>
                    <a:lnTo>
                      <a:pt x="215" y="126"/>
                    </a:lnTo>
                    <a:lnTo>
                      <a:pt x="215" y="128"/>
                    </a:lnTo>
                    <a:lnTo>
                      <a:pt x="215" y="130"/>
                    </a:lnTo>
                    <a:lnTo>
                      <a:pt x="214" y="132"/>
                    </a:lnTo>
                    <a:lnTo>
                      <a:pt x="212" y="132"/>
                    </a:lnTo>
                    <a:lnTo>
                      <a:pt x="212" y="134"/>
                    </a:lnTo>
                    <a:lnTo>
                      <a:pt x="210" y="134"/>
                    </a:lnTo>
                    <a:lnTo>
                      <a:pt x="208" y="134"/>
                    </a:lnTo>
                    <a:lnTo>
                      <a:pt x="208" y="136"/>
                    </a:lnTo>
                    <a:lnTo>
                      <a:pt x="208" y="134"/>
                    </a:lnTo>
                    <a:lnTo>
                      <a:pt x="206" y="136"/>
                    </a:lnTo>
                    <a:lnTo>
                      <a:pt x="206" y="134"/>
                    </a:lnTo>
                    <a:lnTo>
                      <a:pt x="208" y="132"/>
                    </a:lnTo>
                    <a:lnTo>
                      <a:pt x="206" y="130"/>
                    </a:lnTo>
                    <a:lnTo>
                      <a:pt x="204" y="130"/>
                    </a:lnTo>
                    <a:lnTo>
                      <a:pt x="204" y="128"/>
                    </a:lnTo>
                    <a:lnTo>
                      <a:pt x="202" y="130"/>
                    </a:lnTo>
                    <a:lnTo>
                      <a:pt x="202" y="132"/>
                    </a:lnTo>
                    <a:lnTo>
                      <a:pt x="204" y="132"/>
                    </a:lnTo>
                    <a:lnTo>
                      <a:pt x="206" y="132"/>
                    </a:lnTo>
                    <a:lnTo>
                      <a:pt x="206" y="134"/>
                    </a:lnTo>
                    <a:lnTo>
                      <a:pt x="204" y="134"/>
                    </a:lnTo>
                    <a:lnTo>
                      <a:pt x="204" y="132"/>
                    </a:lnTo>
                    <a:lnTo>
                      <a:pt x="200" y="132"/>
                    </a:lnTo>
                    <a:lnTo>
                      <a:pt x="200" y="130"/>
                    </a:lnTo>
                    <a:lnTo>
                      <a:pt x="198" y="130"/>
                    </a:lnTo>
                    <a:lnTo>
                      <a:pt x="198" y="132"/>
                    </a:lnTo>
                    <a:lnTo>
                      <a:pt x="196" y="134"/>
                    </a:lnTo>
                    <a:lnTo>
                      <a:pt x="198" y="136"/>
                    </a:lnTo>
                    <a:lnTo>
                      <a:pt x="198" y="138"/>
                    </a:lnTo>
                    <a:lnTo>
                      <a:pt x="196" y="138"/>
                    </a:lnTo>
                    <a:lnTo>
                      <a:pt x="196" y="140"/>
                    </a:lnTo>
                    <a:lnTo>
                      <a:pt x="196" y="138"/>
                    </a:lnTo>
                    <a:lnTo>
                      <a:pt x="196" y="136"/>
                    </a:lnTo>
                    <a:lnTo>
                      <a:pt x="194" y="136"/>
                    </a:lnTo>
                    <a:lnTo>
                      <a:pt x="194" y="138"/>
                    </a:lnTo>
                    <a:lnTo>
                      <a:pt x="194" y="136"/>
                    </a:lnTo>
                    <a:lnTo>
                      <a:pt x="194" y="134"/>
                    </a:lnTo>
                    <a:lnTo>
                      <a:pt x="192" y="134"/>
                    </a:lnTo>
                    <a:lnTo>
                      <a:pt x="192" y="136"/>
                    </a:lnTo>
                    <a:lnTo>
                      <a:pt x="192" y="138"/>
                    </a:lnTo>
                    <a:lnTo>
                      <a:pt x="190" y="138"/>
                    </a:lnTo>
                    <a:lnTo>
                      <a:pt x="192" y="138"/>
                    </a:lnTo>
                    <a:lnTo>
                      <a:pt x="194" y="140"/>
                    </a:lnTo>
                    <a:lnTo>
                      <a:pt x="196" y="142"/>
                    </a:lnTo>
                    <a:lnTo>
                      <a:pt x="196" y="144"/>
                    </a:lnTo>
                    <a:lnTo>
                      <a:pt x="196" y="146"/>
                    </a:lnTo>
                    <a:lnTo>
                      <a:pt x="196" y="148"/>
                    </a:lnTo>
                    <a:lnTo>
                      <a:pt x="194" y="148"/>
                    </a:lnTo>
                    <a:lnTo>
                      <a:pt x="192" y="149"/>
                    </a:lnTo>
                    <a:lnTo>
                      <a:pt x="190" y="149"/>
                    </a:lnTo>
                    <a:lnTo>
                      <a:pt x="190" y="151"/>
                    </a:lnTo>
                    <a:lnTo>
                      <a:pt x="190" y="149"/>
                    </a:lnTo>
                    <a:lnTo>
                      <a:pt x="190" y="151"/>
                    </a:lnTo>
                    <a:lnTo>
                      <a:pt x="189" y="149"/>
                    </a:lnTo>
                    <a:lnTo>
                      <a:pt x="187" y="149"/>
                    </a:lnTo>
                    <a:lnTo>
                      <a:pt x="187" y="148"/>
                    </a:lnTo>
                    <a:lnTo>
                      <a:pt x="185" y="148"/>
                    </a:lnTo>
                    <a:lnTo>
                      <a:pt x="187" y="146"/>
                    </a:lnTo>
                    <a:lnTo>
                      <a:pt x="187" y="144"/>
                    </a:lnTo>
                    <a:lnTo>
                      <a:pt x="185" y="146"/>
                    </a:lnTo>
                    <a:lnTo>
                      <a:pt x="183" y="146"/>
                    </a:lnTo>
                    <a:lnTo>
                      <a:pt x="183" y="144"/>
                    </a:lnTo>
                    <a:lnTo>
                      <a:pt x="185" y="142"/>
                    </a:lnTo>
                    <a:lnTo>
                      <a:pt x="185" y="140"/>
                    </a:lnTo>
                    <a:lnTo>
                      <a:pt x="183" y="138"/>
                    </a:lnTo>
                    <a:lnTo>
                      <a:pt x="183" y="136"/>
                    </a:lnTo>
                    <a:lnTo>
                      <a:pt x="185" y="136"/>
                    </a:lnTo>
                    <a:lnTo>
                      <a:pt x="185" y="134"/>
                    </a:lnTo>
                    <a:lnTo>
                      <a:pt x="183" y="134"/>
                    </a:lnTo>
                    <a:lnTo>
                      <a:pt x="183" y="132"/>
                    </a:lnTo>
                    <a:lnTo>
                      <a:pt x="181" y="132"/>
                    </a:lnTo>
                    <a:lnTo>
                      <a:pt x="179" y="132"/>
                    </a:lnTo>
                    <a:lnTo>
                      <a:pt x="179" y="134"/>
                    </a:lnTo>
                    <a:lnTo>
                      <a:pt x="179" y="132"/>
                    </a:lnTo>
                    <a:lnTo>
                      <a:pt x="179" y="134"/>
                    </a:lnTo>
                    <a:lnTo>
                      <a:pt x="177" y="134"/>
                    </a:lnTo>
                    <a:lnTo>
                      <a:pt x="177" y="136"/>
                    </a:lnTo>
                    <a:lnTo>
                      <a:pt x="175" y="136"/>
                    </a:lnTo>
                    <a:lnTo>
                      <a:pt x="177" y="136"/>
                    </a:lnTo>
                    <a:lnTo>
                      <a:pt x="177" y="138"/>
                    </a:lnTo>
                    <a:lnTo>
                      <a:pt x="175" y="138"/>
                    </a:lnTo>
                    <a:lnTo>
                      <a:pt x="175" y="140"/>
                    </a:lnTo>
                    <a:lnTo>
                      <a:pt x="175" y="142"/>
                    </a:lnTo>
                    <a:lnTo>
                      <a:pt x="173" y="142"/>
                    </a:lnTo>
                    <a:lnTo>
                      <a:pt x="171" y="142"/>
                    </a:lnTo>
                    <a:lnTo>
                      <a:pt x="173" y="142"/>
                    </a:lnTo>
                    <a:lnTo>
                      <a:pt x="173" y="144"/>
                    </a:lnTo>
                    <a:lnTo>
                      <a:pt x="173" y="142"/>
                    </a:lnTo>
                    <a:lnTo>
                      <a:pt x="173" y="144"/>
                    </a:lnTo>
                    <a:lnTo>
                      <a:pt x="171" y="144"/>
                    </a:lnTo>
                    <a:lnTo>
                      <a:pt x="171" y="146"/>
                    </a:lnTo>
                    <a:lnTo>
                      <a:pt x="169" y="146"/>
                    </a:lnTo>
                    <a:lnTo>
                      <a:pt x="167" y="146"/>
                    </a:lnTo>
                    <a:lnTo>
                      <a:pt x="167" y="144"/>
                    </a:lnTo>
                    <a:lnTo>
                      <a:pt x="165" y="144"/>
                    </a:lnTo>
                    <a:lnTo>
                      <a:pt x="165" y="142"/>
                    </a:lnTo>
                    <a:lnTo>
                      <a:pt x="167" y="142"/>
                    </a:lnTo>
                    <a:lnTo>
                      <a:pt x="169" y="142"/>
                    </a:lnTo>
                    <a:lnTo>
                      <a:pt x="169" y="140"/>
                    </a:lnTo>
                    <a:lnTo>
                      <a:pt x="171" y="138"/>
                    </a:lnTo>
                    <a:lnTo>
                      <a:pt x="171" y="136"/>
                    </a:lnTo>
                    <a:lnTo>
                      <a:pt x="171" y="134"/>
                    </a:lnTo>
                    <a:lnTo>
                      <a:pt x="171" y="132"/>
                    </a:lnTo>
                    <a:lnTo>
                      <a:pt x="173" y="132"/>
                    </a:lnTo>
                    <a:lnTo>
                      <a:pt x="173" y="130"/>
                    </a:lnTo>
                    <a:lnTo>
                      <a:pt x="175" y="130"/>
                    </a:lnTo>
                    <a:lnTo>
                      <a:pt x="177" y="130"/>
                    </a:lnTo>
                    <a:lnTo>
                      <a:pt x="177" y="128"/>
                    </a:lnTo>
                    <a:lnTo>
                      <a:pt x="179" y="128"/>
                    </a:lnTo>
                    <a:lnTo>
                      <a:pt x="179" y="126"/>
                    </a:lnTo>
                    <a:lnTo>
                      <a:pt x="177" y="126"/>
                    </a:lnTo>
                    <a:lnTo>
                      <a:pt x="177" y="124"/>
                    </a:lnTo>
                    <a:lnTo>
                      <a:pt x="177" y="123"/>
                    </a:lnTo>
                    <a:lnTo>
                      <a:pt x="175" y="123"/>
                    </a:lnTo>
                    <a:lnTo>
                      <a:pt x="175" y="121"/>
                    </a:lnTo>
                    <a:lnTo>
                      <a:pt x="173" y="119"/>
                    </a:lnTo>
                    <a:lnTo>
                      <a:pt x="169" y="117"/>
                    </a:lnTo>
                    <a:lnTo>
                      <a:pt x="167" y="117"/>
                    </a:lnTo>
                    <a:lnTo>
                      <a:pt x="165" y="117"/>
                    </a:lnTo>
                    <a:lnTo>
                      <a:pt x="165" y="115"/>
                    </a:lnTo>
                    <a:lnTo>
                      <a:pt x="164" y="113"/>
                    </a:lnTo>
                    <a:lnTo>
                      <a:pt x="162" y="113"/>
                    </a:lnTo>
                    <a:lnTo>
                      <a:pt x="160" y="113"/>
                    </a:lnTo>
                    <a:lnTo>
                      <a:pt x="158" y="113"/>
                    </a:lnTo>
                    <a:lnTo>
                      <a:pt x="156" y="113"/>
                    </a:lnTo>
                    <a:lnTo>
                      <a:pt x="156" y="115"/>
                    </a:lnTo>
                    <a:lnTo>
                      <a:pt x="154" y="115"/>
                    </a:lnTo>
                    <a:lnTo>
                      <a:pt x="154" y="113"/>
                    </a:lnTo>
                    <a:lnTo>
                      <a:pt x="152" y="113"/>
                    </a:lnTo>
                    <a:lnTo>
                      <a:pt x="152" y="115"/>
                    </a:lnTo>
                    <a:lnTo>
                      <a:pt x="152" y="117"/>
                    </a:lnTo>
                    <a:lnTo>
                      <a:pt x="150" y="115"/>
                    </a:lnTo>
                    <a:lnTo>
                      <a:pt x="150" y="117"/>
                    </a:lnTo>
                    <a:lnTo>
                      <a:pt x="150" y="119"/>
                    </a:lnTo>
                    <a:lnTo>
                      <a:pt x="150" y="121"/>
                    </a:lnTo>
                    <a:lnTo>
                      <a:pt x="148" y="121"/>
                    </a:lnTo>
                    <a:lnTo>
                      <a:pt x="146" y="121"/>
                    </a:lnTo>
                    <a:lnTo>
                      <a:pt x="146" y="123"/>
                    </a:lnTo>
                    <a:lnTo>
                      <a:pt x="144" y="124"/>
                    </a:lnTo>
                    <a:lnTo>
                      <a:pt x="144" y="126"/>
                    </a:lnTo>
                    <a:lnTo>
                      <a:pt x="144" y="128"/>
                    </a:lnTo>
                    <a:lnTo>
                      <a:pt x="144" y="130"/>
                    </a:lnTo>
                    <a:lnTo>
                      <a:pt x="144" y="132"/>
                    </a:lnTo>
                    <a:lnTo>
                      <a:pt x="142" y="132"/>
                    </a:lnTo>
                    <a:lnTo>
                      <a:pt x="144" y="132"/>
                    </a:lnTo>
                    <a:lnTo>
                      <a:pt x="142" y="132"/>
                    </a:lnTo>
                    <a:lnTo>
                      <a:pt x="144" y="132"/>
                    </a:lnTo>
                    <a:lnTo>
                      <a:pt x="142" y="132"/>
                    </a:lnTo>
                    <a:lnTo>
                      <a:pt x="144" y="132"/>
                    </a:lnTo>
                    <a:lnTo>
                      <a:pt x="144" y="134"/>
                    </a:lnTo>
                    <a:lnTo>
                      <a:pt x="144" y="132"/>
                    </a:lnTo>
                    <a:lnTo>
                      <a:pt x="144" y="134"/>
                    </a:lnTo>
                    <a:lnTo>
                      <a:pt x="144" y="132"/>
                    </a:lnTo>
                    <a:lnTo>
                      <a:pt x="144" y="134"/>
                    </a:lnTo>
                    <a:lnTo>
                      <a:pt x="142" y="136"/>
                    </a:lnTo>
                    <a:lnTo>
                      <a:pt x="140" y="136"/>
                    </a:lnTo>
                    <a:lnTo>
                      <a:pt x="140" y="138"/>
                    </a:lnTo>
                    <a:lnTo>
                      <a:pt x="140" y="140"/>
                    </a:lnTo>
                    <a:lnTo>
                      <a:pt x="139" y="142"/>
                    </a:lnTo>
                    <a:lnTo>
                      <a:pt x="139" y="144"/>
                    </a:lnTo>
                    <a:lnTo>
                      <a:pt x="140" y="144"/>
                    </a:lnTo>
                    <a:lnTo>
                      <a:pt x="140" y="146"/>
                    </a:lnTo>
                    <a:lnTo>
                      <a:pt x="142" y="148"/>
                    </a:lnTo>
                    <a:lnTo>
                      <a:pt x="142" y="149"/>
                    </a:lnTo>
                    <a:lnTo>
                      <a:pt x="144" y="149"/>
                    </a:lnTo>
                    <a:lnTo>
                      <a:pt x="144" y="151"/>
                    </a:lnTo>
                    <a:lnTo>
                      <a:pt x="146" y="151"/>
                    </a:lnTo>
                    <a:lnTo>
                      <a:pt x="146" y="153"/>
                    </a:lnTo>
                    <a:lnTo>
                      <a:pt x="144" y="155"/>
                    </a:lnTo>
                    <a:lnTo>
                      <a:pt x="146" y="155"/>
                    </a:lnTo>
                    <a:lnTo>
                      <a:pt x="148" y="155"/>
                    </a:lnTo>
                    <a:lnTo>
                      <a:pt x="148" y="157"/>
                    </a:lnTo>
                    <a:lnTo>
                      <a:pt x="148" y="159"/>
                    </a:lnTo>
                    <a:lnTo>
                      <a:pt x="148" y="161"/>
                    </a:lnTo>
                    <a:lnTo>
                      <a:pt x="150" y="163"/>
                    </a:lnTo>
                    <a:lnTo>
                      <a:pt x="150" y="165"/>
                    </a:lnTo>
                    <a:lnTo>
                      <a:pt x="150" y="167"/>
                    </a:lnTo>
                    <a:lnTo>
                      <a:pt x="148" y="169"/>
                    </a:lnTo>
                    <a:lnTo>
                      <a:pt x="150" y="169"/>
                    </a:lnTo>
                    <a:lnTo>
                      <a:pt x="150" y="171"/>
                    </a:lnTo>
                    <a:lnTo>
                      <a:pt x="152" y="173"/>
                    </a:lnTo>
                    <a:lnTo>
                      <a:pt x="152" y="174"/>
                    </a:lnTo>
                    <a:lnTo>
                      <a:pt x="152" y="176"/>
                    </a:lnTo>
                    <a:lnTo>
                      <a:pt x="154" y="178"/>
                    </a:lnTo>
                    <a:lnTo>
                      <a:pt x="156" y="178"/>
                    </a:lnTo>
                    <a:lnTo>
                      <a:pt x="160" y="176"/>
                    </a:lnTo>
                    <a:lnTo>
                      <a:pt x="162" y="174"/>
                    </a:lnTo>
                    <a:lnTo>
                      <a:pt x="164" y="173"/>
                    </a:lnTo>
                    <a:lnTo>
                      <a:pt x="165" y="174"/>
                    </a:lnTo>
                    <a:lnTo>
                      <a:pt x="167" y="173"/>
                    </a:lnTo>
                    <a:lnTo>
                      <a:pt x="169" y="173"/>
                    </a:lnTo>
                    <a:lnTo>
                      <a:pt x="171" y="173"/>
                    </a:lnTo>
                    <a:lnTo>
                      <a:pt x="171" y="174"/>
                    </a:lnTo>
                    <a:lnTo>
                      <a:pt x="173" y="176"/>
                    </a:lnTo>
                    <a:lnTo>
                      <a:pt x="173" y="178"/>
                    </a:lnTo>
                    <a:lnTo>
                      <a:pt x="173" y="180"/>
                    </a:lnTo>
                    <a:lnTo>
                      <a:pt x="175" y="182"/>
                    </a:lnTo>
                    <a:lnTo>
                      <a:pt x="179" y="182"/>
                    </a:lnTo>
                    <a:lnTo>
                      <a:pt x="181" y="178"/>
                    </a:lnTo>
                    <a:lnTo>
                      <a:pt x="183" y="178"/>
                    </a:lnTo>
                    <a:lnTo>
                      <a:pt x="185" y="178"/>
                    </a:lnTo>
                    <a:lnTo>
                      <a:pt x="187" y="178"/>
                    </a:lnTo>
                    <a:lnTo>
                      <a:pt x="189" y="178"/>
                    </a:lnTo>
                    <a:lnTo>
                      <a:pt x="190" y="176"/>
                    </a:lnTo>
                    <a:lnTo>
                      <a:pt x="192" y="176"/>
                    </a:lnTo>
                    <a:lnTo>
                      <a:pt x="194" y="174"/>
                    </a:lnTo>
                    <a:lnTo>
                      <a:pt x="194" y="176"/>
                    </a:lnTo>
                    <a:lnTo>
                      <a:pt x="196" y="178"/>
                    </a:lnTo>
                    <a:lnTo>
                      <a:pt x="198" y="178"/>
                    </a:lnTo>
                    <a:lnTo>
                      <a:pt x="200" y="180"/>
                    </a:lnTo>
                    <a:lnTo>
                      <a:pt x="200" y="178"/>
                    </a:lnTo>
                    <a:lnTo>
                      <a:pt x="202" y="176"/>
                    </a:lnTo>
                    <a:lnTo>
                      <a:pt x="204" y="176"/>
                    </a:lnTo>
                    <a:lnTo>
                      <a:pt x="208" y="176"/>
                    </a:lnTo>
                    <a:lnTo>
                      <a:pt x="208" y="174"/>
                    </a:lnTo>
                    <a:lnTo>
                      <a:pt x="210" y="173"/>
                    </a:lnTo>
                    <a:lnTo>
                      <a:pt x="212" y="173"/>
                    </a:lnTo>
                    <a:lnTo>
                      <a:pt x="214" y="171"/>
                    </a:lnTo>
                    <a:lnTo>
                      <a:pt x="214" y="169"/>
                    </a:lnTo>
                    <a:lnTo>
                      <a:pt x="215" y="169"/>
                    </a:lnTo>
                    <a:lnTo>
                      <a:pt x="217" y="167"/>
                    </a:lnTo>
                    <a:lnTo>
                      <a:pt x="217" y="165"/>
                    </a:lnTo>
                    <a:lnTo>
                      <a:pt x="219" y="165"/>
                    </a:lnTo>
                    <a:lnTo>
                      <a:pt x="219" y="167"/>
                    </a:lnTo>
                    <a:lnTo>
                      <a:pt x="219" y="169"/>
                    </a:lnTo>
                    <a:lnTo>
                      <a:pt x="221" y="169"/>
                    </a:lnTo>
                    <a:lnTo>
                      <a:pt x="221" y="171"/>
                    </a:lnTo>
                    <a:lnTo>
                      <a:pt x="223" y="171"/>
                    </a:lnTo>
                    <a:lnTo>
                      <a:pt x="223" y="173"/>
                    </a:lnTo>
                    <a:lnTo>
                      <a:pt x="225" y="173"/>
                    </a:lnTo>
                    <a:lnTo>
                      <a:pt x="225" y="171"/>
                    </a:lnTo>
                    <a:lnTo>
                      <a:pt x="227" y="171"/>
                    </a:lnTo>
                    <a:lnTo>
                      <a:pt x="227" y="173"/>
                    </a:lnTo>
                    <a:lnTo>
                      <a:pt x="229" y="173"/>
                    </a:lnTo>
                    <a:lnTo>
                      <a:pt x="227" y="174"/>
                    </a:lnTo>
                    <a:lnTo>
                      <a:pt x="225" y="174"/>
                    </a:lnTo>
                    <a:lnTo>
                      <a:pt x="225" y="176"/>
                    </a:lnTo>
                    <a:lnTo>
                      <a:pt x="225" y="178"/>
                    </a:lnTo>
                    <a:lnTo>
                      <a:pt x="223" y="178"/>
                    </a:lnTo>
                    <a:lnTo>
                      <a:pt x="223" y="180"/>
                    </a:lnTo>
                    <a:lnTo>
                      <a:pt x="221" y="182"/>
                    </a:lnTo>
                    <a:lnTo>
                      <a:pt x="219" y="184"/>
                    </a:lnTo>
                    <a:lnTo>
                      <a:pt x="219" y="186"/>
                    </a:lnTo>
                    <a:lnTo>
                      <a:pt x="217" y="186"/>
                    </a:lnTo>
                    <a:lnTo>
                      <a:pt x="217" y="188"/>
                    </a:lnTo>
                    <a:lnTo>
                      <a:pt x="215" y="188"/>
                    </a:lnTo>
                    <a:lnTo>
                      <a:pt x="215" y="190"/>
                    </a:lnTo>
                    <a:lnTo>
                      <a:pt x="214" y="190"/>
                    </a:lnTo>
                    <a:lnTo>
                      <a:pt x="212" y="190"/>
                    </a:lnTo>
                    <a:lnTo>
                      <a:pt x="212" y="192"/>
                    </a:lnTo>
                    <a:lnTo>
                      <a:pt x="210" y="192"/>
                    </a:lnTo>
                    <a:lnTo>
                      <a:pt x="208" y="194"/>
                    </a:lnTo>
                    <a:lnTo>
                      <a:pt x="210" y="194"/>
                    </a:lnTo>
                    <a:lnTo>
                      <a:pt x="210" y="196"/>
                    </a:lnTo>
                    <a:lnTo>
                      <a:pt x="212" y="196"/>
                    </a:lnTo>
                    <a:lnTo>
                      <a:pt x="210" y="199"/>
                    </a:lnTo>
                    <a:lnTo>
                      <a:pt x="208" y="199"/>
                    </a:lnTo>
                    <a:lnTo>
                      <a:pt x="206" y="201"/>
                    </a:lnTo>
                    <a:lnTo>
                      <a:pt x="206" y="203"/>
                    </a:lnTo>
                    <a:lnTo>
                      <a:pt x="208" y="205"/>
                    </a:lnTo>
                    <a:lnTo>
                      <a:pt x="208" y="209"/>
                    </a:lnTo>
                    <a:lnTo>
                      <a:pt x="206" y="211"/>
                    </a:lnTo>
                    <a:lnTo>
                      <a:pt x="204" y="211"/>
                    </a:lnTo>
                    <a:lnTo>
                      <a:pt x="204" y="213"/>
                    </a:lnTo>
                    <a:lnTo>
                      <a:pt x="202" y="215"/>
                    </a:lnTo>
                    <a:lnTo>
                      <a:pt x="200" y="215"/>
                    </a:lnTo>
                    <a:lnTo>
                      <a:pt x="200" y="213"/>
                    </a:lnTo>
                    <a:lnTo>
                      <a:pt x="198" y="213"/>
                    </a:lnTo>
                    <a:lnTo>
                      <a:pt x="198" y="211"/>
                    </a:lnTo>
                    <a:lnTo>
                      <a:pt x="196" y="211"/>
                    </a:lnTo>
                    <a:lnTo>
                      <a:pt x="196" y="209"/>
                    </a:lnTo>
                    <a:lnTo>
                      <a:pt x="194" y="209"/>
                    </a:lnTo>
                    <a:lnTo>
                      <a:pt x="192" y="209"/>
                    </a:lnTo>
                    <a:lnTo>
                      <a:pt x="190" y="207"/>
                    </a:lnTo>
                    <a:lnTo>
                      <a:pt x="190" y="209"/>
                    </a:lnTo>
                    <a:lnTo>
                      <a:pt x="189" y="209"/>
                    </a:lnTo>
                    <a:lnTo>
                      <a:pt x="189" y="211"/>
                    </a:lnTo>
                    <a:lnTo>
                      <a:pt x="185" y="215"/>
                    </a:lnTo>
                    <a:lnTo>
                      <a:pt x="183" y="217"/>
                    </a:lnTo>
                    <a:lnTo>
                      <a:pt x="183" y="219"/>
                    </a:lnTo>
                    <a:lnTo>
                      <a:pt x="181" y="219"/>
                    </a:lnTo>
                    <a:lnTo>
                      <a:pt x="179" y="219"/>
                    </a:lnTo>
                    <a:lnTo>
                      <a:pt x="179" y="221"/>
                    </a:lnTo>
                    <a:lnTo>
                      <a:pt x="177" y="219"/>
                    </a:lnTo>
                    <a:lnTo>
                      <a:pt x="175" y="219"/>
                    </a:lnTo>
                    <a:lnTo>
                      <a:pt x="173" y="217"/>
                    </a:lnTo>
                    <a:lnTo>
                      <a:pt x="173" y="219"/>
                    </a:lnTo>
                    <a:lnTo>
                      <a:pt x="171" y="219"/>
                    </a:lnTo>
                    <a:lnTo>
                      <a:pt x="171" y="221"/>
                    </a:lnTo>
                    <a:lnTo>
                      <a:pt x="171" y="223"/>
                    </a:lnTo>
                    <a:lnTo>
                      <a:pt x="169" y="224"/>
                    </a:lnTo>
                    <a:lnTo>
                      <a:pt x="169" y="228"/>
                    </a:lnTo>
                    <a:lnTo>
                      <a:pt x="167" y="228"/>
                    </a:lnTo>
                    <a:lnTo>
                      <a:pt x="167" y="230"/>
                    </a:lnTo>
                    <a:lnTo>
                      <a:pt x="165" y="230"/>
                    </a:lnTo>
                    <a:lnTo>
                      <a:pt x="165" y="232"/>
                    </a:lnTo>
                    <a:lnTo>
                      <a:pt x="165" y="234"/>
                    </a:lnTo>
                    <a:lnTo>
                      <a:pt x="165" y="236"/>
                    </a:lnTo>
                    <a:lnTo>
                      <a:pt x="165" y="238"/>
                    </a:lnTo>
                    <a:lnTo>
                      <a:pt x="164" y="238"/>
                    </a:lnTo>
                    <a:lnTo>
                      <a:pt x="162" y="240"/>
                    </a:lnTo>
                    <a:lnTo>
                      <a:pt x="160" y="240"/>
                    </a:lnTo>
                    <a:lnTo>
                      <a:pt x="160" y="244"/>
                    </a:lnTo>
                    <a:lnTo>
                      <a:pt x="162" y="244"/>
                    </a:lnTo>
                    <a:lnTo>
                      <a:pt x="160" y="248"/>
                    </a:lnTo>
                    <a:lnTo>
                      <a:pt x="158" y="255"/>
                    </a:lnTo>
                    <a:lnTo>
                      <a:pt x="156" y="257"/>
                    </a:lnTo>
                    <a:lnTo>
                      <a:pt x="156" y="259"/>
                    </a:lnTo>
                    <a:lnTo>
                      <a:pt x="156" y="261"/>
                    </a:lnTo>
                    <a:lnTo>
                      <a:pt x="154" y="261"/>
                    </a:lnTo>
                    <a:lnTo>
                      <a:pt x="154" y="263"/>
                    </a:lnTo>
                    <a:lnTo>
                      <a:pt x="152" y="265"/>
                    </a:lnTo>
                    <a:lnTo>
                      <a:pt x="154" y="265"/>
                    </a:lnTo>
                    <a:lnTo>
                      <a:pt x="154" y="267"/>
                    </a:lnTo>
                    <a:lnTo>
                      <a:pt x="150" y="276"/>
                    </a:lnTo>
                    <a:lnTo>
                      <a:pt x="152" y="276"/>
                    </a:lnTo>
                    <a:lnTo>
                      <a:pt x="152" y="278"/>
                    </a:lnTo>
                    <a:lnTo>
                      <a:pt x="150" y="278"/>
                    </a:lnTo>
                    <a:lnTo>
                      <a:pt x="148" y="276"/>
                    </a:lnTo>
                    <a:lnTo>
                      <a:pt x="146" y="276"/>
                    </a:lnTo>
                    <a:lnTo>
                      <a:pt x="146" y="282"/>
                    </a:lnTo>
                    <a:lnTo>
                      <a:pt x="144" y="282"/>
                    </a:lnTo>
                    <a:lnTo>
                      <a:pt x="142" y="282"/>
                    </a:lnTo>
                    <a:lnTo>
                      <a:pt x="142" y="284"/>
                    </a:lnTo>
                    <a:lnTo>
                      <a:pt x="140" y="286"/>
                    </a:lnTo>
                    <a:lnTo>
                      <a:pt x="139" y="290"/>
                    </a:lnTo>
                    <a:lnTo>
                      <a:pt x="139" y="292"/>
                    </a:lnTo>
                    <a:lnTo>
                      <a:pt x="139" y="296"/>
                    </a:lnTo>
                    <a:lnTo>
                      <a:pt x="137" y="298"/>
                    </a:lnTo>
                    <a:lnTo>
                      <a:pt x="137" y="299"/>
                    </a:lnTo>
                    <a:lnTo>
                      <a:pt x="135" y="299"/>
                    </a:lnTo>
                    <a:lnTo>
                      <a:pt x="133" y="301"/>
                    </a:lnTo>
                    <a:lnTo>
                      <a:pt x="135" y="303"/>
                    </a:lnTo>
                    <a:lnTo>
                      <a:pt x="135" y="305"/>
                    </a:lnTo>
                    <a:lnTo>
                      <a:pt x="135" y="307"/>
                    </a:lnTo>
                    <a:lnTo>
                      <a:pt x="135" y="309"/>
                    </a:lnTo>
                    <a:lnTo>
                      <a:pt x="133" y="309"/>
                    </a:lnTo>
                    <a:lnTo>
                      <a:pt x="131" y="311"/>
                    </a:lnTo>
                    <a:lnTo>
                      <a:pt x="131" y="313"/>
                    </a:lnTo>
                    <a:lnTo>
                      <a:pt x="131" y="315"/>
                    </a:lnTo>
                    <a:lnTo>
                      <a:pt x="133" y="315"/>
                    </a:lnTo>
                    <a:lnTo>
                      <a:pt x="133" y="317"/>
                    </a:lnTo>
                    <a:lnTo>
                      <a:pt x="131" y="319"/>
                    </a:lnTo>
                    <a:lnTo>
                      <a:pt x="131" y="321"/>
                    </a:lnTo>
                    <a:lnTo>
                      <a:pt x="133" y="323"/>
                    </a:lnTo>
                    <a:lnTo>
                      <a:pt x="133" y="324"/>
                    </a:lnTo>
                    <a:lnTo>
                      <a:pt x="133" y="326"/>
                    </a:lnTo>
                    <a:lnTo>
                      <a:pt x="131" y="326"/>
                    </a:lnTo>
                    <a:lnTo>
                      <a:pt x="129" y="326"/>
                    </a:lnTo>
                    <a:lnTo>
                      <a:pt x="129" y="328"/>
                    </a:lnTo>
                    <a:lnTo>
                      <a:pt x="125" y="324"/>
                    </a:lnTo>
                    <a:lnTo>
                      <a:pt x="123" y="323"/>
                    </a:lnTo>
                    <a:lnTo>
                      <a:pt x="123" y="321"/>
                    </a:lnTo>
                    <a:lnTo>
                      <a:pt x="121" y="324"/>
                    </a:lnTo>
                    <a:lnTo>
                      <a:pt x="121" y="326"/>
                    </a:lnTo>
                    <a:lnTo>
                      <a:pt x="121" y="328"/>
                    </a:lnTo>
                    <a:lnTo>
                      <a:pt x="119" y="328"/>
                    </a:lnTo>
                    <a:lnTo>
                      <a:pt x="117" y="330"/>
                    </a:lnTo>
                    <a:lnTo>
                      <a:pt x="117" y="332"/>
                    </a:lnTo>
                    <a:lnTo>
                      <a:pt x="117" y="336"/>
                    </a:lnTo>
                    <a:lnTo>
                      <a:pt x="119" y="336"/>
                    </a:lnTo>
                    <a:lnTo>
                      <a:pt x="117" y="338"/>
                    </a:lnTo>
                    <a:lnTo>
                      <a:pt x="116" y="338"/>
                    </a:lnTo>
                    <a:lnTo>
                      <a:pt x="116" y="342"/>
                    </a:lnTo>
                    <a:lnTo>
                      <a:pt x="114" y="342"/>
                    </a:lnTo>
                    <a:lnTo>
                      <a:pt x="114" y="346"/>
                    </a:lnTo>
                    <a:lnTo>
                      <a:pt x="114" y="347"/>
                    </a:lnTo>
                    <a:lnTo>
                      <a:pt x="112" y="347"/>
                    </a:lnTo>
                    <a:lnTo>
                      <a:pt x="110" y="351"/>
                    </a:lnTo>
                    <a:lnTo>
                      <a:pt x="108" y="353"/>
                    </a:lnTo>
                    <a:lnTo>
                      <a:pt x="106" y="353"/>
                    </a:lnTo>
                    <a:lnTo>
                      <a:pt x="104" y="353"/>
                    </a:lnTo>
                    <a:lnTo>
                      <a:pt x="104" y="351"/>
                    </a:lnTo>
                    <a:lnTo>
                      <a:pt x="102" y="351"/>
                    </a:lnTo>
                    <a:lnTo>
                      <a:pt x="98" y="351"/>
                    </a:lnTo>
                    <a:lnTo>
                      <a:pt x="96" y="351"/>
                    </a:lnTo>
                    <a:lnTo>
                      <a:pt x="92" y="351"/>
                    </a:lnTo>
                    <a:lnTo>
                      <a:pt x="91" y="349"/>
                    </a:lnTo>
                    <a:lnTo>
                      <a:pt x="92" y="347"/>
                    </a:lnTo>
                    <a:lnTo>
                      <a:pt x="89" y="346"/>
                    </a:lnTo>
                    <a:lnTo>
                      <a:pt x="87" y="344"/>
                    </a:lnTo>
                    <a:lnTo>
                      <a:pt x="87" y="342"/>
                    </a:lnTo>
                    <a:lnTo>
                      <a:pt x="85" y="340"/>
                    </a:lnTo>
                    <a:lnTo>
                      <a:pt x="83" y="342"/>
                    </a:lnTo>
                    <a:lnTo>
                      <a:pt x="81" y="340"/>
                    </a:lnTo>
                    <a:lnTo>
                      <a:pt x="81" y="338"/>
                    </a:lnTo>
                    <a:lnTo>
                      <a:pt x="81" y="336"/>
                    </a:lnTo>
                    <a:lnTo>
                      <a:pt x="79" y="336"/>
                    </a:lnTo>
                    <a:lnTo>
                      <a:pt x="79" y="338"/>
                    </a:lnTo>
                    <a:lnTo>
                      <a:pt x="77" y="338"/>
                    </a:lnTo>
                    <a:lnTo>
                      <a:pt x="77" y="340"/>
                    </a:lnTo>
                    <a:lnTo>
                      <a:pt x="75" y="340"/>
                    </a:lnTo>
                    <a:lnTo>
                      <a:pt x="75" y="342"/>
                    </a:lnTo>
                    <a:lnTo>
                      <a:pt x="73" y="344"/>
                    </a:lnTo>
                    <a:lnTo>
                      <a:pt x="71" y="344"/>
                    </a:lnTo>
                    <a:lnTo>
                      <a:pt x="71" y="342"/>
                    </a:lnTo>
                    <a:lnTo>
                      <a:pt x="71" y="344"/>
                    </a:lnTo>
                    <a:lnTo>
                      <a:pt x="69" y="344"/>
                    </a:lnTo>
                    <a:lnTo>
                      <a:pt x="69" y="342"/>
                    </a:lnTo>
                    <a:lnTo>
                      <a:pt x="67" y="342"/>
                    </a:lnTo>
                    <a:lnTo>
                      <a:pt x="66" y="344"/>
                    </a:lnTo>
                    <a:lnTo>
                      <a:pt x="64" y="346"/>
                    </a:lnTo>
                    <a:lnTo>
                      <a:pt x="62" y="346"/>
                    </a:lnTo>
                    <a:lnTo>
                      <a:pt x="60" y="346"/>
                    </a:lnTo>
                    <a:lnTo>
                      <a:pt x="60" y="347"/>
                    </a:lnTo>
                    <a:lnTo>
                      <a:pt x="58" y="347"/>
                    </a:lnTo>
                    <a:lnTo>
                      <a:pt x="56" y="349"/>
                    </a:lnTo>
                    <a:lnTo>
                      <a:pt x="54" y="347"/>
                    </a:lnTo>
                    <a:lnTo>
                      <a:pt x="54" y="342"/>
                    </a:lnTo>
                    <a:lnTo>
                      <a:pt x="54" y="340"/>
                    </a:lnTo>
                    <a:lnTo>
                      <a:pt x="52" y="340"/>
                    </a:lnTo>
                    <a:lnTo>
                      <a:pt x="52" y="338"/>
                    </a:lnTo>
                    <a:lnTo>
                      <a:pt x="52" y="336"/>
                    </a:lnTo>
                    <a:lnTo>
                      <a:pt x="54" y="336"/>
                    </a:lnTo>
                    <a:lnTo>
                      <a:pt x="52" y="334"/>
                    </a:lnTo>
                    <a:lnTo>
                      <a:pt x="50" y="334"/>
                    </a:lnTo>
                    <a:lnTo>
                      <a:pt x="48" y="332"/>
                    </a:lnTo>
                    <a:lnTo>
                      <a:pt x="46" y="332"/>
                    </a:lnTo>
                    <a:lnTo>
                      <a:pt x="46" y="334"/>
                    </a:lnTo>
                    <a:lnTo>
                      <a:pt x="48" y="336"/>
                    </a:lnTo>
                    <a:lnTo>
                      <a:pt x="48" y="338"/>
                    </a:lnTo>
                    <a:lnTo>
                      <a:pt x="46" y="338"/>
                    </a:lnTo>
                    <a:lnTo>
                      <a:pt x="46" y="340"/>
                    </a:lnTo>
                    <a:lnTo>
                      <a:pt x="48" y="340"/>
                    </a:lnTo>
                    <a:lnTo>
                      <a:pt x="46" y="342"/>
                    </a:lnTo>
                    <a:lnTo>
                      <a:pt x="44" y="342"/>
                    </a:lnTo>
                    <a:lnTo>
                      <a:pt x="43" y="342"/>
                    </a:lnTo>
                    <a:lnTo>
                      <a:pt x="41" y="342"/>
                    </a:lnTo>
                    <a:lnTo>
                      <a:pt x="41" y="340"/>
                    </a:lnTo>
                    <a:lnTo>
                      <a:pt x="43" y="340"/>
                    </a:lnTo>
                    <a:lnTo>
                      <a:pt x="43" y="338"/>
                    </a:lnTo>
                    <a:lnTo>
                      <a:pt x="44" y="338"/>
                    </a:lnTo>
                    <a:lnTo>
                      <a:pt x="44" y="336"/>
                    </a:lnTo>
                    <a:lnTo>
                      <a:pt x="44" y="334"/>
                    </a:lnTo>
                    <a:lnTo>
                      <a:pt x="44" y="332"/>
                    </a:lnTo>
                    <a:lnTo>
                      <a:pt x="46" y="332"/>
                    </a:lnTo>
                    <a:lnTo>
                      <a:pt x="46" y="330"/>
                    </a:lnTo>
                    <a:lnTo>
                      <a:pt x="46" y="328"/>
                    </a:lnTo>
                    <a:lnTo>
                      <a:pt x="46" y="326"/>
                    </a:lnTo>
                    <a:lnTo>
                      <a:pt x="44" y="326"/>
                    </a:lnTo>
                    <a:lnTo>
                      <a:pt x="43" y="324"/>
                    </a:lnTo>
                    <a:lnTo>
                      <a:pt x="44" y="323"/>
                    </a:lnTo>
                    <a:lnTo>
                      <a:pt x="44" y="321"/>
                    </a:lnTo>
                    <a:lnTo>
                      <a:pt x="46" y="321"/>
                    </a:lnTo>
                    <a:lnTo>
                      <a:pt x="48" y="321"/>
                    </a:lnTo>
                    <a:lnTo>
                      <a:pt x="50" y="321"/>
                    </a:lnTo>
                    <a:lnTo>
                      <a:pt x="50" y="319"/>
                    </a:lnTo>
                    <a:lnTo>
                      <a:pt x="48" y="319"/>
                    </a:lnTo>
                    <a:lnTo>
                      <a:pt x="48" y="317"/>
                    </a:lnTo>
                    <a:lnTo>
                      <a:pt x="48" y="315"/>
                    </a:lnTo>
                    <a:lnTo>
                      <a:pt x="50" y="315"/>
                    </a:lnTo>
                    <a:lnTo>
                      <a:pt x="50" y="313"/>
                    </a:lnTo>
                    <a:lnTo>
                      <a:pt x="52" y="311"/>
                    </a:lnTo>
                    <a:lnTo>
                      <a:pt x="52" y="309"/>
                    </a:lnTo>
                    <a:lnTo>
                      <a:pt x="52" y="307"/>
                    </a:lnTo>
                    <a:lnTo>
                      <a:pt x="50" y="307"/>
                    </a:lnTo>
                    <a:lnTo>
                      <a:pt x="50" y="309"/>
                    </a:lnTo>
                    <a:lnTo>
                      <a:pt x="48" y="309"/>
                    </a:lnTo>
                    <a:lnTo>
                      <a:pt x="48" y="307"/>
                    </a:lnTo>
                    <a:lnTo>
                      <a:pt x="50" y="307"/>
                    </a:lnTo>
                    <a:lnTo>
                      <a:pt x="50" y="305"/>
                    </a:lnTo>
                    <a:lnTo>
                      <a:pt x="52" y="305"/>
                    </a:lnTo>
                    <a:lnTo>
                      <a:pt x="50" y="305"/>
                    </a:lnTo>
                    <a:lnTo>
                      <a:pt x="50" y="303"/>
                    </a:lnTo>
                    <a:lnTo>
                      <a:pt x="48" y="301"/>
                    </a:lnTo>
                    <a:lnTo>
                      <a:pt x="50" y="301"/>
                    </a:lnTo>
                    <a:lnTo>
                      <a:pt x="48" y="301"/>
                    </a:lnTo>
                    <a:lnTo>
                      <a:pt x="46" y="301"/>
                    </a:lnTo>
                    <a:lnTo>
                      <a:pt x="44" y="299"/>
                    </a:lnTo>
                    <a:lnTo>
                      <a:pt x="46" y="299"/>
                    </a:lnTo>
                    <a:lnTo>
                      <a:pt x="48" y="299"/>
                    </a:lnTo>
                    <a:lnTo>
                      <a:pt x="48" y="298"/>
                    </a:lnTo>
                    <a:lnTo>
                      <a:pt x="46" y="298"/>
                    </a:lnTo>
                    <a:lnTo>
                      <a:pt x="46" y="299"/>
                    </a:lnTo>
                    <a:lnTo>
                      <a:pt x="44" y="299"/>
                    </a:lnTo>
                    <a:lnTo>
                      <a:pt x="43" y="299"/>
                    </a:lnTo>
                    <a:lnTo>
                      <a:pt x="43" y="301"/>
                    </a:lnTo>
                    <a:lnTo>
                      <a:pt x="41" y="301"/>
                    </a:lnTo>
                    <a:lnTo>
                      <a:pt x="39" y="301"/>
                    </a:lnTo>
                    <a:lnTo>
                      <a:pt x="39" y="299"/>
                    </a:lnTo>
                    <a:lnTo>
                      <a:pt x="39" y="298"/>
                    </a:lnTo>
                    <a:lnTo>
                      <a:pt x="41" y="296"/>
                    </a:lnTo>
                    <a:lnTo>
                      <a:pt x="41" y="294"/>
                    </a:lnTo>
                    <a:lnTo>
                      <a:pt x="41" y="296"/>
                    </a:lnTo>
                    <a:lnTo>
                      <a:pt x="43" y="296"/>
                    </a:lnTo>
                    <a:lnTo>
                      <a:pt x="43" y="294"/>
                    </a:lnTo>
                    <a:lnTo>
                      <a:pt x="44" y="294"/>
                    </a:lnTo>
                    <a:lnTo>
                      <a:pt x="44" y="292"/>
                    </a:lnTo>
                    <a:lnTo>
                      <a:pt x="46" y="292"/>
                    </a:lnTo>
                    <a:lnTo>
                      <a:pt x="48" y="292"/>
                    </a:lnTo>
                    <a:lnTo>
                      <a:pt x="50" y="292"/>
                    </a:lnTo>
                    <a:lnTo>
                      <a:pt x="50" y="290"/>
                    </a:lnTo>
                    <a:lnTo>
                      <a:pt x="52" y="290"/>
                    </a:lnTo>
                    <a:lnTo>
                      <a:pt x="52" y="288"/>
                    </a:lnTo>
                    <a:lnTo>
                      <a:pt x="52" y="286"/>
                    </a:lnTo>
                    <a:lnTo>
                      <a:pt x="54" y="286"/>
                    </a:lnTo>
                    <a:lnTo>
                      <a:pt x="54" y="284"/>
                    </a:lnTo>
                    <a:lnTo>
                      <a:pt x="56" y="284"/>
                    </a:lnTo>
                    <a:lnTo>
                      <a:pt x="56" y="282"/>
                    </a:lnTo>
                    <a:lnTo>
                      <a:pt x="54" y="282"/>
                    </a:lnTo>
                    <a:lnTo>
                      <a:pt x="54" y="280"/>
                    </a:lnTo>
                    <a:lnTo>
                      <a:pt x="54" y="282"/>
                    </a:lnTo>
                    <a:lnTo>
                      <a:pt x="54" y="284"/>
                    </a:lnTo>
                    <a:lnTo>
                      <a:pt x="52" y="284"/>
                    </a:lnTo>
                    <a:lnTo>
                      <a:pt x="50" y="284"/>
                    </a:lnTo>
                    <a:lnTo>
                      <a:pt x="52" y="282"/>
                    </a:lnTo>
                    <a:lnTo>
                      <a:pt x="52" y="278"/>
                    </a:lnTo>
                    <a:lnTo>
                      <a:pt x="54" y="278"/>
                    </a:lnTo>
                    <a:lnTo>
                      <a:pt x="54" y="276"/>
                    </a:lnTo>
                    <a:lnTo>
                      <a:pt x="56" y="276"/>
                    </a:lnTo>
                    <a:lnTo>
                      <a:pt x="56" y="274"/>
                    </a:lnTo>
                    <a:lnTo>
                      <a:pt x="58" y="274"/>
                    </a:lnTo>
                    <a:lnTo>
                      <a:pt x="56" y="274"/>
                    </a:lnTo>
                    <a:lnTo>
                      <a:pt x="58" y="274"/>
                    </a:lnTo>
                    <a:lnTo>
                      <a:pt x="58" y="273"/>
                    </a:lnTo>
                    <a:lnTo>
                      <a:pt x="56" y="273"/>
                    </a:lnTo>
                    <a:lnTo>
                      <a:pt x="54" y="273"/>
                    </a:lnTo>
                    <a:lnTo>
                      <a:pt x="52" y="273"/>
                    </a:lnTo>
                    <a:lnTo>
                      <a:pt x="50" y="273"/>
                    </a:lnTo>
                    <a:lnTo>
                      <a:pt x="50" y="271"/>
                    </a:lnTo>
                    <a:lnTo>
                      <a:pt x="50" y="269"/>
                    </a:lnTo>
                    <a:lnTo>
                      <a:pt x="48" y="271"/>
                    </a:lnTo>
                    <a:lnTo>
                      <a:pt x="48" y="269"/>
                    </a:lnTo>
                    <a:lnTo>
                      <a:pt x="48" y="267"/>
                    </a:lnTo>
                    <a:lnTo>
                      <a:pt x="50" y="267"/>
                    </a:lnTo>
                    <a:lnTo>
                      <a:pt x="48" y="267"/>
                    </a:lnTo>
                    <a:lnTo>
                      <a:pt x="48" y="265"/>
                    </a:lnTo>
                    <a:lnTo>
                      <a:pt x="46" y="265"/>
                    </a:lnTo>
                    <a:lnTo>
                      <a:pt x="46" y="267"/>
                    </a:lnTo>
                    <a:lnTo>
                      <a:pt x="44" y="269"/>
                    </a:lnTo>
                    <a:lnTo>
                      <a:pt x="43" y="271"/>
                    </a:lnTo>
                    <a:lnTo>
                      <a:pt x="43" y="269"/>
                    </a:lnTo>
                    <a:lnTo>
                      <a:pt x="41" y="269"/>
                    </a:lnTo>
                    <a:lnTo>
                      <a:pt x="41" y="271"/>
                    </a:lnTo>
                    <a:lnTo>
                      <a:pt x="39" y="271"/>
                    </a:lnTo>
                    <a:lnTo>
                      <a:pt x="39" y="273"/>
                    </a:lnTo>
                    <a:lnTo>
                      <a:pt x="39" y="271"/>
                    </a:lnTo>
                    <a:lnTo>
                      <a:pt x="41" y="271"/>
                    </a:lnTo>
                    <a:lnTo>
                      <a:pt x="41" y="269"/>
                    </a:lnTo>
                    <a:lnTo>
                      <a:pt x="39" y="269"/>
                    </a:lnTo>
                    <a:lnTo>
                      <a:pt x="41" y="269"/>
                    </a:lnTo>
                    <a:lnTo>
                      <a:pt x="39" y="269"/>
                    </a:lnTo>
                    <a:lnTo>
                      <a:pt x="37" y="269"/>
                    </a:lnTo>
                    <a:lnTo>
                      <a:pt x="37" y="271"/>
                    </a:lnTo>
                    <a:lnTo>
                      <a:pt x="37" y="273"/>
                    </a:lnTo>
                    <a:lnTo>
                      <a:pt x="35" y="273"/>
                    </a:lnTo>
                    <a:lnTo>
                      <a:pt x="35" y="276"/>
                    </a:lnTo>
                    <a:lnTo>
                      <a:pt x="35" y="278"/>
                    </a:lnTo>
                    <a:lnTo>
                      <a:pt x="33" y="278"/>
                    </a:lnTo>
                    <a:lnTo>
                      <a:pt x="31" y="278"/>
                    </a:lnTo>
                    <a:lnTo>
                      <a:pt x="29" y="280"/>
                    </a:lnTo>
                    <a:lnTo>
                      <a:pt x="29" y="278"/>
                    </a:lnTo>
                    <a:lnTo>
                      <a:pt x="29" y="276"/>
                    </a:lnTo>
                    <a:lnTo>
                      <a:pt x="27" y="274"/>
                    </a:lnTo>
                    <a:lnTo>
                      <a:pt x="27" y="276"/>
                    </a:lnTo>
                    <a:lnTo>
                      <a:pt x="25" y="276"/>
                    </a:lnTo>
                    <a:lnTo>
                      <a:pt x="25" y="274"/>
                    </a:lnTo>
                    <a:lnTo>
                      <a:pt x="25" y="273"/>
                    </a:lnTo>
                    <a:lnTo>
                      <a:pt x="23" y="274"/>
                    </a:lnTo>
                    <a:lnTo>
                      <a:pt x="23" y="273"/>
                    </a:lnTo>
                    <a:lnTo>
                      <a:pt x="21" y="273"/>
                    </a:lnTo>
                    <a:lnTo>
                      <a:pt x="23" y="273"/>
                    </a:lnTo>
                    <a:lnTo>
                      <a:pt x="23" y="271"/>
                    </a:lnTo>
                    <a:lnTo>
                      <a:pt x="25" y="271"/>
                    </a:lnTo>
                    <a:lnTo>
                      <a:pt x="25" y="269"/>
                    </a:lnTo>
                    <a:lnTo>
                      <a:pt x="23" y="269"/>
                    </a:lnTo>
                    <a:lnTo>
                      <a:pt x="23" y="267"/>
                    </a:lnTo>
                    <a:lnTo>
                      <a:pt x="25" y="267"/>
                    </a:lnTo>
                    <a:lnTo>
                      <a:pt x="25" y="265"/>
                    </a:lnTo>
                    <a:lnTo>
                      <a:pt x="25" y="263"/>
                    </a:lnTo>
                    <a:lnTo>
                      <a:pt x="27" y="265"/>
                    </a:lnTo>
                    <a:lnTo>
                      <a:pt x="27" y="263"/>
                    </a:lnTo>
                    <a:lnTo>
                      <a:pt x="27" y="261"/>
                    </a:lnTo>
                    <a:lnTo>
                      <a:pt x="29" y="259"/>
                    </a:lnTo>
                    <a:lnTo>
                      <a:pt x="27" y="261"/>
                    </a:lnTo>
                    <a:lnTo>
                      <a:pt x="25" y="261"/>
                    </a:lnTo>
                    <a:lnTo>
                      <a:pt x="25" y="259"/>
                    </a:lnTo>
                    <a:lnTo>
                      <a:pt x="27" y="259"/>
                    </a:lnTo>
                    <a:lnTo>
                      <a:pt x="27" y="257"/>
                    </a:lnTo>
                    <a:lnTo>
                      <a:pt x="27" y="255"/>
                    </a:lnTo>
                    <a:lnTo>
                      <a:pt x="25" y="255"/>
                    </a:lnTo>
                    <a:lnTo>
                      <a:pt x="27" y="255"/>
                    </a:lnTo>
                    <a:lnTo>
                      <a:pt x="27" y="253"/>
                    </a:lnTo>
                    <a:lnTo>
                      <a:pt x="25" y="253"/>
                    </a:lnTo>
                    <a:lnTo>
                      <a:pt x="23" y="255"/>
                    </a:lnTo>
                    <a:lnTo>
                      <a:pt x="21" y="255"/>
                    </a:lnTo>
                    <a:lnTo>
                      <a:pt x="21" y="253"/>
                    </a:lnTo>
                    <a:lnTo>
                      <a:pt x="21" y="251"/>
                    </a:lnTo>
                    <a:lnTo>
                      <a:pt x="23" y="249"/>
                    </a:lnTo>
                    <a:lnTo>
                      <a:pt x="21" y="248"/>
                    </a:lnTo>
                    <a:lnTo>
                      <a:pt x="23" y="248"/>
                    </a:lnTo>
                    <a:lnTo>
                      <a:pt x="23" y="249"/>
                    </a:lnTo>
                    <a:lnTo>
                      <a:pt x="25" y="249"/>
                    </a:lnTo>
                    <a:lnTo>
                      <a:pt x="25" y="251"/>
                    </a:lnTo>
                    <a:lnTo>
                      <a:pt x="23" y="251"/>
                    </a:lnTo>
                    <a:lnTo>
                      <a:pt x="25" y="253"/>
                    </a:lnTo>
                    <a:lnTo>
                      <a:pt x="25" y="251"/>
                    </a:lnTo>
                    <a:lnTo>
                      <a:pt x="27" y="251"/>
                    </a:lnTo>
                    <a:lnTo>
                      <a:pt x="29" y="251"/>
                    </a:lnTo>
                    <a:lnTo>
                      <a:pt x="29" y="249"/>
                    </a:lnTo>
                    <a:lnTo>
                      <a:pt x="27" y="249"/>
                    </a:lnTo>
                    <a:lnTo>
                      <a:pt x="27" y="248"/>
                    </a:lnTo>
                    <a:lnTo>
                      <a:pt x="29" y="246"/>
                    </a:lnTo>
                    <a:lnTo>
                      <a:pt x="29" y="248"/>
                    </a:lnTo>
                    <a:lnTo>
                      <a:pt x="29" y="246"/>
                    </a:lnTo>
                    <a:lnTo>
                      <a:pt x="31" y="244"/>
                    </a:lnTo>
                    <a:lnTo>
                      <a:pt x="29" y="244"/>
                    </a:lnTo>
                    <a:lnTo>
                      <a:pt x="29" y="242"/>
                    </a:lnTo>
                    <a:lnTo>
                      <a:pt x="27" y="242"/>
                    </a:lnTo>
                    <a:lnTo>
                      <a:pt x="27" y="240"/>
                    </a:lnTo>
                    <a:lnTo>
                      <a:pt x="27" y="242"/>
                    </a:lnTo>
                    <a:lnTo>
                      <a:pt x="25" y="242"/>
                    </a:lnTo>
                    <a:lnTo>
                      <a:pt x="23" y="242"/>
                    </a:lnTo>
                    <a:lnTo>
                      <a:pt x="23" y="240"/>
                    </a:lnTo>
                    <a:lnTo>
                      <a:pt x="23" y="242"/>
                    </a:lnTo>
                    <a:lnTo>
                      <a:pt x="21" y="242"/>
                    </a:lnTo>
                    <a:lnTo>
                      <a:pt x="23" y="240"/>
                    </a:lnTo>
                    <a:lnTo>
                      <a:pt x="21" y="240"/>
                    </a:lnTo>
                    <a:lnTo>
                      <a:pt x="23" y="240"/>
                    </a:lnTo>
                    <a:lnTo>
                      <a:pt x="23" y="238"/>
                    </a:lnTo>
                    <a:lnTo>
                      <a:pt x="23" y="236"/>
                    </a:lnTo>
                    <a:lnTo>
                      <a:pt x="23" y="234"/>
                    </a:lnTo>
                    <a:lnTo>
                      <a:pt x="23" y="232"/>
                    </a:lnTo>
                    <a:lnTo>
                      <a:pt x="23" y="230"/>
                    </a:lnTo>
                    <a:lnTo>
                      <a:pt x="23" y="228"/>
                    </a:lnTo>
                    <a:lnTo>
                      <a:pt x="23" y="226"/>
                    </a:lnTo>
                    <a:lnTo>
                      <a:pt x="23" y="224"/>
                    </a:lnTo>
                    <a:lnTo>
                      <a:pt x="23" y="223"/>
                    </a:lnTo>
                    <a:lnTo>
                      <a:pt x="23" y="221"/>
                    </a:lnTo>
                    <a:lnTo>
                      <a:pt x="23" y="219"/>
                    </a:lnTo>
                    <a:lnTo>
                      <a:pt x="25" y="219"/>
                    </a:lnTo>
                    <a:lnTo>
                      <a:pt x="25" y="217"/>
                    </a:lnTo>
                    <a:lnTo>
                      <a:pt x="25" y="215"/>
                    </a:lnTo>
                    <a:lnTo>
                      <a:pt x="25" y="213"/>
                    </a:lnTo>
                    <a:lnTo>
                      <a:pt x="25" y="211"/>
                    </a:lnTo>
                    <a:lnTo>
                      <a:pt x="23" y="211"/>
                    </a:lnTo>
                    <a:lnTo>
                      <a:pt x="23" y="209"/>
                    </a:lnTo>
                    <a:lnTo>
                      <a:pt x="25" y="209"/>
                    </a:lnTo>
                    <a:lnTo>
                      <a:pt x="23" y="207"/>
                    </a:lnTo>
                    <a:lnTo>
                      <a:pt x="23" y="209"/>
                    </a:lnTo>
                    <a:lnTo>
                      <a:pt x="21" y="209"/>
                    </a:lnTo>
                    <a:lnTo>
                      <a:pt x="19" y="209"/>
                    </a:lnTo>
                    <a:lnTo>
                      <a:pt x="18" y="209"/>
                    </a:lnTo>
                    <a:lnTo>
                      <a:pt x="16" y="209"/>
                    </a:lnTo>
                    <a:lnTo>
                      <a:pt x="16" y="207"/>
                    </a:lnTo>
                    <a:lnTo>
                      <a:pt x="18" y="207"/>
                    </a:lnTo>
                    <a:lnTo>
                      <a:pt x="18" y="205"/>
                    </a:lnTo>
                    <a:lnTo>
                      <a:pt x="16" y="205"/>
                    </a:lnTo>
                    <a:lnTo>
                      <a:pt x="16" y="203"/>
                    </a:lnTo>
                    <a:lnTo>
                      <a:pt x="18" y="201"/>
                    </a:lnTo>
                    <a:lnTo>
                      <a:pt x="18" y="199"/>
                    </a:lnTo>
                    <a:lnTo>
                      <a:pt x="16" y="198"/>
                    </a:lnTo>
                    <a:lnTo>
                      <a:pt x="14" y="198"/>
                    </a:lnTo>
                    <a:lnTo>
                      <a:pt x="14" y="196"/>
                    </a:lnTo>
                    <a:lnTo>
                      <a:pt x="12" y="194"/>
                    </a:lnTo>
                    <a:lnTo>
                      <a:pt x="12" y="192"/>
                    </a:lnTo>
                    <a:lnTo>
                      <a:pt x="10" y="192"/>
                    </a:lnTo>
                    <a:lnTo>
                      <a:pt x="10" y="194"/>
                    </a:lnTo>
                    <a:lnTo>
                      <a:pt x="8" y="194"/>
                    </a:lnTo>
                    <a:lnTo>
                      <a:pt x="6" y="192"/>
                    </a:lnTo>
                    <a:lnTo>
                      <a:pt x="6" y="190"/>
                    </a:lnTo>
                    <a:lnTo>
                      <a:pt x="6" y="188"/>
                    </a:lnTo>
                    <a:lnTo>
                      <a:pt x="4" y="186"/>
                    </a:lnTo>
                    <a:lnTo>
                      <a:pt x="6" y="182"/>
                    </a:lnTo>
                    <a:lnTo>
                      <a:pt x="4" y="182"/>
                    </a:lnTo>
                    <a:lnTo>
                      <a:pt x="4" y="180"/>
                    </a:lnTo>
                    <a:lnTo>
                      <a:pt x="4" y="178"/>
                    </a:lnTo>
                    <a:lnTo>
                      <a:pt x="4" y="173"/>
                    </a:lnTo>
                    <a:lnTo>
                      <a:pt x="4" y="169"/>
                    </a:lnTo>
                    <a:lnTo>
                      <a:pt x="4" y="167"/>
                    </a:lnTo>
                    <a:lnTo>
                      <a:pt x="2" y="163"/>
                    </a:lnTo>
                    <a:lnTo>
                      <a:pt x="0" y="163"/>
                    </a:lnTo>
                    <a:lnTo>
                      <a:pt x="0" y="161"/>
                    </a:lnTo>
                    <a:lnTo>
                      <a:pt x="0" y="159"/>
                    </a:lnTo>
                    <a:lnTo>
                      <a:pt x="0" y="157"/>
                    </a:lnTo>
                    <a:lnTo>
                      <a:pt x="0" y="155"/>
                    </a:lnTo>
                    <a:lnTo>
                      <a:pt x="2" y="155"/>
                    </a:lnTo>
                    <a:lnTo>
                      <a:pt x="2" y="153"/>
                    </a:lnTo>
                    <a:lnTo>
                      <a:pt x="2" y="151"/>
                    </a:lnTo>
                    <a:lnTo>
                      <a:pt x="2" y="149"/>
                    </a:lnTo>
                    <a:lnTo>
                      <a:pt x="2" y="148"/>
                    </a:lnTo>
                    <a:lnTo>
                      <a:pt x="2" y="146"/>
                    </a:lnTo>
                    <a:lnTo>
                      <a:pt x="4" y="144"/>
                    </a:lnTo>
                    <a:lnTo>
                      <a:pt x="2" y="144"/>
                    </a:lnTo>
                    <a:lnTo>
                      <a:pt x="4" y="144"/>
                    </a:lnTo>
                    <a:lnTo>
                      <a:pt x="4" y="142"/>
                    </a:lnTo>
                    <a:lnTo>
                      <a:pt x="2" y="142"/>
                    </a:lnTo>
                    <a:lnTo>
                      <a:pt x="4" y="142"/>
                    </a:lnTo>
                    <a:lnTo>
                      <a:pt x="4" y="140"/>
                    </a:lnTo>
                    <a:lnTo>
                      <a:pt x="4" y="138"/>
                    </a:lnTo>
                    <a:lnTo>
                      <a:pt x="4" y="136"/>
                    </a:lnTo>
                    <a:lnTo>
                      <a:pt x="4" y="134"/>
                    </a:lnTo>
                    <a:lnTo>
                      <a:pt x="6" y="134"/>
                    </a:lnTo>
                    <a:lnTo>
                      <a:pt x="6" y="132"/>
                    </a:lnTo>
                    <a:lnTo>
                      <a:pt x="6" y="130"/>
                    </a:lnTo>
                    <a:lnTo>
                      <a:pt x="6" y="128"/>
                    </a:lnTo>
                    <a:lnTo>
                      <a:pt x="8" y="128"/>
                    </a:lnTo>
                    <a:lnTo>
                      <a:pt x="8" y="126"/>
                    </a:lnTo>
                    <a:lnTo>
                      <a:pt x="6" y="126"/>
                    </a:lnTo>
                    <a:lnTo>
                      <a:pt x="8" y="126"/>
                    </a:lnTo>
                    <a:lnTo>
                      <a:pt x="8" y="124"/>
                    </a:lnTo>
                    <a:lnTo>
                      <a:pt x="10" y="124"/>
                    </a:lnTo>
                    <a:lnTo>
                      <a:pt x="10" y="123"/>
                    </a:lnTo>
                    <a:lnTo>
                      <a:pt x="10" y="121"/>
                    </a:lnTo>
                    <a:lnTo>
                      <a:pt x="10" y="119"/>
                    </a:lnTo>
                    <a:lnTo>
                      <a:pt x="10" y="117"/>
                    </a:lnTo>
                    <a:lnTo>
                      <a:pt x="10" y="115"/>
                    </a:lnTo>
                    <a:lnTo>
                      <a:pt x="12" y="115"/>
                    </a:lnTo>
                    <a:lnTo>
                      <a:pt x="12" y="113"/>
                    </a:lnTo>
                    <a:lnTo>
                      <a:pt x="12" y="115"/>
                    </a:lnTo>
                    <a:lnTo>
                      <a:pt x="14" y="115"/>
                    </a:lnTo>
                    <a:lnTo>
                      <a:pt x="14" y="113"/>
                    </a:lnTo>
                    <a:lnTo>
                      <a:pt x="12" y="113"/>
                    </a:lnTo>
                    <a:lnTo>
                      <a:pt x="14" y="113"/>
                    </a:lnTo>
                    <a:lnTo>
                      <a:pt x="14" y="111"/>
                    </a:lnTo>
                    <a:lnTo>
                      <a:pt x="16" y="111"/>
                    </a:lnTo>
                    <a:lnTo>
                      <a:pt x="14" y="109"/>
                    </a:lnTo>
                    <a:lnTo>
                      <a:pt x="16" y="109"/>
                    </a:lnTo>
                    <a:lnTo>
                      <a:pt x="16" y="107"/>
                    </a:lnTo>
                    <a:lnTo>
                      <a:pt x="18" y="107"/>
                    </a:lnTo>
                    <a:lnTo>
                      <a:pt x="19" y="107"/>
                    </a:lnTo>
                    <a:lnTo>
                      <a:pt x="19" y="105"/>
                    </a:lnTo>
                    <a:lnTo>
                      <a:pt x="21" y="105"/>
                    </a:lnTo>
                    <a:lnTo>
                      <a:pt x="23" y="105"/>
                    </a:lnTo>
                    <a:lnTo>
                      <a:pt x="23" y="103"/>
                    </a:lnTo>
                    <a:lnTo>
                      <a:pt x="23" y="101"/>
                    </a:lnTo>
                    <a:lnTo>
                      <a:pt x="23" y="103"/>
                    </a:lnTo>
                    <a:lnTo>
                      <a:pt x="23" y="101"/>
                    </a:lnTo>
                    <a:lnTo>
                      <a:pt x="23" y="103"/>
                    </a:lnTo>
                    <a:lnTo>
                      <a:pt x="23" y="101"/>
                    </a:lnTo>
                    <a:lnTo>
                      <a:pt x="25" y="101"/>
                    </a:lnTo>
                    <a:lnTo>
                      <a:pt x="27" y="101"/>
                    </a:lnTo>
                    <a:lnTo>
                      <a:pt x="27" y="99"/>
                    </a:lnTo>
                    <a:lnTo>
                      <a:pt x="27" y="98"/>
                    </a:lnTo>
                    <a:lnTo>
                      <a:pt x="27" y="96"/>
                    </a:lnTo>
                    <a:lnTo>
                      <a:pt x="29" y="96"/>
                    </a:lnTo>
                    <a:lnTo>
                      <a:pt x="29" y="94"/>
                    </a:lnTo>
                    <a:lnTo>
                      <a:pt x="27" y="94"/>
                    </a:lnTo>
                    <a:lnTo>
                      <a:pt x="29" y="94"/>
                    </a:lnTo>
                    <a:lnTo>
                      <a:pt x="29" y="92"/>
                    </a:lnTo>
                    <a:lnTo>
                      <a:pt x="31" y="90"/>
                    </a:lnTo>
                    <a:lnTo>
                      <a:pt x="33" y="90"/>
                    </a:lnTo>
                    <a:lnTo>
                      <a:pt x="33" y="88"/>
                    </a:lnTo>
                    <a:lnTo>
                      <a:pt x="31" y="88"/>
                    </a:lnTo>
                    <a:lnTo>
                      <a:pt x="31" y="90"/>
                    </a:lnTo>
                    <a:lnTo>
                      <a:pt x="29" y="90"/>
                    </a:lnTo>
                    <a:lnTo>
                      <a:pt x="29" y="88"/>
                    </a:lnTo>
                    <a:lnTo>
                      <a:pt x="29" y="86"/>
                    </a:lnTo>
                    <a:lnTo>
                      <a:pt x="29" y="84"/>
                    </a:lnTo>
                    <a:lnTo>
                      <a:pt x="29" y="82"/>
                    </a:lnTo>
                    <a:lnTo>
                      <a:pt x="29" y="84"/>
                    </a:lnTo>
                    <a:lnTo>
                      <a:pt x="29" y="82"/>
                    </a:lnTo>
                    <a:lnTo>
                      <a:pt x="27" y="82"/>
                    </a:lnTo>
                    <a:lnTo>
                      <a:pt x="27" y="80"/>
                    </a:lnTo>
                    <a:lnTo>
                      <a:pt x="29" y="80"/>
                    </a:lnTo>
                    <a:lnTo>
                      <a:pt x="27" y="80"/>
                    </a:lnTo>
                    <a:lnTo>
                      <a:pt x="27" y="78"/>
                    </a:lnTo>
                    <a:lnTo>
                      <a:pt x="25" y="78"/>
                    </a:lnTo>
                    <a:lnTo>
                      <a:pt x="25" y="76"/>
                    </a:lnTo>
                    <a:lnTo>
                      <a:pt x="25" y="75"/>
                    </a:lnTo>
                    <a:lnTo>
                      <a:pt x="25" y="73"/>
                    </a:lnTo>
                    <a:lnTo>
                      <a:pt x="25" y="71"/>
                    </a:lnTo>
                    <a:lnTo>
                      <a:pt x="23" y="71"/>
                    </a:lnTo>
                    <a:lnTo>
                      <a:pt x="23" y="69"/>
                    </a:lnTo>
                    <a:lnTo>
                      <a:pt x="23" y="67"/>
                    </a:lnTo>
                    <a:lnTo>
                      <a:pt x="25" y="67"/>
                    </a:lnTo>
                    <a:lnTo>
                      <a:pt x="27" y="67"/>
                    </a:lnTo>
                    <a:lnTo>
                      <a:pt x="29" y="67"/>
                    </a:lnTo>
                    <a:lnTo>
                      <a:pt x="29" y="69"/>
                    </a:lnTo>
                    <a:lnTo>
                      <a:pt x="31" y="69"/>
                    </a:lnTo>
                    <a:lnTo>
                      <a:pt x="33" y="67"/>
                    </a:lnTo>
                    <a:lnTo>
                      <a:pt x="31" y="67"/>
                    </a:lnTo>
                    <a:lnTo>
                      <a:pt x="33" y="67"/>
                    </a:lnTo>
                    <a:lnTo>
                      <a:pt x="35" y="65"/>
                    </a:lnTo>
                    <a:lnTo>
                      <a:pt x="35" y="67"/>
                    </a:lnTo>
                    <a:lnTo>
                      <a:pt x="35" y="65"/>
                    </a:lnTo>
                    <a:lnTo>
                      <a:pt x="35" y="67"/>
                    </a:lnTo>
                    <a:lnTo>
                      <a:pt x="37" y="67"/>
                    </a:lnTo>
                    <a:lnTo>
                      <a:pt x="37" y="69"/>
                    </a:lnTo>
                    <a:lnTo>
                      <a:pt x="39" y="69"/>
                    </a:lnTo>
                    <a:lnTo>
                      <a:pt x="41" y="69"/>
                    </a:lnTo>
                    <a:lnTo>
                      <a:pt x="41" y="67"/>
                    </a:lnTo>
                    <a:lnTo>
                      <a:pt x="43" y="65"/>
                    </a:lnTo>
                    <a:lnTo>
                      <a:pt x="44" y="65"/>
                    </a:lnTo>
                    <a:lnTo>
                      <a:pt x="46" y="63"/>
                    </a:lnTo>
                    <a:lnTo>
                      <a:pt x="48" y="63"/>
                    </a:lnTo>
                    <a:lnTo>
                      <a:pt x="50" y="63"/>
                    </a:lnTo>
                    <a:lnTo>
                      <a:pt x="52" y="63"/>
                    </a:lnTo>
                    <a:lnTo>
                      <a:pt x="52" y="61"/>
                    </a:lnTo>
                    <a:lnTo>
                      <a:pt x="54" y="61"/>
                    </a:lnTo>
                    <a:lnTo>
                      <a:pt x="54" y="59"/>
                    </a:lnTo>
                    <a:lnTo>
                      <a:pt x="56" y="59"/>
                    </a:lnTo>
                    <a:lnTo>
                      <a:pt x="58" y="59"/>
                    </a:lnTo>
                    <a:lnTo>
                      <a:pt x="58" y="57"/>
                    </a:lnTo>
                    <a:lnTo>
                      <a:pt x="60" y="57"/>
                    </a:lnTo>
                    <a:lnTo>
                      <a:pt x="58" y="57"/>
                    </a:lnTo>
                    <a:lnTo>
                      <a:pt x="60" y="55"/>
                    </a:lnTo>
                    <a:lnTo>
                      <a:pt x="60" y="53"/>
                    </a:lnTo>
                    <a:lnTo>
                      <a:pt x="62" y="53"/>
                    </a:lnTo>
                    <a:lnTo>
                      <a:pt x="64" y="53"/>
                    </a:lnTo>
                    <a:lnTo>
                      <a:pt x="66" y="53"/>
                    </a:lnTo>
                    <a:lnTo>
                      <a:pt x="66" y="51"/>
                    </a:lnTo>
                    <a:lnTo>
                      <a:pt x="67" y="51"/>
                    </a:lnTo>
                    <a:lnTo>
                      <a:pt x="69" y="51"/>
                    </a:lnTo>
                    <a:lnTo>
                      <a:pt x="69" y="50"/>
                    </a:lnTo>
                    <a:lnTo>
                      <a:pt x="71" y="50"/>
                    </a:lnTo>
                    <a:lnTo>
                      <a:pt x="71" y="48"/>
                    </a:lnTo>
                    <a:lnTo>
                      <a:pt x="71" y="50"/>
                    </a:lnTo>
                    <a:lnTo>
                      <a:pt x="71" y="48"/>
                    </a:lnTo>
                    <a:lnTo>
                      <a:pt x="73" y="50"/>
                    </a:lnTo>
                    <a:lnTo>
                      <a:pt x="73" y="48"/>
                    </a:lnTo>
                    <a:lnTo>
                      <a:pt x="71" y="48"/>
                    </a:lnTo>
                    <a:lnTo>
                      <a:pt x="71" y="46"/>
                    </a:lnTo>
                    <a:lnTo>
                      <a:pt x="71" y="44"/>
                    </a:lnTo>
                    <a:lnTo>
                      <a:pt x="69" y="42"/>
                    </a:lnTo>
                    <a:lnTo>
                      <a:pt x="71" y="42"/>
                    </a:lnTo>
                    <a:lnTo>
                      <a:pt x="71" y="40"/>
                    </a:lnTo>
                    <a:lnTo>
                      <a:pt x="71" y="42"/>
                    </a:lnTo>
                    <a:lnTo>
                      <a:pt x="69" y="42"/>
                    </a:lnTo>
                    <a:lnTo>
                      <a:pt x="69" y="40"/>
                    </a:lnTo>
                    <a:lnTo>
                      <a:pt x="67" y="42"/>
                    </a:lnTo>
                    <a:lnTo>
                      <a:pt x="67" y="40"/>
                    </a:lnTo>
                    <a:lnTo>
                      <a:pt x="69" y="40"/>
                    </a:lnTo>
                    <a:lnTo>
                      <a:pt x="69" y="38"/>
                    </a:lnTo>
                    <a:lnTo>
                      <a:pt x="67" y="38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6"/>
                    </a:lnTo>
                    <a:lnTo>
                      <a:pt x="67" y="36"/>
                    </a:lnTo>
                    <a:lnTo>
                      <a:pt x="69" y="36"/>
                    </a:lnTo>
                    <a:lnTo>
                      <a:pt x="69" y="34"/>
                    </a:lnTo>
                    <a:lnTo>
                      <a:pt x="67" y="34"/>
                    </a:lnTo>
                    <a:lnTo>
                      <a:pt x="66" y="32"/>
                    </a:lnTo>
                    <a:lnTo>
                      <a:pt x="67" y="32"/>
                    </a:lnTo>
                    <a:lnTo>
                      <a:pt x="67" y="30"/>
                    </a:lnTo>
                    <a:lnTo>
                      <a:pt x="66" y="30"/>
                    </a:lnTo>
                    <a:lnTo>
                      <a:pt x="66" y="32"/>
                    </a:lnTo>
                    <a:lnTo>
                      <a:pt x="66" y="30"/>
                    </a:lnTo>
                    <a:lnTo>
                      <a:pt x="64" y="30"/>
                    </a:lnTo>
                    <a:lnTo>
                      <a:pt x="64" y="28"/>
                    </a:lnTo>
                    <a:lnTo>
                      <a:pt x="62" y="28"/>
                    </a:lnTo>
                    <a:lnTo>
                      <a:pt x="62" y="26"/>
                    </a:lnTo>
                    <a:lnTo>
                      <a:pt x="64" y="26"/>
                    </a:lnTo>
                    <a:lnTo>
                      <a:pt x="62" y="26"/>
                    </a:lnTo>
                    <a:lnTo>
                      <a:pt x="64" y="25"/>
                    </a:lnTo>
                    <a:lnTo>
                      <a:pt x="64" y="23"/>
                    </a:lnTo>
                    <a:lnTo>
                      <a:pt x="64" y="25"/>
                    </a:lnTo>
                    <a:lnTo>
                      <a:pt x="66" y="25"/>
                    </a:lnTo>
                    <a:lnTo>
                      <a:pt x="67" y="25"/>
                    </a:lnTo>
                    <a:lnTo>
                      <a:pt x="67" y="23"/>
                    </a:lnTo>
                    <a:lnTo>
                      <a:pt x="69" y="23"/>
                    </a:lnTo>
                    <a:lnTo>
                      <a:pt x="69" y="21"/>
                    </a:lnTo>
                    <a:lnTo>
                      <a:pt x="71" y="21"/>
                    </a:lnTo>
                    <a:lnTo>
                      <a:pt x="71" y="23"/>
                    </a:lnTo>
                    <a:lnTo>
                      <a:pt x="73" y="25"/>
                    </a:lnTo>
                    <a:lnTo>
                      <a:pt x="75" y="25"/>
                    </a:lnTo>
                    <a:lnTo>
                      <a:pt x="77" y="23"/>
                    </a:lnTo>
                    <a:lnTo>
                      <a:pt x="79" y="21"/>
                    </a:lnTo>
                    <a:lnTo>
                      <a:pt x="79" y="19"/>
                    </a:lnTo>
                    <a:lnTo>
                      <a:pt x="81" y="19"/>
                    </a:lnTo>
                    <a:lnTo>
                      <a:pt x="83" y="17"/>
                    </a:lnTo>
                    <a:lnTo>
                      <a:pt x="85" y="17"/>
                    </a:lnTo>
                    <a:lnTo>
                      <a:pt x="87" y="17"/>
                    </a:lnTo>
                    <a:lnTo>
                      <a:pt x="87" y="15"/>
                    </a:lnTo>
                    <a:lnTo>
                      <a:pt x="89" y="15"/>
                    </a:lnTo>
                    <a:lnTo>
                      <a:pt x="91" y="15"/>
                    </a:lnTo>
                    <a:lnTo>
                      <a:pt x="92" y="15"/>
                    </a:lnTo>
                    <a:lnTo>
                      <a:pt x="92" y="13"/>
                    </a:lnTo>
                    <a:lnTo>
                      <a:pt x="94" y="13"/>
                    </a:lnTo>
                    <a:lnTo>
                      <a:pt x="94" y="11"/>
                    </a:lnTo>
                    <a:lnTo>
                      <a:pt x="94" y="13"/>
                    </a:lnTo>
                    <a:lnTo>
                      <a:pt x="94" y="11"/>
                    </a:lnTo>
                    <a:lnTo>
                      <a:pt x="92" y="11"/>
                    </a:lnTo>
                    <a:lnTo>
                      <a:pt x="92" y="9"/>
                    </a:lnTo>
                    <a:lnTo>
                      <a:pt x="94" y="9"/>
                    </a:lnTo>
                    <a:lnTo>
                      <a:pt x="94" y="7"/>
                    </a:lnTo>
                    <a:lnTo>
                      <a:pt x="96" y="7"/>
                    </a:lnTo>
                    <a:lnTo>
                      <a:pt x="96" y="9"/>
                    </a:lnTo>
                    <a:lnTo>
                      <a:pt x="96" y="7"/>
                    </a:lnTo>
                    <a:lnTo>
                      <a:pt x="98" y="7"/>
                    </a:lnTo>
                    <a:lnTo>
                      <a:pt x="100" y="5"/>
                    </a:lnTo>
                    <a:lnTo>
                      <a:pt x="100" y="3"/>
                    </a:lnTo>
                    <a:lnTo>
                      <a:pt x="102" y="3"/>
                    </a:lnTo>
                    <a:lnTo>
                      <a:pt x="102" y="1"/>
                    </a:lnTo>
                    <a:lnTo>
                      <a:pt x="104" y="1"/>
                    </a:lnTo>
                    <a:lnTo>
                      <a:pt x="102" y="1"/>
                    </a:lnTo>
                    <a:lnTo>
                      <a:pt x="104" y="1"/>
                    </a:lnTo>
                    <a:lnTo>
                      <a:pt x="104" y="0"/>
                    </a:lnTo>
                    <a:lnTo>
                      <a:pt x="104" y="1"/>
                    </a:lnTo>
                    <a:lnTo>
                      <a:pt x="104" y="0"/>
                    </a:lnTo>
                    <a:lnTo>
                      <a:pt x="106" y="0"/>
                    </a:lnTo>
                    <a:lnTo>
                      <a:pt x="106" y="1"/>
                    </a:lnTo>
                    <a:lnTo>
                      <a:pt x="106" y="3"/>
                    </a:lnTo>
                    <a:lnTo>
                      <a:pt x="108" y="3"/>
                    </a:lnTo>
                    <a:lnTo>
                      <a:pt x="108" y="5"/>
                    </a:lnTo>
                    <a:lnTo>
                      <a:pt x="108" y="7"/>
                    </a:lnTo>
                    <a:lnTo>
                      <a:pt x="108" y="9"/>
                    </a:lnTo>
                    <a:lnTo>
                      <a:pt x="110" y="9"/>
                    </a:lnTo>
                    <a:lnTo>
                      <a:pt x="110" y="11"/>
                    </a:lnTo>
                    <a:lnTo>
                      <a:pt x="110" y="13"/>
                    </a:lnTo>
                    <a:lnTo>
                      <a:pt x="112" y="13"/>
                    </a:lnTo>
                    <a:lnTo>
                      <a:pt x="112" y="15"/>
                    </a:lnTo>
                    <a:lnTo>
                      <a:pt x="112" y="17"/>
                    </a:lnTo>
                    <a:lnTo>
                      <a:pt x="112" y="19"/>
                    </a:lnTo>
                    <a:lnTo>
                      <a:pt x="114" y="19"/>
                    </a:lnTo>
                    <a:lnTo>
                      <a:pt x="114" y="17"/>
                    </a:lnTo>
                    <a:lnTo>
                      <a:pt x="114" y="19"/>
                    </a:lnTo>
                    <a:lnTo>
                      <a:pt x="114" y="17"/>
                    </a:lnTo>
                    <a:lnTo>
                      <a:pt x="114" y="19"/>
                    </a:lnTo>
                    <a:lnTo>
                      <a:pt x="114" y="17"/>
                    </a:lnTo>
                    <a:lnTo>
                      <a:pt x="114" y="19"/>
                    </a:lnTo>
                    <a:lnTo>
                      <a:pt x="116" y="19"/>
                    </a:lnTo>
                    <a:lnTo>
                      <a:pt x="117" y="19"/>
                    </a:lnTo>
                    <a:lnTo>
                      <a:pt x="117" y="21"/>
                    </a:lnTo>
                    <a:lnTo>
                      <a:pt x="116" y="21"/>
                    </a:lnTo>
                    <a:lnTo>
                      <a:pt x="117" y="21"/>
                    </a:lnTo>
                    <a:lnTo>
                      <a:pt x="117" y="23"/>
                    </a:lnTo>
                    <a:lnTo>
                      <a:pt x="117" y="21"/>
                    </a:lnTo>
                    <a:lnTo>
                      <a:pt x="119" y="19"/>
                    </a:lnTo>
                    <a:lnTo>
                      <a:pt x="119" y="21"/>
                    </a:lnTo>
                    <a:lnTo>
                      <a:pt x="119" y="23"/>
                    </a:lnTo>
                    <a:lnTo>
                      <a:pt x="121" y="23"/>
                    </a:lnTo>
                    <a:lnTo>
                      <a:pt x="123" y="23"/>
                    </a:lnTo>
                    <a:lnTo>
                      <a:pt x="123" y="25"/>
                    </a:lnTo>
                    <a:lnTo>
                      <a:pt x="125" y="23"/>
                    </a:lnTo>
                    <a:lnTo>
                      <a:pt x="127" y="25"/>
                    </a:lnTo>
                    <a:lnTo>
                      <a:pt x="127" y="23"/>
                    </a:lnTo>
                    <a:lnTo>
                      <a:pt x="129" y="23"/>
                    </a:lnTo>
                    <a:lnTo>
                      <a:pt x="129" y="21"/>
                    </a:lnTo>
                    <a:lnTo>
                      <a:pt x="131" y="21"/>
                    </a:lnTo>
                    <a:lnTo>
                      <a:pt x="133" y="21"/>
                    </a:lnTo>
                    <a:lnTo>
                      <a:pt x="133" y="23"/>
                    </a:lnTo>
                    <a:lnTo>
                      <a:pt x="135" y="23"/>
                    </a:lnTo>
                    <a:lnTo>
                      <a:pt x="135" y="21"/>
                    </a:lnTo>
                    <a:lnTo>
                      <a:pt x="135" y="23"/>
                    </a:lnTo>
                    <a:lnTo>
                      <a:pt x="135" y="21"/>
                    </a:lnTo>
                    <a:lnTo>
                      <a:pt x="137" y="21"/>
                    </a:lnTo>
                    <a:lnTo>
                      <a:pt x="139" y="21"/>
                    </a:lnTo>
                    <a:lnTo>
                      <a:pt x="139" y="23"/>
                    </a:lnTo>
                    <a:lnTo>
                      <a:pt x="140" y="23"/>
                    </a:lnTo>
                    <a:lnTo>
                      <a:pt x="142" y="23"/>
                    </a:lnTo>
                    <a:lnTo>
                      <a:pt x="140" y="23"/>
                    </a:lnTo>
                    <a:lnTo>
                      <a:pt x="142" y="21"/>
                    </a:lnTo>
                    <a:lnTo>
                      <a:pt x="142" y="23"/>
                    </a:lnTo>
                    <a:lnTo>
                      <a:pt x="142" y="25"/>
                    </a:lnTo>
                    <a:lnTo>
                      <a:pt x="142" y="26"/>
                    </a:lnTo>
                    <a:lnTo>
                      <a:pt x="142" y="28"/>
                    </a:lnTo>
                    <a:lnTo>
                      <a:pt x="142" y="30"/>
                    </a:lnTo>
                    <a:lnTo>
                      <a:pt x="144" y="30"/>
                    </a:lnTo>
                    <a:lnTo>
                      <a:pt x="144" y="32"/>
                    </a:lnTo>
                    <a:lnTo>
                      <a:pt x="144" y="34"/>
                    </a:lnTo>
                    <a:lnTo>
                      <a:pt x="146" y="34"/>
                    </a:lnTo>
                    <a:lnTo>
                      <a:pt x="148" y="34"/>
                    </a:lnTo>
                    <a:lnTo>
                      <a:pt x="150" y="34"/>
                    </a:lnTo>
                    <a:lnTo>
                      <a:pt x="150" y="36"/>
                    </a:lnTo>
                    <a:lnTo>
                      <a:pt x="150" y="34"/>
                    </a:lnTo>
                    <a:lnTo>
                      <a:pt x="152" y="34"/>
                    </a:lnTo>
                    <a:lnTo>
                      <a:pt x="152" y="32"/>
                    </a:lnTo>
                    <a:lnTo>
                      <a:pt x="154" y="34"/>
                    </a:lnTo>
                    <a:lnTo>
                      <a:pt x="154" y="32"/>
                    </a:lnTo>
                    <a:lnTo>
                      <a:pt x="156" y="30"/>
                    </a:lnTo>
                    <a:lnTo>
                      <a:pt x="156" y="32"/>
                    </a:lnTo>
                    <a:lnTo>
                      <a:pt x="156" y="34"/>
                    </a:lnTo>
                    <a:lnTo>
                      <a:pt x="158" y="34"/>
                    </a:lnTo>
                    <a:lnTo>
                      <a:pt x="160" y="34"/>
                    </a:lnTo>
                    <a:lnTo>
                      <a:pt x="162" y="34"/>
                    </a:lnTo>
                    <a:lnTo>
                      <a:pt x="160" y="34"/>
                    </a:lnTo>
                    <a:lnTo>
                      <a:pt x="160" y="36"/>
                    </a:lnTo>
                    <a:lnTo>
                      <a:pt x="158" y="36"/>
                    </a:lnTo>
                    <a:lnTo>
                      <a:pt x="158" y="38"/>
                    </a:lnTo>
                    <a:lnTo>
                      <a:pt x="158" y="40"/>
                    </a:lnTo>
                    <a:lnTo>
                      <a:pt x="160" y="42"/>
                    </a:lnTo>
                    <a:lnTo>
                      <a:pt x="160" y="44"/>
                    </a:lnTo>
                    <a:lnTo>
                      <a:pt x="160" y="46"/>
                    </a:lnTo>
                    <a:lnTo>
                      <a:pt x="162" y="46"/>
                    </a:lnTo>
                    <a:lnTo>
                      <a:pt x="162" y="48"/>
                    </a:lnTo>
                    <a:lnTo>
                      <a:pt x="162" y="50"/>
                    </a:lnTo>
                    <a:lnTo>
                      <a:pt x="162" y="51"/>
                    </a:lnTo>
                    <a:lnTo>
                      <a:pt x="164" y="51"/>
                    </a:lnTo>
                    <a:lnTo>
                      <a:pt x="164" y="53"/>
                    </a:lnTo>
                    <a:lnTo>
                      <a:pt x="164" y="55"/>
                    </a:lnTo>
                    <a:lnTo>
                      <a:pt x="164" y="57"/>
                    </a:lnTo>
                    <a:lnTo>
                      <a:pt x="165" y="57"/>
                    </a:lnTo>
                    <a:lnTo>
                      <a:pt x="165" y="55"/>
                    </a:lnTo>
                    <a:lnTo>
                      <a:pt x="167" y="55"/>
                    </a:lnTo>
                    <a:lnTo>
                      <a:pt x="169" y="57"/>
                    </a:lnTo>
                    <a:lnTo>
                      <a:pt x="169" y="55"/>
                    </a:lnTo>
                    <a:lnTo>
                      <a:pt x="171" y="55"/>
                    </a:lnTo>
                    <a:lnTo>
                      <a:pt x="173" y="55"/>
                    </a:lnTo>
                    <a:lnTo>
                      <a:pt x="175" y="55"/>
                    </a:lnTo>
                    <a:lnTo>
                      <a:pt x="177" y="55"/>
                    </a:lnTo>
                    <a:lnTo>
                      <a:pt x="175" y="53"/>
                    </a:lnTo>
                    <a:lnTo>
                      <a:pt x="175" y="55"/>
                    </a:lnTo>
                    <a:lnTo>
                      <a:pt x="175" y="53"/>
                    </a:lnTo>
                    <a:lnTo>
                      <a:pt x="177" y="51"/>
                    </a:lnTo>
                    <a:lnTo>
                      <a:pt x="175" y="53"/>
                    </a:lnTo>
                    <a:lnTo>
                      <a:pt x="175" y="51"/>
                    </a:lnTo>
                    <a:lnTo>
                      <a:pt x="177" y="51"/>
                    </a:lnTo>
                    <a:lnTo>
                      <a:pt x="179" y="50"/>
                    </a:lnTo>
                    <a:lnTo>
                      <a:pt x="181" y="51"/>
                    </a:lnTo>
                    <a:lnTo>
                      <a:pt x="181" y="50"/>
                    </a:lnTo>
                    <a:lnTo>
                      <a:pt x="181" y="48"/>
                    </a:lnTo>
                    <a:lnTo>
                      <a:pt x="183" y="48"/>
                    </a:lnTo>
                    <a:lnTo>
                      <a:pt x="185" y="48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88">
                <a:extLst>
                  <a:ext uri="{FF2B5EF4-FFF2-40B4-BE49-F238E27FC236}">
                    <a16:creationId xmlns="" xmlns:a16="http://schemas.microsoft.com/office/drawing/2014/main" id="{9E673595-D265-420D-9EB0-CBBDAE176B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6188" y="4059238"/>
                <a:ext cx="958850" cy="866775"/>
              </a:xfrm>
              <a:custGeom>
                <a:avLst/>
                <a:gdLst>
                  <a:gd name="T0" fmla="*/ 540 w 604"/>
                  <a:gd name="T1" fmla="*/ 53 h 546"/>
                  <a:gd name="T2" fmla="*/ 548 w 604"/>
                  <a:gd name="T3" fmla="*/ 80 h 546"/>
                  <a:gd name="T4" fmla="*/ 559 w 604"/>
                  <a:gd name="T5" fmla="*/ 119 h 546"/>
                  <a:gd name="T6" fmla="*/ 581 w 604"/>
                  <a:gd name="T7" fmla="*/ 128 h 546"/>
                  <a:gd name="T8" fmla="*/ 602 w 604"/>
                  <a:gd name="T9" fmla="*/ 152 h 546"/>
                  <a:gd name="T10" fmla="*/ 598 w 604"/>
                  <a:gd name="T11" fmla="*/ 178 h 546"/>
                  <a:gd name="T12" fmla="*/ 579 w 604"/>
                  <a:gd name="T13" fmla="*/ 186 h 546"/>
                  <a:gd name="T14" fmla="*/ 554 w 604"/>
                  <a:gd name="T15" fmla="*/ 209 h 546"/>
                  <a:gd name="T16" fmla="*/ 538 w 604"/>
                  <a:gd name="T17" fmla="*/ 236 h 546"/>
                  <a:gd name="T18" fmla="*/ 519 w 604"/>
                  <a:gd name="T19" fmla="*/ 257 h 546"/>
                  <a:gd name="T20" fmla="*/ 536 w 604"/>
                  <a:gd name="T21" fmla="*/ 284 h 546"/>
                  <a:gd name="T22" fmla="*/ 540 w 604"/>
                  <a:gd name="T23" fmla="*/ 311 h 546"/>
                  <a:gd name="T24" fmla="*/ 521 w 604"/>
                  <a:gd name="T25" fmla="*/ 338 h 546"/>
                  <a:gd name="T26" fmla="*/ 486 w 604"/>
                  <a:gd name="T27" fmla="*/ 361 h 546"/>
                  <a:gd name="T28" fmla="*/ 465 w 604"/>
                  <a:gd name="T29" fmla="*/ 380 h 546"/>
                  <a:gd name="T30" fmla="*/ 436 w 604"/>
                  <a:gd name="T31" fmla="*/ 417 h 546"/>
                  <a:gd name="T32" fmla="*/ 398 w 604"/>
                  <a:gd name="T33" fmla="*/ 428 h 546"/>
                  <a:gd name="T34" fmla="*/ 371 w 604"/>
                  <a:gd name="T35" fmla="*/ 434 h 546"/>
                  <a:gd name="T36" fmla="*/ 362 w 604"/>
                  <a:gd name="T37" fmla="*/ 453 h 546"/>
                  <a:gd name="T38" fmla="*/ 352 w 604"/>
                  <a:gd name="T39" fmla="*/ 490 h 546"/>
                  <a:gd name="T40" fmla="*/ 363 w 604"/>
                  <a:gd name="T41" fmla="*/ 507 h 546"/>
                  <a:gd name="T42" fmla="*/ 342 w 604"/>
                  <a:gd name="T43" fmla="*/ 538 h 546"/>
                  <a:gd name="T44" fmla="*/ 315 w 604"/>
                  <a:gd name="T45" fmla="*/ 532 h 546"/>
                  <a:gd name="T46" fmla="*/ 277 w 604"/>
                  <a:gd name="T47" fmla="*/ 521 h 546"/>
                  <a:gd name="T48" fmla="*/ 244 w 604"/>
                  <a:gd name="T49" fmla="*/ 523 h 546"/>
                  <a:gd name="T50" fmla="*/ 219 w 604"/>
                  <a:gd name="T51" fmla="*/ 532 h 546"/>
                  <a:gd name="T52" fmla="*/ 187 w 604"/>
                  <a:gd name="T53" fmla="*/ 544 h 546"/>
                  <a:gd name="T54" fmla="*/ 162 w 604"/>
                  <a:gd name="T55" fmla="*/ 536 h 546"/>
                  <a:gd name="T56" fmla="*/ 141 w 604"/>
                  <a:gd name="T57" fmla="*/ 509 h 546"/>
                  <a:gd name="T58" fmla="*/ 129 w 604"/>
                  <a:gd name="T59" fmla="*/ 474 h 546"/>
                  <a:gd name="T60" fmla="*/ 108 w 604"/>
                  <a:gd name="T61" fmla="*/ 459 h 546"/>
                  <a:gd name="T62" fmla="*/ 79 w 604"/>
                  <a:gd name="T63" fmla="*/ 448 h 546"/>
                  <a:gd name="T64" fmla="*/ 46 w 604"/>
                  <a:gd name="T65" fmla="*/ 444 h 546"/>
                  <a:gd name="T66" fmla="*/ 23 w 604"/>
                  <a:gd name="T67" fmla="*/ 428 h 546"/>
                  <a:gd name="T68" fmla="*/ 8 w 604"/>
                  <a:gd name="T69" fmla="*/ 411 h 546"/>
                  <a:gd name="T70" fmla="*/ 8 w 604"/>
                  <a:gd name="T71" fmla="*/ 382 h 546"/>
                  <a:gd name="T72" fmla="*/ 20 w 604"/>
                  <a:gd name="T73" fmla="*/ 361 h 546"/>
                  <a:gd name="T74" fmla="*/ 45 w 604"/>
                  <a:gd name="T75" fmla="*/ 336 h 546"/>
                  <a:gd name="T76" fmla="*/ 64 w 604"/>
                  <a:gd name="T77" fmla="*/ 355 h 546"/>
                  <a:gd name="T78" fmla="*/ 91 w 604"/>
                  <a:gd name="T79" fmla="*/ 378 h 546"/>
                  <a:gd name="T80" fmla="*/ 116 w 604"/>
                  <a:gd name="T81" fmla="*/ 401 h 546"/>
                  <a:gd name="T82" fmla="*/ 143 w 604"/>
                  <a:gd name="T83" fmla="*/ 413 h 546"/>
                  <a:gd name="T84" fmla="*/ 166 w 604"/>
                  <a:gd name="T85" fmla="*/ 436 h 546"/>
                  <a:gd name="T86" fmla="*/ 183 w 604"/>
                  <a:gd name="T87" fmla="*/ 453 h 546"/>
                  <a:gd name="T88" fmla="*/ 214 w 604"/>
                  <a:gd name="T89" fmla="*/ 461 h 546"/>
                  <a:gd name="T90" fmla="*/ 271 w 604"/>
                  <a:gd name="T91" fmla="*/ 375 h 546"/>
                  <a:gd name="T92" fmla="*/ 333 w 604"/>
                  <a:gd name="T93" fmla="*/ 217 h 546"/>
                  <a:gd name="T94" fmla="*/ 331 w 604"/>
                  <a:gd name="T95" fmla="*/ 178 h 546"/>
                  <a:gd name="T96" fmla="*/ 327 w 604"/>
                  <a:gd name="T97" fmla="*/ 150 h 546"/>
                  <a:gd name="T98" fmla="*/ 339 w 604"/>
                  <a:gd name="T99" fmla="*/ 123 h 546"/>
                  <a:gd name="T100" fmla="*/ 315 w 604"/>
                  <a:gd name="T101" fmla="*/ 109 h 546"/>
                  <a:gd name="T102" fmla="*/ 323 w 604"/>
                  <a:gd name="T103" fmla="*/ 80 h 546"/>
                  <a:gd name="T104" fmla="*/ 348 w 604"/>
                  <a:gd name="T105" fmla="*/ 71 h 546"/>
                  <a:gd name="T106" fmla="*/ 369 w 604"/>
                  <a:gd name="T107" fmla="*/ 57 h 546"/>
                  <a:gd name="T108" fmla="*/ 396 w 604"/>
                  <a:gd name="T109" fmla="*/ 48 h 546"/>
                  <a:gd name="T110" fmla="*/ 413 w 604"/>
                  <a:gd name="T111" fmla="*/ 44 h 546"/>
                  <a:gd name="T112" fmla="*/ 440 w 604"/>
                  <a:gd name="T113" fmla="*/ 42 h 546"/>
                  <a:gd name="T114" fmla="*/ 458 w 604"/>
                  <a:gd name="T115" fmla="*/ 59 h 546"/>
                  <a:gd name="T116" fmla="*/ 483 w 604"/>
                  <a:gd name="T117" fmla="*/ 59 h 546"/>
                  <a:gd name="T118" fmla="*/ 504 w 604"/>
                  <a:gd name="T119" fmla="*/ 46 h 546"/>
                  <a:gd name="T120" fmla="*/ 515 w 604"/>
                  <a:gd name="T121" fmla="*/ 15 h 546"/>
                  <a:gd name="T122" fmla="*/ 540 w 604"/>
                  <a:gd name="T123" fmla="*/ 2 h 5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04" h="546">
                    <a:moveTo>
                      <a:pt x="534" y="21"/>
                    </a:moveTo>
                    <a:lnTo>
                      <a:pt x="533" y="23"/>
                    </a:lnTo>
                    <a:lnTo>
                      <a:pt x="531" y="25"/>
                    </a:lnTo>
                    <a:lnTo>
                      <a:pt x="531" y="27"/>
                    </a:lnTo>
                    <a:lnTo>
                      <a:pt x="531" y="28"/>
                    </a:lnTo>
                    <a:lnTo>
                      <a:pt x="531" y="30"/>
                    </a:lnTo>
                    <a:lnTo>
                      <a:pt x="533" y="32"/>
                    </a:lnTo>
                    <a:lnTo>
                      <a:pt x="533" y="34"/>
                    </a:lnTo>
                    <a:lnTo>
                      <a:pt x="533" y="36"/>
                    </a:lnTo>
                    <a:lnTo>
                      <a:pt x="533" y="38"/>
                    </a:lnTo>
                    <a:lnTo>
                      <a:pt x="533" y="40"/>
                    </a:lnTo>
                    <a:lnTo>
                      <a:pt x="531" y="40"/>
                    </a:lnTo>
                    <a:lnTo>
                      <a:pt x="531" y="42"/>
                    </a:lnTo>
                    <a:lnTo>
                      <a:pt x="529" y="42"/>
                    </a:lnTo>
                    <a:lnTo>
                      <a:pt x="529" y="44"/>
                    </a:lnTo>
                    <a:lnTo>
                      <a:pt x="529" y="46"/>
                    </a:lnTo>
                    <a:lnTo>
                      <a:pt x="529" y="48"/>
                    </a:lnTo>
                    <a:lnTo>
                      <a:pt x="531" y="48"/>
                    </a:lnTo>
                    <a:lnTo>
                      <a:pt x="533" y="48"/>
                    </a:lnTo>
                    <a:lnTo>
                      <a:pt x="534" y="48"/>
                    </a:lnTo>
                    <a:lnTo>
                      <a:pt x="536" y="48"/>
                    </a:lnTo>
                    <a:lnTo>
                      <a:pt x="538" y="48"/>
                    </a:lnTo>
                    <a:lnTo>
                      <a:pt x="538" y="50"/>
                    </a:lnTo>
                    <a:lnTo>
                      <a:pt x="538" y="52"/>
                    </a:lnTo>
                    <a:lnTo>
                      <a:pt x="540" y="53"/>
                    </a:lnTo>
                    <a:lnTo>
                      <a:pt x="542" y="53"/>
                    </a:lnTo>
                    <a:lnTo>
                      <a:pt x="542" y="55"/>
                    </a:lnTo>
                    <a:lnTo>
                      <a:pt x="544" y="55"/>
                    </a:lnTo>
                    <a:lnTo>
                      <a:pt x="544" y="57"/>
                    </a:lnTo>
                    <a:lnTo>
                      <a:pt x="542" y="57"/>
                    </a:lnTo>
                    <a:lnTo>
                      <a:pt x="540" y="57"/>
                    </a:lnTo>
                    <a:lnTo>
                      <a:pt x="540" y="59"/>
                    </a:lnTo>
                    <a:lnTo>
                      <a:pt x="540" y="61"/>
                    </a:lnTo>
                    <a:lnTo>
                      <a:pt x="542" y="63"/>
                    </a:lnTo>
                    <a:lnTo>
                      <a:pt x="540" y="63"/>
                    </a:lnTo>
                    <a:lnTo>
                      <a:pt x="542" y="63"/>
                    </a:lnTo>
                    <a:lnTo>
                      <a:pt x="540" y="65"/>
                    </a:lnTo>
                    <a:lnTo>
                      <a:pt x="542" y="65"/>
                    </a:lnTo>
                    <a:lnTo>
                      <a:pt x="542" y="67"/>
                    </a:lnTo>
                    <a:lnTo>
                      <a:pt x="542" y="65"/>
                    </a:lnTo>
                    <a:lnTo>
                      <a:pt x="542" y="67"/>
                    </a:lnTo>
                    <a:lnTo>
                      <a:pt x="544" y="69"/>
                    </a:lnTo>
                    <a:lnTo>
                      <a:pt x="544" y="71"/>
                    </a:lnTo>
                    <a:lnTo>
                      <a:pt x="546" y="71"/>
                    </a:lnTo>
                    <a:lnTo>
                      <a:pt x="546" y="73"/>
                    </a:lnTo>
                    <a:lnTo>
                      <a:pt x="548" y="73"/>
                    </a:lnTo>
                    <a:lnTo>
                      <a:pt x="548" y="75"/>
                    </a:lnTo>
                    <a:lnTo>
                      <a:pt x="546" y="77"/>
                    </a:lnTo>
                    <a:lnTo>
                      <a:pt x="548" y="78"/>
                    </a:lnTo>
                    <a:lnTo>
                      <a:pt x="548" y="80"/>
                    </a:lnTo>
                    <a:lnTo>
                      <a:pt x="548" y="82"/>
                    </a:lnTo>
                    <a:lnTo>
                      <a:pt x="548" y="84"/>
                    </a:lnTo>
                    <a:lnTo>
                      <a:pt x="550" y="84"/>
                    </a:lnTo>
                    <a:lnTo>
                      <a:pt x="550" y="86"/>
                    </a:lnTo>
                    <a:lnTo>
                      <a:pt x="552" y="86"/>
                    </a:lnTo>
                    <a:lnTo>
                      <a:pt x="552" y="88"/>
                    </a:lnTo>
                    <a:lnTo>
                      <a:pt x="554" y="88"/>
                    </a:lnTo>
                    <a:lnTo>
                      <a:pt x="554" y="90"/>
                    </a:lnTo>
                    <a:lnTo>
                      <a:pt x="554" y="92"/>
                    </a:lnTo>
                    <a:lnTo>
                      <a:pt x="554" y="94"/>
                    </a:lnTo>
                    <a:lnTo>
                      <a:pt x="554" y="96"/>
                    </a:lnTo>
                    <a:lnTo>
                      <a:pt x="554" y="98"/>
                    </a:lnTo>
                    <a:lnTo>
                      <a:pt x="554" y="100"/>
                    </a:lnTo>
                    <a:lnTo>
                      <a:pt x="556" y="102"/>
                    </a:lnTo>
                    <a:lnTo>
                      <a:pt x="556" y="103"/>
                    </a:lnTo>
                    <a:lnTo>
                      <a:pt x="556" y="105"/>
                    </a:lnTo>
                    <a:lnTo>
                      <a:pt x="558" y="105"/>
                    </a:lnTo>
                    <a:lnTo>
                      <a:pt x="558" y="107"/>
                    </a:lnTo>
                    <a:lnTo>
                      <a:pt x="558" y="109"/>
                    </a:lnTo>
                    <a:lnTo>
                      <a:pt x="558" y="111"/>
                    </a:lnTo>
                    <a:lnTo>
                      <a:pt x="559" y="111"/>
                    </a:lnTo>
                    <a:lnTo>
                      <a:pt x="559" y="113"/>
                    </a:lnTo>
                    <a:lnTo>
                      <a:pt x="559" y="115"/>
                    </a:lnTo>
                    <a:lnTo>
                      <a:pt x="559" y="117"/>
                    </a:lnTo>
                    <a:lnTo>
                      <a:pt x="559" y="119"/>
                    </a:lnTo>
                    <a:lnTo>
                      <a:pt x="561" y="119"/>
                    </a:lnTo>
                    <a:lnTo>
                      <a:pt x="563" y="121"/>
                    </a:lnTo>
                    <a:lnTo>
                      <a:pt x="561" y="123"/>
                    </a:lnTo>
                    <a:lnTo>
                      <a:pt x="563" y="125"/>
                    </a:lnTo>
                    <a:lnTo>
                      <a:pt x="565" y="127"/>
                    </a:lnTo>
                    <a:lnTo>
                      <a:pt x="565" y="125"/>
                    </a:lnTo>
                    <a:lnTo>
                      <a:pt x="567" y="125"/>
                    </a:lnTo>
                    <a:lnTo>
                      <a:pt x="567" y="123"/>
                    </a:lnTo>
                    <a:lnTo>
                      <a:pt x="567" y="125"/>
                    </a:lnTo>
                    <a:lnTo>
                      <a:pt x="569" y="125"/>
                    </a:lnTo>
                    <a:lnTo>
                      <a:pt x="569" y="127"/>
                    </a:lnTo>
                    <a:lnTo>
                      <a:pt x="569" y="125"/>
                    </a:lnTo>
                    <a:lnTo>
                      <a:pt x="571" y="125"/>
                    </a:lnTo>
                    <a:lnTo>
                      <a:pt x="573" y="125"/>
                    </a:lnTo>
                    <a:lnTo>
                      <a:pt x="575" y="123"/>
                    </a:lnTo>
                    <a:lnTo>
                      <a:pt x="577" y="123"/>
                    </a:lnTo>
                    <a:lnTo>
                      <a:pt x="577" y="121"/>
                    </a:lnTo>
                    <a:lnTo>
                      <a:pt x="577" y="123"/>
                    </a:lnTo>
                    <a:lnTo>
                      <a:pt x="579" y="123"/>
                    </a:lnTo>
                    <a:lnTo>
                      <a:pt x="579" y="125"/>
                    </a:lnTo>
                    <a:lnTo>
                      <a:pt x="581" y="125"/>
                    </a:lnTo>
                    <a:lnTo>
                      <a:pt x="581" y="127"/>
                    </a:lnTo>
                    <a:lnTo>
                      <a:pt x="581" y="128"/>
                    </a:lnTo>
                    <a:lnTo>
                      <a:pt x="582" y="128"/>
                    </a:lnTo>
                    <a:lnTo>
                      <a:pt x="581" y="128"/>
                    </a:lnTo>
                    <a:lnTo>
                      <a:pt x="581" y="130"/>
                    </a:lnTo>
                    <a:lnTo>
                      <a:pt x="582" y="130"/>
                    </a:lnTo>
                    <a:lnTo>
                      <a:pt x="584" y="132"/>
                    </a:lnTo>
                    <a:lnTo>
                      <a:pt x="586" y="132"/>
                    </a:lnTo>
                    <a:lnTo>
                      <a:pt x="588" y="134"/>
                    </a:lnTo>
                    <a:lnTo>
                      <a:pt x="588" y="136"/>
                    </a:lnTo>
                    <a:lnTo>
                      <a:pt x="590" y="136"/>
                    </a:lnTo>
                    <a:lnTo>
                      <a:pt x="592" y="136"/>
                    </a:lnTo>
                    <a:lnTo>
                      <a:pt x="594" y="136"/>
                    </a:lnTo>
                    <a:lnTo>
                      <a:pt x="594" y="138"/>
                    </a:lnTo>
                    <a:lnTo>
                      <a:pt x="596" y="138"/>
                    </a:lnTo>
                    <a:lnTo>
                      <a:pt x="596" y="140"/>
                    </a:lnTo>
                    <a:lnTo>
                      <a:pt x="598" y="140"/>
                    </a:lnTo>
                    <a:lnTo>
                      <a:pt x="598" y="142"/>
                    </a:lnTo>
                    <a:lnTo>
                      <a:pt x="598" y="144"/>
                    </a:lnTo>
                    <a:lnTo>
                      <a:pt x="598" y="146"/>
                    </a:lnTo>
                    <a:lnTo>
                      <a:pt x="598" y="144"/>
                    </a:lnTo>
                    <a:lnTo>
                      <a:pt x="600" y="144"/>
                    </a:lnTo>
                    <a:lnTo>
                      <a:pt x="600" y="146"/>
                    </a:lnTo>
                    <a:lnTo>
                      <a:pt x="598" y="146"/>
                    </a:lnTo>
                    <a:lnTo>
                      <a:pt x="600" y="146"/>
                    </a:lnTo>
                    <a:lnTo>
                      <a:pt x="600" y="148"/>
                    </a:lnTo>
                    <a:lnTo>
                      <a:pt x="600" y="150"/>
                    </a:lnTo>
                    <a:lnTo>
                      <a:pt x="602" y="150"/>
                    </a:lnTo>
                    <a:lnTo>
                      <a:pt x="602" y="152"/>
                    </a:lnTo>
                    <a:lnTo>
                      <a:pt x="602" y="153"/>
                    </a:lnTo>
                    <a:lnTo>
                      <a:pt x="604" y="153"/>
                    </a:lnTo>
                    <a:lnTo>
                      <a:pt x="604" y="155"/>
                    </a:lnTo>
                    <a:lnTo>
                      <a:pt x="602" y="155"/>
                    </a:lnTo>
                    <a:lnTo>
                      <a:pt x="604" y="155"/>
                    </a:lnTo>
                    <a:lnTo>
                      <a:pt x="604" y="157"/>
                    </a:lnTo>
                    <a:lnTo>
                      <a:pt x="602" y="157"/>
                    </a:lnTo>
                    <a:lnTo>
                      <a:pt x="602" y="159"/>
                    </a:lnTo>
                    <a:lnTo>
                      <a:pt x="602" y="161"/>
                    </a:lnTo>
                    <a:lnTo>
                      <a:pt x="604" y="161"/>
                    </a:lnTo>
                    <a:lnTo>
                      <a:pt x="604" y="163"/>
                    </a:lnTo>
                    <a:lnTo>
                      <a:pt x="602" y="163"/>
                    </a:lnTo>
                    <a:lnTo>
                      <a:pt x="602" y="165"/>
                    </a:lnTo>
                    <a:lnTo>
                      <a:pt x="600" y="167"/>
                    </a:lnTo>
                    <a:lnTo>
                      <a:pt x="602" y="169"/>
                    </a:lnTo>
                    <a:lnTo>
                      <a:pt x="600" y="169"/>
                    </a:lnTo>
                    <a:lnTo>
                      <a:pt x="602" y="171"/>
                    </a:lnTo>
                    <a:lnTo>
                      <a:pt x="602" y="173"/>
                    </a:lnTo>
                    <a:lnTo>
                      <a:pt x="600" y="173"/>
                    </a:lnTo>
                    <a:lnTo>
                      <a:pt x="600" y="175"/>
                    </a:lnTo>
                    <a:lnTo>
                      <a:pt x="602" y="175"/>
                    </a:lnTo>
                    <a:lnTo>
                      <a:pt x="602" y="177"/>
                    </a:lnTo>
                    <a:lnTo>
                      <a:pt x="600" y="177"/>
                    </a:lnTo>
                    <a:lnTo>
                      <a:pt x="600" y="178"/>
                    </a:lnTo>
                    <a:lnTo>
                      <a:pt x="598" y="178"/>
                    </a:lnTo>
                    <a:lnTo>
                      <a:pt x="598" y="177"/>
                    </a:lnTo>
                    <a:lnTo>
                      <a:pt x="598" y="178"/>
                    </a:lnTo>
                    <a:lnTo>
                      <a:pt x="596" y="178"/>
                    </a:lnTo>
                    <a:lnTo>
                      <a:pt x="594" y="178"/>
                    </a:lnTo>
                    <a:lnTo>
                      <a:pt x="594" y="180"/>
                    </a:lnTo>
                    <a:lnTo>
                      <a:pt x="596" y="180"/>
                    </a:lnTo>
                    <a:lnTo>
                      <a:pt x="596" y="182"/>
                    </a:lnTo>
                    <a:lnTo>
                      <a:pt x="594" y="182"/>
                    </a:lnTo>
                    <a:lnTo>
                      <a:pt x="594" y="180"/>
                    </a:lnTo>
                    <a:lnTo>
                      <a:pt x="592" y="180"/>
                    </a:lnTo>
                    <a:lnTo>
                      <a:pt x="592" y="182"/>
                    </a:lnTo>
                    <a:lnTo>
                      <a:pt x="592" y="180"/>
                    </a:lnTo>
                    <a:lnTo>
                      <a:pt x="590" y="180"/>
                    </a:lnTo>
                    <a:lnTo>
                      <a:pt x="588" y="180"/>
                    </a:lnTo>
                    <a:lnTo>
                      <a:pt x="588" y="182"/>
                    </a:lnTo>
                    <a:lnTo>
                      <a:pt x="588" y="180"/>
                    </a:lnTo>
                    <a:lnTo>
                      <a:pt x="586" y="180"/>
                    </a:lnTo>
                    <a:lnTo>
                      <a:pt x="586" y="182"/>
                    </a:lnTo>
                    <a:lnTo>
                      <a:pt x="584" y="182"/>
                    </a:lnTo>
                    <a:lnTo>
                      <a:pt x="584" y="180"/>
                    </a:lnTo>
                    <a:lnTo>
                      <a:pt x="582" y="182"/>
                    </a:lnTo>
                    <a:lnTo>
                      <a:pt x="582" y="184"/>
                    </a:lnTo>
                    <a:lnTo>
                      <a:pt x="581" y="184"/>
                    </a:lnTo>
                    <a:lnTo>
                      <a:pt x="579" y="184"/>
                    </a:lnTo>
                    <a:lnTo>
                      <a:pt x="579" y="186"/>
                    </a:lnTo>
                    <a:lnTo>
                      <a:pt x="577" y="186"/>
                    </a:lnTo>
                    <a:lnTo>
                      <a:pt x="575" y="186"/>
                    </a:lnTo>
                    <a:lnTo>
                      <a:pt x="573" y="186"/>
                    </a:lnTo>
                    <a:lnTo>
                      <a:pt x="573" y="188"/>
                    </a:lnTo>
                    <a:lnTo>
                      <a:pt x="571" y="188"/>
                    </a:lnTo>
                    <a:lnTo>
                      <a:pt x="571" y="190"/>
                    </a:lnTo>
                    <a:lnTo>
                      <a:pt x="571" y="188"/>
                    </a:lnTo>
                    <a:lnTo>
                      <a:pt x="569" y="190"/>
                    </a:lnTo>
                    <a:lnTo>
                      <a:pt x="567" y="190"/>
                    </a:lnTo>
                    <a:lnTo>
                      <a:pt x="567" y="192"/>
                    </a:lnTo>
                    <a:lnTo>
                      <a:pt x="565" y="192"/>
                    </a:lnTo>
                    <a:lnTo>
                      <a:pt x="565" y="194"/>
                    </a:lnTo>
                    <a:lnTo>
                      <a:pt x="563" y="196"/>
                    </a:lnTo>
                    <a:lnTo>
                      <a:pt x="563" y="198"/>
                    </a:lnTo>
                    <a:lnTo>
                      <a:pt x="563" y="200"/>
                    </a:lnTo>
                    <a:lnTo>
                      <a:pt x="563" y="201"/>
                    </a:lnTo>
                    <a:lnTo>
                      <a:pt x="561" y="201"/>
                    </a:lnTo>
                    <a:lnTo>
                      <a:pt x="561" y="203"/>
                    </a:lnTo>
                    <a:lnTo>
                      <a:pt x="559" y="203"/>
                    </a:lnTo>
                    <a:lnTo>
                      <a:pt x="559" y="205"/>
                    </a:lnTo>
                    <a:lnTo>
                      <a:pt x="558" y="205"/>
                    </a:lnTo>
                    <a:lnTo>
                      <a:pt x="558" y="207"/>
                    </a:lnTo>
                    <a:lnTo>
                      <a:pt x="558" y="209"/>
                    </a:lnTo>
                    <a:lnTo>
                      <a:pt x="556" y="209"/>
                    </a:lnTo>
                    <a:lnTo>
                      <a:pt x="554" y="209"/>
                    </a:lnTo>
                    <a:lnTo>
                      <a:pt x="556" y="211"/>
                    </a:lnTo>
                    <a:lnTo>
                      <a:pt x="556" y="213"/>
                    </a:lnTo>
                    <a:lnTo>
                      <a:pt x="556" y="215"/>
                    </a:lnTo>
                    <a:lnTo>
                      <a:pt x="554" y="215"/>
                    </a:lnTo>
                    <a:lnTo>
                      <a:pt x="554" y="217"/>
                    </a:lnTo>
                    <a:lnTo>
                      <a:pt x="552" y="217"/>
                    </a:lnTo>
                    <a:lnTo>
                      <a:pt x="552" y="219"/>
                    </a:lnTo>
                    <a:lnTo>
                      <a:pt x="552" y="221"/>
                    </a:lnTo>
                    <a:lnTo>
                      <a:pt x="552" y="223"/>
                    </a:lnTo>
                    <a:lnTo>
                      <a:pt x="552" y="221"/>
                    </a:lnTo>
                    <a:lnTo>
                      <a:pt x="552" y="223"/>
                    </a:lnTo>
                    <a:lnTo>
                      <a:pt x="552" y="225"/>
                    </a:lnTo>
                    <a:lnTo>
                      <a:pt x="550" y="225"/>
                    </a:lnTo>
                    <a:lnTo>
                      <a:pt x="550" y="226"/>
                    </a:lnTo>
                    <a:lnTo>
                      <a:pt x="548" y="226"/>
                    </a:lnTo>
                    <a:lnTo>
                      <a:pt x="548" y="228"/>
                    </a:lnTo>
                    <a:lnTo>
                      <a:pt x="546" y="228"/>
                    </a:lnTo>
                    <a:lnTo>
                      <a:pt x="544" y="228"/>
                    </a:lnTo>
                    <a:lnTo>
                      <a:pt x="544" y="230"/>
                    </a:lnTo>
                    <a:lnTo>
                      <a:pt x="542" y="230"/>
                    </a:lnTo>
                    <a:lnTo>
                      <a:pt x="542" y="232"/>
                    </a:lnTo>
                    <a:lnTo>
                      <a:pt x="540" y="232"/>
                    </a:lnTo>
                    <a:lnTo>
                      <a:pt x="538" y="232"/>
                    </a:lnTo>
                    <a:lnTo>
                      <a:pt x="538" y="234"/>
                    </a:lnTo>
                    <a:lnTo>
                      <a:pt x="538" y="236"/>
                    </a:lnTo>
                    <a:lnTo>
                      <a:pt x="538" y="238"/>
                    </a:lnTo>
                    <a:lnTo>
                      <a:pt x="538" y="240"/>
                    </a:lnTo>
                    <a:lnTo>
                      <a:pt x="536" y="240"/>
                    </a:lnTo>
                    <a:lnTo>
                      <a:pt x="534" y="240"/>
                    </a:lnTo>
                    <a:lnTo>
                      <a:pt x="533" y="240"/>
                    </a:lnTo>
                    <a:lnTo>
                      <a:pt x="533" y="242"/>
                    </a:lnTo>
                    <a:lnTo>
                      <a:pt x="533" y="244"/>
                    </a:lnTo>
                    <a:lnTo>
                      <a:pt x="533" y="246"/>
                    </a:lnTo>
                    <a:lnTo>
                      <a:pt x="531" y="246"/>
                    </a:lnTo>
                    <a:lnTo>
                      <a:pt x="529" y="246"/>
                    </a:lnTo>
                    <a:lnTo>
                      <a:pt x="529" y="248"/>
                    </a:lnTo>
                    <a:lnTo>
                      <a:pt x="527" y="248"/>
                    </a:lnTo>
                    <a:lnTo>
                      <a:pt x="527" y="246"/>
                    </a:lnTo>
                    <a:lnTo>
                      <a:pt x="525" y="246"/>
                    </a:lnTo>
                    <a:lnTo>
                      <a:pt x="525" y="248"/>
                    </a:lnTo>
                    <a:lnTo>
                      <a:pt x="523" y="248"/>
                    </a:lnTo>
                    <a:lnTo>
                      <a:pt x="523" y="250"/>
                    </a:lnTo>
                    <a:lnTo>
                      <a:pt x="521" y="250"/>
                    </a:lnTo>
                    <a:lnTo>
                      <a:pt x="521" y="251"/>
                    </a:lnTo>
                    <a:lnTo>
                      <a:pt x="521" y="253"/>
                    </a:lnTo>
                    <a:lnTo>
                      <a:pt x="521" y="255"/>
                    </a:lnTo>
                    <a:lnTo>
                      <a:pt x="521" y="253"/>
                    </a:lnTo>
                    <a:lnTo>
                      <a:pt x="521" y="255"/>
                    </a:lnTo>
                    <a:lnTo>
                      <a:pt x="519" y="255"/>
                    </a:lnTo>
                    <a:lnTo>
                      <a:pt x="519" y="257"/>
                    </a:lnTo>
                    <a:lnTo>
                      <a:pt x="517" y="257"/>
                    </a:lnTo>
                    <a:lnTo>
                      <a:pt x="517" y="259"/>
                    </a:lnTo>
                    <a:lnTo>
                      <a:pt x="515" y="259"/>
                    </a:lnTo>
                    <a:lnTo>
                      <a:pt x="517" y="259"/>
                    </a:lnTo>
                    <a:lnTo>
                      <a:pt x="519" y="261"/>
                    </a:lnTo>
                    <a:lnTo>
                      <a:pt x="521" y="263"/>
                    </a:lnTo>
                    <a:lnTo>
                      <a:pt x="521" y="265"/>
                    </a:lnTo>
                    <a:lnTo>
                      <a:pt x="519" y="267"/>
                    </a:lnTo>
                    <a:lnTo>
                      <a:pt x="519" y="269"/>
                    </a:lnTo>
                    <a:lnTo>
                      <a:pt x="521" y="271"/>
                    </a:lnTo>
                    <a:lnTo>
                      <a:pt x="519" y="271"/>
                    </a:lnTo>
                    <a:lnTo>
                      <a:pt x="521" y="273"/>
                    </a:lnTo>
                    <a:lnTo>
                      <a:pt x="523" y="275"/>
                    </a:lnTo>
                    <a:lnTo>
                      <a:pt x="525" y="275"/>
                    </a:lnTo>
                    <a:lnTo>
                      <a:pt x="525" y="276"/>
                    </a:lnTo>
                    <a:lnTo>
                      <a:pt x="525" y="278"/>
                    </a:lnTo>
                    <a:lnTo>
                      <a:pt x="525" y="280"/>
                    </a:lnTo>
                    <a:lnTo>
                      <a:pt x="527" y="280"/>
                    </a:lnTo>
                    <a:lnTo>
                      <a:pt x="527" y="282"/>
                    </a:lnTo>
                    <a:lnTo>
                      <a:pt x="529" y="282"/>
                    </a:lnTo>
                    <a:lnTo>
                      <a:pt x="531" y="282"/>
                    </a:lnTo>
                    <a:lnTo>
                      <a:pt x="531" y="284"/>
                    </a:lnTo>
                    <a:lnTo>
                      <a:pt x="533" y="284"/>
                    </a:lnTo>
                    <a:lnTo>
                      <a:pt x="534" y="284"/>
                    </a:lnTo>
                    <a:lnTo>
                      <a:pt x="536" y="284"/>
                    </a:lnTo>
                    <a:lnTo>
                      <a:pt x="536" y="286"/>
                    </a:lnTo>
                    <a:lnTo>
                      <a:pt x="536" y="288"/>
                    </a:lnTo>
                    <a:lnTo>
                      <a:pt x="536" y="290"/>
                    </a:lnTo>
                    <a:lnTo>
                      <a:pt x="534" y="290"/>
                    </a:lnTo>
                    <a:lnTo>
                      <a:pt x="534" y="292"/>
                    </a:lnTo>
                    <a:lnTo>
                      <a:pt x="536" y="292"/>
                    </a:lnTo>
                    <a:lnTo>
                      <a:pt x="538" y="292"/>
                    </a:lnTo>
                    <a:lnTo>
                      <a:pt x="538" y="290"/>
                    </a:lnTo>
                    <a:lnTo>
                      <a:pt x="540" y="290"/>
                    </a:lnTo>
                    <a:lnTo>
                      <a:pt x="540" y="292"/>
                    </a:lnTo>
                    <a:lnTo>
                      <a:pt x="542" y="292"/>
                    </a:lnTo>
                    <a:lnTo>
                      <a:pt x="544" y="292"/>
                    </a:lnTo>
                    <a:lnTo>
                      <a:pt x="544" y="294"/>
                    </a:lnTo>
                    <a:lnTo>
                      <a:pt x="542" y="294"/>
                    </a:lnTo>
                    <a:lnTo>
                      <a:pt x="542" y="296"/>
                    </a:lnTo>
                    <a:lnTo>
                      <a:pt x="542" y="298"/>
                    </a:lnTo>
                    <a:lnTo>
                      <a:pt x="542" y="300"/>
                    </a:lnTo>
                    <a:lnTo>
                      <a:pt x="540" y="301"/>
                    </a:lnTo>
                    <a:lnTo>
                      <a:pt x="540" y="303"/>
                    </a:lnTo>
                    <a:lnTo>
                      <a:pt x="540" y="305"/>
                    </a:lnTo>
                    <a:lnTo>
                      <a:pt x="542" y="307"/>
                    </a:lnTo>
                    <a:lnTo>
                      <a:pt x="542" y="309"/>
                    </a:lnTo>
                    <a:lnTo>
                      <a:pt x="540" y="311"/>
                    </a:lnTo>
                    <a:lnTo>
                      <a:pt x="542" y="311"/>
                    </a:lnTo>
                    <a:lnTo>
                      <a:pt x="540" y="311"/>
                    </a:lnTo>
                    <a:lnTo>
                      <a:pt x="540" y="313"/>
                    </a:lnTo>
                    <a:lnTo>
                      <a:pt x="540" y="315"/>
                    </a:lnTo>
                    <a:lnTo>
                      <a:pt x="540" y="317"/>
                    </a:lnTo>
                    <a:lnTo>
                      <a:pt x="538" y="317"/>
                    </a:lnTo>
                    <a:lnTo>
                      <a:pt x="538" y="319"/>
                    </a:lnTo>
                    <a:lnTo>
                      <a:pt x="538" y="321"/>
                    </a:lnTo>
                    <a:lnTo>
                      <a:pt x="536" y="321"/>
                    </a:lnTo>
                    <a:lnTo>
                      <a:pt x="536" y="323"/>
                    </a:lnTo>
                    <a:lnTo>
                      <a:pt x="534" y="325"/>
                    </a:lnTo>
                    <a:lnTo>
                      <a:pt x="534" y="323"/>
                    </a:lnTo>
                    <a:lnTo>
                      <a:pt x="533" y="323"/>
                    </a:lnTo>
                    <a:lnTo>
                      <a:pt x="533" y="325"/>
                    </a:lnTo>
                    <a:lnTo>
                      <a:pt x="531" y="326"/>
                    </a:lnTo>
                    <a:lnTo>
                      <a:pt x="529" y="326"/>
                    </a:lnTo>
                    <a:lnTo>
                      <a:pt x="529" y="328"/>
                    </a:lnTo>
                    <a:lnTo>
                      <a:pt x="527" y="328"/>
                    </a:lnTo>
                    <a:lnTo>
                      <a:pt x="527" y="330"/>
                    </a:lnTo>
                    <a:lnTo>
                      <a:pt x="525" y="332"/>
                    </a:lnTo>
                    <a:lnTo>
                      <a:pt x="525" y="334"/>
                    </a:lnTo>
                    <a:lnTo>
                      <a:pt x="525" y="336"/>
                    </a:lnTo>
                    <a:lnTo>
                      <a:pt x="525" y="338"/>
                    </a:lnTo>
                    <a:lnTo>
                      <a:pt x="523" y="338"/>
                    </a:lnTo>
                    <a:lnTo>
                      <a:pt x="523" y="336"/>
                    </a:lnTo>
                    <a:lnTo>
                      <a:pt x="521" y="336"/>
                    </a:lnTo>
                    <a:lnTo>
                      <a:pt x="521" y="338"/>
                    </a:lnTo>
                    <a:lnTo>
                      <a:pt x="517" y="338"/>
                    </a:lnTo>
                    <a:lnTo>
                      <a:pt x="513" y="338"/>
                    </a:lnTo>
                    <a:lnTo>
                      <a:pt x="511" y="340"/>
                    </a:lnTo>
                    <a:lnTo>
                      <a:pt x="509" y="340"/>
                    </a:lnTo>
                    <a:lnTo>
                      <a:pt x="509" y="342"/>
                    </a:lnTo>
                    <a:lnTo>
                      <a:pt x="508" y="344"/>
                    </a:lnTo>
                    <a:lnTo>
                      <a:pt x="508" y="346"/>
                    </a:lnTo>
                    <a:lnTo>
                      <a:pt x="506" y="346"/>
                    </a:lnTo>
                    <a:lnTo>
                      <a:pt x="506" y="348"/>
                    </a:lnTo>
                    <a:lnTo>
                      <a:pt x="504" y="348"/>
                    </a:lnTo>
                    <a:lnTo>
                      <a:pt x="504" y="350"/>
                    </a:lnTo>
                    <a:lnTo>
                      <a:pt x="502" y="351"/>
                    </a:lnTo>
                    <a:lnTo>
                      <a:pt x="502" y="350"/>
                    </a:lnTo>
                    <a:lnTo>
                      <a:pt x="500" y="350"/>
                    </a:lnTo>
                    <a:lnTo>
                      <a:pt x="498" y="351"/>
                    </a:lnTo>
                    <a:lnTo>
                      <a:pt x="496" y="351"/>
                    </a:lnTo>
                    <a:lnTo>
                      <a:pt x="494" y="351"/>
                    </a:lnTo>
                    <a:lnTo>
                      <a:pt x="492" y="351"/>
                    </a:lnTo>
                    <a:lnTo>
                      <a:pt x="490" y="351"/>
                    </a:lnTo>
                    <a:lnTo>
                      <a:pt x="488" y="353"/>
                    </a:lnTo>
                    <a:lnTo>
                      <a:pt x="488" y="355"/>
                    </a:lnTo>
                    <a:lnTo>
                      <a:pt x="488" y="357"/>
                    </a:lnTo>
                    <a:lnTo>
                      <a:pt x="488" y="359"/>
                    </a:lnTo>
                    <a:lnTo>
                      <a:pt x="488" y="361"/>
                    </a:lnTo>
                    <a:lnTo>
                      <a:pt x="486" y="361"/>
                    </a:lnTo>
                    <a:lnTo>
                      <a:pt x="485" y="363"/>
                    </a:lnTo>
                    <a:lnTo>
                      <a:pt x="485" y="361"/>
                    </a:lnTo>
                    <a:lnTo>
                      <a:pt x="483" y="361"/>
                    </a:lnTo>
                    <a:lnTo>
                      <a:pt x="481" y="361"/>
                    </a:lnTo>
                    <a:lnTo>
                      <a:pt x="479" y="361"/>
                    </a:lnTo>
                    <a:lnTo>
                      <a:pt x="479" y="359"/>
                    </a:lnTo>
                    <a:lnTo>
                      <a:pt x="477" y="357"/>
                    </a:lnTo>
                    <a:lnTo>
                      <a:pt x="477" y="359"/>
                    </a:lnTo>
                    <a:lnTo>
                      <a:pt x="475" y="359"/>
                    </a:lnTo>
                    <a:lnTo>
                      <a:pt x="473" y="359"/>
                    </a:lnTo>
                    <a:lnTo>
                      <a:pt x="473" y="361"/>
                    </a:lnTo>
                    <a:lnTo>
                      <a:pt x="473" y="363"/>
                    </a:lnTo>
                    <a:lnTo>
                      <a:pt x="473" y="365"/>
                    </a:lnTo>
                    <a:lnTo>
                      <a:pt x="471" y="365"/>
                    </a:lnTo>
                    <a:lnTo>
                      <a:pt x="469" y="365"/>
                    </a:lnTo>
                    <a:lnTo>
                      <a:pt x="469" y="367"/>
                    </a:lnTo>
                    <a:lnTo>
                      <a:pt x="471" y="367"/>
                    </a:lnTo>
                    <a:lnTo>
                      <a:pt x="469" y="369"/>
                    </a:lnTo>
                    <a:lnTo>
                      <a:pt x="469" y="371"/>
                    </a:lnTo>
                    <a:lnTo>
                      <a:pt x="469" y="373"/>
                    </a:lnTo>
                    <a:lnTo>
                      <a:pt x="467" y="373"/>
                    </a:lnTo>
                    <a:lnTo>
                      <a:pt x="467" y="375"/>
                    </a:lnTo>
                    <a:lnTo>
                      <a:pt x="465" y="376"/>
                    </a:lnTo>
                    <a:lnTo>
                      <a:pt x="465" y="378"/>
                    </a:lnTo>
                    <a:lnTo>
                      <a:pt x="465" y="380"/>
                    </a:lnTo>
                    <a:lnTo>
                      <a:pt x="465" y="382"/>
                    </a:lnTo>
                    <a:lnTo>
                      <a:pt x="463" y="384"/>
                    </a:lnTo>
                    <a:lnTo>
                      <a:pt x="461" y="384"/>
                    </a:lnTo>
                    <a:lnTo>
                      <a:pt x="461" y="386"/>
                    </a:lnTo>
                    <a:lnTo>
                      <a:pt x="460" y="388"/>
                    </a:lnTo>
                    <a:lnTo>
                      <a:pt x="458" y="390"/>
                    </a:lnTo>
                    <a:lnTo>
                      <a:pt x="456" y="392"/>
                    </a:lnTo>
                    <a:lnTo>
                      <a:pt x="454" y="392"/>
                    </a:lnTo>
                    <a:lnTo>
                      <a:pt x="452" y="392"/>
                    </a:lnTo>
                    <a:lnTo>
                      <a:pt x="450" y="394"/>
                    </a:lnTo>
                    <a:lnTo>
                      <a:pt x="448" y="396"/>
                    </a:lnTo>
                    <a:lnTo>
                      <a:pt x="446" y="396"/>
                    </a:lnTo>
                    <a:lnTo>
                      <a:pt x="444" y="398"/>
                    </a:lnTo>
                    <a:lnTo>
                      <a:pt x="442" y="400"/>
                    </a:lnTo>
                    <a:lnTo>
                      <a:pt x="442" y="401"/>
                    </a:lnTo>
                    <a:lnTo>
                      <a:pt x="442" y="403"/>
                    </a:lnTo>
                    <a:lnTo>
                      <a:pt x="440" y="403"/>
                    </a:lnTo>
                    <a:lnTo>
                      <a:pt x="438" y="407"/>
                    </a:lnTo>
                    <a:lnTo>
                      <a:pt x="436" y="409"/>
                    </a:lnTo>
                    <a:lnTo>
                      <a:pt x="438" y="409"/>
                    </a:lnTo>
                    <a:lnTo>
                      <a:pt x="438" y="411"/>
                    </a:lnTo>
                    <a:lnTo>
                      <a:pt x="438" y="413"/>
                    </a:lnTo>
                    <a:lnTo>
                      <a:pt x="438" y="415"/>
                    </a:lnTo>
                    <a:lnTo>
                      <a:pt x="436" y="415"/>
                    </a:lnTo>
                    <a:lnTo>
                      <a:pt x="436" y="417"/>
                    </a:lnTo>
                    <a:lnTo>
                      <a:pt x="435" y="417"/>
                    </a:lnTo>
                    <a:lnTo>
                      <a:pt x="435" y="419"/>
                    </a:lnTo>
                    <a:lnTo>
                      <a:pt x="433" y="421"/>
                    </a:lnTo>
                    <a:lnTo>
                      <a:pt x="431" y="421"/>
                    </a:lnTo>
                    <a:lnTo>
                      <a:pt x="429" y="421"/>
                    </a:lnTo>
                    <a:lnTo>
                      <a:pt x="427" y="421"/>
                    </a:lnTo>
                    <a:lnTo>
                      <a:pt x="425" y="421"/>
                    </a:lnTo>
                    <a:lnTo>
                      <a:pt x="423" y="421"/>
                    </a:lnTo>
                    <a:lnTo>
                      <a:pt x="423" y="419"/>
                    </a:lnTo>
                    <a:lnTo>
                      <a:pt x="423" y="417"/>
                    </a:lnTo>
                    <a:lnTo>
                      <a:pt x="421" y="417"/>
                    </a:lnTo>
                    <a:lnTo>
                      <a:pt x="419" y="417"/>
                    </a:lnTo>
                    <a:lnTo>
                      <a:pt x="417" y="417"/>
                    </a:lnTo>
                    <a:lnTo>
                      <a:pt x="415" y="417"/>
                    </a:lnTo>
                    <a:lnTo>
                      <a:pt x="413" y="417"/>
                    </a:lnTo>
                    <a:lnTo>
                      <a:pt x="412" y="417"/>
                    </a:lnTo>
                    <a:lnTo>
                      <a:pt x="410" y="417"/>
                    </a:lnTo>
                    <a:lnTo>
                      <a:pt x="408" y="417"/>
                    </a:lnTo>
                    <a:lnTo>
                      <a:pt x="406" y="419"/>
                    </a:lnTo>
                    <a:lnTo>
                      <a:pt x="406" y="421"/>
                    </a:lnTo>
                    <a:lnTo>
                      <a:pt x="404" y="421"/>
                    </a:lnTo>
                    <a:lnTo>
                      <a:pt x="404" y="423"/>
                    </a:lnTo>
                    <a:lnTo>
                      <a:pt x="402" y="425"/>
                    </a:lnTo>
                    <a:lnTo>
                      <a:pt x="400" y="426"/>
                    </a:lnTo>
                    <a:lnTo>
                      <a:pt x="398" y="428"/>
                    </a:lnTo>
                    <a:lnTo>
                      <a:pt x="396" y="428"/>
                    </a:lnTo>
                    <a:lnTo>
                      <a:pt x="396" y="430"/>
                    </a:lnTo>
                    <a:lnTo>
                      <a:pt x="394" y="430"/>
                    </a:lnTo>
                    <a:lnTo>
                      <a:pt x="392" y="432"/>
                    </a:lnTo>
                    <a:lnTo>
                      <a:pt x="390" y="432"/>
                    </a:lnTo>
                    <a:lnTo>
                      <a:pt x="388" y="434"/>
                    </a:lnTo>
                    <a:lnTo>
                      <a:pt x="388" y="436"/>
                    </a:lnTo>
                    <a:lnTo>
                      <a:pt x="390" y="436"/>
                    </a:lnTo>
                    <a:lnTo>
                      <a:pt x="390" y="438"/>
                    </a:lnTo>
                    <a:lnTo>
                      <a:pt x="388" y="438"/>
                    </a:lnTo>
                    <a:lnTo>
                      <a:pt x="387" y="436"/>
                    </a:lnTo>
                    <a:lnTo>
                      <a:pt x="385" y="436"/>
                    </a:lnTo>
                    <a:lnTo>
                      <a:pt x="385" y="438"/>
                    </a:lnTo>
                    <a:lnTo>
                      <a:pt x="383" y="438"/>
                    </a:lnTo>
                    <a:lnTo>
                      <a:pt x="383" y="436"/>
                    </a:lnTo>
                    <a:lnTo>
                      <a:pt x="381" y="436"/>
                    </a:lnTo>
                    <a:lnTo>
                      <a:pt x="379" y="434"/>
                    </a:lnTo>
                    <a:lnTo>
                      <a:pt x="379" y="432"/>
                    </a:lnTo>
                    <a:lnTo>
                      <a:pt x="377" y="430"/>
                    </a:lnTo>
                    <a:lnTo>
                      <a:pt x="377" y="428"/>
                    </a:lnTo>
                    <a:lnTo>
                      <a:pt x="375" y="428"/>
                    </a:lnTo>
                    <a:lnTo>
                      <a:pt x="375" y="430"/>
                    </a:lnTo>
                    <a:lnTo>
                      <a:pt x="375" y="432"/>
                    </a:lnTo>
                    <a:lnTo>
                      <a:pt x="373" y="434"/>
                    </a:lnTo>
                    <a:lnTo>
                      <a:pt x="371" y="434"/>
                    </a:lnTo>
                    <a:lnTo>
                      <a:pt x="369" y="434"/>
                    </a:lnTo>
                    <a:lnTo>
                      <a:pt x="367" y="436"/>
                    </a:lnTo>
                    <a:lnTo>
                      <a:pt x="367" y="434"/>
                    </a:lnTo>
                    <a:lnTo>
                      <a:pt x="365" y="434"/>
                    </a:lnTo>
                    <a:lnTo>
                      <a:pt x="365" y="432"/>
                    </a:lnTo>
                    <a:lnTo>
                      <a:pt x="363" y="432"/>
                    </a:lnTo>
                    <a:lnTo>
                      <a:pt x="362" y="432"/>
                    </a:lnTo>
                    <a:lnTo>
                      <a:pt x="362" y="434"/>
                    </a:lnTo>
                    <a:lnTo>
                      <a:pt x="362" y="436"/>
                    </a:lnTo>
                    <a:lnTo>
                      <a:pt x="362" y="438"/>
                    </a:lnTo>
                    <a:lnTo>
                      <a:pt x="360" y="438"/>
                    </a:lnTo>
                    <a:lnTo>
                      <a:pt x="360" y="440"/>
                    </a:lnTo>
                    <a:lnTo>
                      <a:pt x="360" y="438"/>
                    </a:lnTo>
                    <a:lnTo>
                      <a:pt x="358" y="438"/>
                    </a:lnTo>
                    <a:lnTo>
                      <a:pt x="358" y="440"/>
                    </a:lnTo>
                    <a:lnTo>
                      <a:pt x="356" y="440"/>
                    </a:lnTo>
                    <a:lnTo>
                      <a:pt x="356" y="442"/>
                    </a:lnTo>
                    <a:lnTo>
                      <a:pt x="356" y="448"/>
                    </a:lnTo>
                    <a:lnTo>
                      <a:pt x="354" y="448"/>
                    </a:lnTo>
                    <a:lnTo>
                      <a:pt x="354" y="450"/>
                    </a:lnTo>
                    <a:lnTo>
                      <a:pt x="354" y="451"/>
                    </a:lnTo>
                    <a:lnTo>
                      <a:pt x="356" y="451"/>
                    </a:lnTo>
                    <a:lnTo>
                      <a:pt x="358" y="453"/>
                    </a:lnTo>
                    <a:lnTo>
                      <a:pt x="360" y="453"/>
                    </a:lnTo>
                    <a:lnTo>
                      <a:pt x="362" y="453"/>
                    </a:lnTo>
                    <a:lnTo>
                      <a:pt x="362" y="457"/>
                    </a:lnTo>
                    <a:lnTo>
                      <a:pt x="362" y="459"/>
                    </a:lnTo>
                    <a:lnTo>
                      <a:pt x="360" y="459"/>
                    </a:lnTo>
                    <a:lnTo>
                      <a:pt x="360" y="461"/>
                    </a:lnTo>
                    <a:lnTo>
                      <a:pt x="360" y="463"/>
                    </a:lnTo>
                    <a:lnTo>
                      <a:pt x="358" y="463"/>
                    </a:lnTo>
                    <a:lnTo>
                      <a:pt x="356" y="463"/>
                    </a:lnTo>
                    <a:lnTo>
                      <a:pt x="354" y="463"/>
                    </a:lnTo>
                    <a:lnTo>
                      <a:pt x="354" y="465"/>
                    </a:lnTo>
                    <a:lnTo>
                      <a:pt x="354" y="467"/>
                    </a:lnTo>
                    <a:lnTo>
                      <a:pt x="354" y="469"/>
                    </a:lnTo>
                    <a:lnTo>
                      <a:pt x="354" y="473"/>
                    </a:lnTo>
                    <a:lnTo>
                      <a:pt x="354" y="474"/>
                    </a:lnTo>
                    <a:lnTo>
                      <a:pt x="354" y="476"/>
                    </a:lnTo>
                    <a:lnTo>
                      <a:pt x="354" y="478"/>
                    </a:lnTo>
                    <a:lnTo>
                      <a:pt x="354" y="480"/>
                    </a:lnTo>
                    <a:lnTo>
                      <a:pt x="352" y="480"/>
                    </a:lnTo>
                    <a:lnTo>
                      <a:pt x="352" y="482"/>
                    </a:lnTo>
                    <a:lnTo>
                      <a:pt x="350" y="482"/>
                    </a:lnTo>
                    <a:lnTo>
                      <a:pt x="348" y="482"/>
                    </a:lnTo>
                    <a:lnTo>
                      <a:pt x="348" y="484"/>
                    </a:lnTo>
                    <a:lnTo>
                      <a:pt x="348" y="486"/>
                    </a:lnTo>
                    <a:lnTo>
                      <a:pt x="348" y="488"/>
                    </a:lnTo>
                    <a:lnTo>
                      <a:pt x="350" y="490"/>
                    </a:lnTo>
                    <a:lnTo>
                      <a:pt x="352" y="490"/>
                    </a:lnTo>
                    <a:lnTo>
                      <a:pt x="354" y="492"/>
                    </a:lnTo>
                    <a:lnTo>
                      <a:pt x="356" y="492"/>
                    </a:lnTo>
                    <a:lnTo>
                      <a:pt x="358" y="492"/>
                    </a:lnTo>
                    <a:lnTo>
                      <a:pt x="358" y="494"/>
                    </a:lnTo>
                    <a:lnTo>
                      <a:pt x="360" y="494"/>
                    </a:lnTo>
                    <a:lnTo>
                      <a:pt x="362" y="494"/>
                    </a:lnTo>
                    <a:lnTo>
                      <a:pt x="363" y="494"/>
                    </a:lnTo>
                    <a:lnTo>
                      <a:pt x="363" y="496"/>
                    </a:lnTo>
                    <a:lnTo>
                      <a:pt x="365" y="496"/>
                    </a:lnTo>
                    <a:lnTo>
                      <a:pt x="365" y="498"/>
                    </a:lnTo>
                    <a:lnTo>
                      <a:pt x="367" y="499"/>
                    </a:lnTo>
                    <a:lnTo>
                      <a:pt x="369" y="499"/>
                    </a:lnTo>
                    <a:lnTo>
                      <a:pt x="369" y="498"/>
                    </a:lnTo>
                    <a:lnTo>
                      <a:pt x="371" y="498"/>
                    </a:lnTo>
                    <a:lnTo>
                      <a:pt x="373" y="499"/>
                    </a:lnTo>
                    <a:lnTo>
                      <a:pt x="371" y="499"/>
                    </a:lnTo>
                    <a:lnTo>
                      <a:pt x="371" y="501"/>
                    </a:lnTo>
                    <a:lnTo>
                      <a:pt x="371" y="503"/>
                    </a:lnTo>
                    <a:lnTo>
                      <a:pt x="369" y="503"/>
                    </a:lnTo>
                    <a:lnTo>
                      <a:pt x="367" y="503"/>
                    </a:lnTo>
                    <a:lnTo>
                      <a:pt x="365" y="503"/>
                    </a:lnTo>
                    <a:lnTo>
                      <a:pt x="365" y="505"/>
                    </a:lnTo>
                    <a:lnTo>
                      <a:pt x="363" y="503"/>
                    </a:lnTo>
                    <a:lnTo>
                      <a:pt x="363" y="505"/>
                    </a:lnTo>
                    <a:lnTo>
                      <a:pt x="363" y="507"/>
                    </a:lnTo>
                    <a:lnTo>
                      <a:pt x="362" y="507"/>
                    </a:lnTo>
                    <a:lnTo>
                      <a:pt x="362" y="509"/>
                    </a:lnTo>
                    <a:lnTo>
                      <a:pt x="360" y="509"/>
                    </a:lnTo>
                    <a:lnTo>
                      <a:pt x="358" y="509"/>
                    </a:lnTo>
                    <a:lnTo>
                      <a:pt x="356" y="509"/>
                    </a:lnTo>
                    <a:lnTo>
                      <a:pt x="354" y="511"/>
                    </a:lnTo>
                    <a:lnTo>
                      <a:pt x="354" y="513"/>
                    </a:lnTo>
                    <a:lnTo>
                      <a:pt x="356" y="513"/>
                    </a:lnTo>
                    <a:lnTo>
                      <a:pt x="354" y="513"/>
                    </a:lnTo>
                    <a:lnTo>
                      <a:pt x="354" y="515"/>
                    </a:lnTo>
                    <a:lnTo>
                      <a:pt x="354" y="517"/>
                    </a:lnTo>
                    <a:lnTo>
                      <a:pt x="352" y="517"/>
                    </a:lnTo>
                    <a:lnTo>
                      <a:pt x="352" y="515"/>
                    </a:lnTo>
                    <a:lnTo>
                      <a:pt x="350" y="515"/>
                    </a:lnTo>
                    <a:lnTo>
                      <a:pt x="348" y="515"/>
                    </a:lnTo>
                    <a:lnTo>
                      <a:pt x="348" y="517"/>
                    </a:lnTo>
                    <a:lnTo>
                      <a:pt x="348" y="521"/>
                    </a:lnTo>
                    <a:lnTo>
                      <a:pt x="348" y="523"/>
                    </a:lnTo>
                    <a:lnTo>
                      <a:pt x="346" y="523"/>
                    </a:lnTo>
                    <a:lnTo>
                      <a:pt x="346" y="524"/>
                    </a:lnTo>
                    <a:lnTo>
                      <a:pt x="344" y="524"/>
                    </a:lnTo>
                    <a:lnTo>
                      <a:pt x="342" y="528"/>
                    </a:lnTo>
                    <a:lnTo>
                      <a:pt x="342" y="532"/>
                    </a:lnTo>
                    <a:lnTo>
                      <a:pt x="344" y="536"/>
                    </a:lnTo>
                    <a:lnTo>
                      <a:pt x="342" y="538"/>
                    </a:lnTo>
                    <a:lnTo>
                      <a:pt x="342" y="540"/>
                    </a:lnTo>
                    <a:lnTo>
                      <a:pt x="342" y="542"/>
                    </a:lnTo>
                    <a:lnTo>
                      <a:pt x="340" y="542"/>
                    </a:lnTo>
                    <a:lnTo>
                      <a:pt x="339" y="542"/>
                    </a:lnTo>
                    <a:lnTo>
                      <a:pt x="337" y="542"/>
                    </a:lnTo>
                    <a:lnTo>
                      <a:pt x="335" y="542"/>
                    </a:lnTo>
                    <a:lnTo>
                      <a:pt x="333" y="542"/>
                    </a:lnTo>
                    <a:lnTo>
                      <a:pt x="331" y="542"/>
                    </a:lnTo>
                    <a:lnTo>
                      <a:pt x="329" y="542"/>
                    </a:lnTo>
                    <a:lnTo>
                      <a:pt x="329" y="540"/>
                    </a:lnTo>
                    <a:lnTo>
                      <a:pt x="327" y="540"/>
                    </a:lnTo>
                    <a:lnTo>
                      <a:pt x="325" y="540"/>
                    </a:lnTo>
                    <a:lnTo>
                      <a:pt x="325" y="542"/>
                    </a:lnTo>
                    <a:lnTo>
                      <a:pt x="323" y="542"/>
                    </a:lnTo>
                    <a:lnTo>
                      <a:pt x="323" y="540"/>
                    </a:lnTo>
                    <a:lnTo>
                      <a:pt x="321" y="540"/>
                    </a:lnTo>
                    <a:lnTo>
                      <a:pt x="321" y="542"/>
                    </a:lnTo>
                    <a:lnTo>
                      <a:pt x="321" y="540"/>
                    </a:lnTo>
                    <a:lnTo>
                      <a:pt x="321" y="538"/>
                    </a:lnTo>
                    <a:lnTo>
                      <a:pt x="319" y="538"/>
                    </a:lnTo>
                    <a:lnTo>
                      <a:pt x="317" y="538"/>
                    </a:lnTo>
                    <a:lnTo>
                      <a:pt x="317" y="536"/>
                    </a:lnTo>
                    <a:lnTo>
                      <a:pt x="315" y="536"/>
                    </a:lnTo>
                    <a:lnTo>
                      <a:pt x="315" y="534"/>
                    </a:lnTo>
                    <a:lnTo>
                      <a:pt x="315" y="532"/>
                    </a:lnTo>
                    <a:lnTo>
                      <a:pt x="315" y="530"/>
                    </a:lnTo>
                    <a:lnTo>
                      <a:pt x="314" y="530"/>
                    </a:lnTo>
                    <a:lnTo>
                      <a:pt x="314" y="528"/>
                    </a:lnTo>
                    <a:lnTo>
                      <a:pt x="312" y="528"/>
                    </a:lnTo>
                    <a:lnTo>
                      <a:pt x="308" y="524"/>
                    </a:lnTo>
                    <a:lnTo>
                      <a:pt x="306" y="523"/>
                    </a:lnTo>
                    <a:lnTo>
                      <a:pt x="304" y="523"/>
                    </a:lnTo>
                    <a:lnTo>
                      <a:pt x="302" y="523"/>
                    </a:lnTo>
                    <a:lnTo>
                      <a:pt x="298" y="521"/>
                    </a:lnTo>
                    <a:lnTo>
                      <a:pt x="296" y="521"/>
                    </a:lnTo>
                    <a:lnTo>
                      <a:pt x="294" y="521"/>
                    </a:lnTo>
                    <a:lnTo>
                      <a:pt x="294" y="523"/>
                    </a:lnTo>
                    <a:lnTo>
                      <a:pt x="292" y="523"/>
                    </a:lnTo>
                    <a:lnTo>
                      <a:pt x="290" y="523"/>
                    </a:lnTo>
                    <a:lnTo>
                      <a:pt x="289" y="524"/>
                    </a:lnTo>
                    <a:lnTo>
                      <a:pt x="287" y="524"/>
                    </a:lnTo>
                    <a:lnTo>
                      <a:pt x="285" y="524"/>
                    </a:lnTo>
                    <a:lnTo>
                      <a:pt x="283" y="524"/>
                    </a:lnTo>
                    <a:lnTo>
                      <a:pt x="283" y="523"/>
                    </a:lnTo>
                    <a:lnTo>
                      <a:pt x="281" y="523"/>
                    </a:lnTo>
                    <a:lnTo>
                      <a:pt x="279" y="523"/>
                    </a:lnTo>
                    <a:lnTo>
                      <a:pt x="279" y="524"/>
                    </a:lnTo>
                    <a:lnTo>
                      <a:pt x="279" y="523"/>
                    </a:lnTo>
                    <a:lnTo>
                      <a:pt x="279" y="521"/>
                    </a:lnTo>
                    <a:lnTo>
                      <a:pt x="277" y="521"/>
                    </a:lnTo>
                    <a:lnTo>
                      <a:pt x="279" y="521"/>
                    </a:lnTo>
                    <a:lnTo>
                      <a:pt x="279" y="519"/>
                    </a:lnTo>
                    <a:lnTo>
                      <a:pt x="277" y="519"/>
                    </a:lnTo>
                    <a:lnTo>
                      <a:pt x="275" y="519"/>
                    </a:lnTo>
                    <a:lnTo>
                      <a:pt x="273" y="519"/>
                    </a:lnTo>
                    <a:lnTo>
                      <a:pt x="271" y="519"/>
                    </a:lnTo>
                    <a:lnTo>
                      <a:pt x="269" y="519"/>
                    </a:lnTo>
                    <a:lnTo>
                      <a:pt x="269" y="517"/>
                    </a:lnTo>
                    <a:lnTo>
                      <a:pt x="267" y="517"/>
                    </a:lnTo>
                    <a:lnTo>
                      <a:pt x="265" y="519"/>
                    </a:lnTo>
                    <a:lnTo>
                      <a:pt x="264" y="519"/>
                    </a:lnTo>
                    <a:lnTo>
                      <a:pt x="262" y="519"/>
                    </a:lnTo>
                    <a:lnTo>
                      <a:pt x="260" y="519"/>
                    </a:lnTo>
                    <a:lnTo>
                      <a:pt x="260" y="517"/>
                    </a:lnTo>
                    <a:lnTo>
                      <a:pt x="258" y="517"/>
                    </a:lnTo>
                    <a:lnTo>
                      <a:pt x="256" y="519"/>
                    </a:lnTo>
                    <a:lnTo>
                      <a:pt x="254" y="519"/>
                    </a:lnTo>
                    <a:lnTo>
                      <a:pt x="254" y="517"/>
                    </a:lnTo>
                    <a:lnTo>
                      <a:pt x="252" y="517"/>
                    </a:lnTo>
                    <a:lnTo>
                      <a:pt x="250" y="517"/>
                    </a:lnTo>
                    <a:lnTo>
                      <a:pt x="248" y="517"/>
                    </a:lnTo>
                    <a:lnTo>
                      <a:pt x="248" y="519"/>
                    </a:lnTo>
                    <a:lnTo>
                      <a:pt x="246" y="521"/>
                    </a:lnTo>
                    <a:lnTo>
                      <a:pt x="246" y="523"/>
                    </a:lnTo>
                    <a:lnTo>
                      <a:pt x="244" y="523"/>
                    </a:lnTo>
                    <a:lnTo>
                      <a:pt x="242" y="524"/>
                    </a:lnTo>
                    <a:lnTo>
                      <a:pt x="242" y="523"/>
                    </a:lnTo>
                    <a:lnTo>
                      <a:pt x="242" y="524"/>
                    </a:lnTo>
                    <a:lnTo>
                      <a:pt x="241" y="524"/>
                    </a:lnTo>
                    <a:lnTo>
                      <a:pt x="239" y="524"/>
                    </a:lnTo>
                    <a:lnTo>
                      <a:pt x="239" y="523"/>
                    </a:lnTo>
                    <a:lnTo>
                      <a:pt x="237" y="523"/>
                    </a:lnTo>
                    <a:lnTo>
                      <a:pt x="235" y="523"/>
                    </a:lnTo>
                    <a:lnTo>
                      <a:pt x="235" y="524"/>
                    </a:lnTo>
                    <a:lnTo>
                      <a:pt x="235" y="526"/>
                    </a:lnTo>
                    <a:lnTo>
                      <a:pt x="233" y="526"/>
                    </a:lnTo>
                    <a:lnTo>
                      <a:pt x="233" y="528"/>
                    </a:lnTo>
                    <a:lnTo>
                      <a:pt x="231" y="528"/>
                    </a:lnTo>
                    <a:lnTo>
                      <a:pt x="229" y="528"/>
                    </a:lnTo>
                    <a:lnTo>
                      <a:pt x="229" y="526"/>
                    </a:lnTo>
                    <a:lnTo>
                      <a:pt x="227" y="526"/>
                    </a:lnTo>
                    <a:lnTo>
                      <a:pt x="227" y="528"/>
                    </a:lnTo>
                    <a:lnTo>
                      <a:pt x="227" y="530"/>
                    </a:lnTo>
                    <a:lnTo>
                      <a:pt x="225" y="530"/>
                    </a:lnTo>
                    <a:lnTo>
                      <a:pt x="223" y="532"/>
                    </a:lnTo>
                    <a:lnTo>
                      <a:pt x="223" y="530"/>
                    </a:lnTo>
                    <a:lnTo>
                      <a:pt x="221" y="530"/>
                    </a:lnTo>
                    <a:lnTo>
                      <a:pt x="221" y="532"/>
                    </a:lnTo>
                    <a:lnTo>
                      <a:pt x="219" y="530"/>
                    </a:lnTo>
                    <a:lnTo>
                      <a:pt x="219" y="532"/>
                    </a:lnTo>
                    <a:lnTo>
                      <a:pt x="217" y="532"/>
                    </a:lnTo>
                    <a:lnTo>
                      <a:pt x="217" y="534"/>
                    </a:lnTo>
                    <a:lnTo>
                      <a:pt x="216" y="536"/>
                    </a:lnTo>
                    <a:lnTo>
                      <a:pt x="214" y="536"/>
                    </a:lnTo>
                    <a:lnTo>
                      <a:pt x="214" y="538"/>
                    </a:lnTo>
                    <a:lnTo>
                      <a:pt x="214" y="540"/>
                    </a:lnTo>
                    <a:lnTo>
                      <a:pt x="212" y="540"/>
                    </a:lnTo>
                    <a:lnTo>
                      <a:pt x="212" y="542"/>
                    </a:lnTo>
                    <a:lnTo>
                      <a:pt x="210" y="542"/>
                    </a:lnTo>
                    <a:lnTo>
                      <a:pt x="210" y="544"/>
                    </a:lnTo>
                    <a:lnTo>
                      <a:pt x="208" y="544"/>
                    </a:lnTo>
                    <a:lnTo>
                      <a:pt x="206" y="544"/>
                    </a:lnTo>
                    <a:lnTo>
                      <a:pt x="204" y="544"/>
                    </a:lnTo>
                    <a:lnTo>
                      <a:pt x="202" y="544"/>
                    </a:lnTo>
                    <a:lnTo>
                      <a:pt x="202" y="542"/>
                    </a:lnTo>
                    <a:lnTo>
                      <a:pt x="200" y="542"/>
                    </a:lnTo>
                    <a:lnTo>
                      <a:pt x="198" y="542"/>
                    </a:lnTo>
                    <a:lnTo>
                      <a:pt x="196" y="544"/>
                    </a:lnTo>
                    <a:lnTo>
                      <a:pt x="194" y="544"/>
                    </a:lnTo>
                    <a:lnTo>
                      <a:pt x="194" y="546"/>
                    </a:lnTo>
                    <a:lnTo>
                      <a:pt x="192" y="546"/>
                    </a:lnTo>
                    <a:lnTo>
                      <a:pt x="191" y="546"/>
                    </a:lnTo>
                    <a:lnTo>
                      <a:pt x="189" y="546"/>
                    </a:lnTo>
                    <a:lnTo>
                      <a:pt x="189" y="544"/>
                    </a:lnTo>
                    <a:lnTo>
                      <a:pt x="187" y="544"/>
                    </a:lnTo>
                    <a:lnTo>
                      <a:pt x="187" y="542"/>
                    </a:lnTo>
                    <a:lnTo>
                      <a:pt x="185" y="542"/>
                    </a:lnTo>
                    <a:lnTo>
                      <a:pt x="183" y="542"/>
                    </a:lnTo>
                    <a:lnTo>
                      <a:pt x="181" y="542"/>
                    </a:lnTo>
                    <a:lnTo>
                      <a:pt x="179" y="542"/>
                    </a:lnTo>
                    <a:lnTo>
                      <a:pt x="179" y="544"/>
                    </a:lnTo>
                    <a:lnTo>
                      <a:pt x="177" y="544"/>
                    </a:lnTo>
                    <a:lnTo>
                      <a:pt x="175" y="542"/>
                    </a:lnTo>
                    <a:lnTo>
                      <a:pt x="177" y="542"/>
                    </a:lnTo>
                    <a:lnTo>
                      <a:pt x="177" y="540"/>
                    </a:lnTo>
                    <a:lnTo>
                      <a:pt x="175" y="540"/>
                    </a:lnTo>
                    <a:lnTo>
                      <a:pt x="177" y="538"/>
                    </a:lnTo>
                    <a:lnTo>
                      <a:pt x="177" y="536"/>
                    </a:lnTo>
                    <a:lnTo>
                      <a:pt x="175" y="536"/>
                    </a:lnTo>
                    <a:lnTo>
                      <a:pt x="175" y="534"/>
                    </a:lnTo>
                    <a:lnTo>
                      <a:pt x="173" y="534"/>
                    </a:lnTo>
                    <a:lnTo>
                      <a:pt x="173" y="536"/>
                    </a:lnTo>
                    <a:lnTo>
                      <a:pt x="171" y="536"/>
                    </a:lnTo>
                    <a:lnTo>
                      <a:pt x="169" y="536"/>
                    </a:lnTo>
                    <a:lnTo>
                      <a:pt x="168" y="536"/>
                    </a:lnTo>
                    <a:lnTo>
                      <a:pt x="166" y="536"/>
                    </a:lnTo>
                    <a:lnTo>
                      <a:pt x="164" y="536"/>
                    </a:lnTo>
                    <a:lnTo>
                      <a:pt x="162" y="536"/>
                    </a:lnTo>
                    <a:lnTo>
                      <a:pt x="162" y="534"/>
                    </a:lnTo>
                    <a:lnTo>
                      <a:pt x="162" y="536"/>
                    </a:lnTo>
                    <a:lnTo>
                      <a:pt x="162" y="534"/>
                    </a:lnTo>
                    <a:lnTo>
                      <a:pt x="160" y="536"/>
                    </a:lnTo>
                    <a:lnTo>
                      <a:pt x="160" y="534"/>
                    </a:lnTo>
                    <a:lnTo>
                      <a:pt x="158" y="532"/>
                    </a:lnTo>
                    <a:lnTo>
                      <a:pt x="156" y="532"/>
                    </a:lnTo>
                    <a:lnTo>
                      <a:pt x="156" y="530"/>
                    </a:lnTo>
                    <a:lnTo>
                      <a:pt x="154" y="532"/>
                    </a:lnTo>
                    <a:lnTo>
                      <a:pt x="152" y="530"/>
                    </a:lnTo>
                    <a:lnTo>
                      <a:pt x="152" y="528"/>
                    </a:lnTo>
                    <a:lnTo>
                      <a:pt x="152" y="526"/>
                    </a:lnTo>
                    <a:lnTo>
                      <a:pt x="150" y="524"/>
                    </a:lnTo>
                    <a:lnTo>
                      <a:pt x="150" y="523"/>
                    </a:lnTo>
                    <a:lnTo>
                      <a:pt x="148" y="523"/>
                    </a:lnTo>
                    <a:lnTo>
                      <a:pt x="148" y="521"/>
                    </a:lnTo>
                    <a:lnTo>
                      <a:pt x="148" y="519"/>
                    </a:lnTo>
                    <a:lnTo>
                      <a:pt x="146" y="519"/>
                    </a:lnTo>
                    <a:lnTo>
                      <a:pt x="146" y="517"/>
                    </a:lnTo>
                    <a:lnTo>
                      <a:pt x="144" y="517"/>
                    </a:lnTo>
                    <a:lnTo>
                      <a:pt x="144" y="515"/>
                    </a:lnTo>
                    <a:lnTo>
                      <a:pt x="143" y="515"/>
                    </a:lnTo>
                    <a:lnTo>
                      <a:pt x="143" y="513"/>
                    </a:lnTo>
                    <a:lnTo>
                      <a:pt x="141" y="513"/>
                    </a:lnTo>
                    <a:lnTo>
                      <a:pt x="139" y="513"/>
                    </a:lnTo>
                    <a:lnTo>
                      <a:pt x="139" y="511"/>
                    </a:lnTo>
                    <a:lnTo>
                      <a:pt x="141" y="509"/>
                    </a:lnTo>
                    <a:lnTo>
                      <a:pt x="139" y="509"/>
                    </a:lnTo>
                    <a:lnTo>
                      <a:pt x="139" y="507"/>
                    </a:lnTo>
                    <a:lnTo>
                      <a:pt x="139" y="505"/>
                    </a:lnTo>
                    <a:lnTo>
                      <a:pt x="137" y="505"/>
                    </a:lnTo>
                    <a:lnTo>
                      <a:pt x="135" y="503"/>
                    </a:lnTo>
                    <a:lnTo>
                      <a:pt x="135" y="501"/>
                    </a:lnTo>
                    <a:lnTo>
                      <a:pt x="135" y="499"/>
                    </a:lnTo>
                    <a:lnTo>
                      <a:pt x="135" y="498"/>
                    </a:lnTo>
                    <a:lnTo>
                      <a:pt x="135" y="496"/>
                    </a:lnTo>
                    <a:lnTo>
                      <a:pt x="135" y="494"/>
                    </a:lnTo>
                    <a:lnTo>
                      <a:pt x="135" y="492"/>
                    </a:lnTo>
                    <a:lnTo>
                      <a:pt x="135" y="490"/>
                    </a:lnTo>
                    <a:lnTo>
                      <a:pt x="133" y="490"/>
                    </a:lnTo>
                    <a:lnTo>
                      <a:pt x="133" y="488"/>
                    </a:lnTo>
                    <a:lnTo>
                      <a:pt x="131" y="486"/>
                    </a:lnTo>
                    <a:lnTo>
                      <a:pt x="131" y="484"/>
                    </a:lnTo>
                    <a:lnTo>
                      <a:pt x="131" y="482"/>
                    </a:lnTo>
                    <a:lnTo>
                      <a:pt x="129" y="480"/>
                    </a:lnTo>
                    <a:lnTo>
                      <a:pt x="131" y="480"/>
                    </a:lnTo>
                    <a:lnTo>
                      <a:pt x="129" y="478"/>
                    </a:lnTo>
                    <a:lnTo>
                      <a:pt x="131" y="478"/>
                    </a:lnTo>
                    <a:lnTo>
                      <a:pt x="131" y="476"/>
                    </a:lnTo>
                    <a:lnTo>
                      <a:pt x="129" y="476"/>
                    </a:lnTo>
                    <a:lnTo>
                      <a:pt x="131" y="476"/>
                    </a:lnTo>
                    <a:lnTo>
                      <a:pt x="129" y="474"/>
                    </a:lnTo>
                    <a:lnTo>
                      <a:pt x="129" y="473"/>
                    </a:lnTo>
                    <a:lnTo>
                      <a:pt x="129" y="471"/>
                    </a:lnTo>
                    <a:lnTo>
                      <a:pt x="131" y="471"/>
                    </a:lnTo>
                    <a:lnTo>
                      <a:pt x="131" y="469"/>
                    </a:lnTo>
                    <a:lnTo>
                      <a:pt x="129" y="469"/>
                    </a:lnTo>
                    <a:lnTo>
                      <a:pt x="129" y="467"/>
                    </a:lnTo>
                    <a:lnTo>
                      <a:pt x="129" y="465"/>
                    </a:lnTo>
                    <a:lnTo>
                      <a:pt x="127" y="465"/>
                    </a:lnTo>
                    <a:lnTo>
                      <a:pt x="125" y="465"/>
                    </a:lnTo>
                    <a:lnTo>
                      <a:pt x="125" y="463"/>
                    </a:lnTo>
                    <a:lnTo>
                      <a:pt x="125" y="465"/>
                    </a:lnTo>
                    <a:lnTo>
                      <a:pt x="123" y="465"/>
                    </a:lnTo>
                    <a:lnTo>
                      <a:pt x="123" y="463"/>
                    </a:lnTo>
                    <a:lnTo>
                      <a:pt x="123" y="465"/>
                    </a:lnTo>
                    <a:lnTo>
                      <a:pt x="123" y="463"/>
                    </a:lnTo>
                    <a:lnTo>
                      <a:pt x="121" y="463"/>
                    </a:lnTo>
                    <a:lnTo>
                      <a:pt x="119" y="463"/>
                    </a:lnTo>
                    <a:lnTo>
                      <a:pt x="118" y="463"/>
                    </a:lnTo>
                    <a:lnTo>
                      <a:pt x="118" y="461"/>
                    </a:lnTo>
                    <a:lnTo>
                      <a:pt x="116" y="461"/>
                    </a:lnTo>
                    <a:lnTo>
                      <a:pt x="114" y="461"/>
                    </a:lnTo>
                    <a:lnTo>
                      <a:pt x="112" y="461"/>
                    </a:lnTo>
                    <a:lnTo>
                      <a:pt x="110" y="461"/>
                    </a:lnTo>
                    <a:lnTo>
                      <a:pt x="110" y="459"/>
                    </a:lnTo>
                    <a:lnTo>
                      <a:pt x="108" y="459"/>
                    </a:lnTo>
                    <a:lnTo>
                      <a:pt x="108" y="457"/>
                    </a:lnTo>
                    <a:lnTo>
                      <a:pt x="106" y="459"/>
                    </a:lnTo>
                    <a:lnTo>
                      <a:pt x="106" y="457"/>
                    </a:lnTo>
                    <a:lnTo>
                      <a:pt x="104" y="459"/>
                    </a:lnTo>
                    <a:lnTo>
                      <a:pt x="104" y="461"/>
                    </a:lnTo>
                    <a:lnTo>
                      <a:pt x="102" y="461"/>
                    </a:lnTo>
                    <a:lnTo>
                      <a:pt x="100" y="461"/>
                    </a:lnTo>
                    <a:lnTo>
                      <a:pt x="100" y="459"/>
                    </a:lnTo>
                    <a:lnTo>
                      <a:pt x="98" y="459"/>
                    </a:lnTo>
                    <a:lnTo>
                      <a:pt x="98" y="457"/>
                    </a:lnTo>
                    <a:lnTo>
                      <a:pt x="96" y="457"/>
                    </a:lnTo>
                    <a:lnTo>
                      <a:pt x="96" y="455"/>
                    </a:lnTo>
                    <a:lnTo>
                      <a:pt x="95" y="457"/>
                    </a:lnTo>
                    <a:lnTo>
                      <a:pt x="93" y="457"/>
                    </a:lnTo>
                    <a:lnTo>
                      <a:pt x="93" y="455"/>
                    </a:lnTo>
                    <a:lnTo>
                      <a:pt x="91" y="453"/>
                    </a:lnTo>
                    <a:lnTo>
                      <a:pt x="91" y="455"/>
                    </a:lnTo>
                    <a:lnTo>
                      <a:pt x="91" y="453"/>
                    </a:lnTo>
                    <a:lnTo>
                      <a:pt x="89" y="453"/>
                    </a:lnTo>
                    <a:lnTo>
                      <a:pt x="87" y="451"/>
                    </a:lnTo>
                    <a:lnTo>
                      <a:pt x="85" y="451"/>
                    </a:lnTo>
                    <a:lnTo>
                      <a:pt x="81" y="450"/>
                    </a:lnTo>
                    <a:lnTo>
                      <a:pt x="83" y="450"/>
                    </a:lnTo>
                    <a:lnTo>
                      <a:pt x="81" y="450"/>
                    </a:lnTo>
                    <a:lnTo>
                      <a:pt x="79" y="448"/>
                    </a:lnTo>
                    <a:lnTo>
                      <a:pt x="77" y="448"/>
                    </a:lnTo>
                    <a:lnTo>
                      <a:pt x="77" y="446"/>
                    </a:lnTo>
                    <a:lnTo>
                      <a:pt x="75" y="446"/>
                    </a:lnTo>
                    <a:lnTo>
                      <a:pt x="75" y="444"/>
                    </a:lnTo>
                    <a:lnTo>
                      <a:pt x="73" y="444"/>
                    </a:lnTo>
                    <a:lnTo>
                      <a:pt x="73" y="446"/>
                    </a:lnTo>
                    <a:lnTo>
                      <a:pt x="71" y="446"/>
                    </a:lnTo>
                    <a:lnTo>
                      <a:pt x="71" y="444"/>
                    </a:lnTo>
                    <a:lnTo>
                      <a:pt x="70" y="444"/>
                    </a:lnTo>
                    <a:lnTo>
                      <a:pt x="70" y="442"/>
                    </a:lnTo>
                    <a:lnTo>
                      <a:pt x="70" y="444"/>
                    </a:lnTo>
                    <a:lnTo>
                      <a:pt x="68" y="444"/>
                    </a:lnTo>
                    <a:lnTo>
                      <a:pt x="66" y="444"/>
                    </a:lnTo>
                    <a:lnTo>
                      <a:pt x="64" y="444"/>
                    </a:lnTo>
                    <a:lnTo>
                      <a:pt x="62" y="444"/>
                    </a:lnTo>
                    <a:lnTo>
                      <a:pt x="60" y="444"/>
                    </a:lnTo>
                    <a:lnTo>
                      <a:pt x="58" y="444"/>
                    </a:lnTo>
                    <a:lnTo>
                      <a:pt x="56" y="444"/>
                    </a:lnTo>
                    <a:lnTo>
                      <a:pt x="54" y="444"/>
                    </a:lnTo>
                    <a:lnTo>
                      <a:pt x="54" y="446"/>
                    </a:lnTo>
                    <a:lnTo>
                      <a:pt x="52" y="446"/>
                    </a:lnTo>
                    <a:lnTo>
                      <a:pt x="52" y="444"/>
                    </a:lnTo>
                    <a:lnTo>
                      <a:pt x="50" y="444"/>
                    </a:lnTo>
                    <a:lnTo>
                      <a:pt x="48" y="444"/>
                    </a:lnTo>
                    <a:lnTo>
                      <a:pt x="46" y="444"/>
                    </a:lnTo>
                    <a:lnTo>
                      <a:pt x="46" y="442"/>
                    </a:lnTo>
                    <a:lnTo>
                      <a:pt x="46" y="440"/>
                    </a:lnTo>
                    <a:lnTo>
                      <a:pt x="45" y="440"/>
                    </a:lnTo>
                    <a:lnTo>
                      <a:pt x="45" y="438"/>
                    </a:lnTo>
                    <a:lnTo>
                      <a:pt x="45" y="436"/>
                    </a:lnTo>
                    <a:lnTo>
                      <a:pt x="45" y="434"/>
                    </a:lnTo>
                    <a:lnTo>
                      <a:pt x="43" y="432"/>
                    </a:lnTo>
                    <a:lnTo>
                      <a:pt x="41" y="434"/>
                    </a:lnTo>
                    <a:lnTo>
                      <a:pt x="39" y="434"/>
                    </a:lnTo>
                    <a:lnTo>
                      <a:pt x="37" y="434"/>
                    </a:lnTo>
                    <a:lnTo>
                      <a:pt x="37" y="436"/>
                    </a:lnTo>
                    <a:lnTo>
                      <a:pt x="37" y="434"/>
                    </a:lnTo>
                    <a:lnTo>
                      <a:pt x="35" y="434"/>
                    </a:lnTo>
                    <a:lnTo>
                      <a:pt x="37" y="432"/>
                    </a:lnTo>
                    <a:lnTo>
                      <a:pt x="35" y="432"/>
                    </a:lnTo>
                    <a:lnTo>
                      <a:pt x="35" y="430"/>
                    </a:lnTo>
                    <a:lnTo>
                      <a:pt x="33" y="430"/>
                    </a:lnTo>
                    <a:lnTo>
                      <a:pt x="31" y="430"/>
                    </a:lnTo>
                    <a:lnTo>
                      <a:pt x="29" y="430"/>
                    </a:lnTo>
                    <a:lnTo>
                      <a:pt x="27" y="430"/>
                    </a:lnTo>
                    <a:lnTo>
                      <a:pt x="27" y="432"/>
                    </a:lnTo>
                    <a:lnTo>
                      <a:pt x="27" y="430"/>
                    </a:lnTo>
                    <a:lnTo>
                      <a:pt x="25" y="430"/>
                    </a:lnTo>
                    <a:lnTo>
                      <a:pt x="23" y="430"/>
                    </a:lnTo>
                    <a:lnTo>
                      <a:pt x="23" y="428"/>
                    </a:lnTo>
                    <a:lnTo>
                      <a:pt x="25" y="428"/>
                    </a:lnTo>
                    <a:lnTo>
                      <a:pt x="23" y="428"/>
                    </a:lnTo>
                    <a:lnTo>
                      <a:pt x="25" y="426"/>
                    </a:lnTo>
                    <a:lnTo>
                      <a:pt x="23" y="426"/>
                    </a:lnTo>
                    <a:lnTo>
                      <a:pt x="22" y="426"/>
                    </a:lnTo>
                    <a:lnTo>
                      <a:pt x="22" y="425"/>
                    </a:lnTo>
                    <a:lnTo>
                      <a:pt x="20" y="426"/>
                    </a:lnTo>
                    <a:lnTo>
                      <a:pt x="18" y="426"/>
                    </a:lnTo>
                    <a:lnTo>
                      <a:pt x="18" y="425"/>
                    </a:lnTo>
                    <a:lnTo>
                      <a:pt x="16" y="423"/>
                    </a:lnTo>
                    <a:lnTo>
                      <a:pt x="16" y="425"/>
                    </a:lnTo>
                    <a:lnTo>
                      <a:pt x="16" y="423"/>
                    </a:lnTo>
                    <a:lnTo>
                      <a:pt x="14" y="423"/>
                    </a:lnTo>
                    <a:lnTo>
                      <a:pt x="14" y="421"/>
                    </a:lnTo>
                    <a:lnTo>
                      <a:pt x="14" y="419"/>
                    </a:lnTo>
                    <a:lnTo>
                      <a:pt x="12" y="419"/>
                    </a:lnTo>
                    <a:lnTo>
                      <a:pt x="12" y="417"/>
                    </a:lnTo>
                    <a:lnTo>
                      <a:pt x="12" y="415"/>
                    </a:lnTo>
                    <a:lnTo>
                      <a:pt x="10" y="415"/>
                    </a:lnTo>
                    <a:lnTo>
                      <a:pt x="8" y="415"/>
                    </a:lnTo>
                    <a:lnTo>
                      <a:pt x="8" y="417"/>
                    </a:lnTo>
                    <a:lnTo>
                      <a:pt x="8" y="415"/>
                    </a:lnTo>
                    <a:lnTo>
                      <a:pt x="6" y="415"/>
                    </a:lnTo>
                    <a:lnTo>
                      <a:pt x="8" y="413"/>
                    </a:lnTo>
                    <a:lnTo>
                      <a:pt x="8" y="411"/>
                    </a:lnTo>
                    <a:lnTo>
                      <a:pt x="8" y="409"/>
                    </a:lnTo>
                    <a:lnTo>
                      <a:pt x="6" y="409"/>
                    </a:lnTo>
                    <a:lnTo>
                      <a:pt x="4" y="409"/>
                    </a:lnTo>
                    <a:lnTo>
                      <a:pt x="2" y="409"/>
                    </a:lnTo>
                    <a:lnTo>
                      <a:pt x="2" y="411"/>
                    </a:lnTo>
                    <a:lnTo>
                      <a:pt x="0" y="409"/>
                    </a:lnTo>
                    <a:lnTo>
                      <a:pt x="0" y="407"/>
                    </a:lnTo>
                    <a:lnTo>
                      <a:pt x="2" y="407"/>
                    </a:lnTo>
                    <a:lnTo>
                      <a:pt x="2" y="405"/>
                    </a:lnTo>
                    <a:lnTo>
                      <a:pt x="2" y="403"/>
                    </a:lnTo>
                    <a:lnTo>
                      <a:pt x="0" y="401"/>
                    </a:lnTo>
                    <a:lnTo>
                      <a:pt x="0" y="400"/>
                    </a:lnTo>
                    <a:lnTo>
                      <a:pt x="2" y="400"/>
                    </a:lnTo>
                    <a:lnTo>
                      <a:pt x="2" y="398"/>
                    </a:lnTo>
                    <a:lnTo>
                      <a:pt x="4" y="396"/>
                    </a:lnTo>
                    <a:lnTo>
                      <a:pt x="2" y="396"/>
                    </a:lnTo>
                    <a:lnTo>
                      <a:pt x="2" y="394"/>
                    </a:lnTo>
                    <a:lnTo>
                      <a:pt x="4" y="394"/>
                    </a:lnTo>
                    <a:lnTo>
                      <a:pt x="6" y="394"/>
                    </a:lnTo>
                    <a:lnTo>
                      <a:pt x="6" y="392"/>
                    </a:lnTo>
                    <a:lnTo>
                      <a:pt x="6" y="390"/>
                    </a:lnTo>
                    <a:lnTo>
                      <a:pt x="6" y="388"/>
                    </a:lnTo>
                    <a:lnTo>
                      <a:pt x="6" y="386"/>
                    </a:lnTo>
                    <a:lnTo>
                      <a:pt x="8" y="384"/>
                    </a:lnTo>
                    <a:lnTo>
                      <a:pt x="8" y="382"/>
                    </a:lnTo>
                    <a:lnTo>
                      <a:pt x="8" y="384"/>
                    </a:lnTo>
                    <a:lnTo>
                      <a:pt x="10" y="384"/>
                    </a:lnTo>
                    <a:lnTo>
                      <a:pt x="10" y="382"/>
                    </a:lnTo>
                    <a:lnTo>
                      <a:pt x="10" y="380"/>
                    </a:lnTo>
                    <a:lnTo>
                      <a:pt x="10" y="378"/>
                    </a:lnTo>
                    <a:lnTo>
                      <a:pt x="10" y="375"/>
                    </a:lnTo>
                    <a:lnTo>
                      <a:pt x="10" y="373"/>
                    </a:lnTo>
                    <a:lnTo>
                      <a:pt x="8" y="375"/>
                    </a:lnTo>
                    <a:lnTo>
                      <a:pt x="8" y="373"/>
                    </a:lnTo>
                    <a:lnTo>
                      <a:pt x="6" y="371"/>
                    </a:lnTo>
                    <a:lnTo>
                      <a:pt x="8" y="371"/>
                    </a:lnTo>
                    <a:lnTo>
                      <a:pt x="8" y="369"/>
                    </a:lnTo>
                    <a:lnTo>
                      <a:pt x="10" y="367"/>
                    </a:lnTo>
                    <a:lnTo>
                      <a:pt x="10" y="365"/>
                    </a:lnTo>
                    <a:lnTo>
                      <a:pt x="12" y="365"/>
                    </a:lnTo>
                    <a:lnTo>
                      <a:pt x="14" y="367"/>
                    </a:lnTo>
                    <a:lnTo>
                      <a:pt x="16" y="367"/>
                    </a:lnTo>
                    <a:lnTo>
                      <a:pt x="18" y="367"/>
                    </a:lnTo>
                    <a:lnTo>
                      <a:pt x="18" y="369"/>
                    </a:lnTo>
                    <a:lnTo>
                      <a:pt x="20" y="369"/>
                    </a:lnTo>
                    <a:lnTo>
                      <a:pt x="20" y="367"/>
                    </a:lnTo>
                    <a:lnTo>
                      <a:pt x="20" y="365"/>
                    </a:lnTo>
                    <a:lnTo>
                      <a:pt x="20" y="363"/>
                    </a:lnTo>
                    <a:lnTo>
                      <a:pt x="22" y="363"/>
                    </a:lnTo>
                    <a:lnTo>
                      <a:pt x="20" y="361"/>
                    </a:lnTo>
                    <a:lnTo>
                      <a:pt x="22" y="359"/>
                    </a:lnTo>
                    <a:lnTo>
                      <a:pt x="23" y="359"/>
                    </a:lnTo>
                    <a:lnTo>
                      <a:pt x="23" y="357"/>
                    </a:lnTo>
                    <a:lnTo>
                      <a:pt x="23" y="355"/>
                    </a:lnTo>
                    <a:lnTo>
                      <a:pt x="25" y="355"/>
                    </a:lnTo>
                    <a:lnTo>
                      <a:pt x="23" y="355"/>
                    </a:lnTo>
                    <a:lnTo>
                      <a:pt x="23" y="353"/>
                    </a:lnTo>
                    <a:lnTo>
                      <a:pt x="23" y="351"/>
                    </a:lnTo>
                    <a:lnTo>
                      <a:pt x="25" y="351"/>
                    </a:lnTo>
                    <a:lnTo>
                      <a:pt x="27" y="351"/>
                    </a:lnTo>
                    <a:lnTo>
                      <a:pt x="29" y="351"/>
                    </a:lnTo>
                    <a:lnTo>
                      <a:pt x="31" y="351"/>
                    </a:lnTo>
                    <a:lnTo>
                      <a:pt x="31" y="350"/>
                    </a:lnTo>
                    <a:lnTo>
                      <a:pt x="33" y="350"/>
                    </a:lnTo>
                    <a:lnTo>
                      <a:pt x="33" y="348"/>
                    </a:lnTo>
                    <a:lnTo>
                      <a:pt x="35" y="348"/>
                    </a:lnTo>
                    <a:lnTo>
                      <a:pt x="37" y="346"/>
                    </a:lnTo>
                    <a:lnTo>
                      <a:pt x="39" y="346"/>
                    </a:lnTo>
                    <a:lnTo>
                      <a:pt x="39" y="344"/>
                    </a:lnTo>
                    <a:lnTo>
                      <a:pt x="41" y="344"/>
                    </a:lnTo>
                    <a:lnTo>
                      <a:pt x="41" y="342"/>
                    </a:lnTo>
                    <a:lnTo>
                      <a:pt x="41" y="340"/>
                    </a:lnTo>
                    <a:lnTo>
                      <a:pt x="41" y="338"/>
                    </a:lnTo>
                    <a:lnTo>
                      <a:pt x="43" y="338"/>
                    </a:lnTo>
                    <a:lnTo>
                      <a:pt x="45" y="336"/>
                    </a:lnTo>
                    <a:lnTo>
                      <a:pt x="46" y="336"/>
                    </a:lnTo>
                    <a:lnTo>
                      <a:pt x="48" y="336"/>
                    </a:lnTo>
                    <a:lnTo>
                      <a:pt x="50" y="336"/>
                    </a:lnTo>
                    <a:lnTo>
                      <a:pt x="50" y="334"/>
                    </a:lnTo>
                    <a:lnTo>
                      <a:pt x="52" y="332"/>
                    </a:lnTo>
                    <a:lnTo>
                      <a:pt x="52" y="330"/>
                    </a:lnTo>
                    <a:lnTo>
                      <a:pt x="54" y="330"/>
                    </a:lnTo>
                    <a:lnTo>
                      <a:pt x="56" y="332"/>
                    </a:lnTo>
                    <a:lnTo>
                      <a:pt x="56" y="334"/>
                    </a:lnTo>
                    <a:lnTo>
                      <a:pt x="58" y="334"/>
                    </a:lnTo>
                    <a:lnTo>
                      <a:pt x="58" y="336"/>
                    </a:lnTo>
                    <a:lnTo>
                      <a:pt x="60" y="340"/>
                    </a:lnTo>
                    <a:lnTo>
                      <a:pt x="60" y="342"/>
                    </a:lnTo>
                    <a:lnTo>
                      <a:pt x="60" y="344"/>
                    </a:lnTo>
                    <a:lnTo>
                      <a:pt x="58" y="346"/>
                    </a:lnTo>
                    <a:lnTo>
                      <a:pt x="60" y="346"/>
                    </a:lnTo>
                    <a:lnTo>
                      <a:pt x="60" y="348"/>
                    </a:lnTo>
                    <a:lnTo>
                      <a:pt x="58" y="348"/>
                    </a:lnTo>
                    <a:lnTo>
                      <a:pt x="60" y="348"/>
                    </a:lnTo>
                    <a:lnTo>
                      <a:pt x="60" y="350"/>
                    </a:lnTo>
                    <a:lnTo>
                      <a:pt x="60" y="351"/>
                    </a:lnTo>
                    <a:lnTo>
                      <a:pt x="62" y="351"/>
                    </a:lnTo>
                    <a:lnTo>
                      <a:pt x="62" y="353"/>
                    </a:lnTo>
                    <a:lnTo>
                      <a:pt x="64" y="353"/>
                    </a:lnTo>
                    <a:lnTo>
                      <a:pt x="64" y="355"/>
                    </a:lnTo>
                    <a:lnTo>
                      <a:pt x="66" y="353"/>
                    </a:lnTo>
                    <a:lnTo>
                      <a:pt x="66" y="355"/>
                    </a:lnTo>
                    <a:lnTo>
                      <a:pt x="66" y="357"/>
                    </a:lnTo>
                    <a:lnTo>
                      <a:pt x="68" y="357"/>
                    </a:lnTo>
                    <a:lnTo>
                      <a:pt x="68" y="359"/>
                    </a:lnTo>
                    <a:lnTo>
                      <a:pt x="68" y="361"/>
                    </a:lnTo>
                    <a:lnTo>
                      <a:pt x="70" y="361"/>
                    </a:lnTo>
                    <a:lnTo>
                      <a:pt x="71" y="363"/>
                    </a:lnTo>
                    <a:lnTo>
                      <a:pt x="71" y="361"/>
                    </a:lnTo>
                    <a:lnTo>
                      <a:pt x="71" y="363"/>
                    </a:lnTo>
                    <a:lnTo>
                      <a:pt x="73" y="363"/>
                    </a:lnTo>
                    <a:lnTo>
                      <a:pt x="73" y="365"/>
                    </a:lnTo>
                    <a:lnTo>
                      <a:pt x="75" y="365"/>
                    </a:lnTo>
                    <a:lnTo>
                      <a:pt x="75" y="367"/>
                    </a:lnTo>
                    <a:lnTo>
                      <a:pt x="77" y="367"/>
                    </a:lnTo>
                    <a:lnTo>
                      <a:pt x="77" y="369"/>
                    </a:lnTo>
                    <a:lnTo>
                      <a:pt x="79" y="371"/>
                    </a:lnTo>
                    <a:lnTo>
                      <a:pt x="81" y="371"/>
                    </a:lnTo>
                    <a:lnTo>
                      <a:pt x="83" y="371"/>
                    </a:lnTo>
                    <a:lnTo>
                      <a:pt x="83" y="373"/>
                    </a:lnTo>
                    <a:lnTo>
                      <a:pt x="85" y="373"/>
                    </a:lnTo>
                    <a:lnTo>
                      <a:pt x="87" y="375"/>
                    </a:lnTo>
                    <a:lnTo>
                      <a:pt x="89" y="376"/>
                    </a:lnTo>
                    <a:lnTo>
                      <a:pt x="91" y="376"/>
                    </a:lnTo>
                    <a:lnTo>
                      <a:pt x="91" y="378"/>
                    </a:lnTo>
                    <a:lnTo>
                      <a:pt x="93" y="378"/>
                    </a:lnTo>
                    <a:lnTo>
                      <a:pt x="93" y="380"/>
                    </a:lnTo>
                    <a:lnTo>
                      <a:pt x="95" y="380"/>
                    </a:lnTo>
                    <a:lnTo>
                      <a:pt x="96" y="380"/>
                    </a:lnTo>
                    <a:lnTo>
                      <a:pt x="98" y="380"/>
                    </a:lnTo>
                    <a:lnTo>
                      <a:pt x="98" y="382"/>
                    </a:lnTo>
                    <a:lnTo>
                      <a:pt x="98" y="384"/>
                    </a:lnTo>
                    <a:lnTo>
                      <a:pt x="100" y="384"/>
                    </a:lnTo>
                    <a:lnTo>
                      <a:pt x="100" y="386"/>
                    </a:lnTo>
                    <a:lnTo>
                      <a:pt x="102" y="386"/>
                    </a:lnTo>
                    <a:lnTo>
                      <a:pt x="102" y="388"/>
                    </a:lnTo>
                    <a:lnTo>
                      <a:pt x="104" y="388"/>
                    </a:lnTo>
                    <a:lnTo>
                      <a:pt x="104" y="390"/>
                    </a:lnTo>
                    <a:lnTo>
                      <a:pt x="106" y="390"/>
                    </a:lnTo>
                    <a:lnTo>
                      <a:pt x="108" y="390"/>
                    </a:lnTo>
                    <a:lnTo>
                      <a:pt x="108" y="392"/>
                    </a:lnTo>
                    <a:lnTo>
                      <a:pt x="108" y="394"/>
                    </a:lnTo>
                    <a:lnTo>
                      <a:pt x="108" y="396"/>
                    </a:lnTo>
                    <a:lnTo>
                      <a:pt x="110" y="396"/>
                    </a:lnTo>
                    <a:lnTo>
                      <a:pt x="112" y="398"/>
                    </a:lnTo>
                    <a:lnTo>
                      <a:pt x="114" y="398"/>
                    </a:lnTo>
                    <a:lnTo>
                      <a:pt x="116" y="400"/>
                    </a:lnTo>
                    <a:lnTo>
                      <a:pt x="118" y="400"/>
                    </a:lnTo>
                    <a:lnTo>
                      <a:pt x="118" y="401"/>
                    </a:lnTo>
                    <a:lnTo>
                      <a:pt x="116" y="401"/>
                    </a:lnTo>
                    <a:lnTo>
                      <a:pt x="116" y="403"/>
                    </a:lnTo>
                    <a:lnTo>
                      <a:pt x="118" y="405"/>
                    </a:lnTo>
                    <a:lnTo>
                      <a:pt x="118" y="407"/>
                    </a:lnTo>
                    <a:lnTo>
                      <a:pt x="119" y="407"/>
                    </a:lnTo>
                    <a:lnTo>
                      <a:pt x="121" y="407"/>
                    </a:lnTo>
                    <a:lnTo>
                      <a:pt x="123" y="407"/>
                    </a:lnTo>
                    <a:lnTo>
                      <a:pt x="123" y="405"/>
                    </a:lnTo>
                    <a:lnTo>
                      <a:pt x="123" y="403"/>
                    </a:lnTo>
                    <a:lnTo>
                      <a:pt x="125" y="403"/>
                    </a:lnTo>
                    <a:lnTo>
                      <a:pt x="125" y="401"/>
                    </a:lnTo>
                    <a:lnTo>
                      <a:pt x="127" y="403"/>
                    </a:lnTo>
                    <a:lnTo>
                      <a:pt x="129" y="403"/>
                    </a:lnTo>
                    <a:lnTo>
                      <a:pt x="129" y="405"/>
                    </a:lnTo>
                    <a:lnTo>
                      <a:pt x="131" y="405"/>
                    </a:lnTo>
                    <a:lnTo>
                      <a:pt x="133" y="405"/>
                    </a:lnTo>
                    <a:lnTo>
                      <a:pt x="133" y="403"/>
                    </a:lnTo>
                    <a:lnTo>
                      <a:pt x="135" y="403"/>
                    </a:lnTo>
                    <a:lnTo>
                      <a:pt x="135" y="405"/>
                    </a:lnTo>
                    <a:lnTo>
                      <a:pt x="137" y="405"/>
                    </a:lnTo>
                    <a:lnTo>
                      <a:pt x="139" y="405"/>
                    </a:lnTo>
                    <a:lnTo>
                      <a:pt x="141" y="405"/>
                    </a:lnTo>
                    <a:lnTo>
                      <a:pt x="141" y="407"/>
                    </a:lnTo>
                    <a:lnTo>
                      <a:pt x="141" y="409"/>
                    </a:lnTo>
                    <a:lnTo>
                      <a:pt x="141" y="411"/>
                    </a:lnTo>
                    <a:lnTo>
                      <a:pt x="143" y="413"/>
                    </a:lnTo>
                    <a:lnTo>
                      <a:pt x="143" y="415"/>
                    </a:lnTo>
                    <a:lnTo>
                      <a:pt x="144" y="415"/>
                    </a:lnTo>
                    <a:lnTo>
                      <a:pt x="144" y="417"/>
                    </a:lnTo>
                    <a:lnTo>
                      <a:pt x="146" y="417"/>
                    </a:lnTo>
                    <a:lnTo>
                      <a:pt x="146" y="419"/>
                    </a:lnTo>
                    <a:lnTo>
                      <a:pt x="148" y="419"/>
                    </a:lnTo>
                    <a:lnTo>
                      <a:pt x="148" y="421"/>
                    </a:lnTo>
                    <a:lnTo>
                      <a:pt x="150" y="421"/>
                    </a:lnTo>
                    <a:lnTo>
                      <a:pt x="150" y="423"/>
                    </a:lnTo>
                    <a:lnTo>
                      <a:pt x="152" y="423"/>
                    </a:lnTo>
                    <a:lnTo>
                      <a:pt x="152" y="425"/>
                    </a:lnTo>
                    <a:lnTo>
                      <a:pt x="154" y="425"/>
                    </a:lnTo>
                    <a:lnTo>
                      <a:pt x="154" y="426"/>
                    </a:lnTo>
                    <a:lnTo>
                      <a:pt x="156" y="426"/>
                    </a:lnTo>
                    <a:lnTo>
                      <a:pt x="158" y="426"/>
                    </a:lnTo>
                    <a:lnTo>
                      <a:pt x="160" y="426"/>
                    </a:lnTo>
                    <a:lnTo>
                      <a:pt x="160" y="428"/>
                    </a:lnTo>
                    <a:lnTo>
                      <a:pt x="162" y="428"/>
                    </a:lnTo>
                    <a:lnTo>
                      <a:pt x="160" y="428"/>
                    </a:lnTo>
                    <a:lnTo>
                      <a:pt x="160" y="430"/>
                    </a:lnTo>
                    <a:lnTo>
                      <a:pt x="162" y="430"/>
                    </a:lnTo>
                    <a:lnTo>
                      <a:pt x="164" y="430"/>
                    </a:lnTo>
                    <a:lnTo>
                      <a:pt x="166" y="432"/>
                    </a:lnTo>
                    <a:lnTo>
                      <a:pt x="166" y="434"/>
                    </a:lnTo>
                    <a:lnTo>
                      <a:pt x="166" y="436"/>
                    </a:lnTo>
                    <a:lnTo>
                      <a:pt x="166" y="438"/>
                    </a:lnTo>
                    <a:lnTo>
                      <a:pt x="166" y="440"/>
                    </a:lnTo>
                    <a:lnTo>
                      <a:pt x="166" y="442"/>
                    </a:lnTo>
                    <a:lnTo>
                      <a:pt x="168" y="442"/>
                    </a:lnTo>
                    <a:lnTo>
                      <a:pt x="166" y="442"/>
                    </a:lnTo>
                    <a:lnTo>
                      <a:pt x="166" y="444"/>
                    </a:lnTo>
                    <a:lnTo>
                      <a:pt x="166" y="446"/>
                    </a:lnTo>
                    <a:lnTo>
                      <a:pt x="166" y="448"/>
                    </a:lnTo>
                    <a:lnTo>
                      <a:pt x="168" y="448"/>
                    </a:lnTo>
                    <a:lnTo>
                      <a:pt x="168" y="450"/>
                    </a:lnTo>
                    <a:lnTo>
                      <a:pt x="168" y="451"/>
                    </a:lnTo>
                    <a:lnTo>
                      <a:pt x="168" y="453"/>
                    </a:lnTo>
                    <a:lnTo>
                      <a:pt x="169" y="453"/>
                    </a:lnTo>
                    <a:lnTo>
                      <a:pt x="171" y="453"/>
                    </a:lnTo>
                    <a:lnTo>
                      <a:pt x="171" y="455"/>
                    </a:lnTo>
                    <a:lnTo>
                      <a:pt x="171" y="457"/>
                    </a:lnTo>
                    <a:lnTo>
                      <a:pt x="173" y="457"/>
                    </a:lnTo>
                    <a:lnTo>
                      <a:pt x="173" y="455"/>
                    </a:lnTo>
                    <a:lnTo>
                      <a:pt x="175" y="455"/>
                    </a:lnTo>
                    <a:lnTo>
                      <a:pt x="177" y="455"/>
                    </a:lnTo>
                    <a:lnTo>
                      <a:pt x="177" y="453"/>
                    </a:lnTo>
                    <a:lnTo>
                      <a:pt x="179" y="455"/>
                    </a:lnTo>
                    <a:lnTo>
                      <a:pt x="179" y="453"/>
                    </a:lnTo>
                    <a:lnTo>
                      <a:pt x="181" y="453"/>
                    </a:lnTo>
                    <a:lnTo>
                      <a:pt x="183" y="453"/>
                    </a:lnTo>
                    <a:lnTo>
                      <a:pt x="185" y="455"/>
                    </a:lnTo>
                    <a:lnTo>
                      <a:pt x="187" y="455"/>
                    </a:lnTo>
                    <a:lnTo>
                      <a:pt x="189" y="455"/>
                    </a:lnTo>
                    <a:lnTo>
                      <a:pt x="189" y="457"/>
                    </a:lnTo>
                    <a:lnTo>
                      <a:pt x="189" y="459"/>
                    </a:lnTo>
                    <a:lnTo>
                      <a:pt x="191" y="461"/>
                    </a:lnTo>
                    <a:lnTo>
                      <a:pt x="191" y="471"/>
                    </a:lnTo>
                    <a:lnTo>
                      <a:pt x="191" y="474"/>
                    </a:lnTo>
                    <a:lnTo>
                      <a:pt x="191" y="476"/>
                    </a:lnTo>
                    <a:lnTo>
                      <a:pt x="192" y="476"/>
                    </a:lnTo>
                    <a:lnTo>
                      <a:pt x="194" y="474"/>
                    </a:lnTo>
                    <a:lnTo>
                      <a:pt x="196" y="474"/>
                    </a:lnTo>
                    <a:lnTo>
                      <a:pt x="196" y="473"/>
                    </a:lnTo>
                    <a:lnTo>
                      <a:pt x="196" y="471"/>
                    </a:lnTo>
                    <a:lnTo>
                      <a:pt x="198" y="471"/>
                    </a:lnTo>
                    <a:lnTo>
                      <a:pt x="200" y="471"/>
                    </a:lnTo>
                    <a:lnTo>
                      <a:pt x="202" y="469"/>
                    </a:lnTo>
                    <a:lnTo>
                      <a:pt x="202" y="467"/>
                    </a:lnTo>
                    <a:lnTo>
                      <a:pt x="204" y="465"/>
                    </a:lnTo>
                    <a:lnTo>
                      <a:pt x="206" y="465"/>
                    </a:lnTo>
                    <a:lnTo>
                      <a:pt x="208" y="465"/>
                    </a:lnTo>
                    <a:lnTo>
                      <a:pt x="210" y="465"/>
                    </a:lnTo>
                    <a:lnTo>
                      <a:pt x="212" y="463"/>
                    </a:lnTo>
                    <a:lnTo>
                      <a:pt x="214" y="463"/>
                    </a:lnTo>
                    <a:lnTo>
                      <a:pt x="214" y="461"/>
                    </a:lnTo>
                    <a:lnTo>
                      <a:pt x="216" y="463"/>
                    </a:lnTo>
                    <a:lnTo>
                      <a:pt x="217" y="463"/>
                    </a:lnTo>
                    <a:lnTo>
                      <a:pt x="219" y="463"/>
                    </a:lnTo>
                    <a:lnTo>
                      <a:pt x="219" y="461"/>
                    </a:lnTo>
                    <a:lnTo>
                      <a:pt x="221" y="459"/>
                    </a:lnTo>
                    <a:lnTo>
                      <a:pt x="219" y="459"/>
                    </a:lnTo>
                    <a:lnTo>
                      <a:pt x="219" y="457"/>
                    </a:lnTo>
                    <a:lnTo>
                      <a:pt x="219" y="455"/>
                    </a:lnTo>
                    <a:lnTo>
                      <a:pt x="219" y="453"/>
                    </a:lnTo>
                    <a:lnTo>
                      <a:pt x="217" y="453"/>
                    </a:lnTo>
                    <a:lnTo>
                      <a:pt x="217" y="451"/>
                    </a:lnTo>
                    <a:lnTo>
                      <a:pt x="219" y="451"/>
                    </a:lnTo>
                    <a:lnTo>
                      <a:pt x="217" y="451"/>
                    </a:lnTo>
                    <a:lnTo>
                      <a:pt x="217" y="450"/>
                    </a:lnTo>
                    <a:lnTo>
                      <a:pt x="217" y="440"/>
                    </a:lnTo>
                    <a:lnTo>
                      <a:pt x="225" y="438"/>
                    </a:lnTo>
                    <a:lnTo>
                      <a:pt x="231" y="434"/>
                    </a:lnTo>
                    <a:lnTo>
                      <a:pt x="237" y="428"/>
                    </a:lnTo>
                    <a:lnTo>
                      <a:pt x="244" y="423"/>
                    </a:lnTo>
                    <a:lnTo>
                      <a:pt x="244" y="421"/>
                    </a:lnTo>
                    <a:lnTo>
                      <a:pt x="250" y="413"/>
                    </a:lnTo>
                    <a:lnTo>
                      <a:pt x="254" y="407"/>
                    </a:lnTo>
                    <a:lnTo>
                      <a:pt x="260" y="398"/>
                    </a:lnTo>
                    <a:lnTo>
                      <a:pt x="267" y="378"/>
                    </a:lnTo>
                    <a:lnTo>
                      <a:pt x="271" y="375"/>
                    </a:lnTo>
                    <a:lnTo>
                      <a:pt x="277" y="367"/>
                    </a:lnTo>
                    <a:lnTo>
                      <a:pt x="285" y="361"/>
                    </a:lnTo>
                    <a:lnTo>
                      <a:pt x="294" y="350"/>
                    </a:lnTo>
                    <a:lnTo>
                      <a:pt x="296" y="346"/>
                    </a:lnTo>
                    <a:lnTo>
                      <a:pt x="302" y="340"/>
                    </a:lnTo>
                    <a:lnTo>
                      <a:pt x="312" y="332"/>
                    </a:lnTo>
                    <a:lnTo>
                      <a:pt x="319" y="325"/>
                    </a:lnTo>
                    <a:lnTo>
                      <a:pt x="325" y="319"/>
                    </a:lnTo>
                    <a:lnTo>
                      <a:pt x="327" y="298"/>
                    </a:lnTo>
                    <a:lnTo>
                      <a:pt x="331" y="280"/>
                    </a:lnTo>
                    <a:lnTo>
                      <a:pt x="337" y="259"/>
                    </a:lnTo>
                    <a:lnTo>
                      <a:pt x="346" y="230"/>
                    </a:lnTo>
                    <a:lnTo>
                      <a:pt x="346" y="226"/>
                    </a:lnTo>
                    <a:lnTo>
                      <a:pt x="333" y="223"/>
                    </a:lnTo>
                    <a:lnTo>
                      <a:pt x="333" y="225"/>
                    </a:lnTo>
                    <a:lnTo>
                      <a:pt x="331" y="225"/>
                    </a:lnTo>
                    <a:lnTo>
                      <a:pt x="329" y="225"/>
                    </a:lnTo>
                    <a:lnTo>
                      <a:pt x="329" y="223"/>
                    </a:lnTo>
                    <a:lnTo>
                      <a:pt x="331" y="223"/>
                    </a:lnTo>
                    <a:lnTo>
                      <a:pt x="331" y="221"/>
                    </a:lnTo>
                    <a:lnTo>
                      <a:pt x="331" y="219"/>
                    </a:lnTo>
                    <a:lnTo>
                      <a:pt x="333" y="219"/>
                    </a:lnTo>
                    <a:lnTo>
                      <a:pt x="331" y="219"/>
                    </a:lnTo>
                    <a:lnTo>
                      <a:pt x="331" y="217"/>
                    </a:lnTo>
                    <a:lnTo>
                      <a:pt x="333" y="217"/>
                    </a:lnTo>
                    <a:lnTo>
                      <a:pt x="333" y="215"/>
                    </a:lnTo>
                    <a:lnTo>
                      <a:pt x="333" y="217"/>
                    </a:lnTo>
                    <a:lnTo>
                      <a:pt x="333" y="215"/>
                    </a:lnTo>
                    <a:lnTo>
                      <a:pt x="333" y="213"/>
                    </a:lnTo>
                    <a:lnTo>
                      <a:pt x="333" y="211"/>
                    </a:lnTo>
                    <a:lnTo>
                      <a:pt x="333" y="209"/>
                    </a:lnTo>
                    <a:lnTo>
                      <a:pt x="333" y="207"/>
                    </a:lnTo>
                    <a:lnTo>
                      <a:pt x="331" y="205"/>
                    </a:lnTo>
                    <a:lnTo>
                      <a:pt x="333" y="205"/>
                    </a:lnTo>
                    <a:lnTo>
                      <a:pt x="333" y="203"/>
                    </a:lnTo>
                    <a:lnTo>
                      <a:pt x="333" y="201"/>
                    </a:lnTo>
                    <a:lnTo>
                      <a:pt x="331" y="201"/>
                    </a:lnTo>
                    <a:lnTo>
                      <a:pt x="331" y="200"/>
                    </a:lnTo>
                    <a:lnTo>
                      <a:pt x="333" y="198"/>
                    </a:lnTo>
                    <a:lnTo>
                      <a:pt x="333" y="196"/>
                    </a:lnTo>
                    <a:lnTo>
                      <a:pt x="329" y="194"/>
                    </a:lnTo>
                    <a:lnTo>
                      <a:pt x="329" y="192"/>
                    </a:lnTo>
                    <a:lnTo>
                      <a:pt x="329" y="190"/>
                    </a:lnTo>
                    <a:lnTo>
                      <a:pt x="329" y="188"/>
                    </a:lnTo>
                    <a:lnTo>
                      <a:pt x="329" y="186"/>
                    </a:lnTo>
                    <a:lnTo>
                      <a:pt x="331" y="186"/>
                    </a:lnTo>
                    <a:lnTo>
                      <a:pt x="329" y="184"/>
                    </a:lnTo>
                    <a:lnTo>
                      <a:pt x="331" y="182"/>
                    </a:lnTo>
                    <a:lnTo>
                      <a:pt x="331" y="180"/>
                    </a:lnTo>
                    <a:lnTo>
                      <a:pt x="331" y="178"/>
                    </a:lnTo>
                    <a:lnTo>
                      <a:pt x="331" y="177"/>
                    </a:lnTo>
                    <a:lnTo>
                      <a:pt x="329" y="177"/>
                    </a:lnTo>
                    <a:lnTo>
                      <a:pt x="327" y="177"/>
                    </a:lnTo>
                    <a:lnTo>
                      <a:pt x="327" y="175"/>
                    </a:lnTo>
                    <a:lnTo>
                      <a:pt x="327" y="173"/>
                    </a:lnTo>
                    <a:lnTo>
                      <a:pt x="325" y="173"/>
                    </a:lnTo>
                    <a:lnTo>
                      <a:pt x="325" y="171"/>
                    </a:lnTo>
                    <a:lnTo>
                      <a:pt x="325" y="169"/>
                    </a:lnTo>
                    <a:lnTo>
                      <a:pt x="325" y="167"/>
                    </a:lnTo>
                    <a:lnTo>
                      <a:pt x="325" y="165"/>
                    </a:lnTo>
                    <a:lnTo>
                      <a:pt x="323" y="165"/>
                    </a:lnTo>
                    <a:lnTo>
                      <a:pt x="323" y="163"/>
                    </a:lnTo>
                    <a:lnTo>
                      <a:pt x="323" y="161"/>
                    </a:lnTo>
                    <a:lnTo>
                      <a:pt x="323" y="159"/>
                    </a:lnTo>
                    <a:lnTo>
                      <a:pt x="325" y="159"/>
                    </a:lnTo>
                    <a:lnTo>
                      <a:pt x="325" y="157"/>
                    </a:lnTo>
                    <a:lnTo>
                      <a:pt x="325" y="155"/>
                    </a:lnTo>
                    <a:lnTo>
                      <a:pt x="323" y="155"/>
                    </a:lnTo>
                    <a:lnTo>
                      <a:pt x="323" y="153"/>
                    </a:lnTo>
                    <a:lnTo>
                      <a:pt x="325" y="153"/>
                    </a:lnTo>
                    <a:lnTo>
                      <a:pt x="323" y="153"/>
                    </a:lnTo>
                    <a:lnTo>
                      <a:pt x="323" y="152"/>
                    </a:lnTo>
                    <a:lnTo>
                      <a:pt x="325" y="152"/>
                    </a:lnTo>
                    <a:lnTo>
                      <a:pt x="327" y="152"/>
                    </a:lnTo>
                    <a:lnTo>
                      <a:pt x="327" y="150"/>
                    </a:lnTo>
                    <a:lnTo>
                      <a:pt x="327" y="148"/>
                    </a:lnTo>
                    <a:lnTo>
                      <a:pt x="327" y="146"/>
                    </a:lnTo>
                    <a:lnTo>
                      <a:pt x="327" y="144"/>
                    </a:lnTo>
                    <a:lnTo>
                      <a:pt x="325" y="142"/>
                    </a:lnTo>
                    <a:lnTo>
                      <a:pt x="325" y="140"/>
                    </a:lnTo>
                    <a:lnTo>
                      <a:pt x="325" y="138"/>
                    </a:lnTo>
                    <a:lnTo>
                      <a:pt x="327" y="136"/>
                    </a:lnTo>
                    <a:lnTo>
                      <a:pt x="325" y="136"/>
                    </a:lnTo>
                    <a:lnTo>
                      <a:pt x="325" y="134"/>
                    </a:lnTo>
                    <a:lnTo>
                      <a:pt x="327" y="134"/>
                    </a:lnTo>
                    <a:lnTo>
                      <a:pt x="327" y="132"/>
                    </a:lnTo>
                    <a:lnTo>
                      <a:pt x="329" y="132"/>
                    </a:lnTo>
                    <a:lnTo>
                      <a:pt x="329" y="130"/>
                    </a:lnTo>
                    <a:lnTo>
                      <a:pt x="329" y="128"/>
                    </a:lnTo>
                    <a:lnTo>
                      <a:pt x="331" y="128"/>
                    </a:lnTo>
                    <a:lnTo>
                      <a:pt x="331" y="130"/>
                    </a:lnTo>
                    <a:lnTo>
                      <a:pt x="331" y="128"/>
                    </a:lnTo>
                    <a:lnTo>
                      <a:pt x="333" y="128"/>
                    </a:lnTo>
                    <a:lnTo>
                      <a:pt x="335" y="128"/>
                    </a:lnTo>
                    <a:lnTo>
                      <a:pt x="335" y="130"/>
                    </a:lnTo>
                    <a:lnTo>
                      <a:pt x="337" y="128"/>
                    </a:lnTo>
                    <a:lnTo>
                      <a:pt x="339" y="128"/>
                    </a:lnTo>
                    <a:lnTo>
                      <a:pt x="339" y="127"/>
                    </a:lnTo>
                    <a:lnTo>
                      <a:pt x="339" y="125"/>
                    </a:lnTo>
                    <a:lnTo>
                      <a:pt x="339" y="123"/>
                    </a:lnTo>
                    <a:lnTo>
                      <a:pt x="337" y="123"/>
                    </a:lnTo>
                    <a:lnTo>
                      <a:pt x="337" y="125"/>
                    </a:lnTo>
                    <a:lnTo>
                      <a:pt x="335" y="125"/>
                    </a:lnTo>
                    <a:lnTo>
                      <a:pt x="335" y="123"/>
                    </a:lnTo>
                    <a:lnTo>
                      <a:pt x="333" y="123"/>
                    </a:lnTo>
                    <a:lnTo>
                      <a:pt x="331" y="125"/>
                    </a:lnTo>
                    <a:lnTo>
                      <a:pt x="329" y="123"/>
                    </a:lnTo>
                    <a:lnTo>
                      <a:pt x="327" y="121"/>
                    </a:lnTo>
                    <a:lnTo>
                      <a:pt x="329" y="121"/>
                    </a:lnTo>
                    <a:lnTo>
                      <a:pt x="327" y="119"/>
                    </a:lnTo>
                    <a:lnTo>
                      <a:pt x="325" y="119"/>
                    </a:lnTo>
                    <a:lnTo>
                      <a:pt x="325" y="117"/>
                    </a:lnTo>
                    <a:lnTo>
                      <a:pt x="327" y="115"/>
                    </a:lnTo>
                    <a:lnTo>
                      <a:pt x="325" y="115"/>
                    </a:lnTo>
                    <a:lnTo>
                      <a:pt x="325" y="113"/>
                    </a:lnTo>
                    <a:lnTo>
                      <a:pt x="323" y="113"/>
                    </a:lnTo>
                    <a:lnTo>
                      <a:pt x="323" y="111"/>
                    </a:lnTo>
                    <a:lnTo>
                      <a:pt x="321" y="111"/>
                    </a:lnTo>
                    <a:lnTo>
                      <a:pt x="321" y="109"/>
                    </a:lnTo>
                    <a:lnTo>
                      <a:pt x="321" y="107"/>
                    </a:lnTo>
                    <a:lnTo>
                      <a:pt x="319" y="107"/>
                    </a:lnTo>
                    <a:lnTo>
                      <a:pt x="319" y="109"/>
                    </a:lnTo>
                    <a:lnTo>
                      <a:pt x="317" y="107"/>
                    </a:lnTo>
                    <a:lnTo>
                      <a:pt x="317" y="109"/>
                    </a:lnTo>
                    <a:lnTo>
                      <a:pt x="315" y="109"/>
                    </a:lnTo>
                    <a:lnTo>
                      <a:pt x="315" y="107"/>
                    </a:lnTo>
                    <a:lnTo>
                      <a:pt x="314" y="105"/>
                    </a:lnTo>
                    <a:lnTo>
                      <a:pt x="314" y="103"/>
                    </a:lnTo>
                    <a:lnTo>
                      <a:pt x="312" y="103"/>
                    </a:lnTo>
                    <a:lnTo>
                      <a:pt x="314" y="102"/>
                    </a:lnTo>
                    <a:lnTo>
                      <a:pt x="314" y="100"/>
                    </a:lnTo>
                    <a:lnTo>
                      <a:pt x="314" y="98"/>
                    </a:lnTo>
                    <a:lnTo>
                      <a:pt x="315" y="98"/>
                    </a:lnTo>
                    <a:lnTo>
                      <a:pt x="315" y="96"/>
                    </a:lnTo>
                    <a:lnTo>
                      <a:pt x="315" y="94"/>
                    </a:lnTo>
                    <a:lnTo>
                      <a:pt x="315" y="92"/>
                    </a:lnTo>
                    <a:lnTo>
                      <a:pt x="317" y="92"/>
                    </a:lnTo>
                    <a:lnTo>
                      <a:pt x="317" y="90"/>
                    </a:lnTo>
                    <a:lnTo>
                      <a:pt x="315" y="90"/>
                    </a:lnTo>
                    <a:lnTo>
                      <a:pt x="315" y="88"/>
                    </a:lnTo>
                    <a:lnTo>
                      <a:pt x="314" y="88"/>
                    </a:lnTo>
                    <a:lnTo>
                      <a:pt x="314" y="86"/>
                    </a:lnTo>
                    <a:lnTo>
                      <a:pt x="315" y="86"/>
                    </a:lnTo>
                    <a:lnTo>
                      <a:pt x="317" y="86"/>
                    </a:lnTo>
                    <a:lnTo>
                      <a:pt x="319" y="86"/>
                    </a:lnTo>
                    <a:lnTo>
                      <a:pt x="319" y="84"/>
                    </a:lnTo>
                    <a:lnTo>
                      <a:pt x="321" y="84"/>
                    </a:lnTo>
                    <a:lnTo>
                      <a:pt x="323" y="84"/>
                    </a:lnTo>
                    <a:lnTo>
                      <a:pt x="323" y="82"/>
                    </a:lnTo>
                    <a:lnTo>
                      <a:pt x="323" y="80"/>
                    </a:lnTo>
                    <a:lnTo>
                      <a:pt x="325" y="80"/>
                    </a:lnTo>
                    <a:lnTo>
                      <a:pt x="325" y="82"/>
                    </a:lnTo>
                    <a:lnTo>
                      <a:pt x="327" y="82"/>
                    </a:lnTo>
                    <a:lnTo>
                      <a:pt x="327" y="80"/>
                    </a:lnTo>
                    <a:lnTo>
                      <a:pt x="327" y="78"/>
                    </a:lnTo>
                    <a:lnTo>
                      <a:pt x="329" y="77"/>
                    </a:lnTo>
                    <a:lnTo>
                      <a:pt x="329" y="78"/>
                    </a:lnTo>
                    <a:lnTo>
                      <a:pt x="331" y="78"/>
                    </a:lnTo>
                    <a:lnTo>
                      <a:pt x="333" y="78"/>
                    </a:lnTo>
                    <a:lnTo>
                      <a:pt x="333" y="77"/>
                    </a:lnTo>
                    <a:lnTo>
                      <a:pt x="335" y="77"/>
                    </a:lnTo>
                    <a:lnTo>
                      <a:pt x="335" y="75"/>
                    </a:lnTo>
                    <a:lnTo>
                      <a:pt x="335" y="73"/>
                    </a:lnTo>
                    <a:lnTo>
                      <a:pt x="337" y="73"/>
                    </a:lnTo>
                    <a:lnTo>
                      <a:pt x="339" y="73"/>
                    </a:lnTo>
                    <a:lnTo>
                      <a:pt x="339" y="71"/>
                    </a:lnTo>
                    <a:lnTo>
                      <a:pt x="340" y="71"/>
                    </a:lnTo>
                    <a:lnTo>
                      <a:pt x="340" y="73"/>
                    </a:lnTo>
                    <a:lnTo>
                      <a:pt x="342" y="73"/>
                    </a:lnTo>
                    <a:lnTo>
                      <a:pt x="342" y="75"/>
                    </a:lnTo>
                    <a:lnTo>
                      <a:pt x="342" y="73"/>
                    </a:lnTo>
                    <a:lnTo>
                      <a:pt x="344" y="73"/>
                    </a:lnTo>
                    <a:lnTo>
                      <a:pt x="346" y="73"/>
                    </a:lnTo>
                    <a:lnTo>
                      <a:pt x="348" y="73"/>
                    </a:lnTo>
                    <a:lnTo>
                      <a:pt x="348" y="71"/>
                    </a:lnTo>
                    <a:lnTo>
                      <a:pt x="348" y="69"/>
                    </a:lnTo>
                    <a:lnTo>
                      <a:pt x="350" y="69"/>
                    </a:lnTo>
                    <a:lnTo>
                      <a:pt x="350" y="67"/>
                    </a:lnTo>
                    <a:lnTo>
                      <a:pt x="350" y="65"/>
                    </a:lnTo>
                    <a:lnTo>
                      <a:pt x="350" y="63"/>
                    </a:lnTo>
                    <a:lnTo>
                      <a:pt x="350" y="61"/>
                    </a:lnTo>
                    <a:lnTo>
                      <a:pt x="350" y="59"/>
                    </a:lnTo>
                    <a:lnTo>
                      <a:pt x="350" y="57"/>
                    </a:lnTo>
                    <a:lnTo>
                      <a:pt x="352" y="57"/>
                    </a:lnTo>
                    <a:lnTo>
                      <a:pt x="352" y="55"/>
                    </a:lnTo>
                    <a:lnTo>
                      <a:pt x="352" y="53"/>
                    </a:lnTo>
                    <a:lnTo>
                      <a:pt x="354" y="53"/>
                    </a:lnTo>
                    <a:lnTo>
                      <a:pt x="356" y="52"/>
                    </a:lnTo>
                    <a:lnTo>
                      <a:pt x="356" y="53"/>
                    </a:lnTo>
                    <a:lnTo>
                      <a:pt x="358" y="53"/>
                    </a:lnTo>
                    <a:lnTo>
                      <a:pt x="358" y="55"/>
                    </a:lnTo>
                    <a:lnTo>
                      <a:pt x="360" y="55"/>
                    </a:lnTo>
                    <a:lnTo>
                      <a:pt x="360" y="53"/>
                    </a:lnTo>
                    <a:lnTo>
                      <a:pt x="362" y="53"/>
                    </a:lnTo>
                    <a:lnTo>
                      <a:pt x="363" y="53"/>
                    </a:lnTo>
                    <a:lnTo>
                      <a:pt x="365" y="53"/>
                    </a:lnTo>
                    <a:lnTo>
                      <a:pt x="365" y="55"/>
                    </a:lnTo>
                    <a:lnTo>
                      <a:pt x="367" y="55"/>
                    </a:lnTo>
                    <a:lnTo>
                      <a:pt x="369" y="55"/>
                    </a:lnTo>
                    <a:lnTo>
                      <a:pt x="369" y="57"/>
                    </a:lnTo>
                    <a:lnTo>
                      <a:pt x="369" y="59"/>
                    </a:lnTo>
                    <a:lnTo>
                      <a:pt x="371" y="59"/>
                    </a:lnTo>
                    <a:lnTo>
                      <a:pt x="373" y="59"/>
                    </a:lnTo>
                    <a:lnTo>
                      <a:pt x="375" y="59"/>
                    </a:lnTo>
                    <a:lnTo>
                      <a:pt x="375" y="57"/>
                    </a:lnTo>
                    <a:lnTo>
                      <a:pt x="375" y="55"/>
                    </a:lnTo>
                    <a:lnTo>
                      <a:pt x="377" y="55"/>
                    </a:lnTo>
                    <a:lnTo>
                      <a:pt x="379" y="55"/>
                    </a:lnTo>
                    <a:lnTo>
                      <a:pt x="379" y="57"/>
                    </a:lnTo>
                    <a:lnTo>
                      <a:pt x="381" y="57"/>
                    </a:lnTo>
                    <a:lnTo>
                      <a:pt x="383" y="57"/>
                    </a:lnTo>
                    <a:lnTo>
                      <a:pt x="385" y="55"/>
                    </a:lnTo>
                    <a:lnTo>
                      <a:pt x="387" y="55"/>
                    </a:lnTo>
                    <a:lnTo>
                      <a:pt x="387" y="57"/>
                    </a:lnTo>
                    <a:lnTo>
                      <a:pt x="388" y="57"/>
                    </a:lnTo>
                    <a:lnTo>
                      <a:pt x="388" y="59"/>
                    </a:lnTo>
                    <a:lnTo>
                      <a:pt x="388" y="57"/>
                    </a:lnTo>
                    <a:lnTo>
                      <a:pt x="390" y="57"/>
                    </a:lnTo>
                    <a:lnTo>
                      <a:pt x="392" y="55"/>
                    </a:lnTo>
                    <a:lnTo>
                      <a:pt x="392" y="53"/>
                    </a:lnTo>
                    <a:lnTo>
                      <a:pt x="394" y="53"/>
                    </a:lnTo>
                    <a:lnTo>
                      <a:pt x="394" y="52"/>
                    </a:lnTo>
                    <a:lnTo>
                      <a:pt x="396" y="52"/>
                    </a:lnTo>
                    <a:lnTo>
                      <a:pt x="396" y="50"/>
                    </a:lnTo>
                    <a:lnTo>
                      <a:pt x="396" y="48"/>
                    </a:lnTo>
                    <a:lnTo>
                      <a:pt x="394" y="48"/>
                    </a:lnTo>
                    <a:lnTo>
                      <a:pt x="394" y="46"/>
                    </a:lnTo>
                    <a:lnTo>
                      <a:pt x="396" y="46"/>
                    </a:lnTo>
                    <a:lnTo>
                      <a:pt x="396" y="44"/>
                    </a:lnTo>
                    <a:lnTo>
                      <a:pt x="396" y="42"/>
                    </a:lnTo>
                    <a:lnTo>
                      <a:pt x="398" y="40"/>
                    </a:lnTo>
                    <a:lnTo>
                      <a:pt x="398" y="38"/>
                    </a:lnTo>
                    <a:lnTo>
                      <a:pt x="398" y="36"/>
                    </a:lnTo>
                    <a:lnTo>
                      <a:pt x="400" y="34"/>
                    </a:lnTo>
                    <a:lnTo>
                      <a:pt x="400" y="36"/>
                    </a:lnTo>
                    <a:lnTo>
                      <a:pt x="402" y="36"/>
                    </a:lnTo>
                    <a:lnTo>
                      <a:pt x="402" y="38"/>
                    </a:lnTo>
                    <a:lnTo>
                      <a:pt x="402" y="40"/>
                    </a:lnTo>
                    <a:lnTo>
                      <a:pt x="402" y="42"/>
                    </a:lnTo>
                    <a:lnTo>
                      <a:pt x="404" y="42"/>
                    </a:lnTo>
                    <a:lnTo>
                      <a:pt x="406" y="42"/>
                    </a:lnTo>
                    <a:lnTo>
                      <a:pt x="406" y="44"/>
                    </a:lnTo>
                    <a:lnTo>
                      <a:pt x="408" y="44"/>
                    </a:lnTo>
                    <a:lnTo>
                      <a:pt x="408" y="46"/>
                    </a:lnTo>
                    <a:lnTo>
                      <a:pt x="410" y="46"/>
                    </a:lnTo>
                    <a:lnTo>
                      <a:pt x="410" y="48"/>
                    </a:lnTo>
                    <a:lnTo>
                      <a:pt x="412" y="48"/>
                    </a:lnTo>
                    <a:lnTo>
                      <a:pt x="412" y="46"/>
                    </a:lnTo>
                    <a:lnTo>
                      <a:pt x="413" y="46"/>
                    </a:lnTo>
                    <a:lnTo>
                      <a:pt x="413" y="44"/>
                    </a:lnTo>
                    <a:lnTo>
                      <a:pt x="413" y="46"/>
                    </a:lnTo>
                    <a:lnTo>
                      <a:pt x="415" y="46"/>
                    </a:lnTo>
                    <a:lnTo>
                      <a:pt x="415" y="44"/>
                    </a:lnTo>
                    <a:lnTo>
                      <a:pt x="417" y="46"/>
                    </a:lnTo>
                    <a:lnTo>
                      <a:pt x="417" y="44"/>
                    </a:lnTo>
                    <a:lnTo>
                      <a:pt x="419" y="44"/>
                    </a:lnTo>
                    <a:lnTo>
                      <a:pt x="419" y="46"/>
                    </a:lnTo>
                    <a:lnTo>
                      <a:pt x="421" y="46"/>
                    </a:lnTo>
                    <a:lnTo>
                      <a:pt x="423" y="48"/>
                    </a:lnTo>
                    <a:lnTo>
                      <a:pt x="423" y="50"/>
                    </a:lnTo>
                    <a:lnTo>
                      <a:pt x="425" y="50"/>
                    </a:lnTo>
                    <a:lnTo>
                      <a:pt x="425" y="48"/>
                    </a:lnTo>
                    <a:lnTo>
                      <a:pt x="427" y="48"/>
                    </a:lnTo>
                    <a:lnTo>
                      <a:pt x="429" y="48"/>
                    </a:lnTo>
                    <a:lnTo>
                      <a:pt x="431" y="48"/>
                    </a:lnTo>
                    <a:lnTo>
                      <a:pt x="431" y="46"/>
                    </a:lnTo>
                    <a:lnTo>
                      <a:pt x="433" y="44"/>
                    </a:lnTo>
                    <a:lnTo>
                      <a:pt x="433" y="42"/>
                    </a:lnTo>
                    <a:lnTo>
                      <a:pt x="435" y="42"/>
                    </a:lnTo>
                    <a:lnTo>
                      <a:pt x="435" y="40"/>
                    </a:lnTo>
                    <a:lnTo>
                      <a:pt x="435" y="42"/>
                    </a:lnTo>
                    <a:lnTo>
                      <a:pt x="436" y="40"/>
                    </a:lnTo>
                    <a:lnTo>
                      <a:pt x="438" y="40"/>
                    </a:lnTo>
                    <a:lnTo>
                      <a:pt x="440" y="40"/>
                    </a:lnTo>
                    <a:lnTo>
                      <a:pt x="440" y="42"/>
                    </a:lnTo>
                    <a:lnTo>
                      <a:pt x="440" y="44"/>
                    </a:lnTo>
                    <a:lnTo>
                      <a:pt x="438" y="44"/>
                    </a:lnTo>
                    <a:lnTo>
                      <a:pt x="438" y="46"/>
                    </a:lnTo>
                    <a:lnTo>
                      <a:pt x="438" y="48"/>
                    </a:lnTo>
                    <a:lnTo>
                      <a:pt x="440" y="48"/>
                    </a:lnTo>
                    <a:lnTo>
                      <a:pt x="440" y="50"/>
                    </a:lnTo>
                    <a:lnTo>
                      <a:pt x="440" y="52"/>
                    </a:lnTo>
                    <a:lnTo>
                      <a:pt x="442" y="52"/>
                    </a:lnTo>
                    <a:lnTo>
                      <a:pt x="440" y="52"/>
                    </a:lnTo>
                    <a:lnTo>
                      <a:pt x="442" y="52"/>
                    </a:lnTo>
                    <a:lnTo>
                      <a:pt x="442" y="53"/>
                    </a:lnTo>
                    <a:lnTo>
                      <a:pt x="444" y="53"/>
                    </a:lnTo>
                    <a:lnTo>
                      <a:pt x="444" y="55"/>
                    </a:lnTo>
                    <a:lnTo>
                      <a:pt x="446" y="55"/>
                    </a:lnTo>
                    <a:lnTo>
                      <a:pt x="446" y="57"/>
                    </a:lnTo>
                    <a:lnTo>
                      <a:pt x="448" y="57"/>
                    </a:lnTo>
                    <a:lnTo>
                      <a:pt x="450" y="57"/>
                    </a:lnTo>
                    <a:lnTo>
                      <a:pt x="450" y="55"/>
                    </a:lnTo>
                    <a:lnTo>
                      <a:pt x="452" y="55"/>
                    </a:lnTo>
                    <a:lnTo>
                      <a:pt x="452" y="57"/>
                    </a:lnTo>
                    <a:lnTo>
                      <a:pt x="454" y="55"/>
                    </a:lnTo>
                    <a:lnTo>
                      <a:pt x="454" y="57"/>
                    </a:lnTo>
                    <a:lnTo>
                      <a:pt x="456" y="57"/>
                    </a:lnTo>
                    <a:lnTo>
                      <a:pt x="456" y="59"/>
                    </a:lnTo>
                    <a:lnTo>
                      <a:pt x="458" y="59"/>
                    </a:lnTo>
                    <a:lnTo>
                      <a:pt x="458" y="57"/>
                    </a:lnTo>
                    <a:lnTo>
                      <a:pt x="460" y="57"/>
                    </a:lnTo>
                    <a:lnTo>
                      <a:pt x="461" y="57"/>
                    </a:lnTo>
                    <a:lnTo>
                      <a:pt x="461" y="59"/>
                    </a:lnTo>
                    <a:lnTo>
                      <a:pt x="463" y="57"/>
                    </a:lnTo>
                    <a:lnTo>
                      <a:pt x="465" y="57"/>
                    </a:lnTo>
                    <a:lnTo>
                      <a:pt x="465" y="55"/>
                    </a:lnTo>
                    <a:lnTo>
                      <a:pt x="465" y="53"/>
                    </a:lnTo>
                    <a:lnTo>
                      <a:pt x="467" y="53"/>
                    </a:lnTo>
                    <a:lnTo>
                      <a:pt x="469" y="53"/>
                    </a:lnTo>
                    <a:lnTo>
                      <a:pt x="471" y="53"/>
                    </a:lnTo>
                    <a:lnTo>
                      <a:pt x="471" y="55"/>
                    </a:lnTo>
                    <a:lnTo>
                      <a:pt x="473" y="55"/>
                    </a:lnTo>
                    <a:lnTo>
                      <a:pt x="473" y="57"/>
                    </a:lnTo>
                    <a:lnTo>
                      <a:pt x="475" y="57"/>
                    </a:lnTo>
                    <a:lnTo>
                      <a:pt x="477" y="57"/>
                    </a:lnTo>
                    <a:lnTo>
                      <a:pt x="479" y="59"/>
                    </a:lnTo>
                    <a:lnTo>
                      <a:pt x="477" y="59"/>
                    </a:lnTo>
                    <a:lnTo>
                      <a:pt x="479" y="59"/>
                    </a:lnTo>
                    <a:lnTo>
                      <a:pt x="479" y="61"/>
                    </a:lnTo>
                    <a:lnTo>
                      <a:pt x="481" y="63"/>
                    </a:lnTo>
                    <a:lnTo>
                      <a:pt x="481" y="61"/>
                    </a:lnTo>
                    <a:lnTo>
                      <a:pt x="483" y="61"/>
                    </a:lnTo>
                    <a:lnTo>
                      <a:pt x="485" y="59"/>
                    </a:lnTo>
                    <a:lnTo>
                      <a:pt x="483" y="59"/>
                    </a:lnTo>
                    <a:lnTo>
                      <a:pt x="483" y="57"/>
                    </a:lnTo>
                    <a:lnTo>
                      <a:pt x="485" y="57"/>
                    </a:lnTo>
                    <a:lnTo>
                      <a:pt x="485" y="55"/>
                    </a:lnTo>
                    <a:lnTo>
                      <a:pt x="486" y="55"/>
                    </a:lnTo>
                    <a:lnTo>
                      <a:pt x="486" y="53"/>
                    </a:lnTo>
                    <a:lnTo>
                      <a:pt x="486" y="52"/>
                    </a:lnTo>
                    <a:lnTo>
                      <a:pt x="486" y="50"/>
                    </a:lnTo>
                    <a:lnTo>
                      <a:pt x="488" y="48"/>
                    </a:lnTo>
                    <a:lnTo>
                      <a:pt x="488" y="50"/>
                    </a:lnTo>
                    <a:lnTo>
                      <a:pt x="490" y="50"/>
                    </a:lnTo>
                    <a:lnTo>
                      <a:pt x="492" y="48"/>
                    </a:lnTo>
                    <a:lnTo>
                      <a:pt x="492" y="50"/>
                    </a:lnTo>
                    <a:lnTo>
                      <a:pt x="494" y="50"/>
                    </a:lnTo>
                    <a:lnTo>
                      <a:pt x="494" y="48"/>
                    </a:lnTo>
                    <a:lnTo>
                      <a:pt x="494" y="50"/>
                    </a:lnTo>
                    <a:lnTo>
                      <a:pt x="496" y="50"/>
                    </a:lnTo>
                    <a:lnTo>
                      <a:pt x="498" y="50"/>
                    </a:lnTo>
                    <a:lnTo>
                      <a:pt x="500" y="48"/>
                    </a:lnTo>
                    <a:lnTo>
                      <a:pt x="498" y="48"/>
                    </a:lnTo>
                    <a:lnTo>
                      <a:pt x="498" y="46"/>
                    </a:lnTo>
                    <a:lnTo>
                      <a:pt x="500" y="48"/>
                    </a:lnTo>
                    <a:lnTo>
                      <a:pt x="500" y="46"/>
                    </a:lnTo>
                    <a:lnTo>
                      <a:pt x="502" y="46"/>
                    </a:lnTo>
                    <a:lnTo>
                      <a:pt x="502" y="48"/>
                    </a:lnTo>
                    <a:lnTo>
                      <a:pt x="504" y="46"/>
                    </a:lnTo>
                    <a:lnTo>
                      <a:pt x="506" y="46"/>
                    </a:lnTo>
                    <a:lnTo>
                      <a:pt x="508" y="46"/>
                    </a:lnTo>
                    <a:lnTo>
                      <a:pt x="508" y="44"/>
                    </a:lnTo>
                    <a:lnTo>
                      <a:pt x="508" y="42"/>
                    </a:lnTo>
                    <a:lnTo>
                      <a:pt x="508" y="40"/>
                    </a:lnTo>
                    <a:lnTo>
                      <a:pt x="508" y="38"/>
                    </a:lnTo>
                    <a:lnTo>
                      <a:pt x="508" y="36"/>
                    </a:lnTo>
                    <a:lnTo>
                      <a:pt x="508" y="34"/>
                    </a:lnTo>
                    <a:lnTo>
                      <a:pt x="509" y="32"/>
                    </a:lnTo>
                    <a:lnTo>
                      <a:pt x="509" y="30"/>
                    </a:lnTo>
                    <a:lnTo>
                      <a:pt x="509" y="28"/>
                    </a:lnTo>
                    <a:lnTo>
                      <a:pt x="509" y="27"/>
                    </a:lnTo>
                    <a:lnTo>
                      <a:pt x="511" y="27"/>
                    </a:lnTo>
                    <a:lnTo>
                      <a:pt x="511" y="25"/>
                    </a:lnTo>
                    <a:lnTo>
                      <a:pt x="513" y="25"/>
                    </a:lnTo>
                    <a:lnTo>
                      <a:pt x="513" y="23"/>
                    </a:lnTo>
                    <a:lnTo>
                      <a:pt x="511" y="23"/>
                    </a:lnTo>
                    <a:lnTo>
                      <a:pt x="509" y="21"/>
                    </a:lnTo>
                    <a:lnTo>
                      <a:pt x="509" y="19"/>
                    </a:lnTo>
                    <a:lnTo>
                      <a:pt x="511" y="19"/>
                    </a:lnTo>
                    <a:lnTo>
                      <a:pt x="509" y="17"/>
                    </a:lnTo>
                    <a:lnTo>
                      <a:pt x="511" y="17"/>
                    </a:lnTo>
                    <a:lnTo>
                      <a:pt x="511" y="15"/>
                    </a:lnTo>
                    <a:lnTo>
                      <a:pt x="513" y="15"/>
                    </a:lnTo>
                    <a:lnTo>
                      <a:pt x="515" y="15"/>
                    </a:lnTo>
                    <a:lnTo>
                      <a:pt x="515" y="13"/>
                    </a:lnTo>
                    <a:lnTo>
                      <a:pt x="517" y="13"/>
                    </a:lnTo>
                    <a:lnTo>
                      <a:pt x="517" y="15"/>
                    </a:lnTo>
                    <a:lnTo>
                      <a:pt x="519" y="15"/>
                    </a:lnTo>
                    <a:lnTo>
                      <a:pt x="521" y="13"/>
                    </a:lnTo>
                    <a:lnTo>
                      <a:pt x="523" y="13"/>
                    </a:lnTo>
                    <a:lnTo>
                      <a:pt x="525" y="13"/>
                    </a:lnTo>
                    <a:lnTo>
                      <a:pt x="525" y="11"/>
                    </a:lnTo>
                    <a:lnTo>
                      <a:pt x="527" y="11"/>
                    </a:lnTo>
                    <a:lnTo>
                      <a:pt x="527" y="9"/>
                    </a:lnTo>
                    <a:lnTo>
                      <a:pt x="529" y="9"/>
                    </a:lnTo>
                    <a:lnTo>
                      <a:pt x="529" y="11"/>
                    </a:lnTo>
                    <a:lnTo>
                      <a:pt x="531" y="9"/>
                    </a:lnTo>
                    <a:lnTo>
                      <a:pt x="531" y="7"/>
                    </a:lnTo>
                    <a:lnTo>
                      <a:pt x="533" y="5"/>
                    </a:lnTo>
                    <a:lnTo>
                      <a:pt x="531" y="5"/>
                    </a:lnTo>
                    <a:lnTo>
                      <a:pt x="531" y="3"/>
                    </a:lnTo>
                    <a:lnTo>
                      <a:pt x="533" y="3"/>
                    </a:lnTo>
                    <a:lnTo>
                      <a:pt x="533" y="2"/>
                    </a:lnTo>
                    <a:lnTo>
                      <a:pt x="534" y="2"/>
                    </a:lnTo>
                    <a:lnTo>
                      <a:pt x="536" y="2"/>
                    </a:lnTo>
                    <a:lnTo>
                      <a:pt x="536" y="0"/>
                    </a:lnTo>
                    <a:lnTo>
                      <a:pt x="538" y="0"/>
                    </a:lnTo>
                    <a:lnTo>
                      <a:pt x="538" y="2"/>
                    </a:lnTo>
                    <a:lnTo>
                      <a:pt x="540" y="2"/>
                    </a:lnTo>
                    <a:lnTo>
                      <a:pt x="540" y="0"/>
                    </a:lnTo>
                    <a:lnTo>
                      <a:pt x="542" y="0"/>
                    </a:lnTo>
                    <a:lnTo>
                      <a:pt x="544" y="0"/>
                    </a:lnTo>
                    <a:lnTo>
                      <a:pt x="544" y="2"/>
                    </a:lnTo>
                    <a:lnTo>
                      <a:pt x="544" y="3"/>
                    </a:lnTo>
                    <a:lnTo>
                      <a:pt x="546" y="3"/>
                    </a:lnTo>
                    <a:lnTo>
                      <a:pt x="546" y="5"/>
                    </a:lnTo>
                    <a:lnTo>
                      <a:pt x="548" y="5"/>
                    </a:lnTo>
                    <a:lnTo>
                      <a:pt x="548" y="7"/>
                    </a:lnTo>
                    <a:lnTo>
                      <a:pt x="546" y="7"/>
                    </a:lnTo>
                    <a:lnTo>
                      <a:pt x="546" y="9"/>
                    </a:lnTo>
                    <a:lnTo>
                      <a:pt x="544" y="7"/>
                    </a:lnTo>
                    <a:lnTo>
                      <a:pt x="544" y="9"/>
                    </a:lnTo>
                    <a:lnTo>
                      <a:pt x="544" y="11"/>
                    </a:lnTo>
                    <a:lnTo>
                      <a:pt x="542" y="11"/>
                    </a:lnTo>
                    <a:lnTo>
                      <a:pt x="542" y="13"/>
                    </a:lnTo>
                    <a:lnTo>
                      <a:pt x="540" y="13"/>
                    </a:lnTo>
                    <a:lnTo>
                      <a:pt x="540" y="15"/>
                    </a:lnTo>
                    <a:lnTo>
                      <a:pt x="538" y="15"/>
                    </a:lnTo>
                    <a:lnTo>
                      <a:pt x="538" y="17"/>
                    </a:lnTo>
                    <a:lnTo>
                      <a:pt x="536" y="17"/>
                    </a:lnTo>
                    <a:lnTo>
                      <a:pt x="536" y="19"/>
                    </a:lnTo>
                    <a:lnTo>
                      <a:pt x="534" y="19"/>
                    </a:lnTo>
                    <a:lnTo>
                      <a:pt x="534" y="21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89">
                <a:extLst>
                  <a:ext uri="{FF2B5EF4-FFF2-40B4-BE49-F238E27FC236}">
                    <a16:creationId xmlns="" xmlns:a16="http://schemas.microsoft.com/office/drawing/2014/main" id="{3A285BA5-8646-4A3E-A533-7F2AC66CAB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5763" y="4735513"/>
                <a:ext cx="220663" cy="436563"/>
              </a:xfrm>
              <a:custGeom>
                <a:avLst/>
                <a:gdLst>
                  <a:gd name="T0" fmla="*/ 137 w 139"/>
                  <a:gd name="T1" fmla="*/ 45 h 275"/>
                  <a:gd name="T2" fmla="*/ 133 w 139"/>
                  <a:gd name="T3" fmla="*/ 43 h 275"/>
                  <a:gd name="T4" fmla="*/ 125 w 139"/>
                  <a:gd name="T5" fmla="*/ 47 h 275"/>
                  <a:gd name="T6" fmla="*/ 117 w 139"/>
                  <a:gd name="T7" fmla="*/ 50 h 275"/>
                  <a:gd name="T8" fmla="*/ 121 w 139"/>
                  <a:gd name="T9" fmla="*/ 54 h 275"/>
                  <a:gd name="T10" fmla="*/ 123 w 139"/>
                  <a:gd name="T11" fmla="*/ 62 h 275"/>
                  <a:gd name="T12" fmla="*/ 123 w 139"/>
                  <a:gd name="T13" fmla="*/ 70 h 275"/>
                  <a:gd name="T14" fmla="*/ 125 w 139"/>
                  <a:gd name="T15" fmla="*/ 75 h 275"/>
                  <a:gd name="T16" fmla="*/ 125 w 139"/>
                  <a:gd name="T17" fmla="*/ 93 h 275"/>
                  <a:gd name="T18" fmla="*/ 125 w 139"/>
                  <a:gd name="T19" fmla="*/ 104 h 275"/>
                  <a:gd name="T20" fmla="*/ 127 w 139"/>
                  <a:gd name="T21" fmla="*/ 104 h 275"/>
                  <a:gd name="T22" fmla="*/ 131 w 139"/>
                  <a:gd name="T23" fmla="*/ 104 h 275"/>
                  <a:gd name="T24" fmla="*/ 129 w 139"/>
                  <a:gd name="T25" fmla="*/ 110 h 275"/>
                  <a:gd name="T26" fmla="*/ 119 w 139"/>
                  <a:gd name="T27" fmla="*/ 122 h 275"/>
                  <a:gd name="T28" fmla="*/ 108 w 139"/>
                  <a:gd name="T29" fmla="*/ 141 h 275"/>
                  <a:gd name="T30" fmla="*/ 98 w 139"/>
                  <a:gd name="T31" fmla="*/ 158 h 275"/>
                  <a:gd name="T32" fmla="*/ 100 w 139"/>
                  <a:gd name="T33" fmla="*/ 173 h 275"/>
                  <a:gd name="T34" fmla="*/ 94 w 139"/>
                  <a:gd name="T35" fmla="*/ 187 h 275"/>
                  <a:gd name="T36" fmla="*/ 96 w 139"/>
                  <a:gd name="T37" fmla="*/ 204 h 275"/>
                  <a:gd name="T38" fmla="*/ 98 w 139"/>
                  <a:gd name="T39" fmla="*/ 225 h 275"/>
                  <a:gd name="T40" fmla="*/ 98 w 139"/>
                  <a:gd name="T41" fmla="*/ 243 h 275"/>
                  <a:gd name="T42" fmla="*/ 98 w 139"/>
                  <a:gd name="T43" fmla="*/ 254 h 275"/>
                  <a:gd name="T44" fmla="*/ 83 w 139"/>
                  <a:gd name="T45" fmla="*/ 262 h 275"/>
                  <a:gd name="T46" fmla="*/ 69 w 139"/>
                  <a:gd name="T47" fmla="*/ 264 h 275"/>
                  <a:gd name="T48" fmla="*/ 56 w 139"/>
                  <a:gd name="T49" fmla="*/ 273 h 275"/>
                  <a:gd name="T50" fmla="*/ 44 w 139"/>
                  <a:gd name="T51" fmla="*/ 270 h 275"/>
                  <a:gd name="T52" fmla="*/ 37 w 139"/>
                  <a:gd name="T53" fmla="*/ 262 h 275"/>
                  <a:gd name="T54" fmla="*/ 37 w 139"/>
                  <a:gd name="T55" fmla="*/ 248 h 275"/>
                  <a:gd name="T56" fmla="*/ 33 w 139"/>
                  <a:gd name="T57" fmla="*/ 233 h 275"/>
                  <a:gd name="T58" fmla="*/ 33 w 139"/>
                  <a:gd name="T59" fmla="*/ 222 h 275"/>
                  <a:gd name="T60" fmla="*/ 29 w 139"/>
                  <a:gd name="T61" fmla="*/ 214 h 275"/>
                  <a:gd name="T62" fmla="*/ 21 w 139"/>
                  <a:gd name="T63" fmla="*/ 206 h 275"/>
                  <a:gd name="T64" fmla="*/ 16 w 139"/>
                  <a:gd name="T65" fmla="*/ 193 h 275"/>
                  <a:gd name="T66" fmla="*/ 12 w 139"/>
                  <a:gd name="T67" fmla="*/ 187 h 275"/>
                  <a:gd name="T68" fmla="*/ 8 w 139"/>
                  <a:gd name="T69" fmla="*/ 179 h 275"/>
                  <a:gd name="T70" fmla="*/ 2 w 139"/>
                  <a:gd name="T71" fmla="*/ 166 h 275"/>
                  <a:gd name="T72" fmla="*/ 14 w 139"/>
                  <a:gd name="T73" fmla="*/ 160 h 275"/>
                  <a:gd name="T74" fmla="*/ 25 w 139"/>
                  <a:gd name="T75" fmla="*/ 150 h 275"/>
                  <a:gd name="T76" fmla="*/ 35 w 139"/>
                  <a:gd name="T77" fmla="*/ 147 h 275"/>
                  <a:gd name="T78" fmla="*/ 43 w 139"/>
                  <a:gd name="T79" fmla="*/ 141 h 275"/>
                  <a:gd name="T80" fmla="*/ 50 w 139"/>
                  <a:gd name="T81" fmla="*/ 143 h 275"/>
                  <a:gd name="T82" fmla="*/ 60 w 139"/>
                  <a:gd name="T83" fmla="*/ 141 h 275"/>
                  <a:gd name="T84" fmla="*/ 60 w 139"/>
                  <a:gd name="T85" fmla="*/ 131 h 275"/>
                  <a:gd name="T86" fmla="*/ 66 w 139"/>
                  <a:gd name="T87" fmla="*/ 120 h 275"/>
                  <a:gd name="T88" fmla="*/ 69 w 139"/>
                  <a:gd name="T89" fmla="*/ 106 h 275"/>
                  <a:gd name="T90" fmla="*/ 79 w 139"/>
                  <a:gd name="T91" fmla="*/ 97 h 275"/>
                  <a:gd name="T92" fmla="*/ 92 w 139"/>
                  <a:gd name="T93" fmla="*/ 91 h 275"/>
                  <a:gd name="T94" fmla="*/ 89 w 139"/>
                  <a:gd name="T95" fmla="*/ 83 h 275"/>
                  <a:gd name="T96" fmla="*/ 87 w 139"/>
                  <a:gd name="T97" fmla="*/ 73 h 275"/>
                  <a:gd name="T98" fmla="*/ 71 w 139"/>
                  <a:gd name="T99" fmla="*/ 73 h 275"/>
                  <a:gd name="T100" fmla="*/ 66 w 139"/>
                  <a:gd name="T101" fmla="*/ 66 h 275"/>
                  <a:gd name="T102" fmla="*/ 58 w 139"/>
                  <a:gd name="T103" fmla="*/ 43 h 275"/>
                  <a:gd name="T104" fmla="*/ 62 w 139"/>
                  <a:gd name="T105" fmla="*/ 37 h 275"/>
                  <a:gd name="T106" fmla="*/ 64 w 139"/>
                  <a:gd name="T107" fmla="*/ 24 h 275"/>
                  <a:gd name="T108" fmla="*/ 77 w 139"/>
                  <a:gd name="T109" fmla="*/ 18 h 275"/>
                  <a:gd name="T110" fmla="*/ 104 w 139"/>
                  <a:gd name="T111" fmla="*/ 4 h 275"/>
                  <a:gd name="T112" fmla="*/ 116 w 139"/>
                  <a:gd name="T113" fmla="*/ 14 h 275"/>
                  <a:gd name="T114" fmla="*/ 129 w 139"/>
                  <a:gd name="T115" fmla="*/ 31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9" h="275">
                    <a:moveTo>
                      <a:pt x="137" y="39"/>
                    </a:moveTo>
                    <a:lnTo>
                      <a:pt x="137" y="41"/>
                    </a:lnTo>
                    <a:lnTo>
                      <a:pt x="135" y="41"/>
                    </a:lnTo>
                    <a:lnTo>
                      <a:pt x="137" y="41"/>
                    </a:lnTo>
                    <a:lnTo>
                      <a:pt x="137" y="43"/>
                    </a:lnTo>
                    <a:lnTo>
                      <a:pt x="139" y="43"/>
                    </a:lnTo>
                    <a:lnTo>
                      <a:pt x="137" y="43"/>
                    </a:lnTo>
                    <a:lnTo>
                      <a:pt x="139" y="43"/>
                    </a:lnTo>
                    <a:lnTo>
                      <a:pt x="137" y="43"/>
                    </a:lnTo>
                    <a:lnTo>
                      <a:pt x="137" y="45"/>
                    </a:lnTo>
                    <a:lnTo>
                      <a:pt x="137" y="47"/>
                    </a:lnTo>
                    <a:lnTo>
                      <a:pt x="135" y="47"/>
                    </a:lnTo>
                    <a:lnTo>
                      <a:pt x="135" y="48"/>
                    </a:lnTo>
                    <a:lnTo>
                      <a:pt x="135" y="47"/>
                    </a:lnTo>
                    <a:lnTo>
                      <a:pt x="133" y="47"/>
                    </a:lnTo>
                    <a:lnTo>
                      <a:pt x="135" y="45"/>
                    </a:lnTo>
                    <a:lnTo>
                      <a:pt x="133" y="45"/>
                    </a:lnTo>
                    <a:lnTo>
                      <a:pt x="133" y="43"/>
                    </a:lnTo>
                    <a:lnTo>
                      <a:pt x="133" y="45"/>
                    </a:lnTo>
                    <a:lnTo>
                      <a:pt x="133" y="43"/>
                    </a:lnTo>
                    <a:lnTo>
                      <a:pt x="133" y="45"/>
                    </a:lnTo>
                    <a:lnTo>
                      <a:pt x="131" y="45"/>
                    </a:lnTo>
                    <a:lnTo>
                      <a:pt x="129" y="45"/>
                    </a:lnTo>
                    <a:lnTo>
                      <a:pt x="129" y="43"/>
                    </a:lnTo>
                    <a:lnTo>
                      <a:pt x="127" y="43"/>
                    </a:lnTo>
                    <a:lnTo>
                      <a:pt x="127" y="45"/>
                    </a:lnTo>
                    <a:lnTo>
                      <a:pt x="125" y="45"/>
                    </a:lnTo>
                    <a:lnTo>
                      <a:pt x="127" y="45"/>
                    </a:lnTo>
                    <a:lnTo>
                      <a:pt x="125" y="45"/>
                    </a:lnTo>
                    <a:lnTo>
                      <a:pt x="125" y="47"/>
                    </a:lnTo>
                    <a:lnTo>
                      <a:pt x="125" y="48"/>
                    </a:lnTo>
                    <a:lnTo>
                      <a:pt x="125" y="50"/>
                    </a:lnTo>
                    <a:lnTo>
                      <a:pt x="125" y="52"/>
                    </a:lnTo>
                    <a:lnTo>
                      <a:pt x="125" y="54"/>
                    </a:lnTo>
                    <a:lnTo>
                      <a:pt x="123" y="54"/>
                    </a:lnTo>
                    <a:lnTo>
                      <a:pt x="121" y="54"/>
                    </a:lnTo>
                    <a:lnTo>
                      <a:pt x="121" y="52"/>
                    </a:lnTo>
                    <a:lnTo>
                      <a:pt x="119" y="52"/>
                    </a:lnTo>
                    <a:lnTo>
                      <a:pt x="119" y="50"/>
                    </a:lnTo>
                    <a:lnTo>
                      <a:pt x="117" y="50"/>
                    </a:lnTo>
                    <a:lnTo>
                      <a:pt x="117" y="52"/>
                    </a:lnTo>
                    <a:lnTo>
                      <a:pt x="119" y="52"/>
                    </a:lnTo>
                    <a:lnTo>
                      <a:pt x="119" y="54"/>
                    </a:lnTo>
                    <a:lnTo>
                      <a:pt x="117" y="54"/>
                    </a:lnTo>
                    <a:lnTo>
                      <a:pt x="119" y="54"/>
                    </a:lnTo>
                    <a:lnTo>
                      <a:pt x="119" y="56"/>
                    </a:lnTo>
                    <a:lnTo>
                      <a:pt x="119" y="54"/>
                    </a:lnTo>
                    <a:lnTo>
                      <a:pt x="119" y="56"/>
                    </a:lnTo>
                    <a:lnTo>
                      <a:pt x="121" y="56"/>
                    </a:lnTo>
                    <a:lnTo>
                      <a:pt x="121" y="54"/>
                    </a:lnTo>
                    <a:lnTo>
                      <a:pt x="121" y="56"/>
                    </a:lnTo>
                    <a:lnTo>
                      <a:pt x="121" y="54"/>
                    </a:lnTo>
                    <a:lnTo>
                      <a:pt x="123" y="56"/>
                    </a:lnTo>
                    <a:lnTo>
                      <a:pt x="123" y="58"/>
                    </a:lnTo>
                    <a:lnTo>
                      <a:pt x="123" y="60"/>
                    </a:lnTo>
                    <a:lnTo>
                      <a:pt x="121" y="60"/>
                    </a:lnTo>
                    <a:lnTo>
                      <a:pt x="123" y="60"/>
                    </a:lnTo>
                    <a:lnTo>
                      <a:pt x="123" y="62"/>
                    </a:lnTo>
                    <a:lnTo>
                      <a:pt x="121" y="62"/>
                    </a:lnTo>
                    <a:lnTo>
                      <a:pt x="123" y="62"/>
                    </a:lnTo>
                    <a:lnTo>
                      <a:pt x="123" y="64"/>
                    </a:lnTo>
                    <a:lnTo>
                      <a:pt x="125" y="64"/>
                    </a:lnTo>
                    <a:lnTo>
                      <a:pt x="125" y="66"/>
                    </a:lnTo>
                    <a:lnTo>
                      <a:pt x="123" y="66"/>
                    </a:lnTo>
                    <a:lnTo>
                      <a:pt x="125" y="66"/>
                    </a:lnTo>
                    <a:lnTo>
                      <a:pt x="123" y="66"/>
                    </a:lnTo>
                    <a:lnTo>
                      <a:pt x="123" y="68"/>
                    </a:lnTo>
                    <a:lnTo>
                      <a:pt x="123" y="66"/>
                    </a:lnTo>
                    <a:lnTo>
                      <a:pt x="123" y="68"/>
                    </a:lnTo>
                    <a:lnTo>
                      <a:pt x="123" y="70"/>
                    </a:lnTo>
                    <a:lnTo>
                      <a:pt x="123" y="72"/>
                    </a:lnTo>
                    <a:lnTo>
                      <a:pt x="123" y="70"/>
                    </a:lnTo>
                    <a:lnTo>
                      <a:pt x="123" y="72"/>
                    </a:lnTo>
                    <a:lnTo>
                      <a:pt x="123" y="73"/>
                    </a:lnTo>
                    <a:lnTo>
                      <a:pt x="123" y="72"/>
                    </a:lnTo>
                    <a:lnTo>
                      <a:pt x="123" y="73"/>
                    </a:lnTo>
                    <a:lnTo>
                      <a:pt x="123" y="75"/>
                    </a:lnTo>
                    <a:lnTo>
                      <a:pt x="123" y="77"/>
                    </a:lnTo>
                    <a:lnTo>
                      <a:pt x="125" y="77"/>
                    </a:lnTo>
                    <a:lnTo>
                      <a:pt x="125" y="75"/>
                    </a:lnTo>
                    <a:lnTo>
                      <a:pt x="127" y="75"/>
                    </a:lnTo>
                    <a:lnTo>
                      <a:pt x="127" y="77"/>
                    </a:lnTo>
                    <a:lnTo>
                      <a:pt x="127" y="79"/>
                    </a:lnTo>
                    <a:lnTo>
                      <a:pt x="125" y="81"/>
                    </a:lnTo>
                    <a:lnTo>
                      <a:pt x="125" y="83"/>
                    </a:lnTo>
                    <a:lnTo>
                      <a:pt x="125" y="85"/>
                    </a:lnTo>
                    <a:lnTo>
                      <a:pt x="125" y="87"/>
                    </a:lnTo>
                    <a:lnTo>
                      <a:pt x="125" y="89"/>
                    </a:lnTo>
                    <a:lnTo>
                      <a:pt x="125" y="91"/>
                    </a:lnTo>
                    <a:lnTo>
                      <a:pt x="125" y="93"/>
                    </a:lnTo>
                    <a:lnTo>
                      <a:pt x="125" y="95"/>
                    </a:lnTo>
                    <a:lnTo>
                      <a:pt x="125" y="97"/>
                    </a:lnTo>
                    <a:lnTo>
                      <a:pt x="125" y="98"/>
                    </a:lnTo>
                    <a:lnTo>
                      <a:pt x="123" y="98"/>
                    </a:lnTo>
                    <a:lnTo>
                      <a:pt x="123" y="100"/>
                    </a:lnTo>
                    <a:lnTo>
                      <a:pt x="123" y="102"/>
                    </a:lnTo>
                    <a:lnTo>
                      <a:pt x="125" y="102"/>
                    </a:lnTo>
                    <a:lnTo>
                      <a:pt x="125" y="104"/>
                    </a:lnTo>
                    <a:lnTo>
                      <a:pt x="123" y="104"/>
                    </a:lnTo>
                    <a:lnTo>
                      <a:pt x="125" y="104"/>
                    </a:lnTo>
                    <a:lnTo>
                      <a:pt x="123" y="104"/>
                    </a:lnTo>
                    <a:lnTo>
                      <a:pt x="123" y="106"/>
                    </a:lnTo>
                    <a:lnTo>
                      <a:pt x="125" y="106"/>
                    </a:lnTo>
                    <a:lnTo>
                      <a:pt x="123" y="106"/>
                    </a:lnTo>
                    <a:lnTo>
                      <a:pt x="125" y="106"/>
                    </a:lnTo>
                    <a:lnTo>
                      <a:pt x="125" y="104"/>
                    </a:lnTo>
                    <a:lnTo>
                      <a:pt x="127" y="104"/>
                    </a:lnTo>
                    <a:lnTo>
                      <a:pt x="125" y="106"/>
                    </a:lnTo>
                    <a:lnTo>
                      <a:pt x="127" y="106"/>
                    </a:lnTo>
                    <a:lnTo>
                      <a:pt x="127" y="104"/>
                    </a:lnTo>
                    <a:lnTo>
                      <a:pt x="127" y="106"/>
                    </a:lnTo>
                    <a:lnTo>
                      <a:pt x="125" y="106"/>
                    </a:lnTo>
                    <a:lnTo>
                      <a:pt x="125" y="108"/>
                    </a:lnTo>
                    <a:lnTo>
                      <a:pt x="125" y="106"/>
                    </a:lnTo>
                    <a:lnTo>
                      <a:pt x="127" y="106"/>
                    </a:lnTo>
                    <a:lnTo>
                      <a:pt x="125" y="106"/>
                    </a:lnTo>
                    <a:lnTo>
                      <a:pt x="127" y="106"/>
                    </a:lnTo>
                    <a:lnTo>
                      <a:pt x="127" y="104"/>
                    </a:lnTo>
                    <a:lnTo>
                      <a:pt x="129" y="104"/>
                    </a:lnTo>
                    <a:lnTo>
                      <a:pt x="131" y="104"/>
                    </a:lnTo>
                    <a:lnTo>
                      <a:pt x="133" y="104"/>
                    </a:lnTo>
                    <a:lnTo>
                      <a:pt x="135" y="104"/>
                    </a:lnTo>
                    <a:lnTo>
                      <a:pt x="133" y="104"/>
                    </a:lnTo>
                    <a:lnTo>
                      <a:pt x="135" y="104"/>
                    </a:lnTo>
                    <a:lnTo>
                      <a:pt x="137" y="106"/>
                    </a:lnTo>
                    <a:lnTo>
                      <a:pt x="135" y="106"/>
                    </a:lnTo>
                    <a:lnTo>
                      <a:pt x="133" y="108"/>
                    </a:lnTo>
                    <a:lnTo>
                      <a:pt x="131" y="108"/>
                    </a:lnTo>
                    <a:lnTo>
                      <a:pt x="131" y="110"/>
                    </a:lnTo>
                    <a:lnTo>
                      <a:pt x="129" y="110"/>
                    </a:lnTo>
                    <a:lnTo>
                      <a:pt x="127" y="112"/>
                    </a:lnTo>
                    <a:lnTo>
                      <a:pt x="125" y="114"/>
                    </a:lnTo>
                    <a:lnTo>
                      <a:pt x="123" y="114"/>
                    </a:lnTo>
                    <a:lnTo>
                      <a:pt x="123" y="116"/>
                    </a:lnTo>
                    <a:lnTo>
                      <a:pt x="121" y="118"/>
                    </a:lnTo>
                    <a:lnTo>
                      <a:pt x="119" y="122"/>
                    </a:lnTo>
                    <a:lnTo>
                      <a:pt x="119" y="120"/>
                    </a:lnTo>
                    <a:lnTo>
                      <a:pt x="121" y="118"/>
                    </a:lnTo>
                    <a:lnTo>
                      <a:pt x="119" y="120"/>
                    </a:lnTo>
                    <a:lnTo>
                      <a:pt x="119" y="122"/>
                    </a:lnTo>
                    <a:lnTo>
                      <a:pt x="117" y="122"/>
                    </a:lnTo>
                    <a:lnTo>
                      <a:pt x="117" y="123"/>
                    </a:lnTo>
                    <a:lnTo>
                      <a:pt x="116" y="125"/>
                    </a:lnTo>
                    <a:lnTo>
                      <a:pt x="110" y="131"/>
                    </a:lnTo>
                    <a:lnTo>
                      <a:pt x="110" y="133"/>
                    </a:lnTo>
                    <a:lnTo>
                      <a:pt x="110" y="135"/>
                    </a:lnTo>
                    <a:lnTo>
                      <a:pt x="110" y="137"/>
                    </a:lnTo>
                    <a:lnTo>
                      <a:pt x="110" y="139"/>
                    </a:lnTo>
                    <a:lnTo>
                      <a:pt x="110" y="141"/>
                    </a:lnTo>
                    <a:lnTo>
                      <a:pt x="108" y="141"/>
                    </a:lnTo>
                    <a:lnTo>
                      <a:pt x="108" y="143"/>
                    </a:lnTo>
                    <a:lnTo>
                      <a:pt x="106" y="143"/>
                    </a:lnTo>
                    <a:lnTo>
                      <a:pt x="104" y="145"/>
                    </a:lnTo>
                    <a:lnTo>
                      <a:pt x="102" y="147"/>
                    </a:lnTo>
                    <a:lnTo>
                      <a:pt x="100" y="148"/>
                    </a:lnTo>
                    <a:lnTo>
                      <a:pt x="98" y="152"/>
                    </a:lnTo>
                    <a:lnTo>
                      <a:pt x="96" y="154"/>
                    </a:lnTo>
                    <a:lnTo>
                      <a:pt x="96" y="156"/>
                    </a:lnTo>
                    <a:lnTo>
                      <a:pt x="96" y="158"/>
                    </a:lnTo>
                    <a:lnTo>
                      <a:pt x="98" y="158"/>
                    </a:lnTo>
                    <a:lnTo>
                      <a:pt x="96" y="158"/>
                    </a:lnTo>
                    <a:lnTo>
                      <a:pt x="98" y="160"/>
                    </a:lnTo>
                    <a:lnTo>
                      <a:pt x="98" y="162"/>
                    </a:lnTo>
                    <a:lnTo>
                      <a:pt x="98" y="164"/>
                    </a:lnTo>
                    <a:lnTo>
                      <a:pt x="98" y="166"/>
                    </a:lnTo>
                    <a:lnTo>
                      <a:pt x="98" y="168"/>
                    </a:lnTo>
                    <a:lnTo>
                      <a:pt x="100" y="168"/>
                    </a:lnTo>
                    <a:lnTo>
                      <a:pt x="100" y="170"/>
                    </a:lnTo>
                    <a:lnTo>
                      <a:pt x="100" y="172"/>
                    </a:lnTo>
                    <a:lnTo>
                      <a:pt x="100" y="173"/>
                    </a:lnTo>
                    <a:lnTo>
                      <a:pt x="98" y="175"/>
                    </a:lnTo>
                    <a:lnTo>
                      <a:pt x="98" y="177"/>
                    </a:lnTo>
                    <a:lnTo>
                      <a:pt x="96" y="177"/>
                    </a:lnTo>
                    <a:lnTo>
                      <a:pt x="96" y="179"/>
                    </a:lnTo>
                    <a:lnTo>
                      <a:pt x="96" y="181"/>
                    </a:lnTo>
                    <a:lnTo>
                      <a:pt x="94" y="183"/>
                    </a:lnTo>
                    <a:lnTo>
                      <a:pt x="96" y="183"/>
                    </a:lnTo>
                    <a:lnTo>
                      <a:pt x="94" y="183"/>
                    </a:lnTo>
                    <a:lnTo>
                      <a:pt x="94" y="185"/>
                    </a:lnTo>
                    <a:lnTo>
                      <a:pt x="94" y="187"/>
                    </a:lnTo>
                    <a:lnTo>
                      <a:pt x="96" y="187"/>
                    </a:lnTo>
                    <a:lnTo>
                      <a:pt x="96" y="189"/>
                    </a:lnTo>
                    <a:lnTo>
                      <a:pt x="98" y="189"/>
                    </a:lnTo>
                    <a:lnTo>
                      <a:pt x="98" y="191"/>
                    </a:lnTo>
                    <a:lnTo>
                      <a:pt x="98" y="193"/>
                    </a:lnTo>
                    <a:lnTo>
                      <a:pt x="98" y="195"/>
                    </a:lnTo>
                    <a:lnTo>
                      <a:pt x="96" y="195"/>
                    </a:lnTo>
                    <a:lnTo>
                      <a:pt x="96" y="200"/>
                    </a:lnTo>
                    <a:lnTo>
                      <a:pt x="96" y="202"/>
                    </a:lnTo>
                    <a:lnTo>
                      <a:pt x="96" y="204"/>
                    </a:lnTo>
                    <a:lnTo>
                      <a:pt x="96" y="206"/>
                    </a:lnTo>
                    <a:lnTo>
                      <a:pt x="96" y="208"/>
                    </a:lnTo>
                    <a:lnTo>
                      <a:pt x="98" y="208"/>
                    </a:lnTo>
                    <a:lnTo>
                      <a:pt x="98" y="210"/>
                    </a:lnTo>
                    <a:lnTo>
                      <a:pt x="98" y="212"/>
                    </a:lnTo>
                    <a:lnTo>
                      <a:pt x="98" y="214"/>
                    </a:lnTo>
                    <a:lnTo>
                      <a:pt x="98" y="218"/>
                    </a:lnTo>
                    <a:lnTo>
                      <a:pt x="98" y="220"/>
                    </a:lnTo>
                    <a:lnTo>
                      <a:pt x="98" y="222"/>
                    </a:lnTo>
                    <a:lnTo>
                      <a:pt x="98" y="225"/>
                    </a:lnTo>
                    <a:lnTo>
                      <a:pt x="98" y="227"/>
                    </a:lnTo>
                    <a:lnTo>
                      <a:pt x="98" y="229"/>
                    </a:lnTo>
                    <a:lnTo>
                      <a:pt x="98" y="231"/>
                    </a:lnTo>
                    <a:lnTo>
                      <a:pt x="98" y="233"/>
                    </a:lnTo>
                    <a:lnTo>
                      <a:pt x="96" y="235"/>
                    </a:lnTo>
                    <a:lnTo>
                      <a:pt x="96" y="237"/>
                    </a:lnTo>
                    <a:lnTo>
                      <a:pt x="96" y="239"/>
                    </a:lnTo>
                    <a:lnTo>
                      <a:pt x="96" y="241"/>
                    </a:lnTo>
                    <a:lnTo>
                      <a:pt x="96" y="243"/>
                    </a:lnTo>
                    <a:lnTo>
                      <a:pt x="98" y="243"/>
                    </a:lnTo>
                    <a:lnTo>
                      <a:pt x="98" y="245"/>
                    </a:lnTo>
                    <a:lnTo>
                      <a:pt x="100" y="245"/>
                    </a:lnTo>
                    <a:lnTo>
                      <a:pt x="100" y="247"/>
                    </a:lnTo>
                    <a:lnTo>
                      <a:pt x="100" y="248"/>
                    </a:lnTo>
                    <a:lnTo>
                      <a:pt x="100" y="250"/>
                    </a:lnTo>
                    <a:lnTo>
                      <a:pt x="102" y="250"/>
                    </a:lnTo>
                    <a:lnTo>
                      <a:pt x="100" y="250"/>
                    </a:lnTo>
                    <a:lnTo>
                      <a:pt x="100" y="252"/>
                    </a:lnTo>
                    <a:lnTo>
                      <a:pt x="98" y="252"/>
                    </a:lnTo>
                    <a:lnTo>
                      <a:pt x="98" y="254"/>
                    </a:lnTo>
                    <a:lnTo>
                      <a:pt x="96" y="254"/>
                    </a:lnTo>
                    <a:lnTo>
                      <a:pt x="94" y="254"/>
                    </a:lnTo>
                    <a:lnTo>
                      <a:pt x="94" y="256"/>
                    </a:lnTo>
                    <a:lnTo>
                      <a:pt x="92" y="256"/>
                    </a:lnTo>
                    <a:lnTo>
                      <a:pt x="91" y="258"/>
                    </a:lnTo>
                    <a:lnTo>
                      <a:pt x="89" y="258"/>
                    </a:lnTo>
                    <a:lnTo>
                      <a:pt x="89" y="260"/>
                    </a:lnTo>
                    <a:lnTo>
                      <a:pt x="87" y="260"/>
                    </a:lnTo>
                    <a:lnTo>
                      <a:pt x="85" y="262"/>
                    </a:lnTo>
                    <a:lnTo>
                      <a:pt x="83" y="262"/>
                    </a:lnTo>
                    <a:lnTo>
                      <a:pt x="81" y="262"/>
                    </a:lnTo>
                    <a:lnTo>
                      <a:pt x="79" y="262"/>
                    </a:lnTo>
                    <a:lnTo>
                      <a:pt x="79" y="264"/>
                    </a:lnTo>
                    <a:lnTo>
                      <a:pt x="77" y="264"/>
                    </a:lnTo>
                    <a:lnTo>
                      <a:pt x="75" y="264"/>
                    </a:lnTo>
                    <a:lnTo>
                      <a:pt x="75" y="262"/>
                    </a:lnTo>
                    <a:lnTo>
                      <a:pt x="73" y="262"/>
                    </a:lnTo>
                    <a:lnTo>
                      <a:pt x="71" y="262"/>
                    </a:lnTo>
                    <a:lnTo>
                      <a:pt x="69" y="262"/>
                    </a:lnTo>
                    <a:lnTo>
                      <a:pt x="69" y="264"/>
                    </a:lnTo>
                    <a:lnTo>
                      <a:pt x="68" y="264"/>
                    </a:lnTo>
                    <a:lnTo>
                      <a:pt x="66" y="264"/>
                    </a:lnTo>
                    <a:lnTo>
                      <a:pt x="66" y="266"/>
                    </a:lnTo>
                    <a:lnTo>
                      <a:pt x="64" y="268"/>
                    </a:lnTo>
                    <a:lnTo>
                      <a:pt x="62" y="268"/>
                    </a:lnTo>
                    <a:lnTo>
                      <a:pt x="62" y="270"/>
                    </a:lnTo>
                    <a:lnTo>
                      <a:pt x="60" y="270"/>
                    </a:lnTo>
                    <a:lnTo>
                      <a:pt x="58" y="270"/>
                    </a:lnTo>
                    <a:lnTo>
                      <a:pt x="58" y="272"/>
                    </a:lnTo>
                    <a:lnTo>
                      <a:pt x="56" y="273"/>
                    </a:lnTo>
                    <a:lnTo>
                      <a:pt x="54" y="275"/>
                    </a:lnTo>
                    <a:lnTo>
                      <a:pt x="54" y="273"/>
                    </a:lnTo>
                    <a:lnTo>
                      <a:pt x="52" y="273"/>
                    </a:lnTo>
                    <a:lnTo>
                      <a:pt x="50" y="273"/>
                    </a:lnTo>
                    <a:lnTo>
                      <a:pt x="50" y="275"/>
                    </a:lnTo>
                    <a:lnTo>
                      <a:pt x="48" y="273"/>
                    </a:lnTo>
                    <a:lnTo>
                      <a:pt x="48" y="272"/>
                    </a:lnTo>
                    <a:lnTo>
                      <a:pt x="48" y="270"/>
                    </a:lnTo>
                    <a:lnTo>
                      <a:pt x="46" y="270"/>
                    </a:lnTo>
                    <a:lnTo>
                      <a:pt x="44" y="270"/>
                    </a:lnTo>
                    <a:lnTo>
                      <a:pt x="44" y="268"/>
                    </a:lnTo>
                    <a:lnTo>
                      <a:pt x="44" y="270"/>
                    </a:lnTo>
                    <a:lnTo>
                      <a:pt x="43" y="270"/>
                    </a:lnTo>
                    <a:lnTo>
                      <a:pt x="41" y="270"/>
                    </a:lnTo>
                    <a:lnTo>
                      <a:pt x="41" y="268"/>
                    </a:lnTo>
                    <a:lnTo>
                      <a:pt x="41" y="266"/>
                    </a:lnTo>
                    <a:lnTo>
                      <a:pt x="41" y="264"/>
                    </a:lnTo>
                    <a:lnTo>
                      <a:pt x="41" y="262"/>
                    </a:lnTo>
                    <a:lnTo>
                      <a:pt x="39" y="262"/>
                    </a:lnTo>
                    <a:lnTo>
                      <a:pt x="37" y="262"/>
                    </a:lnTo>
                    <a:lnTo>
                      <a:pt x="37" y="260"/>
                    </a:lnTo>
                    <a:lnTo>
                      <a:pt x="37" y="258"/>
                    </a:lnTo>
                    <a:lnTo>
                      <a:pt x="35" y="258"/>
                    </a:lnTo>
                    <a:lnTo>
                      <a:pt x="35" y="256"/>
                    </a:lnTo>
                    <a:lnTo>
                      <a:pt x="35" y="254"/>
                    </a:lnTo>
                    <a:lnTo>
                      <a:pt x="35" y="252"/>
                    </a:lnTo>
                    <a:lnTo>
                      <a:pt x="37" y="252"/>
                    </a:lnTo>
                    <a:lnTo>
                      <a:pt x="37" y="250"/>
                    </a:lnTo>
                    <a:lnTo>
                      <a:pt x="35" y="250"/>
                    </a:lnTo>
                    <a:lnTo>
                      <a:pt x="37" y="248"/>
                    </a:lnTo>
                    <a:lnTo>
                      <a:pt x="37" y="247"/>
                    </a:lnTo>
                    <a:lnTo>
                      <a:pt x="37" y="245"/>
                    </a:lnTo>
                    <a:lnTo>
                      <a:pt x="37" y="243"/>
                    </a:lnTo>
                    <a:lnTo>
                      <a:pt x="37" y="241"/>
                    </a:lnTo>
                    <a:lnTo>
                      <a:pt x="37" y="239"/>
                    </a:lnTo>
                    <a:lnTo>
                      <a:pt x="37" y="237"/>
                    </a:lnTo>
                    <a:lnTo>
                      <a:pt x="35" y="237"/>
                    </a:lnTo>
                    <a:lnTo>
                      <a:pt x="33" y="237"/>
                    </a:lnTo>
                    <a:lnTo>
                      <a:pt x="33" y="235"/>
                    </a:lnTo>
                    <a:lnTo>
                      <a:pt x="33" y="233"/>
                    </a:lnTo>
                    <a:lnTo>
                      <a:pt x="35" y="233"/>
                    </a:lnTo>
                    <a:lnTo>
                      <a:pt x="35" y="231"/>
                    </a:lnTo>
                    <a:lnTo>
                      <a:pt x="33" y="229"/>
                    </a:lnTo>
                    <a:lnTo>
                      <a:pt x="33" y="227"/>
                    </a:lnTo>
                    <a:lnTo>
                      <a:pt x="33" y="225"/>
                    </a:lnTo>
                    <a:lnTo>
                      <a:pt x="35" y="225"/>
                    </a:lnTo>
                    <a:lnTo>
                      <a:pt x="35" y="223"/>
                    </a:lnTo>
                    <a:lnTo>
                      <a:pt x="33" y="223"/>
                    </a:lnTo>
                    <a:lnTo>
                      <a:pt x="31" y="223"/>
                    </a:lnTo>
                    <a:lnTo>
                      <a:pt x="33" y="222"/>
                    </a:lnTo>
                    <a:lnTo>
                      <a:pt x="31" y="222"/>
                    </a:lnTo>
                    <a:lnTo>
                      <a:pt x="31" y="220"/>
                    </a:lnTo>
                    <a:lnTo>
                      <a:pt x="31" y="218"/>
                    </a:lnTo>
                    <a:lnTo>
                      <a:pt x="31" y="216"/>
                    </a:lnTo>
                    <a:lnTo>
                      <a:pt x="33" y="216"/>
                    </a:lnTo>
                    <a:lnTo>
                      <a:pt x="33" y="214"/>
                    </a:lnTo>
                    <a:lnTo>
                      <a:pt x="33" y="212"/>
                    </a:lnTo>
                    <a:lnTo>
                      <a:pt x="31" y="212"/>
                    </a:lnTo>
                    <a:lnTo>
                      <a:pt x="31" y="214"/>
                    </a:lnTo>
                    <a:lnTo>
                      <a:pt x="29" y="214"/>
                    </a:lnTo>
                    <a:lnTo>
                      <a:pt x="29" y="212"/>
                    </a:lnTo>
                    <a:lnTo>
                      <a:pt x="27" y="212"/>
                    </a:lnTo>
                    <a:lnTo>
                      <a:pt x="25" y="212"/>
                    </a:lnTo>
                    <a:lnTo>
                      <a:pt x="23" y="212"/>
                    </a:lnTo>
                    <a:lnTo>
                      <a:pt x="23" y="210"/>
                    </a:lnTo>
                    <a:lnTo>
                      <a:pt x="25" y="210"/>
                    </a:lnTo>
                    <a:lnTo>
                      <a:pt x="25" y="208"/>
                    </a:lnTo>
                    <a:lnTo>
                      <a:pt x="25" y="206"/>
                    </a:lnTo>
                    <a:lnTo>
                      <a:pt x="23" y="206"/>
                    </a:lnTo>
                    <a:lnTo>
                      <a:pt x="21" y="206"/>
                    </a:lnTo>
                    <a:lnTo>
                      <a:pt x="21" y="204"/>
                    </a:lnTo>
                    <a:lnTo>
                      <a:pt x="21" y="202"/>
                    </a:lnTo>
                    <a:lnTo>
                      <a:pt x="21" y="200"/>
                    </a:lnTo>
                    <a:lnTo>
                      <a:pt x="19" y="200"/>
                    </a:lnTo>
                    <a:lnTo>
                      <a:pt x="18" y="200"/>
                    </a:lnTo>
                    <a:lnTo>
                      <a:pt x="18" y="198"/>
                    </a:lnTo>
                    <a:lnTo>
                      <a:pt x="18" y="197"/>
                    </a:lnTo>
                    <a:lnTo>
                      <a:pt x="18" y="195"/>
                    </a:lnTo>
                    <a:lnTo>
                      <a:pt x="18" y="193"/>
                    </a:lnTo>
                    <a:lnTo>
                      <a:pt x="16" y="193"/>
                    </a:lnTo>
                    <a:lnTo>
                      <a:pt x="14" y="193"/>
                    </a:lnTo>
                    <a:lnTo>
                      <a:pt x="14" y="191"/>
                    </a:lnTo>
                    <a:lnTo>
                      <a:pt x="12" y="193"/>
                    </a:lnTo>
                    <a:lnTo>
                      <a:pt x="12" y="191"/>
                    </a:lnTo>
                    <a:lnTo>
                      <a:pt x="12" y="189"/>
                    </a:lnTo>
                    <a:lnTo>
                      <a:pt x="12" y="187"/>
                    </a:lnTo>
                    <a:lnTo>
                      <a:pt x="12" y="189"/>
                    </a:lnTo>
                    <a:lnTo>
                      <a:pt x="10" y="189"/>
                    </a:lnTo>
                    <a:lnTo>
                      <a:pt x="10" y="187"/>
                    </a:lnTo>
                    <a:lnTo>
                      <a:pt x="12" y="187"/>
                    </a:lnTo>
                    <a:lnTo>
                      <a:pt x="10" y="187"/>
                    </a:lnTo>
                    <a:lnTo>
                      <a:pt x="10" y="185"/>
                    </a:lnTo>
                    <a:lnTo>
                      <a:pt x="10" y="187"/>
                    </a:lnTo>
                    <a:lnTo>
                      <a:pt x="8" y="187"/>
                    </a:lnTo>
                    <a:lnTo>
                      <a:pt x="8" y="185"/>
                    </a:lnTo>
                    <a:lnTo>
                      <a:pt x="6" y="185"/>
                    </a:lnTo>
                    <a:lnTo>
                      <a:pt x="8" y="185"/>
                    </a:lnTo>
                    <a:lnTo>
                      <a:pt x="8" y="183"/>
                    </a:lnTo>
                    <a:lnTo>
                      <a:pt x="8" y="181"/>
                    </a:lnTo>
                    <a:lnTo>
                      <a:pt x="8" y="179"/>
                    </a:lnTo>
                    <a:lnTo>
                      <a:pt x="6" y="179"/>
                    </a:lnTo>
                    <a:lnTo>
                      <a:pt x="4" y="177"/>
                    </a:lnTo>
                    <a:lnTo>
                      <a:pt x="4" y="175"/>
                    </a:lnTo>
                    <a:lnTo>
                      <a:pt x="4" y="173"/>
                    </a:lnTo>
                    <a:lnTo>
                      <a:pt x="2" y="172"/>
                    </a:lnTo>
                    <a:lnTo>
                      <a:pt x="2" y="170"/>
                    </a:lnTo>
                    <a:lnTo>
                      <a:pt x="2" y="168"/>
                    </a:lnTo>
                    <a:lnTo>
                      <a:pt x="0" y="168"/>
                    </a:lnTo>
                    <a:lnTo>
                      <a:pt x="2" y="168"/>
                    </a:lnTo>
                    <a:lnTo>
                      <a:pt x="2" y="166"/>
                    </a:lnTo>
                    <a:lnTo>
                      <a:pt x="4" y="166"/>
                    </a:lnTo>
                    <a:lnTo>
                      <a:pt x="4" y="164"/>
                    </a:lnTo>
                    <a:lnTo>
                      <a:pt x="6" y="164"/>
                    </a:lnTo>
                    <a:lnTo>
                      <a:pt x="6" y="166"/>
                    </a:lnTo>
                    <a:lnTo>
                      <a:pt x="8" y="166"/>
                    </a:lnTo>
                    <a:lnTo>
                      <a:pt x="10" y="166"/>
                    </a:lnTo>
                    <a:lnTo>
                      <a:pt x="10" y="164"/>
                    </a:lnTo>
                    <a:lnTo>
                      <a:pt x="12" y="162"/>
                    </a:lnTo>
                    <a:lnTo>
                      <a:pt x="12" y="160"/>
                    </a:lnTo>
                    <a:lnTo>
                      <a:pt x="14" y="160"/>
                    </a:lnTo>
                    <a:lnTo>
                      <a:pt x="14" y="158"/>
                    </a:lnTo>
                    <a:lnTo>
                      <a:pt x="16" y="156"/>
                    </a:lnTo>
                    <a:lnTo>
                      <a:pt x="16" y="154"/>
                    </a:lnTo>
                    <a:lnTo>
                      <a:pt x="18" y="154"/>
                    </a:lnTo>
                    <a:lnTo>
                      <a:pt x="19" y="154"/>
                    </a:lnTo>
                    <a:lnTo>
                      <a:pt x="21" y="154"/>
                    </a:lnTo>
                    <a:lnTo>
                      <a:pt x="23" y="154"/>
                    </a:lnTo>
                    <a:lnTo>
                      <a:pt x="23" y="152"/>
                    </a:lnTo>
                    <a:lnTo>
                      <a:pt x="23" y="150"/>
                    </a:lnTo>
                    <a:lnTo>
                      <a:pt x="25" y="150"/>
                    </a:lnTo>
                    <a:lnTo>
                      <a:pt x="27" y="152"/>
                    </a:lnTo>
                    <a:lnTo>
                      <a:pt x="29" y="152"/>
                    </a:lnTo>
                    <a:lnTo>
                      <a:pt x="31" y="152"/>
                    </a:lnTo>
                    <a:lnTo>
                      <a:pt x="31" y="150"/>
                    </a:lnTo>
                    <a:lnTo>
                      <a:pt x="29" y="150"/>
                    </a:lnTo>
                    <a:lnTo>
                      <a:pt x="31" y="150"/>
                    </a:lnTo>
                    <a:lnTo>
                      <a:pt x="31" y="148"/>
                    </a:lnTo>
                    <a:lnTo>
                      <a:pt x="33" y="148"/>
                    </a:lnTo>
                    <a:lnTo>
                      <a:pt x="35" y="148"/>
                    </a:lnTo>
                    <a:lnTo>
                      <a:pt x="35" y="147"/>
                    </a:lnTo>
                    <a:lnTo>
                      <a:pt x="37" y="147"/>
                    </a:lnTo>
                    <a:lnTo>
                      <a:pt x="39" y="148"/>
                    </a:lnTo>
                    <a:lnTo>
                      <a:pt x="39" y="147"/>
                    </a:lnTo>
                    <a:lnTo>
                      <a:pt x="39" y="148"/>
                    </a:lnTo>
                    <a:lnTo>
                      <a:pt x="41" y="148"/>
                    </a:lnTo>
                    <a:lnTo>
                      <a:pt x="41" y="147"/>
                    </a:lnTo>
                    <a:lnTo>
                      <a:pt x="41" y="145"/>
                    </a:lnTo>
                    <a:lnTo>
                      <a:pt x="41" y="143"/>
                    </a:lnTo>
                    <a:lnTo>
                      <a:pt x="39" y="143"/>
                    </a:lnTo>
                    <a:lnTo>
                      <a:pt x="43" y="141"/>
                    </a:lnTo>
                    <a:lnTo>
                      <a:pt x="44" y="141"/>
                    </a:lnTo>
                    <a:lnTo>
                      <a:pt x="44" y="139"/>
                    </a:lnTo>
                    <a:lnTo>
                      <a:pt x="46" y="139"/>
                    </a:lnTo>
                    <a:lnTo>
                      <a:pt x="46" y="141"/>
                    </a:lnTo>
                    <a:lnTo>
                      <a:pt x="48" y="141"/>
                    </a:lnTo>
                    <a:lnTo>
                      <a:pt x="48" y="143"/>
                    </a:lnTo>
                    <a:lnTo>
                      <a:pt x="50" y="141"/>
                    </a:lnTo>
                    <a:lnTo>
                      <a:pt x="50" y="139"/>
                    </a:lnTo>
                    <a:lnTo>
                      <a:pt x="50" y="141"/>
                    </a:lnTo>
                    <a:lnTo>
                      <a:pt x="50" y="143"/>
                    </a:lnTo>
                    <a:lnTo>
                      <a:pt x="50" y="145"/>
                    </a:lnTo>
                    <a:lnTo>
                      <a:pt x="52" y="145"/>
                    </a:lnTo>
                    <a:lnTo>
                      <a:pt x="54" y="145"/>
                    </a:lnTo>
                    <a:lnTo>
                      <a:pt x="54" y="143"/>
                    </a:lnTo>
                    <a:lnTo>
                      <a:pt x="54" y="145"/>
                    </a:lnTo>
                    <a:lnTo>
                      <a:pt x="56" y="143"/>
                    </a:lnTo>
                    <a:lnTo>
                      <a:pt x="58" y="143"/>
                    </a:lnTo>
                    <a:lnTo>
                      <a:pt x="60" y="143"/>
                    </a:lnTo>
                    <a:lnTo>
                      <a:pt x="58" y="141"/>
                    </a:lnTo>
                    <a:lnTo>
                      <a:pt x="60" y="141"/>
                    </a:lnTo>
                    <a:lnTo>
                      <a:pt x="60" y="139"/>
                    </a:lnTo>
                    <a:lnTo>
                      <a:pt x="60" y="137"/>
                    </a:lnTo>
                    <a:lnTo>
                      <a:pt x="62" y="137"/>
                    </a:lnTo>
                    <a:lnTo>
                      <a:pt x="62" y="135"/>
                    </a:lnTo>
                    <a:lnTo>
                      <a:pt x="64" y="135"/>
                    </a:lnTo>
                    <a:lnTo>
                      <a:pt x="64" y="133"/>
                    </a:lnTo>
                    <a:lnTo>
                      <a:pt x="64" y="131"/>
                    </a:lnTo>
                    <a:lnTo>
                      <a:pt x="64" y="133"/>
                    </a:lnTo>
                    <a:lnTo>
                      <a:pt x="62" y="131"/>
                    </a:lnTo>
                    <a:lnTo>
                      <a:pt x="60" y="131"/>
                    </a:lnTo>
                    <a:lnTo>
                      <a:pt x="62" y="131"/>
                    </a:lnTo>
                    <a:lnTo>
                      <a:pt x="62" y="129"/>
                    </a:lnTo>
                    <a:lnTo>
                      <a:pt x="62" y="127"/>
                    </a:lnTo>
                    <a:lnTo>
                      <a:pt x="60" y="127"/>
                    </a:lnTo>
                    <a:lnTo>
                      <a:pt x="62" y="127"/>
                    </a:lnTo>
                    <a:lnTo>
                      <a:pt x="64" y="125"/>
                    </a:lnTo>
                    <a:lnTo>
                      <a:pt x="64" y="123"/>
                    </a:lnTo>
                    <a:lnTo>
                      <a:pt x="64" y="122"/>
                    </a:lnTo>
                    <a:lnTo>
                      <a:pt x="66" y="122"/>
                    </a:lnTo>
                    <a:lnTo>
                      <a:pt x="66" y="120"/>
                    </a:lnTo>
                    <a:lnTo>
                      <a:pt x="68" y="120"/>
                    </a:lnTo>
                    <a:lnTo>
                      <a:pt x="68" y="118"/>
                    </a:lnTo>
                    <a:lnTo>
                      <a:pt x="68" y="116"/>
                    </a:lnTo>
                    <a:lnTo>
                      <a:pt x="68" y="118"/>
                    </a:lnTo>
                    <a:lnTo>
                      <a:pt x="68" y="116"/>
                    </a:lnTo>
                    <a:lnTo>
                      <a:pt x="68" y="114"/>
                    </a:lnTo>
                    <a:lnTo>
                      <a:pt x="68" y="112"/>
                    </a:lnTo>
                    <a:lnTo>
                      <a:pt x="68" y="110"/>
                    </a:lnTo>
                    <a:lnTo>
                      <a:pt x="68" y="108"/>
                    </a:lnTo>
                    <a:lnTo>
                      <a:pt x="69" y="106"/>
                    </a:lnTo>
                    <a:lnTo>
                      <a:pt x="71" y="106"/>
                    </a:lnTo>
                    <a:lnTo>
                      <a:pt x="73" y="106"/>
                    </a:lnTo>
                    <a:lnTo>
                      <a:pt x="73" y="104"/>
                    </a:lnTo>
                    <a:lnTo>
                      <a:pt x="75" y="104"/>
                    </a:lnTo>
                    <a:lnTo>
                      <a:pt x="75" y="102"/>
                    </a:lnTo>
                    <a:lnTo>
                      <a:pt x="77" y="102"/>
                    </a:lnTo>
                    <a:lnTo>
                      <a:pt x="77" y="100"/>
                    </a:lnTo>
                    <a:lnTo>
                      <a:pt x="77" y="98"/>
                    </a:lnTo>
                    <a:lnTo>
                      <a:pt x="79" y="98"/>
                    </a:lnTo>
                    <a:lnTo>
                      <a:pt x="79" y="97"/>
                    </a:lnTo>
                    <a:lnTo>
                      <a:pt x="81" y="97"/>
                    </a:lnTo>
                    <a:lnTo>
                      <a:pt x="83" y="97"/>
                    </a:lnTo>
                    <a:lnTo>
                      <a:pt x="83" y="95"/>
                    </a:lnTo>
                    <a:lnTo>
                      <a:pt x="85" y="95"/>
                    </a:lnTo>
                    <a:lnTo>
                      <a:pt x="87" y="95"/>
                    </a:lnTo>
                    <a:lnTo>
                      <a:pt x="87" y="93"/>
                    </a:lnTo>
                    <a:lnTo>
                      <a:pt x="89" y="93"/>
                    </a:lnTo>
                    <a:lnTo>
                      <a:pt x="91" y="93"/>
                    </a:lnTo>
                    <a:lnTo>
                      <a:pt x="92" y="93"/>
                    </a:lnTo>
                    <a:lnTo>
                      <a:pt x="92" y="91"/>
                    </a:lnTo>
                    <a:lnTo>
                      <a:pt x="92" y="89"/>
                    </a:lnTo>
                    <a:lnTo>
                      <a:pt x="92" y="87"/>
                    </a:lnTo>
                    <a:lnTo>
                      <a:pt x="92" y="85"/>
                    </a:lnTo>
                    <a:lnTo>
                      <a:pt x="91" y="85"/>
                    </a:lnTo>
                    <a:lnTo>
                      <a:pt x="91" y="87"/>
                    </a:lnTo>
                    <a:lnTo>
                      <a:pt x="91" y="85"/>
                    </a:lnTo>
                    <a:lnTo>
                      <a:pt x="89" y="85"/>
                    </a:lnTo>
                    <a:lnTo>
                      <a:pt x="89" y="83"/>
                    </a:lnTo>
                    <a:lnTo>
                      <a:pt x="87" y="83"/>
                    </a:lnTo>
                    <a:lnTo>
                      <a:pt x="89" y="83"/>
                    </a:lnTo>
                    <a:lnTo>
                      <a:pt x="89" y="81"/>
                    </a:lnTo>
                    <a:lnTo>
                      <a:pt x="89" y="79"/>
                    </a:lnTo>
                    <a:lnTo>
                      <a:pt x="91" y="79"/>
                    </a:lnTo>
                    <a:lnTo>
                      <a:pt x="91" y="77"/>
                    </a:lnTo>
                    <a:lnTo>
                      <a:pt x="89" y="77"/>
                    </a:lnTo>
                    <a:lnTo>
                      <a:pt x="91" y="77"/>
                    </a:lnTo>
                    <a:lnTo>
                      <a:pt x="91" y="75"/>
                    </a:lnTo>
                    <a:lnTo>
                      <a:pt x="89" y="73"/>
                    </a:lnTo>
                    <a:lnTo>
                      <a:pt x="87" y="72"/>
                    </a:lnTo>
                    <a:lnTo>
                      <a:pt x="87" y="73"/>
                    </a:lnTo>
                    <a:lnTo>
                      <a:pt x="87" y="75"/>
                    </a:lnTo>
                    <a:lnTo>
                      <a:pt x="87" y="77"/>
                    </a:lnTo>
                    <a:lnTo>
                      <a:pt x="83" y="75"/>
                    </a:lnTo>
                    <a:lnTo>
                      <a:pt x="81" y="79"/>
                    </a:lnTo>
                    <a:lnTo>
                      <a:pt x="79" y="79"/>
                    </a:lnTo>
                    <a:lnTo>
                      <a:pt x="73" y="77"/>
                    </a:lnTo>
                    <a:lnTo>
                      <a:pt x="73" y="79"/>
                    </a:lnTo>
                    <a:lnTo>
                      <a:pt x="73" y="77"/>
                    </a:lnTo>
                    <a:lnTo>
                      <a:pt x="71" y="79"/>
                    </a:lnTo>
                    <a:lnTo>
                      <a:pt x="71" y="73"/>
                    </a:lnTo>
                    <a:lnTo>
                      <a:pt x="73" y="73"/>
                    </a:lnTo>
                    <a:lnTo>
                      <a:pt x="73" y="75"/>
                    </a:lnTo>
                    <a:lnTo>
                      <a:pt x="73" y="73"/>
                    </a:lnTo>
                    <a:lnTo>
                      <a:pt x="75" y="73"/>
                    </a:lnTo>
                    <a:lnTo>
                      <a:pt x="75" y="72"/>
                    </a:lnTo>
                    <a:lnTo>
                      <a:pt x="73" y="70"/>
                    </a:lnTo>
                    <a:lnTo>
                      <a:pt x="69" y="68"/>
                    </a:lnTo>
                    <a:lnTo>
                      <a:pt x="69" y="66"/>
                    </a:lnTo>
                    <a:lnTo>
                      <a:pt x="68" y="64"/>
                    </a:lnTo>
                    <a:lnTo>
                      <a:pt x="66" y="66"/>
                    </a:lnTo>
                    <a:lnTo>
                      <a:pt x="64" y="64"/>
                    </a:lnTo>
                    <a:lnTo>
                      <a:pt x="60" y="60"/>
                    </a:lnTo>
                    <a:lnTo>
                      <a:pt x="58" y="56"/>
                    </a:lnTo>
                    <a:lnTo>
                      <a:pt x="56" y="56"/>
                    </a:lnTo>
                    <a:lnTo>
                      <a:pt x="62" y="48"/>
                    </a:lnTo>
                    <a:lnTo>
                      <a:pt x="62" y="47"/>
                    </a:lnTo>
                    <a:lnTo>
                      <a:pt x="64" y="47"/>
                    </a:lnTo>
                    <a:lnTo>
                      <a:pt x="62" y="45"/>
                    </a:lnTo>
                    <a:lnTo>
                      <a:pt x="60" y="45"/>
                    </a:lnTo>
                    <a:lnTo>
                      <a:pt x="58" y="43"/>
                    </a:lnTo>
                    <a:lnTo>
                      <a:pt x="56" y="43"/>
                    </a:lnTo>
                    <a:lnTo>
                      <a:pt x="56" y="41"/>
                    </a:lnTo>
                    <a:lnTo>
                      <a:pt x="52" y="39"/>
                    </a:lnTo>
                    <a:lnTo>
                      <a:pt x="50" y="39"/>
                    </a:lnTo>
                    <a:lnTo>
                      <a:pt x="50" y="37"/>
                    </a:lnTo>
                    <a:lnTo>
                      <a:pt x="48" y="37"/>
                    </a:lnTo>
                    <a:lnTo>
                      <a:pt x="52" y="35"/>
                    </a:lnTo>
                    <a:lnTo>
                      <a:pt x="56" y="35"/>
                    </a:lnTo>
                    <a:lnTo>
                      <a:pt x="58" y="35"/>
                    </a:lnTo>
                    <a:lnTo>
                      <a:pt x="62" y="37"/>
                    </a:lnTo>
                    <a:lnTo>
                      <a:pt x="64" y="35"/>
                    </a:lnTo>
                    <a:lnTo>
                      <a:pt x="66" y="33"/>
                    </a:lnTo>
                    <a:lnTo>
                      <a:pt x="68" y="31"/>
                    </a:lnTo>
                    <a:lnTo>
                      <a:pt x="68" y="29"/>
                    </a:lnTo>
                    <a:lnTo>
                      <a:pt x="69" y="29"/>
                    </a:lnTo>
                    <a:lnTo>
                      <a:pt x="68" y="29"/>
                    </a:lnTo>
                    <a:lnTo>
                      <a:pt x="68" y="27"/>
                    </a:lnTo>
                    <a:lnTo>
                      <a:pt x="68" y="25"/>
                    </a:lnTo>
                    <a:lnTo>
                      <a:pt x="66" y="25"/>
                    </a:lnTo>
                    <a:lnTo>
                      <a:pt x="64" y="24"/>
                    </a:lnTo>
                    <a:lnTo>
                      <a:pt x="64" y="20"/>
                    </a:lnTo>
                    <a:lnTo>
                      <a:pt x="66" y="22"/>
                    </a:lnTo>
                    <a:lnTo>
                      <a:pt x="66" y="20"/>
                    </a:lnTo>
                    <a:lnTo>
                      <a:pt x="66" y="18"/>
                    </a:lnTo>
                    <a:lnTo>
                      <a:pt x="69" y="16"/>
                    </a:lnTo>
                    <a:lnTo>
                      <a:pt x="69" y="18"/>
                    </a:lnTo>
                    <a:lnTo>
                      <a:pt x="71" y="18"/>
                    </a:lnTo>
                    <a:lnTo>
                      <a:pt x="73" y="18"/>
                    </a:lnTo>
                    <a:lnTo>
                      <a:pt x="73" y="20"/>
                    </a:lnTo>
                    <a:lnTo>
                      <a:pt x="77" y="18"/>
                    </a:lnTo>
                    <a:lnTo>
                      <a:pt x="79" y="16"/>
                    </a:lnTo>
                    <a:lnTo>
                      <a:pt x="81" y="16"/>
                    </a:lnTo>
                    <a:lnTo>
                      <a:pt x="89" y="10"/>
                    </a:lnTo>
                    <a:lnTo>
                      <a:pt x="91" y="6"/>
                    </a:lnTo>
                    <a:lnTo>
                      <a:pt x="96" y="2"/>
                    </a:lnTo>
                    <a:lnTo>
                      <a:pt x="96" y="0"/>
                    </a:lnTo>
                    <a:lnTo>
                      <a:pt x="98" y="2"/>
                    </a:lnTo>
                    <a:lnTo>
                      <a:pt x="100" y="2"/>
                    </a:lnTo>
                    <a:lnTo>
                      <a:pt x="102" y="2"/>
                    </a:lnTo>
                    <a:lnTo>
                      <a:pt x="104" y="4"/>
                    </a:lnTo>
                    <a:lnTo>
                      <a:pt x="106" y="4"/>
                    </a:lnTo>
                    <a:lnTo>
                      <a:pt x="106" y="6"/>
                    </a:lnTo>
                    <a:lnTo>
                      <a:pt x="108" y="6"/>
                    </a:lnTo>
                    <a:lnTo>
                      <a:pt x="108" y="8"/>
                    </a:lnTo>
                    <a:lnTo>
                      <a:pt x="110" y="8"/>
                    </a:lnTo>
                    <a:lnTo>
                      <a:pt x="110" y="10"/>
                    </a:lnTo>
                    <a:lnTo>
                      <a:pt x="112" y="10"/>
                    </a:lnTo>
                    <a:lnTo>
                      <a:pt x="114" y="10"/>
                    </a:lnTo>
                    <a:lnTo>
                      <a:pt x="114" y="12"/>
                    </a:lnTo>
                    <a:lnTo>
                      <a:pt x="116" y="14"/>
                    </a:lnTo>
                    <a:lnTo>
                      <a:pt x="117" y="14"/>
                    </a:lnTo>
                    <a:lnTo>
                      <a:pt x="117" y="16"/>
                    </a:lnTo>
                    <a:lnTo>
                      <a:pt x="119" y="16"/>
                    </a:lnTo>
                    <a:lnTo>
                      <a:pt x="121" y="18"/>
                    </a:lnTo>
                    <a:lnTo>
                      <a:pt x="123" y="20"/>
                    </a:lnTo>
                    <a:lnTo>
                      <a:pt x="125" y="25"/>
                    </a:lnTo>
                    <a:lnTo>
                      <a:pt x="127" y="25"/>
                    </a:lnTo>
                    <a:lnTo>
                      <a:pt x="127" y="27"/>
                    </a:lnTo>
                    <a:lnTo>
                      <a:pt x="131" y="31"/>
                    </a:lnTo>
                    <a:lnTo>
                      <a:pt x="129" y="31"/>
                    </a:lnTo>
                    <a:lnTo>
                      <a:pt x="129" y="33"/>
                    </a:lnTo>
                    <a:lnTo>
                      <a:pt x="129" y="35"/>
                    </a:lnTo>
                    <a:lnTo>
                      <a:pt x="129" y="37"/>
                    </a:lnTo>
                    <a:lnTo>
                      <a:pt x="131" y="35"/>
                    </a:lnTo>
                    <a:lnTo>
                      <a:pt x="131" y="33"/>
                    </a:lnTo>
                    <a:lnTo>
                      <a:pt x="133" y="35"/>
                    </a:lnTo>
                    <a:lnTo>
                      <a:pt x="135" y="35"/>
                    </a:lnTo>
                    <a:lnTo>
                      <a:pt x="135" y="39"/>
                    </a:lnTo>
                    <a:lnTo>
                      <a:pt x="137" y="3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90">
                <a:extLst>
                  <a:ext uri="{FF2B5EF4-FFF2-40B4-BE49-F238E27FC236}">
                    <a16:creationId xmlns="" xmlns:a16="http://schemas.microsoft.com/office/drawing/2014/main" id="{513C75BC-A933-49F8-9588-120F57F515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57375" y="4824413"/>
                <a:ext cx="30163" cy="79375"/>
              </a:xfrm>
              <a:custGeom>
                <a:avLst/>
                <a:gdLst>
                  <a:gd name="T0" fmla="*/ 6 w 19"/>
                  <a:gd name="T1" fmla="*/ 46 h 50"/>
                  <a:gd name="T2" fmla="*/ 8 w 19"/>
                  <a:gd name="T3" fmla="*/ 46 h 50"/>
                  <a:gd name="T4" fmla="*/ 12 w 19"/>
                  <a:gd name="T5" fmla="*/ 46 h 50"/>
                  <a:gd name="T6" fmla="*/ 12 w 19"/>
                  <a:gd name="T7" fmla="*/ 46 h 50"/>
                  <a:gd name="T8" fmla="*/ 14 w 19"/>
                  <a:gd name="T9" fmla="*/ 46 h 50"/>
                  <a:gd name="T10" fmla="*/ 14 w 19"/>
                  <a:gd name="T11" fmla="*/ 46 h 50"/>
                  <a:gd name="T12" fmla="*/ 14 w 19"/>
                  <a:gd name="T13" fmla="*/ 46 h 50"/>
                  <a:gd name="T14" fmla="*/ 15 w 19"/>
                  <a:gd name="T15" fmla="*/ 48 h 50"/>
                  <a:gd name="T16" fmla="*/ 15 w 19"/>
                  <a:gd name="T17" fmla="*/ 48 h 50"/>
                  <a:gd name="T18" fmla="*/ 14 w 19"/>
                  <a:gd name="T19" fmla="*/ 48 h 50"/>
                  <a:gd name="T20" fmla="*/ 12 w 19"/>
                  <a:gd name="T21" fmla="*/ 48 h 50"/>
                  <a:gd name="T22" fmla="*/ 12 w 19"/>
                  <a:gd name="T23" fmla="*/ 50 h 50"/>
                  <a:gd name="T24" fmla="*/ 10 w 19"/>
                  <a:gd name="T25" fmla="*/ 50 h 50"/>
                  <a:gd name="T26" fmla="*/ 8 w 19"/>
                  <a:gd name="T27" fmla="*/ 48 h 50"/>
                  <a:gd name="T28" fmla="*/ 6 w 19"/>
                  <a:gd name="T29" fmla="*/ 48 h 50"/>
                  <a:gd name="T30" fmla="*/ 8 w 19"/>
                  <a:gd name="T31" fmla="*/ 46 h 50"/>
                  <a:gd name="T32" fmla="*/ 8 w 19"/>
                  <a:gd name="T33" fmla="*/ 46 h 50"/>
                  <a:gd name="T34" fmla="*/ 8 w 19"/>
                  <a:gd name="T35" fmla="*/ 46 h 50"/>
                  <a:gd name="T36" fmla="*/ 10 w 19"/>
                  <a:gd name="T37" fmla="*/ 46 h 50"/>
                  <a:gd name="T38" fmla="*/ 8 w 19"/>
                  <a:gd name="T39" fmla="*/ 46 h 50"/>
                  <a:gd name="T40" fmla="*/ 8 w 19"/>
                  <a:gd name="T41" fmla="*/ 48 h 50"/>
                  <a:gd name="T42" fmla="*/ 8 w 19"/>
                  <a:gd name="T43" fmla="*/ 46 h 50"/>
                  <a:gd name="T44" fmla="*/ 10 w 19"/>
                  <a:gd name="T45" fmla="*/ 48 h 50"/>
                  <a:gd name="T46" fmla="*/ 10 w 19"/>
                  <a:gd name="T47" fmla="*/ 46 h 50"/>
                  <a:gd name="T48" fmla="*/ 10 w 19"/>
                  <a:gd name="T49" fmla="*/ 46 h 50"/>
                  <a:gd name="T50" fmla="*/ 6 w 19"/>
                  <a:gd name="T51" fmla="*/ 46 h 50"/>
                  <a:gd name="T52" fmla="*/ 6 w 19"/>
                  <a:gd name="T53" fmla="*/ 44 h 50"/>
                  <a:gd name="T54" fmla="*/ 8 w 19"/>
                  <a:gd name="T55" fmla="*/ 42 h 50"/>
                  <a:gd name="T56" fmla="*/ 10 w 19"/>
                  <a:gd name="T57" fmla="*/ 44 h 50"/>
                  <a:gd name="T58" fmla="*/ 0 w 19"/>
                  <a:gd name="T59" fmla="*/ 2 h 50"/>
                  <a:gd name="T60" fmla="*/ 0 w 19"/>
                  <a:gd name="T61" fmla="*/ 0 h 50"/>
                  <a:gd name="T62" fmla="*/ 19 w 19"/>
                  <a:gd name="T63" fmla="*/ 10 h 50"/>
                  <a:gd name="T64" fmla="*/ 19 w 19"/>
                  <a:gd name="T65" fmla="*/ 12 h 50"/>
                  <a:gd name="T66" fmla="*/ 19 w 19"/>
                  <a:gd name="T67" fmla="*/ 12 h 50"/>
                  <a:gd name="T68" fmla="*/ 19 w 19"/>
                  <a:gd name="T69" fmla="*/ 12 h 50"/>
                  <a:gd name="T70" fmla="*/ 19 w 19"/>
                  <a:gd name="T71" fmla="*/ 14 h 50"/>
                  <a:gd name="T72" fmla="*/ 19 w 19"/>
                  <a:gd name="T73" fmla="*/ 14 h 50"/>
                  <a:gd name="T74" fmla="*/ 19 w 19"/>
                  <a:gd name="T75" fmla="*/ 14 h 50"/>
                  <a:gd name="T76" fmla="*/ 19 w 19"/>
                  <a:gd name="T77" fmla="*/ 14 h 50"/>
                  <a:gd name="T78" fmla="*/ 19 w 19"/>
                  <a:gd name="T79" fmla="*/ 16 h 50"/>
                  <a:gd name="T80" fmla="*/ 19 w 19"/>
                  <a:gd name="T81" fmla="*/ 16 h 50"/>
                  <a:gd name="T82" fmla="*/ 17 w 19"/>
                  <a:gd name="T83" fmla="*/ 16 h 50"/>
                  <a:gd name="T84" fmla="*/ 17 w 19"/>
                  <a:gd name="T85" fmla="*/ 14 h 50"/>
                  <a:gd name="T86" fmla="*/ 17 w 19"/>
                  <a:gd name="T87" fmla="*/ 14 h 50"/>
                  <a:gd name="T88" fmla="*/ 17 w 19"/>
                  <a:gd name="T89" fmla="*/ 14 h 50"/>
                  <a:gd name="T90" fmla="*/ 19 w 19"/>
                  <a:gd name="T91" fmla="*/ 14 h 50"/>
                  <a:gd name="T92" fmla="*/ 19 w 19"/>
                  <a:gd name="T93" fmla="*/ 14 h 50"/>
                  <a:gd name="T94" fmla="*/ 19 w 19"/>
                  <a:gd name="T95" fmla="*/ 12 h 50"/>
                  <a:gd name="T96" fmla="*/ 19 w 19"/>
                  <a:gd name="T97" fmla="*/ 10 h 50"/>
                  <a:gd name="T98" fmla="*/ 19 w 19"/>
                  <a:gd name="T99" fmla="*/ 10 h 50"/>
                  <a:gd name="T100" fmla="*/ 19 w 19"/>
                  <a:gd name="T101" fmla="*/ 12 h 50"/>
                  <a:gd name="T102" fmla="*/ 19 w 19"/>
                  <a:gd name="T103" fmla="*/ 12 h 50"/>
                  <a:gd name="T104" fmla="*/ 17 w 19"/>
                  <a:gd name="T105" fmla="*/ 12 h 50"/>
                  <a:gd name="T106" fmla="*/ 17 w 19"/>
                  <a:gd name="T107" fmla="*/ 14 h 50"/>
                  <a:gd name="T108" fmla="*/ 17 w 19"/>
                  <a:gd name="T109" fmla="*/ 14 h 50"/>
                  <a:gd name="T110" fmla="*/ 17 w 19"/>
                  <a:gd name="T111" fmla="*/ 12 h 50"/>
                  <a:gd name="T112" fmla="*/ 17 w 19"/>
                  <a:gd name="T113" fmla="*/ 10 h 50"/>
                  <a:gd name="T114" fmla="*/ 19 w 19"/>
                  <a:gd name="T115" fmla="*/ 1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9" h="50">
                    <a:moveTo>
                      <a:pt x="6" y="46"/>
                    </a:moveTo>
                    <a:lnTo>
                      <a:pt x="6" y="48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6" y="46"/>
                    </a:lnTo>
                    <a:close/>
                    <a:moveTo>
                      <a:pt x="12" y="46"/>
                    </a:moveTo>
                    <a:lnTo>
                      <a:pt x="12" y="46"/>
                    </a:lnTo>
                    <a:lnTo>
                      <a:pt x="12" y="46"/>
                    </a:lnTo>
                    <a:lnTo>
                      <a:pt x="12" y="46"/>
                    </a:lnTo>
                    <a:lnTo>
                      <a:pt x="12" y="46"/>
                    </a:lnTo>
                    <a:lnTo>
                      <a:pt x="14" y="46"/>
                    </a:lnTo>
                    <a:lnTo>
                      <a:pt x="12" y="46"/>
                    </a:lnTo>
                    <a:lnTo>
                      <a:pt x="12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8"/>
                    </a:lnTo>
                    <a:lnTo>
                      <a:pt x="14" y="46"/>
                    </a:lnTo>
                    <a:lnTo>
                      <a:pt x="15" y="48"/>
                    </a:lnTo>
                    <a:lnTo>
                      <a:pt x="15" y="48"/>
                    </a:lnTo>
                    <a:lnTo>
                      <a:pt x="15" y="48"/>
                    </a:lnTo>
                    <a:lnTo>
                      <a:pt x="15" y="48"/>
                    </a:lnTo>
                    <a:lnTo>
                      <a:pt x="15" y="48"/>
                    </a:lnTo>
                    <a:lnTo>
                      <a:pt x="15" y="48"/>
                    </a:lnTo>
                    <a:lnTo>
                      <a:pt x="15" y="48"/>
                    </a:lnTo>
                    <a:lnTo>
                      <a:pt x="15" y="48"/>
                    </a:lnTo>
                    <a:lnTo>
                      <a:pt x="15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2" y="48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10" y="50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8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8" y="4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0" y="42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2" y="46"/>
                    </a:lnTo>
                    <a:close/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  <a:moveTo>
                      <a:pt x="19" y="10"/>
                    </a:move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19" y="16"/>
                    </a:lnTo>
                    <a:lnTo>
                      <a:pt x="17" y="16"/>
                    </a:lnTo>
                    <a:lnTo>
                      <a:pt x="17" y="16"/>
                    </a:lnTo>
                    <a:lnTo>
                      <a:pt x="17" y="16"/>
                    </a:lnTo>
                    <a:lnTo>
                      <a:pt x="17" y="16"/>
                    </a:lnTo>
                    <a:lnTo>
                      <a:pt x="17" y="16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4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0"/>
                    </a:lnTo>
                    <a:lnTo>
                      <a:pt x="19" y="10"/>
                    </a:lnTo>
                    <a:lnTo>
                      <a:pt x="19" y="10"/>
                    </a:lnTo>
                    <a:close/>
                    <a:moveTo>
                      <a:pt x="19" y="10"/>
                    </a:moveTo>
                    <a:lnTo>
                      <a:pt x="19" y="10"/>
                    </a:lnTo>
                    <a:lnTo>
                      <a:pt x="19" y="10"/>
                    </a:lnTo>
                    <a:lnTo>
                      <a:pt x="19" y="10"/>
                    </a:lnTo>
                    <a:lnTo>
                      <a:pt x="19" y="10"/>
                    </a:lnTo>
                    <a:lnTo>
                      <a:pt x="19" y="10"/>
                    </a:lnTo>
                    <a:lnTo>
                      <a:pt x="19" y="10"/>
                    </a:lnTo>
                    <a:lnTo>
                      <a:pt x="19" y="10"/>
                    </a:lnTo>
                    <a:lnTo>
                      <a:pt x="19" y="12"/>
                    </a:lnTo>
                    <a:lnTo>
                      <a:pt x="19" y="10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0"/>
                    </a:lnTo>
                    <a:lnTo>
                      <a:pt x="19" y="10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4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7" y="10"/>
                    </a:lnTo>
                    <a:lnTo>
                      <a:pt x="19" y="10"/>
                    </a:lnTo>
                    <a:lnTo>
                      <a:pt x="19" y="10"/>
                    </a:lnTo>
                    <a:lnTo>
                      <a:pt x="19" y="10"/>
                    </a:lnTo>
                    <a:lnTo>
                      <a:pt x="19" y="10"/>
                    </a:lnTo>
                    <a:lnTo>
                      <a:pt x="19" y="10"/>
                    </a:lnTo>
                    <a:lnTo>
                      <a:pt x="19" y="1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91">
                <a:extLst>
                  <a:ext uri="{FF2B5EF4-FFF2-40B4-BE49-F238E27FC236}">
                    <a16:creationId xmlns="" xmlns:a16="http://schemas.microsoft.com/office/drawing/2014/main" id="{57098479-E966-4E46-B0D5-2E4790B90E9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44675" y="4806951"/>
                <a:ext cx="28575" cy="93663"/>
              </a:xfrm>
              <a:custGeom>
                <a:avLst/>
                <a:gdLst>
                  <a:gd name="T0" fmla="*/ 16 w 18"/>
                  <a:gd name="T1" fmla="*/ 59 h 59"/>
                  <a:gd name="T2" fmla="*/ 16 w 18"/>
                  <a:gd name="T3" fmla="*/ 59 h 59"/>
                  <a:gd name="T4" fmla="*/ 16 w 18"/>
                  <a:gd name="T5" fmla="*/ 59 h 59"/>
                  <a:gd name="T6" fmla="*/ 16 w 18"/>
                  <a:gd name="T7" fmla="*/ 59 h 59"/>
                  <a:gd name="T8" fmla="*/ 16 w 18"/>
                  <a:gd name="T9" fmla="*/ 59 h 59"/>
                  <a:gd name="T10" fmla="*/ 16 w 18"/>
                  <a:gd name="T11" fmla="*/ 57 h 59"/>
                  <a:gd name="T12" fmla="*/ 16 w 18"/>
                  <a:gd name="T13" fmla="*/ 57 h 59"/>
                  <a:gd name="T14" fmla="*/ 16 w 18"/>
                  <a:gd name="T15" fmla="*/ 57 h 59"/>
                  <a:gd name="T16" fmla="*/ 16 w 18"/>
                  <a:gd name="T17" fmla="*/ 57 h 59"/>
                  <a:gd name="T18" fmla="*/ 16 w 18"/>
                  <a:gd name="T19" fmla="*/ 59 h 59"/>
                  <a:gd name="T20" fmla="*/ 0 w 18"/>
                  <a:gd name="T21" fmla="*/ 11 h 59"/>
                  <a:gd name="T22" fmla="*/ 0 w 18"/>
                  <a:gd name="T23" fmla="*/ 11 h 59"/>
                  <a:gd name="T24" fmla="*/ 0 w 18"/>
                  <a:gd name="T25" fmla="*/ 11 h 59"/>
                  <a:gd name="T26" fmla="*/ 0 w 18"/>
                  <a:gd name="T27" fmla="*/ 11 h 59"/>
                  <a:gd name="T28" fmla="*/ 0 w 18"/>
                  <a:gd name="T29" fmla="*/ 11 h 59"/>
                  <a:gd name="T30" fmla="*/ 18 w 18"/>
                  <a:gd name="T31" fmla="*/ 2 h 59"/>
                  <a:gd name="T32" fmla="*/ 18 w 18"/>
                  <a:gd name="T33" fmla="*/ 2 h 59"/>
                  <a:gd name="T34" fmla="*/ 18 w 18"/>
                  <a:gd name="T35" fmla="*/ 2 h 59"/>
                  <a:gd name="T36" fmla="*/ 18 w 18"/>
                  <a:gd name="T37" fmla="*/ 0 h 59"/>
                  <a:gd name="T38" fmla="*/ 18 w 18"/>
                  <a:gd name="T39" fmla="*/ 2 h 59"/>
                  <a:gd name="T40" fmla="*/ 18 w 18"/>
                  <a:gd name="T41" fmla="*/ 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" h="59">
                    <a:moveTo>
                      <a:pt x="16" y="59"/>
                    </a:moveTo>
                    <a:lnTo>
                      <a:pt x="16" y="59"/>
                    </a:lnTo>
                    <a:lnTo>
                      <a:pt x="16" y="59"/>
                    </a:lnTo>
                    <a:lnTo>
                      <a:pt x="16" y="59"/>
                    </a:lnTo>
                    <a:lnTo>
                      <a:pt x="16" y="59"/>
                    </a:lnTo>
                    <a:lnTo>
                      <a:pt x="16" y="57"/>
                    </a:lnTo>
                    <a:lnTo>
                      <a:pt x="16" y="57"/>
                    </a:lnTo>
                    <a:lnTo>
                      <a:pt x="16" y="57"/>
                    </a:lnTo>
                    <a:lnTo>
                      <a:pt x="16" y="57"/>
                    </a:lnTo>
                    <a:lnTo>
                      <a:pt x="16" y="59"/>
                    </a:lnTo>
                    <a:close/>
                    <a:moveTo>
                      <a:pt x="0" y="11"/>
                    </a:moveTo>
                    <a:lnTo>
                      <a:pt x="0" y="11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1"/>
                    </a:lnTo>
                    <a:close/>
                    <a:moveTo>
                      <a:pt x="18" y="2"/>
                    </a:moveTo>
                    <a:lnTo>
                      <a:pt x="18" y="2"/>
                    </a:lnTo>
                    <a:lnTo>
                      <a:pt x="18" y="2"/>
                    </a:lnTo>
                    <a:lnTo>
                      <a:pt x="18" y="0"/>
                    </a:lnTo>
                    <a:lnTo>
                      <a:pt x="18" y="2"/>
                    </a:lnTo>
                    <a:lnTo>
                      <a:pt x="18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92">
                <a:extLst>
                  <a:ext uri="{FF2B5EF4-FFF2-40B4-BE49-F238E27FC236}">
                    <a16:creationId xmlns="" xmlns:a16="http://schemas.microsoft.com/office/drawing/2014/main" id="{086A033D-A49D-492D-9303-7D3ED8A652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4650" y="4381501"/>
                <a:ext cx="365125" cy="425450"/>
              </a:xfrm>
              <a:custGeom>
                <a:avLst/>
                <a:gdLst>
                  <a:gd name="T0" fmla="*/ 205 w 230"/>
                  <a:gd name="T1" fmla="*/ 43 h 268"/>
                  <a:gd name="T2" fmla="*/ 201 w 230"/>
                  <a:gd name="T3" fmla="*/ 66 h 268"/>
                  <a:gd name="T4" fmla="*/ 228 w 230"/>
                  <a:gd name="T5" fmla="*/ 83 h 268"/>
                  <a:gd name="T6" fmla="*/ 211 w 230"/>
                  <a:gd name="T7" fmla="*/ 104 h 268"/>
                  <a:gd name="T8" fmla="*/ 217 w 230"/>
                  <a:gd name="T9" fmla="*/ 135 h 268"/>
                  <a:gd name="T10" fmla="*/ 197 w 230"/>
                  <a:gd name="T11" fmla="*/ 158 h 268"/>
                  <a:gd name="T12" fmla="*/ 194 w 230"/>
                  <a:gd name="T13" fmla="*/ 177 h 268"/>
                  <a:gd name="T14" fmla="*/ 182 w 230"/>
                  <a:gd name="T15" fmla="*/ 193 h 268"/>
                  <a:gd name="T16" fmla="*/ 178 w 230"/>
                  <a:gd name="T17" fmla="*/ 214 h 268"/>
                  <a:gd name="T18" fmla="*/ 188 w 230"/>
                  <a:gd name="T19" fmla="*/ 218 h 268"/>
                  <a:gd name="T20" fmla="*/ 188 w 230"/>
                  <a:gd name="T21" fmla="*/ 222 h 268"/>
                  <a:gd name="T22" fmla="*/ 184 w 230"/>
                  <a:gd name="T23" fmla="*/ 231 h 268"/>
                  <a:gd name="T24" fmla="*/ 180 w 230"/>
                  <a:gd name="T25" fmla="*/ 237 h 268"/>
                  <a:gd name="T26" fmla="*/ 176 w 230"/>
                  <a:gd name="T27" fmla="*/ 241 h 268"/>
                  <a:gd name="T28" fmla="*/ 171 w 230"/>
                  <a:gd name="T29" fmla="*/ 247 h 268"/>
                  <a:gd name="T30" fmla="*/ 167 w 230"/>
                  <a:gd name="T31" fmla="*/ 247 h 268"/>
                  <a:gd name="T32" fmla="*/ 165 w 230"/>
                  <a:gd name="T33" fmla="*/ 248 h 268"/>
                  <a:gd name="T34" fmla="*/ 161 w 230"/>
                  <a:gd name="T35" fmla="*/ 252 h 268"/>
                  <a:gd name="T36" fmla="*/ 155 w 230"/>
                  <a:gd name="T37" fmla="*/ 262 h 268"/>
                  <a:gd name="T38" fmla="*/ 149 w 230"/>
                  <a:gd name="T39" fmla="*/ 268 h 268"/>
                  <a:gd name="T40" fmla="*/ 149 w 230"/>
                  <a:gd name="T41" fmla="*/ 268 h 268"/>
                  <a:gd name="T42" fmla="*/ 146 w 230"/>
                  <a:gd name="T43" fmla="*/ 260 h 268"/>
                  <a:gd name="T44" fmla="*/ 136 w 230"/>
                  <a:gd name="T45" fmla="*/ 260 h 268"/>
                  <a:gd name="T46" fmla="*/ 130 w 230"/>
                  <a:gd name="T47" fmla="*/ 243 h 268"/>
                  <a:gd name="T48" fmla="*/ 119 w 230"/>
                  <a:gd name="T49" fmla="*/ 233 h 268"/>
                  <a:gd name="T50" fmla="*/ 109 w 230"/>
                  <a:gd name="T51" fmla="*/ 225 h 268"/>
                  <a:gd name="T52" fmla="*/ 96 w 230"/>
                  <a:gd name="T53" fmla="*/ 193 h 268"/>
                  <a:gd name="T54" fmla="*/ 86 w 230"/>
                  <a:gd name="T55" fmla="*/ 177 h 268"/>
                  <a:gd name="T56" fmla="*/ 75 w 230"/>
                  <a:gd name="T57" fmla="*/ 160 h 268"/>
                  <a:gd name="T58" fmla="*/ 75 w 230"/>
                  <a:gd name="T59" fmla="*/ 141 h 268"/>
                  <a:gd name="T60" fmla="*/ 75 w 230"/>
                  <a:gd name="T61" fmla="*/ 129 h 268"/>
                  <a:gd name="T62" fmla="*/ 69 w 230"/>
                  <a:gd name="T63" fmla="*/ 123 h 268"/>
                  <a:gd name="T64" fmla="*/ 59 w 230"/>
                  <a:gd name="T65" fmla="*/ 110 h 268"/>
                  <a:gd name="T66" fmla="*/ 51 w 230"/>
                  <a:gd name="T67" fmla="*/ 93 h 268"/>
                  <a:gd name="T68" fmla="*/ 38 w 230"/>
                  <a:gd name="T69" fmla="*/ 98 h 268"/>
                  <a:gd name="T70" fmla="*/ 19 w 230"/>
                  <a:gd name="T71" fmla="*/ 89 h 268"/>
                  <a:gd name="T72" fmla="*/ 3 w 230"/>
                  <a:gd name="T73" fmla="*/ 87 h 268"/>
                  <a:gd name="T74" fmla="*/ 3 w 230"/>
                  <a:gd name="T75" fmla="*/ 72 h 268"/>
                  <a:gd name="T76" fmla="*/ 7 w 230"/>
                  <a:gd name="T77" fmla="*/ 72 h 268"/>
                  <a:gd name="T78" fmla="*/ 19 w 230"/>
                  <a:gd name="T79" fmla="*/ 72 h 268"/>
                  <a:gd name="T80" fmla="*/ 30 w 230"/>
                  <a:gd name="T81" fmla="*/ 60 h 268"/>
                  <a:gd name="T82" fmla="*/ 40 w 230"/>
                  <a:gd name="T83" fmla="*/ 64 h 268"/>
                  <a:gd name="T84" fmla="*/ 48 w 230"/>
                  <a:gd name="T85" fmla="*/ 81 h 268"/>
                  <a:gd name="T86" fmla="*/ 59 w 230"/>
                  <a:gd name="T87" fmla="*/ 89 h 268"/>
                  <a:gd name="T88" fmla="*/ 75 w 230"/>
                  <a:gd name="T89" fmla="*/ 108 h 268"/>
                  <a:gd name="T90" fmla="*/ 86 w 230"/>
                  <a:gd name="T91" fmla="*/ 104 h 268"/>
                  <a:gd name="T92" fmla="*/ 90 w 230"/>
                  <a:gd name="T93" fmla="*/ 104 h 268"/>
                  <a:gd name="T94" fmla="*/ 94 w 230"/>
                  <a:gd name="T95" fmla="*/ 93 h 268"/>
                  <a:gd name="T96" fmla="*/ 107 w 230"/>
                  <a:gd name="T97" fmla="*/ 83 h 268"/>
                  <a:gd name="T98" fmla="*/ 124 w 230"/>
                  <a:gd name="T99" fmla="*/ 72 h 268"/>
                  <a:gd name="T100" fmla="*/ 140 w 230"/>
                  <a:gd name="T101" fmla="*/ 39 h 268"/>
                  <a:gd name="T102" fmla="*/ 123 w 230"/>
                  <a:gd name="T103" fmla="*/ 47 h 268"/>
                  <a:gd name="T104" fmla="*/ 121 w 230"/>
                  <a:gd name="T105" fmla="*/ 33 h 268"/>
                  <a:gd name="T106" fmla="*/ 136 w 230"/>
                  <a:gd name="T107" fmla="*/ 22 h 268"/>
                  <a:gd name="T108" fmla="*/ 149 w 230"/>
                  <a:gd name="T109" fmla="*/ 20 h 268"/>
                  <a:gd name="T110" fmla="*/ 161 w 230"/>
                  <a:gd name="T111" fmla="*/ 18 h 268"/>
                  <a:gd name="T112" fmla="*/ 171 w 230"/>
                  <a:gd name="T113" fmla="*/ 4 h 268"/>
                  <a:gd name="T114" fmla="*/ 172 w 230"/>
                  <a:gd name="T115" fmla="*/ 16 h 268"/>
                  <a:gd name="T116" fmla="*/ 184 w 230"/>
                  <a:gd name="T117" fmla="*/ 14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30" h="268">
                    <a:moveTo>
                      <a:pt x="194" y="25"/>
                    </a:moveTo>
                    <a:lnTo>
                      <a:pt x="196" y="27"/>
                    </a:lnTo>
                    <a:lnTo>
                      <a:pt x="197" y="27"/>
                    </a:lnTo>
                    <a:lnTo>
                      <a:pt x="197" y="29"/>
                    </a:lnTo>
                    <a:lnTo>
                      <a:pt x="199" y="37"/>
                    </a:lnTo>
                    <a:lnTo>
                      <a:pt x="205" y="39"/>
                    </a:lnTo>
                    <a:lnTo>
                      <a:pt x="207" y="41"/>
                    </a:lnTo>
                    <a:lnTo>
                      <a:pt x="205" y="43"/>
                    </a:lnTo>
                    <a:lnTo>
                      <a:pt x="203" y="45"/>
                    </a:lnTo>
                    <a:lnTo>
                      <a:pt x="201" y="47"/>
                    </a:lnTo>
                    <a:lnTo>
                      <a:pt x="201" y="50"/>
                    </a:lnTo>
                    <a:lnTo>
                      <a:pt x="201" y="52"/>
                    </a:lnTo>
                    <a:lnTo>
                      <a:pt x="201" y="60"/>
                    </a:lnTo>
                    <a:lnTo>
                      <a:pt x="203" y="60"/>
                    </a:lnTo>
                    <a:lnTo>
                      <a:pt x="201" y="64"/>
                    </a:lnTo>
                    <a:lnTo>
                      <a:pt x="201" y="66"/>
                    </a:lnTo>
                    <a:lnTo>
                      <a:pt x="201" y="72"/>
                    </a:lnTo>
                    <a:lnTo>
                      <a:pt x="201" y="77"/>
                    </a:lnTo>
                    <a:lnTo>
                      <a:pt x="203" y="79"/>
                    </a:lnTo>
                    <a:lnTo>
                      <a:pt x="205" y="85"/>
                    </a:lnTo>
                    <a:lnTo>
                      <a:pt x="209" y="89"/>
                    </a:lnTo>
                    <a:lnTo>
                      <a:pt x="224" y="83"/>
                    </a:lnTo>
                    <a:lnTo>
                      <a:pt x="226" y="83"/>
                    </a:lnTo>
                    <a:lnTo>
                      <a:pt x="228" y="83"/>
                    </a:lnTo>
                    <a:lnTo>
                      <a:pt x="228" y="85"/>
                    </a:lnTo>
                    <a:lnTo>
                      <a:pt x="228" y="87"/>
                    </a:lnTo>
                    <a:lnTo>
                      <a:pt x="230" y="89"/>
                    </a:lnTo>
                    <a:lnTo>
                      <a:pt x="224" y="89"/>
                    </a:lnTo>
                    <a:lnTo>
                      <a:pt x="221" y="89"/>
                    </a:lnTo>
                    <a:lnTo>
                      <a:pt x="213" y="91"/>
                    </a:lnTo>
                    <a:lnTo>
                      <a:pt x="213" y="100"/>
                    </a:lnTo>
                    <a:lnTo>
                      <a:pt x="211" y="104"/>
                    </a:lnTo>
                    <a:lnTo>
                      <a:pt x="211" y="108"/>
                    </a:lnTo>
                    <a:lnTo>
                      <a:pt x="211" y="110"/>
                    </a:lnTo>
                    <a:lnTo>
                      <a:pt x="209" y="116"/>
                    </a:lnTo>
                    <a:lnTo>
                      <a:pt x="209" y="122"/>
                    </a:lnTo>
                    <a:lnTo>
                      <a:pt x="213" y="125"/>
                    </a:lnTo>
                    <a:lnTo>
                      <a:pt x="213" y="127"/>
                    </a:lnTo>
                    <a:lnTo>
                      <a:pt x="211" y="133"/>
                    </a:lnTo>
                    <a:lnTo>
                      <a:pt x="217" y="135"/>
                    </a:lnTo>
                    <a:lnTo>
                      <a:pt x="217" y="147"/>
                    </a:lnTo>
                    <a:lnTo>
                      <a:pt x="213" y="145"/>
                    </a:lnTo>
                    <a:lnTo>
                      <a:pt x="213" y="148"/>
                    </a:lnTo>
                    <a:lnTo>
                      <a:pt x="211" y="148"/>
                    </a:lnTo>
                    <a:lnTo>
                      <a:pt x="207" y="147"/>
                    </a:lnTo>
                    <a:lnTo>
                      <a:pt x="199" y="150"/>
                    </a:lnTo>
                    <a:lnTo>
                      <a:pt x="199" y="152"/>
                    </a:lnTo>
                    <a:lnTo>
                      <a:pt x="197" y="158"/>
                    </a:lnTo>
                    <a:lnTo>
                      <a:pt x="194" y="156"/>
                    </a:lnTo>
                    <a:lnTo>
                      <a:pt x="186" y="152"/>
                    </a:lnTo>
                    <a:lnTo>
                      <a:pt x="178" y="158"/>
                    </a:lnTo>
                    <a:lnTo>
                      <a:pt x="190" y="168"/>
                    </a:lnTo>
                    <a:lnTo>
                      <a:pt x="184" y="175"/>
                    </a:lnTo>
                    <a:lnTo>
                      <a:pt x="188" y="177"/>
                    </a:lnTo>
                    <a:lnTo>
                      <a:pt x="190" y="177"/>
                    </a:lnTo>
                    <a:lnTo>
                      <a:pt x="194" y="177"/>
                    </a:lnTo>
                    <a:lnTo>
                      <a:pt x="194" y="181"/>
                    </a:lnTo>
                    <a:lnTo>
                      <a:pt x="192" y="181"/>
                    </a:lnTo>
                    <a:lnTo>
                      <a:pt x="192" y="183"/>
                    </a:lnTo>
                    <a:lnTo>
                      <a:pt x="188" y="187"/>
                    </a:lnTo>
                    <a:lnTo>
                      <a:pt x="186" y="187"/>
                    </a:lnTo>
                    <a:lnTo>
                      <a:pt x="186" y="189"/>
                    </a:lnTo>
                    <a:lnTo>
                      <a:pt x="184" y="191"/>
                    </a:lnTo>
                    <a:lnTo>
                      <a:pt x="182" y="193"/>
                    </a:lnTo>
                    <a:lnTo>
                      <a:pt x="167" y="210"/>
                    </a:lnTo>
                    <a:lnTo>
                      <a:pt x="169" y="210"/>
                    </a:lnTo>
                    <a:lnTo>
                      <a:pt x="171" y="210"/>
                    </a:lnTo>
                    <a:lnTo>
                      <a:pt x="172" y="210"/>
                    </a:lnTo>
                    <a:lnTo>
                      <a:pt x="172" y="212"/>
                    </a:lnTo>
                    <a:lnTo>
                      <a:pt x="174" y="212"/>
                    </a:lnTo>
                    <a:lnTo>
                      <a:pt x="176" y="214"/>
                    </a:lnTo>
                    <a:lnTo>
                      <a:pt x="178" y="214"/>
                    </a:lnTo>
                    <a:lnTo>
                      <a:pt x="180" y="214"/>
                    </a:lnTo>
                    <a:lnTo>
                      <a:pt x="182" y="214"/>
                    </a:lnTo>
                    <a:lnTo>
                      <a:pt x="184" y="212"/>
                    </a:lnTo>
                    <a:lnTo>
                      <a:pt x="184" y="214"/>
                    </a:lnTo>
                    <a:lnTo>
                      <a:pt x="186" y="214"/>
                    </a:lnTo>
                    <a:lnTo>
                      <a:pt x="186" y="216"/>
                    </a:lnTo>
                    <a:lnTo>
                      <a:pt x="188" y="216"/>
                    </a:lnTo>
                    <a:lnTo>
                      <a:pt x="188" y="218"/>
                    </a:lnTo>
                    <a:lnTo>
                      <a:pt x="190" y="218"/>
                    </a:lnTo>
                    <a:lnTo>
                      <a:pt x="192" y="218"/>
                    </a:lnTo>
                    <a:lnTo>
                      <a:pt x="192" y="220"/>
                    </a:lnTo>
                    <a:lnTo>
                      <a:pt x="192" y="222"/>
                    </a:lnTo>
                    <a:lnTo>
                      <a:pt x="192" y="220"/>
                    </a:lnTo>
                    <a:lnTo>
                      <a:pt x="190" y="220"/>
                    </a:lnTo>
                    <a:lnTo>
                      <a:pt x="188" y="220"/>
                    </a:lnTo>
                    <a:lnTo>
                      <a:pt x="188" y="222"/>
                    </a:lnTo>
                    <a:lnTo>
                      <a:pt x="188" y="223"/>
                    </a:lnTo>
                    <a:lnTo>
                      <a:pt x="186" y="223"/>
                    </a:lnTo>
                    <a:lnTo>
                      <a:pt x="186" y="225"/>
                    </a:lnTo>
                    <a:lnTo>
                      <a:pt x="186" y="227"/>
                    </a:lnTo>
                    <a:lnTo>
                      <a:pt x="188" y="227"/>
                    </a:lnTo>
                    <a:lnTo>
                      <a:pt x="186" y="229"/>
                    </a:lnTo>
                    <a:lnTo>
                      <a:pt x="186" y="231"/>
                    </a:lnTo>
                    <a:lnTo>
                      <a:pt x="184" y="231"/>
                    </a:lnTo>
                    <a:lnTo>
                      <a:pt x="184" y="233"/>
                    </a:lnTo>
                    <a:lnTo>
                      <a:pt x="184" y="231"/>
                    </a:lnTo>
                    <a:lnTo>
                      <a:pt x="182" y="231"/>
                    </a:lnTo>
                    <a:lnTo>
                      <a:pt x="184" y="231"/>
                    </a:lnTo>
                    <a:lnTo>
                      <a:pt x="182" y="231"/>
                    </a:lnTo>
                    <a:lnTo>
                      <a:pt x="182" y="233"/>
                    </a:lnTo>
                    <a:lnTo>
                      <a:pt x="180" y="235"/>
                    </a:lnTo>
                    <a:lnTo>
                      <a:pt x="180" y="237"/>
                    </a:lnTo>
                    <a:lnTo>
                      <a:pt x="178" y="237"/>
                    </a:lnTo>
                    <a:lnTo>
                      <a:pt x="178" y="239"/>
                    </a:lnTo>
                    <a:lnTo>
                      <a:pt x="178" y="237"/>
                    </a:lnTo>
                    <a:lnTo>
                      <a:pt x="178" y="235"/>
                    </a:lnTo>
                    <a:lnTo>
                      <a:pt x="178" y="237"/>
                    </a:lnTo>
                    <a:lnTo>
                      <a:pt x="178" y="239"/>
                    </a:lnTo>
                    <a:lnTo>
                      <a:pt x="176" y="239"/>
                    </a:lnTo>
                    <a:lnTo>
                      <a:pt x="176" y="241"/>
                    </a:lnTo>
                    <a:lnTo>
                      <a:pt x="174" y="241"/>
                    </a:lnTo>
                    <a:lnTo>
                      <a:pt x="174" y="243"/>
                    </a:lnTo>
                    <a:lnTo>
                      <a:pt x="172" y="243"/>
                    </a:lnTo>
                    <a:lnTo>
                      <a:pt x="172" y="245"/>
                    </a:lnTo>
                    <a:lnTo>
                      <a:pt x="172" y="247"/>
                    </a:lnTo>
                    <a:lnTo>
                      <a:pt x="171" y="247"/>
                    </a:lnTo>
                    <a:lnTo>
                      <a:pt x="171" y="248"/>
                    </a:lnTo>
                    <a:lnTo>
                      <a:pt x="171" y="247"/>
                    </a:lnTo>
                    <a:lnTo>
                      <a:pt x="171" y="245"/>
                    </a:lnTo>
                    <a:lnTo>
                      <a:pt x="171" y="243"/>
                    </a:lnTo>
                    <a:lnTo>
                      <a:pt x="171" y="245"/>
                    </a:lnTo>
                    <a:lnTo>
                      <a:pt x="169" y="245"/>
                    </a:lnTo>
                    <a:lnTo>
                      <a:pt x="169" y="247"/>
                    </a:lnTo>
                    <a:lnTo>
                      <a:pt x="169" y="248"/>
                    </a:lnTo>
                    <a:lnTo>
                      <a:pt x="167" y="248"/>
                    </a:lnTo>
                    <a:lnTo>
                      <a:pt x="167" y="247"/>
                    </a:lnTo>
                    <a:lnTo>
                      <a:pt x="167" y="248"/>
                    </a:lnTo>
                    <a:lnTo>
                      <a:pt x="165" y="248"/>
                    </a:lnTo>
                    <a:lnTo>
                      <a:pt x="167" y="248"/>
                    </a:lnTo>
                    <a:lnTo>
                      <a:pt x="165" y="248"/>
                    </a:lnTo>
                    <a:lnTo>
                      <a:pt x="165" y="250"/>
                    </a:lnTo>
                    <a:lnTo>
                      <a:pt x="165" y="248"/>
                    </a:lnTo>
                    <a:lnTo>
                      <a:pt x="165" y="250"/>
                    </a:lnTo>
                    <a:lnTo>
                      <a:pt x="165" y="248"/>
                    </a:lnTo>
                    <a:lnTo>
                      <a:pt x="165" y="250"/>
                    </a:lnTo>
                    <a:lnTo>
                      <a:pt x="163" y="250"/>
                    </a:lnTo>
                    <a:lnTo>
                      <a:pt x="165" y="250"/>
                    </a:lnTo>
                    <a:lnTo>
                      <a:pt x="163" y="250"/>
                    </a:lnTo>
                    <a:lnTo>
                      <a:pt x="163" y="252"/>
                    </a:lnTo>
                    <a:lnTo>
                      <a:pt x="163" y="250"/>
                    </a:lnTo>
                    <a:lnTo>
                      <a:pt x="163" y="252"/>
                    </a:lnTo>
                    <a:lnTo>
                      <a:pt x="161" y="252"/>
                    </a:lnTo>
                    <a:lnTo>
                      <a:pt x="161" y="254"/>
                    </a:lnTo>
                    <a:lnTo>
                      <a:pt x="159" y="254"/>
                    </a:lnTo>
                    <a:lnTo>
                      <a:pt x="159" y="256"/>
                    </a:lnTo>
                    <a:lnTo>
                      <a:pt x="157" y="256"/>
                    </a:lnTo>
                    <a:lnTo>
                      <a:pt x="157" y="258"/>
                    </a:lnTo>
                    <a:lnTo>
                      <a:pt x="155" y="258"/>
                    </a:lnTo>
                    <a:lnTo>
                      <a:pt x="155" y="260"/>
                    </a:lnTo>
                    <a:lnTo>
                      <a:pt x="155" y="262"/>
                    </a:lnTo>
                    <a:lnTo>
                      <a:pt x="155" y="264"/>
                    </a:lnTo>
                    <a:lnTo>
                      <a:pt x="153" y="264"/>
                    </a:lnTo>
                    <a:lnTo>
                      <a:pt x="153" y="262"/>
                    </a:lnTo>
                    <a:lnTo>
                      <a:pt x="151" y="262"/>
                    </a:lnTo>
                    <a:lnTo>
                      <a:pt x="151" y="264"/>
                    </a:lnTo>
                    <a:lnTo>
                      <a:pt x="151" y="266"/>
                    </a:lnTo>
                    <a:lnTo>
                      <a:pt x="149" y="266"/>
                    </a:lnTo>
                    <a:lnTo>
                      <a:pt x="149" y="268"/>
                    </a:lnTo>
                    <a:lnTo>
                      <a:pt x="149" y="266"/>
                    </a:lnTo>
                    <a:lnTo>
                      <a:pt x="149" y="268"/>
                    </a:lnTo>
                    <a:lnTo>
                      <a:pt x="148" y="268"/>
                    </a:lnTo>
                    <a:lnTo>
                      <a:pt x="149" y="268"/>
                    </a:lnTo>
                    <a:lnTo>
                      <a:pt x="148" y="268"/>
                    </a:lnTo>
                    <a:lnTo>
                      <a:pt x="149" y="268"/>
                    </a:lnTo>
                    <a:lnTo>
                      <a:pt x="148" y="268"/>
                    </a:lnTo>
                    <a:lnTo>
                      <a:pt x="149" y="268"/>
                    </a:lnTo>
                    <a:lnTo>
                      <a:pt x="148" y="268"/>
                    </a:lnTo>
                    <a:lnTo>
                      <a:pt x="146" y="268"/>
                    </a:lnTo>
                    <a:lnTo>
                      <a:pt x="148" y="268"/>
                    </a:lnTo>
                    <a:lnTo>
                      <a:pt x="146" y="268"/>
                    </a:lnTo>
                    <a:lnTo>
                      <a:pt x="146" y="266"/>
                    </a:lnTo>
                    <a:lnTo>
                      <a:pt x="146" y="264"/>
                    </a:lnTo>
                    <a:lnTo>
                      <a:pt x="146" y="262"/>
                    </a:lnTo>
                    <a:lnTo>
                      <a:pt x="146" y="260"/>
                    </a:lnTo>
                    <a:lnTo>
                      <a:pt x="146" y="262"/>
                    </a:lnTo>
                    <a:lnTo>
                      <a:pt x="144" y="262"/>
                    </a:lnTo>
                    <a:lnTo>
                      <a:pt x="142" y="262"/>
                    </a:lnTo>
                    <a:lnTo>
                      <a:pt x="142" y="258"/>
                    </a:lnTo>
                    <a:lnTo>
                      <a:pt x="140" y="258"/>
                    </a:lnTo>
                    <a:lnTo>
                      <a:pt x="138" y="256"/>
                    </a:lnTo>
                    <a:lnTo>
                      <a:pt x="138" y="258"/>
                    </a:lnTo>
                    <a:lnTo>
                      <a:pt x="136" y="260"/>
                    </a:lnTo>
                    <a:lnTo>
                      <a:pt x="136" y="258"/>
                    </a:lnTo>
                    <a:lnTo>
                      <a:pt x="136" y="256"/>
                    </a:lnTo>
                    <a:lnTo>
                      <a:pt x="136" y="254"/>
                    </a:lnTo>
                    <a:lnTo>
                      <a:pt x="138" y="254"/>
                    </a:lnTo>
                    <a:lnTo>
                      <a:pt x="134" y="250"/>
                    </a:lnTo>
                    <a:lnTo>
                      <a:pt x="134" y="248"/>
                    </a:lnTo>
                    <a:lnTo>
                      <a:pt x="132" y="248"/>
                    </a:lnTo>
                    <a:lnTo>
                      <a:pt x="130" y="243"/>
                    </a:lnTo>
                    <a:lnTo>
                      <a:pt x="128" y="241"/>
                    </a:lnTo>
                    <a:lnTo>
                      <a:pt x="126" y="239"/>
                    </a:lnTo>
                    <a:lnTo>
                      <a:pt x="124" y="239"/>
                    </a:lnTo>
                    <a:lnTo>
                      <a:pt x="124" y="237"/>
                    </a:lnTo>
                    <a:lnTo>
                      <a:pt x="123" y="237"/>
                    </a:lnTo>
                    <a:lnTo>
                      <a:pt x="121" y="235"/>
                    </a:lnTo>
                    <a:lnTo>
                      <a:pt x="121" y="233"/>
                    </a:lnTo>
                    <a:lnTo>
                      <a:pt x="119" y="233"/>
                    </a:lnTo>
                    <a:lnTo>
                      <a:pt x="117" y="233"/>
                    </a:lnTo>
                    <a:lnTo>
                      <a:pt x="117" y="231"/>
                    </a:lnTo>
                    <a:lnTo>
                      <a:pt x="115" y="231"/>
                    </a:lnTo>
                    <a:lnTo>
                      <a:pt x="115" y="229"/>
                    </a:lnTo>
                    <a:lnTo>
                      <a:pt x="113" y="229"/>
                    </a:lnTo>
                    <a:lnTo>
                      <a:pt x="113" y="227"/>
                    </a:lnTo>
                    <a:lnTo>
                      <a:pt x="111" y="227"/>
                    </a:lnTo>
                    <a:lnTo>
                      <a:pt x="109" y="225"/>
                    </a:lnTo>
                    <a:lnTo>
                      <a:pt x="107" y="225"/>
                    </a:lnTo>
                    <a:lnTo>
                      <a:pt x="105" y="225"/>
                    </a:lnTo>
                    <a:lnTo>
                      <a:pt x="103" y="223"/>
                    </a:lnTo>
                    <a:lnTo>
                      <a:pt x="105" y="223"/>
                    </a:lnTo>
                    <a:lnTo>
                      <a:pt x="105" y="214"/>
                    </a:lnTo>
                    <a:lnTo>
                      <a:pt x="103" y="208"/>
                    </a:lnTo>
                    <a:lnTo>
                      <a:pt x="96" y="195"/>
                    </a:lnTo>
                    <a:lnTo>
                      <a:pt x="96" y="193"/>
                    </a:lnTo>
                    <a:lnTo>
                      <a:pt x="94" y="191"/>
                    </a:lnTo>
                    <a:lnTo>
                      <a:pt x="92" y="189"/>
                    </a:lnTo>
                    <a:lnTo>
                      <a:pt x="90" y="183"/>
                    </a:lnTo>
                    <a:lnTo>
                      <a:pt x="90" y="181"/>
                    </a:lnTo>
                    <a:lnTo>
                      <a:pt x="88" y="181"/>
                    </a:lnTo>
                    <a:lnTo>
                      <a:pt x="88" y="179"/>
                    </a:lnTo>
                    <a:lnTo>
                      <a:pt x="86" y="179"/>
                    </a:lnTo>
                    <a:lnTo>
                      <a:pt x="86" y="177"/>
                    </a:lnTo>
                    <a:lnTo>
                      <a:pt x="84" y="177"/>
                    </a:lnTo>
                    <a:lnTo>
                      <a:pt x="84" y="175"/>
                    </a:lnTo>
                    <a:lnTo>
                      <a:pt x="82" y="173"/>
                    </a:lnTo>
                    <a:lnTo>
                      <a:pt x="80" y="170"/>
                    </a:lnTo>
                    <a:lnTo>
                      <a:pt x="78" y="168"/>
                    </a:lnTo>
                    <a:lnTo>
                      <a:pt x="76" y="164"/>
                    </a:lnTo>
                    <a:lnTo>
                      <a:pt x="75" y="162"/>
                    </a:lnTo>
                    <a:lnTo>
                      <a:pt x="75" y="160"/>
                    </a:lnTo>
                    <a:lnTo>
                      <a:pt x="73" y="158"/>
                    </a:lnTo>
                    <a:lnTo>
                      <a:pt x="73" y="156"/>
                    </a:lnTo>
                    <a:lnTo>
                      <a:pt x="73" y="152"/>
                    </a:lnTo>
                    <a:lnTo>
                      <a:pt x="73" y="150"/>
                    </a:lnTo>
                    <a:lnTo>
                      <a:pt x="73" y="148"/>
                    </a:lnTo>
                    <a:lnTo>
                      <a:pt x="75" y="147"/>
                    </a:lnTo>
                    <a:lnTo>
                      <a:pt x="75" y="145"/>
                    </a:lnTo>
                    <a:lnTo>
                      <a:pt x="75" y="141"/>
                    </a:lnTo>
                    <a:lnTo>
                      <a:pt x="75" y="139"/>
                    </a:lnTo>
                    <a:lnTo>
                      <a:pt x="75" y="137"/>
                    </a:lnTo>
                    <a:lnTo>
                      <a:pt x="76" y="137"/>
                    </a:lnTo>
                    <a:lnTo>
                      <a:pt x="75" y="135"/>
                    </a:lnTo>
                    <a:lnTo>
                      <a:pt x="73" y="133"/>
                    </a:lnTo>
                    <a:lnTo>
                      <a:pt x="73" y="131"/>
                    </a:lnTo>
                    <a:lnTo>
                      <a:pt x="75" y="131"/>
                    </a:lnTo>
                    <a:lnTo>
                      <a:pt x="75" y="129"/>
                    </a:lnTo>
                    <a:lnTo>
                      <a:pt x="73" y="129"/>
                    </a:lnTo>
                    <a:lnTo>
                      <a:pt x="75" y="129"/>
                    </a:lnTo>
                    <a:lnTo>
                      <a:pt x="73" y="129"/>
                    </a:lnTo>
                    <a:lnTo>
                      <a:pt x="73" y="127"/>
                    </a:lnTo>
                    <a:lnTo>
                      <a:pt x="71" y="127"/>
                    </a:lnTo>
                    <a:lnTo>
                      <a:pt x="71" y="125"/>
                    </a:lnTo>
                    <a:lnTo>
                      <a:pt x="69" y="125"/>
                    </a:lnTo>
                    <a:lnTo>
                      <a:pt x="69" y="123"/>
                    </a:lnTo>
                    <a:lnTo>
                      <a:pt x="67" y="123"/>
                    </a:lnTo>
                    <a:lnTo>
                      <a:pt x="65" y="122"/>
                    </a:lnTo>
                    <a:lnTo>
                      <a:pt x="63" y="122"/>
                    </a:lnTo>
                    <a:lnTo>
                      <a:pt x="61" y="120"/>
                    </a:lnTo>
                    <a:lnTo>
                      <a:pt x="59" y="118"/>
                    </a:lnTo>
                    <a:lnTo>
                      <a:pt x="59" y="116"/>
                    </a:lnTo>
                    <a:lnTo>
                      <a:pt x="57" y="114"/>
                    </a:lnTo>
                    <a:lnTo>
                      <a:pt x="59" y="110"/>
                    </a:lnTo>
                    <a:lnTo>
                      <a:pt x="57" y="106"/>
                    </a:lnTo>
                    <a:lnTo>
                      <a:pt x="55" y="106"/>
                    </a:lnTo>
                    <a:lnTo>
                      <a:pt x="55" y="104"/>
                    </a:lnTo>
                    <a:lnTo>
                      <a:pt x="53" y="104"/>
                    </a:lnTo>
                    <a:lnTo>
                      <a:pt x="51" y="102"/>
                    </a:lnTo>
                    <a:lnTo>
                      <a:pt x="51" y="98"/>
                    </a:lnTo>
                    <a:lnTo>
                      <a:pt x="50" y="97"/>
                    </a:lnTo>
                    <a:lnTo>
                      <a:pt x="51" y="93"/>
                    </a:lnTo>
                    <a:lnTo>
                      <a:pt x="50" y="93"/>
                    </a:lnTo>
                    <a:lnTo>
                      <a:pt x="48" y="95"/>
                    </a:lnTo>
                    <a:lnTo>
                      <a:pt x="46" y="95"/>
                    </a:lnTo>
                    <a:lnTo>
                      <a:pt x="46" y="93"/>
                    </a:lnTo>
                    <a:lnTo>
                      <a:pt x="46" y="95"/>
                    </a:lnTo>
                    <a:lnTo>
                      <a:pt x="44" y="97"/>
                    </a:lnTo>
                    <a:lnTo>
                      <a:pt x="42" y="97"/>
                    </a:lnTo>
                    <a:lnTo>
                      <a:pt x="38" y="98"/>
                    </a:lnTo>
                    <a:lnTo>
                      <a:pt x="36" y="97"/>
                    </a:lnTo>
                    <a:lnTo>
                      <a:pt x="30" y="98"/>
                    </a:lnTo>
                    <a:lnTo>
                      <a:pt x="21" y="97"/>
                    </a:lnTo>
                    <a:lnTo>
                      <a:pt x="23" y="93"/>
                    </a:lnTo>
                    <a:lnTo>
                      <a:pt x="26" y="87"/>
                    </a:lnTo>
                    <a:lnTo>
                      <a:pt x="21" y="85"/>
                    </a:lnTo>
                    <a:lnTo>
                      <a:pt x="19" y="87"/>
                    </a:lnTo>
                    <a:lnTo>
                      <a:pt x="19" y="89"/>
                    </a:lnTo>
                    <a:lnTo>
                      <a:pt x="17" y="89"/>
                    </a:lnTo>
                    <a:lnTo>
                      <a:pt x="15" y="93"/>
                    </a:lnTo>
                    <a:lnTo>
                      <a:pt x="13" y="95"/>
                    </a:lnTo>
                    <a:lnTo>
                      <a:pt x="11" y="95"/>
                    </a:lnTo>
                    <a:lnTo>
                      <a:pt x="11" y="93"/>
                    </a:lnTo>
                    <a:lnTo>
                      <a:pt x="7" y="89"/>
                    </a:lnTo>
                    <a:lnTo>
                      <a:pt x="5" y="89"/>
                    </a:lnTo>
                    <a:lnTo>
                      <a:pt x="3" y="87"/>
                    </a:lnTo>
                    <a:lnTo>
                      <a:pt x="3" y="85"/>
                    </a:lnTo>
                    <a:lnTo>
                      <a:pt x="2" y="85"/>
                    </a:lnTo>
                    <a:lnTo>
                      <a:pt x="0" y="85"/>
                    </a:lnTo>
                    <a:lnTo>
                      <a:pt x="0" y="83"/>
                    </a:lnTo>
                    <a:lnTo>
                      <a:pt x="2" y="81"/>
                    </a:lnTo>
                    <a:lnTo>
                      <a:pt x="2" y="79"/>
                    </a:lnTo>
                    <a:lnTo>
                      <a:pt x="3" y="73"/>
                    </a:lnTo>
                    <a:lnTo>
                      <a:pt x="3" y="72"/>
                    </a:lnTo>
                    <a:lnTo>
                      <a:pt x="3" y="70"/>
                    </a:lnTo>
                    <a:lnTo>
                      <a:pt x="5" y="70"/>
                    </a:lnTo>
                    <a:lnTo>
                      <a:pt x="5" y="72"/>
                    </a:lnTo>
                    <a:lnTo>
                      <a:pt x="5" y="70"/>
                    </a:lnTo>
                    <a:lnTo>
                      <a:pt x="7" y="70"/>
                    </a:lnTo>
                    <a:lnTo>
                      <a:pt x="7" y="72"/>
                    </a:lnTo>
                    <a:lnTo>
                      <a:pt x="9" y="72"/>
                    </a:lnTo>
                    <a:lnTo>
                      <a:pt x="7" y="72"/>
                    </a:lnTo>
                    <a:lnTo>
                      <a:pt x="9" y="73"/>
                    </a:lnTo>
                    <a:lnTo>
                      <a:pt x="11" y="77"/>
                    </a:lnTo>
                    <a:lnTo>
                      <a:pt x="13" y="75"/>
                    </a:lnTo>
                    <a:lnTo>
                      <a:pt x="15" y="77"/>
                    </a:lnTo>
                    <a:lnTo>
                      <a:pt x="17" y="75"/>
                    </a:lnTo>
                    <a:lnTo>
                      <a:pt x="15" y="75"/>
                    </a:lnTo>
                    <a:lnTo>
                      <a:pt x="17" y="72"/>
                    </a:lnTo>
                    <a:lnTo>
                      <a:pt x="19" y="72"/>
                    </a:lnTo>
                    <a:lnTo>
                      <a:pt x="19" y="70"/>
                    </a:lnTo>
                    <a:lnTo>
                      <a:pt x="25" y="73"/>
                    </a:lnTo>
                    <a:lnTo>
                      <a:pt x="26" y="73"/>
                    </a:lnTo>
                    <a:lnTo>
                      <a:pt x="28" y="72"/>
                    </a:lnTo>
                    <a:lnTo>
                      <a:pt x="28" y="70"/>
                    </a:lnTo>
                    <a:lnTo>
                      <a:pt x="26" y="68"/>
                    </a:lnTo>
                    <a:lnTo>
                      <a:pt x="28" y="62"/>
                    </a:lnTo>
                    <a:lnTo>
                      <a:pt x="30" y="60"/>
                    </a:lnTo>
                    <a:lnTo>
                      <a:pt x="30" y="58"/>
                    </a:lnTo>
                    <a:lnTo>
                      <a:pt x="32" y="56"/>
                    </a:lnTo>
                    <a:lnTo>
                      <a:pt x="32" y="58"/>
                    </a:lnTo>
                    <a:lnTo>
                      <a:pt x="34" y="58"/>
                    </a:lnTo>
                    <a:lnTo>
                      <a:pt x="36" y="58"/>
                    </a:lnTo>
                    <a:lnTo>
                      <a:pt x="38" y="60"/>
                    </a:lnTo>
                    <a:lnTo>
                      <a:pt x="38" y="62"/>
                    </a:lnTo>
                    <a:lnTo>
                      <a:pt x="40" y="64"/>
                    </a:lnTo>
                    <a:lnTo>
                      <a:pt x="42" y="66"/>
                    </a:lnTo>
                    <a:lnTo>
                      <a:pt x="42" y="68"/>
                    </a:lnTo>
                    <a:lnTo>
                      <a:pt x="42" y="70"/>
                    </a:lnTo>
                    <a:lnTo>
                      <a:pt x="44" y="72"/>
                    </a:lnTo>
                    <a:lnTo>
                      <a:pt x="44" y="75"/>
                    </a:lnTo>
                    <a:lnTo>
                      <a:pt x="44" y="79"/>
                    </a:lnTo>
                    <a:lnTo>
                      <a:pt x="46" y="81"/>
                    </a:lnTo>
                    <a:lnTo>
                      <a:pt x="48" y="81"/>
                    </a:lnTo>
                    <a:lnTo>
                      <a:pt x="50" y="81"/>
                    </a:lnTo>
                    <a:lnTo>
                      <a:pt x="51" y="81"/>
                    </a:lnTo>
                    <a:lnTo>
                      <a:pt x="51" y="79"/>
                    </a:lnTo>
                    <a:lnTo>
                      <a:pt x="53" y="81"/>
                    </a:lnTo>
                    <a:lnTo>
                      <a:pt x="55" y="81"/>
                    </a:lnTo>
                    <a:lnTo>
                      <a:pt x="57" y="81"/>
                    </a:lnTo>
                    <a:lnTo>
                      <a:pt x="59" y="87"/>
                    </a:lnTo>
                    <a:lnTo>
                      <a:pt x="59" y="89"/>
                    </a:lnTo>
                    <a:lnTo>
                      <a:pt x="61" y="95"/>
                    </a:lnTo>
                    <a:lnTo>
                      <a:pt x="61" y="102"/>
                    </a:lnTo>
                    <a:lnTo>
                      <a:pt x="63" y="106"/>
                    </a:lnTo>
                    <a:lnTo>
                      <a:pt x="65" y="108"/>
                    </a:lnTo>
                    <a:lnTo>
                      <a:pt x="69" y="110"/>
                    </a:lnTo>
                    <a:lnTo>
                      <a:pt x="71" y="110"/>
                    </a:lnTo>
                    <a:lnTo>
                      <a:pt x="73" y="110"/>
                    </a:lnTo>
                    <a:lnTo>
                      <a:pt x="75" y="108"/>
                    </a:lnTo>
                    <a:lnTo>
                      <a:pt x="76" y="108"/>
                    </a:lnTo>
                    <a:lnTo>
                      <a:pt x="78" y="106"/>
                    </a:lnTo>
                    <a:lnTo>
                      <a:pt x="78" y="104"/>
                    </a:lnTo>
                    <a:lnTo>
                      <a:pt x="82" y="102"/>
                    </a:lnTo>
                    <a:lnTo>
                      <a:pt x="84" y="100"/>
                    </a:lnTo>
                    <a:lnTo>
                      <a:pt x="84" y="98"/>
                    </a:lnTo>
                    <a:lnTo>
                      <a:pt x="86" y="102"/>
                    </a:lnTo>
                    <a:lnTo>
                      <a:pt x="86" y="104"/>
                    </a:lnTo>
                    <a:lnTo>
                      <a:pt x="86" y="106"/>
                    </a:lnTo>
                    <a:lnTo>
                      <a:pt x="86" y="108"/>
                    </a:lnTo>
                    <a:lnTo>
                      <a:pt x="84" y="108"/>
                    </a:lnTo>
                    <a:lnTo>
                      <a:pt x="84" y="110"/>
                    </a:lnTo>
                    <a:lnTo>
                      <a:pt x="86" y="108"/>
                    </a:lnTo>
                    <a:lnTo>
                      <a:pt x="88" y="108"/>
                    </a:lnTo>
                    <a:lnTo>
                      <a:pt x="90" y="106"/>
                    </a:lnTo>
                    <a:lnTo>
                      <a:pt x="90" y="104"/>
                    </a:lnTo>
                    <a:lnTo>
                      <a:pt x="92" y="102"/>
                    </a:lnTo>
                    <a:lnTo>
                      <a:pt x="90" y="102"/>
                    </a:lnTo>
                    <a:lnTo>
                      <a:pt x="92" y="100"/>
                    </a:lnTo>
                    <a:lnTo>
                      <a:pt x="92" y="98"/>
                    </a:lnTo>
                    <a:lnTo>
                      <a:pt x="94" y="98"/>
                    </a:lnTo>
                    <a:lnTo>
                      <a:pt x="96" y="95"/>
                    </a:lnTo>
                    <a:lnTo>
                      <a:pt x="94" y="95"/>
                    </a:lnTo>
                    <a:lnTo>
                      <a:pt x="94" y="93"/>
                    </a:lnTo>
                    <a:lnTo>
                      <a:pt x="92" y="91"/>
                    </a:lnTo>
                    <a:lnTo>
                      <a:pt x="94" y="89"/>
                    </a:lnTo>
                    <a:lnTo>
                      <a:pt x="96" y="89"/>
                    </a:lnTo>
                    <a:lnTo>
                      <a:pt x="99" y="85"/>
                    </a:lnTo>
                    <a:lnTo>
                      <a:pt x="99" y="83"/>
                    </a:lnTo>
                    <a:lnTo>
                      <a:pt x="101" y="83"/>
                    </a:lnTo>
                    <a:lnTo>
                      <a:pt x="105" y="83"/>
                    </a:lnTo>
                    <a:lnTo>
                      <a:pt x="107" y="83"/>
                    </a:lnTo>
                    <a:lnTo>
                      <a:pt x="109" y="81"/>
                    </a:lnTo>
                    <a:lnTo>
                      <a:pt x="111" y="79"/>
                    </a:lnTo>
                    <a:lnTo>
                      <a:pt x="113" y="81"/>
                    </a:lnTo>
                    <a:lnTo>
                      <a:pt x="115" y="81"/>
                    </a:lnTo>
                    <a:lnTo>
                      <a:pt x="119" y="79"/>
                    </a:lnTo>
                    <a:lnTo>
                      <a:pt x="121" y="77"/>
                    </a:lnTo>
                    <a:lnTo>
                      <a:pt x="123" y="75"/>
                    </a:lnTo>
                    <a:lnTo>
                      <a:pt x="124" y="72"/>
                    </a:lnTo>
                    <a:lnTo>
                      <a:pt x="130" y="66"/>
                    </a:lnTo>
                    <a:lnTo>
                      <a:pt x="134" y="58"/>
                    </a:lnTo>
                    <a:lnTo>
                      <a:pt x="138" y="50"/>
                    </a:lnTo>
                    <a:lnTo>
                      <a:pt x="138" y="48"/>
                    </a:lnTo>
                    <a:lnTo>
                      <a:pt x="140" y="47"/>
                    </a:lnTo>
                    <a:lnTo>
                      <a:pt x="140" y="45"/>
                    </a:lnTo>
                    <a:lnTo>
                      <a:pt x="138" y="45"/>
                    </a:lnTo>
                    <a:lnTo>
                      <a:pt x="140" y="39"/>
                    </a:lnTo>
                    <a:lnTo>
                      <a:pt x="138" y="39"/>
                    </a:lnTo>
                    <a:lnTo>
                      <a:pt x="136" y="37"/>
                    </a:lnTo>
                    <a:lnTo>
                      <a:pt x="134" y="43"/>
                    </a:lnTo>
                    <a:lnTo>
                      <a:pt x="132" y="47"/>
                    </a:lnTo>
                    <a:lnTo>
                      <a:pt x="132" y="45"/>
                    </a:lnTo>
                    <a:lnTo>
                      <a:pt x="126" y="43"/>
                    </a:lnTo>
                    <a:lnTo>
                      <a:pt x="124" y="45"/>
                    </a:lnTo>
                    <a:lnTo>
                      <a:pt x="123" y="47"/>
                    </a:lnTo>
                    <a:lnTo>
                      <a:pt x="123" y="48"/>
                    </a:lnTo>
                    <a:lnTo>
                      <a:pt x="121" y="52"/>
                    </a:lnTo>
                    <a:lnTo>
                      <a:pt x="117" y="48"/>
                    </a:lnTo>
                    <a:lnTo>
                      <a:pt x="117" y="47"/>
                    </a:lnTo>
                    <a:lnTo>
                      <a:pt x="119" y="43"/>
                    </a:lnTo>
                    <a:lnTo>
                      <a:pt x="119" y="41"/>
                    </a:lnTo>
                    <a:lnTo>
                      <a:pt x="121" y="35"/>
                    </a:lnTo>
                    <a:lnTo>
                      <a:pt x="121" y="33"/>
                    </a:lnTo>
                    <a:lnTo>
                      <a:pt x="121" y="29"/>
                    </a:lnTo>
                    <a:lnTo>
                      <a:pt x="128" y="20"/>
                    </a:lnTo>
                    <a:lnTo>
                      <a:pt x="130" y="20"/>
                    </a:lnTo>
                    <a:lnTo>
                      <a:pt x="132" y="20"/>
                    </a:lnTo>
                    <a:lnTo>
                      <a:pt x="136" y="20"/>
                    </a:lnTo>
                    <a:lnTo>
                      <a:pt x="136" y="22"/>
                    </a:lnTo>
                    <a:lnTo>
                      <a:pt x="136" y="20"/>
                    </a:lnTo>
                    <a:lnTo>
                      <a:pt x="136" y="22"/>
                    </a:lnTo>
                    <a:lnTo>
                      <a:pt x="138" y="22"/>
                    </a:lnTo>
                    <a:lnTo>
                      <a:pt x="142" y="20"/>
                    </a:lnTo>
                    <a:lnTo>
                      <a:pt x="144" y="20"/>
                    </a:lnTo>
                    <a:lnTo>
                      <a:pt x="144" y="18"/>
                    </a:lnTo>
                    <a:lnTo>
                      <a:pt x="146" y="16"/>
                    </a:lnTo>
                    <a:lnTo>
                      <a:pt x="148" y="16"/>
                    </a:lnTo>
                    <a:lnTo>
                      <a:pt x="149" y="18"/>
                    </a:lnTo>
                    <a:lnTo>
                      <a:pt x="149" y="20"/>
                    </a:lnTo>
                    <a:lnTo>
                      <a:pt x="149" y="18"/>
                    </a:lnTo>
                    <a:lnTo>
                      <a:pt x="153" y="22"/>
                    </a:lnTo>
                    <a:lnTo>
                      <a:pt x="153" y="23"/>
                    </a:lnTo>
                    <a:lnTo>
                      <a:pt x="155" y="23"/>
                    </a:lnTo>
                    <a:lnTo>
                      <a:pt x="157" y="22"/>
                    </a:lnTo>
                    <a:lnTo>
                      <a:pt x="159" y="20"/>
                    </a:lnTo>
                    <a:lnTo>
                      <a:pt x="161" y="20"/>
                    </a:lnTo>
                    <a:lnTo>
                      <a:pt x="161" y="18"/>
                    </a:lnTo>
                    <a:lnTo>
                      <a:pt x="163" y="16"/>
                    </a:lnTo>
                    <a:lnTo>
                      <a:pt x="163" y="14"/>
                    </a:lnTo>
                    <a:lnTo>
                      <a:pt x="161" y="12"/>
                    </a:lnTo>
                    <a:lnTo>
                      <a:pt x="167" y="0"/>
                    </a:lnTo>
                    <a:lnTo>
                      <a:pt x="169" y="0"/>
                    </a:lnTo>
                    <a:lnTo>
                      <a:pt x="169" y="2"/>
                    </a:lnTo>
                    <a:lnTo>
                      <a:pt x="171" y="2"/>
                    </a:lnTo>
                    <a:lnTo>
                      <a:pt x="171" y="4"/>
                    </a:lnTo>
                    <a:lnTo>
                      <a:pt x="171" y="6"/>
                    </a:lnTo>
                    <a:lnTo>
                      <a:pt x="172" y="6"/>
                    </a:lnTo>
                    <a:lnTo>
                      <a:pt x="171" y="10"/>
                    </a:lnTo>
                    <a:lnTo>
                      <a:pt x="169" y="16"/>
                    </a:lnTo>
                    <a:lnTo>
                      <a:pt x="171" y="16"/>
                    </a:lnTo>
                    <a:lnTo>
                      <a:pt x="171" y="18"/>
                    </a:lnTo>
                    <a:lnTo>
                      <a:pt x="172" y="18"/>
                    </a:lnTo>
                    <a:lnTo>
                      <a:pt x="172" y="16"/>
                    </a:lnTo>
                    <a:lnTo>
                      <a:pt x="174" y="16"/>
                    </a:lnTo>
                    <a:lnTo>
                      <a:pt x="174" y="18"/>
                    </a:lnTo>
                    <a:lnTo>
                      <a:pt x="176" y="20"/>
                    </a:lnTo>
                    <a:lnTo>
                      <a:pt x="178" y="20"/>
                    </a:lnTo>
                    <a:lnTo>
                      <a:pt x="182" y="18"/>
                    </a:lnTo>
                    <a:lnTo>
                      <a:pt x="184" y="18"/>
                    </a:lnTo>
                    <a:lnTo>
                      <a:pt x="184" y="16"/>
                    </a:lnTo>
                    <a:lnTo>
                      <a:pt x="184" y="14"/>
                    </a:lnTo>
                    <a:lnTo>
                      <a:pt x="186" y="14"/>
                    </a:lnTo>
                    <a:lnTo>
                      <a:pt x="186" y="16"/>
                    </a:lnTo>
                    <a:lnTo>
                      <a:pt x="188" y="16"/>
                    </a:lnTo>
                    <a:lnTo>
                      <a:pt x="188" y="18"/>
                    </a:lnTo>
                    <a:lnTo>
                      <a:pt x="190" y="22"/>
                    </a:lnTo>
                    <a:lnTo>
                      <a:pt x="192" y="23"/>
                    </a:lnTo>
                    <a:lnTo>
                      <a:pt x="194" y="2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93">
                <a:extLst>
                  <a:ext uri="{FF2B5EF4-FFF2-40B4-BE49-F238E27FC236}">
                    <a16:creationId xmlns="" xmlns:a16="http://schemas.microsoft.com/office/drawing/2014/main" id="{7A5133C6-54BC-48BC-9297-D09C125E16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90713" y="4754563"/>
                <a:ext cx="42863" cy="52388"/>
              </a:xfrm>
              <a:custGeom>
                <a:avLst/>
                <a:gdLst>
                  <a:gd name="T0" fmla="*/ 0 w 27"/>
                  <a:gd name="T1" fmla="*/ 33 h 33"/>
                  <a:gd name="T2" fmla="*/ 0 w 27"/>
                  <a:gd name="T3" fmla="*/ 33 h 33"/>
                  <a:gd name="T4" fmla="*/ 0 w 27"/>
                  <a:gd name="T5" fmla="*/ 31 h 33"/>
                  <a:gd name="T6" fmla="*/ 0 w 27"/>
                  <a:gd name="T7" fmla="*/ 31 h 33"/>
                  <a:gd name="T8" fmla="*/ 2 w 27"/>
                  <a:gd name="T9" fmla="*/ 31 h 33"/>
                  <a:gd name="T10" fmla="*/ 2 w 27"/>
                  <a:gd name="T11" fmla="*/ 31 h 33"/>
                  <a:gd name="T12" fmla="*/ 2 w 27"/>
                  <a:gd name="T13" fmla="*/ 29 h 33"/>
                  <a:gd name="T14" fmla="*/ 2 w 27"/>
                  <a:gd name="T15" fmla="*/ 27 h 33"/>
                  <a:gd name="T16" fmla="*/ 2 w 27"/>
                  <a:gd name="T17" fmla="*/ 27 h 33"/>
                  <a:gd name="T18" fmla="*/ 2 w 27"/>
                  <a:gd name="T19" fmla="*/ 27 h 33"/>
                  <a:gd name="T20" fmla="*/ 2 w 27"/>
                  <a:gd name="T21" fmla="*/ 27 h 33"/>
                  <a:gd name="T22" fmla="*/ 2 w 27"/>
                  <a:gd name="T23" fmla="*/ 27 h 33"/>
                  <a:gd name="T24" fmla="*/ 2 w 27"/>
                  <a:gd name="T25" fmla="*/ 29 h 33"/>
                  <a:gd name="T26" fmla="*/ 2 w 27"/>
                  <a:gd name="T27" fmla="*/ 29 h 33"/>
                  <a:gd name="T28" fmla="*/ 2 w 27"/>
                  <a:gd name="T29" fmla="*/ 29 h 33"/>
                  <a:gd name="T30" fmla="*/ 2 w 27"/>
                  <a:gd name="T31" fmla="*/ 31 h 33"/>
                  <a:gd name="T32" fmla="*/ 2 w 27"/>
                  <a:gd name="T33" fmla="*/ 31 h 33"/>
                  <a:gd name="T34" fmla="*/ 2 w 27"/>
                  <a:gd name="T35" fmla="*/ 31 h 33"/>
                  <a:gd name="T36" fmla="*/ 2 w 27"/>
                  <a:gd name="T37" fmla="*/ 31 h 33"/>
                  <a:gd name="T38" fmla="*/ 2 w 27"/>
                  <a:gd name="T39" fmla="*/ 31 h 33"/>
                  <a:gd name="T40" fmla="*/ 2 w 27"/>
                  <a:gd name="T41" fmla="*/ 31 h 33"/>
                  <a:gd name="T42" fmla="*/ 0 w 27"/>
                  <a:gd name="T43" fmla="*/ 33 h 33"/>
                  <a:gd name="T44" fmla="*/ 0 w 27"/>
                  <a:gd name="T45" fmla="*/ 33 h 33"/>
                  <a:gd name="T46" fmla="*/ 17 w 27"/>
                  <a:gd name="T47" fmla="*/ 13 h 33"/>
                  <a:gd name="T48" fmla="*/ 17 w 27"/>
                  <a:gd name="T49" fmla="*/ 13 h 33"/>
                  <a:gd name="T50" fmla="*/ 17 w 27"/>
                  <a:gd name="T51" fmla="*/ 13 h 33"/>
                  <a:gd name="T52" fmla="*/ 17 w 27"/>
                  <a:gd name="T53" fmla="*/ 13 h 33"/>
                  <a:gd name="T54" fmla="*/ 17 w 27"/>
                  <a:gd name="T55" fmla="*/ 12 h 33"/>
                  <a:gd name="T56" fmla="*/ 17 w 27"/>
                  <a:gd name="T57" fmla="*/ 12 h 33"/>
                  <a:gd name="T58" fmla="*/ 17 w 27"/>
                  <a:gd name="T59" fmla="*/ 12 h 33"/>
                  <a:gd name="T60" fmla="*/ 19 w 27"/>
                  <a:gd name="T61" fmla="*/ 12 h 33"/>
                  <a:gd name="T62" fmla="*/ 19 w 27"/>
                  <a:gd name="T63" fmla="*/ 12 h 33"/>
                  <a:gd name="T64" fmla="*/ 19 w 27"/>
                  <a:gd name="T65" fmla="*/ 12 h 33"/>
                  <a:gd name="T66" fmla="*/ 17 w 27"/>
                  <a:gd name="T67" fmla="*/ 12 h 33"/>
                  <a:gd name="T68" fmla="*/ 17 w 27"/>
                  <a:gd name="T69" fmla="*/ 13 h 33"/>
                  <a:gd name="T70" fmla="*/ 17 w 27"/>
                  <a:gd name="T71" fmla="*/ 13 h 33"/>
                  <a:gd name="T72" fmla="*/ 17 w 27"/>
                  <a:gd name="T73" fmla="*/ 13 h 33"/>
                  <a:gd name="T74" fmla="*/ 27 w 27"/>
                  <a:gd name="T75" fmla="*/ 0 h 33"/>
                  <a:gd name="T76" fmla="*/ 27 w 27"/>
                  <a:gd name="T77" fmla="*/ 0 h 33"/>
                  <a:gd name="T78" fmla="*/ 27 w 27"/>
                  <a:gd name="T79" fmla="*/ 0 h 33"/>
                  <a:gd name="T80" fmla="*/ 27 w 27"/>
                  <a:gd name="T81" fmla="*/ 0 h 33"/>
                  <a:gd name="T82" fmla="*/ 27 w 27"/>
                  <a:gd name="T83" fmla="*/ 0 h 33"/>
                  <a:gd name="T84" fmla="*/ 27 w 27"/>
                  <a:gd name="T85" fmla="*/ 0 h 33"/>
                  <a:gd name="T86" fmla="*/ 27 w 27"/>
                  <a:gd name="T87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7" h="33">
                    <a:moveTo>
                      <a:pt x="0" y="33"/>
                    </a:moveTo>
                    <a:lnTo>
                      <a:pt x="0" y="33"/>
                    </a:lnTo>
                    <a:lnTo>
                      <a:pt x="0" y="33"/>
                    </a:lnTo>
                    <a:lnTo>
                      <a:pt x="0" y="33"/>
                    </a:lnTo>
                    <a:lnTo>
                      <a:pt x="0" y="33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0" y="3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2" y="27"/>
                    </a:lnTo>
                    <a:lnTo>
                      <a:pt x="2" y="27"/>
                    </a:lnTo>
                    <a:lnTo>
                      <a:pt x="2" y="27"/>
                    </a:lnTo>
                    <a:lnTo>
                      <a:pt x="2" y="27"/>
                    </a:lnTo>
                    <a:lnTo>
                      <a:pt x="2" y="27"/>
                    </a:lnTo>
                    <a:lnTo>
                      <a:pt x="2" y="27"/>
                    </a:lnTo>
                    <a:lnTo>
                      <a:pt x="2" y="27"/>
                    </a:lnTo>
                    <a:lnTo>
                      <a:pt x="2" y="27"/>
                    </a:lnTo>
                    <a:lnTo>
                      <a:pt x="2" y="27"/>
                    </a:lnTo>
                    <a:lnTo>
                      <a:pt x="2" y="27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2" y="29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2" y="31"/>
                    </a:lnTo>
                    <a:lnTo>
                      <a:pt x="0" y="31"/>
                    </a:lnTo>
                    <a:lnTo>
                      <a:pt x="0" y="33"/>
                    </a:lnTo>
                    <a:lnTo>
                      <a:pt x="0" y="33"/>
                    </a:lnTo>
                    <a:lnTo>
                      <a:pt x="0" y="33"/>
                    </a:lnTo>
                    <a:close/>
                    <a:moveTo>
                      <a:pt x="17" y="13"/>
                    </a:moveTo>
                    <a:lnTo>
                      <a:pt x="17" y="13"/>
                    </a:lnTo>
                    <a:lnTo>
                      <a:pt x="17" y="13"/>
                    </a:lnTo>
                    <a:lnTo>
                      <a:pt x="17" y="13"/>
                    </a:lnTo>
                    <a:lnTo>
                      <a:pt x="17" y="13"/>
                    </a:lnTo>
                    <a:lnTo>
                      <a:pt x="17" y="13"/>
                    </a:lnTo>
                    <a:lnTo>
                      <a:pt x="17" y="13"/>
                    </a:lnTo>
                    <a:lnTo>
                      <a:pt x="17" y="13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17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9" y="12"/>
                    </a:lnTo>
                    <a:lnTo>
                      <a:pt x="17" y="12"/>
                    </a:lnTo>
                    <a:lnTo>
                      <a:pt x="19" y="13"/>
                    </a:lnTo>
                    <a:lnTo>
                      <a:pt x="17" y="13"/>
                    </a:lnTo>
                    <a:lnTo>
                      <a:pt x="17" y="13"/>
                    </a:lnTo>
                    <a:lnTo>
                      <a:pt x="17" y="13"/>
                    </a:lnTo>
                    <a:lnTo>
                      <a:pt x="17" y="13"/>
                    </a:lnTo>
                    <a:lnTo>
                      <a:pt x="17" y="13"/>
                    </a:lnTo>
                    <a:lnTo>
                      <a:pt x="17" y="13"/>
                    </a:lnTo>
                    <a:close/>
                    <a:moveTo>
                      <a:pt x="27" y="0"/>
                    </a:moveTo>
                    <a:lnTo>
                      <a:pt x="27" y="2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Rectangle 94">
                <a:extLst>
                  <a:ext uri="{FF2B5EF4-FFF2-40B4-BE49-F238E27FC236}">
                    <a16:creationId xmlns="" xmlns:a16="http://schemas.microsoft.com/office/drawing/2014/main" id="{22DC1CD7-F7AF-43CF-9876-6F393510B9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930400" y="4754563"/>
                <a:ext cx="1588" cy="1588"/>
              </a:xfrm>
              <a:prstGeom prst="rect">
                <a:avLst/>
              </a:pr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95">
                <a:extLst>
                  <a:ext uri="{FF2B5EF4-FFF2-40B4-BE49-F238E27FC236}">
                    <a16:creationId xmlns="" xmlns:a16="http://schemas.microsoft.com/office/drawing/2014/main" id="{6AA6F048-3DE3-4CA4-8119-1BEE64DA46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32000" y="2336801"/>
                <a:ext cx="471488" cy="635000"/>
              </a:xfrm>
              <a:custGeom>
                <a:avLst/>
                <a:gdLst>
                  <a:gd name="T0" fmla="*/ 282 w 297"/>
                  <a:gd name="T1" fmla="*/ 62 h 400"/>
                  <a:gd name="T2" fmla="*/ 288 w 297"/>
                  <a:gd name="T3" fmla="*/ 71 h 400"/>
                  <a:gd name="T4" fmla="*/ 292 w 297"/>
                  <a:gd name="T5" fmla="*/ 77 h 400"/>
                  <a:gd name="T6" fmla="*/ 286 w 297"/>
                  <a:gd name="T7" fmla="*/ 81 h 400"/>
                  <a:gd name="T8" fmla="*/ 272 w 297"/>
                  <a:gd name="T9" fmla="*/ 75 h 400"/>
                  <a:gd name="T10" fmla="*/ 286 w 297"/>
                  <a:gd name="T11" fmla="*/ 83 h 400"/>
                  <a:gd name="T12" fmla="*/ 295 w 297"/>
                  <a:gd name="T13" fmla="*/ 96 h 400"/>
                  <a:gd name="T14" fmla="*/ 294 w 297"/>
                  <a:gd name="T15" fmla="*/ 104 h 400"/>
                  <a:gd name="T16" fmla="*/ 295 w 297"/>
                  <a:gd name="T17" fmla="*/ 120 h 400"/>
                  <a:gd name="T18" fmla="*/ 297 w 297"/>
                  <a:gd name="T19" fmla="*/ 121 h 400"/>
                  <a:gd name="T20" fmla="*/ 295 w 297"/>
                  <a:gd name="T21" fmla="*/ 127 h 400"/>
                  <a:gd name="T22" fmla="*/ 295 w 297"/>
                  <a:gd name="T23" fmla="*/ 133 h 400"/>
                  <a:gd name="T24" fmla="*/ 292 w 297"/>
                  <a:gd name="T25" fmla="*/ 135 h 400"/>
                  <a:gd name="T26" fmla="*/ 290 w 297"/>
                  <a:gd name="T27" fmla="*/ 127 h 400"/>
                  <a:gd name="T28" fmla="*/ 286 w 297"/>
                  <a:gd name="T29" fmla="*/ 133 h 400"/>
                  <a:gd name="T30" fmla="*/ 282 w 297"/>
                  <a:gd name="T31" fmla="*/ 139 h 400"/>
                  <a:gd name="T32" fmla="*/ 274 w 297"/>
                  <a:gd name="T33" fmla="*/ 141 h 400"/>
                  <a:gd name="T34" fmla="*/ 272 w 297"/>
                  <a:gd name="T35" fmla="*/ 141 h 400"/>
                  <a:gd name="T36" fmla="*/ 267 w 297"/>
                  <a:gd name="T37" fmla="*/ 150 h 400"/>
                  <a:gd name="T38" fmla="*/ 269 w 297"/>
                  <a:gd name="T39" fmla="*/ 156 h 400"/>
                  <a:gd name="T40" fmla="*/ 265 w 297"/>
                  <a:gd name="T41" fmla="*/ 162 h 400"/>
                  <a:gd name="T42" fmla="*/ 257 w 297"/>
                  <a:gd name="T43" fmla="*/ 166 h 400"/>
                  <a:gd name="T44" fmla="*/ 242 w 297"/>
                  <a:gd name="T45" fmla="*/ 150 h 400"/>
                  <a:gd name="T46" fmla="*/ 257 w 297"/>
                  <a:gd name="T47" fmla="*/ 166 h 400"/>
                  <a:gd name="T48" fmla="*/ 261 w 297"/>
                  <a:gd name="T49" fmla="*/ 173 h 400"/>
                  <a:gd name="T50" fmla="*/ 255 w 297"/>
                  <a:gd name="T51" fmla="*/ 181 h 400"/>
                  <a:gd name="T52" fmla="*/ 251 w 297"/>
                  <a:gd name="T53" fmla="*/ 191 h 400"/>
                  <a:gd name="T54" fmla="*/ 245 w 297"/>
                  <a:gd name="T55" fmla="*/ 193 h 400"/>
                  <a:gd name="T56" fmla="*/ 249 w 297"/>
                  <a:gd name="T57" fmla="*/ 202 h 400"/>
                  <a:gd name="T58" fmla="*/ 251 w 297"/>
                  <a:gd name="T59" fmla="*/ 210 h 400"/>
                  <a:gd name="T60" fmla="*/ 259 w 297"/>
                  <a:gd name="T61" fmla="*/ 216 h 400"/>
                  <a:gd name="T62" fmla="*/ 263 w 297"/>
                  <a:gd name="T63" fmla="*/ 221 h 400"/>
                  <a:gd name="T64" fmla="*/ 265 w 297"/>
                  <a:gd name="T65" fmla="*/ 237 h 400"/>
                  <a:gd name="T66" fmla="*/ 265 w 297"/>
                  <a:gd name="T67" fmla="*/ 252 h 400"/>
                  <a:gd name="T68" fmla="*/ 238 w 297"/>
                  <a:gd name="T69" fmla="*/ 258 h 400"/>
                  <a:gd name="T70" fmla="*/ 236 w 297"/>
                  <a:gd name="T71" fmla="*/ 287 h 400"/>
                  <a:gd name="T72" fmla="*/ 230 w 297"/>
                  <a:gd name="T73" fmla="*/ 327 h 400"/>
                  <a:gd name="T74" fmla="*/ 236 w 297"/>
                  <a:gd name="T75" fmla="*/ 348 h 400"/>
                  <a:gd name="T76" fmla="*/ 228 w 297"/>
                  <a:gd name="T77" fmla="*/ 360 h 400"/>
                  <a:gd name="T78" fmla="*/ 224 w 297"/>
                  <a:gd name="T79" fmla="*/ 383 h 400"/>
                  <a:gd name="T80" fmla="*/ 207 w 297"/>
                  <a:gd name="T81" fmla="*/ 400 h 400"/>
                  <a:gd name="T82" fmla="*/ 186 w 297"/>
                  <a:gd name="T83" fmla="*/ 385 h 400"/>
                  <a:gd name="T84" fmla="*/ 136 w 297"/>
                  <a:gd name="T85" fmla="*/ 379 h 400"/>
                  <a:gd name="T86" fmla="*/ 124 w 297"/>
                  <a:gd name="T87" fmla="*/ 362 h 400"/>
                  <a:gd name="T88" fmla="*/ 103 w 297"/>
                  <a:gd name="T89" fmla="*/ 352 h 400"/>
                  <a:gd name="T90" fmla="*/ 96 w 297"/>
                  <a:gd name="T91" fmla="*/ 354 h 400"/>
                  <a:gd name="T92" fmla="*/ 86 w 297"/>
                  <a:gd name="T93" fmla="*/ 358 h 400"/>
                  <a:gd name="T94" fmla="*/ 65 w 297"/>
                  <a:gd name="T95" fmla="*/ 366 h 400"/>
                  <a:gd name="T96" fmla="*/ 1 w 297"/>
                  <a:gd name="T97" fmla="*/ 273 h 400"/>
                  <a:gd name="T98" fmla="*/ 25 w 297"/>
                  <a:gd name="T99" fmla="*/ 258 h 400"/>
                  <a:gd name="T100" fmla="*/ 65 w 297"/>
                  <a:gd name="T101" fmla="*/ 245 h 400"/>
                  <a:gd name="T102" fmla="*/ 101 w 297"/>
                  <a:gd name="T103" fmla="*/ 233 h 400"/>
                  <a:gd name="T104" fmla="*/ 119 w 297"/>
                  <a:gd name="T105" fmla="*/ 202 h 400"/>
                  <a:gd name="T106" fmla="*/ 113 w 297"/>
                  <a:gd name="T107" fmla="*/ 160 h 400"/>
                  <a:gd name="T108" fmla="*/ 142 w 297"/>
                  <a:gd name="T109" fmla="*/ 139 h 400"/>
                  <a:gd name="T110" fmla="*/ 151 w 297"/>
                  <a:gd name="T111" fmla="*/ 112 h 400"/>
                  <a:gd name="T112" fmla="*/ 155 w 297"/>
                  <a:gd name="T113" fmla="*/ 81 h 400"/>
                  <a:gd name="T114" fmla="*/ 171 w 297"/>
                  <a:gd name="T115" fmla="*/ 68 h 400"/>
                  <a:gd name="T116" fmla="*/ 197 w 297"/>
                  <a:gd name="T117" fmla="*/ 48 h 400"/>
                  <a:gd name="T118" fmla="*/ 247 w 297"/>
                  <a:gd name="T119" fmla="*/ 25 h 400"/>
                  <a:gd name="T120" fmla="*/ 276 w 297"/>
                  <a:gd name="T121" fmla="*/ 54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97" h="400">
                    <a:moveTo>
                      <a:pt x="280" y="56"/>
                    </a:moveTo>
                    <a:lnTo>
                      <a:pt x="282" y="58"/>
                    </a:lnTo>
                    <a:lnTo>
                      <a:pt x="282" y="60"/>
                    </a:lnTo>
                    <a:lnTo>
                      <a:pt x="284" y="60"/>
                    </a:lnTo>
                    <a:lnTo>
                      <a:pt x="284" y="62"/>
                    </a:lnTo>
                    <a:lnTo>
                      <a:pt x="286" y="62"/>
                    </a:lnTo>
                    <a:lnTo>
                      <a:pt x="286" y="64"/>
                    </a:lnTo>
                    <a:lnTo>
                      <a:pt x="284" y="64"/>
                    </a:lnTo>
                    <a:lnTo>
                      <a:pt x="284" y="62"/>
                    </a:lnTo>
                    <a:lnTo>
                      <a:pt x="284" y="64"/>
                    </a:lnTo>
                    <a:lnTo>
                      <a:pt x="286" y="64"/>
                    </a:lnTo>
                    <a:lnTo>
                      <a:pt x="284" y="64"/>
                    </a:lnTo>
                    <a:lnTo>
                      <a:pt x="284" y="62"/>
                    </a:lnTo>
                    <a:lnTo>
                      <a:pt x="282" y="64"/>
                    </a:lnTo>
                    <a:lnTo>
                      <a:pt x="282" y="62"/>
                    </a:lnTo>
                    <a:lnTo>
                      <a:pt x="280" y="62"/>
                    </a:lnTo>
                    <a:lnTo>
                      <a:pt x="282" y="62"/>
                    </a:lnTo>
                    <a:lnTo>
                      <a:pt x="282" y="64"/>
                    </a:lnTo>
                    <a:lnTo>
                      <a:pt x="284" y="64"/>
                    </a:lnTo>
                    <a:lnTo>
                      <a:pt x="284" y="66"/>
                    </a:lnTo>
                    <a:lnTo>
                      <a:pt x="286" y="66"/>
                    </a:lnTo>
                    <a:lnTo>
                      <a:pt x="284" y="66"/>
                    </a:lnTo>
                    <a:lnTo>
                      <a:pt x="286" y="66"/>
                    </a:lnTo>
                    <a:lnTo>
                      <a:pt x="288" y="66"/>
                    </a:lnTo>
                    <a:lnTo>
                      <a:pt x="288" y="68"/>
                    </a:lnTo>
                    <a:lnTo>
                      <a:pt x="286" y="66"/>
                    </a:lnTo>
                    <a:lnTo>
                      <a:pt x="286" y="68"/>
                    </a:lnTo>
                    <a:lnTo>
                      <a:pt x="288" y="68"/>
                    </a:lnTo>
                    <a:lnTo>
                      <a:pt x="286" y="68"/>
                    </a:lnTo>
                    <a:lnTo>
                      <a:pt x="286" y="70"/>
                    </a:lnTo>
                    <a:lnTo>
                      <a:pt x="288" y="70"/>
                    </a:lnTo>
                    <a:lnTo>
                      <a:pt x="286" y="70"/>
                    </a:lnTo>
                    <a:lnTo>
                      <a:pt x="288" y="70"/>
                    </a:lnTo>
                    <a:lnTo>
                      <a:pt x="288" y="71"/>
                    </a:lnTo>
                    <a:lnTo>
                      <a:pt x="288" y="73"/>
                    </a:lnTo>
                    <a:lnTo>
                      <a:pt x="290" y="73"/>
                    </a:lnTo>
                    <a:lnTo>
                      <a:pt x="290" y="75"/>
                    </a:lnTo>
                    <a:lnTo>
                      <a:pt x="290" y="73"/>
                    </a:lnTo>
                    <a:lnTo>
                      <a:pt x="292" y="73"/>
                    </a:lnTo>
                    <a:lnTo>
                      <a:pt x="294" y="73"/>
                    </a:lnTo>
                    <a:lnTo>
                      <a:pt x="294" y="75"/>
                    </a:lnTo>
                    <a:lnTo>
                      <a:pt x="292" y="75"/>
                    </a:lnTo>
                    <a:lnTo>
                      <a:pt x="292" y="73"/>
                    </a:lnTo>
                    <a:lnTo>
                      <a:pt x="292" y="75"/>
                    </a:lnTo>
                    <a:lnTo>
                      <a:pt x="292" y="73"/>
                    </a:lnTo>
                    <a:lnTo>
                      <a:pt x="292" y="75"/>
                    </a:lnTo>
                    <a:lnTo>
                      <a:pt x="292" y="77"/>
                    </a:lnTo>
                    <a:lnTo>
                      <a:pt x="292" y="79"/>
                    </a:lnTo>
                    <a:lnTo>
                      <a:pt x="294" y="79"/>
                    </a:lnTo>
                    <a:lnTo>
                      <a:pt x="292" y="79"/>
                    </a:lnTo>
                    <a:lnTo>
                      <a:pt x="292" y="77"/>
                    </a:lnTo>
                    <a:lnTo>
                      <a:pt x="290" y="77"/>
                    </a:lnTo>
                    <a:lnTo>
                      <a:pt x="292" y="77"/>
                    </a:lnTo>
                    <a:lnTo>
                      <a:pt x="290" y="77"/>
                    </a:lnTo>
                    <a:lnTo>
                      <a:pt x="288" y="77"/>
                    </a:lnTo>
                    <a:lnTo>
                      <a:pt x="286" y="77"/>
                    </a:lnTo>
                    <a:lnTo>
                      <a:pt x="288" y="77"/>
                    </a:lnTo>
                    <a:lnTo>
                      <a:pt x="286" y="77"/>
                    </a:lnTo>
                    <a:lnTo>
                      <a:pt x="288" y="77"/>
                    </a:lnTo>
                    <a:lnTo>
                      <a:pt x="288" y="79"/>
                    </a:lnTo>
                    <a:lnTo>
                      <a:pt x="290" y="79"/>
                    </a:lnTo>
                    <a:lnTo>
                      <a:pt x="288" y="79"/>
                    </a:lnTo>
                    <a:lnTo>
                      <a:pt x="288" y="81"/>
                    </a:lnTo>
                    <a:lnTo>
                      <a:pt x="288" y="79"/>
                    </a:lnTo>
                    <a:lnTo>
                      <a:pt x="288" y="81"/>
                    </a:lnTo>
                    <a:lnTo>
                      <a:pt x="290" y="81"/>
                    </a:lnTo>
                    <a:lnTo>
                      <a:pt x="288" y="81"/>
                    </a:lnTo>
                    <a:lnTo>
                      <a:pt x="286" y="81"/>
                    </a:lnTo>
                    <a:lnTo>
                      <a:pt x="286" y="79"/>
                    </a:lnTo>
                    <a:lnTo>
                      <a:pt x="284" y="79"/>
                    </a:lnTo>
                    <a:lnTo>
                      <a:pt x="282" y="79"/>
                    </a:lnTo>
                    <a:lnTo>
                      <a:pt x="284" y="79"/>
                    </a:lnTo>
                    <a:lnTo>
                      <a:pt x="282" y="79"/>
                    </a:lnTo>
                    <a:lnTo>
                      <a:pt x="280" y="77"/>
                    </a:lnTo>
                    <a:lnTo>
                      <a:pt x="280" y="79"/>
                    </a:lnTo>
                    <a:lnTo>
                      <a:pt x="278" y="77"/>
                    </a:lnTo>
                    <a:lnTo>
                      <a:pt x="276" y="77"/>
                    </a:lnTo>
                    <a:lnTo>
                      <a:pt x="274" y="77"/>
                    </a:lnTo>
                    <a:lnTo>
                      <a:pt x="274" y="75"/>
                    </a:lnTo>
                    <a:lnTo>
                      <a:pt x="272" y="75"/>
                    </a:lnTo>
                    <a:lnTo>
                      <a:pt x="274" y="77"/>
                    </a:lnTo>
                    <a:lnTo>
                      <a:pt x="272" y="77"/>
                    </a:lnTo>
                    <a:lnTo>
                      <a:pt x="272" y="75"/>
                    </a:lnTo>
                    <a:lnTo>
                      <a:pt x="270" y="75"/>
                    </a:lnTo>
                    <a:lnTo>
                      <a:pt x="272" y="75"/>
                    </a:lnTo>
                    <a:lnTo>
                      <a:pt x="272" y="77"/>
                    </a:lnTo>
                    <a:lnTo>
                      <a:pt x="274" y="77"/>
                    </a:lnTo>
                    <a:lnTo>
                      <a:pt x="276" y="77"/>
                    </a:lnTo>
                    <a:lnTo>
                      <a:pt x="276" y="79"/>
                    </a:lnTo>
                    <a:lnTo>
                      <a:pt x="276" y="77"/>
                    </a:lnTo>
                    <a:lnTo>
                      <a:pt x="276" y="79"/>
                    </a:lnTo>
                    <a:lnTo>
                      <a:pt x="278" y="79"/>
                    </a:lnTo>
                    <a:lnTo>
                      <a:pt x="280" y="79"/>
                    </a:lnTo>
                    <a:lnTo>
                      <a:pt x="282" y="79"/>
                    </a:lnTo>
                    <a:lnTo>
                      <a:pt x="284" y="79"/>
                    </a:lnTo>
                    <a:lnTo>
                      <a:pt x="282" y="79"/>
                    </a:lnTo>
                    <a:lnTo>
                      <a:pt x="284" y="81"/>
                    </a:lnTo>
                    <a:lnTo>
                      <a:pt x="286" y="81"/>
                    </a:lnTo>
                    <a:lnTo>
                      <a:pt x="288" y="83"/>
                    </a:lnTo>
                    <a:lnTo>
                      <a:pt x="286" y="83"/>
                    </a:lnTo>
                    <a:lnTo>
                      <a:pt x="284" y="83"/>
                    </a:lnTo>
                    <a:lnTo>
                      <a:pt x="286" y="83"/>
                    </a:lnTo>
                    <a:lnTo>
                      <a:pt x="290" y="87"/>
                    </a:lnTo>
                    <a:lnTo>
                      <a:pt x="290" y="89"/>
                    </a:lnTo>
                    <a:lnTo>
                      <a:pt x="288" y="89"/>
                    </a:lnTo>
                    <a:lnTo>
                      <a:pt x="290" y="89"/>
                    </a:lnTo>
                    <a:lnTo>
                      <a:pt x="290" y="91"/>
                    </a:lnTo>
                    <a:lnTo>
                      <a:pt x="290" y="93"/>
                    </a:lnTo>
                    <a:lnTo>
                      <a:pt x="292" y="93"/>
                    </a:lnTo>
                    <a:lnTo>
                      <a:pt x="294" y="93"/>
                    </a:lnTo>
                    <a:lnTo>
                      <a:pt x="294" y="95"/>
                    </a:lnTo>
                    <a:lnTo>
                      <a:pt x="294" y="93"/>
                    </a:lnTo>
                    <a:lnTo>
                      <a:pt x="294" y="95"/>
                    </a:lnTo>
                    <a:lnTo>
                      <a:pt x="294" y="93"/>
                    </a:lnTo>
                    <a:lnTo>
                      <a:pt x="294" y="95"/>
                    </a:lnTo>
                    <a:lnTo>
                      <a:pt x="295" y="95"/>
                    </a:lnTo>
                    <a:lnTo>
                      <a:pt x="294" y="95"/>
                    </a:lnTo>
                    <a:lnTo>
                      <a:pt x="295" y="95"/>
                    </a:lnTo>
                    <a:lnTo>
                      <a:pt x="295" y="96"/>
                    </a:lnTo>
                    <a:lnTo>
                      <a:pt x="294" y="96"/>
                    </a:lnTo>
                    <a:lnTo>
                      <a:pt x="295" y="96"/>
                    </a:lnTo>
                    <a:lnTo>
                      <a:pt x="294" y="96"/>
                    </a:lnTo>
                    <a:lnTo>
                      <a:pt x="295" y="96"/>
                    </a:lnTo>
                    <a:lnTo>
                      <a:pt x="294" y="96"/>
                    </a:lnTo>
                    <a:lnTo>
                      <a:pt x="295" y="96"/>
                    </a:lnTo>
                    <a:lnTo>
                      <a:pt x="294" y="96"/>
                    </a:lnTo>
                    <a:lnTo>
                      <a:pt x="294" y="98"/>
                    </a:lnTo>
                    <a:lnTo>
                      <a:pt x="295" y="98"/>
                    </a:lnTo>
                    <a:lnTo>
                      <a:pt x="294" y="98"/>
                    </a:lnTo>
                    <a:lnTo>
                      <a:pt x="294" y="100"/>
                    </a:lnTo>
                    <a:lnTo>
                      <a:pt x="295" y="100"/>
                    </a:lnTo>
                    <a:lnTo>
                      <a:pt x="294" y="100"/>
                    </a:lnTo>
                    <a:lnTo>
                      <a:pt x="295" y="100"/>
                    </a:lnTo>
                    <a:lnTo>
                      <a:pt x="295" y="102"/>
                    </a:lnTo>
                    <a:lnTo>
                      <a:pt x="295" y="104"/>
                    </a:lnTo>
                    <a:lnTo>
                      <a:pt x="294" y="104"/>
                    </a:lnTo>
                    <a:lnTo>
                      <a:pt x="294" y="106"/>
                    </a:lnTo>
                    <a:lnTo>
                      <a:pt x="295" y="106"/>
                    </a:lnTo>
                    <a:lnTo>
                      <a:pt x="295" y="104"/>
                    </a:lnTo>
                    <a:lnTo>
                      <a:pt x="297" y="104"/>
                    </a:lnTo>
                    <a:lnTo>
                      <a:pt x="297" y="106"/>
                    </a:lnTo>
                    <a:lnTo>
                      <a:pt x="297" y="108"/>
                    </a:lnTo>
                    <a:lnTo>
                      <a:pt x="297" y="110"/>
                    </a:lnTo>
                    <a:lnTo>
                      <a:pt x="297" y="112"/>
                    </a:lnTo>
                    <a:lnTo>
                      <a:pt x="297" y="114"/>
                    </a:lnTo>
                    <a:lnTo>
                      <a:pt x="297" y="116"/>
                    </a:lnTo>
                    <a:lnTo>
                      <a:pt x="297" y="118"/>
                    </a:lnTo>
                    <a:lnTo>
                      <a:pt x="297" y="116"/>
                    </a:lnTo>
                    <a:lnTo>
                      <a:pt x="297" y="118"/>
                    </a:lnTo>
                    <a:lnTo>
                      <a:pt x="295" y="118"/>
                    </a:lnTo>
                    <a:lnTo>
                      <a:pt x="297" y="118"/>
                    </a:lnTo>
                    <a:lnTo>
                      <a:pt x="295" y="118"/>
                    </a:lnTo>
                    <a:lnTo>
                      <a:pt x="295" y="120"/>
                    </a:lnTo>
                    <a:lnTo>
                      <a:pt x="294" y="121"/>
                    </a:lnTo>
                    <a:lnTo>
                      <a:pt x="295" y="121"/>
                    </a:lnTo>
                    <a:lnTo>
                      <a:pt x="294" y="121"/>
                    </a:lnTo>
                    <a:lnTo>
                      <a:pt x="295" y="121"/>
                    </a:lnTo>
                    <a:lnTo>
                      <a:pt x="294" y="121"/>
                    </a:lnTo>
                    <a:lnTo>
                      <a:pt x="295" y="121"/>
                    </a:lnTo>
                    <a:lnTo>
                      <a:pt x="294" y="121"/>
                    </a:lnTo>
                    <a:lnTo>
                      <a:pt x="295" y="121"/>
                    </a:lnTo>
                    <a:lnTo>
                      <a:pt x="294" y="121"/>
                    </a:lnTo>
                    <a:lnTo>
                      <a:pt x="295" y="121"/>
                    </a:lnTo>
                    <a:lnTo>
                      <a:pt x="295" y="120"/>
                    </a:lnTo>
                    <a:lnTo>
                      <a:pt x="295" y="121"/>
                    </a:lnTo>
                    <a:lnTo>
                      <a:pt x="295" y="120"/>
                    </a:lnTo>
                    <a:lnTo>
                      <a:pt x="295" y="121"/>
                    </a:lnTo>
                    <a:lnTo>
                      <a:pt x="295" y="120"/>
                    </a:lnTo>
                    <a:lnTo>
                      <a:pt x="297" y="120"/>
                    </a:lnTo>
                    <a:lnTo>
                      <a:pt x="297" y="121"/>
                    </a:lnTo>
                    <a:lnTo>
                      <a:pt x="295" y="121"/>
                    </a:lnTo>
                    <a:lnTo>
                      <a:pt x="297" y="121"/>
                    </a:lnTo>
                    <a:lnTo>
                      <a:pt x="295" y="121"/>
                    </a:lnTo>
                    <a:lnTo>
                      <a:pt x="297" y="121"/>
                    </a:lnTo>
                    <a:lnTo>
                      <a:pt x="297" y="123"/>
                    </a:lnTo>
                    <a:lnTo>
                      <a:pt x="295" y="123"/>
                    </a:lnTo>
                    <a:lnTo>
                      <a:pt x="295" y="125"/>
                    </a:lnTo>
                    <a:lnTo>
                      <a:pt x="294" y="125"/>
                    </a:lnTo>
                    <a:lnTo>
                      <a:pt x="295" y="125"/>
                    </a:lnTo>
                    <a:lnTo>
                      <a:pt x="294" y="125"/>
                    </a:lnTo>
                    <a:lnTo>
                      <a:pt x="295" y="127"/>
                    </a:lnTo>
                    <a:lnTo>
                      <a:pt x="295" y="125"/>
                    </a:lnTo>
                    <a:lnTo>
                      <a:pt x="295" y="127"/>
                    </a:lnTo>
                    <a:lnTo>
                      <a:pt x="295" y="125"/>
                    </a:lnTo>
                    <a:lnTo>
                      <a:pt x="295" y="127"/>
                    </a:lnTo>
                    <a:lnTo>
                      <a:pt x="297" y="127"/>
                    </a:lnTo>
                    <a:lnTo>
                      <a:pt x="295" y="127"/>
                    </a:lnTo>
                    <a:lnTo>
                      <a:pt x="295" y="125"/>
                    </a:lnTo>
                    <a:lnTo>
                      <a:pt x="295" y="127"/>
                    </a:lnTo>
                    <a:lnTo>
                      <a:pt x="295" y="125"/>
                    </a:lnTo>
                    <a:lnTo>
                      <a:pt x="297" y="125"/>
                    </a:lnTo>
                    <a:lnTo>
                      <a:pt x="297" y="127"/>
                    </a:lnTo>
                    <a:lnTo>
                      <a:pt x="297" y="125"/>
                    </a:lnTo>
                    <a:lnTo>
                      <a:pt x="297" y="127"/>
                    </a:lnTo>
                    <a:lnTo>
                      <a:pt x="295" y="127"/>
                    </a:lnTo>
                    <a:lnTo>
                      <a:pt x="295" y="129"/>
                    </a:lnTo>
                    <a:lnTo>
                      <a:pt x="295" y="127"/>
                    </a:lnTo>
                    <a:lnTo>
                      <a:pt x="295" y="129"/>
                    </a:lnTo>
                    <a:lnTo>
                      <a:pt x="297" y="129"/>
                    </a:lnTo>
                    <a:lnTo>
                      <a:pt x="295" y="129"/>
                    </a:lnTo>
                    <a:lnTo>
                      <a:pt x="297" y="129"/>
                    </a:lnTo>
                    <a:lnTo>
                      <a:pt x="297" y="131"/>
                    </a:lnTo>
                    <a:lnTo>
                      <a:pt x="297" y="133"/>
                    </a:lnTo>
                    <a:lnTo>
                      <a:pt x="295" y="133"/>
                    </a:lnTo>
                    <a:lnTo>
                      <a:pt x="295" y="131"/>
                    </a:lnTo>
                    <a:lnTo>
                      <a:pt x="295" y="133"/>
                    </a:lnTo>
                    <a:lnTo>
                      <a:pt x="294" y="133"/>
                    </a:lnTo>
                    <a:lnTo>
                      <a:pt x="294" y="131"/>
                    </a:lnTo>
                    <a:lnTo>
                      <a:pt x="295" y="131"/>
                    </a:lnTo>
                    <a:lnTo>
                      <a:pt x="295" y="129"/>
                    </a:lnTo>
                    <a:lnTo>
                      <a:pt x="294" y="129"/>
                    </a:lnTo>
                    <a:lnTo>
                      <a:pt x="295" y="129"/>
                    </a:lnTo>
                    <a:lnTo>
                      <a:pt x="294" y="129"/>
                    </a:lnTo>
                    <a:lnTo>
                      <a:pt x="294" y="131"/>
                    </a:lnTo>
                    <a:lnTo>
                      <a:pt x="294" y="133"/>
                    </a:lnTo>
                    <a:lnTo>
                      <a:pt x="295" y="133"/>
                    </a:lnTo>
                    <a:lnTo>
                      <a:pt x="294" y="133"/>
                    </a:lnTo>
                    <a:lnTo>
                      <a:pt x="295" y="133"/>
                    </a:lnTo>
                    <a:lnTo>
                      <a:pt x="294" y="133"/>
                    </a:lnTo>
                    <a:lnTo>
                      <a:pt x="294" y="135"/>
                    </a:lnTo>
                    <a:lnTo>
                      <a:pt x="292" y="135"/>
                    </a:lnTo>
                    <a:lnTo>
                      <a:pt x="292" y="133"/>
                    </a:lnTo>
                    <a:lnTo>
                      <a:pt x="292" y="131"/>
                    </a:lnTo>
                    <a:lnTo>
                      <a:pt x="292" y="129"/>
                    </a:lnTo>
                    <a:lnTo>
                      <a:pt x="292" y="127"/>
                    </a:lnTo>
                    <a:lnTo>
                      <a:pt x="290" y="127"/>
                    </a:lnTo>
                    <a:lnTo>
                      <a:pt x="292" y="127"/>
                    </a:lnTo>
                    <a:lnTo>
                      <a:pt x="290" y="127"/>
                    </a:lnTo>
                    <a:lnTo>
                      <a:pt x="292" y="127"/>
                    </a:lnTo>
                    <a:lnTo>
                      <a:pt x="292" y="125"/>
                    </a:lnTo>
                    <a:lnTo>
                      <a:pt x="290" y="125"/>
                    </a:lnTo>
                    <a:lnTo>
                      <a:pt x="292" y="125"/>
                    </a:lnTo>
                    <a:lnTo>
                      <a:pt x="290" y="125"/>
                    </a:lnTo>
                    <a:lnTo>
                      <a:pt x="292" y="125"/>
                    </a:lnTo>
                    <a:lnTo>
                      <a:pt x="292" y="127"/>
                    </a:lnTo>
                    <a:lnTo>
                      <a:pt x="292" y="125"/>
                    </a:lnTo>
                    <a:lnTo>
                      <a:pt x="290" y="125"/>
                    </a:lnTo>
                    <a:lnTo>
                      <a:pt x="290" y="127"/>
                    </a:lnTo>
                    <a:lnTo>
                      <a:pt x="290" y="125"/>
                    </a:lnTo>
                    <a:lnTo>
                      <a:pt x="290" y="127"/>
                    </a:lnTo>
                    <a:lnTo>
                      <a:pt x="290" y="129"/>
                    </a:lnTo>
                    <a:lnTo>
                      <a:pt x="288" y="129"/>
                    </a:lnTo>
                    <a:lnTo>
                      <a:pt x="290" y="129"/>
                    </a:lnTo>
                    <a:lnTo>
                      <a:pt x="288" y="129"/>
                    </a:lnTo>
                    <a:lnTo>
                      <a:pt x="290" y="129"/>
                    </a:lnTo>
                    <a:lnTo>
                      <a:pt x="288" y="129"/>
                    </a:lnTo>
                    <a:lnTo>
                      <a:pt x="290" y="129"/>
                    </a:lnTo>
                    <a:lnTo>
                      <a:pt x="290" y="131"/>
                    </a:lnTo>
                    <a:lnTo>
                      <a:pt x="288" y="131"/>
                    </a:lnTo>
                    <a:lnTo>
                      <a:pt x="290" y="131"/>
                    </a:lnTo>
                    <a:lnTo>
                      <a:pt x="288" y="131"/>
                    </a:lnTo>
                    <a:lnTo>
                      <a:pt x="286" y="131"/>
                    </a:lnTo>
                    <a:lnTo>
                      <a:pt x="288" y="131"/>
                    </a:lnTo>
                    <a:lnTo>
                      <a:pt x="288" y="133"/>
                    </a:lnTo>
                    <a:lnTo>
                      <a:pt x="286" y="133"/>
                    </a:lnTo>
                    <a:lnTo>
                      <a:pt x="288" y="133"/>
                    </a:lnTo>
                    <a:lnTo>
                      <a:pt x="286" y="133"/>
                    </a:lnTo>
                    <a:lnTo>
                      <a:pt x="288" y="133"/>
                    </a:lnTo>
                    <a:lnTo>
                      <a:pt x="286" y="133"/>
                    </a:lnTo>
                    <a:lnTo>
                      <a:pt x="288" y="133"/>
                    </a:lnTo>
                    <a:lnTo>
                      <a:pt x="286" y="133"/>
                    </a:lnTo>
                    <a:lnTo>
                      <a:pt x="286" y="135"/>
                    </a:lnTo>
                    <a:lnTo>
                      <a:pt x="286" y="137"/>
                    </a:lnTo>
                    <a:lnTo>
                      <a:pt x="286" y="139"/>
                    </a:lnTo>
                    <a:lnTo>
                      <a:pt x="286" y="137"/>
                    </a:lnTo>
                    <a:lnTo>
                      <a:pt x="284" y="137"/>
                    </a:lnTo>
                    <a:lnTo>
                      <a:pt x="286" y="137"/>
                    </a:lnTo>
                    <a:lnTo>
                      <a:pt x="284" y="137"/>
                    </a:lnTo>
                    <a:lnTo>
                      <a:pt x="286" y="137"/>
                    </a:lnTo>
                    <a:lnTo>
                      <a:pt x="284" y="137"/>
                    </a:lnTo>
                    <a:lnTo>
                      <a:pt x="284" y="139"/>
                    </a:lnTo>
                    <a:lnTo>
                      <a:pt x="282" y="139"/>
                    </a:lnTo>
                    <a:lnTo>
                      <a:pt x="284" y="139"/>
                    </a:lnTo>
                    <a:lnTo>
                      <a:pt x="282" y="139"/>
                    </a:lnTo>
                    <a:lnTo>
                      <a:pt x="282" y="141"/>
                    </a:lnTo>
                    <a:lnTo>
                      <a:pt x="280" y="141"/>
                    </a:lnTo>
                    <a:lnTo>
                      <a:pt x="280" y="139"/>
                    </a:lnTo>
                    <a:lnTo>
                      <a:pt x="280" y="141"/>
                    </a:lnTo>
                    <a:lnTo>
                      <a:pt x="278" y="141"/>
                    </a:lnTo>
                    <a:lnTo>
                      <a:pt x="280" y="141"/>
                    </a:lnTo>
                    <a:lnTo>
                      <a:pt x="278" y="141"/>
                    </a:lnTo>
                    <a:lnTo>
                      <a:pt x="280" y="141"/>
                    </a:lnTo>
                    <a:lnTo>
                      <a:pt x="278" y="141"/>
                    </a:lnTo>
                    <a:lnTo>
                      <a:pt x="278" y="143"/>
                    </a:lnTo>
                    <a:lnTo>
                      <a:pt x="276" y="143"/>
                    </a:lnTo>
                    <a:lnTo>
                      <a:pt x="278" y="143"/>
                    </a:lnTo>
                    <a:lnTo>
                      <a:pt x="276" y="143"/>
                    </a:lnTo>
                    <a:lnTo>
                      <a:pt x="276" y="141"/>
                    </a:lnTo>
                    <a:lnTo>
                      <a:pt x="274" y="141"/>
                    </a:lnTo>
                    <a:lnTo>
                      <a:pt x="272" y="141"/>
                    </a:lnTo>
                    <a:lnTo>
                      <a:pt x="274" y="141"/>
                    </a:lnTo>
                    <a:lnTo>
                      <a:pt x="272" y="141"/>
                    </a:lnTo>
                    <a:lnTo>
                      <a:pt x="274" y="141"/>
                    </a:lnTo>
                    <a:lnTo>
                      <a:pt x="272" y="141"/>
                    </a:lnTo>
                    <a:lnTo>
                      <a:pt x="274" y="141"/>
                    </a:lnTo>
                    <a:lnTo>
                      <a:pt x="274" y="143"/>
                    </a:lnTo>
                    <a:lnTo>
                      <a:pt x="272" y="141"/>
                    </a:lnTo>
                    <a:lnTo>
                      <a:pt x="274" y="143"/>
                    </a:lnTo>
                    <a:lnTo>
                      <a:pt x="272" y="143"/>
                    </a:lnTo>
                    <a:lnTo>
                      <a:pt x="272" y="141"/>
                    </a:lnTo>
                    <a:lnTo>
                      <a:pt x="272" y="143"/>
                    </a:lnTo>
                    <a:lnTo>
                      <a:pt x="272" y="141"/>
                    </a:lnTo>
                    <a:lnTo>
                      <a:pt x="272" y="143"/>
                    </a:lnTo>
                    <a:lnTo>
                      <a:pt x="272" y="141"/>
                    </a:lnTo>
                    <a:lnTo>
                      <a:pt x="270" y="141"/>
                    </a:lnTo>
                    <a:lnTo>
                      <a:pt x="272" y="141"/>
                    </a:lnTo>
                    <a:lnTo>
                      <a:pt x="270" y="141"/>
                    </a:lnTo>
                    <a:lnTo>
                      <a:pt x="270" y="143"/>
                    </a:lnTo>
                    <a:lnTo>
                      <a:pt x="270" y="141"/>
                    </a:lnTo>
                    <a:lnTo>
                      <a:pt x="270" y="143"/>
                    </a:lnTo>
                    <a:lnTo>
                      <a:pt x="269" y="141"/>
                    </a:lnTo>
                    <a:lnTo>
                      <a:pt x="267" y="141"/>
                    </a:lnTo>
                    <a:lnTo>
                      <a:pt x="267" y="139"/>
                    </a:lnTo>
                    <a:lnTo>
                      <a:pt x="267" y="141"/>
                    </a:lnTo>
                    <a:lnTo>
                      <a:pt x="269" y="141"/>
                    </a:lnTo>
                    <a:lnTo>
                      <a:pt x="269" y="143"/>
                    </a:lnTo>
                    <a:lnTo>
                      <a:pt x="269" y="145"/>
                    </a:lnTo>
                    <a:lnTo>
                      <a:pt x="270" y="145"/>
                    </a:lnTo>
                    <a:lnTo>
                      <a:pt x="270" y="146"/>
                    </a:lnTo>
                    <a:lnTo>
                      <a:pt x="269" y="146"/>
                    </a:lnTo>
                    <a:lnTo>
                      <a:pt x="269" y="148"/>
                    </a:lnTo>
                    <a:lnTo>
                      <a:pt x="267" y="148"/>
                    </a:lnTo>
                    <a:lnTo>
                      <a:pt x="267" y="150"/>
                    </a:lnTo>
                    <a:lnTo>
                      <a:pt x="269" y="150"/>
                    </a:lnTo>
                    <a:lnTo>
                      <a:pt x="267" y="150"/>
                    </a:lnTo>
                    <a:lnTo>
                      <a:pt x="269" y="150"/>
                    </a:lnTo>
                    <a:lnTo>
                      <a:pt x="267" y="152"/>
                    </a:lnTo>
                    <a:lnTo>
                      <a:pt x="269" y="152"/>
                    </a:lnTo>
                    <a:lnTo>
                      <a:pt x="269" y="154"/>
                    </a:lnTo>
                    <a:lnTo>
                      <a:pt x="269" y="156"/>
                    </a:lnTo>
                    <a:lnTo>
                      <a:pt x="269" y="154"/>
                    </a:lnTo>
                    <a:lnTo>
                      <a:pt x="267" y="154"/>
                    </a:lnTo>
                    <a:lnTo>
                      <a:pt x="269" y="154"/>
                    </a:lnTo>
                    <a:lnTo>
                      <a:pt x="269" y="156"/>
                    </a:lnTo>
                    <a:lnTo>
                      <a:pt x="270" y="156"/>
                    </a:lnTo>
                    <a:lnTo>
                      <a:pt x="270" y="158"/>
                    </a:lnTo>
                    <a:lnTo>
                      <a:pt x="270" y="156"/>
                    </a:lnTo>
                    <a:lnTo>
                      <a:pt x="269" y="156"/>
                    </a:lnTo>
                    <a:lnTo>
                      <a:pt x="269" y="158"/>
                    </a:lnTo>
                    <a:lnTo>
                      <a:pt x="269" y="156"/>
                    </a:lnTo>
                    <a:lnTo>
                      <a:pt x="269" y="158"/>
                    </a:lnTo>
                    <a:lnTo>
                      <a:pt x="267" y="158"/>
                    </a:lnTo>
                    <a:lnTo>
                      <a:pt x="269" y="158"/>
                    </a:lnTo>
                    <a:lnTo>
                      <a:pt x="267" y="158"/>
                    </a:lnTo>
                    <a:lnTo>
                      <a:pt x="267" y="156"/>
                    </a:lnTo>
                    <a:lnTo>
                      <a:pt x="265" y="156"/>
                    </a:lnTo>
                    <a:lnTo>
                      <a:pt x="267" y="156"/>
                    </a:lnTo>
                    <a:lnTo>
                      <a:pt x="267" y="158"/>
                    </a:lnTo>
                    <a:lnTo>
                      <a:pt x="267" y="160"/>
                    </a:lnTo>
                    <a:lnTo>
                      <a:pt x="265" y="160"/>
                    </a:lnTo>
                    <a:lnTo>
                      <a:pt x="267" y="160"/>
                    </a:lnTo>
                    <a:lnTo>
                      <a:pt x="265" y="160"/>
                    </a:lnTo>
                    <a:lnTo>
                      <a:pt x="265" y="162"/>
                    </a:lnTo>
                    <a:lnTo>
                      <a:pt x="267" y="162"/>
                    </a:lnTo>
                    <a:lnTo>
                      <a:pt x="267" y="160"/>
                    </a:lnTo>
                    <a:lnTo>
                      <a:pt x="267" y="162"/>
                    </a:lnTo>
                    <a:lnTo>
                      <a:pt x="265" y="162"/>
                    </a:lnTo>
                    <a:lnTo>
                      <a:pt x="267" y="162"/>
                    </a:lnTo>
                    <a:lnTo>
                      <a:pt x="267" y="164"/>
                    </a:lnTo>
                    <a:lnTo>
                      <a:pt x="267" y="166"/>
                    </a:lnTo>
                    <a:lnTo>
                      <a:pt x="265" y="166"/>
                    </a:lnTo>
                    <a:lnTo>
                      <a:pt x="267" y="166"/>
                    </a:lnTo>
                    <a:lnTo>
                      <a:pt x="265" y="166"/>
                    </a:lnTo>
                    <a:lnTo>
                      <a:pt x="265" y="168"/>
                    </a:lnTo>
                    <a:lnTo>
                      <a:pt x="267" y="168"/>
                    </a:lnTo>
                    <a:lnTo>
                      <a:pt x="265" y="168"/>
                    </a:lnTo>
                    <a:lnTo>
                      <a:pt x="263" y="168"/>
                    </a:lnTo>
                    <a:lnTo>
                      <a:pt x="265" y="168"/>
                    </a:lnTo>
                    <a:lnTo>
                      <a:pt x="263" y="168"/>
                    </a:lnTo>
                    <a:lnTo>
                      <a:pt x="261" y="168"/>
                    </a:lnTo>
                    <a:lnTo>
                      <a:pt x="259" y="168"/>
                    </a:lnTo>
                    <a:lnTo>
                      <a:pt x="257" y="166"/>
                    </a:lnTo>
                    <a:lnTo>
                      <a:pt x="257" y="168"/>
                    </a:lnTo>
                    <a:lnTo>
                      <a:pt x="257" y="166"/>
                    </a:lnTo>
                    <a:lnTo>
                      <a:pt x="255" y="166"/>
                    </a:lnTo>
                    <a:lnTo>
                      <a:pt x="253" y="166"/>
                    </a:lnTo>
                    <a:lnTo>
                      <a:pt x="251" y="166"/>
                    </a:lnTo>
                    <a:lnTo>
                      <a:pt x="251" y="164"/>
                    </a:lnTo>
                    <a:lnTo>
                      <a:pt x="249" y="164"/>
                    </a:lnTo>
                    <a:lnTo>
                      <a:pt x="249" y="162"/>
                    </a:lnTo>
                    <a:lnTo>
                      <a:pt x="247" y="162"/>
                    </a:lnTo>
                    <a:lnTo>
                      <a:pt x="249" y="162"/>
                    </a:lnTo>
                    <a:lnTo>
                      <a:pt x="247" y="162"/>
                    </a:lnTo>
                    <a:lnTo>
                      <a:pt x="247" y="160"/>
                    </a:lnTo>
                    <a:lnTo>
                      <a:pt x="247" y="158"/>
                    </a:lnTo>
                    <a:lnTo>
                      <a:pt x="247" y="156"/>
                    </a:lnTo>
                    <a:lnTo>
                      <a:pt x="245" y="156"/>
                    </a:lnTo>
                    <a:lnTo>
                      <a:pt x="244" y="152"/>
                    </a:lnTo>
                    <a:lnTo>
                      <a:pt x="242" y="150"/>
                    </a:lnTo>
                    <a:lnTo>
                      <a:pt x="242" y="148"/>
                    </a:lnTo>
                    <a:lnTo>
                      <a:pt x="242" y="150"/>
                    </a:lnTo>
                    <a:lnTo>
                      <a:pt x="242" y="152"/>
                    </a:lnTo>
                    <a:lnTo>
                      <a:pt x="244" y="152"/>
                    </a:lnTo>
                    <a:lnTo>
                      <a:pt x="245" y="156"/>
                    </a:lnTo>
                    <a:lnTo>
                      <a:pt x="247" y="156"/>
                    </a:lnTo>
                    <a:lnTo>
                      <a:pt x="247" y="158"/>
                    </a:lnTo>
                    <a:lnTo>
                      <a:pt x="247" y="160"/>
                    </a:lnTo>
                    <a:lnTo>
                      <a:pt x="247" y="162"/>
                    </a:lnTo>
                    <a:lnTo>
                      <a:pt x="249" y="164"/>
                    </a:lnTo>
                    <a:lnTo>
                      <a:pt x="247" y="164"/>
                    </a:lnTo>
                    <a:lnTo>
                      <a:pt x="247" y="162"/>
                    </a:lnTo>
                    <a:lnTo>
                      <a:pt x="247" y="164"/>
                    </a:lnTo>
                    <a:lnTo>
                      <a:pt x="249" y="164"/>
                    </a:lnTo>
                    <a:lnTo>
                      <a:pt x="251" y="164"/>
                    </a:lnTo>
                    <a:lnTo>
                      <a:pt x="251" y="166"/>
                    </a:lnTo>
                    <a:lnTo>
                      <a:pt x="253" y="166"/>
                    </a:lnTo>
                    <a:lnTo>
                      <a:pt x="255" y="166"/>
                    </a:lnTo>
                    <a:lnTo>
                      <a:pt x="257" y="166"/>
                    </a:lnTo>
                    <a:lnTo>
                      <a:pt x="255" y="168"/>
                    </a:lnTo>
                    <a:lnTo>
                      <a:pt x="257" y="168"/>
                    </a:lnTo>
                    <a:lnTo>
                      <a:pt x="257" y="166"/>
                    </a:lnTo>
                    <a:lnTo>
                      <a:pt x="257" y="168"/>
                    </a:lnTo>
                    <a:lnTo>
                      <a:pt x="257" y="166"/>
                    </a:lnTo>
                    <a:lnTo>
                      <a:pt x="257" y="168"/>
                    </a:lnTo>
                    <a:lnTo>
                      <a:pt x="259" y="168"/>
                    </a:lnTo>
                    <a:lnTo>
                      <a:pt x="261" y="168"/>
                    </a:lnTo>
                    <a:lnTo>
                      <a:pt x="261" y="170"/>
                    </a:lnTo>
                    <a:lnTo>
                      <a:pt x="263" y="170"/>
                    </a:lnTo>
                    <a:lnTo>
                      <a:pt x="261" y="170"/>
                    </a:lnTo>
                    <a:lnTo>
                      <a:pt x="263" y="170"/>
                    </a:lnTo>
                    <a:lnTo>
                      <a:pt x="263" y="171"/>
                    </a:lnTo>
                    <a:lnTo>
                      <a:pt x="263" y="173"/>
                    </a:lnTo>
                    <a:lnTo>
                      <a:pt x="261" y="173"/>
                    </a:lnTo>
                    <a:lnTo>
                      <a:pt x="263" y="173"/>
                    </a:lnTo>
                    <a:lnTo>
                      <a:pt x="261" y="173"/>
                    </a:lnTo>
                    <a:lnTo>
                      <a:pt x="263" y="173"/>
                    </a:lnTo>
                    <a:lnTo>
                      <a:pt x="263" y="175"/>
                    </a:lnTo>
                    <a:lnTo>
                      <a:pt x="263" y="177"/>
                    </a:lnTo>
                    <a:lnTo>
                      <a:pt x="263" y="175"/>
                    </a:lnTo>
                    <a:lnTo>
                      <a:pt x="263" y="177"/>
                    </a:lnTo>
                    <a:lnTo>
                      <a:pt x="261" y="177"/>
                    </a:lnTo>
                    <a:lnTo>
                      <a:pt x="263" y="177"/>
                    </a:lnTo>
                    <a:lnTo>
                      <a:pt x="261" y="177"/>
                    </a:lnTo>
                    <a:lnTo>
                      <a:pt x="261" y="179"/>
                    </a:lnTo>
                    <a:lnTo>
                      <a:pt x="263" y="179"/>
                    </a:lnTo>
                    <a:lnTo>
                      <a:pt x="261" y="179"/>
                    </a:lnTo>
                    <a:lnTo>
                      <a:pt x="259" y="179"/>
                    </a:lnTo>
                    <a:lnTo>
                      <a:pt x="259" y="181"/>
                    </a:lnTo>
                    <a:lnTo>
                      <a:pt x="259" y="179"/>
                    </a:lnTo>
                    <a:lnTo>
                      <a:pt x="259" y="181"/>
                    </a:lnTo>
                    <a:lnTo>
                      <a:pt x="257" y="181"/>
                    </a:lnTo>
                    <a:lnTo>
                      <a:pt x="255" y="181"/>
                    </a:lnTo>
                    <a:lnTo>
                      <a:pt x="255" y="179"/>
                    </a:lnTo>
                    <a:lnTo>
                      <a:pt x="253" y="179"/>
                    </a:lnTo>
                    <a:lnTo>
                      <a:pt x="255" y="179"/>
                    </a:lnTo>
                    <a:lnTo>
                      <a:pt x="255" y="181"/>
                    </a:lnTo>
                    <a:lnTo>
                      <a:pt x="255" y="183"/>
                    </a:lnTo>
                    <a:lnTo>
                      <a:pt x="255" y="185"/>
                    </a:lnTo>
                    <a:lnTo>
                      <a:pt x="253" y="185"/>
                    </a:lnTo>
                    <a:lnTo>
                      <a:pt x="255" y="185"/>
                    </a:lnTo>
                    <a:lnTo>
                      <a:pt x="255" y="187"/>
                    </a:lnTo>
                    <a:lnTo>
                      <a:pt x="255" y="189"/>
                    </a:lnTo>
                    <a:lnTo>
                      <a:pt x="253" y="189"/>
                    </a:lnTo>
                    <a:lnTo>
                      <a:pt x="255" y="189"/>
                    </a:lnTo>
                    <a:lnTo>
                      <a:pt x="253" y="189"/>
                    </a:lnTo>
                    <a:lnTo>
                      <a:pt x="255" y="189"/>
                    </a:lnTo>
                    <a:lnTo>
                      <a:pt x="255" y="191"/>
                    </a:lnTo>
                    <a:lnTo>
                      <a:pt x="253" y="191"/>
                    </a:lnTo>
                    <a:lnTo>
                      <a:pt x="251" y="191"/>
                    </a:lnTo>
                    <a:lnTo>
                      <a:pt x="249" y="191"/>
                    </a:lnTo>
                    <a:lnTo>
                      <a:pt x="249" y="193"/>
                    </a:lnTo>
                    <a:lnTo>
                      <a:pt x="249" y="191"/>
                    </a:lnTo>
                    <a:lnTo>
                      <a:pt x="249" y="193"/>
                    </a:lnTo>
                    <a:lnTo>
                      <a:pt x="247" y="191"/>
                    </a:lnTo>
                    <a:lnTo>
                      <a:pt x="247" y="193"/>
                    </a:lnTo>
                    <a:lnTo>
                      <a:pt x="247" y="191"/>
                    </a:lnTo>
                    <a:lnTo>
                      <a:pt x="247" y="193"/>
                    </a:lnTo>
                    <a:lnTo>
                      <a:pt x="247" y="191"/>
                    </a:lnTo>
                    <a:lnTo>
                      <a:pt x="247" y="193"/>
                    </a:lnTo>
                    <a:lnTo>
                      <a:pt x="247" y="191"/>
                    </a:lnTo>
                    <a:lnTo>
                      <a:pt x="245" y="191"/>
                    </a:lnTo>
                    <a:lnTo>
                      <a:pt x="247" y="191"/>
                    </a:lnTo>
                    <a:lnTo>
                      <a:pt x="245" y="191"/>
                    </a:lnTo>
                    <a:lnTo>
                      <a:pt x="244" y="191"/>
                    </a:lnTo>
                    <a:lnTo>
                      <a:pt x="245" y="191"/>
                    </a:lnTo>
                    <a:lnTo>
                      <a:pt x="245" y="193"/>
                    </a:lnTo>
                    <a:lnTo>
                      <a:pt x="245" y="191"/>
                    </a:lnTo>
                    <a:lnTo>
                      <a:pt x="247" y="193"/>
                    </a:lnTo>
                    <a:lnTo>
                      <a:pt x="247" y="195"/>
                    </a:lnTo>
                    <a:lnTo>
                      <a:pt x="247" y="196"/>
                    </a:lnTo>
                    <a:lnTo>
                      <a:pt x="249" y="196"/>
                    </a:lnTo>
                    <a:lnTo>
                      <a:pt x="249" y="195"/>
                    </a:lnTo>
                    <a:lnTo>
                      <a:pt x="249" y="196"/>
                    </a:lnTo>
                    <a:lnTo>
                      <a:pt x="249" y="195"/>
                    </a:lnTo>
                    <a:lnTo>
                      <a:pt x="249" y="196"/>
                    </a:lnTo>
                    <a:lnTo>
                      <a:pt x="251" y="196"/>
                    </a:lnTo>
                    <a:lnTo>
                      <a:pt x="251" y="198"/>
                    </a:lnTo>
                    <a:lnTo>
                      <a:pt x="249" y="198"/>
                    </a:lnTo>
                    <a:lnTo>
                      <a:pt x="247" y="200"/>
                    </a:lnTo>
                    <a:lnTo>
                      <a:pt x="249" y="200"/>
                    </a:lnTo>
                    <a:lnTo>
                      <a:pt x="249" y="202"/>
                    </a:lnTo>
                    <a:lnTo>
                      <a:pt x="247" y="202"/>
                    </a:lnTo>
                    <a:lnTo>
                      <a:pt x="249" y="202"/>
                    </a:lnTo>
                    <a:lnTo>
                      <a:pt x="251" y="202"/>
                    </a:lnTo>
                    <a:lnTo>
                      <a:pt x="251" y="204"/>
                    </a:lnTo>
                    <a:lnTo>
                      <a:pt x="249" y="204"/>
                    </a:lnTo>
                    <a:lnTo>
                      <a:pt x="249" y="206"/>
                    </a:lnTo>
                    <a:lnTo>
                      <a:pt x="249" y="208"/>
                    </a:lnTo>
                    <a:lnTo>
                      <a:pt x="251" y="208"/>
                    </a:lnTo>
                    <a:lnTo>
                      <a:pt x="251" y="206"/>
                    </a:lnTo>
                    <a:lnTo>
                      <a:pt x="253" y="206"/>
                    </a:lnTo>
                    <a:lnTo>
                      <a:pt x="255" y="206"/>
                    </a:lnTo>
                    <a:lnTo>
                      <a:pt x="253" y="206"/>
                    </a:lnTo>
                    <a:lnTo>
                      <a:pt x="255" y="206"/>
                    </a:lnTo>
                    <a:lnTo>
                      <a:pt x="253" y="206"/>
                    </a:lnTo>
                    <a:lnTo>
                      <a:pt x="253" y="208"/>
                    </a:lnTo>
                    <a:lnTo>
                      <a:pt x="253" y="206"/>
                    </a:lnTo>
                    <a:lnTo>
                      <a:pt x="253" y="208"/>
                    </a:lnTo>
                    <a:lnTo>
                      <a:pt x="251" y="208"/>
                    </a:lnTo>
                    <a:lnTo>
                      <a:pt x="251" y="210"/>
                    </a:lnTo>
                    <a:lnTo>
                      <a:pt x="253" y="210"/>
                    </a:lnTo>
                    <a:lnTo>
                      <a:pt x="251" y="210"/>
                    </a:lnTo>
                    <a:lnTo>
                      <a:pt x="251" y="212"/>
                    </a:lnTo>
                    <a:lnTo>
                      <a:pt x="251" y="214"/>
                    </a:lnTo>
                    <a:lnTo>
                      <a:pt x="253" y="214"/>
                    </a:lnTo>
                    <a:lnTo>
                      <a:pt x="251" y="214"/>
                    </a:lnTo>
                    <a:lnTo>
                      <a:pt x="253" y="214"/>
                    </a:lnTo>
                    <a:lnTo>
                      <a:pt x="251" y="214"/>
                    </a:lnTo>
                    <a:lnTo>
                      <a:pt x="253" y="214"/>
                    </a:lnTo>
                    <a:lnTo>
                      <a:pt x="251" y="214"/>
                    </a:lnTo>
                    <a:lnTo>
                      <a:pt x="253" y="214"/>
                    </a:lnTo>
                    <a:lnTo>
                      <a:pt x="251" y="214"/>
                    </a:lnTo>
                    <a:lnTo>
                      <a:pt x="253" y="214"/>
                    </a:lnTo>
                    <a:lnTo>
                      <a:pt x="255" y="214"/>
                    </a:lnTo>
                    <a:lnTo>
                      <a:pt x="257" y="214"/>
                    </a:lnTo>
                    <a:lnTo>
                      <a:pt x="257" y="216"/>
                    </a:lnTo>
                    <a:lnTo>
                      <a:pt x="259" y="216"/>
                    </a:lnTo>
                    <a:lnTo>
                      <a:pt x="259" y="214"/>
                    </a:lnTo>
                    <a:lnTo>
                      <a:pt x="259" y="212"/>
                    </a:lnTo>
                    <a:lnTo>
                      <a:pt x="261" y="212"/>
                    </a:lnTo>
                    <a:lnTo>
                      <a:pt x="261" y="214"/>
                    </a:lnTo>
                    <a:lnTo>
                      <a:pt x="261" y="216"/>
                    </a:lnTo>
                    <a:lnTo>
                      <a:pt x="263" y="216"/>
                    </a:lnTo>
                    <a:lnTo>
                      <a:pt x="261" y="216"/>
                    </a:lnTo>
                    <a:lnTo>
                      <a:pt x="263" y="216"/>
                    </a:lnTo>
                    <a:lnTo>
                      <a:pt x="263" y="218"/>
                    </a:lnTo>
                    <a:lnTo>
                      <a:pt x="261" y="218"/>
                    </a:lnTo>
                    <a:lnTo>
                      <a:pt x="263" y="218"/>
                    </a:lnTo>
                    <a:lnTo>
                      <a:pt x="263" y="220"/>
                    </a:lnTo>
                    <a:lnTo>
                      <a:pt x="263" y="218"/>
                    </a:lnTo>
                    <a:lnTo>
                      <a:pt x="263" y="220"/>
                    </a:lnTo>
                    <a:lnTo>
                      <a:pt x="263" y="218"/>
                    </a:lnTo>
                    <a:lnTo>
                      <a:pt x="263" y="220"/>
                    </a:lnTo>
                    <a:lnTo>
                      <a:pt x="263" y="221"/>
                    </a:lnTo>
                    <a:lnTo>
                      <a:pt x="263" y="223"/>
                    </a:lnTo>
                    <a:lnTo>
                      <a:pt x="261" y="223"/>
                    </a:lnTo>
                    <a:lnTo>
                      <a:pt x="261" y="225"/>
                    </a:lnTo>
                    <a:lnTo>
                      <a:pt x="263" y="225"/>
                    </a:lnTo>
                    <a:lnTo>
                      <a:pt x="261" y="225"/>
                    </a:lnTo>
                    <a:lnTo>
                      <a:pt x="263" y="225"/>
                    </a:lnTo>
                    <a:lnTo>
                      <a:pt x="263" y="227"/>
                    </a:lnTo>
                    <a:lnTo>
                      <a:pt x="261" y="227"/>
                    </a:lnTo>
                    <a:lnTo>
                      <a:pt x="261" y="229"/>
                    </a:lnTo>
                    <a:lnTo>
                      <a:pt x="263" y="229"/>
                    </a:lnTo>
                    <a:lnTo>
                      <a:pt x="263" y="227"/>
                    </a:lnTo>
                    <a:lnTo>
                      <a:pt x="265" y="227"/>
                    </a:lnTo>
                    <a:lnTo>
                      <a:pt x="265" y="229"/>
                    </a:lnTo>
                    <a:lnTo>
                      <a:pt x="265" y="231"/>
                    </a:lnTo>
                    <a:lnTo>
                      <a:pt x="265" y="233"/>
                    </a:lnTo>
                    <a:lnTo>
                      <a:pt x="265" y="235"/>
                    </a:lnTo>
                    <a:lnTo>
                      <a:pt x="265" y="237"/>
                    </a:lnTo>
                    <a:lnTo>
                      <a:pt x="263" y="237"/>
                    </a:lnTo>
                    <a:lnTo>
                      <a:pt x="263" y="235"/>
                    </a:lnTo>
                    <a:lnTo>
                      <a:pt x="263" y="237"/>
                    </a:lnTo>
                    <a:lnTo>
                      <a:pt x="263" y="239"/>
                    </a:lnTo>
                    <a:lnTo>
                      <a:pt x="263" y="241"/>
                    </a:lnTo>
                    <a:lnTo>
                      <a:pt x="261" y="243"/>
                    </a:lnTo>
                    <a:lnTo>
                      <a:pt x="261" y="245"/>
                    </a:lnTo>
                    <a:lnTo>
                      <a:pt x="261" y="246"/>
                    </a:lnTo>
                    <a:lnTo>
                      <a:pt x="261" y="245"/>
                    </a:lnTo>
                    <a:lnTo>
                      <a:pt x="263" y="245"/>
                    </a:lnTo>
                    <a:lnTo>
                      <a:pt x="263" y="246"/>
                    </a:lnTo>
                    <a:lnTo>
                      <a:pt x="265" y="246"/>
                    </a:lnTo>
                    <a:lnTo>
                      <a:pt x="265" y="248"/>
                    </a:lnTo>
                    <a:lnTo>
                      <a:pt x="267" y="248"/>
                    </a:lnTo>
                    <a:lnTo>
                      <a:pt x="267" y="250"/>
                    </a:lnTo>
                    <a:lnTo>
                      <a:pt x="265" y="250"/>
                    </a:lnTo>
                    <a:lnTo>
                      <a:pt x="265" y="252"/>
                    </a:lnTo>
                    <a:lnTo>
                      <a:pt x="263" y="254"/>
                    </a:lnTo>
                    <a:lnTo>
                      <a:pt x="263" y="256"/>
                    </a:lnTo>
                    <a:lnTo>
                      <a:pt x="261" y="256"/>
                    </a:lnTo>
                    <a:lnTo>
                      <a:pt x="261" y="258"/>
                    </a:lnTo>
                    <a:lnTo>
                      <a:pt x="261" y="260"/>
                    </a:lnTo>
                    <a:lnTo>
                      <a:pt x="259" y="262"/>
                    </a:lnTo>
                    <a:lnTo>
                      <a:pt x="257" y="262"/>
                    </a:lnTo>
                    <a:lnTo>
                      <a:pt x="255" y="264"/>
                    </a:lnTo>
                    <a:lnTo>
                      <a:pt x="253" y="266"/>
                    </a:lnTo>
                    <a:lnTo>
                      <a:pt x="251" y="266"/>
                    </a:lnTo>
                    <a:lnTo>
                      <a:pt x="249" y="264"/>
                    </a:lnTo>
                    <a:lnTo>
                      <a:pt x="247" y="264"/>
                    </a:lnTo>
                    <a:lnTo>
                      <a:pt x="247" y="262"/>
                    </a:lnTo>
                    <a:lnTo>
                      <a:pt x="245" y="262"/>
                    </a:lnTo>
                    <a:lnTo>
                      <a:pt x="242" y="260"/>
                    </a:lnTo>
                    <a:lnTo>
                      <a:pt x="240" y="258"/>
                    </a:lnTo>
                    <a:lnTo>
                      <a:pt x="238" y="258"/>
                    </a:lnTo>
                    <a:lnTo>
                      <a:pt x="238" y="260"/>
                    </a:lnTo>
                    <a:lnTo>
                      <a:pt x="238" y="262"/>
                    </a:lnTo>
                    <a:lnTo>
                      <a:pt x="238" y="264"/>
                    </a:lnTo>
                    <a:lnTo>
                      <a:pt x="238" y="266"/>
                    </a:lnTo>
                    <a:lnTo>
                      <a:pt x="236" y="268"/>
                    </a:lnTo>
                    <a:lnTo>
                      <a:pt x="238" y="268"/>
                    </a:lnTo>
                    <a:lnTo>
                      <a:pt x="238" y="270"/>
                    </a:lnTo>
                    <a:lnTo>
                      <a:pt x="240" y="271"/>
                    </a:lnTo>
                    <a:lnTo>
                      <a:pt x="238" y="275"/>
                    </a:lnTo>
                    <a:lnTo>
                      <a:pt x="236" y="279"/>
                    </a:lnTo>
                    <a:lnTo>
                      <a:pt x="236" y="281"/>
                    </a:lnTo>
                    <a:lnTo>
                      <a:pt x="234" y="281"/>
                    </a:lnTo>
                    <a:lnTo>
                      <a:pt x="234" y="283"/>
                    </a:lnTo>
                    <a:lnTo>
                      <a:pt x="232" y="285"/>
                    </a:lnTo>
                    <a:lnTo>
                      <a:pt x="234" y="285"/>
                    </a:lnTo>
                    <a:lnTo>
                      <a:pt x="236" y="285"/>
                    </a:lnTo>
                    <a:lnTo>
                      <a:pt x="236" y="287"/>
                    </a:lnTo>
                    <a:lnTo>
                      <a:pt x="234" y="289"/>
                    </a:lnTo>
                    <a:lnTo>
                      <a:pt x="232" y="289"/>
                    </a:lnTo>
                    <a:lnTo>
                      <a:pt x="230" y="291"/>
                    </a:lnTo>
                    <a:lnTo>
                      <a:pt x="226" y="293"/>
                    </a:lnTo>
                    <a:lnTo>
                      <a:pt x="224" y="294"/>
                    </a:lnTo>
                    <a:lnTo>
                      <a:pt x="224" y="296"/>
                    </a:lnTo>
                    <a:lnTo>
                      <a:pt x="224" y="300"/>
                    </a:lnTo>
                    <a:lnTo>
                      <a:pt x="224" y="302"/>
                    </a:lnTo>
                    <a:lnTo>
                      <a:pt x="224" y="308"/>
                    </a:lnTo>
                    <a:lnTo>
                      <a:pt x="224" y="312"/>
                    </a:lnTo>
                    <a:lnTo>
                      <a:pt x="224" y="314"/>
                    </a:lnTo>
                    <a:lnTo>
                      <a:pt x="226" y="321"/>
                    </a:lnTo>
                    <a:lnTo>
                      <a:pt x="228" y="321"/>
                    </a:lnTo>
                    <a:lnTo>
                      <a:pt x="228" y="323"/>
                    </a:lnTo>
                    <a:lnTo>
                      <a:pt x="230" y="323"/>
                    </a:lnTo>
                    <a:lnTo>
                      <a:pt x="230" y="325"/>
                    </a:lnTo>
                    <a:lnTo>
                      <a:pt x="230" y="327"/>
                    </a:lnTo>
                    <a:lnTo>
                      <a:pt x="232" y="327"/>
                    </a:lnTo>
                    <a:lnTo>
                      <a:pt x="234" y="329"/>
                    </a:lnTo>
                    <a:lnTo>
                      <a:pt x="236" y="329"/>
                    </a:lnTo>
                    <a:lnTo>
                      <a:pt x="238" y="329"/>
                    </a:lnTo>
                    <a:lnTo>
                      <a:pt x="240" y="331"/>
                    </a:lnTo>
                    <a:lnTo>
                      <a:pt x="242" y="333"/>
                    </a:lnTo>
                    <a:lnTo>
                      <a:pt x="242" y="335"/>
                    </a:lnTo>
                    <a:lnTo>
                      <a:pt x="242" y="337"/>
                    </a:lnTo>
                    <a:lnTo>
                      <a:pt x="240" y="337"/>
                    </a:lnTo>
                    <a:lnTo>
                      <a:pt x="240" y="339"/>
                    </a:lnTo>
                    <a:lnTo>
                      <a:pt x="240" y="341"/>
                    </a:lnTo>
                    <a:lnTo>
                      <a:pt x="240" y="343"/>
                    </a:lnTo>
                    <a:lnTo>
                      <a:pt x="238" y="343"/>
                    </a:lnTo>
                    <a:lnTo>
                      <a:pt x="238" y="344"/>
                    </a:lnTo>
                    <a:lnTo>
                      <a:pt x="238" y="346"/>
                    </a:lnTo>
                    <a:lnTo>
                      <a:pt x="236" y="346"/>
                    </a:lnTo>
                    <a:lnTo>
                      <a:pt x="236" y="348"/>
                    </a:lnTo>
                    <a:lnTo>
                      <a:pt x="234" y="348"/>
                    </a:lnTo>
                    <a:lnTo>
                      <a:pt x="234" y="350"/>
                    </a:lnTo>
                    <a:lnTo>
                      <a:pt x="234" y="352"/>
                    </a:lnTo>
                    <a:lnTo>
                      <a:pt x="232" y="352"/>
                    </a:lnTo>
                    <a:lnTo>
                      <a:pt x="230" y="352"/>
                    </a:lnTo>
                    <a:lnTo>
                      <a:pt x="230" y="354"/>
                    </a:lnTo>
                    <a:lnTo>
                      <a:pt x="228" y="354"/>
                    </a:lnTo>
                    <a:lnTo>
                      <a:pt x="226" y="354"/>
                    </a:lnTo>
                    <a:lnTo>
                      <a:pt x="226" y="356"/>
                    </a:lnTo>
                    <a:lnTo>
                      <a:pt x="224" y="356"/>
                    </a:lnTo>
                    <a:lnTo>
                      <a:pt x="224" y="358"/>
                    </a:lnTo>
                    <a:lnTo>
                      <a:pt x="226" y="358"/>
                    </a:lnTo>
                    <a:lnTo>
                      <a:pt x="226" y="360"/>
                    </a:lnTo>
                    <a:lnTo>
                      <a:pt x="228" y="358"/>
                    </a:lnTo>
                    <a:lnTo>
                      <a:pt x="228" y="360"/>
                    </a:lnTo>
                    <a:lnTo>
                      <a:pt x="228" y="358"/>
                    </a:lnTo>
                    <a:lnTo>
                      <a:pt x="228" y="360"/>
                    </a:lnTo>
                    <a:lnTo>
                      <a:pt x="230" y="360"/>
                    </a:lnTo>
                    <a:lnTo>
                      <a:pt x="230" y="362"/>
                    </a:lnTo>
                    <a:lnTo>
                      <a:pt x="230" y="364"/>
                    </a:lnTo>
                    <a:lnTo>
                      <a:pt x="230" y="366"/>
                    </a:lnTo>
                    <a:lnTo>
                      <a:pt x="228" y="366"/>
                    </a:lnTo>
                    <a:lnTo>
                      <a:pt x="228" y="368"/>
                    </a:lnTo>
                    <a:lnTo>
                      <a:pt x="228" y="369"/>
                    </a:lnTo>
                    <a:lnTo>
                      <a:pt x="226" y="371"/>
                    </a:lnTo>
                    <a:lnTo>
                      <a:pt x="226" y="373"/>
                    </a:lnTo>
                    <a:lnTo>
                      <a:pt x="224" y="373"/>
                    </a:lnTo>
                    <a:lnTo>
                      <a:pt x="224" y="375"/>
                    </a:lnTo>
                    <a:lnTo>
                      <a:pt x="226" y="377"/>
                    </a:lnTo>
                    <a:lnTo>
                      <a:pt x="228" y="377"/>
                    </a:lnTo>
                    <a:lnTo>
                      <a:pt x="226" y="379"/>
                    </a:lnTo>
                    <a:lnTo>
                      <a:pt x="226" y="381"/>
                    </a:lnTo>
                    <a:lnTo>
                      <a:pt x="224" y="381"/>
                    </a:lnTo>
                    <a:lnTo>
                      <a:pt x="224" y="383"/>
                    </a:lnTo>
                    <a:lnTo>
                      <a:pt x="222" y="383"/>
                    </a:lnTo>
                    <a:lnTo>
                      <a:pt x="222" y="385"/>
                    </a:lnTo>
                    <a:lnTo>
                      <a:pt x="221" y="385"/>
                    </a:lnTo>
                    <a:lnTo>
                      <a:pt x="221" y="387"/>
                    </a:lnTo>
                    <a:lnTo>
                      <a:pt x="219" y="387"/>
                    </a:lnTo>
                    <a:lnTo>
                      <a:pt x="219" y="389"/>
                    </a:lnTo>
                    <a:lnTo>
                      <a:pt x="217" y="391"/>
                    </a:lnTo>
                    <a:lnTo>
                      <a:pt x="215" y="391"/>
                    </a:lnTo>
                    <a:lnTo>
                      <a:pt x="215" y="393"/>
                    </a:lnTo>
                    <a:lnTo>
                      <a:pt x="215" y="391"/>
                    </a:lnTo>
                    <a:lnTo>
                      <a:pt x="213" y="393"/>
                    </a:lnTo>
                    <a:lnTo>
                      <a:pt x="211" y="393"/>
                    </a:lnTo>
                    <a:lnTo>
                      <a:pt x="211" y="394"/>
                    </a:lnTo>
                    <a:lnTo>
                      <a:pt x="209" y="396"/>
                    </a:lnTo>
                    <a:lnTo>
                      <a:pt x="209" y="398"/>
                    </a:lnTo>
                    <a:lnTo>
                      <a:pt x="207" y="398"/>
                    </a:lnTo>
                    <a:lnTo>
                      <a:pt x="207" y="400"/>
                    </a:lnTo>
                    <a:lnTo>
                      <a:pt x="205" y="400"/>
                    </a:lnTo>
                    <a:lnTo>
                      <a:pt x="205" y="398"/>
                    </a:lnTo>
                    <a:lnTo>
                      <a:pt x="201" y="396"/>
                    </a:lnTo>
                    <a:lnTo>
                      <a:pt x="199" y="396"/>
                    </a:lnTo>
                    <a:lnTo>
                      <a:pt x="197" y="396"/>
                    </a:lnTo>
                    <a:lnTo>
                      <a:pt x="197" y="394"/>
                    </a:lnTo>
                    <a:lnTo>
                      <a:pt x="196" y="394"/>
                    </a:lnTo>
                    <a:lnTo>
                      <a:pt x="194" y="394"/>
                    </a:lnTo>
                    <a:lnTo>
                      <a:pt x="196" y="393"/>
                    </a:lnTo>
                    <a:lnTo>
                      <a:pt x="196" y="391"/>
                    </a:lnTo>
                    <a:lnTo>
                      <a:pt x="194" y="389"/>
                    </a:lnTo>
                    <a:lnTo>
                      <a:pt x="192" y="387"/>
                    </a:lnTo>
                    <a:lnTo>
                      <a:pt x="192" y="385"/>
                    </a:lnTo>
                    <a:lnTo>
                      <a:pt x="192" y="383"/>
                    </a:lnTo>
                    <a:lnTo>
                      <a:pt x="190" y="383"/>
                    </a:lnTo>
                    <a:lnTo>
                      <a:pt x="186" y="383"/>
                    </a:lnTo>
                    <a:lnTo>
                      <a:pt x="186" y="385"/>
                    </a:lnTo>
                    <a:lnTo>
                      <a:pt x="182" y="383"/>
                    </a:lnTo>
                    <a:lnTo>
                      <a:pt x="182" y="381"/>
                    </a:lnTo>
                    <a:lnTo>
                      <a:pt x="180" y="381"/>
                    </a:lnTo>
                    <a:lnTo>
                      <a:pt x="178" y="381"/>
                    </a:lnTo>
                    <a:lnTo>
                      <a:pt x="176" y="383"/>
                    </a:lnTo>
                    <a:lnTo>
                      <a:pt x="172" y="385"/>
                    </a:lnTo>
                    <a:lnTo>
                      <a:pt x="171" y="385"/>
                    </a:lnTo>
                    <a:lnTo>
                      <a:pt x="144" y="387"/>
                    </a:lnTo>
                    <a:lnTo>
                      <a:pt x="142" y="383"/>
                    </a:lnTo>
                    <a:lnTo>
                      <a:pt x="140" y="381"/>
                    </a:lnTo>
                    <a:lnTo>
                      <a:pt x="140" y="383"/>
                    </a:lnTo>
                    <a:lnTo>
                      <a:pt x="138" y="383"/>
                    </a:lnTo>
                    <a:lnTo>
                      <a:pt x="138" y="381"/>
                    </a:lnTo>
                    <a:lnTo>
                      <a:pt x="136" y="381"/>
                    </a:lnTo>
                    <a:lnTo>
                      <a:pt x="136" y="383"/>
                    </a:lnTo>
                    <a:lnTo>
                      <a:pt x="136" y="381"/>
                    </a:lnTo>
                    <a:lnTo>
                      <a:pt x="136" y="379"/>
                    </a:lnTo>
                    <a:lnTo>
                      <a:pt x="136" y="377"/>
                    </a:lnTo>
                    <a:lnTo>
                      <a:pt x="138" y="377"/>
                    </a:lnTo>
                    <a:lnTo>
                      <a:pt x="140" y="377"/>
                    </a:lnTo>
                    <a:lnTo>
                      <a:pt x="140" y="375"/>
                    </a:lnTo>
                    <a:lnTo>
                      <a:pt x="140" y="373"/>
                    </a:lnTo>
                    <a:lnTo>
                      <a:pt x="138" y="373"/>
                    </a:lnTo>
                    <a:lnTo>
                      <a:pt x="136" y="373"/>
                    </a:lnTo>
                    <a:lnTo>
                      <a:pt x="136" y="371"/>
                    </a:lnTo>
                    <a:lnTo>
                      <a:pt x="134" y="373"/>
                    </a:lnTo>
                    <a:lnTo>
                      <a:pt x="134" y="371"/>
                    </a:lnTo>
                    <a:lnTo>
                      <a:pt x="132" y="371"/>
                    </a:lnTo>
                    <a:lnTo>
                      <a:pt x="132" y="369"/>
                    </a:lnTo>
                    <a:lnTo>
                      <a:pt x="130" y="368"/>
                    </a:lnTo>
                    <a:lnTo>
                      <a:pt x="128" y="366"/>
                    </a:lnTo>
                    <a:lnTo>
                      <a:pt x="126" y="364"/>
                    </a:lnTo>
                    <a:lnTo>
                      <a:pt x="126" y="362"/>
                    </a:lnTo>
                    <a:lnTo>
                      <a:pt x="124" y="362"/>
                    </a:lnTo>
                    <a:lnTo>
                      <a:pt x="123" y="362"/>
                    </a:lnTo>
                    <a:lnTo>
                      <a:pt x="121" y="360"/>
                    </a:lnTo>
                    <a:lnTo>
                      <a:pt x="121" y="362"/>
                    </a:lnTo>
                    <a:lnTo>
                      <a:pt x="119" y="362"/>
                    </a:lnTo>
                    <a:lnTo>
                      <a:pt x="117" y="362"/>
                    </a:lnTo>
                    <a:lnTo>
                      <a:pt x="117" y="364"/>
                    </a:lnTo>
                    <a:lnTo>
                      <a:pt x="115" y="364"/>
                    </a:lnTo>
                    <a:lnTo>
                      <a:pt x="115" y="366"/>
                    </a:lnTo>
                    <a:lnTo>
                      <a:pt x="113" y="366"/>
                    </a:lnTo>
                    <a:lnTo>
                      <a:pt x="113" y="364"/>
                    </a:lnTo>
                    <a:lnTo>
                      <a:pt x="113" y="362"/>
                    </a:lnTo>
                    <a:lnTo>
                      <a:pt x="113" y="360"/>
                    </a:lnTo>
                    <a:lnTo>
                      <a:pt x="113" y="358"/>
                    </a:lnTo>
                    <a:lnTo>
                      <a:pt x="111" y="358"/>
                    </a:lnTo>
                    <a:lnTo>
                      <a:pt x="111" y="356"/>
                    </a:lnTo>
                    <a:lnTo>
                      <a:pt x="105" y="352"/>
                    </a:lnTo>
                    <a:lnTo>
                      <a:pt x="103" y="352"/>
                    </a:lnTo>
                    <a:lnTo>
                      <a:pt x="103" y="350"/>
                    </a:lnTo>
                    <a:lnTo>
                      <a:pt x="99" y="350"/>
                    </a:lnTo>
                    <a:lnTo>
                      <a:pt x="99" y="348"/>
                    </a:lnTo>
                    <a:lnTo>
                      <a:pt x="98" y="348"/>
                    </a:lnTo>
                    <a:lnTo>
                      <a:pt x="96" y="348"/>
                    </a:lnTo>
                    <a:lnTo>
                      <a:pt x="96" y="346"/>
                    </a:lnTo>
                    <a:lnTo>
                      <a:pt x="94" y="346"/>
                    </a:lnTo>
                    <a:lnTo>
                      <a:pt x="94" y="348"/>
                    </a:lnTo>
                    <a:lnTo>
                      <a:pt x="92" y="348"/>
                    </a:lnTo>
                    <a:lnTo>
                      <a:pt x="90" y="348"/>
                    </a:lnTo>
                    <a:lnTo>
                      <a:pt x="90" y="350"/>
                    </a:lnTo>
                    <a:lnTo>
                      <a:pt x="90" y="352"/>
                    </a:lnTo>
                    <a:lnTo>
                      <a:pt x="90" y="354"/>
                    </a:lnTo>
                    <a:lnTo>
                      <a:pt x="90" y="356"/>
                    </a:lnTo>
                    <a:lnTo>
                      <a:pt x="92" y="356"/>
                    </a:lnTo>
                    <a:lnTo>
                      <a:pt x="94" y="354"/>
                    </a:lnTo>
                    <a:lnTo>
                      <a:pt x="96" y="354"/>
                    </a:lnTo>
                    <a:lnTo>
                      <a:pt x="96" y="356"/>
                    </a:lnTo>
                    <a:lnTo>
                      <a:pt x="98" y="358"/>
                    </a:lnTo>
                    <a:lnTo>
                      <a:pt x="99" y="358"/>
                    </a:lnTo>
                    <a:lnTo>
                      <a:pt x="98" y="360"/>
                    </a:lnTo>
                    <a:lnTo>
                      <a:pt x="98" y="362"/>
                    </a:lnTo>
                    <a:lnTo>
                      <a:pt x="98" y="360"/>
                    </a:lnTo>
                    <a:lnTo>
                      <a:pt x="98" y="362"/>
                    </a:lnTo>
                    <a:lnTo>
                      <a:pt x="96" y="362"/>
                    </a:lnTo>
                    <a:lnTo>
                      <a:pt x="96" y="364"/>
                    </a:lnTo>
                    <a:lnTo>
                      <a:pt x="94" y="364"/>
                    </a:lnTo>
                    <a:lnTo>
                      <a:pt x="92" y="364"/>
                    </a:lnTo>
                    <a:lnTo>
                      <a:pt x="92" y="366"/>
                    </a:lnTo>
                    <a:lnTo>
                      <a:pt x="90" y="366"/>
                    </a:lnTo>
                    <a:lnTo>
                      <a:pt x="88" y="364"/>
                    </a:lnTo>
                    <a:lnTo>
                      <a:pt x="86" y="362"/>
                    </a:lnTo>
                    <a:lnTo>
                      <a:pt x="86" y="360"/>
                    </a:lnTo>
                    <a:lnTo>
                      <a:pt x="86" y="358"/>
                    </a:lnTo>
                    <a:lnTo>
                      <a:pt x="84" y="356"/>
                    </a:lnTo>
                    <a:lnTo>
                      <a:pt x="82" y="356"/>
                    </a:lnTo>
                    <a:lnTo>
                      <a:pt x="82" y="358"/>
                    </a:lnTo>
                    <a:lnTo>
                      <a:pt x="82" y="360"/>
                    </a:lnTo>
                    <a:lnTo>
                      <a:pt x="80" y="360"/>
                    </a:lnTo>
                    <a:lnTo>
                      <a:pt x="78" y="360"/>
                    </a:lnTo>
                    <a:lnTo>
                      <a:pt x="76" y="360"/>
                    </a:lnTo>
                    <a:lnTo>
                      <a:pt x="74" y="360"/>
                    </a:lnTo>
                    <a:lnTo>
                      <a:pt x="73" y="360"/>
                    </a:lnTo>
                    <a:lnTo>
                      <a:pt x="73" y="362"/>
                    </a:lnTo>
                    <a:lnTo>
                      <a:pt x="73" y="360"/>
                    </a:lnTo>
                    <a:lnTo>
                      <a:pt x="71" y="362"/>
                    </a:lnTo>
                    <a:lnTo>
                      <a:pt x="71" y="364"/>
                    </a:lnTo>
                    <a:lnTo>
                      <a:pt x="69" y="364"/>
                    </a:lnTo>
                    <a:lnTo>
                      <a:pt x="67" y="364"/>
                    </a:lnTo>
                    <a:lnTo>
                      <a:pt x="67" y="366"/>
                    </a:lnTo>
                    <a:lnTo>
                      <a:pt x="65" y="366"/>
                    </a:lnTo>
                    <a:lnTo>
                      <a:pt x="63" y="366"/>
                    </a:lnTo>
                    <a:lnTo>
                      <a:pt x="63" y="364"/>
                    </a:lnTo>
                    <a:lnTo>
                      <a:pt x="61" y="364"/>
                    </a:lnTo>
                    <a:lnTo>
                      <a:pt x="59" y="362"/>
                    </a:lnTo>
                    <a:lnTo>
                      <a:pt x="59" y="364"/>
                    </a:lnTo>
                    <a:lnTo>
                      <a:pt x="21" y="294"/>
                    </a:lnTo>
                    <a:lnTo>
                      <a:pt x="7" y="285"/>
                    </a:lnTo>
                    <a:lnTo>
                      <a:pt x="5" y="285"/>
                    </a:lnTo>
                    <a:lnTo>
                      <a:pt x="5" y="283"/>
                    </a:lnTo>
                    <a:lnTo>
                      <a:pt x="3" y="281"/>
                    </a:lnTo>
                    <a:lnTo>
                      <a:pt x="1" y="279"/>
                    </a:lnTo>
                    <a:lnTo>
                      <a:pt x="1" y="277"/>
                    </a:lnTo>
                    <a:lnTo>
                      <a:pt x="0" y="279"/>
                    </a:lnTo>
                    <a:lnTo>
                      <a:pt x="0" y="277"/>
                    </a:lnTo>
                    <a:lnTo>
                      <a:pt x="1" y="277"/>
                    </a:lnTo>
                    <a:lnTo>
                      <a:pt x="1" y="275"/>
                    </a:lnTo>
                    <a:lnTo>
                      <a:pt x="1" y="273"/>
                    </a:lnTo>
                    <a:lnTo>
                      <a:pt x="0" y="271"/>
                    </a:lnTo>
                    <a:lnTo>
                      <a:pt x="0" y="270"/>
                    </a:lnTo>
                    <a:lnTo>
                      <a:pt x="0" y="268"/>
                    </a:lnTo>
                    <a:lnTo>
                      <a:pt x="0" y="266"/>
                    </a:lnTo>
                    <a:lnTo>
                      <a:pt x="1" y="266"/>
                    </a:lnTo>
                    <a:lnTo>
                      <a:pt x="3" y="264"/>
                    </a:lnTo>
                    <a:lnTo>
                      <a:pt x="9" y="262"/>
                    </a:lnTo>
                    <a:lnTo>
                      <a:pt x="11" y="260"/>
                    </a:lnTo>
                    <a:lnTo>
                      <a:pt x="11" y="262"/>
                    </a:lnTo>
                    <a:lnTo>
                      <a:pt x="13" y="262"/>
                    </a:lnTo>
                    <a:lnTo>
                      <a:pt x="15" y="262"/>
                    </a:lnTo>
                    <a:lnTo>
                      <a:pt x="17" y="262"/>
                    </a:lnTo>
                    <a:lnTo>
                      <a:pt x="19" y="262"/>
                    </a:lnTo>
                    <a:lnTo>
                      <a:pt x="21" y="262"/>
                    </a:lnTo>
                    <a:lnTo>
                      <a:pt x="21" y="260"/>
                    </a:lnTo>
                    <a:lnTo>
                      <a:pt x="25" y="260"/>
                    </a:lnTo>
                    <a:lnTo>
                      <a:pt x="25" y="258"/>
                    </a:lnTo>
                    <a:lnTo>
                      <a:pt x="26" y="258"/>
                    </a:lnTo>
                    <a:lnTo>
                      <a:pt x="30" y="258"/>
                    </a:lnTo>
                    <a:lnTo>
                      <a:pt x="34" y="256"/>
                    </a:lnTo>
                    <a:lnTo>
                      <a:pt x="36" y="256"/>
                    </a:lnTo>
                    <a:lnTo>
                      <a:pt x="36" y="254"/>
                    </a:lnTo>
                    <a:lnTo>
                      <a:pt x="40" y="254"/>
                    </a:lnTo>
                    <a:lnTo>
                      <a:pt x="44" y="254"/>
                    </a:lnTo>
                    <a:lnTo>
                      <a:pt x="44" y="252"/>
                    </a:lnTo>
                    <a:lnTo>
                      <a:pt x="46" y="252"/>
                    </a:lnTo>
                    <a:lnTo>
                      <a:pt x="48" y="252"/>
                    </a:lnTo>
                    <a:lnTo>
                      <a:pt x="50" y="250"/>
                    </a:lnTo>
                    <a:lnTo>
                      <a:pt x="51" y="250"/>
                    </a:lnTo>
                    <a:lnTo>
                      <a:pt x="53" y="250"/>
                    </a:lnTo>
                    <a:lnTo>
                      <a:pt x="61" y="246"/>
                    </a:lnTo>
                    <a:lnTo>
                      <a:pt x="63" y="246"/>
                    </a:lnTo>
                    <a:lnTo>
                      <a:pt x="65" y="246"/>
                    </a:lnTo>
                    <a:lnTo>
                      <a:pt x="65" y="245"/>
                    </a:lnTo>
                    <a:lnTo>
                      <a:pt x="67" y="245"/>
                    </a:lnTo>
                    <a:lnTo>
                      <a:pt x="69" y="245"/>
                    </a:lnTo>
                    <a:lnTo>
                      <a:pt x="71" y="245"/>
                    </a:lnTo>
                    <a:lnTo>
                      <a:pt x="73" y="245"/>
                    </a:lnTo>
                    <a:lnTo>
                      <a:pt x="74" y="243"/>
                    </a:lnTo>
                    <a:lnTo>
                      <a:pt x="76" y="243"/>
                    </a:lnTo>
                    <a:lnTo>
                      <a:pt x="76" y="245"/>
                    </a:lnTo>
                    <a:lnTo>
                      <a:pt x="78" y="245"/>
                    </a:lnTo>
                    <a:lnTo>
                      <a:pt x="78" y="243"/>
                    </a:lnTo>
                    <a:lnTo>
                      <a:pt x="86" y="241"/>
                    </a:lnTo>
                    <a:lnTo>
                      <a:pt x="88" y="241"/>
                    </a:lnTo>
                    <a:lnTo>
                      <a:pt x="88" y="239"/>
                    </a:lnTo>
                    <a:lnTo>
                      <a:pt x="90" y="239"/>
                    </a:lnTo>
                    <a:lnTo>
                      <a:pt x="92" y="239"/>
                    </a:lnTo>
                    <a:lnTo>
                      <a:pt x="99" y="235"/>
                    </a:lnTo>
                    <a:lnTo>
                      <a:pt x="99" y="233"/>
                    </a:lnTo>
                    <a:lnTo>
                      <a:pt x="101" y="233"/>
                    </a:lnTo>
                    <a:lnTo>
                      <a:pt x="101" y="231"/>
                    </a:lnTo>
                    <a:lnTo>
                      <a:pt x="107" y="227"/>
                    </a:lnTo>
                    <a:lnTo>
                      <a:pt x="107" y="229"/>
                    </a:lnTo>
                    <a:lnTo>
                      <a:pt x="107" y="227"/>
                    </a:lnTo>
                    <a:lnTo>
                      <a:pt x="109" y="227"/>
                    </a:lnTo>
                    <a:lnTo>
                      <a:pt x="115" y="223"/>
                    </a:lnTo>
                    <a:lnTo>
                      <a:pt x="117" y="218"/>
                    </a:lnTo>
                    <a:lnTo>
                      <a:pt x="115" y="218"/>
                    </a:lnTo>
                    <a:lnTo>
                      <a:pt x="117" y="216"/>
                    </a:lnTo>
                    <a:lnTo>
                      <a:pt x="117" y="214"/>
                    </a:lnTo>
                    <a:lnTo>
                      <a:pt x="117" y="212"/>
                    </a:lnTo>
                    <a:lnTo>
                      <a:pt x="115" y="210"/>
                    </a:lnTo>
                    <a:lnTo>
                      <a:pt x="115" y="208"/>
                    </a:lnTo>
                    <a:lnTo>
                      <a:pt x="117" y="206"/>
                    </a:lnTo>
                    <a:lnTo>
                      <a:pt x="117" y="204"/>
                    </a:lnTo>
                    <a:lnTo>
                      <a:pt x="119" y="204"/>
                    </a:lnTo>
                    <a:lnTo>
                      <a:pt x="119" y="202"/>
                    </a:lnTo>
                    <a:lnTo>
                      <a:pt x="119" y="200"/>
                    </a:lnTo>
                    <a:lnTo>
                      <a:pt x="119" y="198"/>
                    </a:lnTo>
                    <a:lnTo>
                      <a:pt x="119" y="196"/>
                    </a:lnTo>
                    <a:lnTo>
                      <a:pt x="117" y="195"/>
                    </a:lnTo>
                    <a:lnTo>
                      <a:pt x="117" y="193"/>
                    </a:lnTo>
                    <a:lnTo>
                      <a:pt x="117" y="191"/>
                    </a:lnTo>
                    <a:lnTo>
                      <a:pt x="117" y="189"/>
                    </a:lnTo>
                    <a:lnTo>
                      <a:pt x="117" y="187"/>
                    </a:lnTo>
                    <a:lnTo>
                      <a:pt x="117" y="185"/>
                    </a:lnTo>
                    <a:lnTo>
                      <a:pt x="115" y="183"/>
                    </a:lnTo>
                    <a:lnTo>
                      <a:pt x="113" y="179"/>
                    </a:lnTo>
                    <a:lnTo>
                      <a:pt x="113" y="177"/>
                    </a:lnTo>
                    <a:lnTo>
                      <a:pt x="113" y="171"/>
                    </a:lnTo>
                    <a:lnTo>
                      <a:pt x="113" y="168"/>
                    </a:lnTo>
                    <a:lnTo>
                      <a:pt x="111" y="168"/>
                    </a:lnTo>
                    <a:lnTo>
                      <a:pt x="113" y="166"/>
                    </a:lnTo>
                    <a:lnTo>
                      <a:pt x="113" y="160"/>
                    </a:lnTo>
                    <a:lnTo>
                      <a:pt x="113" y="158"/>
                    </a:lnTo>
                    <a:lnTo>
                      <a:pt x="113" y="154"/>
                    </a:lnTo>
                    <a:lnTo>
                      <a:pt x="119" y="154"/>
                    </a:lnTo>
                    <a:lnTo>
                      <a:pt x="121" y="154"/>
                    </a:lnTo>
                    <a:lnTo>
                      <a:pt x="126" y="152"/>
                    </a:lnTo>
                    <a:lnTo>
                      <a:pt x="126" y="150"/>
                    </a:lnTo>
                    <a:lnTo>
                      <a:pt x="128" y="150"/>
                    </a:lnTo>
                    <a:lnTo>
                      <a:pt x="132" y="150"/>
                    </a:lnTo>
                    <a:lnTo>
                      <a:pt x="134" y="148"/>
                    </a:lnTo>
                    <a:lnTo>
                      <a:pt x="136" y="148"/>
                    </a:lnTo>
                    <a:lnTo>
                      <a:pt x="136" y="146"/>
                    </a:lnTo>
                    <a:lnTo>
                      <a:pt x="138" y="146"/>
                    </a:lnTo>
                    <a:lnTo>
                      <a:pt x="138" y="145"/>
                    </a:lnTo>
                    <a:lnTo>
                      <a:pt x="140" y="145"/>
                    </a:lnTo>
                    <a:lnTo>
                      <a:pt x="140" y="143"/>
                    </a:lnTo>
                    <a:lnTo>
                      <a:pt x="140" y="139"/>
                    </a:lnTo>
                    <a:lnTo>
                      <a:pt x="142" y="139"/>
                    </a:lnTo>
                    <a:lnTo>
                      <a:pt x="144" y="137"/>
                    </a:lnTo>
                    <a:lnTo>
                      <a:pt x="142" y="135"/>
                    </a:lnTo>
                    <a:lnTo>
                      <a:pt x="142" y="133"/>
                    </a:lnTo>
                    <a:lnTo>
                      <a:pt x="142" y="129"/>
                    </a:lnTo>
                    <a:lnTo>
                      <a:pt x="142" y="127"/>
                    </a:lnTo>
                    <a:lnTo>
                      <a:pt x="140" y="127"/>
                    </a:lnTo>
                    <a:lnTo>
                      <a:pt x="140" y="125"/>
                    </a:lnTo>
                    <a:lnTo>
                      <a:pt x="140" y="121"/>
                    </a:lnTo>
                    <a:lnTo>
                      <a:pt x="142" y="120"/>
                    </a:lnTo>
                    <a:lnTo>
                      <a:pt x="142" y="118"/>
                    </a:lnTo>
                    <a:lnTo>
                      <a:pt x="144" y="116"/>
                    </a:lnTo>
                    <a:lnTo>
                      <a:pt x="142" y="116"/>
                    </a:lnTo>
                    <a:lnTo>
                      <a:pt x="144" y="114"/>
                    </a:lnTo>
                    <a:lnTo>
                      <a:pt x="146" y="112"/>
                    </a:lnTo>
                    <a:lnTo>
                      <a:pt x="148" y="112"/>
                    </a:lnTo>
                    <a:lnTo>
                      <a:pt x="149" y="112"/>
                    </a:lnTo>
                    <a:lnTo>
                      <a:pt x="151" y="112"/>
                    </a:lnTo>
                    <a:lnTo>
                      <a:pt x="151" y="106"/>
                    </a:lnTo>
                    <a:lnTo>
                      <a:pt x="153" y="104"/>
                    </a:lnTo>
                    <a:lnTo>
                      <a:pt x="155" y="104"/>
                    </a:lnTo>
                    <a:lnTo>
                      <a:pt x="155" y="102"/>
                    </a:lnTo>
                    <a:lnTo>
                      <a:pt x="153" y="100"/>
                    </a:lnTo>
                    <a:lnTo>
                      <a:pt x="151" y="100"/>
                    </a:lnTo>
                    <a:lnTo>
                      <a:pt x="149" y="98"/>
                    </a:lnTo>
                    <a:lnTo>
                      <a:pt x="148" y="96"/>
                    </a:lnTo>
                    <a:lnTo>
                      <a:pt x="148" y="95"/>
                    </a:lnTo>
                    <a:lnTo>
                      <a:pt x="149" y="95"/>
                    </a:lnTo>
                    <a:lnTo>
                      <a:pt x="149" y="93"/>
                    </a:lnTo>
                    <a:lnTo>
                      <a:pt x="149" y="89"/>
                    </a:lnTo>
                    <a:lnTo>
                      <a:pt x="151" y="89"/>
                    </a:lnTo>
                    <a:lnTo>
                      <a:pt x="151" y="87"/>
                    </a:lnTo>
                    <a:lnTo>
                      <a:pt x="153" y="85"/>
                    </a:lnTo>
                    <a:lnTo>
                      <a:pt x="153" y="83"/>
                    </a:lnTo>
                    <a:lnTo>
                      <a:pt x="155" y="81"/>
                    </a:lnTo>
                    <a:lnTo>
                      <a:pt x="159" y="83"/>
                    </a:lnTo>
                    <a:lnTo>
                      <a:pt x="161" y="83"/>
                    </a:lnTo>
                    <a:lnTo>
                      <a:pt x="163" y="83"/>
                    </a:lnTo>
                    <a:lnTo>
                      <a:pt x="165" y="83"/>
                    </a:lnTo>
                    <a:lnTo>
                      <a:pt x="163" y="83"/>
                    </a:lnTo>
                    <a:lnTo>
                      <a:pt x="163" y="81"/>
                    </a:lnTo>
                    <a:lnTo>
                      <a:pt x="167" y="79"/>
                    </a:lnTo>
                    <a:lnTo>
                      <a:pt x="167" y="77"/>
                    </a:lnTo>
                    <a:lnTo>
                      <a:pt x="167" y="75"/>
                    </a:lnTo>
                    <a:lnTo>
                      <a:pt x="165" y="75"/>
                    </a:lnTo>
                    <a:lnTo>
                      <a:pt x="163" y="73"/>
                    </a:lnTo>
                    <a:lnTo>
                      <a:pt x="163" y="71"/>
                    </a:lnTo>
                    <a:lnTo>
                      <a:pt x="165" y="71"/>
                    </a:lnTo>
                    <a:lnTo>
                      <a:pt x="167" y="71"/>
                    </a:lnTo>
                    <a:lnTo>
                      <a:pt x="169" y="70"/>
                    </a:lnTo>
                    <a:lnTo>
                      <a:pt x="171" y="70"/>
                    </a:lnTo>
                    <a:lnTo>
                      <a:pt x="171" y="68"/>
                    </a:lnTo>
                    <a:lnTo>
                      <a:pt x="171" y="66"/>
                    </a:lnTo>
                    <a:lnTo>
                      <a:pt x="174" y="64"/>
                    </a:lnTo>
                    <a:lnTo>
                      <a:pt x="174" y="62"/>
                    </a:lnTo>
                    <a:lnTo>
                      <a:pt x="176" y="62"/>
                    </a:lnTo>
                    <a:lnTo>
                      <a:pt x="178" y="62"/>
                    </a:lnTo>
                    <a:lnTo>
                      <a:pt x="180" y="62"/>
                    </a:lnTo>
                    <a:lnTo>
                      <a:pt x="180" y="58"/>
                    </a:lnTo>
                    <a:lnTo>
                      <a:pt x="180" y="54"/>
                    </a:lnTo>
                    <a:lnTo>
                      <a:pt x="184" y="56"/>
                    </a:lnTo>
                    <a:lnTo>
                      <a:pt x="186" y="56"/>
                    </a:lnTo>
                    <a:lnTo>
                      <a:pt x="188" y="56"/>
                    </a:lnTo>
                    <a:lnTo>
                      <a:pt x="190" y="58"/>
                    </a:lnTo>
                    <a:lnTo>
                      <a:pt x="190" y="60"/>
                    </a:lnTo>
                    <a:lnTo>
                      <a:pt x="192" y="58"/>
                    </a:lnTo>
                    <a:lnTo>
                      <a:pt x="194" y="56"/>
                    </a:lnTo>
                    <a:lnTo>
                      <a:pt x="196" y="52"/>
                    </a:lnTo>
                    <a:lnTo>
                      <a:pt x="197" y="48"/>
                    </a:lnTo>
                    <a:lnTo>
                      <a:pt x="199" y="43"/>
                    </a:lnTo>
                    <a:lnTo>
                      <a:pt x="201" y="41"/>
                    </a:lnTo>
                    <a:lnTo>
                      <a:pt x="201" y="39"/>
                    </a:lnTo>
                    <a:lnTo>
                      <a:pt x="203" y="35"/>
                    </a:lnTo>
                    <a:lnTo>
                      <a:pt x="203" y="33"/>
                    </a:lnTo>
                    <a:lnTo>
                      <a:pt x="205" y="23"/>
                    </a:lnTo>
                    <a:lnTo>
                      <a:pt x="205" y="20"/>
                    </a:lnTo>
                    <a:lnTo>
                      <a:pt x="207" y="18"/>
                    </a:lnTo>
                    <a:lnTo>
                      <a:pt x="209" y="8"/>
                    </a:lnTo>
                    <a:lnTo>
                      <a:pt x="211" y="6"/>
                    </a:lnTo>
                    <a:lnTo>
                      <a:pt x="211" y="4"/>
                    </a:lnTo>
                    <a:lnTo>
                      <a:pt x="211" y="2"/>
                    </a:lnTo>
                    <a:lnTo>
                      <a:pt x="211" y="0"/>
                    </a:lnTo>
                    <a:lnTo>
                      <a:pt x="224" y="10"/>
                    </a:lnTo>
                    <a:lnTo>
                      <a:pt x="238" y="20"/>
                    </a:lnTo>
                    <a:lnTo>
                      <a:pt x="244" y="22"/>
                    </a:lnTo>
                    <a:lnTo>
                      <a:pt x="247" y="25"/>
                    </a:lnTo>
                    <a:lnTo>
                      <a:pt x="253" y="31"/>
                    </a:lnTo>
                    <a:lnTo>
                      <a:pt x="257" y="33"/>
                    </a:lnTo>
                    <a:lnTo>
                      <a:pt x="257" y="35"/>
                    </a:lnTo>
                    <a:lnTo>
                      <a:pt x="253" y="43"/>
                    </a:lnTo>
                    <a:lnTo>
                      <a:pt x="255" y="45"/>
                    </a:lnTo>
                    <a:lnTo>
                      <a:pt x="251" y="52"/>
                    </a:lnTo>
                    <a:lnTo>
                      <a:pt x="253" y="54"/>
                    </a:lnTo>
                    <a:lnTo>
                      <a:pt x="261" y="60"/>
                    </a:lnTo>
                    <a:lnTo>
                      <a:pt x="265" y="58"/>
                    </a:lnTo>
                    <a:lnTo>
                      <a:pt x="265" y="56"/>
                    </a:lnTo>
                    <a:lnTo>
                      <a:pt x="267" y="54"/>
                    </a:lnTo>
                    <a:lnTo>
                      <a:pt x="267" y="56"/>
                    </a:lnTo>
                    <a:lnTo>
                      <a:pt x="269" y="56"/>
                    </a:lnTo>
                    <a:lnTo>
                      <a:pt x="270" y="56"/>
                    </a:lnTo>
                    <a:lnTo>
                      <a:pt x="270" y="58"/>
                    </a:lnTo>
                    <a:lnTo>
                      <a:pt x="274" y="52"/>
                    </a:lnTo>
                    <a:lnTo>
                      <a:pt x="276" y="54"/>
                    </a:lnTo>
                    <a:lnTo>
                      <a:pt x="278" y="54"/>
                    </a:lnTo>
                    <a:lnTo>
                      <a:pt x="280" y="54"/>
                    </a:lnTo>
                    <a:lnTo>
                      <a:pt x="280" y="5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96">
                <a:extLst>
                  <a:ext uri="{FF2B5EF4-FFF2-40B4-BE49-F238E27FC236}">
                    <a16:creationId xmlns="" xmlns:a16="http://schemas.microsoft.com/office/drawing/2014/main" id="{D16BA366-4D40-4FDB-9114-6ADAACABC1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33638" y="2438401"/>
                <a:ext cx="69850" cy="287338"/>
              </a:xfrm>
              <a:custGeom>
                <a:avLst/>
                <a:gdLst>
                  <a:gd name="T0" fmla="*/ 12 w 44"/>
                  <a:gd name="T1" fmla="*/ 161 h 181"/>
                  <a:gd name="T2" fmla="*/ 25 w 44"/>
                  <a:gd name="T3" fmla="*/ 173 h 181"/>
                  <a:gd name="T4" fmla="*/ 23 w 44"/>
                  <a:gd name="T5" fmla="*/ 173 h 181"/>
                  <a:gd name="T6" fmla="*/ 23 w 44"/>
                  <a:gd name="T7" fmla="*/ 167 h 181"/>
                  <a:gd name="T8" fmla="*/ 12 w 44"/>
                  <a:gd name="T9" fmla="*/ 157 h 181"/>
                  <a:gd name="T10" fmla="*/ 21 w 44"/>
                  <a:gd name="T11" fmla="*/ 163 h 181"/>
                  <a:gd name="T12" fmla="*/ 12 w 44"/>
                  <a:gd name="T13" fmla="*/ 156 h 181"/>
                  <a:gd name="T14" fmla="*/ 12 w 44"/>
                  <a:gd name="T15" fmla="*/ 154 h 181"/>
                  <a:gd name="T16" fmla="*/ 12 w 44"/>
                  <a:gd name="T17" fmla="*/ 150 h 181"/>
                  <a:gd name="T18" fmla="*/ 12 w 44"/>
                  <a:gd name="T19" fmla="*/ 157 h 181"/>
                  <a:gd name="T20" fmla="*/ 16 w 44"/>
                  <a:gd name="T21" fmla="*/ 154 h 181"/>
                  <a:gd name="T22" fmla="*/ 4 w 44"/>
                  <a:gd name="T23" fmla="*/ 144 h 181"/>
                  <a:gd name="T24" fmla="*/ 6 w 44"/>
                  <a:gd name="T25" fmla="*/ 146 h 181"/>
                  <a:gd name="T26" fmla="*/ 10 w 44"/>
                  <a:gd name="T27" fmla="*/ 144 h 181"/>
                  <a:gd name="T28" fmla="*/ 17 w 44"/>
                  <a:gd name="T29" fmla="*/ 136 h 181"/>
                  <a:gd name="T30" fmla="*/ 16 w 44"/>
                  <a:gd name="T31" fmla="*/ 131 h 181"/>
                  <a:gd name="T32" fmla="*/ 6 w 44"/>
                  <a:gd name="T33" fmla="*/ 123 h 181"/>
                  <a:gd name="T34" fmla="*/ 8 w 44"/>
                  <a:gd name="T35" fmla="*/ 121 h 181"/>
                  <a:gd name="T36" fmla="*/ 8 w 44"/>
                  <a:gd name="T37" fmla="*/ 119 h 181"/>
                  <a:gd name="T38" fmla="*/ 4 w 44"/>
                  <a:gd name="T39" fmla="*/ 119 h 181"/>
                  <a:gd name="T40" fmla="*/ 6 w 44"/>
                  <a:gd name="T41" fmla="*/ 119 h 181"/>
                  <a:gd name="T42" fmla="*/ 8 w 44"/>
                  <a:gd name="T43" fmla="*/ 115 h 181"/>
                  <a:gd name="T44" fmla="*/ 10 w 44"/>
                  <a:gd name="T45" fmla="*/ 111 h 181"/>
                  <a:gd name="T46" fmla="*/ 10 w 44"/>
                  <a:gd name="T47" fmla="*/ 109 h 181"/>
                  <a:gd name="T48" fmla="*/ 17 w 44"/>
                  <a:gd name="T49" fmla="*/ 113 h 181"/>
                  <a:gd name="T50" fmla="*/ 17 w 44"/>
                  <a:gd name="T51" fmla="*/ 113 h 181"/>
                  <a:gd name="T52" fmla="*/ 12 w 44"/>
                  <a:gd name="T53" fmla="*/ 109 h 181"/>
                  <a:gd name="T54" fmla="*/ 17 w 44"/>
                  <a:gd name="T55" fmla="*/ 111 h 181"/>
                  <a:gd name="T56" fmla="*/ 17 w 44"/>
                  <a:gd name="T57" fmla="*/ 111 h 181"/>
                  <a:gd name="T58" fmla="*/ 17 w 44"/>
                  <a:gd name="T59" fmla="*/ 111 h 181"/>
                  <a:gd name="T60" fmla="*/ 16 w 44"/>
                  <a:gd name="T61" fmla="*/ 109 h 181"/>
                  <a:gd name="T62" fmla="*/ 16 w 44"/>
                  <a:gd name="T63" fmla="*/ 109 h 181"/>
                  <a:gd name="T64" fmla="*/ 16 w 44"/>
                  <a:gd name="T65" fmla="*/ 107 h 181"/>
                  <a:gd name="T66" fmla="*/ 17 w 44"/>
                  <a:gd name="T67" fmla="*/ 102 h 181"/>
                  <a:gd name="T68" fmla="*/ 16 w 44"/>
                  <a:gd name="T69" fmla="*/ 96 h 181"/>
                  <a:gd name="T70" fmla="*/ 16 w 44"/>
                  <a:gd name="T71" fmla="*/ 92 h 181"/>
                  <a:gd name="T72" fmla="*/ 16 w 44"/>
                  <a:gd name="T73" fmla="*/ 77 h 181"/>
                  <a:gd name="T74" fmla="*/ 19 w 44"/>
                  <a:gd name="T75" fmla="*/ 81 h 181"/>
                  <a:gd name="T76" fmla="*/ 19 w 44"/>
                  <a:gd name="T77" fmla="*/ 79 h 181"/>
                  <a:gd name="T78" fmla="*/ 42 w 44"/>
                  <a:gd name="T79" fmla="*/ 71 h 181"/>
                  <a:gd name="T80" fmla="*/ 37 w 44"/>
                  <a:gd name="T81" fmla="*/ 69 h 181"/>
                  <a:gd name="T82" fmla="*/ 37 w 44"/>
                  <a:gd name="T83" fmla="*/ 65 h 181"/>
                  <a:gd name="T84" fmla="*/ 44 w 44"/>
                  <a:gd name="T85" fmla="*/ 61 h 181"/>
                  <a:gd name="T86" fmla="*/ 42 w 44"/>
                  <a:gd name="T87" fmla="*/ 36 h 181"/>
                  <a:gd name="T88" fmla="*/ 37 w 44"/>
                  <a:gd name="T89" fmla="*/ 29 h 181"/>
                  <a:gd name="T90" fmla="*/ 39 w 44"/>
                  <a:gd name="T91" fmla="*/ 25 h 181"/>
                  <a:gd name="T92" fmla="*/ 39 w 44"/>
                  <a:gd name="T93" fmla="*/ 25 h 181"/>
                  <a:gd name="T94" fmla="*/ 39 w 44"/>
                  <a:gd name="T95" fmla="*/ 25 h 181"/>
                  <a:gd name="T96" fmla="*/ 33 w 44"/>
                  <a:gd name="T97" fmla="*/ 19 h 181"/>
                  <a:gd name="T98" fmla="*/ 41 w 44"/>
                  <a:gd name="T99" fmla="*/ 21 h 181"/>
                  <a:gd name="T100" fmla="*/ 41 w 44"/>
                  <a:gd name="T101" fmla="*/ 21 h 181"/>
                  <a:gd name="T102" fmla="*/ 35 w 44"/>
                  <a:gd name="T103" fmla="*/ 17 h 181"/>
                  <a:gd name="T104" fmla="*/ 41 w 44"/>
                  <a:gd name="T105" fmla="*/ 19 h 181"/>
                  <a:gd name="T106" fmla="*/ 39 w 44"/>
                  <a:gd name="T107" fmla="*/ 21 h 181"/>
                  <a:gd name="T108" fmla="*/ 41 w 44"/>
                  <a:gd name="T109" fmla="*/ 19 h 181"/>
                  <a:gd name="T110" fmla="*/ 42 w 44"/>
                  <a:gd name="T111" fmla="*/ 17 h 181"/>
                  <a:gd name="T112" fmla="*/ 37 w 44"/>
                  <a:gd name="T113" fmla="*/ 9 h 181"/>
                  <a:gd name="T114" fmla="*/ 37 w 44"/>
                  <a:gd name="T115" fmla="*/ 9 h 181"/>
                  <a:gd name="T116" fmla="*/ 35 w 44"/>
                  <a:gd name="T117" fmla="*/ 7 h 181"/>
                  <a:gd name="T118" fmla="*/ 37 w 44"/>
                  <a:gd name="T119" fmla="*/ 7 h 181"/>
                  <a:gd name="T120" fmla="*/ 31 w 44"/>
                  <a:gd name="T121" fmla="*/ 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4" h="181">
                    <a:moveTo>
                      <a:pt x="21" y="179"/>
                    </a:moveTo>
                    <a:lnTo>
                      <a:pt x="21" y="181"/>
                    </a:lnTo>
                    <a:lnTo>
                      <a:pt x="21" y="179"/>
                    </a:lnTo>
                    <a:lnTo>
                      <a:pt x="21" y="181"/>
                    </a:lnTo>
                    <a:lnTo>
                      <a:pt x="21" y="179"/>
                    </a:lnTo>
                    <a:close/>
                    <a:moveTo>
                      <a:pt x="12" y="161"/>
                    </a:moveTo>
                    <a:lnTo>
                      <a:pt x="12" y="163"/>
                    </a:lnTo>
                    <a:lnTo>
                      <a:pt x="10" y="163"/>
                    </a:lnTo>
                    <a:lnTo>
                      <a:pt x="10" y="161"/>
                    </a:lnTo>
                    <a:lnTo>
                      <a:pt x="12" y="161"/>
                    </a:lnTo>
                    <a:close/>
                    <a:moveTo>
                      <a:pt x="25" y="171"/>
                    </a:moveTo>
                    <a:lnTo>
                      <a:pt x="25" y="173"/>
                    </a:lnTo>
                    <a:lnTo>
                      <a:pt x="25" y="175"/>
                    </a:lnTo>
                    <a:lnTo>
                      <a:pt x="25" y="173"/>
                    </a:lnTo>
                    <a:lnTo>
                      <a:pt x="23" y="175"/>
                    </a:lnTo>
                    <a:lnTo>
                      <a:pt x="23" y="173"/>
                    </a:lnTo>
                    <a:lnTo>
                      <a:pt x="23" y="171"/>
                    </a:lnTo>
                    <a:lnTo>
                      <a:pt x="23" y="173"/>
                    </a:lnTo>
                    <a:lnTo>
                      <a:pt x="23" y="171"/>
                    </a:lnTo>
                    <a:lnTo>
                      <a:pt x="25" y="171"/>
                    </a:lnTo>
                    <a:close/>
                    <a:moveTo>
                      <a:pt x="21" y="167"/>
                    </a:moveTo>
                    <a:lnTo>
                      <a:pt x="21" y="169"/>
                    </a:lnTo>
                    <a:lnTo>
                      <a:pt x="21" y="167"/>
                    </a:lnTo>
                    <a:close/>
                    <a:moveTo>
                      <a:pt x="23" y="167"/>
                    </a:moveTo>
                    <a:lnTo>
                      <a:pt x="21" y="165"/>
                    </a:lnTo>
                    <a:lnTo>
                      <a:pt x="23" y="165"/>
                    </a:lnTo>
                    <a:lnTo>
                      <a:pt x="23" y="167"/>
                    </a:lnTo>
                    <a:close/>
                    <a:moveTo>
                      <a:pt x="10" y="157"/>
                    </a:moveTo>
                    <a:lnTo>
                      <a:pt x="10" y="156"/>
                    </a:lnTo>
                    <a:lnTo>
                      <a:pt x="12" y="157"/>
                    </a:lnTo>
                    <a:lnTo>
                      <a:pt x="10" y="157"/>
                    </a:lnTo>
                    <a:close/>
                    <a:moveTo>
                      <a:pt x="21" y="163"/>
                    </a:moveTo>
                    <a:lnTo>
                      <a:pt x="23" y="163"/>
                    </a:lnTo>
                    <a:lnTo>
                      <a:pt x="23" y="165"/>
                    </a:lnTo>
                    <a:lnTo>
                      <a:pt x="21" y="165"/>
                    </a:lnTo>
                    <a:lnTo>
                      <a:pt x="21" y="163"/>
                    </a:lnTo>
                    <a:close/>
                    <a:moveTo>
                      <a:pt x="12" y="156"/>
                    </a:moveTo>
                    <a:lnTo>
                      <a:pt x="12" y="157"/>
                    </a:lnTo>
                    <a:lnTo>
                      <a:pt x="10" y="156"/>
                    </a:lnTo>
                    <a:lnTo>
                      <a:pt x="12" y="156"/>
                    </a:lnTo>
                    <a:lnTo>
                      <a:pt x="12" y="154"/>
                    </a:lnTo>
                    <a:lnTo>
                      <a:pt x="12" y="156"/>
                    </a:lnTo>
                    <a:close/>
                    <a:moveTo>
                      <a:pt x="23" y="163"/>
                    </a:moveTo>
                    <a:lnTo>
                      <a:pt x="25" y="163"/>
                    </a:lnTo>
                    <a:lnTo>
                      <a:pt x="23" y="163"/>
                    </a:lnTo>
                    <a:close/>
                    <a:moveTo>
                      <a:pt x="12" y="154"/>
                    </a:moveTo>
                    <a:lnTo>
                      <a:pt x="12" y="156"/>
                    </a:lnTo>
                    <a:lnTo>
                      <a:pt x="12" y="154"/>
                    </a:lnTo>
                    <a:close/>
                    <a:moveTo>
                      <a:pt x="10" y="150"/>
                    </a:moveTo>
                    <a:lnTo>
                      <a:pt x="12" y="150"/>
                    </a:lnTo>
                    <a:lnTo>
                      <a:pt x="12" y="152"/>
                    </a:lnTo>
                    <a:lnTo>
                      <a:pt x="10" y="152"/>
                    </a:lnTo>
                    <a:lnTo>
                      <a:pt x="10" y="150"/>
                    </a:lnTo>
                    <a:lnTo>
                      <a:pt x="12" y="150"/>
                    </a:lnTo>
                    <a:lnTo>
                      <a:pt x="10" y="150"/>
                    </a:lnTo>
                    <a:close/>
                    <a:moveTo>
                      <a:pt x="16" y="154"/>
                    </a:moveTo>
                    <a:lnTo>
                      <a:pt x="16" y="156"/>
                    </a:lnTo>
                    <a:lnTo>
                      <a:pt x="16" y="157"/>
                    </a:lnTo>
                    <a:lnTo>
                      <a:pt x="14" y="157"/>
                    </a:lnTo>
                    <a:lnTo>
                      <a:pt x="12" y="157"/>
                    </a:lnTo>
                    <a:lnTo>
                      <a:pt x="12" y="156"/>
                    </a:lnTo>
                    <a:lnTo>
                      <a:pt x="14" y="156"/>
                    </a:lnTo>
                    <a:lnTo>
                      <a:pt x="14" y="154"/>
                    </a:lnTo>
                    <a:lnTo>
                      <a:pt x="14" y="152"/>
                    </a:lnTo>
                    <a:lnTo>
                      <a:pt x="16" y="152"/>
                    </a:lnTo>
                    <a:lnTo>
                      <a:pt x="16" y="154"/>
                    </a:lnTo>
                    <a:close/>
                    <a:moveTo>
                      <a:pt x="2" y="144"/>
                    </a:moveTo>
                    <a:lnTo>
                      <a:pt x="0" y="142"/>
                    </a:lnTo>
                    <a:lnTo>
                      <a:pt x="2" y="144"/>
                    </a:lnTo>
                    <a:lnTo>
                      <a:pt x="2" y="142"/>
                    </a:lnTo>
                    <a:lnTo>
                      <a:pt x="2" y="144"/>
                    </a:lnTo>
                    <a:close/>
                    <a:moveTo>
                      <a:pt x="4" y="144"/>
                    </a:moveTo>
                    <a:lnTo>
                      <a:pt x="4" y="146"/>
                    </a:lnTo>
                    <a:lnTo>
                      <a:pt x="4" y="144"/>
                    </a:lnTo>
                    <a:lnTo>
                      <a:pt x="4" y="146"/>
                    </a:lnTo>
                    <a:lnTo>
                      <a:pt x="4" y="144"/>
                    </a:lnTo>
                    <a:close/>
                    <a:moveTo>
                      <a:pt x="8" y="146"/>
                    </a:moveTo>
                    <a:lnTo>
                      <a:pt x="6" y="146"/>
                    </a:lnTo>
                    <a:lnTo>
                      <a:pt x="6" y="148"/>
                    </a:lnTo>
                    <a:lnTo>
                      <a:pt x="6" y="146"/>
                    </a:lnTo>
                    <a:lnTo>
                      <a:pt x="8" y="146"/>
                    </a:lnTo>
                    <a:close/>
                    <a:moveTo>
                      <a:pt x="10" y="146"/>
                    </a:moveTo>
                    <a:lnTo>
                      <a:pt x="8" y="146"/>
                    </a:lnTo>
                    <a:lnTo>
                      <a:pt x="10" y="144"/>
                    </a:lnTo>
                    <a:lnTo>
                      <a:pt x="10" y="146"/>
                    </a:lnTo>
                    <a:lnTo>
                      <a:pt x="10" y="144"/>
                    </a:lnTo>
                    <a:lnTo>
                      <a:pt x="10" y="146"/>
                    </a:lnTo>
                    <a:close/>
                    <a:moveTo>
                      <a:pt x="17" y="136"/>
                    </a:moveTo>
                    <a:lnTo>
                      <a:pt x="17" y="138"/>
                    </a:lnTo>
                    <a:lnTo>
                      <a:pt x="17" y="136"/>
                    </a:lnTo>
                    <a:close/>
                    <a:moveTo>
                      <a:pt x="17" y="132"/>
                    </a:moveTo>
                    <a:lnTo>
                      <a:pt x="17" y="134"/>
                    </a:lnTo>
                    <a:lnTo>
                      <a:pt x="17" y="132"/>
                    </a:lnTo>
                    <a:lnTo>
                      <a:pt x="17" y="134"/>
                    </a:lnTo>
                    <a:lnTo>
                      <a:pt x="16" y="132"/>
                    </a:lnTo>
                    <a:lnTo>
                      <a:pt x="16" y="131"/>
                    </a:lnTo>
                    <a:lnTo>
                      <a:pt x="17" y="131"/>
                    </a:lnTo>
                    <a:lnTo>
                      <a:pt x="17" y="132"/>
                    </a:lnTo>
                    <a:close/>
                    <a:moveTo>
                      <a:pt x="6" y="123"/>
                    </a:moveTo>
                    <a:lnTo>
                      <a:pt x="4" y="121"/>
                    </a:lnTo>
                    <a:lnTo>
                      <a:pt x="6" y="121"/>
                    </a:lnTo>
                    <a:lnTo>
                      <a:pt x="6" y="123"/>
                    </a:lnTo>
                    <a:close/>
                    <a:moveTo>
                      <a:pt x="8" y="121"/>
                    </a:moveTo>
                    <a:lnTo>
                      <a:pt x="6" y="121"/>
                    </a:lnTo>
                    <a:lnTo>
                      <a:pt x="8" y="121"/>
                    </a:lnTo>
                    <a:close/>
                    <a:moveTo>
                      <a:pt x="8" y="121"/>
                    </a:moveTo>
                    <a:lnTo>
                      <a:pt x="6" y="121"/>
                    </a:lnTo>
                    <a:lnTo>
                      <a:pt x="8" y="121"/>
                    </a:lnTo>
                    <a:lnTo>
                      <a:pt x="6" y="121"/>
                    </a:lnTo>
                    <a:lnTo>
                      <a:pt x="8" y="121"/>
                    </a:lnTo>
                    <a:close/>
                    <a:moveTo>
                      <a:pt x="10" y="121"/>
                    </a:moveTo>
                    <a:lnTo>
                      <a:pt x="8" y="121"/>
                    </a:lnTo>
                    <a:lnTo>
                      <a:pt x="10" y="121"/>
                    </a:lnTo>
                    <a:close/>
                    <a:moveTo>
                      <a:pt x="8" y="119"/>
                    </a:moveTo>
                    <a:lnTo>
                      <a:pt x="6" y="119"/>
                    </a:lnTo>
                    <a:lnTo>
                      <a:pt x="8" y="119"/>
                    </a:lnTo>
                    <a:lnTo>
                      <a:pt x="8" y="121"/>
                    </a:lnTo>
                    <a:lnTo>
                      <a:pt x="6" y="121"/>
                    </a:lnTo>
                    <a:lnTo>
                      <a:pt x="4" y="121"/>
                    </a:lnTo>
                    <a:lnTo>
                      <a:pt x="4" y="119"/>
                    </a:lnTo>
                    <a:lnTo>
                      <a:pt x="2" y="119"/>
                    </a:lnTo>
                    <a:lnTo>
                      <a:pt x="2" y="117"/>
                    </a:lnTo>
                    <a:lnTo>
                      <a:pt x="4" y="119"/>
                    </a:lnTo>
                    <a:lnTo>
                      <a:pt x="4" y="117"/>
                    </a:lnTo>
                    <a:lnTo>
                      <a:pt x="6" y="117"/>
                    </a:lnTo>
                    <a:lnTo>
                      <a:pt x="6" y="119"/>
                    </a:lnTo>
                    <a:lnTo>
                      <a:pt x="8" y="119"/>
                    </a:lnTo>
                    <a:close/>
                    <a:moveTo>
                      <a:pt x="8" y="119"/>
                    </a:moveTo>
                    <a:lnTo>
                      <a:pt x="10" y="119"/>
                    </a:lnTo>
                    <a:lnTo>
                      <a:pt x="8" y="119"/>
                    </a:lnTo>
                    <a:close/>
                    <a:moveTo>
                      <a:pt x="8" y="117"/>
                    </a:moveTo>
                    <a:lnTo>
                      <a:pt x="8" y="115"/>
                    </a:lnTo>
                    <a:lnTo>
                      <a:pt x="8" y="117"/>
                    </a:lnTo>
                    <a:close/>
                    <a:moveTo>
                      <a:pt x="14" y="117"/>
                    </a:moveTo>
                    <a:lnTo>
                      <a:pt x="12" y="117"/>
                    </a:lnTo>
                    <a:lnTo>
                      <a:pt x="14" y="117"/>
                    </a:lnTo>
                    <a:close/>
                    <a:moveTo>
                      <a:pt x="12" y="111"/>
                    </a:moveTo>
                    <a:lnTo>
                      <a:pt x="10" y="111"/>
                    </a:lnTo>
                    <a:lnTo>
                      <a:pt x="12" y="109"/>
                    </a:lnTo>
                    <a:lnTo>
                      <a:pt x="12" y="111"/>
                    </a:lnTo>
                    <a:close/>
                    <a:moveTo>
                      <a:pt x="12" y="109"/>
                    </a:moveTo>
                    <a:lnTo>
                      <a:pt x="10" y="109"/>
                    </a:lnTo>
                    <a:lnTo>
                      <a:pt x="10" y="111"/>
                    </a:lnTo>
                    <a:lnTo>
                      <a:pt x="10" y="109"/>
                    </a:lnTo>
                    <a:lnTo>
                      <a:pt x="12" y="109"/>
                    </a:lnTo>
                    <a:lnTo>
                      <a:pt x="10" y="109"/>
                    </a:lnTo>
                    <a:lnTo>
                      <a:pt x="12" y="109"/>
                    </a:lnTo>
                    <a:close/>
                    <a:moveTo>
                      <a:pt x="17" y="113"/>
                    </a:moveTo>
                    <a:lnTo>
                      <a:pt x="16" y="113"/>
                    </a:lnTo>
                    <a:lnTo>
                      <a:pt x="17" y="113"/>
                    </a:lnTo>
                    <a:close/>
                    <a:moveTo>
                      <a:pt x="10" y="107"/>
                    </a:moveTo>
                    <a:lnTo>
                      <a:pt x="10" y="109"/>
                    </a:lnTo>
                    <a:lnTo>
                      <a:pt x="10" y="107"/>
                    </a:lnTo>
                    <a:close/>
                    <a:moveTo>
                      <a:pt x="17" y="113"/>
                    </a:moveTo>
                    <a:lnTo>
                      <a:pt x="19" y="113"/>
                    </a:lnTo>
                    <a:lnTo>
                      <a:pt x="17" y="113"/>
                    </a:lnTo>
                    <a:close/>
                    <a:moveTo>
                      <a:pt x="14" y="109"/>
                    </a:moveTo>
                    <a:lnTo>
                      <a:pt x="12" y="109"/>
                    </a:lnTo>
                    <a:lnTo>
                      <a:pt x="14" y="109"/>
                    </a:lnTo>
                    <a:close/>
                    <a:moveTo>
                      <a:pt x="12" y="109"/>
                    </a:moveTo>
                    <a:lnTo>
                      <a:pt x="12" y="107"/>
                    </a:lnTo>
                    <a:lnTo>
                      <a:pt x="12" y="109"/>
                    </a:lnTo>
                    <a:close/>
                    <a:moveTo>
                      <a:pt x="17" y="113"/>
                    </a:moveTo>
                    <a:lnTo>
                      <a:pt x="16" y="113"/>
                    </a:lnTo>
                    <a:lnTo>
                      <a:pt x="17" y="113"/>
                    </a:lnTo>
                    <a:lnTo>
                      <a:pt x="16" y="113"/>
                    </a:lnTo>
                    <a:lnTo>
                      <a:pt x="16" y="111"/>
                    </a:lnTo>
                    <a:lnTo>
                      <a:pt x="17" y="111"/>
                    </a:lnTo>
                    <a:lnTo>
                      <a:pt x="17" y="113"/>
                    </a:lnTo>
                    <a:close/>
                    <a:moveTo>
                      <a:pt x="14" y="109"/>
                    </a:moveTo>
                    <a:lnTo>
                      <a:pt x="14" y="107"/>
                    </a:lnTo>
                    <a:lnTo>
                      <a:pt x="14" y="109"/>
                    </a:lnTo>
                    <a:close/>
                    <a:moveTo>
                      <a:pt x="17" y="113"/>
                    </a:moveTo>
                    <a:lnTo>
                      <a:pt x="17" y="111"/>
                    </a:lnTo>
                    <a:lnTo>
                      <a:pt x="19" y="111"/>
                    </a:lnTo>
                    <a:lnTo>
                      <a:pt x="17" y="111"/>
                    </a:lnTo>
                    <a:lnTo>
                      <a:pt x="17" y="113"/>
                    </a:lnTo>
                    <a:close/>
                    <a:moveTo>
                      <a:pt x="17" y="111"/>
                    </a:moveTo>
                    <a:lnTo>
                      <a:pt x="17" y="113"/>
                    </a:lnTo>
                    <a:lnTo>
                      <a:pt x="17" y="111"/>
                    </a:lnTo>
                    <a:close/>
                    <a:moveTo>
                      <a:pt x="12" y="107"/>
                    </a:moveTo>
                    <a:lnTo>
                      <a:pt x="14" y="107"/>
                    </a:lnTo>
                    <a:lnTo>
                      <a:pt x="12" y="107"/>
                    </a:lnTo>
                    <a:close/>
                    <a:moveTo>
                      <a:pt x="16" y="109"/>
                    </a:moveTo>
                    <a:lnTo>
                      <a:pt x="14" y="109"/>
                    </a:lnTo>
                    <a:lnTo>
                      <a:pt x="16" y="109"/>
                    </a:lnTo>
                    <a:lnTo>
                      <a:pt x="14" y="109"/>
                    </a:lnTo>
                    <a:lnTo>
                      <a:pt x="16" y="109"/>
                    </a:lnTo>
                    <a:lnTo>
                      <a:pt x="16" y="107"/>
                    </a:lnTo>
                    <a:lnTo>
                      <a:pt x="16" y="109"/>
                    </a:lnTo>
                    <a:lnTo>
                      <a:pt x="16" y="107"/>
                    </a:lnTo>
                    <a:lnTo>
                      <a:pt x="16" y="109"/>
                    </a:lnTo>
                    <a:close/>
                    <a:moveTo>
                      <a:pt x="17" y="109"/>
                    </a:moveTo>
                    <a:lnTo>
                      <a:pt x="17" y="107"/>
                    </a:lnTo>
                    <a:lnTo>
                      <a:pt x="17" y="109"/>
                    </a:lnTo>
                    <a:close/>
                    <a:moveTo>
                      <a:pt x="16" y="107"/>
                    </a:moveTo>
                    <a:lnTo>
                      <a:pt x="17" y="107"/>
                    </a:lnTo>
                    <a:lnTo>
                      <a:pt x="16" y="107"/>
                    </a:lnTo>
                    <a:close/>
                    <a:moveTo>
                      <a:pt x="12" y="104"/>
                    </a:moveTo>
                    <a:lnTo>
                      <a:pt x="12" y="106"/>
                    </a:lnTo>
                    <a:lnTo>
                      <a:pt x="12" y="104"/>
                    </a:lnTo>
                    <a:close/>
                    <a:moveTo>
                      <a:pt x="17" y="102"/>
                    </a:moveTo>
                    <a:lnTo>
                      <a:pt x="17" y="104"/>
                    </a:lnTo>
                    <a:lnTo>
                      <a:pt x="17" y="102"/>
                    </a:lnTo>
                    <a:close/>
                    <a:moveTo>
                      <a:pt x="16" y="100"/>
                    </a:moveTo>
                    <a:lnTo>
                      <a:pt x="14" y="100"/>
                    </a:lnTo>
                    <a:lnTo>
                      <a:pt x="16" y="100"/>
                    </a:lnTo>
                    <a:lnTo>
                      <a:pt x="14" y="100"/>
                    </a:lnTo>
                    <a:lnTo>
                      <a:pt x="16" y="100"/>
                    </a:lnTo>
                    <a:close/>
                    <a:moveTo>
                      <a:pt x="16" y="96"/>
                    </a:moveTo>
                    <a:lnTo>
                      <a:pt x="14" y="96"/>
                    </a:lnTo>
                    <a:lnTo>
                      <a:pt x="16" y="96"/>
                    </a:lnTo>
                    <a:close/>
                    <a:moveTo>
                      <a:pt x="14" y="96"/>
                    </a:moveTo>
                    <a:lnTo>
                      <a:pt x="14" y="94"/>
                    </a:lnTo>
                    <a:lnTo>
                      <a:pt x="14" y="96"/>
                    </a:lnTo>
                    <a:close/>
                    <a:moveTo>
                      <a:pt x="16" y="92"/>
                    </a:moveTo>
                    <a:lnTo>
                      <a:pt x="16" y="94"/>
                    </a:lnTo>
                    <a:lnTo>
                      <a:pt x="16" y="92"/>
                    </a:lnTo>
                    <a:close/>
                    <a:moveTo>
                      <a:pt x="16" y="82"/>
                    </a:moveTo>
                    <a:lnTo>
                      <a:pt x="17" y="82"/>
                    </a:lnTo>
                    <a:lnTo>
                      <a:pt x="16" y="82"/>
                    </a:lnTo>
                    <a:close/>
                    <a:moveTo>
                      <a:pt x="16" y="77"/>
                    </a:moveTo>
                    <a:lnTo>
                      <a:pt x="16" y="79"/>
                    </a:lnTo>
                    <a:lnTo>
                      <a:pt x="16" y="77"/>
                    </a:lnTo>
                    <a:lnTo>
                      <a:pt x="16" y="79"/>
                    </a:lnTo>
                    <a:lnTo>
                      <a:pt x="16" y="77"/>
                    </a:lnTo>
                    <a:close/>
                    <a:moveTo>
                      <a:pt x="19" y="79"/>
                    </a:moveTo>
                    <a:lnTo>
                      <a:pt x="19" y="81"/>
                    </a:lnTo>
                    <a:lnTo>
                      <a:pt x="19" y="79"/>
                    </a:lnTo>
                    <a:close/>
                    <a:moveTo>
                      <a:pt x="17" y="77"/>
                    </a:moveTo>
                    <a:lnTo>
                      <a:pt x="17" y="79"/>
                    </a:lnTo>
                    <a:lnTo>
                      <a:pt x="17" y="77"/>
                    </a:lnTo>
                    <a:close/>
                    <a:moveTo>
                      <a:pt x="21" y="79"/>
                    </a:moveTo>
                    <a:lnTo>
                      <a:pt x="19" y="79"/>
                    </a:lnTo>
                    <a:lnTo>
                      <a:pt x="21" y="79"/>
                    </a:lnTo>
                    <a:close/>
                    <a:moveTo>
                      <a:pt x="25" y="81"/>
                    </a:moveTo>
                    <a:lnTo>
                      <a:pt x="25" y="79"/>
                    </a:lnTo>
                    <a:lnTo>
                      <a:pt x="25" y="81"/>
                    </a:lnTo>
                    <a:close/>
                    <a:moveTo>
                      <a:pt x="41" y="71"/>
                    </a:moveTo>
                    <a:lnTo>
                      <a:pt x="42" y="71"/>
                    </a:lnTo>
                    <a:lnTo>
                      <a:pt x="41" y="71"/>
                    </a:lnTo>
                    <a:close/>
                    <a:moveTo>
                      <a:pt x="39" y="67"/>
                    </a:moveTo>
                    <a:lnTo>
                      <a:pt x="39" y="69"/>
                    </a:lnTo>
                    <a:lnTo>
                      <a:pt x="37" y="69"/>
                    </a:lnTo>
                    <a:lnTo>
                      <a:pt x="37" y="67"/>
                    </a:lnTo>
                    <a:lnTo>
                      <a:pt x="37" y="69"/>
                    </a:lnTo>
                    <a:lnTo>
                      <a:pt x="37" y="67"/>
                    </a:lnTo>
                    <a:lnTo>
                      <a:pt x="39" y="67"/>
                    </a:lnTo>
                    <a:close/>
                    <a:moveTo>
                      <a:pt x="39" y="67"/>
                    </a:moveTo>
                    <a:lnTo>
                      <a:pt x="37" y="67"/>
                    </a:lnTo>
                    <a:lnTo>
                      <a:pt x="39" y="67"/>
                    </a:lnTo>
                    <a:close/>
                    <a:moveTo>
                      <a:pt x="37" y="65"/>
                    </a:moveTo>
                    <a:lnTo>
                      <a:pt x="35" y="65"/>
                    </a:lnTo>
                    <a:lnTo>
                      <a:pt x="37" y="65"/>
                    </a:lnTo>
                    <a:close/>
                    <a:moveTo>
                      <a:pt x="42" y="61"/>
                    </a:moveTo>
                    <a:lnTo>
                      <a:pt x="44" y="61"/>
                    </a:lnTo>
                    <a:lnTo>
                      <a:pt x="42" y="61"/>
                    </a:lnTo>
                    <a:close/>
                    <a:moveTo>
                      <a:pt x="44" y="61"/>
                    </a:moveTo>
                    <a:lnTo>
                      <a:pt x="42" y="61"/>
                    </a:lnTo>
                    <a:lnTo>
                      <a:pt x="44" y="61"/>
                    </a:lnTo>
                    <a:lnTo>
                      <a:pt x="42" y="61"/>
                    </a:lnTo>
                    <a:lnTo>
                      <a:pt x="44" y="61"/>
                    </a:lnTo>
                    <a:close/>
                    <a:moveTo>
                      <a:pt x="42" y="34"/>
                    </a:moveTo>
                    <a:lnTo>
                      <a:pt x="42" y="36"/>
                    </a:lnTo>
                    <a:lnTo>
                      <a:pt x="42" y="34"/>
                    </a:lnTo>
                    <a:close/>
                    <a:moveTo>
                      <a:pt x="39" y="27"/>
                    </a:moveTo>
                    <a:lnTo>
                      <a:pt x="37" y="27"/>
                    </a:lnTo>
                    <a:lnTo>
                      <a:pt x="39" y="27"/>
                    </a:lnTo>
                    <a:lnTo>
                      <a:pt x="37" y="27"/>
                    </a:lnTo>
                    <a:lnTo>
                      <a:pt x="37" y="29"/>
                    </a:lnTo>
                    <a:lnTo>
                      <a:pt x="37" y="27"/>
                    </a:lnTo>
                    <a:lnTo>
                      <a:pt x="39" y="27"/>
                    </a:lnTo>
                    <a:close/>
                    <a:moveTo>
                      <a:pt x="21" y="13"/>
                    </a:moveTo>
                    <a:lnTo>
                      <a:pt x="23" y="13"/>
                    </a:lnTo>
                    <a:lnTo>
                      <a:pt x="21" y="13"/>
                    </a:lnTo>
                    <a:close/>
                    <a:moveTo>
                      <a:pt x="39" y="25"/>
                    </a:moveTo>
                    <a:lnTo>
                      <a:pt x="41" y="25"/>
                    </a:lnTo>
                    <a:lnTo>
                      <a:pt x="41" y="27"/>
                    </a:lnTo>
                    <a:lnTo>
                      <a:pt x="39" y="27"/>
                    </a:lnTo>
                    <a:lnTo>
                      <a:pt x="41" y="27"/>
                    </a:lnTo>
                    <a:lnTo>
                      <a:pt x="39" y="27"/>
                    </a:lnTo>
                    <a:lnTo>
                      <a:pt x="39" y="25"/>
                    </a:lnTo>
                    <a:lnTo>
                      <a:pt x="39" y="27"/>
                    </a:lnTo>
                    <a:lnTo>
                      <a:pt x="39" y="25"/>
                    </a:lnTo>
                    <a:lnTo>
                      <a:pt x="37" y="25"/>
                    </a:lnTo>
                    <a:lnTo>
                      <a:pt x="37" y="23"/>
                    </a:lnTo>
                    <a:lnTo>
                      <a:pt x="39" y="23"/>
                    </a:lnTo>
                    <a:lnTo>
                      <a:pt x="39" y="25"/>
                    </a:lnTo>
                    <a:close/>
                    <a:moveTo>
                      <a:pt x="35" y="21"/>
                    </a:moveTo>
                    <a:lnTo>
                      <a:pt x="33" y="19"/>
                    </a:lnTo>
                    <a:lnTo>
                      <a:pt x="35" y="19"/>
                    </a:lnTo>
                    <a:lnTo>
                      <a:pt x="35" y="21"/>
                    </a:lnTo>
                    <a:close/>
                    <a:moveTo>
                      <a:pt x="35" y="19"/>
                    </a:moveTo>
                    <a:lnTo>
                      <a:pt x="33" y="19"/>
                    </a:lnTo>
                    <a:lnTo>
                      <a:pt x="35" y="19"/>
                    </a:lnTo>
                    <a:close/>
                    <a:moveTo>
                      <a:pt x="31" y="15"/>
                    </a:moveTo>
                    <a:lnTo>
                      <a:pt x="31" y="17"/>
                    </a:lnTo>
                    <a:lnTo>
                      <a:pt x="31" y="15"/>
                    </a:lnTo>
                    <a:close/>
                    <a:moveTo>
                      <a:pt x="39" y="21"/>
                    </a:moveTo>
                    <a:lnTo>
                      <a:pt x="41" y="21"/>
                    </a:lnTo>
                    <a:lnTo>
                      <a:pt x="41" y="23"/>
                    </a:lnTo>
                    <a:lnTo>
                      <a:pt x="39" y="23"/>
                    </a:lnTo>
                    <a:lnTo>
                      <a:pt x="39" y="21"/>
                    </a:lnTo>
                    <a:close/>
                    <a:moveTo>
                      <a:pt x="41" y="21"/>
                    </a:moveTo>
                    <a:lnTo>
                      <a:pt x="39" y="21"/>
                    </a:lnTo>
                    <a:lnTo>
                      <a:pt x="41" y="21"/>
                    </a:lnTo>
                    <a:close/>
                    <a:moveTo>
                      <a:pt x="39" y="19"/>
                    </a:moveTo>
                    <a:lnTo>
                      <a:pt x="39" y="21"/>
                    </a:lnTo>
                    <a:lnTo>
                      <a:pt x="37" y="21"/>
                    </a:lnTo>
                    <a:lnTo>
                      <a:pt x="35" y="21"/>
                    </a:lnTo>
                    <a:lnTo>
                      <a:pt x="35" y="19"/>
                    </a:lnTo>
                    <a:lnTo>
                      <a:pt x="35" y="17"/>
                    </a:lnTo>
                    <a:lnTo>
                      <a:pt x="35" y="19"/>
                    </a:lnTo>
                    <a:lnTo>
                      <a:pt x="37" y="19"/>
                    </a:lnTo>
                    <a:lnTo>
                      <a:pt x="39" y="19"/>
                    </a:lnTo>
                    <a:lnTo>
                      <a:pt x="39" y="21"/>
                    </a:lnTo>
                    <a:lnTo>
                      <a:pt x="39" y="19"/>
                    </a:lnTo>
                    <a:close/>
                    <a:moveTo>
                      <a:pt x="41" y="19"/>
                    </a:moveTo>
                    <a:lnTo>
                      <a:pt x="41" y="21"/>
                    </a:lnTo>
                    <a:lnTo>
                      <a:pt x="41" y="19"/>
                    </a:lnTo>
                    <a:lnTo>
                      <a:pt x="41" y="21"/>
                    </a:lnTo>
                    <a:lnTo>
                      <a:pt x="41" y="19"/>
                    </a:lnTo>
                    <a:lnTo>
                      <a:pt x="41" y="21"/>
                    </a:lnTo>
                    <a:lnTo>
                      <a:pt x="39" y="21"/>
                    </a:lnTo>
                    <a:lnTo>
                      <a:pt x="39" y="19"/>
                    </a:lnTo>
                    <a:lnTo>
                      <a:pt x="41" y="19"/>
                    </a:lnTo>
                    <a:lnTo>
                      <a:pt x="39" y="19"/>
                    </a:lnTo>
                    <a:lnTo>
                      <a:pt x="41" y="19"/>
                    </a:lnTo>
                    <a:lnTo>
                      <a:pt x="39" y="19"/>
                    </a:lnTo>
                    <a:lnTo>
                      <a:pt x="41" y="19"/>
                    </a:lnTo>
                    <a:close/>
                    <a:moveTo>
                      <a:pt x="42" y="15"/>
                    </a:moveTo>
                    <a:lnTo>
                      <a:pt x="41" y="15"/>
                    </a:lnTo>
                    <a:lnTo>
                      <a:pt x="42" y="15"/>
                    </a:lnTo>
                    <a:close/>
                    <a:moveTo>
                      <a:pt x="42" y="17"/>
                    </a:moveTo>
                    <a:lnTo>
                      <a:pt x="42" y="15"/>
                    </a:lnTo>
                    <a:lnTo>
                      <a:pt x="42" y="17"/>
                    </a:lnTo>
                    <a:close/>
                    <a:moveTo>
                      <a:pt x="42" y="17"/>
                    </a:moveTo>
                    <a:lnTo>
                      <a:pt x="42" y="15"/>
                    </a:lnTo>
                    <a:lnTo>
                      <a:pt x="42" y="17"/>
                    </a:lnTo>
                    <a:lnTo>
                      <a:pt x="42" y="15"/>
                    </a:lnTo>
                    <a:lnTo>
                      <a:pt x="42" y="17"/>
                    </a:lnTo>
                    <a:close/>
                    <a:moveTo>
                      <a:pt x="37" y="9"/>
                    </a:moveTo>
                    <a:lnTo>
                      <a:pt x="37" y="7"/>
                    </a:lnTo>
                    <a:lnTo>
                      <a:pt x="35" y="7"/>
                    </a:lnTo>
                    <a:lnTo>
                      <a:pt x="37" y="7"/>
                    </a:lnTo>
                    <a:lnTo>
                      <a:pt x="37" y="9"/>
                    </a:lnTo>
                    <a:close/>
                    <a:moveTo>
                      <a:pt x="39" y="9"/>
                    </a:moveTo>
                    <a:lnTo>
                      <a:pt x="37" y="9"/>
                    </a:lnTo>
                    <a:lnTo>
                      <a:pt x="39" y="9"/>
                    </a:lnTo>
                    <a:close/>
                    <a:moveTo>
                      <a:pt x="37" y="9"/>
                    </a:moveTo>
                    <a:lnTo>
                      <a:pt x="37" y="7"/>
                    </a:lnTo>
                    <a:lnTo>
                      <a:pt x="37" y="9"/>
                    </a:lnTo>
                    <a:close/>
                    <a:moveTo>
                      <a:pt x="37" y="7"/>
                    </a:moveTo>
                    <a:lnTo>
                      <a:pt x="35" y="7"/>
                    </a:lnTo>
                    <a:lnTo>
                      <a:pt x="35" y="6"/>
                    </a:lnTo>
                    <a:lnTo>
                      <a:pt x="37" y="7"/>
                    </a:lnTo>
                    <a:close/>
                    <a:moveTo>
                      <a:pt x="39" y="9"/>
                    </a:moveTo>
                    <a:lnTo>
                      <a:pt x="39" y="7"/>
                    </a:lnTo>
                    <a:lnTo>
                      <a:pt x="39" y="9"/>
                    </a:lnTo>
                    <a:close/>
                    <a:moveTo>
                      <a:pt x="37" y="7"/>
                    </a:moveTo>
                    <a:lnTo>
                      <a:pt x="37" y="6"/>
                    </a:lnTo>
                    <a:lnTo>
                      <a:pt x="37" y="7"/>
                    </a:lnTo>
                    <a:close/>
                    <a:moveTo>
                      <a:pt x="37" y="6"/>
                    </a:moveTo>
                    <a:lnTo>
                      <a:pt x="35" y="6"/>
                    </a:lnTo>
                    <a:lnTo>
                      <a:pt x="37" y="6"/>
                    </a:lnTo>
                    <a:close/>
                    <a:moveTo>
                      <a:pt x="31" y="0"/>
                    </a:moveTo>
                    <a:lnTo>
                      <a:pt x="31" y="2"/>
                    </a:lnTo>
                    <a:lnTo>
                      <a:pt x="31" y="0"/>
                    </a:lnTo>
                    <a:lnTo>
                      <a:pt x="29" y="0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97">
                <a:extLst>
                  <a:ext uri="{FF2B5EF4-FFF2-40B4-BE49-F238E27FC236}">
                    <a16:creationId xmlns="" xmlns:a16="http://schemas.microsoft.com/office/drawing/2014/main" id="{40556378-7CDE-4B69-B5E6-857B0140C4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24113" y="2435226"/>
                <a:ext cx="82550" cy="287338"/>
              </a:xfrm>
              <a:custGeom>
                <a:avLst/>
                <a:gdLst>
                  <a:gd name="T0" fmla="*/ 29 w 52"/>
                  <a:gd name="T1" fmla="*/ 177 h 181"/>
                  <a:gd name="T2" fmla="*/ 31 w 52"/>
                  <a:gd name="T3" fmla="*/ 177 h 181"/>
                  <a:gd name="T4" fmla="*/ 33 w 52"/>
                  <a:gd name="T5" fmla="*/ 177 h 181"/>
                  <a:gd name="T6" fmla="*/ 16 w 52"/>
                  <a:gd name="T7" fmla="*/ 159 h 181"/>
                  <a:gd name="T8" fmla="*/ 8 w 52"/>
                  <a:gd name="T9" fmla="*/ 152 h 181"/>
                  <a:gd name="T10" fmla="*/ 18 w 52"/>
                  <a:gd name="T11" fmla="*/ 156 h 181"/>
                  <a:gd name="T12" fmla="*/ 6 w 52"/>
                  <a:gd name="T13" fmla="*/ 148 h 181"/>
                  <a:gd name="T14" fmla="*/ 2 w 52"/>
                  <a:gd name="T15" fmla="*/ 144 h 181"/>
                  <a:gd name="T16" fmla="*/ 25 w 52"/>
                  <a:gd name="T17" fmla="*/ 158 h 181"/>
                  <a:gd name="T18" fmla="*/ 12 w 52"/>
                  <a:gd name="T19" fmla="*/ 150 h 181"/>
                  <a:gd name="T20" fmla="*/ 4 w 52"/>
                  <a:gd name="T21" fmla="*/ 140 h 181"/>
                  <a:gd name="T22" fmla="*/ 4 w 52"/>
                  <a:gd name="T23" fmla="*/ 140 h 181"/>
                  <a:gd name="T24" fmla="*/ 4 w 52"/>
                  <a:gd name="T25" fmla="*/ 136 h 181"/>
                  <a:gd name="T26" fmla="*/ 23 w 52"/>
                  <a:gd name="T27" fmla="*/ 138 h 181"/>
                  <a:gd name="T28" fmla="*/ 8 w 52"/>
                  <a:gd name="T29" fmla="*/ 123 h 181"/>
                  <a:gd name="T30" fmla="*/ 8 w 52"/>
                  <a:gd name="T31" fmla="*/ 125 h 181"/>
                  <a:gd name="T32" fmla="*/ 14 w 52"/>
                  <a:gd name="T33" fmla="*/ 121 h 181"/>
                  <a:gd name="T34" fmla="*/ 16 w 52"/>
                  <a:gd name="T35" fmla="*/ 121 h 181"/>
                  <a:gd name="T36" fmla="*/ 20 w 52"/>
                  <a:gd name="T37" fmla="*/ 121 h 181"/>
                  <a:gd name="T38" fmla="*/ 18 w 52"/>
                  <a:gd name="T39" fmla="*/ 119 h 181"/>
                  <a:gd name="T40" fmla="*/ 22 w 52"/>
                  <a:gd name="T41" fmla="*/ 115 h 181"/>
                  <a:gd name="T42" fmla="*/ 16 w 52"/>
                  <a:gd name="T43" fmla="*/ 111 h 181"/>
                  <a:gd name="T44" fmla="*/ 25 w 52"/>
                  <a:gd name="T45" fmla="*/ 113 h 181"/>
                  <a:gd name="T46" fmla="*/ 18 w 52"/>
                  <a:gd name="T47" fmla="*/ 108 h 181"/>
                  <a:gd name="T48" fmla="*/ 22 w 52"/>
                  <a:gd name="T49" fmla="*/ 111 h 181"/>
                  <a:gd name="T50" fmla="*/ 20 w 52"/>
                  <a:gd name="T51" fmla="*/ 109 h 181"/>
                  <a:gd name="T52" fmla="*/ 20 w 52"/>
                  <a:gd name="T53" fmla="*/ 108 h 181"/>
                  <a:gd name="T54" fmla="*/ 22 w 52"/>
                  <a:gd name="T55" fmla="*/ 106 h 181"/>
                  <a:gd name="T56" fmla="*/ 22 w 52"/>
                  <a:gd name="T57" fmla="*/ 106 h 181"/>
                  <a:gd name="T58" fmla="*/ 20 w 52"/>
                  <a:gd name="T59" fmla="*/ 100 h 181"/>
                  <a:gd name="T60" fmla="*/ 22 w 52"/>
                  <a:gd name="T61" fmla="*/ 94 h 181"/>
                  <a:gd name="T62" fmla="*/ 23 w 52"/>
                  <a:gd name="T63" fmla="*/ 94 h 181"/>
                  <a:gd name="T64" fmla="*/ 27 w 52"/>
                  <a:gd name="T65" fmla="*/ 83 h 181"/>
                  <a:gd name="T66" fmla="*/ 29 w 52"/>
                  <a:gd name="T67" fmla="*/ 81 h 181"/>
                  <a:gd name="T68" fmla="*/ 37 w 52"/>
                  <a:gd name="T69" fmla="*/ 77 h 181"/>
                  <a:gd name="T70" fmla="*/ 39 w 52"/>
                  <a:gd name="T71" fmla="*/ 73 h 181"/>
                  <a:gd name="T72" fmla="*/ 45 w 52"/>
                  <a:gd name="T73" fmla="*/ 73 h 181"/>
                  <a:gd name="T74" fmla="*/ 45 w 52"/>
                  <a:gd name="T75" fmla="*/ 71 h 181"/>
                  <a:gd name="T76" fmla="*/ 43 w 52"/>
                  <a:gd name="T77" fmla="*/ 67 h 181"/>
                  <a:gd name="T78" fmla="*/ 43 w 52"/>
                  <a:gd name="T79" fmla="*/ 67 h 181"/>
                  <a:gd name="T80" fmla="*/ 47 w 52"/>
                  <a:gd name="T81" fmla="*/ 71 h 181"/>
                  <a:gd name="T82" fmla="*/ 43 w 52"/>
                  <a:gd name="T83" fmla="*/ 67 h 181"/>
                  <a:gd name="T84" fmla="*/ 43 w 52"/>
                  <a:gd name="T85" fmla="*/ 65 h 181"/>
                  <a:gd name="T86" fmla="*/ 50 w 52"/>
                  <a:gd name="T87" fmla="*/ 71 h 181"/>
                  <a:gd name="T88" fmla="*/ 47 w 52"/>
                  <a:gd name="T89" fmla="*/ 67 h 181"/>
                  <a:gd name="T90" fmla="*/ 50 w 52"/>
                  <a:gd name="T91" fmla="*/ 69 h 181"/>
                  <a:gd name="T92" fmla="*/ 50 w 52"/>
                  <a:gd name="T93" fmla="*/ 63 h 181"/>
                  <a:gd name="T94" fmla="*/ 50 w 52"/>
                  <a:gd name="T95" fmla="*/ 63 h 181"/>
                  <a:gd name="T96" fmla="*/ 48 w 52"/>
                  <a:gd name="T97" fmla="*/ 58 h 181"/>
                  <a:gd name="T98" fmla="*/ 50 w 52"/>
                  <a:gd name="T99" fmla="*/ 56 h 181"/>
                  <a:gd name="T100" fmla="*/ 31 w 52"/>
                  <a:gd name="T101" fmla="*/ 17 h 181"/>
                  <a:gd name="T102" fmla="*/ 45 w 52"/>
                  <a:gd name="T103" fmla="*/ 23 h 181"/>
                  <a:gd name="T104" fmla="*/ 47 w 52"/>
                  <a:gd name="T105" fmla="*/ 23 h 181"/>
                  <a:gd name="T106" fmla="*/ 43 w 52"/>
                  <a:gd name="T107" fmla="*/ 17 h 181"/>
                  <a:gd name="T108" fmla="*/ 45 w 52"/>
                  <a:gd name="T109" fmla="*/ 17 h 181"/>
                  <a:gd name="T110" fmla="*/ 43 w 52"/>
                  <a:gd name="T111" fmla="*/ 11 h 181"/>
                  <a:gd name="T112" fmla="*/ 39 w 52"/>
                  <a:gd name="T113" fmla="*/ 6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2" h="181">
                    <a:moveTo>
                      <a:pt x="20" y="181"/>
                    </a:moveTo>
                    <a:lnTo>
                      <a:pt x="18" y="181"/>
                    </a:lnTo>
                    <a:lnTo>
                      <a:pt x="20" y="181"/>
                    </a:lnTo>
                    <a:close/>
                    <a:moveTo>
                      <a:pt x="18" y="179"/>
                    </a:moveTo>
                    <a:lnTo>
                      <a:pt x="18" y="177"/>
                    </a:lnTo>
                    <a:lnTo>
                      <a:pt x="18" y="179"/>
                    </a:lnTo>
                    <a:close/>
                    <a:moveTo>
                      <a:pt x="29" y="177"/>
                    </a:moveTo>
                    <a:lnTo>
                      <a:pt x="31" y="177"/>
                    </a:lnTo>
                    <a:lnTo>
                      <a:pt x="29" y="177"/>
                    </a:lnTo>
                    <a:close/>
                    <a:moveTo>
                      <a:pt x="33" y="177"/>
                    </a:moveTo>
                    <a:lnTo>
                      <a:pt x="31" y="177"/>
                    </a:lnTo>
                    <a:lnTo>
                      <a:pt x="33" y="177"/>
                    </a:lnTo>
                    <a:close/>
                    <a:moveTo>
                      <a:pt x="31" y="175"/>
                    </a:moveTo>
                    <a:lnTo>
                      <a:pt x="31" y="177"/>
                    </a:lnTo>
                    <a:lnTo>
                      <a:pt x="31" y="175"/>
                    </a:lnTo>
                    <a:close/>
                    <a:moveTo>
                      <a:pt x="27" y="173"/>
                    </a:moveTo>
                    <a:lnTo>
                      <a:pt x="25" y="173"/>
                    </a:lnTo>
                    <a:lnTo>
                      <a:pt x="27" y="173"/>
                    </a:lnTo>
                    <a:close/>
                    <a:moveTo>
                      <a:pt x="33" y="177"/>
                    </a:moveTo>
                    <a:lnTo>
                      <a:pt x="33" y="175"/>
                    </a:lnTo>
                    <a:lnTo>
                      <a:pt x="33" y="177"/>
                    </a:lnTo>
                    <a:close/>
                    <a:moveTo>
                      <a:pt x="29" y="173"/>
                    </a:moveTo>
                    <a:lnTo>
                      <a:pt x="29" y="171"/>
                    </a:lnTo>
                    <a:lnTo>
                      <a:pt x="29" y="173"/>
                    </a:lnTo>
                    <a:close/>
                    <a:moveTo>
                      <a:pt x="29" y="173"/>
                    </a:moveTo>
                    <a:lnTo>
                      <a:pt x="29" y="171"/>
                    </a:lnTo>
                    <a:lnTo>
                      <a:pt x="29" y="173"/>
                    </a:lnTo>
                    <a:close/>
                    <a:moveTo>
                      <a:pt x="16" y="159"/>
                    </a:moveTo>
                    <a:lnTo>
                      <a:pt x="18" y="159"/>
                    </a:lnTo>
                    <a:lnTo>
                      <a:pt x="16" y="159"/>
                    </a:lnTo>
                    <a:close/>
                    <a:moveTo>
                      <a:pt x="25" y="165"/>
                    </a:moveTo>
                    <a:lnTo>
                      <a:pt x="25" y="163"/>
                    </a:lnTo>
                    <a:lnTo>
                      <a:pt x="25" y="165"/>
                    </a:lnTo>
                    <a:close/>
                    <a:moveTo>
                      <a:pt x="10" y="152"/>
                    </a:moveTo>
                    <a:lnTo>
                      <a:pt x="8" y="152"/>
                    </a:lnTo>
                    <a:lnTo>
                      <a:pt x="10" y="152"/>
                    </a:lnTo>
                    <a:close/>
                    <a:moveTo>
                      <a:pt x="25" y="163"/>
                    </a:moveTo>
                    <a:lnTo>
                      <a:pt x="25" y="161"/>
                    </a:lnTo>
                    <a:lnTo>
                      <a:pt x="25" y="163"/>
                    </a:lnTo>
                    <a:close/>
                    <a:moveTo>
                      <a:pt x="18" y="156"/>
                    </a:moveTo>
                    <a:lnTo>
                      <a:pt x="16" y="156"/>
                    </a:lnTo>
                    <a:lnTo>
                      <a:pt x="18" y="156"/>
                    </a:lnTo>
                    <a:close/>
                    <a:moveTo>
                      <a:pt x="6" y="148"/>
                    </a:moveTo>
                    <a:lnTo>
                      <a:pt x="4" y="146"/>
                    </a:lnTo>
                    <a:lnTo>
                      <a:pt x="6" y="146"/>
                    </a:lnTo>
                    <a:lnTo>
                      <a:pt x="6" y="148"/>
                    </a:lnTo>
                    <a:close/>
                    <a:moveTo>
                      <a:pt x="6" y="148"/>
                    </a:moveTo>
                    <a:lnTo>
                      <a:pt x="8" y="148"/>
                    </a:lnTo>
                    <a:lnTo>
                      <a:pt x="6" y="148"/>
                    </a:lnTo>
                    <a:close/>
                    <a:moveTo>
                      <a:pt x="18" y="154"/>
                    </a:moveTo>
                    <a:lnTo>
                      <a:pt x="18" y="156"/>
                    </a:lnTo>
                    <a:lnTo>
                      <a:pt x="18" y="154"/>
                    </a:lnTo>
                    <a:close/>
                    <a:moveTo>
                      <a:pt x="20" y="154"/>
                    </a:moveTo>
                    <a:lnTo>
                      <a:pt x="20" y="156"/>
                    </a:lnTo>
                    <a:lnTo>
                      <a:pt x="20" y="154"/>
                    </a:lnTo>
                    <a:close/>
                    <a:moveTo>
                      <a:pt x="2" y="144"/>
                    </a:moveTo>
                    <a:lnTo>
                      <a:pt x="2" y="142"/>
                    </a:lnTo>
                    <a:lnTo>
                      <a:pt x="2" y="144"/>
                    </a:lnTo>
                    <a:close/>
                    <a:moveTo>
                      <a:pt x="12" y="148"/>
                    </a:moveTo>
                    <a:lnTo>
                      <a:pt x="10" y="148"/>
                    </a:lnTo>
                    <a:lnTo>
                      <a:pt x="12" y="148"/>
                    </a:lnTo>
                    <a:close/>
                    <a:moveTo>
                      <a:pt x="25" y="159"/>
                    </a:moveTo>
                    <a:lnTo>
                      <a:pt x="25" y="158"/>
                    </a:lnTo>
                    <a:lnTo>
                      <a:pt x="25" y="159"/>
                    </a:lnTo>
                    <a:close/>
                    <a:moveTo>
                      <a:pt x="4" y="144"/>
                    </a:moveTo>
                    <a:lnTo>
                      <a:pt x="4" y="142"/>
                    </a:lnTo>
                    <a:lnTo>
                      <a:pt x="4" y="144"/>
                    </a:lnTo>
                    <a:close/>
                    <a:moveTo>
                      <a:pt x="12" y="150"/>
                    </a:moveTo>
                    <a:lnTo>
                      <a:pt x="14" y="150"/>
                    </a:lnTo>
                    <a:lnTo>
                      <a:pt x="12" y="150"/>
                    </a:lnTo>
                    <a:close/>
                    <a:moveTo>
                      <a:pt x="20" y="154"/>
                    </a:moveTo>
                    <a:lnTo>
                      <a:pt x="18" y="154"/>
                    </a:lnTo>
                    <a:lnTo>
                      <a:pt x="20" y="154"/>
                    </a:lnTo>
                    <a:close/>
                    <a:moveTo>
                      <a:pt x="12" y="148"/>
                    </a:moveTo>
                    <a:lnTo>
                      <a:pt x="12" y="146"/>
                    </a:lnTo>
                    <a:lnTo>
                      <a:pt x="12" y="148"/>
                    </a:lnTo>
                    <a:close/>
                    <a:moveTo>
                      <a:pt x="4" y="140"/>
                    </a:moveTo>
                    <a:lnTo>
                      <a:pt x="4" y="142"/>
                    </a:lnTo>
                    <a:lnTo>
                      <a:pt x="4" y="140"/>
                    </a:lnTo>
                    <a:close/>
                    <a:moveTo>
                      <a:pt x="2" y="138"/>
                    </a:moveTo>
                    <a:lnTo>
                      <a:pt x="0" y="138"/>
                    </a:lnTo>
                    <a:lnTo>
                      <a:pt x="2" y="138"/>
                    </a:lnTo>
                    <a:close/>
                    <a:moveTo>
                      <a:pt x="6" y="140"/>
                    </a:moveTo>
                    <a:lnTo>
                      <a:pt x="4" y="140"/>
                    </a:lnTo>
                    <a:lnTo>
                      <a:pt x="6" y="140"/>
                    </a:lnTo>
                    <a:close/>
                    <a:moveTo>
                      <a:pt x="4" y="138"/>
                    </a:moveTo>
                    <a:lnTo>
                      <a:pt x="4" y="140"/>
                    </a:lnTo>
                    <a:lnTo>
                      <a:pt x="4" y="138"/>
                    </a:lnTo>
                    <a:close/>
                    <a:moveTo>
                      <a:pt x="4" y="136"/>
                    </a:moveTo>
                    <a:lnTo>
                      <a:pt x="2" y="136"/>
                    </a:lnTo>
                    <a:lnTo>
                      <a:pt x="4" y="136"/>
                    </a:lnTo>
                    <a:close/>
                    <a:moveTo>
                      <a:pt x="10" y="138"/>
                    </a:moveTo>
                    <a:lnTo>
                      <a:pt x="10" y="136"/>
                    </a:lnTo>
                    <a:lnTo>
                      <a:pt x="10" y="138"/>
                    </a:lnTo>
                    <a:close/>
                    <a:moveTo>
                      <a:pt x="18" y="142"/>
                    </a:moveTo>
                    <a:lnTo>
                      <a:pt x="20" y="142"/>
                    </a:lnTo>
                    <a:lnTo>
                      <a:pt x="18" y="142"/>
                    </a:lnTo>
                    <a:close/>
                    <a:moveTo>
                      <a:pt x="23" y="138"/>
                    </a:moveTo>
                    <a:lnTo>
                      <a:pt x="22" y="138"/>
                    </a:lnTo>
                    <a:lnTo>
                      <a:pt x="23" y="138"/>
                    </a:lnTo>
                    <a:close/>
                    <a:moveTo>
                      <a:pt x="10" y="127"/>
                    </a:moveTo>
                    <a:lnTo>
                      <a:pt x="8" y="127"/>
                    </a:lnTo>
                    <a:lnTo>
                      <a:pt x="10" y="127"/>
                    </a:lnTo>
                    <a:close/>
                    <a:moveTo>
                      <a:pt x="8" y="125"/>
                    </a:moveTo>
                    <a:lnTo>
                      <a:pt x="8" y="123"/>
                    </a:lnTo>
                    <a:lnTo>
                      <a:pt x="8" y="125"/>
                    </a:lnTo>
                    <a:close/>
                    <a:moveTo>
                      <a:pt x="10" y="125"/>
                    </a:moveTo>
                    <a:lnTo>
                      <a:pt x="8" y="125"/>
                    </a:lnTo>
                    <a:lnTo>
                      <a:pt x="10" y="125"/>
                    </a:lnTo>
                    <a:close/>
                    <a:moveTo>
                      <a:pt x="8" y="125"/>
                    </a:moveTo>
                    <a:lnTo>
                      <a:pt x="8" y="123"/>
                    </a:lnTo>
                    <a:lnTo>
                      <a:pt x="8" y="125"/>
                    </a:lnTo>
                    <a:close/>
                    <a:moveTo>
                      <a:pt x="10" y="123"/>
                    </a:moveTo>
                    <a:lnTo>
                      <a:pt x="8" y="121"/>
                    </a:lnTo>
                    <a:lnTo>
                      <a:pt x="10" y="121"/>
                    </a:lnTo>
                    <a:lnTo>
                      <a:pt x="10" y="123"/>
                    </a:lnTo>
                    <a:close/>
                    <a:moveTo>
                      <a:pt x="14" y="121"/>
                    </a:moveTo>
                    <a:lnTo>
                      <a:pt x="12" y="121"/>
                    </a:lnTo>
                    <a:lnTo>
                      <a:pt x="14" y="121"/>
                    </a:lnTo>
                    <a:close/>
                    <a:moveTo>
                      <a:pt x="12" y="121"/>
                    </a:moveTo>
                    <a:lnTo>
                      <a:pt x="12" y="119"/>
                    </a:lnTo>
                    <a:lnTo>
                      <a:pt x="12" y="121"/>
                    </a:lnTo>
                    <a:close/>
                    <a:moveTo>
                      <a:pt x="14" y="121"/>
                    </a:moveTo>
                    <a:lnTo>
                      <a:pt x="14" y="119"/>
                    </a:lnTo>
                    <a:lnTo>
                      <a:pt x="14" y="121"/>
                    </a:lnTo>
                    <a:close/>
                    <a:moveTo>
                      <a:pt x="16" y="121"/>
                    </a:moveTo>
                    <a:lnTo>
                      <a:pt x="14" y="121"/>
                    </a:lnTo>
                    <a:lnTo>
                      <a:pt x="16" y="121"/>
                    </a:lnTo>
                    <a:close/>
                    <a:moveTo>
                      <a:pt x="22" y="123"/>
                    </a:moveTo>
                    <a:lnTo>
                      <a:pt x="20" y="123"/>
                    </a:lnTo>
                    <a:lnTo>
                      <a:pt x="22" y="123"/>
                    </a:lnTo>
                    <a:close/>
                    <a:moveTo>
                      <a:pt x="18" y="121"/>
                    </a:moveTo>
                    <a:lnTo>
                      <a:pt x="20" y="121"/>
                    </a:lnTo>
                    <a:lnTo>
                      <a:pt x="18" y="121"/>
                    </a:lnTo>
                    <a:close/>
                    <a:moveTo>
                      <a:pt x="16" y="117"/>
                    </a:moveTo>
                    <a:lnTo>
                      <a:pt x="16" y="119"/>
                    </a:lnTo>
                    <a:lnTo>
                      <a:pt x="16" y="117"/>
                    </a:lnTo>
                    <a:close/>
                    <a:moveTo>
                      <a:pt x="18" y="119"/>
                    </a:moveTo>
                    <a:lnTo>
                      <a:pt x="16" y="119"/>
                    </a:lnTo>
                    <a:lnTo>
                      <a:pt x="18" y="119"/>
                    </a:lnTo>
                    <a:close/>
                    <a:moveTo>
                      <a:pt x="16" y="117"/>
                    </a:moveTo>
                    <a:lnTo>
                      <a:pt x="14" y="117"/>
                    </a:lnTo>
                    <a:lnTo>
                      <a:pt x="16" y="117"/>
                    </a:lnTo>
                    <a:close/>
                    <a:moveTo>
                      <a:pt x="18" y="115"/>
                    </a:moveTo>
                    <a:lnTo>
                      <a:pt x="18" y="113"/>
                    </a:lnTo>
                    <a:lnTo>
                      <a:pt x="18" y="115"/>
                    </a:lnTo>
                    <a:close/>
                    <a:moveTo>
                      <a:pt x="22" y="115"/>
                    </a:moveTo>
                    <a:lnTo>
                      <a:pt x="20" y="115"/>
                    </a:lnTo>
                    <a:lnTo>
                      <a:pt x="22" y="115"/>
                    </a:lnTo>
                    <a:close/>
                    <a:moveTo>
                      <a:pt x="20" y="111"/>
                    </a:moveTo>
                    <a:lnTo>
                      <a:pt x="20" y="113"/>
                    </a:lnTo>
                    <a:lnTo>
                      <a:pt x="20" y="111"/>
                    </a:lnTo>
                    <a:close/>
                    <a:moveTo>
                      <a:pt x="18" y="111"/>
                    </a:moveTo>
                    <a:lnTo>
                      <a:pt x="16" y="111"/>
                    </a:lnTo>
                    <a:lnTo>
                      <a:pt x="18" y="111"/>
                    </a:lnTo>
                    <a:close/>
                    <a:moveTo>
                      <a:pt x="14" y="108"/>
                    </a:moveTo>
                    <a:lnTo>
                      <a:pt x="14" y="106"/>
                    </a:lnTo>
                    <a:lnTo>
                      <a:pt x="14" y="108"/>
                    </a:lnTo>
                    <a:close/>
                    <a:moveTo>
                      <a:pt x="25" y="113"/>
                    </a:moveTo>
                    <a:lnTo>
                      <a:pt x="23" y="113"/>
                    </a:lnTo>
                    <a:lnTo>
                      <a:pt x="25" y="113"/>
                    </a:lnTo>
                    <a:close/>
                    <a:moveTo>
                      <a:pt x="23" y="111"/>
                    </a:moveTo>
                    <a:lnTo>
                      <a:pt x="22" y="111"/>
                    </a:lnTo>
                    <a:lnTo>
                      <a:pt x="23" y="111"/>
                    </a:lnTo>
                    <a:close/>
                    <a:moveTo>
                      <a:pt x="18" y="109"/>
                    </a:moveTo>
                    <a:lnTo>
                      <a:pt x="18" y="108"/>
                    </a:lnTo>
                    <a:lnTo>
                      <a:pt x="18" y="109"/>
                    </a:lnTo>
                    <a:close/>
                    <a:moveTo>
                      <a:pt x="18" y="108"/>
                    </a:moveTo>
                    <a:lnTo>
                      <a:pt x="18" y="109"/>
                    </a:lnTo>
                    <a:lnTo>
                      <a:pt x="18" y="108"/>
                    </a:lnTo>
                    <a:close/>
                    <a:moveTo>
                      <a:pt x="23" y="111"/>
                    </a:moveTo>
                    <a:lnTo>
                      <a:pt x="22" y="111"/>
                    </a:lnTo>
                    <a:lnTo>
                      <a:pt x="23" y="111"/>
                    </a:lnTo>
                    <a:close/>
                    <a:moveTo>
                      <a:pt x="23" y="111"/>
                    </a:moveTo>
                    <a:lnTo>
                      <a:pt x="22" y="111"/>
                    </a:lnTo>
                    <a:lnTo>
                      <a:pt x="23" y="111"/>
                    </a:lnTo>
                    <a:close/>
                    <a:moveTo>
                      <a:pt x="22" y="109"/>
                    </a:moveTo>
                    <a:lnTo>
                      <a:pt x="22" y="111"/>
                    </a:lnTo>
                    <a:lnTo>
                      <a:pt x="22" y="109"/>
                    </a:lnTo>
                    <a:close/>
                    <a:moveTo>
                      <a:pt x="20" y="109"/>
                    </a:moveTo>
                    <a:lnTo>
                      <a:pt x="20" y="108"/>
                    </a:lnTo>
                    <a:lnTo>
                      <a:pt x="20" y="109"/>
                    </a:lnTo>
                    <a:close/>
                    <a:moveTo>
                      <a:pt x="20" y="109"/>
                    </a:moveTo>
                    <a:lnTo>
                      <a:pt x="20" y="108"/>
                    </a:lnTo>
                    <a:lnTo>
                      <a:pt x="20" y="109"/>
                    </a:lnTo>
                    <a:close/>
                    <a:moveTo>
                      <a:pt x="18" y="108"/>
                    </a:moveTo>
                    <a:lnTo>
                      <a:pt x="20" y="108"/>
                    </a:lnTo>
                    <a:lnTo>
                      <a:pt x="18" y="108"/>
                    </a:lnTo>
                    <a:close/>
                    <a:moveTo>
                      <a:pt x="20" y="108"/>
                    </a:moveTo>
                    <a:lnTo>
                      <a:pt x="18" y="108"/>
                    </a:lnTo>
                    <a:lnTo>
                      <a:pt x="20" y="108"/>
                    </a:lnTo>
                    <a:close/>
                    <a:moveTo>
                      <a:pt x="20" y="106"/>
                    </a:moveTo>
                    <a:lnTo>
                      <a:pt x="18" y="106"/>
                    </a:lnTo>
                    <a:lnTo>
                      <a:pt x="20" y="106"/>
                    </a:lnTo>
                    <a:close/>
                    <a:moveTo>
                      <a:pt x="23" y="106"/>
                    </a:moveTo>
                    <a:lnTo>
                      <a:pt x="22" y="106"/>
                    </a:lnTo>
                    <a:lnTo>
                      <a:pt x="23" y="106"/>
                    </a:lnTo>
                    <a:close/>
                    <a:moveTo>
                      <a:pt x="25" y="108"/>
                    </a:moveTo>
                    <a:lnTo>
                      <a:pt x="23" y="108"/>
                    </a:lnTo>
                    <a:lnTo>
                      <a:pt x="25" y="108"/>
                    </a:lnTo>
                    <a:close/>
                    <a:moveTo>
                      <a:pt x="22" y="106"/>
                    </a:moveTo>
                    <a:lnTo>
                      <a:pt x="22" y="104"/>
                    </a:lnTo>
                    <a:lnTo>
                      <a:pt x="22" y="106"/>
                    </a:lnTo>
                    <a:close/>
                    <a:moveTo>
                      <a:pt x="20" y="102"/>
                    </a:moveTo>
                    <a:lnTo>
                      <a:pt x="20" y="100"/>
                    </a:lnTo>
                    <a:lnTo>
                      <a:pt x="20" y="102"/>
                    </a:lnTo>
                    <a:close/>
                    <a:moveTo>
                      <a:pt x="20" y="102"/>
                    </a:moveTo>
                    <a:lnTo>
                      <a:pt x="20" y="100"/>
                    </a:lnTo>
                    <a:lnTo>
                      <a:pt x="20" y="102"/>
                    </a:lnTo>
                    <a:close/>
                    <a:moveTo>
                      <a:pt x="20" y="100"/>
                    </a:moveTo>
                    <a:lnTo>
                      <a:pt x="20" y="98"/>
                    </a:lnTo>
                    <a:lnTo>
                      <a:pt x="20" y="100"/>
                    </a:lnTo>
                    <a:close/>
                    <a:moveTo>
                      <a:pt x="20" y="96"/>
                    </a:moveTo>
                    <a:lnTo>
                      <a:pt x="20" y="98"/>
                    </a:lnTo>
                    <a:lnTo>
                      <a:pt x="20" y="96"/>
                    </a:lnTo>
                    <a:close/>
                    <a:moveTo>
                      <a:pt x="22" y="96"/>
                    </a:moveTo>
                    <a:lnTo>
                      <a:pt x="22" y="94"/>
                    </a:lnTo>
                    <a:lnTo>
                      <a:pt x="22" y="96"/>
                    </a:lnTo>
                    <a:close/>
                    <a:moveTo>
                      <a:pt x="23" y="96"/>
                    </a:moveTo>
                    <a:lnTo>
                      <a:pt x="23" y="94"/>
                    </a:lnTo>
                    <a:lnTo>
                      <a:pt x="23" y="96"/>
                    </a:lnTo>
                    <a:close/>
                    <a:moveTo>
                      <a:pt x="23" y="94"/>
                    </a:moveTo>
                    <a:lnTo>
                      <a:pt x="23" y="96"/>
                    </a:lnTo>
                    <a:lnTo>
                      <a:pt x="23" y="94"/>
                    </a:lnTo>
                    <a:close/>
                    <a:moveTo>
                      <a:pt x="23" y="81"/>
                    </a:moveTo>
                    <a:lnTo>
                      <a:pt x="22" y="81"/>
                    </a:lnTo>
                    <a:lnTo>
                      <a:pt x="23" y="81"/>
                    </a:lnTo>
                    <a:close/>
                    <a:moveTo>
                      <a:pt x="25" y="81"/>
                    </a:moveTo>
                    <a:lnTo>
                      <a:pt x="27" y="81"/>
                    </a:lnTo>
                    <a:lnTo>
                      <a:pt x="25" y="81"/>
                    </a:lnTo>
                    <a:close/>
                    <a:moveTo>
                      <a:pt x="27" y="83"/>
                    </a:moveTo>
                    <a:lnTo>
                      <a:pt x="27" y="81"/>
                    </a:lnTo>
                    <a:lnTo>
                      <a:pt x="27" y="83"/>
                    </a:lnTo>
                    <a:close/>
                    <a:moveTo>
                      <a:pt x="29" y="83"/>
                    </a:moveTo>
                    <a:lnTo>
                      <a:pt x="29" y="81"/>
                    </a:lnTo>
                    <a:lnTo>
                      <a:pt x="29" y="83"/>
                    </a:lnTo>
                    <a:close/>
                    <a:moveTo>
                      <a:pt x="29" y="83"/>
                    </a:moveTo>
                    <a:lnTo>
                      <a:pt x="29" y="81"/>
                    </a:lnTo>
                    <a:lnTo>
                      <a:pt x="29" y="83"/>
                    </a:lnTo>
                    <a:close/>
                    <a:moveTo>
                      <a:pt x="29" y="81"/>
                    </a:moveTo>
                    <a:lnTo>
                      <a:pt x="27" y="81"/>
                    </a:lnTo>
                    <a:lnTo>
                      <a:pt x="29" y="81"/>
                    </a:lnTo>
                    <a:close/>
                    <a:moveTo>
                      <a:pt x="37" y="79"/>
                    </a:moveTo>
                    <a:lnTo>
                      <a:pt x="35" y="79"/>
                    </a:lnTo>
                    <a:lnTo>
                      <a:pt x="37" y="77"/>
                    </a:lnTo>
                    <a:lnTo>
                      <a:pt x="37" y="79"/>
                    </a:lnTo>
                    <a:close/>
                    <a:moveTo>
                      <a:pt x="37" y="77"/>
                    </a:moveTo>
                    <a:lnTo>
                      <a:pt x="37" y="75"/>
                    </a:lnTo>
                    <a:lnTo>
                      <a:pt x="37" y="77"/>
                    </a:lnTo>
                    <a:close/>
                    <a:moveTo>
                      <a:pt x="39" y="73"/>
                    </a:moveTo>
                    <a:lnTo>
                      <a:pt x="39" y="75"/>
                    </a:lnTo>
                    <a:lnTo>
                      <a:pt x="39" y="73"/>
                    </a:lnTo>
                    <a:close/>
                    <a:moveTo>
                      <a:pt x="39" y="75"/>
                    </a:moveTo>
                    <a:lnTo>
                      <a:pt x="39" y="73"/>
                    </a:lnTo>
                    <a:lnTo>
                      <a:pt x="39" y="75"/>
                    </a:lnTo>
                    <a:close/>
                    <a:moveTo>
                      <a:pt x="39" y="73"/>
                    </a:moveTo>
                    <a:lnTo>
                      <a:pt x="39" y="71"/>
                    </a:lnTo>
                    <a:lnTo>
                      <a:pt x="39" y="73"/>
                    </a:lnTo>
                    <a:close/>
                    <a:moveTo>
                      <a:pt x="45" y="73"/>
                    </a:moveTo>
                    <a:lnTo>
                      <a:pt x="45" y="71"/>
                    </a:lnTo>
                    <a:lnTo>
                      <a:pt x="45" y="73"/>
                    </a:lnTo>
                    <a:close/>
                    <a:moveTo>
                      <a:pt x="43" y="71"/>
                    </a:moveTo>
                    <a:lnTo>
                      <a:pt x="43" y="69"/>
                    </a:lnTo>
                    <a:lnTo>
                      <a:pt x="43" y="71"/>
                    </a:lnTo>
                    <a:close/>
                    <a:moveTo>
                      <a:pt x="43" y="71"/>
                    </a:moveTo>
                    <a:lnTo>
                      <a:pt x="45" y="71"/>
                    </a:lnTo>
                    <a:lnTo>
                      <a:pt x="43" y="71"/>
                    </a:lnTo>
                    <a:close/>
                    <a:moveTo>
                      <a:pt x="45" y="71"/>
                    </a:moveTo>
                    <a:lnTo>
                      <a:pt x="45" y="69"/>
                    </a:lnTo>
                    <a:lnTo>
                      <a:pt x="45" y="71"/>
                    </a:lnTo>
                    <a:close/>
                    <a:moveTo>
                      <a:pt x="43" y="67"/>
                    </a:moveTo>
                    <a:lnTo>
                      <a:pt x="41" y="67"/>
                    </a:lnTo>
                    <a:lnTo>
                      <a:pt x="43" y="67"/>
                    </a:lnTo>
                    <a:close/>
                    <a:moveTo>
                      <a:pt x="43" y="67"/>
                    </a:moveTo>
                    <a:lnTo>
                      <a:pt x="41" y="67"/>
                    </a:lnTo>
                    <a:lnTo>
                      <a:pt x="43" y="67"/>
                    </a:lnTo>
                    <a:close/>
                    <a:moveTo>
                      <a:pt x="43" y="69"/>
                    </a:moveTo>
                    <a:lnTo>
                      <a:pt x="43" y="67"/>
                    </a:lnTo>
                    <a:lnTo>
                      <a:pt x="43" y="69"/>
                    </a:lnTo>
                    <a:close/>
                    <a:moveTo>
                      <a:pt x="43" y="67"/>
                    </a:moveTo>
                    <a:lnTo>
                      <a:pt x="43" y="69"/>
                    </a:lnTo>
                    <a:lnTo>
                      <a:pt x="43" y="67"/>
                    </a:lnTo>
                    <a:close/>
                    <a:moveTo>
                      <a:pt x="45" y="67"/>
                    </a:moveTo>
                    <a:lnTo>
                      <a:pt x="43" y="67"/>
                    </a:lnTo>
                    <a:lnTo>
                      <a:pt x="45" y="67"/>
                    </a:lnTo>
                    <a:close/>
                    <a:moveTo>
                      <a:pt x="48" y="71"/>
                    </a:moveTo>
                    <a:lnTo>
                      <a:pt x="47" y="71"/>
                    </a:lnTo>
                    <a:lnTo>
                      <a:pt x="48" y="71"/>
                    </a:lnTo>
                    <a:close/>
                    <a:moveTo>
                      <a:pt x="47" y="71"/>
                    </a:moveTo>
                    <a:lnTo>
                      <a:pt x="48" y="71"/>
                    </a:lnTo>
                    <a:lnTo>
                      <a:pt x="47" y="71"/>
                    </a:lnTo>
                    <a:close/>
                    <a:moveTo>
                      <a:pt x="43" y="67"/>
                    </a:moveTo>
                    <a:lnTo>
                      <a:pt x="43" y="65"/>
                    </a:lnTo>
                    <a:lnTo>
                      <a:pt x="43" y="67"/>
                    </a:lnTo>
                    <a:close/>
                    <a:moveTo>
                      <a:pt x="45" y="67"/>
                    </a:moveTo>
                    <a:lnTo>
                      <a:pt x="43" y="67"/>
                    </a:lnTo>
                    <a:lnTo>
                      <a:pt x="43" y="65"/>
                    </a:lnTo>
                    <a:lnTo>
                      <a:pt x="45" y="65"/>
                    </a:lnTo>
                    <a:lnTo>
                      <a:pt x="45" y="67"/>
                    </a:lnTo>
                    <a:close/>
                    <a:moveTo>
                      <a:pt x="45" y="65"/>
                    </a:moveTo>
                    <a:lnTo>
                      <a:pt x="43" y="65"/>
                    </a:lnTo>
                    <a:lnTo>
                      <a:pt x="45" y="65"/>
                    </a:lnTo>
                    <a:close/>
                    <a:moveTo>
                      <a:pt x="48" y="69"/>
                    </a:moveTo>
                    <a:lnTo>
                      <a:pt x="47" y="69"/>
                    </a:lnTo>
                    <a:lnTo>
                      <a:pt x="48" y="69"/>
                    </a:lnTo>
                    <a:close/>
                    <a:moveTo>
                      <a:pt x="50" y="71"/>
                    </a:moveTo>
                    <a:lnTo>
                      <a:pt x="50" y="69"/>
                    </a:lnTo>
                    <a:lnTo>
                      <a:pt x="50" y="71"/>
                    </a:lnTo>
                    <a:lnTo>
                      <a:pt x="50" y="69"/>
                    </a:lnTo>
                    <a:lnTo>
                      <a:pt x="50" y="71"/>
                    </a:lnTo>
                    <a:close/>
                    <a:moveTo>
                      <a:pt x="45" y="65"/>
                    </a:moveTo>
                    <a:lnTo>
                      <a:pt x="43" y="65"/>
                    </a:lnTo>
                    <a:lnTo>
                      <a:pt x="45" y="65"/>
                    </a:lnTo>
                    <a:close/>
                    <a:moveTo>
                      <a:pt x="48" y="67"/>
                    </a:moveTo>
                    <a:lnTo>
                      <a:pt x="47" y="67"/>
                    </a:lnTo>
                    <a:lnTo>
                      <a:pt x="48" y="67"/>
                    </a:lnTo>
                    <a:close/>
                    <a:moveTo>
                      <a:pt x="43" y="65"/>
                    </a:moveTo>
                    <a:lnTo>
                      <a:pt x="45" y="65"/>
                    </a:lnTo>
                    <a:lnTo>
                      <a:pt x="43" y="65"/>
                    </a:lnTo>
                    <a:close/>
                    <a:moveTo>
                      <a:pt x="50" y="69"/>
                    </a:moveTo>
                    <a:lnTo>
                      <a:pt x="50" y="67"/>
                    </a:lnTo>
                    <a:lnTo>
                      <a:pt x="50" y="69"/>
                    </a:lnTo>
                    <a:close/>
                    <a:moveTo>
                      <a:pt x="48" y="63"/>
                    </a:moveTo>
                    <a:lnTo>
                      <a:pt x="48" y="65"/>
                    </a:lnTo>
                    <a:lnTo>
                      <a:pt x="48" y="63"/>
                    </a:lnTo>
                    <a:close/>
                    <a:moveTo>
                      <a:pt x="52" y="65"/>
                    </a:moveTo>
                    <a:lnTo>
                      <a:pt x="52" y="63"/>
                    </a:lnTo>
                    <a:lnTo>
                      <a:pt x="52" y="65"/>
                    </a:lnTo>
                    <a:close/>
                    <a:moveTo>
                      <a:pt x="50" y="63"/>
                    </a:moveTo>
                    <a:lnTo>
                      <a:pt x="48" y="63"/>
                    </a:lnTo>
                    <a:lnTo>
                      <a:pt x="48" y="61"/>
                    </a:lnTo>
                    <a:lnTo>
                      <a:pt x="50" y="63"/>
                    </a:lnTo>
                    <a:close/>
                    <a:moveTo>
                      <a:pt x="50" y="63"/>
                    </a:moveTo>
                    <a:lnTo>
                      <a:pt x="50" y="61"/>
                    </a:lnTo>
                    <a:lnTo>
                      <a:pt x="50" y="63"/>
                    </a:lnTo>
                    <a:close/>
                    <a:moveTo>
                      <a:pt x="50" y="63"/>
                    </a:moveTo>
                    <a:lnTo>
                      <a:pt x="50" y="61"/>
                    </a:lnTo>
                    <a:lnTo>
                      <a:pt x="50" y="63"/>
                    </a:lnTo>
                    <a:close/>
                    <a:moveTo>
                      <a:pt x="50" y="58"/>
                    </a:moveTo>
                    <a:lnTo>
                      <a:pt x="48" y="58"/>
                    </a:lnTo>
                    <a:lnTo>
                      <a:pt x="50" y="58"/>
                    </a:lnTo>
                    <a:close/>
                    <a:moveTo>
                      <a:pt x="50" y="58"/>
                    </a:moveTo>
                    <a:lnTo>
                      <a:pt x="48" y="58"/>
                    </a:lnTo>
                    <a:lnTo>
                      <a:pt x="50" y="58"/>
                    </a:lnTo>
                    <a:close/>
                    <a:moveTo>
                      <a:pt x="48" y="58"/>
                    </a:moveTo>
                    <a:lnTo>
                      <a:pt x="48" y="56"/>
                    </a:lnTo>
                    <a:lnTo>
                      <a:pt x="48" y="58"/>
                    </a:lnTo>
                    <a:close/>
                    <a:moveTo>
                      <a:pt x="50" y="56"/>
                    </a:moveTo>
                    <a:lnTo>
                      <a:pt x="48" y="56"/>
                    </a:lnTo>
                    <a:lnTo>
                      <a:pt x="50" y="56"/>
                    </a:lnTo>
                    <a:close/>
                    <a:moveTo>
                      <a:pt x="48" y="38"/>
                    </a:moveTo>
                    <a:lnTo>
                      <a:pt x="48" y="36"/>
                    </a:lnTo>
                    <a:lnTo>
                      <a:pt x="48" y="38"/>
                    </a:lnTo>
                    <a:close/>
                    <a:moveTo>
                      <a:pt x="48" y="33"/>
                    </a:moveTo>
                    <a:lnTo>
                      <a:pt x="48" y="34"/>
                    </a:lnTo>
                    <a:lnTo>
                      <a:pt x="48" y="33"/>
                    </a:lnTo>
                    <a:close/>
                    <a:moveTo>
                      <a:pt x="31" y="17"/>
                    </a:moveTo>
                    <a:lnTo>
                      <a:pt x="31" y="15"/>
                    </a:lnTo>
                    <a:lnTo>
                      <a:pt x="31" y="17"/>
                    </a:lnTo>
                    <a:close/>
                    <a:moveTo>
                      <a:pt x="43" y="23"/>
                    </a:moveTo>
                    <a:lnTo>
                      <a:pt x="43" y="25"/>
                    </a:lnTo>
                    <a:lnTo>
                      <a:pt x="43" y="23"/>
                    </a:lnTo>
                    <a:close/>
                    <a:moveTo>
                      <a:pt x="45" y="25"/>
                    </a:moveTo>
                    <a:lnTo>
                      <a:pt x="45" y="23"/>
                    </a:lnTo>
                    <a:lnTo>
                      <a:pt x="45" y="25"/>
                    </a:lnTo>
                    <a:close/>
                    <a:moveTo>
                      <a:pt x="37" y="17"/>
                    </a:moveTo>
                    <a:lnTo>
                      <a:pt x="35" y="17"/>
                    </a:lnTo>
                    <a:lnTo>
                      <a:pt x="37" y="17"/>
                    </a:lnTo>
                    <a:close/>
                    <a:moveTo>
                      <a:pt x="47" y="23"/>
                    </a:moveTo>
                    <a:lnTo>
                      <a:pt x="47" y="21"/>
                    </a:lnTo>
                    <a:lnTo>
                      <a:pt x="47" y="23"/>
                    </a:lnTo>
                    <a:close/>
                    <a:moveTo>
                      <a:pt x="43" y="19"/>
                    </a:moveTo>
                    <a:lnTo>
                      <a:pt x="43" y="17"/>
                    </a:lnTo>
                    <a:lnTo>
                      <a:pt x="43" y="19"/>
                    </a:lnTo>
                    <a:close/>
                    <a:moveTo>
                      <a:pt x="43" y="19"/>
                    </a:moveTo>
                    <a:lnTo>
                      <a:pt x="43" y="17"/>
                    </a:lnTo>
                    <a:lnTo>
                      <a:pt x="43" y="19"/>
                    </a:lnTo>
                    <a:close/>
                    <a:moveTo>
                      <a:pt x="43" y="17"/>
                    </a:moveTo>
                    <a:lnTo>
                      <a:pt x="41" y="17"/>
                    </a:lnTo>
                    <a:lnTo>
                      <a:pt x="43" y="17"/>
                    </a:lnTo>
                    <a:close/>
                    <a:moveTo>
                      <a:pt x="45" y="19"/>
                    </a:moveTo>
                    <a:lnTo>
                      <a:pt x="45" y="17"/>
                    </a:lnTo>
                    <a:lnTo>
                      <a:pt x="45" y="19"/>
                    </a:lnTo>
                    <a:close/>
                    <a:moveTo>
                      <a:pt x="47" y="15"/>
                    </a:moveTo>
                    <a:lnTo>
                      <a:pt x="45" y="17"/>
                    </a:lnTo>
                    <a:lnTo>
                      <a:pt x="45" y="15"/>
                    </a:lnTo>
                    <a:lnTo>
                      <a:pt x="47" y="15"/>
                    </a:lnTo>
                    <a:close/>
                    <a:moveTo>
                      <a:pt x="43" y="11"/>
                    </a:moveTo>
                    <a:lnTo>
                      <a:pt x="43" y="9"/>
                    </a:lnTo>
                    <a:lnTo>
                      <a:pt x="43" y="11"/>
                    </a:lnTo>
                    <a:close/>
                    <a:moveTo>
                      <a:pt x="45" y="11"/>
                    </a:moveTo>
                    <a:lnTo>
                      <a:pt x="43" y="11"/>
                    </a:lnTo>
                    <a:lnTo>
                      <a:pt x="45" y="11"/>
                    </a:lnTo>
                    <a:close/>
                    <a:moveTo>
                      <a:pt x="45" y="11"/>
                    </a:moveTo>
                    <a:lnTo>
                      <a:pt x="45" y="9"/>
                    </a:lnTo>
                    <a:lnTo>
                      <a:pt x="45" y="11"/>
                    </a:lnTo>
                    <a:close/>
                    <a:moveTo>
                      <a:pt x="39" y="6"/>
                    </a:moveTo>
                    <a:lnTo>
                      <a:pt x="41" y="6"/>
                    </a:lnTo>
                    <a:lnTo>
                      <a:pt x="39" y="6"/>
                    </a:lnTo>
                    <a:close/>
                    <a:moveTo>
                      <a:pt x="35" y="2"/>
                    </a:moveTo>
                    <a:lnTo>
                      <a:pt x="35" y="0"/>
                    </a:lnTo>
                    <a:lnTo>
                      <a:pt x="35" y="2"/>
                    </a:lnTo>
                    <a:close/>
                    <a:moveTo>
                      <a:pt x="37" y="2"/>
                    </a:moveTo>
                    <a:lnTo>
                      <a:pt x="35" y="2"/>
                    </a:lnTo>
                    <a:lnTo>
                      <a:pt x="37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98">
                <a:extLst>
                  <a:ext uri="{FF2B5EF4-FFF2-40B4-BE49-F238E27FC236}">
                    <a16:creationId xmlns="" xmlns:a16="http://schemas.microsoft.com/office/drawing/2014/main" id="{D356DC55-AA98-4335-8B5A-2CF3A3FFE4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6588" y="4357688"/>
                <a:ext cx="238125" cy="452438"/>
              </a:xfrm>
              <a:custGeom>
                <a:avLst/>
                <a:gdLst>
                  <a:gd name="T0" fmla="*/ 85 w 150"/>
                  <a:gd name="T1" fmla="*/ 229 h 285"/>
                  <a:gd name="T2" fmla="*/ 79 w 150"/>
                  <a:gd name="T3" fmla="*/ 240 h 285"/>
                  <a:gd name="T4" fmla="*/ 81 w 150"/>
                  <a:gd name="T5" fmla="*/ 258 h 285"/>
                  <a:gd name="T6" fmla="*/ 69 w 150"/>
                  <a:gd name="T7" fmla="*/ 265 h 285"/>
                  <a:gd name="T8" fmla="*/ 54 w 150"/>
                  <a:gd name="T9" fmla="*/ 265 h 285"/>
                  <a:gd name="T10" fmla="*/ 50 w 150"/>
                  <a:gd name="T11" fmla="*/ 262 h 285"/>
                  <a:gd name="T12" fmla="*/ 40 w 150"/>
                  <a:gd name="T13" fmla="*/ 265 h 285"/>
                  <a:gd name="T14" fmla="*/ 29 w 150"/>
                  <a:gd name="T15" fmla="*/ 267 h 285"/>
                  <a:gd name="T16" fmla="*/ 25 w 150"/>
                  <a:gd name="T17" fmla="*/ 283 h 285"/>
                  <a:gd name="T18" fmla="*/ 14 w 150"/>
                  <a:gd name="T19" fmla="*/ 279 h 285"/>
                  <a:gd name="T20" fmla="*/ 4 w 150"/>
                  <a:gd name="T21" fmla="*/ 271 h 285"/>
                  <a:gd name="T22" fmla="*/ 6 w 150"/>
                  <a:gd name="T23" fmla="*/ 262 h 285"/>
                  <a:gd name="T24" fmla="*/ 8 w 150"/>
                  <a:gd name="T25" fmla="*/ 250 h 285"/>
                  <a:gd name="T26" fmla="*/ 0 w 150"/>
                  <a:gd name="T27" fmla="*/ 246 h 285"/>
                  <a:gd name="T28" fmla="*/ 10 w 150"/>
                  <a:gd name="T29" fmla="*/ 233 h 285"/>
                  <a:gd name="T30" fmla="*/ 21 w 150"/>
                  <a:gd name="T31" fmla="*/ 227 h 285"/>
                  <a:gd name="T32" fmla="*/ 29 w 150"/>
                  <a:gd name="T33" fmla="*/ 219 h 285"/>
                  <a:gd name="T34" fmla="*/ 35 w 150"/>
                  <a:gd name="T35" fmla="*/ 210 h 285"/>
                  <a:gd name="T36" fmla="*/ 48 w 150"/>
                  <a:gd name="T37" fmla="*/ 196 h 285"/>
                  <a:gd name="T38" fmla="*/ 52 w 150"/>
                  <a:gd name="T39" fmla="*/ 187 h 285"/>
                  <a:gd name="T40" fmla="*/ 50 w 150"/>
                  <a:gd name="T41" fmla="*/ 175 h 285"/>
                  <a:gd name="T42" fmla="*/ 48 w 150"/>
                  <a:gd name="T43" fmla="*/ 162 h 285"/>
                  <a:gd name="T44" fmla="*/ 48 w 150"/>
                  <a:gd name="T45" fmla="*/ 148 h 285"/>
                  <a:gd name="T46" fmla="*/ 40 w 150"/>
                  <a:gd name="T47" fmla="*/ 144 h 285"/>
                  <a:gd name="T48" fmla="*/ 44 w 150"/>
                  <a:gd name="T49" fmla="*/ 131 h 285"/>
                  <a:gd name="T50" fmla="*/ 50 w 150"/>
                  <a:gd name="T51" fmla="*/ 119 h 285"/>
                  <a:gd name="T52" fmla="*/ 56 w 150"/>
                  <a:gd name="T53" fmla="*/ 110 h 285"/>
                  <a:gd name="T54" fmla="*/ 52 w 150"/>
                  <a:gd name="T55" fmla="*/ 100 h 285"/>
                  <a:gd name="T56" fmla="*/ 58 w 150"/>
                  <a:gd name="T57" fmla="*/ 87 h 285"/>
                  <a:gd name="T58" fmla="*/ 56 w 150"/>
                  <a:gd name="T59" fmla="*/ 75 h 285"/>
                  <a:gd name="T60" fmla="*/ 46 w 150"/>
                  <a:gd name="T61" fmla="*/ 69 h 285"/>
                  <a:gd name="T62" fmla="*/ 40 w 150"/>
                  <a:gd name="T63" fmla="*/ 77 h 285"/>
                  <a:gd name="T64" fmla="*/ 33 w 150"/>
                  <a:gd name="T65" fmla="*/ 71 h 285"/>
                  <a:gd name="T66" fmla="*/ 40 w 150"/>
                  <a:gd name="T67" fmla="*/ 62 h 285"/>
                  <a:gd name="T68" fmla="*/ 42 w 150"/>
                  <a:gd name="T69" fmla="*/ 48 h 285"/>
                  <a:gd name="T70" fmla="*/ 42 w 150"/>
                  <a:gd name="T71" fmla="*/ 37 h 285"/>
                  <a:gd name="T72" fmla="*/ 40 w 150"/>
                  <a:gd name="T73" fmla="*/ 25 h 285"/>
                  <a:gd name="T74" fmla="*/ 39 w 150"/>
                  <a:gd name="T75" fmla="*/ 15 h 285"/>
                  <a:gd name="T76" fmla="*/ 39 w 150"/>
                  <a:gd name="T77" fmla="*/ 8 h 285"/>
                  <a:gd name="T78" fmla="*/ 48 w 150"/>
                  <a:gd name="T79" fmla="*/ 0 h 285"/>
                  <a:gd name="T80" fmla="*/ 58 w 150"/>
                  <a:gd name="T81" fmla="*/ 10 h 285"/>
                  <a:gd name="T82" fmla="*/ 65 w 150"/>
                  <a:gd name="T83" fmla="*/ 23 h 285"/>
                  <a:gd name="T84" fmla="*/ 73 w 150"/>
                  <a:gd name="T85" fmla="*/ 27 h 285"/>
                  <a:gd name="T86" fmla="*/ 81 w 150"/>
                  <a:gd name="T87" fmla="*/ 27 h 285"/>
                  <a:gd name="T88" fmla="*/ 92 w 150"/>
                  <a:gd name="T89" fmla="*/ 25 h 285"/>
                  <a:gd name="T90" fmla="*/ 100 w 150"/>
                  <a:gd name="T91" fmla="*/ 27 h 285"/>
                  <a:gd name="T92" fmla="*/ 106 w 150"/>
                  <a:gd name="T93" fmla="*/ 37 h 285"/>
                  <a:gd name="T94" fmla="*/ 119 w 150"/>
                  <a:gd name="T95" fmla="*/ 44 h 285"/>
                  <a:gd name="T96" fmla="*/ 127 w 150"/>
                  <a:gd name="T97" fmla="*/ 65 h 285"/>
                  <a:gd name="T98" fmla="*/ 133 w 150"/>
                  <a:gd name="T99" fmla="*/ 83 h 285"/>
                  <a:gd name="T100" fmla="*/ 138 w 150"/>
                  <a:gd name="T101" fmla="*/ 102 h 285"/>
                  <a:gd name="T102" fmla="*/ 135 w 150"/>
                  <a:gd name="T103" fmla="*/ 112 h 285"/>
                  <a:gd name="T104" fmla="*/ 138 w 150"/>
                  <a:gd name="T105" fmla="*/ 121 h 285"/>
                  <a:gd name="T106" fmla="*/ 140 w 150"/>
                  <a:gd name="T107" fmla="*/ 133 h 285"/>
                  <a:gd name="T108" fmla="*/ 148 w 150"/>
                  <a:gd name="T109" fmla="*/ 140 h 285"/>
                  <a:gd name="T110" fmla="*/ 148 w 150"/>
                  <a:gd name="T111" fmla="*/ 150 h 285"/>
                  <a:gd name="T112" fmla="*/ 138 w 150"/>
                  <a:gd name="T113" fmla="*/ 162 h 285"/>
                  <a:gd name="T114" fmla="*/ 135 w 150"/>
                  <a:gd name="T115" fmla="*/ 171 h 285"/>
                  <a:gd name="T116" fmla="*/ 129 w 150"/>
                  <a:gd name="T117" fmla="*/ 185 h 285"/>
                  <a:gd name="T118" fmla="*/ 123 w 150"/>
                  <a:gd name="T119" fmla="*/ 198 h 285"/>
                  <a:gd name="T120" fmla="*/ 110 w 150"/>
                  <a:gd name="T121" fmla="*/ 202 h 285"/>
                  <a:gd name="T122" fmla="*/ 96 w 150"/>
                  <a:gd name="T123" fmla="*/ 225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50" h="285">
                    <a:moveTo>
                      <a:pt x="96" y="227"/>
                    </a:moveTo>
                    <a:lnTo>
                      <a:pt x="94" y="227"/>
                    </a:lnTo>
                    <a:lnTo>
                      <a:pt x="92" y="227"/>
                    </a:lnTo>
                    <a:lnTo>
                      <a:pt x="92" y="225"/>
                    </a:lnTo>
                    <a:lnTo>
                      <a:pt x="90" y="225"/>
                    </a:lnTo>
                    <a:lnTo>
                      <a:pt x="90" y="227"/>
                    </a:lnTo>
                    <a:lnTo>
                      <a:pt x="89" y="227"/>
                    </a:lnTo>
                    <a:lnTo>
                      <a:pt x="87" y="229"/>
                    </a:lnTo>
                    <a:lnTo>
                      <a:pt x="85" y="229"/>
                    </a:lnTo>
                    <a:lnTo>
                      <a:pt x="83" y="229"/>
                    </a:lnTo>
                    <a:lnTo>
                      <a:pt x="85" y="231"/>
                    </a:lnTo>
                    <a:lnTo>
                      <a:pt x="83" y="231"/>
                    </a:lnTo>
                    <a:lnTo>
                      <a:pt x="85" y="233"/>
                    </a:lnTo>
                    <a:lnTo>
                      <a:pt x="85" y="235"/>
                    </a:lnTo>
                    <a:lnTo>
                      <a:pt x="83" y="235"/>
                    </a:lnTo>
                    <a:lnTo>
                      <a:pt x="81" y="237"/>
                    </a:lnTo>
                    <a:lnTo>
                      <a:pt x="81" y="238"/>
                    </a:lnTo>
                    <a:lnTo>
                      <a:pt x="79" y="240"/>
                    </a:lnTo>
                    <a:lnTo>
                      <a:pt x="79" y="242"/>
                    </a:lnTo>
                    <a:lnTo>
                      <a:pt x="81" y="242"/>
                    </a:lnTo>
                    <a:lnTo>
                      <a:pt x="81" y="244"/>
                    </a:lnTo>
                    <a:lnTo>
                      <a:pt x="81" y="248"/>
                    </a:lnTo>
                    <a:lnTo>
                      <a:pt x="81" y="250"/>
                    </a:lnTo>
                    <a:lnTo>
                      <a:pt x="81" y="254"/>
                    </a:lnTo>
                    <a:lnTo>
                      <a:pt x="83" y="256"/>
                    </a:lnTo>
                    <a:lnTo>
                      <a:pt x="81" y="256"/>
                    </a:lnTo>
                    <a:lnTo>
                      <a:pt x="81" y="258"/>
                    </a:lnTo>
                    <a:lnTo>
                      <a:pt x="79" y="256"/>
                    </a:lnTo>
                    <a:lnTo>
                      <a:pt x="77" y="256"/>
                    </a:lnTo>
                    <a:lnTo>
                      <a:pt x="75" y="256"/>
                    </a:lnTo>
                    <a:lnTo>
                      <a:pt x="73" y="258"/>
                    </a:lnTo>
                    <a:lnTo>
                      <a:pt x="73" y="260"/>
                    </a:lnTo>
                    <a:lnTo>
                      <a:pt x="71" y="260"/>
                    </a:lnTo>
                    <a:lnTo>
                      <a:pt x="71" y="262"/>
                    </a:lnTo>
                    <a:lnTo>
                      <a:pt x="69" y="263"/>
                    </a:lnTo>
                    <a:lnTo>
                      <a:pt x="69" y="265"/>
                    </a:lnTo>
                    <a:lnTo>
                      <a:pt x="67" y="267"/>
                    </a:lnTo>
                    <a:lnTo>
                      <a:pt x="65" y="269"/>
                    </a:lnTo>
                    <a:lnTo>
                      <a:pt x="64" y="269"/>
                    </a:lnTo>
                    <a:lnTo>
                      <a:pt x="62" y="271"/>
                    </a:lnTo>
                    <a:lnTo>
                      <a:pt x="62" y="269"/>
                    </a:lnTo>
                    <a:lnTo>
                      <a:pt x="60" y="267"/>
                    </a:lnTo>
                    <a:lnTo>
                      <a:pt x="58" y="265"/>
                    </a:lnTo>
                    <a:lnTo>
                      <a:pt x="56" y="265"/>
                    </a:lnTo>
                    <a:lnTo>
                      <a:pt x="54" y="265"/>
                    </a:lnTo>
                    <a:lnTo>
                      <a:pt x="52" y="265"/>
                    </a:lnTo>
                    <a:lnTo>
                      <a:pt x="52" y="267"/>
                    </a:lnTo>
                    <a:lnTo>
                      <a:pt x="50" y="269"/>
                    </a:lnTo>
                    <a:lnTo>
                      <a:pt x="48" y="267"/>
                    </a:lnTo>
                    <a:lnTo>
                      <a:pt x="50" y="265"/>
                    </a:lnTo>
                    <a:lnTo>
                      <a:pt x="50" y="263"/>
                    </a:lnTo>
                    <a:lnTo>
                      <a:pt x="50" y="262"/>
                    </a:lnTo>
                    <a:lnTo>
                      <a:pt x="50" y="260"/>
                    </a:lnTo>
                    <a:lnTo>
                      <a:pt x="50" y="262"/>
                    </a:lnTo>
                    <a:lnTo>
                      <a:pt x="48" y="262"/>
                    </a:lnTo>
                    <a:lnTo>
                      <a:pt x="48" y="260"/>
                    </a:lnTo>
                    <a:lnTo>
                      <a:pt x="48" y="262"/>
                    </a:lnTo>
                    <a:lnTo>
                      <a:pt x="46" y="262"/>
                    </a:lnTo>
                    <a:lnTo>
                      <a:pt x="44" y="262"/>
                    </a:lnTo>
                    <a:lnTo>
                      <a:pt x="44" y="263"/>
                    </a:lnTo>
                    <a:lnTo>
                      <a:pt x="44" y="265"/>
                    </a:lnTo>
                    <a:lnTo>
                      <a:pt x="42" y="265"/>
                    </a:lnTo>
                    <a:lnTo>
                      <a:pt x="40" y="265"/>
                    </a:lnTo>
                    <a:lnTo>
                      <a:pt x="39" y="267"/>
                    </a:lnTo>
                    <a:lnTo>
                      <a:pt x="39" y="265"/>
                    </a:lnTo>
                    <a:lnTo>
                      <a:pt x="37" y="265"/>
                    </a:lnTo>
                    <a:lnTo>
                      <a:pt x="37" y="267"/>
                    </a:lnTo>
                    <a:lnTo>
                      <a:pt x="35" y="265"/>
                    </a:lnTo>
                    <a:lnTo>
                      <a:pt x="33" y="265"/>
                    </a:lnTo>
                    <a:lnTo>
                      <a:pt x="31" y="265"/>
                    </a:lnTo>
                    <a:lnTo>
                      <a:pt x="31" y="267"/>
                    </a:lnTo>
                    <a:lnTo>
                      <a:pt x="29" y="267"/>
                    </a:lnTo>
                    <a:lnTo>
                      <a:pt x="29" y="269"/>
                    </a:lnTo>
                    <a:lnTo>
                      <a:pt x="29" y="271"/>
                    </a:lnTo>
                    <a:lnTo>
                      <a:pt x="29" y="275"/>
                    </a:lnTo>
                    <a:lnTo>
                      <a:pt x="29" y="277"/>
                    </a:lnTo>
                    <a:lnTo>
                      <a:pt x="29" y="279"/>
                    </a:lnTo>
                    <a:lnTo>
                      <a:pt x="27" y="279"/>
                    </a:lnTo>
                    <a:lnTo>
                      <a:pt x="27" y="281"/>
                    </a:lnTo>
                    <a:lnTo>
                      <a:pt x="25" y="281"/>
                    </a:lnTo>
                    <a:lnTo>
                      <a:pt x="25" y="283"/>
                    </a:lnTo>
                    <a:lnTo>
                      <a:pt x="23" y="283"/>
                    </a:lnTo>
                    <a:lnTo>
                      <a:pt x="21" y="285"/>
                    </a:lnTo>
                    <a:lnTo>
                      <a:pt x="21" y="283"/>
                    </a:lnTo>
                    <a:lnTo>
                      <a:pt x="19" y="285"/>
                    </a:lnTo>
                    <a:lnTo>
                      <a:pt x="17" y="283"/>
                    </a:lnTo>
                    <a:lnTo>
                      <a:pt x="16" y="283"/>
                    </a:lnTo>
                    <a:lnTo>
                      <a:pt x="16" y="281"/>
                    </a:lnTo>
                    <a:lnTo>
                      <a:pt x="14" y="281"/>
                    </a:lnTo>
                    <a:lnTo>
                      <a:pt x="14" y="279"/>
                    </a:lnTo>
                    <a:lnTo>
                      <a:pt x="12" y="279"/>
                    </a:lnTo>
                    <a:lnTo>
                      <a:pt x="10" y="279"/>
                    </a:lnTo>
                    <a:lnTo>
                      <a:pt x="10" y="277"/>
                    </a:lnTo>
                    <a:lnTo>
                      <a:pt x="8" y="277"/>
                    </a:lnTo>
                    <a:lnTo>
                      <a:pt x="10" y="275"/>
                    </a:lnTo>
                    <a:lnTo>
                      <a:pt x="10" y="273"/>
                    </a:lnTo>
                    <a:lnTo>
                      <a:pt x="8" y="273"/>
                    </a:lnTo>
                    <a:lnTo>
                      <a:pt x="6" y="271"/>
                    </a:lnTo>
                    <a:lnTo>
                      <a:pt x="4" y="271"/>
                    </a:lnTo>
                    <a:lnTo>
                      <a:pt x="2" y="271"/>
                    </a:lnTo>
                    <a:lnTo>
                      <a:pt x="2" y="269"/>
                    </a:lnTo>
                    <a:lnTo>
                      <a:pt x="0" y="267"/>
                    </a:lnTo>
                    <a:lnTo>
                      <a:pt x="0" y="265"/>
                    </a:lnTo>
                    <a:lnTo>
                      <a:pt x="2" y="265"/>
                    </a:lnTo>
                    <a:lnTo>
                      <a:pt x="2" y="263"/>
                    </a:lnTo>
                    <a:lnTo>
                      <a:pt x="4" y="263"/>
                    </a:lnTo>
                    <a:lnTo>
                      <a:pt x="6" y="263"/>
                    </a:lnTo>
                    <a:lnTo>
                      <a:pt x="6" y="262"/>
                    </a:lnTo>
                    <a:lnTo>
                      <a:pt x="6" y="260"/>
                    </a:lnTo>
                    <a:lnTo>
                      <a:pt x="6" y="258"/>
                    </a:lnTo>
                    <a:lnTo>
                      <a:pt x="8" y="258"/>
                    </a:lnTo>
                    <a:lnTo>
                      <a:pt x="8" y="256"/>
                    </a:lnTo>
                    <a:lnTo>
                      <a:pt x="10" y="256"/>
                    </a:lnTo>
                    <a:lnTo>
                      <a:pt x="10" y="254"/>
                    </a:lnTo>
                    <a:lnTo>
                      <a:pt x="10" y="252"/>
                    </a:lnTo>
                    <a:lnTo>
                      <a:pt x="10" y="250"/>
                    </a:lnTo>
                    <a:lnTo>
                      <a:pt x="8" y="250"/>
                    </a:lnTo>
                    <a:lnTo>
                      <a:pt x="6" y="250"/>
                    </a:lnTo>
                    <a:lnTo>
                      <a:pt x="6" y="252"/>
                    </a:lnTo>
                    <a:lnTo>
                      <a:pt x="4" y="250"/>
                    </a:lnTo>
                    <a:lnTo>
                      <a:pt x="4" y="248"/>
                    </a:lnTo>
                    <a:lnTo>
                      <a:pt x="2" y="248"/>
                    </a:lnTo>
                    <a:lnTo>
                      <a:pt x="2" y="250"/>
                    </a:lnTo>
                    <a:lnTo>
                      <a:pt x="0" y="250"/>
                    </a:lnTo>
                    <a:lnTo>
                      <a:pt x="0" y="248"/>
                    </a:lnTo>
                    <a:lnTo>
                      <a:pt x="0" y="246"/>
                    </a:lnTo>
                    <a:lnTo>
                      <a:pt x="2" y="246"/>
                    </a:lnTo>
                    <a:lnTo>
                      <a:pt x="4" y="244"/>
                    </a:lnTo>
                    <a:lnTo>
                      <a:pt x="4" y="242"/>
                    </a:lnTo>
                    <a:lnTo>
                      <a:pt x="6" y="240"/>
                    </a:lnTo>
                    <a:lnTo>
                      <a:pt x="6" y="238"/>
                    </a:lnTo>
                    <a:lnTo>
                      <a:pt x="6" y="237"/>
                    </a:lnTo>
                    <a:lnTo>
                      <a:pt x="8" y="235"/>
                    </a:lnTo>
                    <a:lnTo>
                      <a:pt x="10" y="235"/>
                    </a:lnTo>
                    <a:lnTo>
                      <a:pt x="10" y="233"/>
                    </a:lnTo>
                    <a:lnTo>
                      <a:pt x="10" y="231"/>
                    </a:lnTo>
                    <a:lnTo>
                      <a:pt x="12" y="231"/>
                    </a:lnTo>
                    <a:lnTo>
                      <a:pt x="14" y="229"/>
                    </a:lnTo>
                    <a:lnTo>
                      <a:pt x="14" y="231"/>
                    </a:lnTo>
                    <a:lnTo>
                      <a:pt x="16" y="231"/>
                    </a:lnTo>
                    <a:lnTo>
                      <a:pt x="16" y="229"/>
                    </a:lnTo>
                    <a:lnTo>
                      <a:pt x="17" y="229"/>
                    </a:lnTo>
                    <a:lnTo>
                      <a:pt x="17" y="227"/>
                    </a:lnTo>
                    <a:lnTo>
                      <a:pt x="21" y="227"/>
                    </a:lnTo>
                    <a:lnTo>
                      <a:pt x="21" y="225"/>
                    </a:lnTo>
                    <a:lnTo>
                      <a:pt x="21" y="223"/>
                    </a:lnTo>
                    <a:lnTo>
                      <a:pt x="23" y="225"/>
                    </a:lnTo>
                    <a:lnTo>
                      <a:pt x="23" y="223"/>
                    </a:lnTo>
                    <a:lnTo>
                      <a:pt x="25" y="223"/>
                    </a:lnTo>
                    <a:lnTo>
                      <a:pt x="27" y="223"/>
                    </a:lnTo>
                    <a:lnTo>
                      <a:pt x="27" y="221"/>
                    </a:lnTo>
                    <a:lnTo>
                      <a:pt x="29" y="221"/>
                    </a:lnTo>
                    <a:lnTo>
                      <a:pt x="29" y="219"/>
                    </a:lnTo>
                    <a:lnTo>
                      <a:pt x="31" y="219"/>
                    </a:lnTo>
                    <a:lnTo>
                      <a:pt x="33" y="219"/>
                    </a:lnTo>
                    <a:lnTo>
                      <a:pt x="33" y="217"/>
                    </a:lnTo>
                    <a:lnTo>
                      <a:pt x="33" y="215"/>
                    </a:lnTo>
                    <a:lnTo>
                      <a:pt x="35" y="215"/>
                    </a:lnTo>
                    <a:lnTo>
                      <a:pt x="35" y="213"/>
                    </a:lnTo>
                    <a:lnTo>
                      <a:pt x="33" y="213"/>
                    </a:lnTo>
                    <a:lnTo>
                      <a:pt x="33" y="212"/>
                    </a:lnTo>
                    <a:lnTo>
                      <a:pt x="35" y="210"/>
                    </a:lnTo>
                    <a:lnTo>
                      <a:pt x="37" y="208"/>
                    </a:lnTo>
                    <a:lnTo>
                      <a:pt x="40" y="206"/>
                    </a:lnTo>
                    <a:lnTo>
                      <a:pt x="40" y="204"/>
                    </a:lnTo>
                    <a:lnTo>
                      <a:pt x="42" y="204"/>
                    </a:lnTo>
                    <a:lnTo>
                      <a:pt x="42" y="202"/>
                    </a:lnTo>
                    <a:lnTo>
                      <a:pt x="44" y="202"/>
                    </a:lnTo>
                    <a:lnTo>
                      <a:pt x="44" y="200"/>
                    </a:lnTo>
                    <a:lnTo>
                      <a:pt x="46" y="198"/>
                    </a:lnTo>
                    <a:lnTo>
                      <a:pt x="48" y="196"/>
                    </a:lnTo>
                    <a:lnTo>
                      <a:pt x="50" y="196"/>
                    </a:lnTo>
                    <a:lnTo>
                      <a:pt x="50" y="194"/>
                    </a:lnTo>
                    <a:lnTo>
                      <a:pt x="48" y="194"/>
                    </a:lnTo>
                    <a:lnTo>
                      <a:pt x="48" y="192"/>
                    </a:lnTo>
                    <a:lnTo>
                      <a:pt x="48" y="190"/>
                    </a:lnTo>
                    <a:lnTo>
                      <a:pt x="48" y="188"/>
                    </a:lnTo>
                    <a:lnTo>
                      <a:pt x="50" y="188"/>
                    </a:lnTo>
                    <a:lnTo>
                      <a:pt x="50" y="187"/>
                    </a:lnTo>
                    <a:lnTo>
                      <a:pt x="52" y="187"/>
                    </a:lnTo>
                    <a:lnTo>
                      <a:pt x="52" y="185"/>
                    </a:lnTo>
                    <a:lnTo>
                      <a:pt x="52" y="183"/>
                    </a:lnTo>
                    <a:lnTo>
                      <a:pt x="54" y="183"/>
                    </a:lnTo>
                    <a:lnTo>
                      <a:pt x="54" y="181"/>
                    </a:lnTo>
                    <a:lnTo>
                      <a:pt x="54" y="179"/>
                    </a:lnTo>
                    <a:lnTo>
                      <a:pt x="54" y="177"/>
                    </a:lnTo>
                    <a:lnTo>
                      <a:pt x="52" y="177"/>
                    </a:lnTo>
                    <a:lnTo>
                      <a:pt x="50" y="177"/>
                    </a:lnTo>
                    <a:lnTo>
                      <a:pt x="50" y="175"/>
                    </a:lnTo>
                    <a:lnTo>
                      <a:pt x="50" y="173"/>
                    </a:lnTo>
                    <a:lnTo>
                      <a:pt x="48" y="171"/>
                    </a:lnTo>
                    <a:lnTo>
                      <a:pt x="46" y="171"/>
                    </a:lnTo>
                    <a:lnTo>
                      <a:pt x="44" y="171"/>
                    </a:lnTo>
                    <a:lnTo>
                      <a:pt x="44" y="169"/>
                    </a:lnTo>
                    <a:lnTo>
                      <a:pt x="44" y="167"/>
                    </a:lnTo>
                    <a:lnTo>
                      <a:pt x="44" y="165"/>
                    </a:lnTo>
                    <a:lnTo>
                      <a:pt x="46" y="163"/>
                    </a:lnTo>
                    <a:lnTo>
                      <a:pt x="48" y="162"/>
                    </a:lnTo>
                    <a:lnTo>
                      <a:pt x="48" y="160"/>
                    </a:lnTo>
                    <a:lnTo>
                      <a:pt x="50" y="160"/>
                    </a:lnTo>
                    <a:lnTo>
                      <a:pt x="50" y="158"/>
                    </a:lnTo>
                    <a:lnTo>
                      <a:pt x="48" y="156"/>
                    </a:lnTo>
                    <a:lnTo>
                      <a:pt x="48" y="154"/>
                    </a:lnTo>
                    <a:lnTo>
                      <a:pt x="48" y="152"/>
                    </a:lnTo>
                    <a:lnTo>
                      <a:pt x="50" y="152"/>
                    </a:lnTo>
                    <a:lnTo>
                      <a:pt x="50" y="150"/>
                    </a:lnTo>
                    <a:lnTo>
                      <a:pt x="48" y="148"/>
                    </a:lnTo>
                    <a:lnTo>
                      <a:pt x="48" y="146"/>
                    </a:lnTo>
                    <a:lnTo>
                      <a:pt x="46" y="146"/>
                    </a:lnTo>
                    <a:lnTo>
                      <a:pt x="46" y="144"/>
                    </a:lnTo>
                    <a:lnTo>
                      <a:pt x="46" y="142"/>
                    </a:lnTo>
                    <a:lnTo>
                      <a:pt x="44" y="140"/>
                    </a:lnTo>
                    <a:lnTo>
                      <a:pt x="42" y="140"/>
                    </a:lnTo>
                    <a:lnTo>
                      <a:pt x="42" y="142"/>
                    </a:lnTo>
                    <a:lnTo>
                      <a:pt x="42" y="144"/>
                    </a:lnTo>
                    <a:lnTo>
                      <a:pt x="40" y="144"/>
                    </a:lnTo>
                    <a:lnTo>
                      <a:pt x="40" y="142"/>
                    </a:lnTo>
                    <a:lnTo>
                      <a:pt x="40" y="140"/>
                    </a:lnTo>
                    <a:lnTo>
                      <a:pt x="42" y="140"/>
                    </a:lnTo>
                    <a:lnTo>
                      <a:pt x="40" y="138"/>
                    </a:lnTo>
                    <a:lnTo>
                      <a:pt x="42" y="138"/>
                    </a:lnTo>
                    <a:lnTo>
                      <a:pt x="42" y="137"/>
                    </a:lnTo>
                    <a:lnTo>
                      <a:pt x="42" y="135"/>
                    </a:lnTo>
                    <a:lnTo>
                      <a:pt x="44" y="135"/>
                    </a:lnTo>
                    <a:lnTo>
                      <a:pt x="44" y="131"/>
                    </a:lnTo>
                    <a:lnTo>
                      <a:pt x="44" y="129"/>
                    </a:lnTo>
                    <a:lnTo>
                      <a:pt x="44" y="127"/>
                    </a:lnTo>
                    <a:lnTo>
                      <a:pt x="46" y="127"/>
                    </a:lnTo>
                    <a:lnTo>
                      <a:pt x="46" y="125"/>
                    </a:lnTo>
                    <a:lnTo>
                      <a:pt x="48" y="123"/>
                    </a:lnTo>
                    <a:lnTo>
                      <a:pt x="50" y="123"/>
                    </a:lnTo>
                    <a:lnTo>
                      <a:pt x="48" y="121"/>
                    </a:lnTo>
                    <a:lnTo>
                      <a:pt x="50" y="121"/>
                    </a:lnTo>
                    <a:lnTo>
                      <a:pt x="50" y="119"/>
                    </a:lnTo>
                    <a:lnTo>
                      <a:pt x="50" y="117"/>
                    </a:lnTo>
                    <a:lnTo>
                      <a:pt x="52" y="115"/>
                    </a:lnTo>
                    <a:lnTo>
                      <a:pt x="52" y="113"/>
                    </a:lnTo>
                    <a:lnTo>
                      <a:pt x="54" y="113"/>
                    </a:lnTo>
                    <a:lnTo>
                      <a:pt x="56" y="113"/>
                    </a:lnTo>
                    <a:lnTo>
                      <a:pt x="58" y="113"/>
                    </a:lnTo>
                    <a:lnTo>
                      <a:pt x="58" y="112"/>
                    </a:lnTo>
                    <a:lnTo>
                      <a:pt x="58" y="110"/>
                    </a:lnTo>
                    <a:lnTo>
                      <a:pt x="56" y="110"/>
                    </a:lnTo>
                    <a:lnTo>
                      <a:pt x="56" y="108"/>
                    </a:lnTo>
                    <a:lnTo>
                      <a:pt x="58" y="106"/>
                    </a:lnTo>
                    <a:lnTo>
                      <a:pt x="58" y="104"/>
                    </a:lnTo>
                    <a:lnTo>
                      <a:pt x="58" y="102"/>
                    </a:lnTo>
                    <a:lnTo>
                      <a:pt x="56" y="102"/>
                    </a:lnTo>
                    <a:lnTo>
                      <a:pt x="54" y="102"/>
                    </a:lnTo>
                    <a:lnTo>
                      <a:pt x="52" y="104"/>
                    </a:lnTo>
                    <a:lnTo>
                      <a:pt x="52" y="102"/>
                    </a:lnTo>
                    <a:lnTo>
                      <a:pt x="52" y="100"/>
                    </a:lnTo>
                    <a:lnTo>
                      <a:pt x="52" y="98"/>
                    </a:lnTo>
                    <a:lnTo>
                      <a:pt x="52" y="96"/>
                    </a:lnTo>
                    <a:lnTo>
                      <a:pt x="52" y="94"/>
                    </a:lnTo>
                    <a:lnTo>
                      <a:pt x="52" y="92"/>
                    </a:lnTo>
                    <a:lnTo>
                      <a:pt x="54" y="92"/>
                    </a:lnTo>
                    <a:lnTo>
                      <a:pt x="56" y="90"/>
                    </a:lnTo>
                    <a:lnTo>
                      <a:pt x="58" y="90"/>
                    </a:lnTo>
                    <a:lnTo>
                      <a:pt x="58" y="88"/>
                    </a:lnTo>
                    <a:lnTo>
                      <a:pt x="58" y="87"/>
                    </a:lnTo>
                    <a:lnTo>
                      <a:pt x="58" y="85"/>
                    </a:lnTo>
                    <a:lnTo>
                      <a:pt x="60" y="85"/>
                    </a:lnTo>
                    <a:lnTo>
                      <a:pt x="60" y="83"/>
                    </a:lnTo>
                    <a:lnTo>
                      <a:pt x="60" y="81"/>
                    </a:lnTo>
                    <a:lnTo>
                      <a:pt x="60" y="79"/>
                    </a:lnTo>
                    <a:lnTo>
                      <a:pt x="58" y="79"/>
                    </a:lnTo>
                    <a:lnTo>
                      <a:pt x="58" y="77"/>
                    </a:lnTo>
                    <a:lnTo>
                      <a:pt x="58" y="75"/>
                    </a:lnTo>
                    <a:lnTo>
                      <a:pt x="56" y="75"/>
                    </a:lnTo>
                    <a:lnTo>
                      <a:pt x="54" y="77"/>
                    </a:lnTo>
                    <a:lnTo>
                      <a:pt x="52" y="79"/>
                    </a:lnTo>
                    <a:lnTo>
                      <a:pt x="52" y="77"/>
                    </a:lnTo>
                    <a:lnTo>
                      <a:pt x="50" y="77"/>
                    </a:lnTo>
                    <a:lnTo>
                      <a:pt x="50" y="75"/>
                    </a:lnTo>
                    <a:lnTo>
                      <a:pt x="50" y="73"/>
                    </a:lnTo>
                    <a:lnTo>
                      <a:pt x="48" y="71"/>
                    </a:lnTo>
                    <a:lnTo>
                      <a:pt x="48" y="69"/>
                    </a:lnTo>
                    <a:lnTo>
                      <a:pt x="46" y="69"/>
                    </a:lnTo>
                    <a:lnTo>
                      <a:pt x="46" y="71"/>
                    </a:lnTo>
                    <a:lnTo>
                      <a:pt x="46" y="73"/>
                    </a:lnTo>
                    <a:lnTo>
                      <a:pt x="46" y="71"/>
                    </a:lnTo>
                    <a:lnTo>
                      <a:pt x="44" y="71"/>
                    </a:lnTo>
                    <a:lnTo>
                      <a:pt x="44" y="73"/>
                    </a:lnTo>
                    <a:lnTo>
                      <a:pt x="42" y="73"/>
                    </a:lnTo>
                    <a:lnTo>
                      <a:pt x="42" y="75"/>
                    </a:lnTo>
                    <a:lnTo>
                      <a:pt x="40" y="75"/>
                    </a:lnTo>
                    <a:lnTo>
                      <a:pt x="40" y="77"/>
                    </a:lnTo>
                    <a:lnTo>
                      <a:pt x="40" y="79"/>
                    </a:lnTo>
                    <a:lnTo>
                      <a:pt x="39" y="79"/>
                    </a:lnTo>
                    <a:lnTo>
                      <a:pt x="39" y="77"/>
                    </a:lnTo>
                    <a:lnTo>
                      <a:pt x="37" y="75"/>
                    </a:lnTo>
                    <a:lnTo>
                      <a:pt x="35" y="73"/>
                    </a:lnTo>
                    <a:lnTo>
                      <a:pt x="33" y="73"/>
                    </a:lnTo>
                    <a:lnTo>
                      <a:pt x="31" y="73"/>
                    </a:lnTo>
                    <a:lnTo>
                      <a:pt x="31" y="71"/>
                    </a:lnTo>
                    <a:lnTo>
                      <a:pt x="33" y="71"/>
                    </a:lnTo>
                    <a:lnTo>
                      <a:pt x="35" y="71"/>
                    </a:lnTo>
                    <a:lnTo>
                      <a:pt x="35" y="69"/>
                    </a:lnTo>
                    <a:lnTo>
                      <a:pt x="37" y="69"/>
                    </a:lnTo>
                    <a:lnTo>
                      <a:pt x="37" y="67"/>
                    </a:lnTo>
                    <a:lnTo>
                      <a:pt x="37" y="65"/>
                    </a:lnTo>
                    <a:lnTo>
                      <a:pt x="39" y="65"/>
                    </a:lnTo>
                    <a:lnTo>
                      <a:pt x="39" y="63"/>
                    </a:lnTo>
                    <a:lnTo>
                      <a:pt x="39" y="62"/>
                    </a:lnTo>
                    <a:lnTo>
                      <a:pt x="40" y="62"/>
                    </a:lnTo>
                    <a:lnTo>
                      <a:pt x="39" y="60"/>
                    </a:lnTo>
                    <a:lnTo>
                      <a:pt x="39" y="58"/>
                    </a:lnTo>
                    <a:lnTo>
                      <a:pt x="39" y="56"/>
                    </a:lnTo>
                    <a:lnTo>
                      <a:pt x="40" y="56"/>
                    </a:lnTo>
                    <a:lnTo>
                      <a:pt x="40" y="54"/>
                    </a:lnTo>
                    <a:lnTo>
                      <a:pt x="40" y="52"/>
                    </a:lnTo>
                    <a:lnTo>
                      <a:pt x="40" y="50"/>
                    </a:lnTo>
                    <a:lnTo>
                      <a:pt x="42" y="50"/>
                    </a:lnTo>
                    <a:lnTo>
                      <a:pt x="42" y="48"/>
                    </a:lnTo>
                    <a:lnTo>
                      <a:pt x="42" y="46"/>
                    </a:lnTo>
                    <a:lnTo>
                      <a:pt x="44" y="46"/>
                    </a:lnTo>
                    <a:lnTo>
                      <a:pt x="46" y="44"/>
                    </a:lnTo>
                    <a:lnTo>
                      <a:pt x="46" y="42"/>
                    </a:lnTo>
                    <a:lnTo>
                      <a:pt x="46" y="40"/>
                    </a:lnTo>
                    <a:lnTo>
                      <a:pt x="46" y="38"/>
                    </a:lnTo>
                    <a:lnTo>
                      <a:pt x="46" y="37"/>
                    </a:lnTo>
                    <a:lnTo>
                      <a:pt x="44" y="38"/>
                    </a:lnTo>
                    <a:lnTo>
                      <a:pt x="42" y="37"/>
                    </a:lnTo>
                    <a:lnTo>
                      <a:pt x="44" y="37"/>
                    </a:lnTo>
                    <a:lnTo>
                      <a:pt x="44" y="35"/>
                    </a:lnTo>
                    <a:lnTo>
                      <a:pt x="44" y="33"/>
                    </a:lnTo>
                    <a:lnTo>
                      <a:pt x="42" y="33"/>
                    </a:lnTo>
                    <a:lnTo>
                      <a:pt x="42" y="31"/>
                    </a:lnTo>
                    <a:lnTo>
                      <a:pt x="42" y="29"/>
                    </a:lnTo>
                    <a:lnTo>
                      <a:pt x="40" y="29"/>
                    </a:lnTo>
                    <a:lnTo>
                      <a:pt x="40" y="27"/>
                    </a:lnTo>
                    <a:lnTo>
                      <a:pt x="40" y="25"/>
                    </a:lnTo>
                    <a:lnTo>
                      <a:pt x="40" y="23"/>
                    </a:lnTo>
                    <a:lnTo>
                      <a:pt x="40" y="21"/>
                    </a:lnTo>
                    <a:lnTo>
                      <a:pt x="40" y="19"/>
                    </a:lnTo>
                    <a:lnTo>
                      <a:pt x="39" y="19"/>
                    </a:lnTo>
                    <a:lnTo>
                      <a:pt x="40" y="19"/>
                    </a:lnTo>
                    <a:lnTo>
                      <a:pt x="40" y="17"/>
                    </a:lnTo>
                    <a:lnTo>
                      <a:pt x="39" y="15"/>
                    </a:lnTo>
                    <a:lnTo>
                      <a:pt x="40" y="15"/>
                    </a:lnTo>
                    <a:lnTo>
                      <a:pt x="39" y="15"/>
                    </a:lnTo>
                    <a:lnTo>
                      <a:pt x="39" y="13"/>
                    </a:lnTo>
                    <a:lnTo>
                      <a:pt x="39" y="12"/>
                    </a:lnTo>
                    <a:lnTo>
                      <a:pt x="37" y="12"/>
                    </a:lnTo>
                    <a:lnTo>
                      <a:pt x="39" y="12"/>
                    </a:lnTo>
                    <a:lnTo>
                      <a:pt x="37" y="12"/>
                    </a:lnTo>
                    <a:lnTo>
                      <a:pt x="39" y="12"/>
                    </a:lnTo>
                    <a:lnTo>
                      <a:pt x="37" y="10"/>
                    </a:lnTo>
                    <a:lnTo>
                      <a:pt x="39" y="10"/>
                    </a:lnTo>
                    <a:lnTo>
                      <a:pt x="39" y="8"/>
                    </a:lnTo>
                    <a:lnTo>
                      <a:pt x="40" y="8"/>
                    </a:lnTo>
                    <a:lnTo>
                      <a:pt x="40" y="6"/>
                    </a:lnTo>
                    <a:lnTo>
                      <a:pt x="40" y="4"/>
                    </a:lnTo>
                    <a:lnTo>
                      <a:pt x="42" y="4"/>
                    </a:lnTo>
                    <a:lnTo>
                      <a:pt x="42" y="2"/>
                    </a:lnTo>
                    <a:lnTo>
                      <a:pt x="44" y="2"/>
                    </a:lnTo>
                    <a:lnTo>
                      <a:pt x="44" y="0"/>
                    </a:lnTo>
                    <a:lnTo>
                      <a:pt x="46" y="0"/>
                    </a:lnTo>
                    <a:lnTo>
                      <a:pt x="48" y="0"/>
                    </a:lnTo>
                    <a:lnTo>
                      <a:pt x="48" y="2"/>
                    </a:lnTo>
                    <a:lnTo>
                      <a:pt x="48" y="4"/>
                    </a:lnTo>
                    <a:lnTo>
                      <a:pt x="50" y="4"/>
                    </a:lnTo>
                    <a:lnTo>
                      <a:pt x="52" y="4"/>
                    </a:lnTo>
                    <a:lnTo>
                      <a:pt x="52" y="6"/>
                    </a:lnTo>
                    <a:lnTo>
                      <a:pt x="54" y="8"/>
                    </a:lnTo>
                    <a:lnTo>
                      <a:pt x="56" y="8"/>
                    </a:lnTo>
                    <a:lnTo>
                      <a:pt x="58" y="8"/>
                    </a:lnTo>
                    <a:lnTo>
                      <a:pt x="58" y="10"/>
                    </a:lnTo>
                    <a:lnTo>
                      <a:pt x="56" y="15"/>
                    </a:lnTo>
                    <a:lnTo>
                      <a:pt x="58" y="17"/>
                    </a:lnTo>
                    <a:lnTo>
                      <a:pt x="60" y="19"/>
                    </a:lnTo>
                    <a:lnTo>
                      <a:pt x="58" y="21"/>
                    </a:lnTo>
                    <a:lnTo>
                      <a:pt x="58" y="23"/>
                    </a:lnTo>
                    <a:lnTo>
                      <a:pt x="60" y="23"/>
                    </a:lnTo>
                    <a:lnTo>
                      <a:pt x="62" y="23"/>
                    </a:lnTo>
                    <a:lnTo>
                      <a:pt x="64" y="23"/>
                    </a:lnTo>
                    <a:lnTo>
                      <a:pt x="65" y="23"/>
                    </a:lnTo>
                    <a:lnTo>
                      <a:pt x="65" y="25"/>
                    </a:lnTo>
                    <a:lnTo>
                      <a:pt x="65" y="27"/>
                    </a:lnTo>
                    <a:lnTo>
                      <a:pt x="65" y="29"/>
                    </a:lnTo>
                    <a:lnTo>
                      <a:pt x="67" y="29"/>
                    </a:lnTo>
                    <a:lnTo>
                      <a:pt x="67" y="31"/>
                    </a:lnTo>
                    <a:lnTo>
                      <a:pt x="69" y="31"/>
                    </a:lnTo>
                    <a:lnTo>
                      <a:pt x="69" y="29"/>
                    </a:lnTo>
                    <a:lnTo>
                      <a:pt x="69" y="27"/>
                    </a:lnTo>
                    <a:lnTo>
                      <a:pt x="73" y="27"/>
                    </a:lnTo>
                    <a:lnTo>
                      <a:pt x="75" y="27"/>
                    </a:lnTo>
                    <a:lnTo>
                      <a:pt x="77" y="27"/>
                    </a:lnTo>
                    <a:lnTo>
                      <a:pt x="77" y="29"/>
                    </a:lnTo>
                    <a:lnTo>
                      <a:pt x="79" y="33"/>
                    </a:lnTo>
                    <a:lnTo>
                      <a:pt x="81" y="33"/>
                    </a:lnTo>
                    <a:lnTo>
                      <a:pt x="81" y="31"/>
                    </a:lnTo>
                    <a:lnTo>
                      <a:pt x="79" y="29"/>
                    </a:lnTo>
                    <a:lnTo>
                      <a:pt x="81" y="29"/>
                    </a:lnTo>
                    <a:lnTo>
                      <a:pt x="81" y="27"/>
                    </a:lnTo>
                    <a:lnTo>
                      <a:pt x="83" y="27"/>
                    </a:lnTo>
                    <a:lnTo>
                      <a:pt x="85" y="27"/>
                    </a:lnTo>
                    <a:lnTo>
                      <a:pt x="85" y="25"/>
                    </a:lnTo>
                    <a:lnTo>
                      <a:pt x="87" y="25"/>
                    </a:lnTo>
                    <a:lnTo>
                      <a:pt x="89" y="25"/>
                    </a:lnTo>
                    <a:lnTo>
                      <a:pt x="90" y="25"/>
                    </a:lnTo>
                    <a:lnTo>
                      <a:pt x="90" y="23"/>
                    </a:lnTo>
                    <a:lnTo>
                      <a:pt x="90" y="25"/>
                    </a:lnTo>
                    <a:lnTo>
                      <a:pt x="92" y="25"/>
                    </a:lnTo>
                    <a:lnTo>
                      <a:pt x="94" y="25"/>
                    </a:lnTo>
                    <a:lnTo>
                      <a:pt x="94" y="27"/>
                    </a:lnTo>
                    <a:lnTo>
                      <a:pt x="96" y="27"/>
                    </a:lnTo>
                    <a:lnTo>
                      <a:pt x="98" y="27"/>
                    </a:lnTo>
                    <a:lnTo>
                      <a:pt x="98" y="29"/>
                    </a:lnTo>
                    <a:lnTo>
                      <a:pt x="98" y="27"/>
                    </a:lnTo>
                    <a:lnTo>
                      <a:pt x="100" y="27"/>
                    </a:lnTo>
                    <a:lnTo>
                      <a:pt x="100" y="29"/>
                    </a:lnTo>
                    <a:lnTo>
                      <a:pt x="100" y="27"/>
                    </a:lnTo>
                    <a:lnTo>
                      <a:pt x="100" y="29"/>
                    </a:lnTo>
                    <a:lnTo>
                      <a:pt x="102" y="27"/>
                    </a:lnTo>
                    <a:lnTo>
                      <a:pt x="102" y="29"/>
                    </a:lnTo>
                    <a:lnTo>
                      <a:pt x="104" y="29"/>
                    </a:lnTo>
                    <a:lnTo>
                      <a:pt x="106" y="29"/>
                    </a:lnTo>
                    <a:lnTo>
                      <a:pt x="106" y="31"/>
                    </a:lnTo>
                    <a:lnTo>
                      <a:pt x="108" y="33"/>
                    </a:lnTo>
                    <a:lnTo>
                      <a:pt x="106" y="33"/>
                    </a:lnTo>
                    <a:lnTo>
                      <a:pt x="106" y="37"/>
                    </a:lnTo>
                    <a:lnTo>
                      <a:pt x="106" y="38"/>
                    </a:lnTo>
                    <a:lnTo>
                      <a:pt x="106" y="40"/>
                    </a:lnTo>
                    <a:lnTo>
                      <a:pt x="110" y="40"/>
                    </a:lnTo>
                    <a:lnTo>
                      <a:pt x="112" y="38"/>
                    </a:lnTo>
                    <a:lnTo>
                      <a:pt x="113" y="38"/>
                    </a:lnTo>
                    <a:lnTo>
                      <a:pt x="113" y="42"/>
                    </a:lnTo>
                    <a:lnTo>
                      <a:pt x="115" y="42"/>
                    </a:lnTo>
                    <a:lnTo>
                      <a:pt x="117" y="44"/>
                    </a:lnTo>
                    <a:lnTo>
                      <a:pt x="119" y="44"/>
                    </a:lnTo>
                    <a:lnTo>
                      <a:pt x="119" y="48"/>
                    </a:lnTo>
                    <a:lnTo>
                      <a:pt x="119" y="52"/>
                    </a:lnTo>
                    <a:lnTo>
                      <a:pt x="119" y="54"/>
                    </a:lnTo>
                    <a:lnTo>
                      <a:pt x="119" y="56"/>
                    </a:lnTo>
                    <a:lnTo>
                      <a:pt x="119" y="58"/>
                    </a:lnTo>
                    <a:lnTo>
                      <a:pt x="121" y="60"/>
                    </a:lnTo>
                    <a:lnTo>
                      <a:pt x="123" y="62"/>
                    </a:lnTo>
                    <a:lnTo>
                      <a:pt x="125" y="63"/>
                    </a:lnTo>
                    <a:lnTo>
                      <a:pt x="127" y="65"/>
                    </a:lnTo>
                    <a:lnTo>
                      <a:pt x="129" y="67"/>
                    </a:lnTo>
                    <a:lnTo>
                      <a:pt x="129" y="69"/>
                    </a:lnTo>
                    <a:lnTo>
                      <a:pt x="129" y="71"/>
                    </a:lnTo>
                    <a:lnTo>
                      <a:pt x="129" y="73"/>
                    </a:lnTo>
                    <a:lnTo>
                      <a:pt x="129" y="77"/>
                    </a:lnTo>
                    <a:lnTo>
                      <a:pt x="131" y="77"/>
                    </a:lnTo>
                    <a:lnTo>
                      <a:pt x="131" y="79"/>
                    </a:lnTo>
                    <a:lnTo>
                      <a:pt x="133" y="81"/>
                    </a:lnTo>
                    <a:lnTo>
                      <a:pt x="133" y="83"/>
                    </a:lnTo>
                    <a:lnTo>
                      <a:pt x="135" y="85"/>
                    </a:lnTo>
                    <a:lnTo>
                      <a:pt x="135" y="87"/>
                    </a:lnTo>
                    <a:lnTo>
                      <a:pt x="135" y="88"/>
                    </a:lnTo>
                    <a:lnTo>
                      <a:pt x="137" y="92"/>
                    </a:lnTo>
                    <a:lnTo>
                      <a:pt x="137" y="94"/>
                    </a:lnTo>
                    <a:lnTo>
                      <a:pt x="138" y="96"/>
                    </a:lnTo>
                    <a:lnTo>
                      <a:pt x="138" y="98"/>
                    </a:lnTo>
                    <a:lnTo>
                      <a:pt x="138" y="100"/>
                    </a:lnTo>
                    <a:lnTo>
                      <a:pt x="138" y="102"/>
                    </a:lnTo>
                    <a:lnTo>
                      <a:pt x="138" y="106"/>
                    </a:lnTo>
                    <a:lnTo>
                      <a:pt x="137" y="106"/>
                    </a:lnTo>
                    <a:lnTo>
                      <a:pt x="137" y="108"/>
                    </a:lnTo>
                    <a:lnTo>
                      <a:pt x="135" y="108"/>
                    </a:lnTo>
                    <a:lnTo>
                      <a:pt x="137" y="108"/>
                    </a:lnTo>
                    <a:lnTo>
                      <a:pt x="137" y="110"/>
                    </a:lnTo>
                    <a:lnTo>
                      <a:pt x="135" y="110"/>
                    </a:lnTo>
                    <a:lnTo>
                      <a:pt x="133" y="110"/>
                    </a:lnTo>
                    <a:lnTo>
                      <a:pt x="135" y="112"/>
                    </a:lnTo>
                    <a:lnTo>
                      <a:pt x="133" y="112"/>
                    </a:lnTo>
                    <a:lnTo>
                      <a:pt x="133" y="113"/>
                    </a:lnTo>
                    <a:lnTo>
                      <a:pt x="135" y="113"/>
                    </a:lnTo>
                    <a:lnTo>
                      <a:pt x="135" y="115"/>
                    </a:lnTo>
                    <a:lnTo>
                      <a:pt x="135" y="117"/>
                    </a:lnTo>
                    <a:lnTo>
                      <a:pt x="135" y="119"/>
                    </a:lnTo>
                    <a:lnTo>
                      <a:pt x="135" y="121"/>
                    </a:lnTo>
                    <a:lnTo>
                      <a:pt x="137" y="121"/>
                    </a:lnTo>
                    <a:lnTo>
                      <a:pt x="138" y="121"/>
                    </a:lnTo>
                    <a:lnTo>
                      <a:pt x="138" y="123"/>
                    </a:lnTo>
                    <a:lnTo>
                      <a:pt x="138" y="125"/>
                    </a:lnTo>
                    <a:lnTo>
                      <a:pt x="138" y="127"/>
                    </a:lnTo>
                    <a:lnTo>
                      <a:pt x="137" y="127"/>
                    </a:lnTo>
                    <a:lnTo>
                      <a:pt x="137" y="129"/>
                    </a:lnTo>
                    <a:lnTo>
                      <a:pt x="138" y="129"/>
                    </a:lnTo>
                    <a:lnTo>
                      <a:pt x="138" y="131"/>
                    </a:lnTo>
                    <a:lnTo>
                      <a:pt x="140" y="131"/>
                    </a:lnTo>
                    <a:lnTo>
                      <a:pt x="140" y="133"/>
                    </a:lnTo>
                    <a:lnTo>
                      <a:pt x="140" y="135"/>
                    </a:lnTo>
                    <a:lnTo>
                      <a:pt x="142" y="137"/>
                    </a:lnTo>
                    <a:lnTo>
                      <a:pt x="142" y="135"/>
                    </a:lnTo>
                    <a:lnTo>
                      <a:pt x="144" y="135"/>
                    </a:lnTo>
                    <a:lnTo>
                      <a:pt x="144" y="137"/>
                    </a:lnTo>
                    <a:lnTo>
                      <a:pt x="144" y="138"/>
                    </a:lnTo>
                    <a:lnTo>
                      <a:pt x="146" y="138"/>
                    </a:lnTo>
                    <a:lnTo>
                      <a:pt x="146" y="140"/>
                    </a:lnTo>
                    <a:lnTo>
                      <a:pt x="148" y="140"/>
                    </a:lnTo>
                    <a:lnTo>
                      <a:pt x="150" y="140"/>
                    </a:lnTo>
                    <a:lnTo>
                      <a:pt x="150" y="142"/>
                    </a:lnTo>
                    <a:lnTo>
                      <a:pt x="148" y="144"/>
                    </a:lnTo>
                    <a:lnTo>
                      <a:pt x="150" y="144"/>
                    </a:lnTo>
                    <a:lnTo>
                      <a:pt x="148" y="144"/>
                    </a:lnTo>
                    <a:lnTo>
                      <a:pt x="150" y="144"/>
                    </a:lnTo>
                    <a:lnTo>
                      <a:pt x="150" y="146"/>
                    </a:lnTo>
                    <a:lnTo>
                      <a:pt x="150" y="148"/>
                    </a:lnTo>
                    <a:lnTo>
                      <a:pt x="148" y="150"/>
                    </a:lnTo>
                    <a:lnTo>
                      <a:pt x="146" y="152"/>
                    </a:lnTo>
                    <a:lnTo>
                      <a:pt x="146" y="154"/>
                    </a:lnTo>
                    <a:lnTo>
                      <a:pt x="146" y="156"/>
                    </a:lnTo>
                    <a:lnTo>
                      <a:pt x="144" y="156"/>
                    </a:lnTo>
                    <a:lnTo>
                      <a:pt x="144" y="158"/>
                    </a:lnTo>
                    <a:lnTo>
                      <a:pt x="142" y="160"/>
                    </a:lnTo>
                    <a:lnTo>
                      <a:pt x="140" y="160"/>
                    </a:lnTo>
                    <a:lnTo>
                      <a:pt x="140" y="162"/>
                    </a:lnTo>
                    <a:lnTo>
                      <a:pt x="138" y="162"/>
                    </a:lnTo>
                    <a:lnTo>
                      <a:pt x="137" y="162"/>
                    </a:lnTo>
                    <a:lnTo>
                      <a:pt x="135" y="162"/>
                    </a:lnTo>
                    <a:lnTo>
                      <a:pt x="133" y="162"/>
                    </a:lnTo>
                    <a:lnTo>
                      <a:pt x="133" y="163"/>
                    </a:lnTo>
                    <a:lnTo>
                      <a:pt x="133" y="165"/>
                    </a:lnTo>
                    <a:lnTo>
                      <a:pt x="133" y="167"/>
                    </a:lnTo>
                    <a:lnTo>
                      <a:pt x="133" y="169"/>
                    </a:lnTo>
                    <a:lnTo>
                      <a:pt x="133" y="171"/>
                    </a:lnTo>
                    <a:lnTo>
                      <a:pt x="135" y="171"/>
                    </a:lnTo>
                    <a:lnTo>
                      <a:pt x="135" y="173"/>
                    </a:lnTo>
                    <a:lnTo>
                      <a:pt x="133" y="175"/>
                    </a:lnTo>
                    <a:lnTo>
                      <a:pt x="133" y="177"/>
                    </a:lnTo>
                    <a:lnTo>
                      <a:pt x="133" y="179"/>
                    </a:lnTo>
                    <a:lnTo>
                      <a:pt x="131" y="179"/>
                    </a:lnTo>
                    <a:lnTo>
                      <a:pt x="131" y="181"/>
                    </a:lnTo>
                    <a:lnTo>
                      <a:pt x="131" y="183"/>
                    </a:lnTo>
                    <a:lnTo>
                      <a:pt x="129" y="183"/>
                    </a:lnTo>
                    <a:lnTo>
                      <a:pt x="129" y="185"/>
                    </a:lnTo>
                    <a:lnTo>
                      <a:pt x="127" y="187"/>
                    </a:lnTo>
                    <a:lnTo>
                      <a:pt x="127" y="188"/>
                    </a:lnTo>
                    <a:lnTo>
                      <a:pt x="127" y="190"/>
                    </a:lnTo>
                    <a:lnTo>
                      <a:pt x="125" y="190"/>
                    </a:lnTo>
                    <a:lnTo>
                      <a:pt x="125" y="192"/>
                    </a:lnTo>
                    <a:lnTo>
                      <a:pt x="125" y="194"/>
                    </a:lnTo>
                    <a:lnTo>
                      <a:pt x="125" y="196"/>
                    </a:lnTo>
                    <a:lnTo>
                      <a:pt x="123" y="196"/>
                    </a:lnTo>
                    <a:lnTo>
                      <a:pt x="123" y="198"/>
                    </a:lnTo>
                    <a:lnTo>
                      <a:pt x="123" y="196"/>
                    </a:lnTo>
                    <a:lnTo>
                      <a:pt x="121" y="198"/>
                    </a:lnTo>
                    <a:lnTo>
                      <a:pt x="121" y="196"/>
                    </a:lnTo>
                    <a:lnTo>
                      <a:pt x="119" y="196"/>
                    </a:lnTo>
                    <a:lnTo>
                      <a:pt x="117" y="198"/>
                    </a:lnTo>
                    <a:lnTo>
                      <a:pt x="115" y="198"/>
                    </a:lnTo>
                    <a:lnTo>
                      <a:pt x="113" y="198"/>
                    </a:lnTo>
                    <a:lnTo>
                      <a:pt x="112" y="198"/>
                    </a:lnTo>
                    <a:lnTo>
                      <a:pt x="110" y="202"/>
                    </a:lnTo>
                    <a:lnTo>
                      <a:pt x="106" y="208"/>
                    </a:lnTo>
                    <a:lnTo>
                      <a:pt x="104" y="212"/>
                    </a:lnTo>
                    <a:lnTo>
                      <a:pt x="104" y="213"/>
                    </a:lnTo>
                    <a:lnTo>
                      <a:pt x="104" y="215"/>
                    </a:lnTo>
                    <a:lnTo>
                      <a:pt x="102" y="217"/>
                    </a:lnTo>
                    <a:lnTo>
                      <a:pt x="100" y="219"/>
                    </a:lnTo>
                    <a:lnTo>
                      <a:pt x="98" y="221"/>
                    </a:lnTo>
                    <a:lnTo>
                      <a:pt x="98" y="223"/>
                    </a:lnTo>
                    <a:lnTo>
                      <a:pt x="96" y="225"/>
                    </a:lnTo>
                    <a:lnTo>
                      <a:pt x="96" y="22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99">
                <a:extLst>
                  <a:ext uri="{FF2B5EF4-FFF2-40B4-BE49-F238E27FC236}">
                    <a16:creationId xmlns="" xmlns:a16="http://schemas.microsoft.com/office/drawing/2014/main" id="{515F0453-72B8-4D25-BB74-73392692F7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01925" y="2782888"/>
                <a:ext cx="1025525" cy="684213"/>
              </a:xfrm>
              <a:custGeom>
                <a:avLst/>
                <a:gdLst>
                  <a:gd name="T0" fmla="*/ 377 w 646"/>
                  <a:gd name="T1" fmla="*/ 138 h 431"/>
                  <a:gd name="T2" fmla="*/ 340 w 646"/>
                  <a:gd name="T3" fmla="*/ 100 h 431"/>
                  <a:gd name="T4" fmla="*/ 383 w 646"/>
                  <a:gd name="T5" fmla="*/ 102 h 431"/>
                  <a:gd name="T6" fmla="*/ 288 w 646"/>
                  <a:gd name="T7" fmla="*/ 42 h 431"/>
                  <a:gd name="T8" fmla="*/ 296 w 646"/>
                  <a:gd name="T9" fmla="*/ 31 h 431"/>
                  <a:gd name="T10" fmla="*/ 300 w 646"/>
                  <a:gd name="T11" fmla="*/ 12 h 431"/>
                  <a:gd name="T12" fmla="*/ 112 w 646"/>
                  <a:gd name="T13" fmla="*/ 212 h 431"/>
                  <a:gd name="T14" fmla="*/ 73 w 646"/>
                  <a:gd name="T15" fmla="*/ 162 h 431"/>
                  <a:gd name="T16" fmla="*/ 89 w 646"/>
                  <a:gd name="T17" fmla="*/ 90 h 431"/>
                  <a:gd name="T18" fmla="*/ 192 w 646"/>
                  <a:gd name="T19" fmla="*/ 73 h 431"/>
                  <a:gd name="T20" fmla="*/ 296 w 646"/>
                  <a:gd name="T21" fmla="*/ 2 h 431"/>
                  <a:gd name="T22" fmla="*/ 290 w 646"/>
                  <a:gd name="T23" fmla="*/ 35 h 431"/>
                  <a:gd name="T24" fmla="*/ 269 w 646"/>
                  <a:gd name="T25" fmla="*/ 71 h 431"/>
                  <a:gd name="T26" fmla="*/ 250 w 646"/>
                  <a:gd name="T27" fmla="*/ 90 h 431"/>
                  <a:gd name="T28" fmla="*/ 240 w 646"/>
                  <a:gd name="T29" fmla="*/ 85 h 431"/>
                  <a:gd name="T30" fmla="*/ 267 w 646"/>
                  <a:gd name="T31" fmla="*/ 108 h 431"/>
                  <a:gd name="T32" fmla="*/ 281 w 646"/>
                  <a:gd name="T33" fmla="*/ 144 h 431"/>
                  <a:gd name="T34" fmla="*/ 252 w 646"/>
                  <a:gd name="T35" fmla="*/ 188 h 431"/>
                  <a:gd name="T36" fmla="*/ 263 w 646"/>
                  <a:gd name="T37" fmla="*/ 158 h 431"/>
                  <a:gd name="T38" fmla="*/ 275 w 646"/>
                  <a:gd name="T39" fmla="*/ 113 h 431"/>
                  <a:gd name="T40" fmla="*/ 311 w 646"/>
                  <a:gd name="T41" fmla="*/ 113 h 431"/>
                  <a:gd name="T42" fmla="*/ 361 w 646"/>
                  <a:gd name="T43" fmla="*/ 85 h 431"/>
                  <a:gd name="T44" fmla="*/ 383 w 646"/>
                  <a:gd name="T45" fmla="*/ 110 h 431"/>
                  <a:gd name="T46" fmla="*/ 369 w 646"/>
                  <a:gd name="T47" fmla="*/ 160 h 431"/>
                  <a:gd name="T48" fmla="*/ 377 w 646"/>
                  <a:gd name="T49" fmla="*/ 202 h 431"/>
                  <a:gd name="T50" fmla="*/ 344 w 646"/>
                  <a:gd name="T51" fmla="*/ 240 h 431"/>
                  <a:gd name="T52" fmla="*/ 310 w 646"/>
                  <a:gd name="T53" fmla="*/ 260 h 431"/>
                  <a:gd name="T54" fmla="*/ 288 w 646"/>
                  <a:gd name="T55" fmla="*/ 302 h 431"/>
                  <a:gd name="T56" fmla="*/ 290 w 646"/>
                  <a:gd name="T57" fmla="*/ 265 h 431"/>
                  <a:gd name="T58" fmla="*/ 331 w 646"/>
                  <a:gd name="T59" fmla="*/ 237 h 431"/>
                  <a:gd name="T60" fmla="*/ 369 w 646"/>
                  <a:gd name="T61" fmla="*/ 212 h 431"/>
                  <a:gd name="T62" fmla="*/ 367 w 646"/>
                  <a:gd name="T63" fmla="*/ 163 h 431"/>
                  <a:gd name="T64" fmla="*/ 375 w 646"/>
                  <a:gd name="T65" fmla="*/ 123 h 431"/>
                  <a:gd name="T66" fmla="*/ 415 w 646"/>
                  <a:gd name="T67" fmla="*/ 119 h 431"/>
                  <a:gd name="T68" fmla="*/ 459 w 646"/>
                  <a:gd name="T69" fmla="*/ 121 h 431"/>
                  <a:gd name="T70" fmla="*/ 434 w 646"/>
                  <a:gd name="T71" fmla="*/ 148 h 431"/>
                  <a:gd name="T72" fmla="*/ 479 w 646"/>
                  <a:gd name="T73" fmla="*/ 119 h 431"/>
                  <a:gd name="T74" fmla="*/ 517 w 646"/>
                  <a:gd name="T75" fmla="*/ 129 h 431"/>
                  <a:gd name="T76" fmla="*/ 569 w 646"/>
                  <a:gd name="T77" fmla="*/ 112 h 431"/>
                  <a:gd name="T78" fmla="*/ 513 w 646"/>
                  <a:gd name="T79" fmla="*/ 127 h 431"/>
                  <a:gd name="T80" fmla="*/ 471 w 646"/>
                  <a:gd name="T81" fmla="*/ 121 h 431"/>
                  <a:gd name="T82" fmla="*/ 431 w 646"/>
                  <a:gd name="T83" fmla="*/ 110 h 431"/>
                  <a:gd name="T84" fmla="*/ 402 w 646"/>
                  <a:gd name="T85" fmla="*/ 98 h 431"/>
                  <a:gd name="T86" fmla="*/ 386 w 646"/>
                  <a:gd name="T87" fmla="*/ 108 h 431"/>
                  <a:gd name="T88" fmla="*/ 342 w 646"/>
                  <a:gd name="T89" fmla="*/ 94 h 431"/>
                  <a:gd name="T90" fmla="*/ 290 w 646"/>
                  <a:gd name="T91" fmla="*/ 112 h 431"/>
                  <a:gd name="T92" fmla="*/ 271 w 646"/>
                  <a:gd name="T93" fmla="*/ 73 h 431"/>
                  <a:gd name="T94" fmla="*/ 296 w 646"/>
                  <a:gd name="T95" fmla="*/ 31 h 431"/>
                  <a:gd name="T96" fmla="*/ 302 w 646"/>
                  <a:gd name="T97" fmla="*/ 10 h 431"/>
                  <a:gd name="T98" fmla="*/ 519 w 646"/>
                  <a:gd name="T99" fmla="*/ 98 h 431"/>
                  <a:gd name="T100" fmla="*/ 586 w 646"/>
                  <a:gd name="T101" fmla="*/ 67 h 431"/>
                  <a:gd name="T102" fmla="*/ 627 w 646"/>
                  <a:gd name="T103" fmla="*/ 42 h 431"/>
                  <a:gd name="T104" fmla="*/ 642 w 646"/>
                  <a:gd name="T105" fmla="*/ 77 h 431"/>
                  <a:gd name="T106" fmla="*/ 609 w 646"/>
                  <a:gd name="T107" fmla="*/ 117 h 431"/>
                  <a:gd name="T108" fmla="*/ 548 w 646"/>
                  <a:gd name="T109" fmla="*/ 148 h 431"/>
                  <a:gd name="T110" fmla="*/ 490 w 646"/>
                  <a:gd name="T111" fmla="*/ 181 h 431"/>
                  <a:gd name="T112" fmla="*/ 425 w 646"/>
                  <a:gd name="T113" fmla="*/ 215 h 431"/>
                  <a:gd name="T114" fmla="*/ 373 w 646"/>
                  <a:gd name="T115" fmla="*/ 313 h 431"/>
                  <a:gd name="T116" fmla="*/ 310 w 646"/>
                  <a:gd name="T117" fmla="*/ 392 h 431"/>
                  <a:gd name="T118" fmla="*/ 125 w 646"/>
                  <a:gd name="T119" fmla="*/ 390 h 431"/>
                  <a:gd name="T120" fmla="*/ 41 w 646"/>
                  <a:gd name="T121" fmla="*/ 402 h 431"/>
                  <a:gd name="T122" fmla="*/ 12 w 646"/>
                  <a:gd name="T123" fmla="*/ 360 h 431"/>
                  <a:gd name="T124" fmla="*/ 377 w 646"/>
                  <a:gd name="T125" fmla="*/ 146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46" h="431">
                    <a:moveTo>
                      <a:pt x="381" y="196"/>
                    </a:moveTo>
                    <a:lnTo>
                      <a:pt x="379" y="196"/>
                    </a:lnTo>
                    <a:lnTo>
                      <a:pt x="379" y="194"/>
                    </a:lnTo>
                    <a:lnTo>
                      <a:pt x="381" y="194"/>
                    </a:lnTo>
                    <a:lnTo>
                      <a:pt x="381" y="196"/>
                    </a:lnTo>
                    <a:lnTo>
                      <a:pt x="379" y="198"/>
                    </a:lnTo>
                    <a:lnTo>
                      <a:pt x="379" y="196"/>
                    </a:lnTo>
                    <a:lnTo>
                      <a:pt x="379" y="198"/>
                    </a:lnTo>
                    <a:lnTo>
                      <a:pt x="379" y="196"/>
                    </a:lnTo>
                    <a:lnTo>
                      <a:pt x="381" y="196"/>
                    </a:lnTo>
                    <a:close/>
                    <a:moveTo>
                      <a:pt x="381" y="192"/>
                    </a:moveTo>
                    <a:lnTo>
                      <a:pt x="381" y="194"/>
                    </a:lnTo>
                    <a:lnTo>
                      <a:pt x="381" y="192"/>
                    </a:lnTo>
                    <a:close/>
                    <a:moveTo>
                      <a:pt x="377" y="185"/>
                    </a:moveTo>
                    <a:lnTo>
                      <a:pt x="377" y="183"/>
                    </a:lnTo>
                    <a:lnTo>
                      <a:pt x="377" y="185"/>
                    </a:lnTo>
                    <a:lnTo>
                      <a:pt x="377" y="183"/>
                    </a:lnTo>
                    <a:lnTo>
                      <a:pt x="377" y="185"/>
                    </a:lnTo>
                    <a:lnTo>
                      <a:pt x="377" y="187"/>
                    </a:lnTo>
                    <a:lnTo>
                      <a:pt x="377" y="185"/>
                    </a:lnTo>
                    <a:close/>
                    <a:moveTo>
                      <a:pt x="269" y="110"/>
                    </a:moveTo>
                    <a:lnTo>
                      <a:pt x="271" y="110"/>
                    </a:lnTo>
                    <a:lnTo>
                      <a:pt x="271" y="108"/>
                    </a:lnTo>
                    <a:lnTo>
                      <a:pt x="271" y="110"/>
                    </a:lnTo>
                    <a:lnTo>
                      <a:pt x="269" y="110"/>
                    </a:lnTo>
                    <a:lnTo>
                      <a:pt x="269" y="112"/>
                    </a:lnTo>
                    <a:lnTo>
                      <a:pt x="269" y="110"/>
                    </a:lnTo>
                    <a:close/>
                    <a:moveTo>
                      <a:pt x="271" y="110"/>
                    </a:moveTo>
                    <a:lnTo>
                      <a:pt x="269" y="110"/>
                    </a:lnTo>
                    <a:lnTo>
                      <a:pt x="271" y="110"/>
                    </a:lnTo>
                    <a:lnTo>
                      <a:pt x="271" y="108"/>
                    </a:lnTo>
                    <a:lnTo>
                      <a:pt x="271" y="110"/>
                    </a:lnTo>
                    <a:close/>
                    <a:moveTo>
                      <a:pt x="269" y="106"/>
                    </a:moveTo>
                    <a:lnTo>
                      <a:pt x="269" y="108"/>
                    </a:lnTo>
                    <a:lnTo>
                      <a:pt x="269" y="106"/>
                    </a:lnTo>
                    <a:lnTo>
                      <a:pt x="267" y="106"/>
                    </a:lnTo>
                    <a:lnTo>
                      <a:pt x="269" y="106"/>
                    </a:lnTo>
                    <a:close/>
                    <a:moveTo>
                      <a:pt x="373" y="152"/>
                    </a:moveTo>
                    <a:lnTo>
                      <a:pt x="373" y="150"/>
                    </a:lnTo>
                    <a:lnTo>
                      <a:pt x="373" y="152"/>
                    </a:lnTo>
                    <a:lnTo>
                      <a:pt x="373" y="154"/>
                    </a:lnTo>
                    <a:lnTo>
                      <a:pt x="371" y="154"/>
                    </a:lnTo>
                    <a:lnTo>
                      <a:pt x="371" y="152"/>
                    </a:lnTo>
                    <a:lnTo>
                      <a:pt x="373" y="152"/>
                    </a:lnTo>
                    <a:lnTo>
                      <a:pt x="373" y="150"/>
                    </a:lnTo>
                    <a:lnTo>
                      <a:pt x="373" y="152"/>
                    </a:lnTo>
                    <a:close/>
                    <a:moveTo>
                      <a:pt x="377" y="140"/>
                    </a:moveTo>
                    <a:lnTo>
                      <a:pt x="379" y="140"/>
                    </a:lnTo>
                    <a:lnTo>
                      <a:pt x="377" y="140"/>
                    </a:lnTo>
                    <a:lnTo>
                      <a:pt x="377" y="138"/>
                    </a:lnTo>
                    <a:lnTo>
                      <a:pt x="377" y="140"/>
                    </a:lnTo>
                    <a:close/>
                    <a:moveTo>
                      <a:pt x="331" y="102"/>
                    </a:moveTo>
                    <a:lnTo>
                      <a:pt x="331" y="104"/>
                    </a:lnTo>
                    <a:lnTo>
                      <a:pt x="331" y="102"/>
                    </a:lnTo>
                    <a:lnTo>
                      <a:pt x="333" y="102"/>
                    </a:lnTo>
                    <a:lnTo>
                      <a:pt x="335" y="102"/>
                    </a:lnTo>
                    <a:lnTo>
                      <a:pt x="335" y="100"/>
                    </a:lnTo>
                    <a:lnTo>
                      <a:pt x="335" y="102"/>
                    </a:lnTo>
                    <a:lnTo>
                      <a:pt x="333" y="104"/>
                    </a:lnTo>
                    <a:lnTo>
                      <a:pt x="331" y="104"/>
                    </a:lnTo>
                    <a:lnTo>
                      <a:pt x="331" y="102"/>
                    </a:lnTo>
                    <a:close/>
                    <a:moveTo>
                      <a:pt x="381" y="115"/>
                    </a:moveTo>
                    <a:lnTo>
                      <a:pt x="383" y="115"/>
                    </a:lnTo>
                    <a:lnTo>
                      <a:pt x="381" y="115"/>
                    </a:lnTo>
                    <a:lnTo>
                      <a:pt x="383" y="115"/>
                    </a:lnTo>
                    <a:lnTo>
                      <a:pt x="383" y="117"/>
                    </a:lnTo>
                    <a:lnTo>
                      <a:pt x="381" y="117"/>
                    </a:lnTo>
                    <a:lnTo>
                      <a:pt x="381" y="115"/>
                    </a:lnTo>
                    <a:close/>
                    <a:moveTo>
                      <a:pt x="383" y="115"/>
                    </a:moveTo>
                    <a:lnTo>
                      <a:pt x="383" y="117"/>
                    </a:lnTo>
                    <a:lnTo>
                      <a:pt x="383" y="115"/>
                    </a:lnTo>
                    <a:close/>
                    <a:moveTo>
                      <a:pt x="336" y="102"/>
                    </a:moveTo>
                    <a:lnTo>
                      <a:pt x="338" y="102"/>
                    </a:lnTo>
                    <a:lnTo>
                      <a:pt x="336" y="102"/>
                    </a:lnTo>
                    <a:lnTo>
                      <a:pt x="336" y="100"/>
                    </a:lnTo>
                    <a:lnTo>
                      <a:pt x="338" y="100"/>
                    </a:lnTo>
                    <a:lnTo>
                      <a:pt x="338" y="102"/>
                    </a:lnTo>
                    <a:lnTo>
                      <a:pt x="338" y="100"/>
                    </a:lnTo>
                    <a:lnTo>
                      <a:pt x="336" y="100"/>
                    </a:lnTo>
                    <a:lnTo>
                      <a:pt x="338" y="100"/>
                    </a:lnTo>
                    <a:lnTo>
                      <a:pt x="336" y="100"/>
                    </a:lnTo>
                    <a:lnTo>
                      <a:pt x="338" y="100"/>
                    </a:lnTo>
                    <a:lnTo>
                      <a:pt x="336" y="100"/>
                    </a:lnTo>
                    <a:lnTo>
                      <a:pt x="338" y="100"/>
                    </a:lnTo>
                    <a:lnTo>
                      <a:pt x="340" y="100"/>
                    </a:lnTo>
                    <a:lnTo>
                      <a:pt x="340" y="98"/>
                    </a:lnTo>
                    <a:lnTo>
                      <a:pt x="340" y="100"/>
                    </a:lnTo>
                    <a:lnTo>
                      <a:pt x="340" y="98"/>
                    </a:lnTo>
                    <a:lnTo>
                      <a:pt x="340" y="100"/>
                    </a:lnTo>
                    <a:lnTo>
                      <a:pt x="340" y="98"/>
                    </a:lnTo>
                    <a:lnTo>
                      <a:pt x="342" y="98"/>
                    </a:lnTo>
                    <a:lnTo>
                      <a:pt x="340" y="98"/>
                    </a:lnTo>
                    <a:lnTo>
                      <a:pt x="342" y="96"/>
                    </a:lnTo>
                    <a:lnTo>
                      <a:pt x="342" y="98"/>
                    </a:lnTo>
                    <a:lnTo>
                      <a:pt x="342" y="100"/>
                    </a:lnTo>
                    <a:lnTo>
                      <a:pt x="342" y="98"/>
                    </a:lnTo>
                    <a:lnTo>
                      <a:pt x="342" y="96"/>
                    </a:lnTo>
                    <a:lnTo>
                      <a:pt x="342" y="98"/>
                    </a:lnTo>
                    <a:lnTo>
                      <a:pt x="342" y="100"/>
                    </a:lnTo>
                    <a:lnTo>
                      <a:pt x="340" y="100"/>
                    </a:lnTo>
                    <a:lnTo>
                      <a:pt x="338" y="100"/>
                    </a:lnTo>
                    <a:lnTo>
                      <a:pt x="340" y="100"/>
                    </a:lnTo>
                    <a:lnTo>
                      <a:pt x="338" y="100"/>
                    </a:lnTo>
                    <a:lnTo>
                      <a:pt x="338" y="102"/>
                    </a:lnTo>
                    <a:lnTo>
                      <a:pt x="336" y="102"/>
                    </a:lnTo>
                    <a:close/>
                    <a:moveTo>
                      <a:pt x="340" y="100"/>
                    </a:moveTo>
                    <a:lnTo>
                      <a:pt x="340" y="98"/>
                    </a:lnTo>
                    <a:lnTo>
                      <a:pt x="340" y="100"/>
                    </a:lnTo>
                    <a:close/>
                    <a:moveTo>
                      <a:pt x="281" y="62"/>
                    </a:moveTo>
                    <a:lnTo>
                      <a:pt x="279" y="62"/>
                    </a:lnTo>
                    <a:lnTo>
                      <a:pt x="281" y="62"/>
                    </a:lnTo>
                    <a:lnTo>
                      <a:pt x="281" y="63"/>
                    </a:lnTo>
                    <a:lnTo>
                      <a:pt x="279" y="63"/>
                    </a:lnTo>
                    <a:lnTo>
                      <a:pt x="279" y="65"/>
                    </a:lnTo>
                    <a:lnTo>
                      <a:pt x="279" y="63"/>
                    </a:lnTo>
                    <a:lnTo>
                      <a:pt x="281" y="63"/>
                    </a:lnTo>
                    <a:lnTo>
                      <a:pt x="281" y="65"/>
                    </a:lnTo>
                    <a:lnTo>
                      <a:pt x="281" y="67"/>
                    </a:lnTo>
                    <a:lnTo>
                      <a:pt x="279" y="67"/>
                    </a:lnTo>
                    <a:lnTo>
                      <a:pt x="277" y="69"/>
                    </a:lnTo>
                    <a:lnTo>
                      <a:pt x="275" y="69"/>
                    </a:lnTo>
                    <a:lnTo>
                      <a:pt x="275" y="67"/>
                    </a:lnTo>
                    <a:lnTo>
                      <a:pt x="277" y="67"/>
                    </a:lnTo>
                    <a:lnTo>
                      <a:pt x="275" y="67"/>
                    </a:lnTo>
                    <a:lnTo>
                      <a:pt x="277" y="67"/>
                    </a:lnTo>
                    <a:lnTo>
                      <a:pt x="277" y="65"/>
                    </a:lnTo>
                    <a:lnTo>
                      <a:pt x="279" y="65"/>
                    </a:lnTo>
                    <a:lnTo>
                      <a:pt x="279" y="63"/>
                    </a:lnTo>
                    <a:lnTo>
                      <a:pt x="279" y="62"/>
                    </a:lnTo>
                    <a:lnTo>
                      <a:pt x="281" y="62"/>
                    </a:lnTo>
                    <a:close/>
                    <a:moveTo>
                      <a:pt x="383" y="110"/>
                    </a:moveTo>
                    <a:lnTo>
                      <a:pt x="383" y="108"/>
                    </a:lnTo>
                    <a:lnTo>
                      <a:pt x="383" y="106"/>
                    </a:lnTo>
                    <a:lnTo>
                      <a:pt x="384" y="106"/>
                    </a:lnTo>
                    <a:lnTo>
                      <a:pt x="384" y="108"/>
                    </a:lnTo>
                    <a:lnTo>
                      <a:pt x="384" y="110"/>
                    </a:lnTo>
                    <a:lnTo>
                      <a:pt x="384" y="112"/>
                    </a:lnTo>
                    <a:lnTo>
                      <a:pt x="383" y="112"/>
                    </a:lnTo>
                    <a:lnTo>
                      <a:pt x="384" y="112"/>
                    </a:lnTo>
                    <a:lnTo>
                      <a:pt x="383" y="112"/>
                    </a:lnTo>
                    <a:lnTo>
                      <a:pt x="383" y="110"/>
                    </a:lnTo>
                    <a:close/>
                    <a:moveTo>
                      <a:pt x="457" y="135"/>
                    </a:moveTo>
                    <a:lnTo>
                      <a:pt x="457" y="133"/>
                    </a:lnTo>
                    <a:lnTo>
                      <a:pt x="457" y="135"/>
                    </a:lnTo>
                    <a:close/>
                    <a:moveTo>
                      <a:pt x="383" y="100"/>
                    </a:moveTo>
                    <a:lnTo>
                      <a:pt x="383" y="102"/>
                    </a:lnTo>
                    <a:lnTo>
                      <a:pt x="383" y="100"/>
                    </a:lnTo>
                    <a:lnTo>
                      <a:pt x="383" y="102"/>
                    </a:lnTo>
                    <a:lnTo>
                      <a:pt x="383" y="100"/>
                    </a:lnTo>
                    <a:lnTo>
                      <a:pt x="383" y="102"/>
                    </a:lnTo>
                    <a:lnTo>
                      <a:pt x="383" y="104"/>
                    </a:lnTo>
                    <a:lnTo>
                      <a:pt x="383" y="106"/>
                    </a:lnTo>
                    <a:lnTo>
                      <a:pt x="381" y="106"/>
                    </a:lnTo>
                    <a:lnTo>
                      <a:pt x="381" y="104"/>
                    </a:lnTo>
                    <a:lnTo>
                      <a:pt x="383" y="104"/>
                    </a:lnTo>
                    <a:lnTo>
                      <a:pt x="383" y="102"/>
                    </a:lnTo>
                    <a:lnTo>
                      <a:pt x="383" y="100"/>
                    </a:lnTo>
                    <a:lnTo>
                      <a:pt x="383" y="102"/>
                    </a:lnTo>
                    <a:lnTo>
                      <a:pt x="383" y="100"/>
                    </a:lnTo>
                    <a:close/>
                    <a:moveTo>
                      <a:pt x="461" y="129"/>
                    </a:moveTo>
                    <a:lnTo>
                      <a:pt x="461" y="131"/>
                    </a:lnTo>
                    <a:lnTo>
                      <a:pt x="461" y="129"/>
                    </a:lnTo>
                    <a:close/>
                    <a:moveTo>
                      <a:pt x="350" y="87"/>
                    </a:moveTo>
                    <a:lnTo>
                      <a:pt x="348" y="87"/>
                    </a:lnTo>
                    <a:lnTo>
                      <a:pt x="348" y="85"/>
                    </a:lnTo>
                    <a:lnTo>
                      <a:pt x="350" y="85"/>
                    </a:lnTo>
                    <a:lnTo>
                      <a:pt x="352" y="85"/>
                    </a:lnTo>
                    <a:lnTo>
                      <a:pt x="354" y="85"/>
                    </a:lnTo>
                    <a:lnTo>
                      <a:pt x="352" y="87"/>
                    </a:lnTo>
                    <a:lnTo>
                      <a:pt x="350" y="87"/>
                    </a:lnTo>
                    <a:lnTo>
                      <a:pt x="348" y="87"/>
                    </a:lnTo>
                    <a:lnTo>
                      <a:pt x="350" y="87"/>
                    </a:lnTo>
                    <a:close/>
                    <a:moveTo>
                      <a:pt x="286" y="54"/>
                    </a:moveTo>
                    <a:lnTo>
                      <a:pt x="286" y="52"/>
                    </a:lnTo>
                    <a:lnTo>
                      <a:pt x="286" y="54"/>
                    </a:lnTo>
                    <a:lnTo>
                      <a:pt x="286" y="56"/>
                    </a:lnTo>
                    <a:lnTo>
                      <a:pt x="285" y="56"/>
                    </a:lnTo>
                    <a:lnTo>
                      <a:pt x="285" y="58"/>
                    </a:lnTo>
                    <a:lnTo>
                      <a:pt x="285" y="56"/>
                    </a:lnTo>
                    <a:lnTo>
                      <a:pt x="285" y="54"/>
                    </a:lnTo>
                    <a:lnTo>
                      <a:pt x="286" y="54"/>
                    </a:lnTo>
                    <a:close/>
                    <a:moveTo>
                      <a:pt x="365" y="83"/>
                    </a:moveTo>
                    <a:lnTo>
                      <a:pt x="363" y="83"/>
                    </a:lnTo>
                    <a:lnTo>
                      <a:pt x="365" y="83"/>
                    </a:lnTo>
                    <a:lnTo>
                      <a:pt x="367" y="83"/>
                    </a:lnTo>
                    <a:lnTo>
                      <a:pt x="365" y="85"/>
                    </a:lnTo>
                    <a:lnTo>
                      <a:pt x="365" y="83"/>
                    </a:lnTo>
                    <a:lnTo>
                      <a:pt x="363" y="83"/>
                    </a:lnTo>
                    <a:lnTo>
                      <a:pt x="365" y="83"/>
                    </a:lnTo>
                    <a:close/>
                    <a:moveTo>
                      <a:pt x="381" y="87"/>
                    </a:moveTo>
                    <a:lnTo>
                      <a:pt x="381" y="88"/>
                    </a:lnTo>
                    <a:lnTo>
                      <a:pt x="379" y="87"/>
                    </a:lnTo>
                    <a:lnTo>
                      <a:pt x="377" y="87"/>
                    </a:lnTo>
                    <a:lnTo>
                      <a:pt x="379" y="87"/>
                    </a:lnTo>
                    <a:lnTo>
                      <a:pt x="377" y="87"/>
                    </a:lnTo>
                    <a:lnTo>
                      <a:pt x="379" y="87"/>
                    </a:lnTo>
                    <a:lnTo>
                      <a:pt x="381" y="87"/>
                    </a:lnTo>
                    <a:close/>
                    <a:moveTo>
                      <a:pt x="288" y="42"/>
                    </a:moveTo>
                    <a:lnTo>
                      <a:pt x="288" y="40"/>
                    </a:lnTo>
                    <a:lnTo>
                      <a:pt x="288" y="42"/>
                    </a:lnTo>
                    <a:lnTo>
                      <a:pt x="290" y="42"/>
                    </a:lnTo>
                    <a:lnTo>
                      <a:pt x="288" y="42"/>
                    </a:lnTo>
                    <a:close/>
                    <a:moveTo>
                      <a:pt x="290" y="42"/>
                    </a:moveTo>
                    <a:lnTo>
                      <a:pt x="290" y="44"/>
                    </a:lnTo>
                    <a:lnTo>
                      <a:pt x="290" y="46"/>
                    </a:lnTo>
                    <a:lnTo>
                      <a:pt x="288" y="46"/>
                    </a:lnTo>
                    <a:lnTo>
                      <a:pt x="288" y="48"/>
                    </a:lnTo>
                    <a:lnTo>
                      <a:pt x="288" y="50"/>
                    </a:lnTo>
                    <a:lnTo>
                      <a:pt x="288" y="52"/>
                    </a:lnTo>
                    <a:lnTo>
                      <a:pt x="286" y="52"/>
                    </a:lnTo>
                    <a:lnTo>
                      <a:pt x="286" y="50"/>
                    </a:lnTo>
                    <a:lnTo>
                      <a:pt x="286" y="48"/>
                    </a:lnTo>
                    <a:lnTo>
                      <a:pt x="286" y="46"/>
                    </a:lnTo>
                    <a:lnTo>
                      <a:pt x="288" y="44"/>
                    </a:lnTo>
                    <a:lnTo>
                      <a:pt x="288" y="42"/>
                    </a:lnTo>
                    <a:lnTo>
                      <a:pt x="290" y="42"/>
                    </a:lnTo>
                    <a:lnTo>
                      <a:pt x="290" y="40"/>
                    </a:lnTo>
                    <a:lnTo>
                      <a:pt x="290" y="42"/>
                    </a:lnTo>
                    <a:lnTo>
                      <a:pt x="290" y="44"/>
                    </a:lnTo>
                    <a:lnTo>
                      <a:pt x="290" y="42"/>
                    </a:lnTo>
                    <a:lnTo>
                      <a:pt x="290" y="40"/>
                    </a:lnTo>
                    <a:lnTo>
                      <a:pt x="290" y="42"/>
                    </a:lnTo>
                    <a:close/>
                    <a:moveTo>
                      <a:pt x="288" y="44"/>
                    </a:moveTo>
                    <a:lnTo>
                      <a:pt x="288" y="46"/>
                    </a:lnTo>
                    <a:lnTo>
                      <a:pt x="288" y="44"/>
                    </a:lnTo>
                    <a:close/>
                    <a:moveTo>
                      <a:pt x="490" y="123"/>
                    </a:moveTo>
                    <a:lnTo>
                      <a:pt x="490" y="121"/>
                    </a:lnTo>
                    <a:lnTo>
                      <a:pt x="490" y="123"/>
                    </a:lnTo>
                    <a:close/>
                    <a:moveTo>
                      <a:pt x="288" y="38"/>
                    </a:moveTo>
                    <a:lnTo>
                      <a:pt x="290" y="38"/>
                    </a:lnTo>
                    <a:lnTo>
                      <a:pt x="288" y="38"/>
                    </a:lnTo>
                    <a:lnTo>
                      <a:pt x="290" y="38"/>
                    </a:lnTo>
                    <a:lnTo>
                      <a:pt x="288" y="38"/>
                    </a:lnTo>
                    <a:lnTo>
                      <a:pt x="290" y="37"/>
                    </a:lnTo>
                    <a:lnTo>
                      <a:pt x="290" y="38"/>
                    </a:lnTo>
                    <a:lnTo>
                      <a:pt x="288" y="38"/>
                    </a:lnTo>
                    <a:lnTo>
                      <a:pt x="290" y="38"/>
                    </a:lnTo>
                    <a:lnTo>
                      <a:pt x="290" y="40"/>
                    </a:lnTo>
                    <a:lnTo>
                      <a:pt x="288" y="40"/>
                    </a:lnTo>
                    <a:lnTo>
                      <a:pt x="288" y="38"/>
                    </a:lnTo>
                    <a:lnTo>
                      <a:pt x="288" y="37"/>
                    </a:lnTo>
                    <a:lnTo>
                      <a:pt x="290" y="37"/>
                    </a:lnTo>
                    <a:lnTo>
                      <a:pt x="288" y="38"/>
                    </a:lnTo>
                    <a:close/>
                    <a:moveTo>
                      <a:pt x="296" y="31"/>
                    </a:moveTo>
                    <a:lnTo>
                      <a:pt x="296" y="33"/>
                    </a:lnTo>
                    <a:lnTo>
                      <a:pt x="296" y="31"/>
                    </a:lnTo>
                    <a:lnTo>
                      <a:pt x="296" y="33"/>
                    </a:lnTo>
                    <a:lnTo>
                      <a:pt x="294" y="33"/>
                    </a:lnTo>
                    <a:lnTo>
                      <a:pt x="296" y="33"/>
                    </a:lnTo>
                    <a:lnTo>
                      <a:pt x="296" y="31"/>
                    </a:lnTo>
                    <a:close/>
                    <a:moveTo>
                      <a:pt x="538" y="127"/>
                    </a:moveTo>
                    <a:lnTo>
                      <a:pt x="536" y="127"/>
                    </a:lnTo>
                    <a:lnTo>
                      <a:pt x="538" y="127"/>
                    </a:lnTo>
                    <a:lnTo>
                      <a:pt x="538" y="125"/>
                    </a:lnTo>
                    <a:lnTo>
                      <a:pt x="538" y="127"/>
                    </a:lnTo>
                    <a:close/>
                    <a:moveTo>
                      <a:pt x="294" y="29"/>
                    </a:moveTo>
                    <a:lnTo>
                      <a:pt x="294" y="27"/>
                    </a:lnTo>
                    <a:lnTo>
                      <a:pt x="294" y="29"/>
                    </a:lnTo>
                    <a:lnTo>
                      <a:pt x="296" y="29"/>
                    </a:lnTo>
                    <a:lnTo>
                      <a:pt x="294" y="29"/>
                    </a:lnTo>
                    <a:lnTo>
                      <a:pt x="296" y="29"/>
                    </a:lnTo>
                    <a:lnTo>
                      <a:pt x="296" y="31"/>
                    </a:lnTo>
                    <a:lnTo>
                      <a:pt x="294" y="31"/>
                    </a:lnTo>
                    <a:lnTo>
                      <a:pt x="294" y="29"/>
                    </a:lnTo>
                    <a:lnTo>
                      <a:pt x="294" y="27"/>
                    </a:lnTo>
                    <a:lnTo>
                      <a:pt x="294" y="25"/>
                    </a:lnTo>
                    <a:lnTo>
                      <a:pt x="294" y="27"/>
                    </a:lnTo>
                    <a:lnTo>
                      <a:pt x="294" y="29"/>
                    </a:lnTo>
                    <a:lnTo>
                      <a:pt x="294" y="27"/>
                    </a:lnTo>
                    <a:lnTo>
                      <a:pt x="296" y="29"/>
                    </a:lnTo>
                    <a:lnTo>
                      <a:pt x="294" y="27"/>
                    </a:lnTo>
                    <a:lnTo>
                      <a:pt x="294" y="25"/>
                    </a:lnTo>
                    <a:lnTo>
                      <a:pt x="294" y="27"/>
                    </a:lnTo>
                    <a:lnTo>
                      <a:pt x="296" y="27"/>
                    </a:lnTo>
                    <a:lnTo>
                      <a:pt x="296" y="29"/>
                    </a:lnTo>
                    <a:lnTo>
                      <a:pt x="294" y="29"/>
                    </a:lnTo>
                    <a:close/>
                    <a:moveTo>
                      <a:pt x="296" y="23"/>
                    </a:moveTo>
                    <a:lnTo>
                      <a:pt x="296" y="21"/>
                    </a:lnTo>
                    <a:lnTo>
                      <a:pt x="296" y="23"/>
                    </a:lnTo>
                    <a:close/>
                    <a:moveTo>
                      <a:pt x="296" y="21"/>
                    </a:moveTo>
                    <a:lnTo>
                      <a:pt x="296" y="23"/>
                    </a:lnTo>
                    <a:lnTo>
                      <a:pt x="294" y="23"/>
                    </a:lnTo>
                    <a:lnTo>
                      <a:pt x="294" y="21"/>
                    </a:lnTo>
                    <a:lnTo>
                      <a:pt x="296" y="21"/>
                    </a:lnTo>
                    <a:lnTo>
                      <a:pt x="294" y="21"/>
                    </a:lnTo>
                    <a:lnTo>
                      <a:pt x="296" y="21"/>
                    </a:lnTo>
                    <a:lnTo>
                      <a:pt x="296" y="23"/>
                    </a:lnTo>
                    <a:lnTo>
                      <a:pt x="296" y="21"/>
                    </a:lnTo>
                    <a:close/>
                    <a:moveTo>
                      <a:pt x="298" y="17"/>
                    </a:moveTo>
                    <a:lnTo>
                      <a:pt x="298" y="19"/>
                    </a:lnTo>
                    <a:lnTo>
                      <a:pt x="296" y="19"/>
                    </a:lnTo>
                    <a:lnTo>
                      <a:pt x="296" y="17"/>
                    </a:lnTo>
                    <a:lnTo>
                      <a:pt x="296" y="15"/>
                    </a:lnTo>
                    <a:lnTo>
                      <a:pt x="298" y="17"/>
                    </a:lnTo>
                    <a:lnTo>
                      <a:pt x="296" y="17"/>
                    </a:lnTo>
                    <a:lnTo>
                      <a:pt x="298" y="17"/>
                    </a:lnTo>
                    <a:close/>
                    <a:moveTo>
                      <a:pt x="302" y="12"/>
                    </a:moveTo>
                    <a:lnTo>
                      <a:pt x="300" y="12"/>
                    </a:lnTo>
                    <a:lnTo>
                      <a:pt x="300" y="13"/>
                    </a:lnTo>
                    <a:lnTo>
                      <a:pt x="300" y="12"/>
                    </a:lnTo>
                    <a:lnTo>
                      <a:pt x="302" y="12"/>
                    </a:lnTo>
                    <a:lnTo>
                      <a:pt x="300" y="13"/>
                    </a:lnTo>
                    <a:lnTo>
                      <a:pt x="300" y="12"/>
                    </a:lnTo>
                    <a:lnTo>
                      <a:pt x="302" y="12"/>
                    </a:lnTo>
                    <a:close/>
                    <a:moveTo>
                      <a:pt x="302" y="8"/>
                    </a:moveTo>
                    <a:lnTo>
                      <a:pt x="302" y="10"/>
                    </a:lnTo>
                    <a:lnTo>
                      <a:pt x="302" y="8"/>
                    </a:lnTo>
                    <a:close/>
                    <a:moveTo>
                      <a:pt x="302" y="8"/>
                    </a:moveTo>
                    <a:lnTo>
                      <a:pt x="300" y="8"/>
                    </a:lnTo>
                    <a:lnTo>
                      <a:pt x="302" y="8"/>
                    </a:lnTo>
                    <a:lnTo>
                      <a:pt x="302" y="10"/>
                    </a:lnTo>
                    <a:lnTo>
                      <a:pt x="300" y="12"/>
                    </a:lnTo>
                    <a:lnTo>
                      <a:pt x="298" y="13"/>
                    </a:lnTo>
                    <a:lnTo>
                      <a:pt x="298" y="12"/>
                    </a:lnTo>
                    <a:lnTo>
                      <a:pt x="296" y="12"/>
                    </a:lnTo>
                    <a:lnTo>
                      <a:pt x="298" y="12"/>
                    </a:lnTo>
                    <a:lnTo>
                      <a:pt x="296" y="10"/>
                    </a:lnTo>
                    <a:lnTo>
                      <a:pt x="296" y="8"/>
                    </a:lnTo>
                    <a:lnTo>
                      <a:pt x="298" y="8"/>
                    </a:lnTo>
                    <a:lnTo>
                      <a:pt x="298" y="6"/>
                    </a:lnTo>
                    <a:lnTo>
                      <a:pt x="296" y="6"/>
                    </a:lnTo>
                    <a:lnTo>
                      <a:pt x="298" y="6"/>
                    </a:lnTo>
                    <a:lnTo>
                      <a:pt x="298" y="4"/>
                    </a:lnTo>
                    <a:lnTo>
                      <a:pt x="300" y="4"/>
                    </a:lnTo>
                    <a:lnTo>
                      <a:pt x="300" y="2"/>
                    </a:lnTo>
                    <a:lnTo>
                      <a:pt x="298" y="2"/>
                    </a:lnTo>
                    <a:lnTo>
                      <a:pt x="300" y="2"/>
                    </a:lnTo>
                    <a:lnTo>
                      <a:pt x="298" y="2"/>
                    </a:lnTo>
                    <a:lnTo>
                      <a:pt x="298" y="0"/>
                    </a:lnTo>
                    <a:lnTo>
                      <a:pt x="300" y="0"/>
                    </a:lnTo>
                    <a:lnTo>
                      <a:pt x="304" y="4"/>
                    </a:lnTo>
                    <a:lnTo>
                      <a:pt x="304" y="6"/>
                    </a:lnTo>
                    <a:lnTo>
                      <a:pt x="302" y="6"/>
                    </a:lnTo>
                    <a:lnTo>
                      <a:pt x="302" y="8"/>
                    </a:lnTo>
                    <a:close/>
                    <a:moveTo>
                      <a:pt x="92" y="252"/>
                    </a:moveTo>
                    <a:lnTo>
                      <a:pt x="92" y="250"/>
                    </a:lnTo>
                    <a:lnTo>
                      <a:pt x="94" y="252"/>
                    </a:lnTo>
                    <a:lnTo>
                      <a:pt x="98" y="246"/>
                    </a:lnTo>
                    <a:lnTo>
                      <a:pt x="102" y="242"/>
                    </a:lnTo>
                    <a:lnTo>
                      <a:pt x="104" y="238"/>
                    </a:lnTo>
                    <a:lnTo>
                      <a:pt x="106" y="237"/>
                    </a:lnTo>
                    <a:lnTo>
                      <a:pt x="110" y="231"/>
                    </a:lnTo>
                    <a:lnTo>
                      <a:pt x="114" y="227"/>
                    </a:lnTo>
                    <a:lnTo>
                      <a:pt x="114" y="225"/>
                    </a:lnTo>
                    <a:lnTo>
                      <a:pt x="117" y="221"/>
                    </a:lnTo>
                    <a:lnTo>
                      <a:pt x="119" y="219"/>
                    </a:lnTo>
                    <a:lnTo>
                      <a:pt x="121" y="217"/>
                    </a:lnTo>
                    <a:lnTo>
                      <a:pt x="119" y="217"/>
                    </a:lnTo>
                    <a:lnTo>
                      <a:pt x="119" y="215"/>
                    </a:lnTo>
                    <a:lnTo>
                      <a:pt x="112" y="212"/>
                    </a:lnTo>
                    <a:lnTo>
                      <a:pt x="110" y="210"/>
                    </a:lnTo>
                    <a:lnTo>
                      <a:pt x="106" y="206"/>
                    </a:lnTo>
                    <a:lnTo>
                      <a:pt x="102" y="204"/>
                    </a:lnTo>
                    <a:lnTo>
                      <a:pt x="100" y="202"/>
                    </a:lnTo>
                    <a:lnTo>
                      <a:pt x="98" y="204"/>
                    </a:lnTo>
                    <a:lnTo>
                      <a:pt x="96" y="206"/>
                    </a:lnTo>
                    <a:lnTo>
                      <a:pt x="96" y="208"/>
                    </a:lnTo>
                    <a:lnTo>
                      <a:pt x="94" y="210"/>
                    </a:lnTo>
                    <a:lnTo>
                      <a:pt x="91" y="208"/>
                    </a:lnTo>
                    <a:lnTo>
                      <a:pt x="87" y="204"/>
                    </a:lnTo>
                    <a:lnTo>
                      <a:pt x="81" y="210"/>
                    </a:lnTo>
                    <a:lnTo>
                      <a:pt x="81" y="212"/>
                    </a:lnTo>
                    <a:lnTo>
                      <a:pt x="79" y="213"/>
                    </a:lnTo>
                    <a:lnTo>
                      <a:pt x="75" y="217"/>
                    </a:lnTo>
                    <a:lnTo>
                      <a:pt x="77" y="221"/>
                    </a:lnTo>
                    <a:lnTo>
                      <a:pt x="75" y="225"/>
                    </a:lnTo>
                    <a:lnTo>
                      <a:pt x="73" y="229"/>
                    </a:lnTo>
                    <a:lnTo>
                      <a:pt x="73" y="227"/>
                    </a:lnTo>
                    <a:lnTo>
                      <a:pt x="64" y="221"/>
                    </a:lnTo>
                    <a:lnTo>
                      <a:pt x="58" y="217"/>
                    </a:lnTo>
                    <a:lnTo>
                      <a:pt x="52" y="227"/>
                    </a:lnTo>
                    <a:lnTo>
                      <a:pt x="48" y="225"/>
                    </a:lnTo>
                    <a:lnTo>
                      <a:pt x="46" y="223"/>
                    </a:lnTo>
                    <a:lnTo>
                      <a:pt x="48" y="219"/>
                    </a:lnTo>
                    <a:lnTo>
                      <a:pt x="50" y="213"/>
                    </a:lnTo>
                    <a:lnTo>
                      <a:pt x="46" y="212"/>
                    </a:lnTo>
                    <a:lnTo>
                      <a:pt x="50" y="206"/>
                    </a:lnTo>
                    <a:lnTo>
                      <a:pt x="52" y="200"/>
                    </a:lnTo>
                    <a:lnTo>
                      <a:pt x="54" y="200"/>
                    </a:lnTo>
                    <a:lnTo>
                      <a:pt x="54" y="198"/>
                    </a:lnTo>
                    <a:lnTo>
                      <a:pt x="56" y="194"/>
                    </a:lnTo>
                    <a:lnTo>
                      <a:pt x="56" y="192"/>
                    </a:lnTo>
                    <a:lnTo>
                      <a:pt x="56" y="188"/>
                    </a:lnTo>
                    <a:lnTo>
                      <a:pt x="58" y="185"/>
                    </a:lnTo>
                    <a:lnTo>
                      <a:pt x="58" y="181"/>
                    </a:lnTo>
                    <a:lnTo>
                      <a:pt x="60" y="181"/>
                    </a:lnTo>
                    <a:lnTo>
                      <a:pt x="62" y="181"/>
                    </a:lnTo>
                    <a:lnTo>
                      <a:pt x="66" y="181"/>
                    </a:lnTo>
                    <a:lnTo>
                      <a:pt x="69" y="179"/>
                    </a:lnTo>
                    <a:lnTo>
                      <a:pt x="71" y="179"/>
                    </a:lnTo>
                    <a:lnTo>
                      <a:pt x="69" y="177"/>
                    </a:lnTo>
                    <a:lnTo>
                      <a:pt x="73" y="175"/>
                    </a:lnTo>
                    <a:lnTo>
                      <a:pt x="75" y="175"/>
                    </a:lnTo>
                    <a:lnTo>
                      <a:pt x="77" y="173"/>
                    </a:lnTo>
                    <a:lnTo>
                      <a:pt x="77" y="171"/>
                    </a:lnTo>
                    <a:lnTo>
                      <a:pt x="79" y="171"/>
                    </a:lnTo>
                    <a:lnTo>
                      <a:pt x="79" y="169"/>
                    </a:lnTo>
                    <a:lnTo>
                      <a:pt x="75" y="167"/>
                    </a:lnTo>
                    <a:lnTo>
                      <a:pt x="75" y="163"/>
                    </a:lnTo>
                    <a:lnTo>
                      <a:pt x="73" y="162"/>
                    </a:lnTo>
                    <a:lnTo>
                      <a:pt x="71" y="158"/>
                    </a:lnTo>
                    <a:lnTo>
                      <a:pt x="69" y="156"/>
                    </a:lnTo>
                    <a:lnTo>
                      <a:pt x="71" y="156"/>
                    </a:lnTo>
                    <a:lnTo>
                      <a:pt x="71" y="154"/>
                    </a:lnTo>
                    <a:lnTo>
                      <a:pt x="71" y="152"/>
                    </a:lnTo>
                    <a:lnTo>
                      <a:pt x="69" y="152"/>
                    </a:lnTo>
                    <a:lnTo>
                      <a:pt x="71" y="152"/>
                    </a:lnTo>
                    <a:lnTo>
                      <a:pt x="69" y="152"/>
                    </a:lnTo>
                    <a:lnTo>
                      <a:pt x="69" y="150"/>
                    </a:lnTo>
                    <a:lnTo>
                      <a:pt x="71" y="150"/>
                    </a:lnTo>
                    <a:lnTo>
                      <a:pt x="73" y="144"/>
                    </a:lnTo>
                    <a:lnTo>
                      <a:pt x="73" y="142"/>
                    </a:lnTo>
                    <a:lnTo>
                      <a:pt x="75" y="142"/>
                    </a:lnTo>
                    <a:lnTo>
                      <a:pt x="77" y="142"/>
                    </a:lnTo>
                    <a:lnTo>
                      <a:pt x="77" y="138"/>
                    </a:lnTo>
                    <a:lnTo>
                      <a:pt x="79" y="138"/>
                    </a:lnTo>
                    <a:lnTo>
                      <a:pt x="79" y="137"/>
                    </a:lnTo>
                    <a:lnTo>
                      <a:pt x="79" y="135"/>
                    </a:lnTo>
                    <a:lnTo>
                      <a:pt x="79" y="129"/>
                    </a:lnTo>
                    <a:lnTo>
                      <a:pt x="79" y="125"/>
                    </a:lnTo>
                    <a:lnTo>
                      <a:pt x="77" y="121"/>
                    </a:lnTo>
                    <a:lnTo>
                      <a:pt x="77" y="117"/>
                    </a:lnTo>
                    <a:lnTo>
                      <a:pt x="75" y="113"/>
                    </a:lnTo>
                    <a:lnTo>
                      <a:pt x="73" y="112"/>
                    </a:lnTo>
                    <a:lnTo>
                      <a:pt x="71" y="110"/>
                    </a:lnTo>
                    <a:lnTo>
                      <a:pt x="69" y="108"/>
                    </a:lnTo>
                    <a:lnTo>
                      <a:pt x="69" y="106"/>
                    </a:lnTo>
                    <a:lnTo>
                      <a:pt x="67" y="106"/>
                    </a:lnTo>
                    <a:lnTo>
                      <a:pt x="67" y="104"/>
                    </a:lnTo>
                    <a:lnTo>
                      <a:pt x="66" y="104"/>
                    </a:lnTo>
                    <a:lnTo>
                      <a:pt x="64" y="102"/>
                    </a:lnTo>
                    <a:lnTo>
                      <a:pt x="62" y="98"/>
                    </a:lnTo>
                    <a:lnTo>
                      <a:pt x="62" y="96"/>
                    </a:lnTo>
                    <a:lnTo>
                      <a:pt x="60" y="94"/>
                    </a:lnTo>
                    <a:lnTo>
                      <a:pt x="60" y="92"/>
                    </a:lnTo>
                    <a:lnTo>
                      <a:pt x="60" y="90"/>
                    </a:lnTo>
                    <a:lnTo>
                      <a:pt x="58" y="88"/>
                    </a:lnTo>
                    <a:lnTo>
                      <a:pt x="58" y="87"/>
                    </a:lnTo>
                    <a:lnTo>
                      <a:pt x="58" y="85"/>
                    </a:lnTo>
                    <a:lnTo>
                      <a:pt x="58" y="83"/>
                    </a:lnTo>
                    <a:lnTo>
                      <a:pt x="62" y="83"/>
                    </a:lnTo>
                    <a:lnTo>
                      <a:pt x="64" y="83"/>
                    </a:lnTo>
                    <a:lnTo>
                      <a:pt x="66" y="83"/>
                    </a:lnTo>
                    <a:lnTo>
                      <a:pt x="69" y="83"/>
                    </a:lnTo>
                    <a:lnTo>
                      <a:pt x="71" y="83"/>
                    </a:lnTo>
                    <a:lnTo>
                      <a:pt x="73" y="83"/>
                    </a:lnTo>
                    <a:lnTo>
                      <a:pt x="77" y="87"/>
                    </a:lnTo>
                    <a:lnTo>
                      <a:pt x="83" y="90"/>
                    </a:lnTo>
                    <a:lnTo>
                      <a:pt x="85" y="90"/>
                    </a:lnTo>
                    <a:lnTo>
                      <a:pt x="89" y="90"/>
                    </a:lnTo>
                    <a:lnTo>
                      <a:pt x="91" y="90"/>
                    </a:lnTo>
                    <a:lnTo>
                      <a:pt x="92" y="90"/>
                    </a:lnTo>
                    <a:lnTo>
                      <a:pt x="94" y="92"/>
                    </a:lnTo>
                    <a:lnTo>
                      <a:pt x="96" y="92"/>
                    </a:lnTo>
                    <a:lnTo>
                      <a:pt x="108" y="96"/>
                    </a:lnTo>
                    <a:lnTo>
                      <a:pt x="110" y="98"/>
                    </a:lnTo>
                    <a:lnTo>
                      <a:pt x="123" y="106"/>
                    </a:lnTo>
                    <a:lnTo>
                      <a:pt x="127" y="108"/>
                    </a:lnTo>
                    <a:lnTo>
                      <a:pt x="129" y="110"/>
                    </a:lnTo>
                    <a:lnTo>
                      <a:pt x="127" y="112"/>
                    </a:lnTo>
                    <a:lnTo>
                      <a:pt x="127" y="113"/>
                    </a:lnTo>
                    <a:lnTo>
                      <a:pt x="127" y="115"/>
                    </a:lnTo>
                    <a:lnTo>
                      <a:pt x="129" y="117"/>
                    </a:lnTo>
                    <a:lnTo>
                      <a:pt x="131" y="119"/>
                    </a:lnTo>
                    <a:lnTo>
                      <a:pt x="133" y="119"/>
                    </a:lnTo>
                    <a:lnTo>
                      <a:pt x="137" y="115"/>
                    </a:lnTo>
                    <a:lnTo>
                      <a:pt x="139" y="113"/>
                    </a:lnTo>
                    <a:lnTo>
                      <a:pt x="139" y="112"/>
                    </a:lnTo>
                    <a:lnTo>
                      <a:pt x="142" y="115"/>
                    </a:lnTo>
                    <a:lnTo>
                      <a:pt x="144" y="117"/>
                    </a:lnTo>
                    <a:lnTo>
                      <a:pt x="146" y="119"/>
                    </a:lnTo>
                    <a:lnTo>
                      <a:pt x="146" y="117"/>
                    </a:lnTo>
                    <a:lnTo>
                      <a:pt x="148" y="117"/>
                    </a:lnTo>
                    <a:lnTo>
                      <a:pt x="150" y="113"/>
                    </a:lnTo>
                    <a:lnTo>
                      <a:pt x="152" y="112"/>
                    </a:lnTo>
                    <a:lnTo>
                      <a:pt x="154" y="112"/>
                    </a:lnTo>
                    <a:lnTo>
                      <a:pt x="158" y="115"/>
                    </a:lnTo>
                    <a:lnTo>
                      <a:pt x="162" y="119"/>
                    </a:lnTo>
                    <a:lnTo>
                      <a:pt x="164" y="121"/>
                    </a:lnTo>
                    <a:lnTo>
                      <a:pt x="165" y="119"/>
                    </a:lnTo>
                    <a:lnTo>
                      <a:pt x="167" y="117"/>
                    </a:lnTo>
                    <a:lnTo>
                      <a:pt x="167" y="115"/>
                    </a:lnTo>
                    <a:lnTo>
                      <a:pt x="169" y="113"/>
                    </a:lnTo>
                    <a:lnTo>
                      <a:pt x="177" y="119"/>
                    </a:lnTo>
                    <a:lnTo>
                      <a:pt x="179" y="119"/>
                    </a:lnTo>
                    <a:lnTo>
                      <a:pt x="189" y="127"/>
                    </a:lnTo>
                    <a:lnTo>
                      <a:pt x="189" y="125"/>
                    </a:lnTo>
                    <a:lnTo>
                      <a:pt x="190" y="123"/>
                    </a:lnTo>
                    <a:lnTo>
                      <a:pt x="194" y="115"/>
                    </a:lnTo>
                    <a:lnTo>
                      <a:pt x="196" y="115"/>
                    </a:lnTo>
                    <a:lnTo>
                      <a:pt x="198" y="112"/>
                    </a:lnTo>
                    <a:lnTo>
                      <a:pt x="196" y="110"/>
                    </a:lnTo>
                    <a:lnTo>
                      <a:pt x="194" y="106"/>
                    </a:lnTo>
                    <a:lnTo>
                      <a:pt x="192" y="100"/>
                    </a:lnTo>
                    <a:lnTo>
                      <a:pt x="192" y="96"/>
                    </a:lnTo>
                    <a:lnTo>
                      <a:pt x="192" y="94"/>
                    </a:lnTo>
                    <a:lnTo>
                      <a:pt x="192" y="87"/>
                    </a:lnTo>
                    <a:lnTo>
                      <a:pt x="192" y="85"/>
                    </a:lnTo>
                    <a:lnTo>
                      <a:pt x="192" y="81"/>
                    </a:lnTo>
                    <a:lnTo>
                      <a:pt x="192" y="73"/>
                    </a:lnTo>
                    <a:lnTo>
                      <a:pt x="190" y="73"/>
                    </a:lnTo>
                    <a:lnTo>
                      <a:pt x="189" y="73"/>
                    </a:lnTo>
                    <a:lnTo>
                      <a:pt x="181" y="71"/>
                    </a:lnTo>
                    <a:lnTo>
                      <a:pt x="179" y="71"/>
                    </a:lnTo>
                    <a:lnTo>
                      <a:pt x="177" y="69"/>
                    </a:lnTo>
                    <a:lnTo>
                      <a:pt x="185" y="54"/>
                    </a:lnTo>
                    <a:lnTo>
                      <a:pt x="187" y="50"/>
                    </a:lnTo>
                    <a:lnTo>
                      <a:pt x="192" y="37"/>
                    </a:lnTo>
                    <a:lnTo>
                      <a:pt x="194" y="33"/>
                    </a:lnTo>
                    <a:lnTo>
                      <a:pt x="196" y="29"/>
                    </a:lnTo>
                    <a:lnTo>
                      <a:pt x="198" y="25"/>
                    </a:lnTo>
                    <a:lnTo>
                      <a:pt x="200" y="19"/>
                    </a:lnTo>
                    <a:lnTo>
                      <a:pt x="208" y="19"/>
                    </a:lnTo>
                    <a:lnTo>
                      <a:pt x="219" y="17"/>
                    </a:lnTo>
                    <a:lnTo>
                      <a:pt x="225" y="17"/>
                    </a:lnTo>
                    <a:lnTo>
                      <a:pt x="235" y="15"/>
                    </a:lnTo>
                    <a:lnTo>
                      <a:pt x="240" y="15"/>
                    </a:lnTo>
                    <a:lnTo>
                      <a:pt x="246" y="15"/>
                    </a:lnTo>
                    <a:lnTo>
                      <a:pt x="250" y="13"/>
                    </a:lnTo>
                    <a:lnTo>
                      <a:pt x="265" y="12"/>
                    </a:lnTo>
                    <a:lnTo>
                      <a:pt x="275" y="12"/>
                    </a:lnTo>
                    <a:lnTo>
                      <a:pt x="277" y="12"/>
                    </a:lnTo>
                    <a:lnTo>
                      <a:pt x="277" y="10"/>
                    </a:lnTo>
                    <a:lnTo>
                      <a:pt x="277" y="8"/>
                    </a:lnTo>
                    <a:lnTo>
                      <a:pt x="279" y="8"/>
                    </a:lnTo>
                    <a:lnTo>
                      <a:pt x="279" y="6"/>
                    </a:lnTo>
                    <a:lnTo>
                      <a:pt x="281" y="6"/>
                    </a:lnTo>
                    <a:lnTo>
                      <a:pt x="279" y="6"/>
                    </a:lnTo>
                    <a:lnTo>
                      <a:pt x="279" y="4"/>
                    </a:lnTo>
                    <a:lnTo>
                      <a:pt x="281" y="4"/>
                    </a:lnTo>
                    <a:lnTo>
                      <a:pt x="279" y="4"/>
                    </a:lnTo>
                    <a:lnTo>
                      <a:pt x="281" y="4"/>
                    </a:lnTo>
                    <a:lnTo>
                      <a:pt x="281" y="2"/>
                    </a:lnTo>
                    <a:lnTo>
                      <a:pt x="283" y="4"/>
                    </a:lnTo>
                    <a:lnTo>
                      <a:pt x="285" y="4"/>
                    </a:lnTo>
                    <a:lnTo>
                      <a:pt x="285" y="6"/>
                    </a:lnTo>
                    <a:lnTo>
                      <a:pt x="286" y="6"/>
                    </a:lnTo>
                    <a:lnTo>
                      <a:pt x="288" y="6"/>
                    </a:lnTo>
                    <a:lnTo>
                      <a:pt x="286" y="4"/>
                    </a:lnTo>
                    <a:lnTo>
                      <a:pt x="288" y="4"/>
                    </a:lnTo>
                    <a:lnTo>
                      <a:pt x="288" y="6"/>
                    </a:lnTo>
                    <a:lnTo>
                      <a:pt x="288" y="4"/>
                    </a:lnTo>
                    <a:lnTo>
                      <a:pt x="290" y="4"/>
                    </a:lnTo>
                    <a:lnTo>
                      <a:pt x="290" y="2"/>
                    </a:lnTo>
                    <a:lnTo>
                      <a:pt x="290" y="4"/>
                    </a:lnTo>
                    <a:lnTo>
                      <a:pt x="292" y="4"/>
                    </a:lnTo>
                    <a:lnTo>
                      <a:pt x="292" y="2"/>
                    </a:lnTo>
                    <a:lnTo>
                      <a:pt x="294" y="2"/>
                    </a:lnTo>
                    <a:lnTo>
                      <a:pt x="296" y="4"/>
                    </a:lnTo>
                    <a:lnTo>
                      <a:pt x="296" y="2"/>
                    </a:lnTo>
                    <a:lnTo>
                      <a:pt x="298" y="2"/>
                    </a:lnTo>
                    <a:lnTo>
                      <a:pt x="300" y="2"/>
                    </a:lnTo>
                    <a:lnTo>
                      <a:pt x="300" y="4"/>
                    </a:lnTo>
                    <a:lnTo>
                      <a:pt x="298" y="4"/>
                    </a:lnTo>
                    <a:lnTo>
                      <a:pt x="296" y="6"/>
                    </a:lnTo>
                    <a:lnTo>
                      <a:pt x="298" y="6"/>
                    </a:lnTo>
                    <a:lnTo>
                      <a:pt x="296" y="6"/>
                    </a:lnTo>
                    <a:lnTo>
                      <a:pt x="298" y="8"/>
                    </a:lnTo>
                    <a:lnTo>
                      <a:pt x="298" y="6"/>
                    </a:lnTo>
                    <a:lnTo>
                      <a:pt x="298" y="8"/>
                    </a:lnTo>
                    <a:lnTo>
                      <a:pt x="296" y="8"/>
                    </a:lnTo>
                    <a:lnTo>
                      <a:pt x="296" y="10"/>
                    </a:lnTo>
                    <a:lnTo>
                      <a:pt x="296" y="12"/>
                    </a:lnTo>
                    <a:lnTo>
                      <a:pt x="296" y="10"/>
                    </a:lnTo>
                    <a:lnTo>
                      <a:pt x="296" y="12"/>
                    </a:lnTo>
                    <a:lnTo>
                      <a:pt x="296" y="10"/>
                    </a:lnTo>
                    <a:lnTo>
                      <a:pt x="296" y="12"/>
                    </a:lnTo>
                    <a:lnTo>
                      <a:pt x="298" y="12"/>
                    </a:lnTo>
                    <a:lnTo>
                      <a:pt x="296" y="12"/>
                    </a:lnTo>
                    <a:lnTo>
                      <a:pt x="298" y="12"/>
                    </a:lnTo>
                    <a:lnTo>
                      <a:pt x="298" y="13"/>
                    </a:lnTo>
                    <a:lnTo>
                      <a:pt x="298" y="15"/>
                    </a:lnTo>
                    <a:lnTo>
                      <a:pt x="296" y="15"/>
                    </a:lnTo>
                    <a:lnTo>
                      <a:pt x="296" y="17"/>
                    </a:lnTo>
                    <a:lnTo>
                      <a:pt x="294" y="19"/>
                    </a:lnTo>
                    <a:lnTo>
                      <a:pt x="296" y="19"/>
                    </a:lnTo>
                    <a:lnTo>
                      <a:pt x="296" y="17"/>
                    </a:lnTo>
                    <a:lnTo>
                      <a:pt x="296" y="19"/>
                    </a:lnTo>
                    <a:lnTo>
                      <a:pt x="294" y="19"/>
                    </a:lnTo>
                    <a:lnTo>
                      <a:pt x="296" y="19"/>
                    </a:lnTo>
                    <a:lnTo>
                      <a:pt x="294" y="19"/>
                    </a:lnTo>
                    <a:lnTo>
                      <a:pt x="294" y="21"/>
                    </a:lnTo>
                    <a:lnTo>
                      <a:pt x="294" y="23"/>
                    </a:lnTo>
                    <a:lnTo>
                      <a:pt x="292" y="25"/>
                    </a:lnTo>
                    <a:lnTo>
                      <a:pt x="292" y="27"/>
                    </a:lnTo>
                    <a:lnTo>
                      <a:pt x="292" y="25"/>
                    </a:lnTo>
                    <a:lnTo>
                      <a:pt x="292" y="27"/>
                    </a:lnTo>
                    <a:lnTo>
                      <a:pt x="292" y="25"/>
                    </a:lnTo>
                    <a:lnTo>
                      <a:pt x="294" y="23"/>
                    </a:lnTo>
                    <a:lnTo>
                      <a:pt x="294" y="25"/>
                    </a:lnTo>
                    <a:lnTo>
                      <a:pt x="294" y="27"/>
                    </a:lnTo>
                    <a:lnTo>
                      <a:pt x="294" y="25"/>
                    </a:lnTo>
                    <a:lnTo>
                      <a:pt x="294" y="27"/>
                    </a:lnTo>
                    <a:lnTo>
                      <a:pt x="294" y="29"/>
                    </a:lnTo>
                    <a:lnTo>
                      <a:pt x="294" y="31"/>
                    </a:lnTo>
                    <a:lnTo>
                      <a:pt x="292" y="33"/>
                    </a:lnTo>
                    <a:lnTo>
                      <a:pt x="292" y="35"/>
                    </a:lnTo>
                    <a:lnTo>
                      <a:pt x="290" y="35"/>
                    </a:lnTo>
                    <a:lnTo>
                      <a:pt x="292" y="35"/>
                    </a:lnTo>
                    <a:lnTo>
                      <a:pt x="290" y="35"/>
                    </a:lnTo>
                    <a:lnTo>
                      <a:pt x="292" y="35"/>
                    </a:lnTo>
                    <a:lnTo>
                      <a:pt x="290" y="35"/>
                    </a:lnTo>
                    <a:lnTo>
                      <a:pt x="292" y="35"/>
                    </a:lnTo>
                    <a:lnTo>
                      <a:pt x="290" y="35"/>
                    </a:lnTo>
                    <a:lnTo>
                      <a:pt x="290" y="37"/>
                    </a:lnTo>
                    <a:lnTo>
                      <a:pt x="288" y="37"/>
                    </a:lnTo>
                    <a:lnTo>
                      <a:pt x="288" y="38"/>
                    </a:lnTo>
                    <a:lnTo>
                      <a:pt x="288" y="40"/>
                    </a:lnTo>
                    <a:lnTo>
                      <a:pt x="286" y="42"/>
                    </a:lnTo>
                    <a:lnTo>
                      <a:pt x="286" y="44"/>
                    </a:lnTo>
                    <a:lnTo>
                      <a:pt x="286" y="46"/>
                    </a:lnTo>
                    <a:lnTo>
                      <a:pt x="286" y="48"/>
                    </a:lnTo>
                    <a:lnTo>
                      <a:pt x="285" y="50"/>
                    </a:lnTo>
                    <a:lnTo>
                      <a:pt x="286" y="50"/>
                    </a:lnTo>
                    <a:lnTo>
                      <a:pt x="285" y="50"/>
                    </a:lnTo>
                    <a:lnTo>
                      <a:pt x="286" y="50"/>
                    </a:lnTo>
                    <a:lnTo>
                      <a:pt x="285" y="50"/>
                    </a:lnTo>
                    <a:lnTo>
                      <a:pt x="286" y="50"/>
                    </a:lnTo>
                    <a:lnTo>
                      <a:pt x="286" y="52"/>
                    </a:lnTo>
                    <a:lnTo>
                      <a:pt x="286" y="50"/>
                    </a:lnTo>
                    <a:lnTo>
                      <a:pt x="286" y="52"/>
                    </a:lnTo>
                    <a:lnTo>
                      <a:pt x="285" y="52"/>
                    </a:lnTo>
                    <a:lnTo>
                      <a:pt x="285" y="54"/>
                    </a:lnTo>
                    <a:lnTo>
                      <a:pt x="285" y="52"/>
                    </a:lnTo>
                    <a:lnTo>
                      <a:pt x="285" y="50"/>
                    </a:lnTo>
                    <a:lnTo>
                      <a:pt x="285" y="52"/>
                    </a:lnTo>
                    <a:lnTo>
                      <a:pt x="285" y="54"/>
                    </a:lnTo>
                    <a:lnTo>
                      <a:pt x="283" y="54"/>
                    </a:lnTo>
                    <a:lnTo>
                      <a:pt x="285" y="54"/>
                    </a:lnTo>
                    <a:lnTo>
                      <a:pt x="283" y="54"/>
                    </a:lnTo>
                    <a:lnTo>
                      <a:pt x="283" y="56"/>
                    </a:lnTo>
                    <a:lnTo>
                      <a:pt x="283" y="58"/>
                    </a:lnTo>
                    <a:lnTo>
                      <a:pt x="283" y="60"/>
                    </a:lnTo>
                    <a:lnTo>
                      <a:pt x="281" y="60"/>
                    </a:lnTo>
                    <a:lnTo>
                      <a:pt x="281" y="62"/>
                    </a:lnTo>
                    <a:lnTo>
                      <a:pt x="279" y="62"/>
                    </a:lnTo>
                    <a:lnTo>
                      <a:pt x="279" y="63"/>
                    </a:lnTo>
                    <a:lnTo>
                      <a:pt x="279" y="65"/>
                    </a:lnTo>
                    <a:lnTo>
                      <a:pt x="277" y="65"/>
                    </a:lnTo>
                    <a:lnTo>
                      <a:pt x="277" y="67"/>
                    </a:lnTo>
                    <a:lnTo>
                      <a:pt x="275" y="67"/>
                    </a:lnTo>
                    <a:lnTo>
                      <a:pt x="275" y="69"/>
                    </a:lnTo>
                    <a:lnTo>
                      <a:pt x="273" y="69"/>
                    </a:lnTo>
                    <a:lnTo>
                      <a:pt x="271" y="69"/>
                    </a:lnTo>
                    <a:lnTo>
                      <a:pt x="269" y="69"/>
                    </a:lnTo>
                    <a:lnTo>
                      <a:pt x="271" y="69"/>
                    </a:lnTo>
                    <a:lnTo>
                      <a:pt x="269" y="69"/>
                    </a:lnTo>
                    <a:lnTo>
                      <a:pt x="271" y="69"/>
                    </a:lnTo>
                    <a:lnTo>
                      <a:pt x="269" y="69"/>
                    </a:lnTo>
                    <a:lnTo>
                      <a:pt x="269" y="71"/>
                    </a:lnTo>
                    <a:lnTo>
                      <a:pt x="269" y="69"/>
                    </a:lnTo>
                    <a:lnTo>
                      <a:pt x="269" y="71"/>
                    </a:lnTo>
                    <a:lnTo>
                      <a:pt x="269" y="69"/>
                    </a:lnTo>
                    <a:lnTo>
                      <a:pt x="271" y="69"/>
                    </a:lnTo>
                    <a:lnTo>
                      <a:pt x="271" y="71"/>
                    </a:lnTo>
                    <a:lnTo>
                      <a:pt x="271" y="69"/>
                    </a:lnTo>
                    <a:lnTo>
                      <a:pt x="271" y="71"/>
                    </a:lnTo>
                    <a:lnTo>
                      <a:pt x="271" y="69"/>
                    </a:lnTo>
                    <a:lnTo>
                      <a:pt x="273" y="69"/>
                    </a:lnTo>
                    <a:lnTo>
                      <a:pt x="271" y="69"/>
                    </a:lnTo>
                    <a:lnTo>
                      <a:pt x="271" y="71"/>
                    </a:lnTo>
                    <a:lnTo>
                      <a:pt x="269" y="71"/>
                    </a:lnTo>
                    <a:lnTo>
                      <a:pt x="267" y="71"/>
                    </a:lnTo>
                    <a:lnTo>
                      <a:pt x="267" y="73"/>
                    </a:lnTo>
                    <a:lnTo>
                      <a:pt x="267" y="71"/>
                    </a:lnTo>
                    <a:lnTo>
                      <a:pt x="269" y="71"/>
                    </a:lnTo>
                    <a:lnTo>
                      <a:pt x="267" y="73"/>
                    </a:lnTo>
                    <a:lnTo>
                      <a:pt x="267" y="75"/>
                    </a:lnTo>
                    <a:lnTo>
                      <a:pt x="265" y="75"/>
                    </a:lnTo>
                    <a:lnTo>
                      <a:pt x="263" y="75"/>
                    </a:lnTo>
                    <a:lnTo>
                      <a:pt x="263" y="77"/>
                    </a:lnTo>
                    <a:lnTo>
                      <a:pt x="263" y="75"/>
                    </a:lnTo>
                    <a:lnTo>
                      <a:pt x="265" y="75"/>
                    </a:lnTo>
                    <a:lnTo>
                      <a:pt x="265" y="77"/>
                    </a:lnTo>
                    <a:lnTo>
                      <a:pt x="263" y="77"/>
                    </a:lnTo>
                    <a:lnTo>
                      <a:pt x="263" y="79"/>
                    </a:lnTo>
                    <a:lnTo>
                      <a:pt x="263" y="81"/>
                    </a:lnTo>
                    <a:lnTo>
                      <a:pt x="262" y="81"/>
                    </a:lnTo>
                    <a:lnTo>
                      <a:pt x="262" y="83"/>
                    </a:lnTo>
                    <a:lnTo>
                      <a:pt x="260" y="83"/>
                    </a:lnTo>
                    <a:lnTo>
                      <a:pt x="260" y="85"/>
                    </a:lnTo>
                    <a:lnTo>
                      <a:pt x="260" y="87"/>
                    </a:lnTo>
                    <a:lnTo>
                      <a:pt x="258" y="87"/>
                    </a:lnTo>
                    <a:lnTo>
                      <a:pt x="256" y="88"/>
                    </a:lnTo>
                    <a:lnTo>
                      <a:pt x="256" y="90"/>
                    </a:lnTo>
                    <a:lnTo>
                      <a:pt x="254" y="90"/>
                    </a:lnTo>
                    <a:lnTo>
                      <a:pt x="256" y="90"/>
                    </a:lnTo>
                    <a:lnTo>
                      <a:pt x="256" y="88"/>
                    </a:lnTo>
                    <a:lnTo>
                      <a:pt x="254" y="88"/>
                    </a:lnTo>
                    <a:lnTo>
                      <a:pt x="256" y="88"/>
                    </a:lnTo>
                    <a:lnTo>
                      <a:pt x="256" y="90"/>
                    </a:lnTo>
                    <a:lnTo>
                      <a:pt x="254" y="90"/>
                    </a:lnTo>
                    <a:lnTo>
                      <a:pt x="256" y="90"/>
                    </a:lnTo>
                    <a:lnTo>
                      <a:pt x="256" y="92"/>
                    </a:lnTo>
                    <a:lnTo>
                      <a:pt x="254" y="92"/>
                    </a:lnTo>
                    <a:lnTo>
                      <a:pt x="254" y="90"/>
                    </a:lnTo>
                    <a:lnTo>
                      <a:pt x="254" y="92"/>
                    </a:lnTo>
                    <a:lnTo>
                      <a:pt x="252" y="92"/>
                    </a:lnTo>
                    <a:lnTo>
                      <a:pt x="252" y="90"/>
                    </a:lnTo>
                    <a:lnTo>
                      <a:pt x="250" y="90"/>
                    </a:lnTo>
                    <a:lnTo>
                      <a:pt x="248" y="90"/>
                    </a:lnTo>
                    <a:lnTo>
                      <a:pt x="246" y="92"/>
                    </a:lnTo>
                    <a:lnTo>
                      <a:pt x="246" y="90"/>
                    </a:lnTo>
                    <a:lnTo>
                      <a:pt x="246" y="88"/>
                    </a:lnTo>
                    <a:lnTo>
                      <a:pt x="246" y="87"/>
                    </a:lnTo>
                    <a:lnTo>
                      <a:pt x="244" y="87"/>
                    </a:lnTo>
                    <a:lnTo>
                      <a:pt x="242" y="87"/>
                    </a:lnTo>
                    <a:lnTo>
                      <a:pt x="242" y="85"/>
                    </a:lnTo>
                    <a:lnTo>
                      <a:pt x="242" y="87"/>
                    </a:lnTo>
                    <a:lnTo>
                      <a:pt x="240" y="87"/>
                    </a:lnTo>
                    <a:lnTo>
                      <a:pt x="240" y="85"/>
                    </a:lnTo>
                    <a:lnTo>
                      <a:pt x="238" y="85"/>
                    </a:lnTo>
                    <a:lnTo>
                      <a:pt x="240" y="85"/>
                    </a:lnTo>
                    <a:lnTo>
                      <a:pt x="238" y="87"/>
                    </a:lnTo>
                    <a:lnTo>
                      <a:pt x="237" y="87"/>
                    </a:lnTo>
                    <a:lnTo>
                      <a:pt x="237" y="85"/>
                    </a:lnTo>
                    <a:lnTo>
                      <a:pt x="238" y="85"/>
                    </a:lnTo>
                    <a:lnTo>
                      <a:pt x="238" y="83"/>
                    </a:lnTo>
                    <a:lnTo>
                      <a:pt x="237" y="83"/>
                    </a:lnTo>
                    <a:lnTo>
                      <a:pt x="235" y="83"/>
                    </a:lnTo>
                    <a:lnTo>
                      <a:pt x="233" y="83"/>
                    </a:lnTo>
                    <a:lnTo>
                      <a:pt x="231" y="83"/>
                    </a:lnTo>
                    <a:lnTo>
                      <a:pt x="231" y="81"/>
                    </a:lnTo>
                    <a:lnTo>
                      <a:pt x="233" y="81"/>
                    </a:lnTo>
                    <a:lnTo>
                      <a:pt x="233" y="79"/>
                    </a:lnTo>
                    <a:lnTo>
                      <a:pt x="231" y="79"/>
                    </a:lnTo>
                    <a:lnTo>
                      <a:pt x="231" y="77"/>
                    </a:lnTo>
                    <a:lnTo>
                      <a:pt x="229" y="79"/>
                    </a:lnTo>
                    <a:lnTo>
                      <a:pt x="227" y="79"/>
                    </a:lnTo>
                    <a:lnTo>
                      <a:pt x="229" y="79"/>
                    </a:lnTo>
                    <a:lnTo>
                      <a:pt x="231" y="77"/>
                    </a:lnTo>
                    <a:lnTo>
                      <a:pt x="231" y="79"/>
                    </a:lnTo>
                    <a:lnTo>
                      <a:pt x="233" y="79"/>
                    </a:lnTo>
                    <a:lnTo>
                      <a:pt x="231" y="79"/>
                    </a:lnTo>
                    <a:lnTo>
                      <a:pt x="233" y="79"/>
                    </a:lnTo>
                    <a:lnTo>
                      <a:pt x="233" y="81"/>
                    </a:lnTo>
                    <a:lnTo>
                      <a:pt x="231" y="81"/>
                    </a:lnTo>
                    <a:lnTo>
                      <a:pt x="231" y="83"/>
                    </a:lnTo>
                    <a:lnTo>
                      <a:pt x="233" y="83"/>
                    </a:lnTo>
                    <a:lnTo>
                      <a:pt x="231" y="83"/>
                    </a:lnTo>
                    <a:lnTo>
                      <a:pt x="233" y="83"/>
                    </a:lnTo>
                    <a:lnTo>
                      <a:pt x="235" y="83"/>
                    </a:lnTo>
                    <a:lnTo>
                      <a:pt x="237" y="83"/>
                    </a:lnTo>
                    <a:lnTo>
                      <a:pt x="238" y="83"/>
                    </a:lnTo>
                    <a:lnTo>
                      <a:pt x="238" y="85"/>
                    </a:lnTo>
                    <a:lnTo>
                      <a:pt x="237" y="85"/>
                    </a:lnTo>
                    <a:lnTo>
                      <a:pt x="237" y="87"/>
                    </a:lnTo>
                    <a:lnTo>
                      <a:pt x="238" y="87"/>
                    </a:lnTo>
                    <a:lnTo>
                      <a:pt x="240" y="87"/>
                    </a:lnTo>
                    <a:lnTo>
                      <a:pt x="240" y="85"/>
                    </a:lnTo>
                    <a:lnTo>
                      <a:pt x="238" y="85"/>
                    </a:lnTo>
                    <a:lnTo>
                      <a:pt x="240" y="85"/>
                    </a:lnTo>
                    <a:lnTo>
                      <a:pt x="240" y="87"/>
                    </a:lnTo>
                    <a:lnTo>
                      <a:pt x="242" y="87"/>
                    </a:lnTo>
                    <a:lnTo>
                      <a:pt x="244" y="87"/>
                    </a:lnTo>
                    <a:lnTo>
                      <a:pt x="244" y="88"/>
                    </a:lnTo>
                    <a:lnTo>
                      <a:pt x="246" y="88"/>
                    </a:lnTo>
                    <a:lnTo>
                      <a:pt x="246" y="90"/>
                    </a:lnTo>
                    <a:lnTo>
                      <a:pt x="246" y="92"/>
                    </a:lnTo>
                    <a:lnTo>
                      <a:pt x="248" y="92"/>
                    </a:lnTo>
                    <a:lnTo>
                      <a:pt x="248" y="90"/>
                    </a:lnTo>
                    <a:lnTo>
                      <a:pt x="250" y="90"/>
                    </a:lnTo>
                    <a:lnTo>
                      <a:pt x="252" y="90"/>
                    </a:lnTo>
                    <a:lnTo>
                      <a:pt x="252" y="92"/>
                    </a:lnTo>
                    <a:lnTo>
                      <a:pt x="254" y="92"/>
                    </a:lnTo>
                    <a:lnTo>
                      <a:pt x="252" y="92"/>
                    </a:lnTo>
                    <a:lnTo>
                      <a:pt x="254" y="92"/>
                    </a:lnTo>
                    <a:lnTo>
                      <a:pt x="254" y="94"/>
                    </a:lnTo>
                    <a:lnTo>
                      <a:pt x="256" y="96"/>
                    </a:lnTo>
                    <a:lnTo>
                      <a:pt x="254" y="96"/>
                    </a:lnTo>
                    <a:lnTo>
                      <a:pt x="254" y="94"/>
                    </a:lnTo>
                    <a:lnTo>
                      <a:pt x="254" y="96"/>
                    </a:lnTo>
                    <a:lnTo>
                      <a:pt x="254" y="94"/>
                    </a:lnTo>
                    <a:lnTo>
                      <a:pt x="254" y="96"/>
                    </a:lnTo>
                    <a:lnTo>
                      <a:pt x="254" y="94"/>
                    </a:lnTo>
                    <a:lnTo>
                      <a:pt x="252" y="94"/>
                    </a:lnTo>
                    <a:lnTo>
                      <a:pt x="252" y="96"/>
                    </a:lnTo>
                    <a:lnTo>
                      <a:pt x="252" y="94"/>
                    </a:lnTo>
                    <a:lnTo>
                      <a:pt x="254" y="94"/>
                    </a:lnTo>
                    <a:lnTo>
                      <a:pt x="254" y="96"/>
                    </a:lnTo>
                    <a:lnTo>
                      <a:pt x="254" y="94"/>
                    </a:lnTo>
                    <a:lnTo>
                      <a:pt x="254" y="96"/>
                    </a:lnTo>
                    <a:lnTo>
                      <a:pt x="256" y="96"/>
                    </a:lnTo>
                    <a:lnTo>
                      <a:pt x="258" y="96"/>
                    </a:lnTo>
                    <a:lnTo>
                      <a:pt x="260" y="98"/>
                    </a:lnTo>
                    <a:lnTo>
                      <a:pt x="262" y="98"/>
                    </a:lnTo>
                    <a:lnTo>
                      <a:pt x="262" y="100"/>
                    </a:lnTo>
                    <a:lnTo>
                      <a:pt x="263" y="100"/>
                    </a:lnTo>
                    <a:lnTo>
                      <a:pt x="263" y="102"/>
                    </a:lnTo>
                    <a:lnTo>
                      <a:pt x="265" y="102"/>
                    </a:lnTo>
                    <a:lnTo>
                      <a:pt x="267" y="104"/>
                    </a:lnTo>
                    <a:lnTo>
                      <a:pt x="269" y="106"/>
                    </a:lnTo>
                    <a:lnTo>
                      <a:pt x="267" y="106"/>
                    </a:lnTo>
                    <a:lnTo>
                      <a:pt x="267" y="108"/>
                    </a:lnTo>
                    <a:lnTo>
                      <a:pt x="265" y="108"/>
                    </a:lnTo>
                    <a:lnTo>
                      <a:pt x="263" y="108"/>
                    </a:lnTo>
                    <a:lnTo>
                      <a:pt x="263" y="110"/>
                    </a:lnTo>
                    <a:lnTo>
                      <a:pt x="263" y="108"/>
                    </a:lnTo>
                    <a:lnTo>
                      <a:pt x="265" y="108"/>
                    </a:lnTo>
                    <a:lnTo>
                      <a:pt x="267" y="108"/>
                    </a:lnTo>
                    <a:lnTo>
                      <a:pt x="267" y="106"/>
                    </a:lnTo>
                    <a:lnTo>
                      <a:pt x="269" y="106"/>
                    </a:lnTo>
                    <a:lnTo>
                      <a:pt x="269" y="108"/>
                    </a:lnTo>
                    <a:lnTo>
                      <a:pt x="269" y="106"/>
                    </a:lnTo>
                    <a:lnTo>
                      <a:pt x="269" y="108"/>
                    </a:lnTo>
                    <a:lnTo>
                      <a:pt x="269" y="110"/>
                    </a:lnTo>
                    <a:lnTo>
                      <a:pt x="269" y="108"/>
                    </a:lnTo>
                    <a:lnTo>
                      <a:pt x="269" y="110"/>
                    </a:lnTo>
                    <a:lnTo>
                      <a:pt x="269" y="112"/>
                    </a:lnTo>
                    <a:lnTo>
                      <a:pt x="271" y="112"/>
                    </a:lnTo>
                    <a:lnTo>
                      <a:pt x="271" y="113"/>
                    </a:lnTo>
                    <a:lnTo>
                      <a:pt x="273" y="113"/>
                    </a:lnTo>
                    <a:lnTo>
                      <a:pt x="275" y="113"/>
                    </a:lnTo>
                    <a:lnTo>
                      <a:pt x="275" y="115"/>
                    </a:lnTo>
                    <a:lnTo>
                      <a:pt x="277" y="115"/>
                    </a:lnTo>
                    <a:lnTo>
                      <a:pt x="277" y="113"/>
                    </a:lnTo>
                    <a:lnTo>
                      <a:pt x="277" y="115"/>
                    </a:lnTo>
                    <a:lnTo>
                      <a:pt x="279" y="115"/>
                    </a:lnTo>
                    <a:lnTo>
                      <a:pt x="279" y="117"/>
                    </a:lnTo>
                    <a:lnTo>
                      <a:pt x="281" y="117"/>
                    </a:lnTo>
                    <a:lnTo>
                      <a:pt x="279" y="117"/>
                    </a:lnTo>
                    <a:lnTo>
                      <a:pt x="279" y="115"/>
                    </a:lnTo>
                    <a:lnTo>
                      <a:pt x="281" y="115"/>
                    </a:lnTo>
                    <a:lnTo>
                      <a:pt x="281" y="117"/>
                    </a:lnTo>
                    <a:lnTo>
                      <a:pt x="283" y="117"/>
                    </a:lnTo>
                    <a:lnTo>
                      <a:pt x="283" y="119"/>
                    </a:lnTo>
                    <a:lnTo>
                      <a:pt x="281" y="119"/>
                    </a:lnTo>
                    <a:lnTo>
                      <a:pt x="283" y="119"/>
                    </a:lnTo>
                    <a:lnTo>
                      <a:pt x="283" y="121"/>
                    </a:lnTo>
                    <a:lnTo>
                      <a:pt x="285" y="121"/>
                    </a:lnTo>
                    <a:lnTo>
                      <a:pt x="285" y="123"/>
                    </a:lnTo>
                    <a:lnTo>
                      <a:pt x="286" y="123"/>
                    </a:lnTo>
                    <a:lnTo>
                      <a:pt x="286" y="125"/>
                    </a:lnTo>
                    <a:lnTo>
                      <a:pt x="286" y="127"/>
                    </a:lnTo>
                    <a:lnTo>
                      <a:pt x="286" y="129"/>
                    </a:lnTo>
                    <a:lnTo>
                      <a:pt x="286" y="131"/>
                    </a:lnTo>
                    <a:lnTo>
                      <a:pt x="288" y="131"/>
                    </a:lnTo>
                    <a:lnTo>
                      <a:pt x="288" y="133"/>
                    </a:lnTo>
                    <a:lnTo>
                      <a:pt x="288" y="135"/>
                    </a:lnTo>
                    <a:lnTo>
                      <a:pt x="288" y="137"/>
                    </a:lnTo>
                    <a:lnTo>
                      <a:pt x="286" y="138"/>
                    </a:lnTo>
                    <a:lnTo>
                      <a:pt x="286" y="137"/>
                    </a:lnTo>
                    <a:lnTo>
                      <a:pt x="286" y="138"/>
                    </a:lnTo>
                    <a:lnTo>
                      <a:pt x="285" y="138"/>
                    </a:lnTo>
                    <a:lnTo>
                      <a:pt x="286" y="138"/>
                    </a:lnTo>
                    <a:lnTo>
                      <a:pt x="285" y="138"/>
                    </a:lnTo>
                    <a:lnTo>
                      <a:pt x="283" y="140"/>
                    </a:lnTo>
                    <a:lnTo>
                      <a:pt x="283" y="142"/>
                    </a:lnTo>
                    <a:lnTo>
                      <a:pt x="281" y="142"/>
                    </a:lnTo>
                    <a:lnTo>
                      <a:pt x="281" y="144"/>
                    </a:lnTo>
                    <a:lnTo>
                      <a:pt x="281" y="146"/>
                    </a:lnTo>
                    <a:lnTo>
                      <a:pt x="279" y="146"/>
                    </a:lnTo>
                    <a:lnTo>
                      <a:pt x="277" y="146"/>
                    </a:lnTo>
                    <a:lnTo>
                      <a:pt x="277" y="148"/>
                    </a:lnTo>
                    <a:lnTo>
                      <a:pt x="277" y="146"/>
                    </a:lnTo>
                    <a:lnTo>
                      <a:pt x="275" y="146"/>
                    </a:lnTo>
                    <a:lnTo>
                      <a:pt x="273" y="146"/>
                    </a:lnTo>
                    <a:lnTo>
                      <a:pt x="273" y="148"/>
                    </a:lnTo>
                    <a:lnTo>
                      <a:pt x="271" y="148"/>
                    </a:lnTo>
                    <a:lnTo>
                      <a:pt x="269" y="148"/>
                    </a:lnTo>
                    <a:lnTo>
                      <a:pt x="267" y="148"/>
                    </a:lnTo>
                    <a:lnTo>
                      <a:pt x="265" y="150"/>
                    </a:lnTo>
                    <a:lnTo>
                      <a:pt x="263" y="152"/>
                    </a:lnTo>
                    <a:lnTo>
                      <a:pt x="263" y="154"/>
                    </a:lnTo>
                    <a:lnTo>
                      <a:pt x="263" y="156"/>
                    </a:lnTo>
                    <a:lnTo>
                      <a:pt x="263" y="158"/>
                    </a:lnTo>
                    <a:lnTo>
                      <a:pt x="262" y="158"/>
                    </a:lnTo>
                    <a:lnTo>
                      <a:pt x="262" y="160"/>
                    </a:lnTo>
                    <a:lnTo>
                      <a:pt x="262" y="162"/>
                    </a:lnTo>
                    <a:lnTo>
                      <a:pt x="260" y="162"/>
                    </a:lnTo>
                    <a:lnTo>
                      <a:pt x="260" y="163"/>
                    </a:lnTo>
                    <a:lnTo>
                      <a:pt x="260" y="165"/>
                    </a:lnTo>
                    <a:lnTo>
                      <a:pt x="260" y="167"/>
                    </a:lnTo>
                    <a:lnTo>
                      <a:pt x="262" y="169"/>
                    </a:lnTo>
                    <a:lnTo>
                      <a:pt x="263" y="169"/>
                    </a:lnTo>
                    <a:lnTo>
                      <a:pt x="265" y="169"/>
                    </a:lnTo>
                    <a:lnTo>
                      <a:pt x="265" y="171"/>
                    </a:lnTo>
                    <a:lnTo>
                      <a:pt x="265" y="173"/>
                    </a:lnTo>
                    <a:lnTo>
                      <a:pt x="263" y="173"/>
                    </a:lnTo>
                    <a:lnTo>
                      <a:pt x="262" y="173"/>
                    </a:lnTo>
                    <a:lnTo>
                      <a:pt x="262" y="175"/>
                    </a:lnTo>
                    <a:lnTo>
                      <a:pt x="262" y="177"/>
                    </a:lnTo>
                    <a:lnTo>
                      <a:pt x="262" y="179"/>
                    </a:lnTo>
                    <a:lnTo>
                      <a:pt x="260" y="179"/>
                    </a:lnTo>
                    <a:lnTo>
                      <a:pt x="260" y="181"/>
                    </a:lnTo>
                    <a:lnTo>
                      <a:pt x="260" y="179"/>
                    </a:lnTo>
                    <a:lnTo>
                      <a:pt x="258" y="179"/>
                    </a:lnTo>
                    <a:lnTo>
                      <a:pt x="258" y="181"/>
                    </a:lnTo>
                    <a:lnTo>
                      <a:pt x="256" y="181"/>
                    </a:lnTo>
                    <a:lnTo>
                      <a:pt x="256" y="183"/>
                    </a:lnTo>
                    <a:lnTo>
                      <a:pt x="258" y="183"/>
                    </a:lnTo>
                    <a:lnTo>
                      <a:pt x="258" y="185"/>
                    </a:lnTo>
                    <a:lnTo>
                      <a:pt x="256" y="185"/>
                    </a:lnTo>
                    <a:lnTo>
                      <a:pt x="256" y="183"/>
                    </a:lnTo>
                    <a:lnTo>
                      <a:pt x="254" y="183"/>
                    </a:lnTo>
                    <a:lnTo>
                      <a:pt x="254" y="185"/>
                    </a:lnTo>
                    <a:lnTo>
                      <a:pt x="254" y="187"/>
                    </a:lnTo>
                    <a:lnTo>
                      <a:pt x="252" y="187"/>
                    </a:lnTo>
                    <a:lnTo>
                      <a:pt x="254" y="188"/>
                    </a:lnTo>
                    <a:lnTo>
                      <a:pt x="252" y="188"/>
                    </a:lnTo>
                    <a:lnTo>
                      <a:pt x="252" y="190"/>
                    </a:lnTo>
                    <a:lnTo>
                      <a:pt x="254" y="192"/>
                    </a:lnTo>
                    <a:lnTo>
                      <a:pt x="256" y="192"/>
                    </a:lnTo>
                    <a:lnTo>
                      <a:pt x="256" y="194"/>
                    </a:lnTo>
                    <a:lnTo>
                      <a:pt x="254" y="194"/>
                    </a:lnTo>
                    <a:lnTo>
                      <a:pt x="254" y="196"/>
                    </a:lnTo>
                    <a:lnTo>
                      <a:pt x="254" y="198"/>
                    </a:lnTo>
                    <a:lnTo>
                      <a:pt x="256" y="200"/>
                    </a:lnTo>
                    <a:lnTo>
                      <a:pt x="254" y="200"/>
                    </a:lnTo>
                    <a:lnTo>
                      <a:pt x="254" y="202"/>
                    </a:lnTo>
                    <a:lnTo>
                      <a:pt x="254" y="200"/>
                    </a:lnTo>
                    <a:lnTo>
                      <a:pt x="256" y="200"/>
                    </a:lnTo>
                    <a:lnTo>
                      <a:pt x="254" y="198"/>
                    </a:lnTo>
                    <a:lnTo>
                      <a:pt x="254" y="194"/>
                    </a:lnTo>
                    <a:lnTo>
                      <a:pt x="256" y="194"/>
                    </a:lnTo>
                    <a:lnTo>
                      <a:pt x="256" y="192"/>
                    </a:lnTo>
                    <a:lnTo>
                      <a:pt x="254" y="192"/>
                    </a:lnTo>
                    <a:lnTo>
                      <a:pt x="252" y="190"/>
                    </a:lnTo>
                    <a:lnTo>
                      <a:pt x="252" y="188"/>
                    </a:lnTo>
                    <a:lnTo>
                      <a:pt x="254" y="188"/>
                    </a:lnTo>
                    <a:lnTo>
                      <a:pt x="254" y="187"/>
                    </a:lnTo>
                    <a:lnTo>
                      <a:pt x="252" y="187"/>
                    </a:lnTo>
                    <a:lnTo>
                      <a:pt x="254" y="187"/>
                    </a:lnTo>
                    <a:lnTo>
                      <a:pt x="254" y="185"/>
                    </a:lnTo>
                    <a:lnTo>
                      <a:pt x="254" y="183"/>
                    </a:lnTo>
                    <a:lnTo>
                      <a:pt x="254" y="185"/>
                    </a:lnTo>
                    <a:lnTo>
                      <a:pt x="256" y="185"/>
                    </a:lnTo>
                    <a:lnTo>
                      <a:pt x="258" y="185"/>
                    </a:lnTo>
                    <a:lnTo>
                      <a:pt x="258" y="183"/>
                    </a:lnTo>
                    <a:lnTo>
                      <a:pt x="258" y="181"/>
                    </a:lnTo>
                    <a:lnTo>
                      <a:pt x="260" y="181"/>
                    </a:lnTo>
                    <a:lnTo>
                      <a:pt x="260" y="179"/>
                    </a:lnTo>
                    <a:lnTo>
                      <a:pt x="262" y="179"/>
                    </a:lnTo>
                    <a:lnTo>
                      <a:pt x="262" y="177"/>
                    </a:lnTo>
                    <a:lnTo>
                      <a:pt x="262" y="175"/>
                    </a:lnTo>
                    <a:lnTo>
                      <a:pt x="262" y="173"/>
                    </a:lnTo>
                    <a:lnTo>
                      <a:pt x="263" y="173"/>
                    </a:lnTo>
                    <a:lnTo>
                      <a:pt x="265" y="173"/>
                    </a:lnTo>
                    <a:lnTo>
                      <a:pt x="265" y="171"/>
                    </a:lnTo>
                    <a:lnTo>
                      <a:pt x="265" y="169"/>
                    </a:lnTo>
                    <a:lnTo>
                      <a:pt x="263" y="169"/>
                    </a:lnTo>
                    <a:lnTo>
                      <a:pt x="262" y="169"/>
                    </a:lnTo>
                    <a:lnTo>
                      <a:pt x="262" y="167"/>
                    </a:lnTo>
                    <a:lnTo>
                      <a:pt x="260" y="167"/>
                    </a:lnTo>
                    <a:lnTo>
                      <a:pt x="260" y="165"/>
                    </a:lnTo>
                    <a:lnTo>
                      <a:pt x="260" y="163"/>
                    </a:lnTo>
                    <a:lnTo>
                      <a:pt x="260" y="162"/>
                    </a:lnTo>
                    <a:lnTo>
                      <a:pt x="262" y="162"/>
                    </a:lnTo>
                    <a:lnTo>
                      <a:pt x="262" y="160"/>
                    </a:lnTo>
                    <a:lnTo>
                      <a:pt x="263" y="158"/>
                    </a:lnTo>
                    <a:lnTo>
                      <a:pt x="263" y="156"/>
                    </a:lnTo>
                    <a:lnTo>
                      <a:pt x="263" y="154"/>
                    </a:lnTo>
                    <a:lnTo>
                      <a:pt x="263" y="152"/>
                    </a:lnTo>
                    <a:lnTo>
                      <a:pt x="265" y="150"/>
                    </a:lnTo>
                    <a:lnTo>
                      <a:pt x="267" y="148"/>
                    </a:lnTo>
                    <a:lnTo>
                      <a:pt x="269" y="148"/>
                    </a:lnTo>
                    <a:lnTo>
                      <a:pt x="271" y="148"/>
                    </a:lnTo>
                    <a:lnTo>
                      <a:pt x="273" y="148"/>
                    </a:lnTo>
                    <a:lnTo>
                      <a:pt x="273" y="146"/>
                    </a:lnTo>
                    <a:lnTo>
                      <a:pt x="275" y="146"/>
                    </a:lnTo>
                    <a:lnTo>
                      <a:pt x="275" y="148"/>
                    </a:lnTo>
                    <a:lnTo>
                      <a:pt x="277" y="148"/>
                    </a:lnTo>
                    <a:lnTo>
                      <a:pt x="279" y="148"/>
                    </a:lnTo>
                    <a:lnTo>
                      <a:pt x="279" y="146"/>
                    </a:lnTo>
                    <a:lnTo>
                      <a:pt x="281" y="146"/>
                    </a:lnTo>
                    <a:lnTo>
                      <a:pt x="281" y="144"/>
                    </a:lnTo>
                    <a:lnTo>
                      <a:pt x="281" y="142"/>
                    </a:lnTo>
                    <a:lnTo>
                      <a:pt x="283" y="140"/>
                    </a:lnTo>
                    <a:lnTo>
                      <a:pt x="285" y="140"/>
                    </a:lnTo>
                    <a:lnTo>
                      <a:pt x="285" y="138"/>
                    </a:lnTo>
                    <a:lnTo>
                      <a:pt x="286" y="138"/>
                    </a:lnTo>
                    <a:lnTo>
                      <a:pt x="288" y="138"/>
                    </a:lnTo>
                    <a:lnTo>
                      <a:pt x="288" y="137"/>
                    </a:lnTo>
                    <a:lnTo>
                      <a:pt x="288" y="135"/>
                    </a:lnTo>
                    <a:lnTo>
                      <a:pt x="290" y="135"/>
                    </a:lnTo>
                    <a:lnTo>
                      <a:pt x="290" y="133"/>
                    </a:lnTo>
                    <a:lnTo>
                      <a:pt x="288" y="131"/>
                    </a:lnTo>
                    <a:lnTo>
                      <a:pt x="288" y="129"/>
                    </a:lnTo>
                    <a:lnTo>
                      <a:pt x="286" y="129"/>
                    </a:lnTo>
                    <a:lnTo>
                      <a:pt x="286" y="127"/>
                    </a:lnTo>
                    <a:lnTo>
                      <a:pt x="286" y="125"/>
                    </a:lnTo>
                    <a:lnTo>
                      <a:pt x="286" y="123"/>
                    </a:lnTo>
                    <a:lnTo>
                      <a:pt x="285" y="123"/>
                    </a:lnTo>
                    <a:lnTo>
                      <a:pt x="286" y="123"/>
                    </a:lnTo>
                    <a:lnTo>
                      <a:pt x="285" y="123"/>
                    </a:lnTo>
                    <a:lnTo>
                      <a:pt x="285" y="121"/>
                    </a:lnTo>
                    <a:lnTo>
                      <a:pt x="283" y="121"/>
                    </a:lnTo>
                    <a:lnTo>
                      <a:pt x="283" y="119"/>
                    </a:lnTo>
                    <a:lnTo>
                      <a:pt x="283" y="117"/>
                    </a:lnTo>
                    <a:lnTo>
                      <a:pt x="283" y="119"/>
                    </a:lnTo>
                    <a:lnTo>
                      <a:pt x="283" y="117"/>
                    </a:lnTo>
                    <a:lnTo>
                      <a:pt x="281" y="115"/>
                    </a:lnTo>
                    <a:lnTo>
                      <a:pt x="279" y="115"/>
                    </a:lnTo>
                    <a:lnTo>
                      <a:pt x="277" y="115"/>
                    </a:lnTo>
                    <a:lnTo>
                      <a:pt x="277" y="113"/>
                    </a:lnTo>
                    <a:lnTo>
                      <a:pt x="279" y="113"/>
                    </a:lnTo>
                    <a:lnTo>
                      <a:pt x="279" y="115"/>
                    </a:lnTo>
                    <a:lnTo>
                      <a:pt x="279" y="113"/>
                    </a:lnTo>
                    <a:lnTo>
                      <a:pt x="277" y="113"/>
                    </a:lnTo>
                    <a:lnTo>
                      <a:pt x="275" y="113"/>
                    </a:lnTo>
                    <a:lnTo>
                      <a:pt x="273" y="113"/>
                    </a:lnTo>
                    <a:lnTo>
                      <a:pt x="271" y="113"/>
                    </a:lnTo>
                    <a:lnTo>
                      <a:pt x="273" y="113"/>
                    </a:lnTo>
                    <a:lnTo>
                      <a:pt x="271" y="113"/>
                    </a:lnTo>
                    <a:lnTo>
                      <a:pt x="271" y="112"/>
                    </a:lnTo>
                    <a:lnTo>
                      <a:pt x="271" y="110"/>
                    </a:lnTo>
                    <a:lnTo>
                      <a:pt x="273" y="110"/>
                    </a:lnTo>
                    <a:lnTo>
                      <a:pt x="275" y="110"/>
                    </a:lnTo>
                    <a:lnTo>
                      <a:pt x="277" y="110"/>
                    </a:lnTo>
                    <a:lnTo>
                      <a:pt x="279" y="112"/>
                    </a:lnTo>
                    <a:lnTo>
                      <a:pt x="281" y="112"/>
                    </a:lnTo>
                    <a:lnTo>
                      <a:pt x="281" y="113"/>
                    </a:lnTo>
                    <a:lnTo>
                      <a:pt x="283" y="113"/>
                    </a:lnTo>
                    <a:lnTo>
                      <a:pt x="285" y="113"/>
                    </a:lnTo>
                    <a:lnTo>
                      <a:pt x="286" y="113"/>
                    </a:lnTo>
                    <a:lnTo>
                      <a:pt x="288" y="113"/>
                    </a:lnTo>
                    <a:lnTo>
                      <a:pt x="290" y="112"/>
                    </a:lnTo>
                    <a:lnTo>
                      <a:pt x="292" y="112"/>
                    </a:lnTo>
                    <a:lnTo>
                      <a:pt x="290" y="112"/>
                    </a:lnTo>
                    <a:lnTo>
                      <a:pt x="292" y="112"/>
                    </a:lnTo>
                    <a:lnTo>
                      <a:pt x="294" y="112"/>
                    </a:lnTo>
                    <a:lnTo>
                      <a:pt x="296" y="112"/>
                    </a:lnTo>
                    <a:lnTo>
                      <a:pt x="296" y="113"/>
                    </a:lnTo>
                    <a:lnTo>
                      <a:pt x="298" y="113"/>
                    </a:lnTo>
                    <a:lnTo>
                      <a:pt x="300" y="113"/>
                    </a:lnTo>
                    <a:lnTo>
                      <a:pt x="302" y="113"/>
                    </a:lnTo>
                    <a:lnTo>
                      <a:pt x="300" y="113"/>
                    </a:lnTo>
                    <a:lnTo>
                      <a:pt x="302" y="113"/>
                    </a:lnTo>
                    <a:lnTo>
                      <a:pt x="304" y="113"/>
                    </a:lnTo>
                    <a:lnTo>
                      <a:pt x="306" y="115"/>
                    </a:lnTo>
                    <a:lnTo>
                      <a:pt x="306" y="117"/>
                    </a:lnTo>
                    <a:lnTo>
                      <a:pt x="308" y="117"/>
                    </a:lnTo>
                    <a:lnTo>
                      <a:pt x="310" y="117"/>
                    </a:lnTo>
                    <a:lnTo>
                      <a:pt x="311" y="115"/>
                    </a:lnTo>
                    <a:lnTo>
                      <a:pt x="313" y="115"/>
                    </a:lnTo>
                    <a:lnTo>
                      <a:pt x="313" y="113"/>
                    </a:lnTo>
                    <a:lnTo>
                      <a:pt x="313" y="115"/>
                    </a:lnTo>
                    <a:lnTo>
                      <a:pt x="313" y="113"/>
                    </a:lnTo>
                    <a:lnTo>
                      <a:pt x="315" y="113"/>
                    </a:lnTo>
                    <a:lnTo>
                      <a:pt x="317" y="113"/>
                    </a:lnTo>
                    <a:lnTo>
                      <a:pt x="315" y="113"/>
                    </a:lnTo>
                    <a:lnTo>
                      <a:pt x="313" y="113"/>
                    </a:lnTo>
                    <a:lnTo>
                      <a:pt x="313" y="115"/>
                    </a:lnTo>
                    <a:lnTo>
                      <a:pt x="313" y="113"/>
                    </a:lnTo>
                    <a:lnTo>
                      <a:pt x="313" y="115"/>
                    </a:lnTo>
                    <a:lnTo>
                      <a:pt x="311" y="115"/>
                    </a:lnTo>
                    <a:lnTo>
                      <a:pt x="310" y="115"/>
                    </a:lnTo>
                    <a:lnTo>
                      <a:pt x="311" y="113"/>
                    </a:lnTo>
                    <a:lnTo>
                      <a:pt x="313" y="113"/>
                    </a:lnTo>
                    <a:lnTo>
                      <a:pt x="311" y="113"/>
                    </a:lnTo>
                    <a:lnTo>
                      <a:pt x="311" y="115"/>
                    </a:lnTo>
                    <a:lnTo>
                      <a:pt x="311" y="113"/>
                    </a:lnTo>
                    <a:lnTo>
                      <a:pt x="313" y="113"/>
                    </a:lnTo>
                    <a:lnTo>
                      <a:pt x="313" y="112"/>
                    </a:lnTo>
                    <a:lnTo>
                      <a:pt x="315" y="112"/>
                    </a:lnTo>
                    <a:lnTo>
                      <a:pt x="317" y="110"/>
                    </a:lnTo>
                    <a:lnTo>
                      <a:pt x="317" y="108"/>
                    </a:lnTo>
                    <a:lnTo>
                      <a:pt x="317" y="110"/>
                    </a:lnTo>
                    <a:lnTo>
                      <a:pt x="317" y="108"/>
                    </a:lnTo>
                    <a:lnTo>
                      <a:pt x="319" y="108"/>
                    </a:lnTo>
                    <a:lnTo>
                      <a:pt x="321" y="106"/>
                    </a:lnTo>
                    <a:lnTo>
                      <a:pt x="323" y="106"/>
                    </a:lnTo>
                    <a:lnTo>
                      <a:pt x="323" y="108"/>
                    </a:lnTo>
                    <a:lnTo>
                      <a:pt x="325" y="108"/>
                    </a:lnTo>
                    <a:lnTo>
                      <a:pt x="327" y="108"/>
                    </a:lnTo>
                    <a:lnTo>
                      <a:pt x="329" y="108"/>
                    </a:lnTo>
                    <a:lnTo>
                      <a:pt x="329" y="106"/>
                    </a:lnTo>
                    <a:lnTo>
                      <a:pt x="331" y="106"/>
                    </a:lnTo>
                    <a:lnTo>
                      <a:pt x="331" y="104"/>
                    </a:lnTo>
                    <a:lnTo>
                      <a:pt x="333" y="104"/>
                    </a:lnTo>
                    <a:lnTo>
                      <a:pt x="335" y="102"/>
                    </a:lnTo>
                    <a:lnTo>
                      <a:pt x="336" y="102"/>
                    </a:lnTo>
                    <a:lnTo>
                      <a:pt x="338" y="102"/>
                    </a:lnTo>
                    <a:lnTo>
                      <a:pt x="338" y="100"/>
                    </a:lnTo>
                    <a:lnTo>
                      <a:pt x="342" y="100"/>
                    </a:lnTo>
                    <a:lnTo>
                      <a:pt x="342" y="98"/>
                    </a:lnTo>
                    <a:lnTo>
                      <a:pt x="342" y="96"/>
                    </a:lnTo>
                    <a:lnTo>
                      <a:pt x="342" y="94"/>
                    </a:lnTo>
                    <a:lnTo>
                      <a:pt x="344" y="92"/>
                    </a:lnTo>
                    <a:lnTo>
                      <a:pt x="344" y="90"/>
                    </a:lnTo>
                    <a:lnTo>
                      <a:pt x="346" y="90"/>
                    </a:lnTo>
                    <a:lnTo>
                      <a:pt x="346" y="88"/>
                    </a:lnTo>
                    <a:lnTo>
                      <a:pt x="346" y="90"/>
                    </a:lnTo>
                    <a:lnTo>
                      <a:pt x="346" y="88"/>
                    </a:lnTo>
                    <a:lnTo>
                      <a:pt x="348" y="88"/>
                    </a:lnTo>
                    <a:lnTo>
                      <a:pt x="350" y="87"/>
                    </a:lnTo>
                    <a:lnTo>
                      <a:pt x="350" y="88"/>
                    </a:lnTo>
                    <a:lnTo>
                      <a:pt x="352" y="88"/>
                    </a:lnTo>
                    <a:lnTo>
                      <a:pt x="352" y="87"/>
                    </a:lnTo>
                    <a:lnTo>
                      <a:pt x="354" y="87"/>
                    </a:lnTo>
                    <a:lnTo>
                      <a:pt x="352" y="87"/>
                    </a:lnTo>
                    <a:lnTo>
                      <a:pt x="354" y="87"/>
                    </a:lnTo>
                    <a:lnTo>
                      <a:pt x="352" y="87"/>
                    </a:lnTo>
                    <a:lnTo>
                      <a:pt x="354" y="87"/>
                    </a:lnTo>
                    <a:lnTo>
                      <a:pt x="356" y="85"/>
                    </a:lnTo>
                    <a:lnTo>
                      <a:pt x="358" y="85"/>
                    </a:lnTo>
                    <a:lnTo>
                      <a:pt x="359" y="85"/>
                    </a:lnTo>
                    <a:lnTo>
                      <a:pt x="358" y="85"/>
                    </a:lnTo>
                    <a:lnTo>
                      <a:pt x="359" y="85"/>
                    </a:lnTo>
                    <a:lnTo>
                      <a:pt x="361" y="85"/>
                    </a:lnTo>
                    <a:lnTo>
                      <a:pt x="361" y="83"/>
                    </a:lnTo>
                    <a:lnTo>
                      <a:pt x="363" y="83"/>
                    </a:lnTo>
                    <a:lnTo>
                      <a:pt x="365" y="83"/>
                    </a:lnTo>
                    <a:lnTo>
                      <a:pt x="365" y="85"/>
                    </a:lnTo>
                    <a:lnTo>
                      <a:pt x="367" y="85"/>
                    </a:lnTo>
                    <a:lnTo>
                      <a:pt x="365" y="85"/>
                    </a:lnTo>
                    <a:lnTo>
                      <a:pt x="367" y="85"/>
                    </a:lnTo>
                    <a:lnTo>
                      <a:pt x="367" y="83"/>
                    </a:lnTo>
                    <a:lnTo>
                      <a:pt x="369" y="85"/>
                    </a:lnTo>
                    <a:lnTo>
                      <a:pt x="371" y="85"/>
                    </a:lnTo>
                    <a:lnTo>
                      <a:pt x="371" y="87"/>
                    </a:lnTo>
                    <a:lnTo>
                      <a:pt x="371" y="85"/>
                    </a:lnTo>
                    <a:lnTo>
                      <a:pt x="371" y="87"/>
                    </a:lnTo>
                    <a:lnTo>
                      <a:pt x="371" y="85"/>
                    </a:lnTo>
                    <a:lnTo>
                      <a:pt x="369" y="85"/>
                    </a:lnTo>
                    <a:lnTo>
                      <a:pt x="371" y="85"/>
                    </a:lnTo>
                    <a:lnTo>
                      <a:pt x="369" y="85"/>
                    </a:lnTo>
                    <a:lnTo>
                      <a:pt x="371" y="85"/>
                    </a:lnTo>
                    <a:lnTo>
                      <a:pt x="373" y="85"/>
                    </a:lnTo>
                    <a:lnTo>
                      <a:pt x="373" y="87"/>
                    </a:lnTo>
                    <a:lnTo>
                      <a:pt x="371" y="87"/>
                    </a:lnTo>
                    <a:lnTo>
                      <a:pt x="373" y="87"/>
                    </a:lnTo>
                    <a:lnTo>
                      <a:pt x="373" y="85"/>
                    </a:lnTo>
                    <a:lnTo>
                      <a:pt x="375" y="85"/>
                    </a:lnTo>
                    <a:lnTo>
                      <a:pt x="375" y="87"/>
                    </a:lnTo>
                    <a:lnTo>
                      <a:pt x="377" y="87"/>
                    </a:lnTo>
                    <a:lnTo>
                      <a:pt x="379" y="87"/>
                    </a:lnTo>
                    <a:lnTo>
                      <a:pt x="379" y="88"/>
                    </a:lnTo>
                    <a:lnTo>
                      <a:pt x="381" y="88"/>
                    </a:lnTo>
                    <a:lnTo>
                      <a:pt x="381" y="90"/>
                    </a:lnTo>
                    <a:lnTo>
                      <a:pt x="381" y="92"/>
                    </a:lnTo>
                    <a:lnTo>
                      <a:pt x="381" y="94"/>
                    </a:lnTo>
                    <a:lnTo>
                      <a:pt x="379" y="94"/>
                    </a:lnTo>
                    <a:lnTo>
                      <a:pt x="379" y="96"/>
                    </a:lnTo>
                    <a:lnTo>
                      <a:pt x="381" y="96"/>
                    </a:lnTo>
                    <a:lnTo>
                      <a:pt x="381" y="98"/>
                    </a:lnTo>
                    <a:lnTo>
                      <a:pt x="381" y="100"/>
                    </a:lnTo>
                    <a:lnTo>
                      <a:pt x="381" y="98"/>
                    </a:lnTo>
                    <a:lnTo>
                      <a:pt x="383" y="98"/>
                    </a:lnTo>
                    <a:lnTo>
                      <a:pt x="383" y="100"/>
                    </a:lnTo>
                    <a:lnTo>
                      <a:pt x="381" y="102"/>
                    </a:lnTo>
                    <a:lnTo>
                      <a:pt x="381" y="104"/>
                    </a:lnTo>
                    <a:lnTo>
                      <a:pt x="381" y="106"/>
                    </a:lnTo>
                    <a:lnTo>
                      <a:pt x="381" y="108"/>
                    </a:lnTo>
                    <a:lnTo>
                      <a:pt x="381" y="110"/>
                    </a:lnTo>
                    <a:lnTo>
                      <a:pt x="381" y="108"/>
                    </a:lnTo>
                    <a:lnTo>
                      <a:pt x="381" y="110"/>
                    </a:lnTo>
                    <a:lnTo>
                      <a:pt x="381" y="108"/>
                    </a:lnTo>
                    <a:lnTo>
                      <a:pt x="383" y="108"/>
                    </a:lnTo>
                    <a:lnTo>
                      <a:pt x="383" y="110"/>
                    </a:lnTo>
                    <a:lnTo>
                      <a:pt x="383" y="112"/>
                    </a:lnTo>
                    <a:lnTo>
                      <a:pt x="383" y="113"/>
                    </a:lnTo>
                    <a:lnTo>
                      <a:pt x="383" y="112"/>
                    </a:lnTo>
                    <a:lnTo>
                      <a:pt x="383" y="113"/>
                    </a:lnTo>
                    <a:lnTo>
                      <a:pt x="384" y="113"/>
                    </a:lnTo>
                    <a:lnTo>
                      <a:pt x="383" y="113"/>
                    </a:lnTo>
                    <a:lnTo>
                      <a:pt x="383" y="115"/>
                    </a:lnTo>
                    <a:lnTo>
                      <a:pt x="381" y="115"/>
                    </a:lnTo>
                    <a:lnTo>
                      <a:pt x="381" y="113"/>
                    </a:lnTo>
                    <a:lnTo>
                      <a:pt x="381" y="115"/>
                    </a:lnTo>
                    <a:lnTo>
                      <a:pt x="381" y="117"/>
                    </a:lnTo>
                    <a:lnTo>
                      <a:pt x="381" y="115"/>
                    </a:lnTo>
                    <a:lnTo>
                      <a:pt x="381" y="117"/>
                    </a:lnTo>
                    <a:lnTo>
                      <a:pt x="379" y="119"/>
                    </a:lnTo>
                    <a:lnTo>
                      <a:pt x="377" y="119"/>
                    </a:lnTo>
                    <a:lnTo>
                      <a:pt x="377" y="121"/>
                    </a:lnTo>
                    <a:lnTo>
                      <a:pt x="375" y="121"/>
                    </a:lnTo>
                    <a:lnTo>
                      <a:pt x="375" y="123"/>
                    </a:lnTo>
                    <a:lnTo>
                      <a:pt x="373" y="123"/>
                    </a:lnTo>
                    <a:lnTo>
                      <a:pt x="373" y="125"/>
                    </a:lnTo>
                    <a:lnTo>
                      <a:pt x="373" y="127"/>
                    </a:lnTo>
                    <a:lnTo>
                      <a:pt x="373" y="129"/>
                    </a:lnTo>
                    <a:lnTo>
                      <a:pt x="373" y="127"/>
                    </a:lnTo>
                    <a:lnTo>
                      <a:pt x="373" y="129"/>
                    </a:lnTo>
                    <a:lnTo>
                      <a:pt x="375" y="129"/>
                    </a:lnTo>
                    <a:lnTo>
                      <a:pt x="373" y="129"/>
                    </a:lnTo>
                    <a:lnTo>
                      <a:pt x="375" y="129"/>
                    </a:lnTo>
                    <a:lnTo>
                      <a:pt x="375" y="131"/>
                    </a:lnTo>
                    <a:lnTo>
                      <a:pt x="373" y="131"/>
                    </a:lnTo>
                    <a:lnTo>
                      <a:pt x="375" y="131"/>
                    </a:lnTo>
                    <a:lnTo>
                      <a:pt x="373" y="131"/>
                    </a:lnTo>
                    <a:lnTo>
                      <a:pt x="373" y="133"/>
                    </a:lnTo>
                    <a:lnTo>
                      <a:pt x="375" y="135"/>
                    </a:lnTo>
                    <a:lnTo>
                      <a:pt x="375" y="137"/>
                    </a:lnTo>
                    <a:lnTo>
                      <a:pt x="375" y="135"/>
                    </a:lnTo>
                    <a:lnTo>
                      <a:pt x="375" y="137"/>
                    </a:lnTo>
                    <a:lnTo>
                      <a:pt x="377" y="137"/>
                    </a:lnTo>
                    <a:lnTo>
                      <a:pt x="377" y="138"/>
                    </a:lnTo>
                    <a:lnTo>
                      <a:pt x="377" y="140"/>
                    </a:lnTo>
                    <a:lnTo>
                      <a:pt x="377" y="142"/>
                    </a:lnTo>
                    <a:lnTo>
                      <a:pt x="377" y="144"/>
                    </a:lnTo>
                    <a:lnTo>
                      <a:pt x="375" y="144"/>
                    </a:lnTo>
                    <a:lnTo>
                      <a:pt x="375" y="146"/>
                    </a:lnTo>
                    <a:lnTo>
                      <a:pt x="373" y="148"/>
                    </a:lnTo>
                    <a:lnTo>
                      <a:pt x="373" y="150"/>
                    </a:lnTo>
                    <a:lnTo>
                      <a:pt x="371" y="152"/>
                    </a:lnTo>
                    <a:lnTo>
                      <a:pt x="371" y="154"/>
                    </a:lnTo>
                    <a:lnTo>
                      <a:pt x="371" y="156"/>
                    </a:lnTo>
                    <a:lnTo>
                      <a:pt x="369" y="158"/>
                    </a:lnTo>
                    <a:lnTo>
                      <a:pt x="369" y="160"/>
                    </a:lnTo>
                    <a:lnTo>
                      <a:pt x="369" y="162"/>
                    </a:lnTo>
                    <a:lnTo>
                      <a:pt x="367" y="162"/>
                    </a:lnTo>
                    <a:lnTo>
                      <a:pt x="365" y="162"/>
                    </a:lnTo>
                    <a:lnTo>
                      <a:pt x="365" y="163"/>
                    </a:lnTo>
                    <a:lnTo>
                      <a:pt x="365" y="162"/>
                    </a:lnTo>
                    <a:lnTo>
                      <a:pt x="367" y="162"/>
                    </a:lnTo>
                    <a:lnTo>
                      <a:pt x="369" y="162"/>
                    </a:lnTo>
                    <a:lnTo>
                      <a:pt x="367" y="162"/>
                    </a:lnTo>
                    <a:lnTo>
                      <a:pt x="367" y="163"/>
                    </a:lnTo>
                    <a:lnTo>
                      <a:pt x="367" y="165"/>
                    </a:lnTo>
                    <a:lnTo>
                      <a:pt x="369" y="165"/>
                    </a:lnTo>
                    <a:lnTo>
                      <a:pt x="369" y="167"/>
                    </a:lnTo>
                    <a:lnTo>
                      <a:pt x="371" y="167"/>
                    </a:lnTo>
                    <a:lnTo>
                      <a:pt x="371" y="165"/>
                    </a:lnTo>
                    <a:lnTo>
                      <a:pt x="373" y="165"/>
                    </a:lnTo>
                    <a:lnTo>
                      <a:pt x="371" y="165"/>
                    </a:lnTo>
                    <a:lnTo>
                      <a:pt x="373" y="165"/>
                    </a:lnTo>
                    <a:lnTo>
                      <a:pt x="373" y="167"/>
                    </a:lnTo>
                    <a:lnTo>
                      <a:pt x="373" y="169"/>
                    </a:lnTo>
                    <a:lnTo>
                      <a:pt x="371" y="169"/>
                    </a:lnTo>
                    <a:lnTo>
                      <a:pt x="371" y="171"/>
                    </a:lnTo>
                    <a:lnTo>
                      <a:pt x="369" y="171"/>
                    </a:lnTo>
                    <a:lnTo>
                      <a:pt x="369" y="173"/>
                    </a:lnTo>
                    <a:lnTo>
                      <a:pt x="371" y="173"/>
                    </a:lnTo>
                    <a:lnTo>
                      <a:pt x="373" y="173"/>
                    </a:lnTo>
                    <a:lnTo>
                      <a:pt x="373" y="175"/>
                    </a:lnTo>
                    <a:lnTo>
                      <a:pt x="375" y="175"/>
                    </a:lnTo>
                    <a:lnTo>
                      <a:pt x="375" y="177"/>
                    </a:lnTo>
                    <a:lnTo>
                      <a:pt x="375" y="179"/>
                    </a:lnTo>
                    <a:lnTo>
                      <a:pt x="375" y="181"/>
                    </a:lnTo>
                    <a:lnTo>
                      <a:pt x="377" y="181"/>
                    </a:lnTo>
                    <a:lnTo>
                      <a:pt x="377" y="183"/>
                    </a:lnTo>
                    <a:lnTo>
                      <a:pt x="377" y="185"/>
                    </a:lnTo>
                    <a:lnTo>
                      <a:pt x="377" y="187"/>
                    </a:lnTo>
                    <a:lnTo>
                      <a:pt x="377" y="188"/>
                    </a:lnTo>
                    <a:lnTo>
                      <a:pt x="377" y="187"/>
                    </a:lnTo>
                    <a:lnTo>
                      <a:pt x="377" y="188"/>
                    </a:lnTo>
                    <a:lnTo>
                      <a:pt x="379" y="188"/>
                    </a:lnTo>
                    <a:lnTo>
                      <a:pt x="379" y="190"/>
                    </a:lnTo>
                    <a:lnTo>
                      <a:pt x="381" y="190"/>
                    </a:lnTo>
                    <a:lnTo>
                      <a:pt x="381" y="192"/>
                    </a:lnTo>
                    <a:lnTo>
                      <a:pt x="381" y="194"/>
                    </a:lnTo>
                    <a:lnTo>
                      <a:pt x="381" y="192"/>
                    </a:lnTo>
                    <a:lnTo>
                      <a:pt x="381" y="194"/>
                    </a:lnTo>
                    <a:lnTo>
                      <a:pt x="379" y="194"/>
                    </a:lnTo>
                    <a:lnTo>
                      <a:pt x="379" y="196"/>
                    </a:lnTo>
                    <a:lnTo>
                      <a:pt x="379" y="198"/>
                    </a:lnTo>
                    <a:lnTo>
                      <a:pt x="379" y="200"/>
                    </a:lnTo>
                    <a:lnTo>
                      <a:pt x="377" y="200"/>
                    </a:lnTo>
                    <a:lnTo>
                      <a:pt x="377" y="202"/>
                    </a:lnTo>
                    <a:lnTo>
                      <a:pt x="375" y="202"/>
                    </a:lnTo>
                    <a:lnTo>
                      <a:pt x="373" y="204"/>
                    </a:lnTo>
                    <a:lnTo>
                      <a:pt x="373" y="206"/>
                    </a:lnTo>
                    <a:lnTo>
                      <a:pt x="373" y="208"/>
                    </a:lnTo>
                    <a:lnTo>
                      <a:pt x="373" y="210"/>
                    </a:lnTo>
                    <a:lnTo>
                      <a:pt x="371" y="210"/>
                    </a:lnTo>
                    <a:lnTo>
                      <a:pt x="369" y="208"/>
                    </a:lnTo>
                    <a:lnTo>
                      <a:pt x="367" y="210"/>
                    </a:lnTo>
                    <a:lnTo>
                      <a:pt x="369" y="212"/>
                    </a:lnTo>
                    <a:lnTo>
                      <a:pt x="369" y="213"/>
                    </a:lnTo>
                    <a:lnTo>
                      <a:pt x="369" y="215"/>
                    </a:lnTo>
                    <a:lnTo>
                      <a:pt x="367" y="215"/>
                    </a:lnTo>
                    <a:lnTo>
                      <a:pt x="367" y="213"/>
                    </a:lnTo>
                    <a:lnTo>
                      <a:pt x="365" y="215"/>
                    </a:lnTo>
                    <a:lnTo>
                      <a:pt x="365" y="217"/>
                    </a:lnTo>
                    <a:lnTo>
                      <a:pt x="365" y="219"/>
                    </a:lnTo>
                    <a:lnTo>
                      <a:pt x="363" y="217"/>
                    </a:lnTo>
                    <a:lnTo>
                      <a:pt x="361" y="219"/>
                    </a:lnTo>
                    <a:lnTo>
                      <a:pt x="363" y="219"/>
                    </a:lnTo>
                    <a:lnTo>
                      <a:pt x="363" y="221"/>
                    </a:lnTo>
                    <a:lnTo>
                      <a:pt x="361" y="221"/>
                    </a:lnTo>
                    <a:lnTo>
                      <a:pt x="359" y="221"/>
                    </a:lnTo>
                    <a:lnTo>
                      <a:pt x="358" y="223"/>
                    </a:lnTo>
                    <a:lnTo>
                      <a:pt x="356" y="223"/>
                    </a:lnTo>
                    <a:lnTo>
                      <a:pt x="356" y="225"/>
                    </a:lnTo>
                    <a:lnTo>
                      <a:pt x="358" y="225"/>
                    </a:lnTo>
                    <a:lnTo>
                      <a:pt x="359" y="225"/>
                    </a:lnTo>
                    <a:lnTo>
                      <a:pt x="359" y="227"/>
                    </a:lnTo>
                    <a:lnTo>
                      <a:pt x="359" y="229"/>
                    </a:lnTo>
                    <a:lnTo>
                      <a:pt x="358" y="229"/>
                    </a:lnTo>
                    <a:lnTo>
                      <a:pt x="358" y="227"/>
                    </a:lnTo>
                    <a:lnTo>
                      <a:pt x="356" y="227"/>
                    </a:lnTo>
                    <a:lnTo>
                      <a:pt x="356" y="229"/>
                    </a:lnTo>
                    <a:lnTo>
                      <a:pt x="358" y="231"/>
                    </a:lnTo>
                    <a:lnTo>
                      <a:pt x="358" y="233"/>
                    </a:lnTo>
                    <a:lnTo>
                      <a:pt x="358" y="235"/>
                    </a:lnTo>
                    <a:lnTo>
                      <a:pt x="356" y="235"/>
                    </a:lnTo>
                    <a:lnTo>
                      <a:pt x="354" y="235"/>
                    </a:lnTo>
                    <a:lnTo>
                      <a:pt x="352" y="235"/>
                    </a:lnTo>
                    <a:lnTo>
                      <a:pt x="352" y="237"/>
                    </a:lnTo>
                    <a:lnTo>
                      <a:pt x="352" y="238"/>
                    </a:lnTo>
                    <a:lnTo>
                      <a:pt x="352" y="240"/>
                    </a:lnTo>
                    <a:lnTo>
                      <a:pt x="350" y="240"/>
                    </a:lnTo>
                    <a:lnTo>
                      <a:pt x="350" y="242"/>
                    </a:lnTo>
                    <a:lnTo>
                      <a:pt x="350" y="240"/>
                    </a:lnTo>
                    <a:lnTo>
                      <a:pt x="348" y="240"/>
                    </a:lnTo>
                    <a:lnTo>
                      <a:pt x="346" y="238"/>
                    </a:lnTo>
                    <a:lnTo>
                      <a:pt x="344" y="240"/>
                    </a:lnTo>
                    <a:lnTo>
                      <a:pt x="342" y="240"/>
                    </a:lnTo>
                    <a:lnTo>
                      <a:pt x="344" y="240"/>
                    </a:lnTo>
                    <a:lnTo>
                      <a:pt x="342" y="242"/>
                    </a:lnTo>
                    <a:lnTo>
                      <a:pt x="342" y="240"/>
                    </a:lnTo>
                    <a:lnTo>
                      <a:pt x="342" y="242"/>
                    </a:lnTo>
                    <a:lnTo>
                      <a:pt x="340" y="240"/>
                    </a:lnTo>
                    <a:lnTo>
                      <a:pt x="338" y="240"/>
                    </a:lnTo>
                    <a:lnTo>
                      <a:pt x="340" y="240"/>
                    </a:lnTo>
                    <a:lnTo>
                      <a:pt x="338" y="240"/>
                    </a:lnTo>
                    <a:lnTo>
                      <a:pt x="338" y="238"/>
                    </a:lnTo>
                    <a:lnTo>
                      <a:pt x="338" y="237"/>
                    </a:lnTo>
                    <a:lnTo>
                      <a:pt x="336" y="237"/>
                    </a:lnTo>
                    <a:lnTo>
                      <a:pt x="335" y="237"/>
                    </a:lnTo>
                    <a:lnTo>
                      <a:pt x="333" y="237"/>
                    </a:lnTo>
                    <a:lnTo>
                      <a:pt x="335" y="237"/>
                    </a:lnTo>
                    <a:lnTo>
                      <a:pt x="336" y="237"/>
                    </a:lnTo>
                    <a:lnTo>
                      <a:pt x="335" y="237"/>
                    </a:lnTo>
                    <a:lnTo>
                      <a:pt x="333" y="237"/>
                    </a:lnTo>
                    <a:lnTo>
                      <a:pt x="331" y="237"/>
                    </a:lnTo>
                    <a:lnTo>
                      <a:pt x="331" y="238"/>
                    </a:lnTo>
                    <a:lnTo>
                      <a:pt x="329" y="238"/>
                    </a:lnTo>
                    <a:lnTo>
                      <a:pt x="329" y="237"/>
                    </a:lnTo>
                    <a:lnTo>
                      <a:pt x="329" y="238"/>
                    </a:lnTo>
                    <a:lnTo>
                      <a:pt x="327" y="238"/>
                    </a:lnTo>
                    <a:lnTo>
                      <a:pt x="327" y="240"/>
                    </a:lnTo>
                    <a:lnTo>
                      <a:pt x="327" y="242"/>
                    </a:lnTo>
                    <a:lnTo>
                      <a:pt x="327" y="240"/>
                    </a:lnTo>
                    <a:lnTo>
                      <a:pt x="325" y="242"/>
                    </a:lnTo>
                    <a:lnTo>
                      <a:pt x="325" y="244"/>
                    </a:lnTo>
                    <a:lnTo>
                      <a:pt x="323" y="244"/>
                    </a:lnTo>
                    <a:lnTo>
                      <a:pt x="323" y="246"/>
                    </a:lnTo>
                    <a:lnTo>
                      <a:pt x="321" y="248"/>
                    </a:lnTo>
                    <a:lnTo>
                      <a:pt x="319" y="248"/>
                    </a:lnTo>
                    <a:lnTo>
                      <a:pt x="319" y="250"/>
                    </a:lnTo>
                    <a:lnTo>
                      <a:pt x="317" y="252"/>
                    </a:lnTo>
                    <a:lnTo>
                      <a:pt x="315" y="252"/>
                    </a:lnTo>
                    <a:lnTo>
                      <a:pt x="313" y="252"/>
                    </a:lnTo>
                    <a:lnTo>
                      <a:pt x="311" y="252"/>
                    </a:lnTo>
                    <a:lnTo>
                      <a:pt x="311" y="254"/>
                    </a:lnTo>
                    <a:lnTo>
                      <a:pt x="313" y="252"/>
                    </a:lnTo>
                    <a:lnTo>
                      <a:pt x="313" y="254"/>
                    </a:lnTo>
                    <a:lnTo>
                      <a:pt x="311" y="254"/>
                    </a:lnTo>
                    <a:lnTo>
                      <a:pt x="313" y="256"/>
                    </a:lnTo>
                    <a:lnTo>
                      <a:pt x="313" y="258"/>
                    </a:lnTo>
                    <a:lnTo>
                      <a:pt x="315" y="258"/>
                    </a:lnTo>
                    <a:lnTo>
                      <a:pt x="315" y="260"/>
                    </a:lnTo>
                    <a:lnTo>
                      <a:pt x="315" y="261"/>
                    </a:lnTo>
                    <a:lnTo>
                      <a:pt x="313" y="261"/>
                    </a:lnTo>
                    <a:lnTo>
                      <a:pt x="313" y="260"/>
                    </a:lnTo>
                    <a:lnTo>
                      <a:pt x="311" y="258"/>
                    </a:lnTo>
                    <a:lnTo>
                      <a:pt x="310" y="258"/>
                    </a:lnTo>
                    <a:lnTo>
                      <a:pt x="310" y="260"/>
                    </a:lnTo>
                    <a:lnTo>
                      <a:pt x="310" y="258"/>
                    </a:lnTo>
                    <a:lnTo>
                      <a:pt x="310" y="260"/>
                    </a:lnTo>
                    <a:lnTo>
                      <a:pt x="310" y="261"/>
                    </a:lnTo>
                    <a:lnTo>
                      <a:pt x="310" y="263"/>
                    </a:lnTo>
                    <a:lnTo>
                      <a:pt x="310" y="265"/>
                    </a:lnTo>
                    <a:lnTo>
                      <a:pt x="308" y="267"/>
                    </a:lnTo>
                    <a:lnTo>
                      <a:pt x="308" y="265"/>
                    </a:lnTo>
                    <a:lnTo>
                      <a:pt x="308" y="263"/>
                    </a:lnTo>
                    <a:lnTo>
                      <a:pt x="306" y="263"/>
                    </a:lnTo>
                    <a:lnTo>
                      <a:pt x="304" y="265"/>
                    </a:lnTo>
                    <a:lnTo>
                      <a:pt x="304" y="267"/>
                    </a:lnTo>
                    <a:lnTo>
                      <a:pt x="302" y="267"/>
                    </a:lnTo>
                    <a:lnTo>
                      <a:pt x="300" y="265"/>
                    </a:lnTo>
                    <a:lnTo>
                      <a:pt x="300" y="267"/>
                    </a:lnTo>
                    <a:lnTo>
                      <a:pt x="298" y="267"/>
                    </a:lnTo>
                    <a:lnTo>
                      <a:pt x="298" y="269"/>
                    </a:lnTo>
                    <a:lnTo>
                      <a:pt x="296" y="269"/>
                    </a:lnTo>
                    <a:lnTo>
                      <a:pt x="294" y="269"/>
                    </a:lnTo>
                    <a:lnTo>
                      <a:pt x="294" y="267"/>
                    </a:lnTo>
                    <a:lnTo>
                      <a:pt x="294" y="265"/>
                    </a:lnTo>
                    <a:lnTo>
                      <a:pt x="292" y="265"/>
                    </a:lnTo>
                    <a:lnTo>
                      <a:pt x="290" y="265"/>
                    </a:lnTo>
                    <a:lnTo>
                      <a:pt x="290" y="267"/>
                    </a:lnTo>
                    <a:lnTo>
                      <a:pt x="290" y="269"/>
                    </a:lnTo>
                    <a:lnTo>
                      <a:pt x="290" y="271"/>
                    </a:lnTo>
                    <a:lnTo>
                      <a:pt x="292" y="271"/>
                    </a:lnTo>
                    <a:lnTo>
                      <a:pt x="290" y="271"/>
                    </a:lnTo>
                    <a:lnTo>
                      <a:pt x="290" y="273"/>
                    </a:lnTo>
                    <a:lnTo>
                      <a:pt x="288" y="273"/>
                    </a:lnTo>
                    <a:lnTo>
                      <a:pt x="288" y="275"/>
                    </a:lnTo>
                    <a:lnTo>
                      <a:pt x="290" y="275"/>
                    </a:lnTo>
                    <a:lnTo>
                      <a:pt x="292" y="275"/>
                    </a:lnTo>
                    <a:lnTo>
                      <a:pt x="292" y="277"/>
                    </a:lnTo>
                    <a:lnTo>
                      <a:pt x="292" y="279"/>
                    </a:lnTo>
                    <a:lnTo>
                      <a:pt x="292" y="281"/>
                    </a:lnTo>
                    <a:lnTo>
                      <a:pt x="290" y="283"/>
                    </a:lnTo>
                    <a:lnTo>
                      <a:pt x="290" y="285"/>
                    </a:lnTo>
                    <a:lnTo>
                      <a:pt x="292" y="285"/>
                    </a:lnTo>
                    <a:lnTo>
                      <a:pt x="292" y="286"/>
                    </a:lnTo>
                    <a:lnTo>
                      <a:pt x="292" y="288"/>
                    </a:lnTo>
                    <a:lnTo>
                      <a:pt x="292" y="290"/>
                    </a:lnTo>
                    <a:lnTo>
                      <a:pt x="292" y="292"/>
                    </a:lnTo>
                    <a:lnTo>
                      <a:pt x="290" y="294"/>
                    </a:lnTo>
                    <a:lnTo>
                      <a:pt x="288" y="296"/>
                    </a:lnTo>
                    <a:lnTo>
                      <a:pt x="288" y="298"/>
                    </a:lnTo>
                    <a:lnTo>
                      <a:pt x="286" y="298"/>
                    </a:lnTo>
                    <a:lnTo>
                      <a:pt x="286" y="300"/>
                    </a:lnTo>
                    <a:lnTo>
                      <a:pt x="286" y="298"/>
                    </a:lnTo>
                    <a:lnTo>
                      <a:pt x="288" y="300"/>
                    </a:lnTo>
                    <a:lnTo>
                      <a:pt x="288" y="302"/>
                    </a:lnTo>
                    <a:lnTo>
                      <a:pt x="290" y="302"/>
                    </a:lnTo>
                    <a:lnTo>
                      <a:pt x="292" y="302"/>
                    </a:lnTo>
                    <a:lnTo>
                      <a:pt x="292" y="304"/>
                    </a:lnTo>
                    <a:lnTo>
                      <a:pt x="292" y="306"/>
                    </a:lnTo>
                    <a:lnTo>
                      <a:pt x="292" y="308"/>
                    </a:lnTo>
                    <a:lnTo>
                      <a:pt x="294" y="308"/>
                    </a:lnTo>
                    <a:lnTo>
                      <a:pt x="294" y="310"/>
                    </a:lnTo>
                    <a:lnTo>
                      <a:pt x="296" y="310"/>
                    </a:lnTo>
                    <a:lnTo>
                      <a:pt x="296" y="311"/>
                    </a:lnTo>
                    <a:lnTo>
                      <a:pt x="296" y="313"/>
                    </a:lnTo>
                    <a:lnTo>
                      <a:pt x="296" y="315"/>
                    </a:lnTo>
                    <a:lnTo>
                      <a:pt x="296" y="313"/>
                    </a:lnTo>
                    <a:lnTo>
                      <a:pt x="298" y="311"/>
                    </a:lnTo>
                    <a:lnTo>
                      <a:pt x="296" y="311"/>
                    </a:lnTo>
                    <a:lnTo>
                      <a:pt x="296" y="310"/>
                    </a:lnTo>
                    <a:lnTo>
                      <a:pt x="294" y="308"/>
                    </a:lnTo>
                    <a:lnTo>
                      <a:pt x="294" y="306"/>
                    </a:lnTo>
                    <a:lnTo>
                      <a:pt x="292" y="306"/>
                    </a:lnTo>
                    <a:lnTo>
                      <a:pt x="292" y="304"/>
                    </a:lnTo>
                    <a:lnTo>
                      <a:pt x="292" y="302"/>
                    </a:lnTo>
                    <a:lnTo>
                      <a:pt x="290" y="302"/>
                    </a:lnTo>
                    <a:lnTo>
                      <a:pt x="288" y="302"/>
                    </a:lnTo>
                    <a:lnTo>
                      <a:pt x="288" y="300"/>
                    </a:lnTo>
                    <a:lnTo>
                      <a:pt x="286" y="298"/>
                    </a:lnTo>
                    <a:lnTo>
                      <a:pt x="288" y="298"/>
                    </a:lnTo>
                    <a:lnTo>
                      <a:pt x="288" y="296"/>
                    </a:lnTo>
                    <a:lnTo>
                      <a:pt x="288" y="294"/>
                    </a:lnTo>
                    <a:lnTo>
                      <a:pt x="290" y="294"/>
                    </a:lnTo>
                    <a:lnTo>
                      <a:pt x="292" y="292"/>
                    </a:lnTo>
                    <a:lnTo>
                      <a:pt x="292" y="290"/>
                    </a:lnTo>
                    <a:lnTo>
                      <a:pt x="292" y="288"/>
                    </a:lnTo>
                    <a:lnTo>
                      <a:pt x="292" y="286"/>
                    </a:lnTo>
                    <a:lnTo>
                      <a:pt x="292" y="285"/>
                    </a:lnTo>
                    <a:lnTo>
                      <a:pt x="292" y="283"/>
                    </a:lnTo>
                    <a:lnTo>
                      <a:pt x="292" y="281"/>
                    </a:lnTo>
                    <a:lnTo>
                      <a:pt x="292" y="279"/>
                    </a:lnTo>
                    <a:lnTo>
                      <a:pt x="292" y="277"/>
                    </a:lnTo>
                    <a:lnTo>
                      <a:pt x="292" y="275"/>
                    </a:lnTo>
                    <a:lnTo>
                      <a:pt x="292" y="277"/>
                    </a:lnTo>
                    <a:lnTo>
                      <a:pt x="292" y="275"/>
                    </a:lnTo>
                    <a:lnTo>
                      <a:pt x="290" y="275"/>
                    </a:lnTo>
                    <a:lnTo>
                      <a:pt x="292" y="275"/>
                    </a:lnTo>
                    <a:lnTo>
                      <a:pt x="290" y="275"/>
                    </a:lnTo>
                    <a:lnTo>
                      <a:pt x="290" y="273"/>
                    </a:lnTo>
                    <a:lnTo>
                      <a:pt x="292" y="273"/>
                    </a:lnTo>
                    <a:lnTo>
                      <a:pt x="292" y="271"/>
                    </a:lnTo>
                    <a:lnTo>
                      <a:pt x="290" y="271"/>
                    </a:lnTo>
                    <a:lnTo>
                      <a:pt x="290" y="269"/>
                    </a:lnTo>
                    <a:lnTo>
                      <a:pt x="290" y="267"/>
                    </a:lnTo>
                    <a:lnTo>
                      <a:pt x="290" y="265"/>
                    </a:lnTo>
                    <a:lnTo>
                      <a:pt x="292" y="265"/>
                    </a:lnTo>
                    <a:lnTo>
                      <a:pt x="294" y="265"/>
                    </a:lnTo>
                    <a:lnTo>
                      <a:pt x="294" y="267"/>
                    </a:lnTo>
                    <a:lnTo>
                      <a:pt x="294" y="269"/>
                    </a:lnTo>
                    <a:lnTo>
                      <a:pt x="296" y="269"/>
                    </a:lnTo>
                    <a:lnTo>
                      <a:pt x="298" y="269"/>
                    </a:lnTo>
                    <a:lnTo>
                      <a:pt x="298" y="267"/>
                    </a:lnTo>
                    <a:lnTo>
                      <a:pt x="300" y="267"/>
                    </a:lnTo>
                    <a:lnTo>
                      <a:pt x="302" y="267"/>
                    </a:lnTo>
                    <a:lnTo>
                      <a:pt x="304" y="267"/>
                    </a:lnTo>
                    <a:lnTo>
                      <a:pt x="306" y="265"/>
                    </a:lnTo>
                    <a:lnTo>
                      <a:pt x="306" y="263"/>
                    </a:lnTo>
                    <a:lnTo>
                      <a:pt x="308" y="263"/>
                    </a:lnTo>
                    <a:lnTo>
                      <a:pt x="308" y="265"/>
                    </a:lnTo>
                    <a:lnTo>
                      <a:pt x="308" y="267"/>
                    </a:lnTo>
                    <a:lnTo>
                      <a:pt x="310" y="265"/>
                    </a:lnTo>
                    <a:lnTo>
                      <a:pt x="310" y="263"/>
                    </a:lnTo>
                    <a:lnTo>
                      <a:pt x="311" y="261"/>
                    </a:lnTo>
                    <a:lnTo>
                      <a:pt x="310" y="261"/>
                    </a:lnTo>
                    <a:lnTo>
                      <a:pt x="310" y="260"/>
                    </a:lnTo>
                    <a:lnTo>
                      <a:pt x="310" y="258"/>
                    </a:lnTo>
                    <a:lnTo>
                      <a:pt x="311" y="258"/>
                    </a:lnTo>
                    <a:lnTo>
                      <a:pt x="311" y="260"/>
                    </a:lnTo>
                    <a:lnTo>
                      <a:pt x="313" y="260"/>
                    </a:lnTo>
                    <a:lnTo>
                      <a:pt x="313" y="261"/>
                    </a:lnTo>
                    <a:lnTo>
                      <a:pt x="315" y="261"/>
                    </a:lnTo>
                    <a:lnTo>
                      <a:pt x="315" y="260"/>
                    </a:lnTo>
                    <a:lnTo>
                      <a:pt x="315" y="258"/>
                    </a:lnTo>
                    <a:lnTo>
                      <a:pt x="315" y="256"/>
                    </a:lnTo>
                    <a:lnTo>
                      <a:pt x="313" y="256"/>
                    </a:lnTo>
                    <a:lnTo>
                      <a:pt x="313" y="254"/>
                    </a:lnTo>
                    <a:lnTo>
                      <a:pt x="313" y="252"/>
                    </a:lnTo>
                    <a:lnTo>
                      <a:pt x="315" y="252"/>
                    </a:lnTo>
                    <a:lnTo>
                      <a:pt x="317" y="252"/>
                    </a:lnTo>
                    <a:lnTo>
                      <a:pt x="319" y="250"/>
                    </a:lnTo>
                    <a:lnTo>
                      <a:pt x="321" y="250"/>
                    </a:lnTo>
                    <a:lnTo>
                      <a:pt x="321" y="248"/>
                    </a:lnTo>
                    <a:lnTo>
                      <a:pt x="321" y="250"/>
                    </a:lnTo>
                    <a:lnTo>
                      <a:pt x="321" y="248"/>
                    </a:lnTo>
                    <a:lnTo>
                      <a:pt x="323" y="248"/>
                    </a:lnTo>
                    <a:lnTo>
                      <a:pt x="323" y="246"/>
                    </a:lnTo>
                    <a:lnTo>
                      <a:pt x="323" y="248"/>
                    </a:lnTo>
                    <a:lnTo>
                      <a:pt x="323" y="246"/>
                    </a:lnTo>
                    <a:lnTo>
                      <a:pt x="325" y="244"/>
                    </a:lnTo>
                    <a:lnTo>
                      <a:pt x="327" y="242"/>
                    </a:lnTo>
                    <a:lnTo>
                      <a:pt x="327" y="240"/>
                    </a:lnTo>
                    <a:lnTo>
                      <a:pt x="327" y="238"/>
                    </a:lnTo>
                    <a:lnTo>
                      <a:pt x="329" y="238"/>
                    </a:lnTo>
                    <a:lnTo>
                      <a:pt x="331" y="238"/>
                    </a:lnTo>
                    <a:lnTo>
                      <a:pt x="331" y="237"/>
                    </a:lnTo>
                    <a:lnTo>
                      <a:pt x="333" y="237"/>
                    </a:lnTo>
                    <a:lnTo>
                      <a:pt x="335" y="237"/>
                    </a:lnTo>
                    <a:lnTo>
                      <a:pt x="336" y="237"/>
                    </a:lnTo>
                    <a:lnTo>
                      <a:pt x="338" y="238"/>
                    </a:lnTo>
                    <a:lnTo>
                      <a:pt x="338" y="240"/>
                    </a:lnTo>
                    <a:lnTo>
                      <a:pt x="340" y="240"/>
                    </a:lnTo>
                    <a:lnTo>
                      <a:pt x="340" y="242"/>
                    </a:lnTo>
                    <a:lnTo>
                      <a:pt x="342" y="242"/>
                    </a:lnTo>
                    <a:lnTo>
                      <a:pt x="344" y="242"/>
                    </a:lnTo>
                    <a:lnTo>
                      <a:pt x="344" y="240"/>
                    </a:lnTo>
                    <a:lnTo>
                      <a:pt x="346" y="240"/>
                    </a:lnTo>
                    <a:lnTo>
                      <a:pt x="346" y="238"/>
                    </a:lnTo>
                    <a:lnTo>
                      <a:pt x="346" y="240"/>
                    </a:lnTo>
                    <a:lnTo>
                      <a:pt x="348" y="240"/>
                    </a:lnTo>
                    <a:lnTo>
                      <a:pt x="350" y="242"/>
                    </a:lnTo>
                    <a:lnTo>
                      <a:pt x="352" y="242"/>
                    </a:lnTo>
                    <a:lnTo>
                      <a:pt x="352" y="240"/>
                    </a:lnTo>
                    <a:lnTo>
                      <a:pt x="352" y="238"/>
                    </a:lnTo>
                    <a:lnTo>
                      <a:pt x="352" y="237"/>
                    </a:lnTo>
                    <a:lnTo>
                      <a:pt x="352" y="235"/>
                    </a:lnTo>
                    <a:lnTo>
                      <a:pt x="354" y="235"/>
                    </a:lnTo>
                    <a:lnTo>
                      <a:pt x="356" y="235"/>
                    </a:lnTo>
                    <a:lnTo>
                      <a:pt x="358" y="235"/>
                    </a:lnTo>
                    <a:lnTo>
                      <a:pt x="358" y="233"/>
                    </a:lnTo>
                    <a:lnTo>
                      <a:pt x="358" y="231"/>
                    </a:lnTo>
                    <a:lnTo>
                      <a:pt x="356" y="229"/>
                    </a:lnTo>
                    <a:lnTo>
                      <a:pt x="356" y="227"/>
                    </a:lnTo>
                    <a:lnTo>
                      <a:pt x="358" y="227"/>
                    </a:lnTo>
                    <a:lnTo>
                      <a:pt x="358" y="229"/>
                    </a:lnTo>
                    <a:lnTo>
                      <a:pt x="359" y="229"/>
                    </a:lnTo>
                    <a:lnTo>
                      <a:pt x="359" y="227"/>
                    </a:lnTo>
                    <a:lnTo>
                      <a:pt x="359" y="225"/>
                    </a:lnTo>
                    <a:lnTo>
                      <a:pt x="358" y="225"/>
                    </a:lnTo>
                    <a:lnTo>
                      <a:pt x="356" y="225"/>
                    </a:lnTo>
                    <a:lnTo>
                      <a:pt x="356" y="223"/>
                    </a:lnTo>
                    <a:lnTo>
                      <a:pt x="358" y="223"/>
                    </a:lnTo>
                    <a:lnTo>
                      <a:pt x="359" y="223"/>
                    </a:lnTo>
                    <a:lnTo>
                      <a:pt x="359" y="221"/>
                    </a:lnTo>
                    <a:lnTo>
                      <a:pt x="361" y="221"/>
                    </a:lnTo>
                    <a:lnTo>
                      <a:pt x="363" y="221"/>
                    </a:lnTo>
                    <a:lnTo>
                      <a:pt x="363" y="219"/>
                    </a:lnTo>
                    <a:lnTo>
                      <a:pt x="363" y="217"/>
                    </a:lnTo>
                    <a:lnTo>
                      <a:pt x="363" y="219"/>
                    </a:lnTo>
                    <a:lnTo>
                      <a:pt x="365" y="219"/>
                    </a:lnTo>
                    <a:lnTo>
                      <a:pt x="365" y="217"/>
                    </a:lnTo>
                    <a:lnTo>
                      <a:pt x="365" y="215"/>
                    </a:lnTo>
                    <a:lnTo>
                      <a:pt x="367" y="215"/>
                    </a:lnTo>
                    <a:lnTo>
                      <a:pt x="369" y="215"/>
                    </a:lnTo>
                    <a:lnTo>
                      <a:pt x="369" y="213"/>
                    </a:lnTo>
                    <a:lnTo>
                      <a:pt x="369" y="212"/>
                    </a:lnTo>
                    <a:lnTo>
                      <a:pt x="369" y="210"/>
                    </a:lnTo>
                    <a:lnTo>
                      <a:pt x="369" y="208"/>
                    </a:lnTo>
                    <a:lnTo>
                      <a:pt x="369" y="210"/>
                    </a:lnTo>
                    <a:lnTo>
                      <a:pt x="371" y="210"/>
                    </a:lnTo>
                    <a:lnTo>
                      <a:pt x="373" y="210"/>
                    </a:lnTo>
                    <a:lnTo>
                      <a:pt x="373" y="208"/>
                    </a:lnTo>
                    <a:lnTo>
                      <a:pt x="373" y="206"/>
                    </a:lnTo>
                    <a:lnTo>
                      <a:pt x="373" y="204"/>
                    </a:lnTo>
                    <a:lnTo>
                      <a:pt x="373" y="206"/>
                    </a:lnTo>
                    <a:lnTo>
                      <a:pt x="373" y="204"/>
                    </a:lnTo>
                    <a:lnTo>
                      <a:pt x="375" y="204"/>
                    </a:lnTo>
                    <a:lnTo>
                      <a:pt x="375" y="202"/>
                    </a:lnTo>
                    <a:lnTo>
                      <a:pt x="377" y="202"/>
                    </a:lnTo>
                    <a:lnTo>
                      <a:pt x="377" y="200"/>
                    </a:lnTo>
                    <a:lnTo>
                      <a:pt x="379" y="200"/>
                    </a:lnTo>
                    <a:lnTo>
                      <a:pt x="379" y="198"/>
                    </a:lnTo>
                    <a:lnTo>
                      <a:pt x="381" y="196"/>
                    </a:lnTo>
                    <a:lnTo>
                      <a:pt x="381" y="194"/>
                    </a:lnTo>
                    <a:lnTo>
                      <a:pt x="381" y="192"/>
                    </a:lnTo>
                    <a:lnTo>
                      <a:pt x="381" y="190"/>
                    </a:lnTo>
                    <a:lnTo>
                      <a:pt x="381" y="188"/>
                    </a:lnTo>
                    <a:lnTo>
                      <a:pt x="379" y="188"/>
                    </a:lnTo>
                    <a:lnTo>
                      <a:pt x="377" y="187"/>
                    </a:lnTo>
                    <a:lnTo>
                      <a:pt x="377" y="185"/>
                    </a:lnTo>
                    <a:lnTo>
                      <a:pt x="379" y="185"/>
                    </a:lnTo>
                    <a:lnTo>
                      <a:pt x="377" y="185"/>
                    </a:lnTo>
                    <a:lnTo>
                      <a:pt x="377" y="183"/>
                    </a:lnTo>
                    <a:lnTo>
                      <a:pt x="377" y="181"/>
                    </a:lnTo>
                    <a:lnTo>
                      <a:pt x="377" y="179"/>
                    </a:lnTo>
                    <a:lnTo>
                      <a:pt x="375" y="179"/>
                    </a:lnTo>
                    <a:lnTo>
                      <a:pt x="375" y="177"/>
                    </a:lnTo>
                    <a:lnTo>
                      <a:pt x="375" y="175"/>
                    </a:lnTo>
                    <a:lnTo>
                      <a:pt x="377" y="175"/>
                    </a:lnTo>
                    <a:lnTo>
                      <a:pt x="375" y="175"/>
                    </a:lnTo>
                    <a:lnTo>
                      <a:pt x="377" y="175"/>
                    </a:lnTo>
                    <a:lnTo>
                      <a:pt x="375" y="175"/>
                    </a:lnTo>
                    <a:lnTo>
                      <a:pt x="375" y="173"/>
                    </a:lnTo>
                    <a:lnTo>
                      <a:pt x="373" y="173"/>
                    </a:lnTo>
                    <a:lnTo>
                      <a:pt x="371" y="173"/>
                    </a:lnTo>
                    <a:lnTo>
                      <a:pt x="371" y="171"/>
                    </a:lnTo>
                    <a:lnTo>
                      <a:pt x="373" y="169"/>
                    </a:lnTo>
                    <a:lnTo>
                      <a:pt x="373" y="167"/>
                    </a:lnTo>
                    <a:lnTo>
                      <a:pt x="375" y="167"/>
                    </a:lnTo>
                    <a:lnTo>
                      <a:pt x="373" y="167"/>
                    </a:lnTo>
                    <a:lnTo>
                      <a:pt x="375" y="167"/>
                    </a:lnTo>
                    <a:lnTo>
                      <a:pt x="373" y="167"/>
                    </a:lnTo>
                    <a:lnTo>
                      <a:pt x="373" y="165"/>
                    </a:lnTo>
                    <a:lnTo>
                      <a:pt x="371" y="165"/>
                    </a:lnTo>
                    <a:lnTo>
                      <a:pt x="369" y="165"/>
                    </a:lnTo>
                    <a:lnTo>
                      <a:pt x="367" y="163"/>
                    </a:lnTo>
                    <a:lnTo>
                      <a:pt x="369" y="163"/>
                    </a:lnTo>
                    <a:lnTo>
                      <a:pt x="369" y="162"/>
                    </a:lnTo>
                    <a:lnTo>
                      <a:pt x="369" y="160"/>
                    </a:lnTo>
                    <a:lnTo>
                      <a:pt x="369" y="162"/>
                    </a:lnTo>
                    <a:lnTo>
                      <a:pt x="369" y="160"/>
                    </a:lnTo>
                    <a:lnTo>
                      <a:pt x="371" y="160"/>
                    </a:lnTo>
                    <a:lnTo>
                      <a:pt x="371" y="158"/>
                    </a:lnTo>
                    <a:lnTo>
                      <a:pt x="371" y="156"/>
                    </a:lnTo>
                    <a:lnTo>
                      <a:pt x="371" y="154"/>
                    </a:lnTo>
                    <a:lnTo>
                      <a:pt x="373" y="154"/>
                    </a:lnTo>
                    <a:lnTo>
                      <a:pt x="373" y="156"/>
                    </a:lnTo>
                    <a:lnTo>
                      <a:pt x="373" y="154"/>
                    </a:lnTo>
                    <a:lnTo>
                      <a:pt x="373" y="152"/>
                    </a:lnTo>
                    <a:lnTo>
                      <a:pt x="373" y="150"/>
                    </a:lnTo>
                    <a:lnTo>
                      <a:pt x="373" y="152"/>
                    </a:lnTo>
                    <a:lnTo>
                      <a:pt x="373" y="150"/>
                    </a:lnTo>
                    <a:lnTo>
                      <a:pt x="375" y="150"/>
                    </a:lnTo>
                    <a:lnTo>
                      <a:pt x="375" y="148"/>
                    </a:lnTo>
                    <a:lnTo>
                      <a:pt x="375" y="146"/>
                    </a:lnTo>
                    <a:lnTo>
                      <a:pt x="377" y="144"/>
                    </a:lnTo>
                    <a:lnTo>
                      <a:pt x="377" y="142"/>
                    </a:lnTo>
                    <a:lnTo>
                      <a:pt x="377" y="144"/>
                    </a:lnTo>
                    <a:lnTo>
                      <a:pt x="377" y="146"/>
                    </a:lnTo>
                    <a:lnTo>
                      <a:pt x="377" y="144"/>
                    </a:lnTo>
                    <a:lnTo>
                      <a:pt x="377" y="142"/>
                    </a:lnTo>
                    <a:lnTo>
                      <a:pt x="377" y="140"/>
                    </a:lnTo>
                    <a:lnTo>
                      <a:pt x="379" y="140"/>
                    </a:lnTo>
                    <a:lnTo>
                      <a:pt x="379" y="138"/>
                    </a:lnTo>
                    <a:lnTo>
                      <a:pt x="379" y="137"/>
                    </a:lnTo>
                    <a:lnTo>
                      <a:pt x="377" y="137"/>
                    </a:lnTo>
                    <a:lnTo>
                      <a:pt x="377" y="135"/>
                    </a:lnTo>
                    <a:lnTo>
                      <a:pt x="377" y="137"/>
                    </a:lnTo>
                    <a:lnTo>
                      <a:pt x="377" y="135"/>
                    </a:lnTo>
                    <a:lnTo>
                      <a:pt x="375" y="135"/>
                    </a:lnTo>
                    <a:lnTo>
                      <a:pt x="375" y="133"/>
                    </a:lnTo>
                    <a:lnTo>
                      <a:pt x="375" y="131"/>
                    </a:lnTo>
                    <a:lnTo>
                      <a:pt x="375" y="133"/>
                    </a:lnTo>
                    <a:lnTo>
                      <a:pt x="375" y="131"/>
                    </a:lnTo>
                    <a:lnTo>
                      <a:pt x="375" y="133"/>
                    </a:lnTo>
                    <a:lnTo>
                      <a:pt x="377" y="133"/>
                    </a:lnTo>
                    <a:lnTo>
                      <a:pt x="377" y="135"/>
                    </a:lnTo>
                    <a:lnTo>
                      <a:pt x="377" y="133"/>
                    </a:lnTo>
                    <a:lnTo>
                      <a:pt x="375" y="131"/>
                    </a:lnTo>
                    <a:lnTo>
                      <a:pt x="377" y="131"/>
                    </a:lnTo>
                    <a:lnTo>
                      <a:pt x="377" y="129"/>
                    </a:lnTo>
                    <a:lnTo>
                      <a:pt x="375" y="129"/>
                    </a:lnTo>
                    <a:lnTo>
                      <a:pt x="373" y="127"/>
                    </a:lnTo>
                    <a:lnTo>
                      <a:pt x="373" y="125"/>
                    </a:lnTo>
                    <a:lnTo>
                      <a:pt x="373" y="123"/>
                    </a:lnTo>
                    <a:lnTo>
                      <a:pt x="375" y="123"/>
                    </a:lnTo>
                    <a:lnTo>
                      <a:pt x="375" y="121"/>
                    </a:lnTo>
                    <a:lnTo>
                      <a:pt x="377" y="121"/>
                    </a:lnTo>
                    <a:lnTo>
                      <a:pt x="379" y="119"/>
                    </a:lnTo>
                    <a:lnTo>
                      <a:pt x="379" y="121"/>
                    </a:lnTo>
                    <a:lnTo>
                      <a:pt x="377" y="121"/>
                    </a:lnTo>
                    <a:lnTo>
                      <a:pt x="379" y="121"/>
                    </a:lnTo>
                    <a:lnTo>
                      <a:pt x="379" y="119"/>
                    </a:lnTo>
                    <a:lnTo>
                      <a:pt x="381" y="119"/>
                    </a:lnTo>
                    <a:lnTo>
                      <a:pt x="381" y="117"/>
                    </a:lnTo>
                    <a:lnTo>
                      <a:pt x="383" y="117"/>
                    </a:lnTo>
                    <a:lnTo>
                      <a:pt x="381" y="119"/>
                    </a:lnTo>
                    <a:lnTo>
                      <a:pt x="383" y="119"/>
                    </a:lnTo>
                    <a:lnTo>
                      <a:pt x="383" y="117"/>
                    </a:lnTo>
                    <a:lnTo>
                      <a:pt x="383" y="115"/>
                    </a:lnTo>
                    <a:lnTo>
                      <a:pt x="384" y="115"/>
                    </a:lnTo>
                    <a:lnTo>
                      <a:pt x="384" y="113"/>
                    </a:lnTo>
                    <a:lnTo>
                      <a:pt x="384" y="115"/>
                    </a:lnTo>
                    <a:lnTo>
                      <a:pt x="386" y="115"/>
                    </a:lnTo>
                    <a:lnTo>
                      <a:pt x="386" y="117"/>
                    </a:lnTo>
                    <a:lnTo>
                      <a:pt x="386" y="119"/>
                    </a:lnTo>
                    <a:lnTo>
                      <a:pt x="388" y="119"/>
                    </a:lnTo>
                    <a:lnTo>
                      <a:pt x="388" y="121"/>
                    </a:lnTo>
                    <a:lnTo>
                      <a:pt x="390" y="121"/>
                    </a:lnTo>
                    <a:lnTo>
                      <a:pt x="388" y="121"/>
                    </a:lnTo>
                    <a:lnTo>
                      <a:pt x="390" y="121"/>
                    </a:lnTo>
                    <a:lnTo>
                      <a:pt x="392" y="121"/>
                    </a:lnTo>
                    <a:lnTo>
                      <a:pt x="394" y="121"/>
                    </a:lnTo>
                    <a:lnTo>
                      <a:pt x="396" y="121"/>
                    </a:lnTo>
                    <a:lnTo>
                      <a:pt x="398" y="121"/>
                    </a:lnTo>
                    <a:lnTo>
                      <a:pt x="400" y="121"/>
                    </a:lnTo>
                    <a:lnTo>
                      <a:pt x="402" y="121"/>
                    </a:lnTo>
                    <a:lnTo>
                      <a:pt x="404" y="123"/>
                    </a:lnTo>
                    <a:lnTo>
                      <a:pt x="406" y="121"/>
                    </a:lnTo>
                    <a:lnTo>
                      <a:pt x="404" y="121"/>
                    </a:lnTo>
                    <a:lnTo>
                      <a:pt x="406" y="121"/>
                    </a:lnTo>
                    <a:lnTo>
                      <a:pt x="408" y="121"/>
                    </a:lnTo>
                    <a:lnTo>
                      <a:pt x="409" y="123"/>
                    </a:lnTo>
                    <a:lnTo>
                      <a:pt x="411" y="123"/>
                    </a:lnTo>
                    <a:lnTo>
                      <a:pt x="411" y="125"/>
                    </a:lnTo>
                    <a:lnTo>
                      <a:pt x="409" y="125"/>
                    </a:lnTo>
                    <a:lnTo>
                      <a:pt x="409" y="127"/>
                    </a:lnTo>
                    <a:lnTo>
                      <a:pt x="408" y="127"/>
                    </a:lnTo>
                    <a:lnTo>
                      <a:pt x="409" y="127"/>
                    </a:lnTo>
                    <a:lnTo>
                      <a:pt x="409" y="125"/>
                    </a:lnTo>
                    <a:lnTo>
                      <a:pt x="411" y="125"/>
                    </a:lnTo>
                    <a:lnTo>
                      <a:pt x="413" y="125"/>
                    </a:lnTo>
                    <a:lnTo>
                      <a:pt x="413" y="123"/>
                    </a:lnTo>
                    <a:lnTo>
                      <a:pt x="415" y="123"/>
                    </a:lnTo>
                    <a:lnTo>
                      <a:pt x="415" y="121"/>
                    </a:lnTo>
                    <a:lnTo>
                      <a:pt x="415" y="119"/>
                    </a:lnTo>
                    <a:lnTo>
                      <a:pt x="417" y="117"/>
                    </a:lnTo>
                    <a:lnTo>
                      <a:pt x="419" y="117"/>
                    </a:lnTo>
                    <a:lnTo>
                      <a:pt x="421" y="115"/>
                    </a:lnTo>
                    <a:lnTo>
                      <a:pt x="423" y="113"/>
                    </a:lnTo>
                    <a:lnTo>
                      <a:pt x="425" y="113"/>
                    </a:lnTo>
                    <a:lnTo>
                      <a:pt x="427" y="113"/>
                    </a:lnTo>
                    <a:lnTo>
                      <a:pt x="429" y="113"/>
                    </a:lnTo>
                    <a:lnTo>
                      <a:pt x="431" y="113"/>
                    </a:lnTo>
                    <a:lnTo>
                      <a:pt x="429" y="113"/>
                    </a:lnTo>
                    <a:lnTo>
                      <a:pt x="431" y="113"/>
                    </a:lnTo>
                    <a:lnTo>
                      <a:pt x="431" y="112"/>
                    </a:lnTo>
                    <a:lnTo>
                      <a:pt x="431" y="110"/>
                    </a:lnTo>
                    <a:lnTo>
                      <a:pt x="432" y="110"/>
                    </a:lnTo>
                    <a:lnTo>
                      <a:pt x="434" y="110"/>
                    </a:lnTo>
                    <a:lnTo>
                      <a:pt x="432" y="110"/>
                    </a:lnTo>
                    <a:lnTo>
                      <a:pt x="434" y="110"/>
                    </a:lnTo>
                    <a:lnTo>
                      <a:pt x="436" y="110"/>
                    </a:lnTo>
                    <a:lnTo>
                      <a:pt x="436" y="108"/>
                    </a:lnTo>
                    <a:lnTo>
                      <a:pt x="438" y="108"/>
                    </a:lnTo>
                    <a:lnTo>
                      <a:pt x="440" y="108"/>
                    </a:lnTo>
                    <a:lnTo>
                      <a:pt x="442" y="108"/>
                    </a:lnTo>
                    <a:lnTo>
                      <a:pt x="440" y="108"/>
                    </a:lnTo>
                    <a:lnTo>
                      <a:pt x="442" y="108"/>
                    </a:lnTo>
                    <a:lnTo>
                      <a:pt x="444" y="108"/>
                    </a:lnTo>
                    <a:lnTo>
                      <a:pt x="446" y="108"/>
                    </a:lnTo>
                    <a:lnTo>
                      <a:pt x="448" y="108"/>
                    </a:lnTo>
                    <a:lnTo>
                      <a:pt x="448" y="106"/>
                    </a:lnTo>
                    <a:lnTo>
                      <a:pt x="450" y="106"/>
                    </a:lnTo>
                    <a:lnTo>
                      <a:pt x="450" y="104"/>
                    </a:lnTo>
                    <a:lnTo>
                      <a:pt x="450" y="102"/>
                    </a:lnTo>
                    <a:lnTo>
                      <a:pt x="452" y="102"/>
                    </a:lnTo>
                    <a:lnTo>
                      <a:pt x="454" y="102"/>
                    </a:lnTo>
                    <a:lnTo>
                      <a:pt x="456" y="100"/>
                    </a:lnTo>
                    <a:lnTo>
                      <a:pt x="457" y="102"/>
                    </a:lnTo>
                    <a:lnTo>
                      <a:pt x="457" y="104"/>
                    </a:lnTo>
                    <a:lnTo>
                      <a:pt x="457" y="106"/>
                    </a:lnTo>
                    <a:lnTo>
                      <a:pt x="459" y="106"/>
                    </a:lnTo>
                    <a:lnTo>
                      <a:pt x="459" y="108"/>
                    </a:lnTo>
                    <a:lnTo>
                      <a:pt x="461" y="110"/>
                    </a:lnTo>
                    <a:lnTo>
                      <a:pt x="461" y="112"/>
                    </a:lnTo>
                    <a:lnTo>
                      <a:pt x="461" y="113"/>
                    </a:lnTo>
                    <a:lnTo>
                      <a:pt x="461" y="112"/>
                    </a:lnTo>
                    <a:lnTo>
                      <a:pt x="461" y="113"/>
                    </a:lnTo>
                    <a:lnTo>
                      <a:pt x="461" y="115"/>
                    </a:lnTo>
                    <a:lnTo>
                      <a:pt x="459" y="115"/>
                    </a:lnTo>
                    <a:lnTo>
                      <a:pt x="459" y="117"/>
                    </a:lnTo>
                    <a:lnTo>
                      <a:pt x="459" y="119"/>
                    </a:lnTo>
                    <a:lnTo>
                      <a:pt x="459" y="121"/>
                    </a:lnTo>
                    <a:lnTo>
                      <a:pt x="461" y="121"/>
                    </a:lnTo>
                    <a:lnTo>
                      <a:pt x="459" y="121"/>
                    </a:lnTo>
                    <a:lnTo>
                      <a:pt x="461" y="121"/>
                    </a:lnTo>
                    <a:lnTo>
                      <a:pt x="461" y="123"/>
                    </a:lnTo>
                    <a:lnTo>
                      <a:pt x="463" y="123"/>
                    </a:lnTo>
                    <a:lnTo>
                      <a:pt x="463" y="125"/>
                    </a:lnTo>
                    <a:lnTo>
                      <a:pt x="461" y="125"/>
                    </a:lnTo>
                    <a:lnTo>
                      <a:pt x="461" y="127"/>
                    </a:lnTo>
                    <a:lnTo>
                      <a:pt x="461" y="129"/>
                    </a:lnTo>
                    <a:lnTo>
                      <a:pt x="463" y="129"/>
                    </a:lnTo>
                    <a:lnTo>
                      <a:pt x="461" y="129"/>
                    </a:lnTo>
                    <a:lnTo>
                      <a:pt x="461" y="131"/>
                    </a:lnTo>
                    <a:lnTo>
                      <a:pt x="461" y="133"/>
                    </a:lnTo>
                    <a:lnTo>
                      <a:pt x="459" y="133"/>
                    </a:lnTo>
                    <a:lnTo>
                      <a:pt x="459" y="135"/>
                    </a:lnTo>
                    <a:lnTo>
                      <a:pt x="457" y="133"/>
                    </a:lnTo>
                    <a:lnTo>
                      <a:pt x="457" y="135"/>
                    </a:lnTo>
                    <a:lnTo>
                      <a:pt x="457" y="137"/>
                    </a:lnTo>
                    <a:lnTo>
                      <a:pt x="456" y="137"/>
                    </a:lnTo>
                    <a:lnTo>
                      <a:pt x="456" y="135"/>
                    </a:lnTo>
                    <a:lnTo>
                      <a:pt x="454" y="135"/>
                    </a:lnTo>
                    <a:lnTo>
                      <a:pt x="454" y="137"/>
                    </a:lnTo>
                    <a:lnTo>
                      <a:pt x="456" y="137"/>
                    </a:lnTo>
                    <a:lnTo>
                      <a:pt x="456" y="138"/>
                    </a:lnTo>
                    <a:lnTo>
                      <a:pt x="454" y="138"/>
                    </a:lnTo>
                    <a:lnTo>
                      <a:pt x="452" y="138"/>
                    </a:lnTo>
                    <a:lnTo>
                      <a:pt x="452" y="140"/>
                    </a:lnTo>
                    <a:lnTo>
                      <a:pt x="450" y="142"/>
                    </a:lnTo>
                    <a:lnTo>
                      <a:pt x="448" y="142"/>
                    </a:lnTo>
                    <a:lnTo>
                      <a:pt x="446" y="142"/>
                    </a:lnTo>
                    <a:lnTo>
                      <a:pt x="444" y="142"/>
                    </a:lnTo>
                    <a:lnTo>
                      <a:pt x="444" y="144"/>
                    </a:lnTo>
                    <a:lnTo>
                      <a:pt x="442" y="144"/>
                    </a:lnTo>
                    <a:lnTo>
                      <a:pt x="440" y="144"/>
                    </a:lnTo>
                    <a:lnTo>
                      <a:pt x="438" y="146"/>
                    </a:lnTo>
                    <a:lnTo>
                      <a:pt x="438" y="148"/>
                    </a:lnTo>
                    <a:lnTo>
                      <a:pt x="438" y="146"/>
                    </a:lnTo>
                    <a:lnTo>
                      <a:pt x="436" y="146"/>
                    </a:lnTo>
                    <a:lnTo>
                      <a:pt x="436" y="148"/>
                    </a:lnTo>
                    <a:lnTo>
                      <a:pt x="436" y="146"/>
                    </a:lnTo>
                    <a:lnTo>
                      <a:pt x="434" y="146"/>
                    </a:lnTo>
                    <a:lnTo>
                      <a:pt x="434" y="148"/>
                    </a:lnTo>
                    <a:lnTo>
                      <a:pt x="432" y="148"/>
                    </a:lnTo>
                    <a:lnTo>
                      <a:pt x="432" y="150"/>
                    </a:lnTo>
                    <a:lnTo>
                      <a:pt x="431" y="150"/>
                    </a:lnTo>
                    <a:lnTo>
                      <a:pt x="431" y="152"/>
                    </a:lnTo>
                    <a:lnTo>
                      <a:pt x="431" y="150"/>
                    </a:lnTo>
                    <a:lnTo>
                      <a:pt x="432" y="150"/>
                    </a:lnTo>
                    <a:lnTo>
                      <a:pt x="432" y="148"/>
                    </a:lnTo>
                    <a:lnTo>
                      <a:pt x="434" y="148"/>
                    </a:lnTo>
                    <a:lnTo>
                      <a:pt x="434" y="146"/>
                    </a:lnTo>
                    <a:lnTo>
                      <a:pt x="434" y="148"/>
                    </a:lnTo>
                    <a:lnTo>
                      <a:pt x="436" y="146"/>
                    </a:lnTo>
                    <a:lnTo>
                      <a:pt x="436" y="148"/>
                    </a:lnTo>
                    <a:lnTo>
                      <a:pt x="436" y="146"/>
                    </a:lnTo>
                    <a:lnTo>
                      <a:pt x="438" y="146"/>
                    </a:lnTo>
                    <a:lnTo>
                      <a:pt x="438" y="148"/>
                    </a:lnTo>
                    <a:lnTo>
                      <a:pt x="438" y="146"/>
                    </a:lnTo>
                    <a:lnTo>
                      <a:pt x="440" y="144"/>
                    </a:lnTo>
                    <a:lnTo>
                      <a:pt x="442" y="144"/>
                    </a:lnTo>
                    <a:lnTo>
                      <a:pt x="444" y="144"/>
                    </a:lnTo>
                    <a:lnTo>
                      <a:pt x="446" y="142"/>
                    </a:lnTo>
                    <a:lnTo>
                      <a:pt x="448" y="142"/>
                    </a:lnTo>
                    <a:lnTo>
                      <a:pt x="450" y="142"/>
                    </a:lnTo>
                    <a:lnTo>
                      <a:pt x="452" y="142"/>
                    </a:lnTo>
                    <a:lnTo>
                      <a:pt x="452" y="140"/>
                    </a:lnTo>
                    <a:lnTo>
                      <a:pt x="452" y="142"/>
                    </a:lnTo>
                    <a:lnTo>
                      <a:pt x="452" y="140"/>
                    </a:lnTo>
                    <a:lnTo>
                      <a:pt x="452" y="138"/>
                    </a:lnTo>
                    <a:lnTo>
                      <a:pt x="454" y="138"/>
                    </a:lnTo>
                    <a:lnTo>
                      <a:pt x="456" y="138"/>
                    </a:lnTo>
                    <a:lnTo>
                      <a:pt x="456" y="137"/>
                    </a:lnTo>
                    <a:lnTo>
                      <a:pt x="454" y="137"/>
                    </a:lnTo>
                    <a:lnTo>
                      <a:pt x="454" y="135"/>
                    </a:lnTo>
                    <a:lnTo>
                      <a:pt x="456" y="137"/>
                    </a:lnTo>
                    <a:lnTo>
                      <a:pt x="457" y="137"/>
                    </a:lnTo>
                    <a:lnTo>
                      <a:pt x="457" y="135"/>
                    </a:lnTo>
                    <a:lnTo>
                      <a:pt x="457" y="133"/>
                    </a:lnTo>
                    <a:lnTo>
                      <a:pt x="459" y="133"/>
                    </a:lnTo>
                    <a:lnTo>
                      <a:pt x="459" y="135"/>
                    </a:lnTo>
                    <a:lnTo>
                      <a:pt x="459" y="133"/>
                    </a:lnTo>
                    <a:lnTo>
                      <a:pt x="461" y="133"/>
                    </a:lnTo>
                    <a:lnTo>
                      <a:pt x="461" y="131"/>
                    </a:lnTo>
                    <a:lnTo>
                      <a:pt x="461" y="129"/>
                    </a:lnTo>
                    <a:lnTo>
                      <a:pt x="463" y="129"/>
                    </a:lnTo>
                    <a:lnTo>
                      <a:pt x="461" y="129"/>
                    </a:lnTo>
                    <a:lnTo>
                      <a:pt x="461" y="127"/>
                    </a:lnTo>
                    <a:lnTo>
                      <a:pt x="461" y="125"/>
                    </a:lnTo>
                    <a:lnTo>
                      <a:pt x="463" y="125"/>
                    </a:lnTo>
                    <a:lnTo>
                      <a:pt x="465" y="125"/>
                    </a:lnTo>
                    <a:lnTo>
                      <a:pt x="463" y="125"/>
                    </a:lnTo>
                    <a:lnTo>
                      <a:pt x="463" y="123"/>
                    </a:lnTo>
                    <a:lnTo>
                      <a:pt x="465" y="123"/>
                    </a:lnTo>
                    <a:lnTo>
                      <a:pt x="467" y="121"/>
                    </a:lnTo>
                    <a:lnTo>
                      <a:pt x="469" y="121"/>
                    </a:lnTo>
                    <a:lnTo>
                      <a:pt x="471" y="121"/>
                    </a:lnTo>
                    <a:lnTo>
                      <a:pt x="473" y="121"/>
                    </a:lnTo>
                    <a:lnTo>
                      <a:pt x="475" y="121"/>
                    </a:lnTo>
                    <a:lnTo>
                      <a:pt x="477" y="121"/>
                    </a:lnTo>
                    <a:lnTo>
                      <a:pt x="479" y="119"/>
                    </a:lnTo>
                    <a:lnTo>
                      <a:pt x="479" y="121"/>
                    </a:lnTo>
                    <a:lnTo>
                      <a:pt x="479" y="119"/>
                    </a:lnTo>
                    <a:lnTo>
                      <a:pt x="481" y="119"/>
                    </a:lnTo>
                    <a:lnTo>
                      <a:pt x="481" y="117"/>
                    </a:lnTo>
                    <a:lnTo>
                      <a:pt x="481" y="119"/>
                    </a:lnTo>
                    <a:lnTo>
                      <a:pt x="481" y="117"/>
                    </a:lnTo>
                    <a:lnTo>
                      <a:pt x="482" y="117"/>
                    </a:lnTo>
                    <a:lnTo>
                      <a:pt x="482" y="115"/>
                    </a:lnTo>
                    <a:lnTo>
                      <a:pt x="484" y="115"/>
                    </a:lnTo>
                    <a:lnTo>
                      <a:pt x="484" y="117"/>
                    </a:lnTo>
                    <a:lnTo>
                      <a:pt x="486" y="117"/>
                    </a:lnTo>
                    <a:lnTo>
                      <a:pt x="486" y="119"/>
                    </a:lnTo>
                    <a:lnTo>
                      <a:pt x="488" y="119"/>
                    </a:lnTo>
                    <a:lnTo>
                      <a:pt x="488" y="121"/>
                    </a:lnTo>
                    <a:lnTo>
                      <a:pt x="490" y="121"/>
                    </a:lnTo>
                    <a:lnTo>
                      <a:pt x="490" y="123"/>
                    </a:lnTo>
                    <a:lnTo>
                      <a:pt x="492" y="123"/>
                    </a:lnTo>
                    <a:lnTo>
                      <a:pt x="494" y="123"/>
                    </a:lnTo>
                    <a:lnTo>
                      <a:pt x="496" y="121"/>
                    </a:lnTo>
                    <a:lnTo>
                      <a:pt x="498" y="121"/>
                    </a:lnTo>
                    <a:lnTo>
                      <a:pt x="500" y="121"/>
                    </a:lnTo>
                    <a:lnTo>
                      <a:pt x="500" y="123"/>
                    </a:lnTo>
                    <a:lnTo>
                      <a:pt x="502" y="123"/>
                    </a:lnTo>
                    <a:lnTo>
                      <a:pt x="504" y="125"/>
                    </a:lnTo>
                    <a:lnTo>
                      <a:pt x="504" y="123"/>
                    </a:lnTo>
                    <a:lnTo>
                      <a:pt x="504" y="125"/>
                    </a:lnTo>
                    <a:lnTo>
                      <a:pt x="502" y="123"/>
                    </a:lnTo>
                    <a:lnTo>
                      <a:pt x="504" y="123"/>
                    </a:lnTo>
                    <a:lnTo>
                      <a:pt x="505" y="123"/>
                    </a:lnTo>
                    <a:lnTo>
                      <a:pt x="507" y="123"/>
                    </a:lnTo>
                    <a:lnTo>
                      <a:pt x="509" y="123"/>
                    </a:lnTo>
                    <a:lnTo>
                      <a:pt x="511" y="123"/>
                    </a:lnTo>
                    <a:lnTo>
                      <a:pt x="511" y="125"/>
                    </a:lnTo>
                    <a:lnTo>
                      <a:pt x="513" y="125"/>
                    </a:lnTo>
                    <a:lnTo>
                      <a:pt x="513" y="127"/>
                    </a:lnTo>
                    <a:lnTo>
                      <a:pt x="515" y="127"/>
                    </a:lnTo>
                    <a:lnTo>
                      <a:pt x="515" y="129"/>
                    </a:lnTo>
                    <a:lnTo>
                      <a:pt x="517" y="129"/>
                    </a:lnTo>
                    <a:lnTo>
                      <a:pt x="519" y="129"/>
                    </a:lnTo>
                    <a:lnTo>
                      <a:pt x="519" y="131"/>
                    </a:lnTo>
                    <a:lnTo>
                      <a:pt x="519" y="133"/>
                    </a:lnTo>
                    <a:lnTo>
                      <a:pt x="517" y="133"/>
                    </a:lnTo>
                    <a:lnTo>
                      <a:pt x="519" y="133"/>
                    </a:lnTo>
                    <a:lnTo>
                      <a:pt x="517" y="133"/>
                    </a:lnTo>
                    <a:lnTo>
                      <a:pt x="519" y="133"/>
                    </a:lnTo>
                    <a:lnTo>
                      <a:pt x="519" y="131"/>
                    </a:lnTo>
                    <a:lnTo>
                      <a:pt x="519" y="129"/>
                    </a:lnTo>
                    <a:lnTo>
                      <a:pt x="517" y="129"/>
                    </a:lnTo>
                    <a:lnTo>
                      <a:pt x="515" y="129"/>
                    </a:lnTo>
                    <a:lnTo>
                      <a:pt x="515" y="127"/>
                    </a:lnTo>
                    <a:lnTo>
                      <a:pt x="515" y="129"/>
                    </a:lnTo>
                    <a:lnTo>
                      <a:pt x="517" y="129"/>
                    </a:lnTo>
                    <a:lnTo>
                      <a:pt x="519" y="129"/>
                    </a:lnTo>
                    <a:lnTo>
                      <a:pt x="521" y="129"/>
                    </a:lnTo>
                    <a:lnTo>
                      <a:pt x="523" y="129"/>
                    </a:lnTo>
                    <a:lnTo>
                      <a:pt x="525" y="129"/>
                    </a:lnTo>
                    <a:lnTo>
                      <a:pt x="527" y="129"/>
                    </a:lnTo>
                    <a:lnTo>
                      <a:pt x="529" y="129"/>
                    </a:lnTo>
                    <a:lnTo>
                      <a:pt x="529" y="127"/>
                    </a:lnTo>
                    <a:lnTo>
                      <a:pt x="530" y="127"/>
                    </a:lnTo>
                    <a:lnTo>
                      <a:pt x="530" y="129"/>
                    </a:lnTo>
                    <a:lnTo>
                      <a:pt x="532" y="129"/>
                    </a:lnTo>
                    <a:lnTo>
                      <a:pt x="534" y="129"/>
                    </a:lnTo>
                    <a:lnTo>
                      <a:pt x="534" y="127"/>
                    </a:lnTo>
                    <a:lnTo>
                      <a:pt x="536" y="127"/>
                    </a:lnTo>
                    <a:lnTo>
                      <a:pt x="536" y="129"/>
                    </a:lnTo>
                    <a:lnTo>
                      <a:pt x="536" y="127"/>
                    </a:lnTo>
                    <a:lnTo>
                      <a:pt x="538" y="127"/>
                    </a:lnTo>
                    <a:lnTo>
                      <a:pt x="540" y="125"/>
                    </a:lnTo>
                    <a:lnTo>
                      <a:pt x="540" y="123"/>
                    </a:lnTo>
                    <a:lnTo>
                      <a:pt x="542" y="125"/>
                    </a:lnTo>
                    <a:lnTo>
                      <a:pt x="544" y="125"/>
                    </a:lnTo>
                    <a:lnTo>
                      <a:pt x="544" y="123"/>
                    </a:lnTo>
                    <a:lnTo>
                      <a:pt x="542" y="123"/>
                    </a:lnTo>
                    <a:lnTo>
                      <a:pt x="544" y="123"/>
                    </a:lnTo>
                    <a:lnTo>
                      <a:pt x="546" y="123"/>
                    </a:lnTo>
                    <a:lnTo>
                      <a:pt x="548" y="121"/>
                    </a:lnTo>
                    <a:lnTo>
                      <a:pt x="550" y="121"/>
                    </a:lnTo>
                    <a:lnTo>
                      <a:pt x="550" y="119"/>
                    </a:lnTo>
                    <a:lnTo>
                      <a:pt x="548" y="119"/>
                    </a:lnTo>
                    <a:lnTo>
                      <a:pt x="548" y="117"/>
                    </a:lnTo>
                    <a:lnTo>
                      <a:pt x="550" y="117"/>
                    </a:lnTo>
                    <a:lnTo>
                      <a:pt x="550" y="115"/>
                    </a:lnTo>
                    <a:lnTo>
                      <a:pt x="550" y="113"/>
                    </a:lnTo>
                    <a:lnTo>
                      <a:pt x="552" y="113"/>
                    </a:lnTo>
                    <a:lnTo>
                      <a:pt x="552" y="112"/>
                    </a:lnTo>
                    <a:lnTo>
                      <a:pt x="552" y="110"/>
                    </a:lnTo>
                    <a:lnTo>
                      <a:pt x="554" y="110"/>
                    </a:lnTo>
                    <a:lnTo>
                      <a:pt x="554" y="108"/>
                    </a:lnTo>
                    <a:lnTo>
                      <a:pt x="555" y="108"/>
                    </a:lnTo>
                    <a:lnTo>
                      <a:pt x="557" y="108"/>
                    </a:lnTo>
                    <a:lnTo>
                      <a:pt x="557" y="106"/>
                    </a:lnTo>
                    <a:lnTo>
                      <a:pt x="559" y="106"/>
                    </a:lnTo>
                    <a:lnTo>
                      <a:pt x="561" y="106"/>
                    </a:lnTo>
                    <a:lnTo>
                      <a:pt x="561" y="108"/>
                    </a:lnTo>
                    <a:lnTo>
                      <a:pt x="561" y="110"/>
                    </a:lnTo>
                    <a:lnTo>
                      <a:pt x="563" y="110"/>
                    </a:lnTo>
                    <a:lnTo>
                      <a:pt x="563" y="112"/>
                    </a:lnTo>
                    <a:lnTo>
                      <a:pt x="565" y="110"/>
                    </a:lnTo>
                    <a:lnTo>
                      <a:pt x="565" y="112"/>
                    </a:lnTo>
                    <a:lnTo>
                      <a:pt x="567" y="112"/>
                    </a:lnTo>
                    <a:lnTo>
                      <a:pt x="569" y="112"/>
                    </a:lnTo>
                    <a:lnTo>
                      <a:pt x="567" y="112"/>
                    </a:lnTo>
                    <a:lnTo>
                      <a:pt x="565" y="112"/>
                    </a:lnTo>
                    <a:lnTo>
                      <a:pt x="565" y="110"/>
                    </a:lnTo>
                    <a:lnTo>
                      <a:pt x="563" y="110"/>
                    </a:lnTo>
                    <a:lnTo>
                      <a:pt x="561" y="110"/>
                    </a:lnTo>
                    <a:lnTo>
                      <a:pt x="561" y="108"/>
                    </a:lnTo>
                    <a:lnTo>
                      <a:pt x="561" y="106"/>
                    </a:lnTo>
                    <a:lnTo>
                      <a:pt x="559" y="106"/>
                    </a:lnTo>
                    <a:lnTo>
                      <a:pt x="557" y="106"/>
                    </a:lnTo>
                    <a:lnTo>
                      <a:pt x="557" y="108"/>
                    </a:lnTo>
                    <a:lnTo>
                      <a:pt x="555" y="108"/>
                    </a:lnTo>
                    <a:lnTo>
                      <a:pt x="554" y="108"/>
                    </a:lnTo>
                    <a:lnTo>
                      <a:pt x="554" y="110"/>
                    </a:lnTo>
                    <a:lnTo>
                      <a:pt x="552" y="110"/>
                    </a:lnTo>
                    <a:lnTo>
                      <a:pt x="552" y="112"/>
                    </a:lnTo>
                    <a:lnTo>
                      <a:pt x="552" y="113"/>
                    </a:lnTo>
                    <a:lnTo>
                      <a:pt x="550" y="113"/>
                    </a:lnTo>
                    <a:lnTo>
                      <a:pt x="550" y="115"/>
                    </a:lnTo>
                    <a:lnTo>
                      <a:pt x="550" y="117"/>
                    </a:lnTo>
                    <a:lnTo>
                      <a:pt x="548" y="117"/>
                    </a:lnTo>
                    <a:lnTo>
                      <a:pt x="548" y="119"/>
                    </a:lnTo>
                    <a:lnTo>
                      <a:pt x="550" y="119"/>
                    </a:lnTo>
                    <a:lnTo>
                      <a:pt x="550" y="121"/>
                    </a:lnTo>
                    <a:lnTo>
                      <a:pt x="548" y="121"/>
                    </a:lnTo>
                    <a:lnTo>
                      <a:pt x="546" y="123"/>
                    </a:lnTo>
                    <a:lnTo>
                      <a:pt x="544" y="123"/>
                    </a:lnTo>
                    <a:lnTo>
                      <a:pt x="542" y="123"/>
                    </a:lnTo>
                    <a:lnTo>
                      <a:pt x="544" y="125"/>
                    </a:lnTo>
                    <a:lnTo>
                      <a:pt x="542" y="125"/>
                    </a:lnTo>
                    <a:lnTo>
                      <a:pt x="542" y="123"/>
                    </a:lnTo>
                    <a:lnTo>
                      <a:pt x="540" y="123"/>
                    </a:lnTo>
                    <a:lnTo>
                      <a:pt x="538" y="125"/>
                    </a:lnTo>
                    <a:lnTo>
                      <a:pt x="536" y="127"/>
                    </a:lnTo>
                    <a:lnTo>
                      <a:pt x="536" y="129"/>
                    </a:lnTo>
                    <a:lnTo>
                      <a:pt x="536" y="127"/>
                    </a:lnTo>
                    <a:lnTo>
                      <a:pt x="534" y="127"/>
                    </a:lnTo>
                    <a:lnTo>
                      <a:pt x="534" y="129"/>
                    </a:lnTo>
                    <a:lnTo>
                      <a:pt x="534" y="127"/>
                    </a:lnTo>
                    <a:lnTo>
                      <a:pt x="532" y="129"/>
                    </a:lnTo>
                    <a:lnTo>
                      <a:pt x="530" y="129"/>
                    </a:lnTo>
                    <a:lnTo>
                      <a:pt x="530" y="127"/>
                    </a:lnTo>
                    <a:lnTo>
                      <a:pt x="529" y="127"/>
                    </a:lnTo>
                    <a:lnTo>
                      <a:pt x="527" y="129"/>
                    </a:lnTo>
                    <a:lnTo>
                      <a:pt x="525" y="129"/>
                    </a:lnTo>
                    <a:lnTo>
                      <a:pt x="523" y="129"/>
                    </a:lnTo>
                    <a:lnTo>
                      <a:pt x="521" y="129"/>
                    </a:lnTo>
                    <a:lnTo>
                      <a:pt x="519" y="129"/>
                    </a:lnTo>
                    <a:lnTo>
                      <a:pt x="517" y="129"/>
                    </a:lnTo>
                    <a:lnTo>
                      <a:pt x="515" y="127"/>
                    </a:lnTo>
                    <a:lnTo>
                      <a:pt x="513" y="127"/>
                    </a:lnTo>
                    <a:lnTo>
                      <a:pt x="513" y="125"/>
                    </a:lnTo>
                    <a:lnTo>
                      <a:pt x="511" y="125"/>
                    </a:lnTo>
                    <a:lnTo>
                      <a:pt x="513" y="125"/>
                    </a:lnTo>
                    <a:lnTo>
                      <a:pt x="511" y="125"/>
                    </a:lnTo>
                    <a:lnTo>
                      <a:pt x="511" y="123"/>
                    </a:lnTo>
                    <a:lnTo>
                      <a:pt x="509" y="123"/>
                    </a:lnTo>
                    <a:lnTo>
                      <a:pt x="507" y="123"/>
                    </a:lnTo>
                    <a:lnTo>
                      <a:pt x="505" y="123"/>
                    </a:lnTo>
                    <a:lnTo>
                      <a:pt x="504" y="123"/>
                    </a:lnTo>
                    <a:lnTo>
                      <a:pt x="502" y="123"/>
                    </a:lnTo>
                    <a:lnTo>
                      <a:pt x="500" y="123"/>
                    </a:lnTo>
                    <a:lnTo>
                      <a:pt x="500" y="121"/>
                    </a:lnTo>
                    <a:lnTo>
                      <a:pt x="498" y="121"/>
                    </a:lnTo>
                    <a:lnTo>
                      <a:pt x="496" y="121"/>
                    </a:lnTo>
                    <a:lnTo>
                      <a:pt x="496" y="119"/>
                    </a:lnTo>
                    <a:lnTo>
                      <a:pt x="494" y="121"/>
                    </a:lnTo>
                    <a:lnTo>
                      <a:pt x="494" y="123"/>
                    </a:lnTo>
                    <a:lnTo>
                      <a:pt x="492" y="123"/>
                    </a:lnTo>
                    <a:lnTo>
                      <a:pt x="490" y="123"/>
                    </a:lnTo>
                    <a:lnTo>
                      <a:pt x="490" y="121"/>
                    </a:lnTo>
                    <a:lnTo>
                      <a:pt x="488" y="121"/>
                    </a:lnTo>
                    <a:lnTo>
                      <a:pt x="488" y="119"/>
                    </a:lnTo>
                    <a:lnTo>
                      <a:pt x="486" y="119"/>
                    </a:lnTo>
                    <a:lnTo>
                      <a:pt x="486" y="117"/>
                    </a:lnTo>
                    <a:lnTo>
                      <a:pt x="486" y="119"/>
                    </a:lnTo>
                    <a:lnTo>
                      <a:pt x="486" y="117"/>
                    </a:lnTo>
                    <a:lnTo>
                      <a:pt x="484" y="117"/>
                    </a:lnTo>
                    <a:lnTo>
                      <a:pt x="484" y="115"/>
                    </a:lnTo>
                    <a:lnTo>
                      <a:pt x="486" y="117"/>
                    </a:lnTo>
                    <a:lnTo>
                      <a:pt x="484" y="117"/>
                    </a:lnTo>
                    <a:lnTo>
                      <a:pt x="484" y="115"/>
                    </a:lnTo>
                    <a:lnTo>
                      <a:pt x="482" y="115"/>
                    </a:lnTo>
                    <a:lnTo>
                      <a:pt x="482" y="117"/>
                    </a:lnTo>
                    <a:lnTo>
                      <a:pt x="481" y="119"/>
                    </a:lnTo>
                    <a:lnTo>
                      <a:pt x="479" y="119"/>
                    </a:lnTo>
                    <a:lnTo>
                      <a:pt x="477" y="119"/>
                    </a:lnTo>
                    <a:lnTo>
                      <a:pt x="477" y="121"/>
                    </a:lnTo>
                    <a:lnTo>
                      <a:pt x="475" y="121"/>
                    </a:lnTo>
                    <a:lnTo>
                      <a:pt x="473" y="121"/>
                    </a:lnTo>
                    <a:lnTo>
                      <a:pt x="471" y="121"/>
                    </a:lnTo>
                    <a:lnTo>
                      <a:pt x="471" y="119"/>
                    </a:lnTo>
                    <a:lnTo>
                      <a:pt x="471" y="121"/>
                    </a:lnTo>
                    <a:lnTo>
                      <a:pt x="471" y="119"/>
                    </a:lnTo>
                    <a:lnTo>
                      <a:pt x="469" y="119"/>
                    </a:lnTo>
                    <a:lnTo>
                      <a:pt x="471" y="119"/>
                    </a:lnTo>
                    <a:lnTo>
                      <a:pt x="471" y="121"/>
                    </a:lnTo>
                    <a:lnTo>
                      <a:pt x="473" y="121"/>
                    </a:lnTo>
                    <a:lnTo>
                      <a:pt x="475" y="121"/>
                    </a:lnTo>
                    <a:lnTo>
                      <a:pt x="473" y="121"/>
                    </a:lnTo>
                    <a:lnTo>
                      <a:pt x="471" y="121"/>
                    </a:lnTo>
                    <a:lnTo>
                      <a:pt x="469" y="121"/>
                    </a:lnTo>
                    <a:lnTo>
                      <a:pt x="467" y="121"/>
                    </a:lnTo>
                    <a:lnTo>
                      <a:pt x="469" y="121"/>
                    </a:lnTo>
                    <a:lnTo>
                      <a:pt x="469" y="119"/>
                    </a:lnTo>
                    <a:lnTo>
                      <a:pt x="469" y="121"/>
                    </a:lnTo>
                    <a:lnTo>
                      <a:pt x="467" y="121"/>
                    </a:lnTo>
                    <a:lnTo>
                      <a:pt x="465" y="121"/>
                    </a:lnTo>
                    <a:lnTo>
                      <a:pt x="463" y="121"/>
                    </a:lnTo>
                    <a:lnTo>
                      <a:pt x="461" y="121"/>
                    </a:lnTo>
                    <a:lnTo>
                      <a:pt x="459" y="121"/>
                    </a:lnTo>
                    <a:lnTo>
                      <a:pt x="459" y="119"/>
                    </a:lnTo>
                    <a:lnTo>
                      <a:pt x="459" y="117"/>
                    </a:lnTo>
                    <a:lnTo>
                      <a:pt x="459" y="119"/>
                    </a:lnTo>
                    <a:lnTo>
                      <a:pt x="459" y="117"/>
                    </a:lnTo>
                    <a:lnTo>
                      <a:pt x="459" y="115"/>
                    </a:lnTo>
                    <a:lnTo>
                      <a:pt x="459" y="117"/>
                    </a:lnTo>
                    <a:lnTo>
                      <a:pt x="459" y="119"/>
                    </a:lnTo>
                    <a:lnTo>
                      <a:pt x="461" y="119"/>
                    </a:lnTo>
                    <a:lnTo>
                      <a:pt x="459" y="117"/>
                    </a:lnTo>
                    <a:lnTo>
                      <a:pt x="459" y="115"/>
                    </a:lnTo>
                    <a:lnTo>
                      <a:pt x="461" y="113"/>
                    </a:lnTo>
                    <a:lnTo>
                      <a:pt x="461" y="115"/>
                    </a:lnTo>
                    <a:lnTo>
                      <a:pt x="461" y="113"/>
                    </a:lnTo>
                    <a:lnTo>
                      <a:pt x="461" y="112"/>
                    </a:lnTo>
                    <a:lnTo>
                      <a:pt x="461" y="110"/>
                    </a:lnTo>
                    <a:lnTo>
                      <a:pt x="459" y="108"/>
                    </a:lnTo>
                    <a:lnTo>
                      <a:pt x="459" y="106"/>
                    </a:lnTo>
                    <a:lnTo>
                      <a:pt x="457" y="104"/>
                    </a:lnTo>
                    <a:lnTo>
                      <a:pt x="457" y="102"/>
                    </a:lnTo>
                    <a:lnTo>
                      <a:pt x="457" y="100"/>
                    </a:lnTo>
                    <a:lnTo>
                      <a:pt x="456" y="100"/>
                    </a:lnTo>
                    <a:lnTo>
                      <a:pt x="454" y="100"/>
                    </a:lnTo>
                    <a:lnTo>
                      <a:pt x="454" y="102"/>
                    </a:lnTo>
                    <a:lnTo>
                      <a:pt x="454" y="100"/>
                    </a:lnTo>
                    <a:lnTo>
                      <a:pt x="452" y="100"/>
                    </a:lnTo>
                    <a:lnTo>
                      <a:pt x="452" y="102"/>
                    </a:lnTo>
                    <a:lnTo>
                      <a:pt x="450" y="102"/>
                    </a:lnTo>
                    <a:lnTo>
                      <a:pt x="450" y="104"/>
                    </a:lnTo>
                    <a:lnTo>
                      <a:pt x="448" y="106"/>
                    </a:lnTo>
                    <a:lnTo>
                      <a:pt x="448" y="108"/>
                    </a:lnTo>
                    <a:lnTo>
                      <a:pt x="446" y="108"/>
                    </a:lnTo>
                    <a:lnTo>
                      <a:pt x="444" y="108"/>
                    </a:lnTo>
                    <a:lnTo>
                      <a:pt x="442" y="108"/>
                    </a:lnTo>
                    <a:lnTo>
                      <a:pt x="440" y="108"/>
                    </a:lnTo>
                    <a:lnTo>
                      <a:pt x="438" y="108"/>
                    </a:lnTo>
                    <a:lnTo>
                      <a:pt x="436" y="108"/>
                    </a:lnTo>
                    <a:lnTo>
                      <a:pt x="436" y="110"/>
                    </a:lnTo>
                    <a:lnTo>
                      <a:pt x="434" y="110"/>
                    </a:lnTo>
                    <a:lnTo>
                      <a:pt x="432" y="110"/>
                    </a:lnTo>
                    <a:lnTo>
                      <a:pt x="431" y="110"/>
                    </a:lnTo>
                    <a:lnTo>
                      <a:pt x="431" y="112"/>
                    </a:lnTo>
                    <a:lnTo>
                      <a:pt x="431" y="113"/>
                    </a:lnTo>
                    <a:lnTo>
                      <a:pt x="429" y="113"/>
                    </a:lnTo>
                    <a:lnTo>
                      <a:pt x="429" y="112"/>
                    </a:lnTo>
                    <a:lnTo>
                      <a:pt x="427" y="112"/>
                    </a:lnTo>
                    <a:lnTo>
                      <a:pt x="425" y="112"/>
                    </a:lnTo>
                    <a:lnTo>
                      <a:pt x="427" y="112"/>
                    </a:lnTo>
                    <a:lnTo>
                      <a:pt x="425" y="112"/>
                    </a:lnTo>
                    <a:lnTo>
                      <a:pt x="425" y="113"/>
                    </a:lnTo>
                    <a:lnTo>
                      <a:pt x="423" y="113"/>
                    </a:lnTo>
                    <a:lnTo>
                      <a:pt x="421" y="113"/>
                    </a:lnTo>
                    <a:lnTo>
                      <a:pt x="421" y="115"/>
                    </a:lnTo>
                    <a:lnTo>
                      <a:pt x="419" y="115"/>
                    </a:lnTo>
                    <a:lnTo>
                      <a:pt x="417" y="117"/>
                    </a:lnTo>
                    <a:lnTo>
                      <a:pt x="415" y="117"/>
                    </a:lnTo>
                    <a:lnTo>
                      <a:pt x="415" y="119"/>
                    </a:lnTo>
                    <a:lnTo>
                      <a:pt x="415" y="121"/>
                    </a:lnTo>
                    <a:lnTo>
                      <a:pt x="413" y="121"/>
                    </a:lnTo>
                    <a:lnTo>
                      <a:pt x="413" y="123"/>
                    </a:lnTo>
                    <a:lnTo>
                      <a:pt x="411" y="123"/>
                    </a:lnTo>
                    <a:lnTo>
                      <a:pt x="409" y="123"/>
                    </a:lnTo>
                    <a:lnTo>
                      <a:pt x="409" y="121"/>
                    </a:lnTo>
                    <a:lnTo>
                      <a:pt x="408" y="121"/>
                    </a:lnTo>
                    <a:lnTo>
                      <a:pt x="406" y="121"/>
                    </a:lnTo>
                    <a:lnTo>
                      <a:pt x="404" y="121"/>
                    </a:lnTo>
                    <a:lnTo>
                      <a:pt x="402" y="121"/>
                    </a:lnTo>
                    <a:lnTo>
                      <a:pt x="400" y="121"/>
                    </a:lnTo>
                    <a:lnTo>
                      <a:pt x="398" y="121"/>
                    </a:lnTo>
                    <a:lnTo>
                      <a:pt x="396" y="121"/>
                    </a:lnTo>
                    <a:lnTo>
                      <a:pt x="396" y="119"/>
                    </a:lnTo>
                    <a:lnTo>
                      <a:pt x="394" y="119"/>
                    </a:lnTo>
                    <a:lnTo>
                      <a:pt x="392" y="119"/>
                    </a:lnTo>
                    <a:lnTo>
                      <a:pt x="394" y="119"/>
                    </a:lnTo>
                    <a:lnTo>
                      <a:pt x="394" y="117"/>
                    </a:lnTo>
                    <a:lnTo>
                      <a:pt x="392" y="117"/>
                    </a:lnTo>
                    <a:lnTo>
                      <a:pt x="392" y="115"/>
                    </a:lnTo>
                    <a:lnTo>
                      <a:pt x="392" y="113"/>
                    </a:lnTo>
                    <a:lnTo>
                      <a:pt x="392" y="112"/>
                    </a:lnTo>
                    <a:lnTo>
                      <a:pt x="392" y="110"/>
                    </a:lnTo>
                    <a:lnTo>
                      <a:pt x="394" y="110"/>
                    </a:lnTo>
                    <a:lnTo>
                      <a:pt x="396" y="110"/>
                    </a:lnTo>
                    <a:lnTo>
                      <a:pt x="396" y="108"/>
                    </a:lnTo>
                    <a:lnTo>
                      <a:pt x="398" y="106"/>
                    </a:lnTo>
                    <a:lnTo>
                      <a:pt x="398" y="104"/>
                    </a:lnTo>
                    <a:lnTo>
                      <a:pt x="400" y="104"/>
                    </a:lnTo>
                    <a:lnTo>
                      <a:pt x="398" y="102"/>
                    </a:lnTo>
                    <a:lnTo>
                      <a:pt x="400" y="102"/>
                    </a:lnTo>
                    <a:lnTo>
                      <a:pt x="400" y="100"/>
                    </a:lnTo>
                    <a:lnTo>
                      <a:pt x="402" y="100"/>
                    </a:lnTo>
                    <a:lnTo>
                      <a:pt x="402" y="98"/>
                    </a:lnTo>
                    <a:lnTo>
                      <a:pt x="404" y="98"/>
                    </a:lnTo>
                    <a:lnTo>
                      <a:pt x="406" y="98"/>
                    </a:lnTo>
                    <a:lnTo>
                      <a:pt x="406" y="96"/>
                    </a:lnTo>
                    <a:lnTo>
                      <a:pt x="404" y="96"/>
                    </a:lnTo>
                    <a:lnTo>
                      <a:pt x="404" y="94"/>
                    </a:lnTo>
                    <a:lnTo>
                      <a:pt x="404" y="96"/>
                    </a:lnTo>
                    <a:lnTo>
                      <a:pt x="402" y="96"/>
                    </a:lnTo>
                    <a:lnTo>
                      <a:pt x="402" y="94"/>
                    </a:lnTo>
                    <a:lnTo>
                      <a:pt x="400" y="94"/>
                    </a:lnTo>
                    <a:lnTo>
                      <a:pt x="400" y="92"/>
                    </a:lnTo>
                    <a:lnTo>
                      <a:pt x="402" y="92"/>
                    </a:lnTo>
                    <a:lnTo>
                      <a:pt x="400" y="92"/>
                    </a:lnTo>
                    <a:lnTo>
                      <a:pt x="400" y="94"/>
                    </a:lnTo>
                    <a:lnTo>
                      <a:pt x="402" y="94"/>
                    </a:lnTo>
                    <a:lnTo>
                      <a:pt x="402" y="96"/>
                    </a:lnTo>
                    <a:lnTo>
                      <a:pt x="404" y="96"/>
                    </a:lnTo>
                    <a:lnTo>
                      <a:pt x="406" y="98"/>
                    </a:lnTo>
                    <a:lnTo>
                      <a:pt x="404" y="98"/>
                    </a:lnTo>
                    <a:lnTo>
                      <a:pt x="402" y="98"/>
                    </a:lnTo>
                    <a:lnTo>
                      <a:pt x="400" y="100"/>
                    </a:lnTo>
                    <a:lnTo>
                      <a:pt x="400" y="102"/>
                    </a:lnTo>
                    <a:lnTo>
                      <a:pt x="398" y="102"/>
                    </a:lnTo>
                    <a:lnTo>
                      <a:pt x="400" y="104"/>
                    </a:lnTo>
                    <a:lnTo>
                      <a:pt x="398" y="104"/>
                    </a:lnTo>
                    <a:lnTo>
                      <a:pt x="398" y="106"/>
                    </a:lnTo>
                    <a:lnTo>
                      <a:pt x="396" y="108"/>
                    </a:lnTo>
                    <a:lnTo>
                      <a:pt x="396" y="110"/>
                    </a:lnTo>
                    <a:lnTo>
                      <a:pt x="394" y="110"/>
                    </a:lnTo>
                    <a:lnTo>
                      <a:pt x="392" y="110"/>
                    </a:lnTo>
                    <a:lnTo>
                      <a:pt x="392" y="112"/>
                    </a:lnTo>
                    <a:lnTo>
                      <a:pt x="392" y="113"/>
                    </a:lnTo>
                    <a:lnTo>
                      <a:pt x="392" y="115"/>
                    </a:lnTo>
                    <a:lnTo>
                      <a:pt x="392" y="117"/>
                    </a:lnTo>
                    <a:lnTo>
                      <a:pt x="394" y="117"/>
                    </a:lnTo>
                    <a:lnTo>
                      <a:pt x="394" y="119"/>
                    </a:lnTo>
                    <a:lnTo>
                      <a:pt x="392" y="119"/>
                    </a:lnTo>
                    <a:lnTo>
                      <a:pt x="392" y="121"/>
                    </a:lnTo>
                    <a:lnTo>
                      <a:pt x="390" y="119"/>
                    </a:lnTo>
                    <a:lnTo>
                      <a:pt x="388" y="119"/>
                    </a:lnTo>
                    <a:lnTo>
                      <a:pt x="386" y="119"/>
                    </a:lnTo>
                    <a:lnTo>
                      <a:pt x="386" y="117"/>
                    </a:lnTo>
                    <a:lnTo>
                      <a:pt x="386" y="115"/>
                    </a:lnTo>
                    <a:lnTo>
                      <a:pt x="386" y="117"/>
                    </a:lnTo>
                    <a:lnTo>
                      <a:pt x="386" y="115"/>
                    </a:lnTo>
                    <a:lnTo>
                      <a:pt x="384" y="115"/>
                    </a:lnTo>
                    <a:lnTo>
                      <a:pt x="384" y="113"/>
                    </a:lnTo>
                    <a:lnTo>
                      <a:pt x="384" y="112"/>
                    </a:lnTo>
                    <a:lnTo>
                      <a:pt x="384" y="110"/>
                    </a:lnTo>
                    <a:lnTo>
                      <a:pt x="384" y="108"/>
                    </a:lnTo>
                    <a:lnTo>
                      <a:pt x="386" y="108"/>
                    </a:lnTo>
                    <a:lnTo>
                      <a:pt x="384" y="108"/>
                    </a:lnTo>
                    <a:lnTo>
                      <a:pt x="384" y="106"/>
                    </a:lnTo>
                    <a:lnTo>
                      <a:pt x="383" y="106"/>
                    </a:lnTo>
                    <a:lnTo>
                      <a:pt x="383" y="104"/>
                    </a:lnTo>
                    <a:lnTo>
                      <a:pt x="383" y="102"/>
                    </a:lnTo>
                    <a:lnTo>
                      <a:pt x="383" y="104"/>
                    </a:lnTo>
                    <a:lnTo>
                      <a:pt x="384" y="102"/>
                    </a:lnTo>
                    <a:lnTo>
                      <a:pt x="383" y="100"/>
                    </a:lnTo>
                    <a:lnTo>
                      <a:pt x="383" y="98"/>
                    </a:lnTo>
                    <a:lnTo>
                      <a:pt x="381" y="96"/>
                    </a:lnTo>
                    <a:lnTo>
                      <a:pt x="381" y="94"/>
                    </a:lnTo>
                    <a:lnTo>
                      <a:pt x="381" y="92"/>
                    </a:lnTo>
                    <a:lnTo>
                      <a:pt x="381" y="94"/>
                    </a:lnTo>
                    <a:lnTo>
                      <a:pt x="381" y="92"/>
                    </a:lnTo>
                    <a:lnTo>
                      <a:pt x="383" y="92"/>
                    </a:lnTo>
                    <a:lnTo>
                      <a:pt x="383" y="90"/>
                    </a:lnTo>
                    <a:lnTo>
                      <a:pt x="383" y="88"/>
                    </a:lnTo>
                    <a:lnTo>
                      <a:pt x="383" y="87"/>
                    </a:lnTo>
                    <a:lnTo>
                      <a:pt x="381" y="87"/>
                    </a:lnTo>
                    <a:lnTo>
                      <a:pt x="381" y="85"/>
                    </a:lnTo>
                    <a:lnTo>
                      <a:pt x="379" y="85"/>
                    </a:lnTo>
                    <a:lnTo>
                      <a:pt x="377" y="85"/>
                    </a:lnTo>
                    <a:lnTo>
                      <a:pt x="375" y="85"/>
                    </a:lnTo>
                    <a:lnTo>
                      <a:pt x="373" y="85"/>
                    </a:lnTo>
                    <a:lnTo>
                      <a:pt x="373" y="83"/>
                    </a:lnTo>
                    <a:lnTo>
                      <a:pt x="371" y="83"/>
                    </a:lnTo>
                    <a:lnTo>
                      <a:pt x="369" y="83"/>
                    </a:lnTo>
                    <a:lnTo>
                      <a:pt x="367" y="83"/>
                    </a:lnTo>
                    <a:lnTo>
                      <a:pt x="365" y="83"/>
                    </a:lnTo>
                    <a:lnTo>
                      <a:pt x="363" y="83"/>
                    </a:lnTo>
                    <a:lnTo>
                      <a:pt x="361" y="83"/>
                    </a:lnTo>
                    <a:lnTo>
                      <a:pt x="359" y="83"/>
                    </a:lnTo>
                    <a:lnTo>
                      <a:pt x="358" y="83"/>
                    </a:lnTo>
                    <a:lnTo>
                      <a:pt x="356" y="85"/>
                    </a:lnTo>
                    <a:lnTo>
                      <a:pt x="354" y="85"/>
                    </a:lnTo>
                    <a:lnTo>
                      <a:pt x="352" y="85"/>
                    </a:lnTo>
                    <a:lnTo>
                      <a:pt x="350" y="85"/>
                    </a:lnTo>
                    <a:lnTo>
                      <a:pt x="350" y="83"/>
                    </a:lnTo>
                    <a:lnTo>
                      <a:pt x="350" y="85"/>
                    </a:lnTo>
                    <a:lnTo>
                      <a:pt x="348" y="85"/>
                    </a:lnTo>
                    <a:lnTo>
                      <a:pt x="350" y="85"/>
                    </a:lnTo>
                    <a:lnTo>
                      <a:pt x="348" y="85"/>
                    </a:lnTo>
                    <a:lnTo>
                      <a:pt x="348" y="87"/>
                    </a:lnTo>
                    <a:lnTo>
                      <a:pt x="346" y="87"/>
                    </a:lnTo>
                    <a:lnTo>
                      <a:pt x="346" y="85"/>
                    </a:lnTo>
                    <a:lnTo>
                      <a:pt x="346" y="87"/>
                    </a:lnTo>
                    <a:lnTo>
                      <a:pt x="346" y="88"/>
                    </a:lnTo>
                    <a:lnTo>
                      <a:pt x="344" y="90"/>
                    </a:lnTo>
                    <a:lnTo>
                      <a:pt x="342" y="92"/>
                    </a:lnTo>
                    <a:lnTo>
                      <a:pt x="342" y="94"/>
                    </a:lnTo>
                    <a:lnTo>
                      <a:pt x="342" y="96"/>
                    </a:lnTo>
                    <a:lnTo>
                      <a:pt x="340" y="96"/>
                    </a:lnTo>
                    <a:lnTo>
                      <a:pt x="340" y="98"/>
                    </a:lnTo>
                    <a:lnTo>
                      <a:pt x="338" y="98"/>
                    </a:lnTo>
                    <a:lnTo>
                      <a:pt x="336" y="100"/>
                    </a:lnTo>
                    <a:lnTo>
                      <a:pt x="335" y="100"/>
                    </a:lnTo>
                    <a:lnTo>
                      <a:pt x="333" y="100"/>
                    </a:lnTo>
                    <a:lnTo>
                      <a:pt x="333" y="102"/>
                    </a:lnTo>
                    <a:lnTo>
                      <a:pt x="331" y="102"/>
                    </a:lnTo>
                    <a:lnTo>
                      <a:pt x="331" y="104"/>
                    </a:lnTo>
                    <a:lnTo>
                      <a:pt x="329" y="104"/>
                    </a:lnTo>
                    <a:lnTo>
                      <a:pt x="329" y="106"/>
                    </a:lnTo>
                    <a:lnTo>
                      <a:pt x="327" y="106"/>
                    </a:lnTo>
                    <a:lnTo>
                      <a:pt x="325" y="106"/>
                    </a:lnTo>
                    <a:lnTo>
                      <a:pt x="327" y="106"/>
                    </a:lnTo>
                    <a:lnTo>
                      <a:pt x="325" y="106"/>
                    </a:lnTo>
                    <a:lnTo>
                      <a:pt x="327" y="106"/>
                    </a:lnTo>
                    <a:lnTo>
                      <a:pt x="325" y="106"/>
                    </a:lnTo>
                    <a:lnTo>
                      <a:pt x="323" y="106"/>
                    </a:lnTo>
                    <a:lnTo>
                      <a:pt x="321" y="106"/>
                    </a:lnTo>
                    <a:lnTo>
                      <a:pt x="319" y="106"/>
                    </a:lnTo>
                    <a:lnTo>
                      <a:pt x="319" y="108"/>
                    </a:lnTo>
                    <a:lnTo>
                      <a:pt x="317" y="108"/>
                    </a:lnTo>
                    <a:lnTo>
                      <a:pt x="315" y="108"/>
                    </a:lnTo>
                    <a:lnTo>
                      <a:pt x="315" y="110"/>
                    </a:lnTo>
                    <a:lnTo>
                      <a:pt x="313" y="112"/>
                    </a:lnTo>
                    <a:lnTo>
                      <a:pt x="311" y="112"/>
                    </a:lnTo>
                    <a:lnTo>
                      <a:pt x="311" y="113"/>
                    </a:lnTo>
                    <a:lnTo>
                      <a:pt x="310" y="115"/>
                    </a:lnTo>
                    <a:lnTo>
                      <a:pt x="308" y="115"/>
                    </a:lnTo>
                    <a:lnTo>
                      <a:pt x="306" y="115"/>
                    </a:lnTo>
                    <a:lnTo>
                      <a:pt x="306" y="113"/>
                    </a:lnTo>
                    <a:lnTo>
                      <a:pt x="306" y="115"/>
                    </a:lnTo>
                    <a:lnTo>
                      <a:pt x="306" y="113"/>
                    </a:lnTo>
                    <a:lnTo>
                      <a:pt x="304" y="113"/>
                    </a:lnTo>
                    <a:lnTo>
                      <a:pt x="302" y="113"/>
                    </a:lnTo>
                    <a:lnTo>
                      <a:pt x="300" y="112"/>
                    </a:lnTo>
                    <a:lnTo>
                      <a:pt x="298" y="112"/>
                    </a:lnTo>
                    <a:lnTo>
                      <a:pt x="298" y="110"/>
                    </a:lnTo>
                    <a:lnTo>
                      <a:pt x="296" y="110"/>
                    </a:lnTo>
                    <a:lnTo>
                      <a:pt x="298" y="110"/>
                    </a:lnTo>
                    <a:lnTo>
                      <a:pt x="296" y="110"/>
                    </a:lnTo>
                    <a:lnTo>
                      <a:pt x="298" y="110"/>
                    </a:lnTo>
                    <a:lnTo>
                      <a:pt x="296" y="110"/>
                    </a:lnTo>
                    <a:lnTo>
                      <a:pt x="298" y="110"/>
                    </a:lnTo>
                    <a:lnTo>
                      <a:pt x="296" y="110"/>
                    </a:lnTo>
                    <a:lnTo>
                      <a:pt x="294" y="110"/>
                    </a:lnTo>
                    <a:lnTo>
                      <a:pt x="292" y="110"/>
                    </a:lnTo>
                    <a:lnTo>
                      <a:pt x="290" y="110"/>
                    </a:lnTo>
                    <a:lnTo>
                      <a:pt x="290" y="112"/>
                    </a:lnTo>
                    <a:lnTo>
                      <a:pt x="288" y="112"/>
                    </a:lnTo>
                    <a:lnTo>
                      <a:pt x="286" y="112"/>
                    </a:lnTo>
                    <a:lnTo>
                      <a:pt x="285" y="112"/>
                    </a:lnTo>
                    <a:lnTo>
                      <a:pt x="283" y="112"/>
                    </a:lnTo>
                    <a:lnTo>
                      <a:pt x="281" y="112"/>
                    </a:lnTo>
                    <a:lnTo>
                      <a:pt x="279" y="110"/>
                    </a:lnTo>
                    <a:lnTo>
                      <a:pt x="277" y="110"/>
                    </a:lnTo>
                    <a:lnTo>
                      <a:pt x="277" y="108"/>
                    </a:lnTo>
                    <a:lnTo>
                      <a:pt x="275" y="108"/>
                    </a:lnTo>
                    <a:lnTo>
                      <a:pt x="273" y="108"/>
                    </a:lnTo>
                    <a:lnTo>
                      <a:pt x="271" y="108"/>
                    </a:lnTo>
                    <a:lnTo>
                      <a:pt x="271" y="106"/>
                    </a:lnTo>
                    <a:lnTo>
                      <a:pt x="269" y="104"/>
                    </a:lnTo>
                    <a:lnTo>
                      <a:pt x="267" y="102"/>
                    </a:lnTo>
                    <a:lnTo>
                      <a:pt x="265" y="100"/>
                    </a:lnTo>
                    <a:lnTo>
                      <a:pt x="263" y="98"/>
                    </a:lnTo>
                    <a:lnTo>
                      <a:pt x="262" y="98"/>
                    </a:lnTo>
                    <a:lnTo>
                      <a:pt x="262" y="96"/>
                    </a:lnTo>
                    <a:lnTo>
                      <a:pt x="260" y="96"/>
                    </a:lnTo>
                    <a:lnTo>
                      <a:pt x="258" y="96"/>
                    </a:lnTo>
                    <a:lnTo>
                      <a:pt x="256" y="96"/>
                    </a:lnTo>
                    <a:lnTo>
                      <a:pt x="256" y="94"/>
                    </a:lnTo>
                    <a:lnTo>
                      <a:pt x="256" y="92"/>
                    </a:lnTo>
                    <a:lnTo>
                      <a:pt x="258" y="92"/>
                    </a:lnTo>
                    <a:lnTo>
                      <a:pt x="258" y="90"/>
                    </a:lnTo>
                    <a:lnTo>
                      <a:pt x="260" y="88"/>
                    </a:lnTo>
                    <a:lnTo>
                      <a:pt x="260" y="87"/>
                    </a:lnTo>
                    <a:lnTo>
                      <a:pt x="262" y="87"/>
                    </a:lnTo>
                    <a:lnTo>
                      <a:pt x="262" y="85"/>
                    </a:lnTo>
                    <a:lnTo>
                      <a:pt x="262" y="83"/>
                    </a:lnTo>
                    <a:lnTo>
                      <a:pt x="263" y="83"/>
                    </a:lnTo>
                    <a:lnTo>
                      <a:pt x="263" y="81"/>
                    </a:lnTo>
                    <a:lnTo>
                      <a:pt x="265" y="81"/>
                    </a:lnTo>
                    <a:lnTo>
                      <a:pt x="263" y="81"/>
                    </a:lnTo>
                    <a:lnTo>
                      <a:pt x="265" y="81"/>
                    </a:lnTo>
                    <a:lnTo>
                      <a:pt x="265" y="79"/>
                    </a:lnTo>
                    <a:lnTo>
                      <a:pt x="265" y="81"/>
                    </a:lnTo>
                    <a:lnTo>
                      <a:pt x="265" y="79"/>
                    </a:lnTo>
                    <a:lnTo>
                      <a:pt x="265" y="77"/>
                    </a:lnTo>
                    <a:lnTo>
                      <a:pt x="267" y="77"/>
                    </a:lnTo>
                    <a:lnTo>
                      <a:pt x="267" y="75"/>
                    </a:lnTo>
                    <a:lnTo>
                      <a:pt x="269" y="75"/>
                    </a:lnTo>
                    <a:lnTo>
                      <a:pt x="267" y="75"/>
                    </a:lnTo>
                    <a:lnTo>
                      <a:pt x="269" y="75"/>
                    </a:lnTo>
                    <a:lnTo>
                      <a:pt x="269" y="73"/>
                    </a:lnTo>
                    <a:lnTo>
                      <a:pt x="269" y="75"/>
                    </a:lnTo>
                    <a:lnTo>
                      <a:pt x="269" y="73"/>
                    </a:lnTo>
                    <a:lnTo>
                      <a:pt x="269" y="75"/>
                    </a:lnTo>
                    <a:lnTo>
                      <a:pt x="269" y="73"/>
                    </a:lnTo>
                    <a:lnTo>
                      <a:pt x="271" y="73"/>
                    </a:lnTo>
                    <a:lnTo>
                      <a:pt x="271" y="71"/>
                    </a:lnTo>
                    <a:lnTo>
                      <a:pt x="273" y="71"/>
                    </a:lnTo>
                    <a:lnTo>
                      <a:pt x="275" y="71"/>
                    </a:lnTo>
                    <a:lnTo>
                      <a:pt x="277" y="71"/>
                    </a:lnTo>
                    <a:lnTo>
                      <a:pt x="277" y="69"/>
                    </a:lnTo>
                    <a:lnTo>
                      <a:pt x="279" y="69"/>
                    </a:lnTo>
                    <a:lnTo>
                      <a:pt x="281" y="69"/>
                    </a:lnTo>
                    <a:lnTo>
                      <a:pt x="279" y="69"/>
                    </a:lnTo>
                    <a:lnTo>
                      <a:pt x="281" y="67"/>
                    </a:lnTo>
                    <a:lnTo>
                      <a:pt x="283" y="67"/>
                    </a:lnTo>
                    <a:lnTo>
                      <a:pt x="283" y="65"/>
                    </a:lnTo>
                    <a:lnTo>
                      <a:pt x="283" y="63"/>
                    </a:lnTo>
                    <a:lnTo>
                      <a:pt x="281" y="63"/>
                    </a:lnTo>
                    <a:lnTo>
                      <a:pt x="283" y="63"/>
                    </a:lnTo>
                    <a:lnTo>
                      <a:pt x="283" y="62"/>
                    </a:lnTo>
                    <a:lnTo>
                      <a:pt x="283" y="60"/>
                    </a:lnTo>
                    <a:lnTo>
                      <a:pt x="285" y="60"/>
                    </a:lnTo>
                    <a:lnTo>
                      <a:pt x="283" y="60"/>
                    </a:lnTo>
                    <a:lnTo>
                      <a:pt x="285" y="60"/>
                    </a:lnTo>
                    <a:lnTo>
                      <a:pt x="285" y="58"/>
                    </a:lnTo>
                    <a:lnTo>
                      <a:pt x="286" y="56"/>
                    </a:lnTo>
                    <a:lnTo>
                      <a:pt x="286" y="54"/>
                    </a:lnTo>
                    <a:lnTo>
                      <a:pt x="286" y="52"/>
                    </a:lnTo>
                    <a:lnTo>
                      <a:pt x="288" y="50"/>
                    </a:lnTo>
                    <a:lnTo>
                      <a:pt x="288" y="48"/>
                    </a:lnTo>
                    <a:lnTo>
                      <a:pt x="288" y="50"/>
                    </a:lnTo>
                    <a:lnTo>
                      <a:pt x="290" y="50"/>
                    </a:lnTo>
                    <a:lnTo>
                      <a:pt x="290" y="48"/>
                    </a:lnTo>
                    <a:lnTo>
                      <a:pt x="288" y="48"/>
                    </a:lnTo>
                    <a:lnTo>
                      <a:pt x="288" y="50"/>
                    </a:lnTo>
                    <a:lnTo>
                      <a:pt x="288" y="48"/>
                    </a:lnTo>
                    <a:lnTo>
                      <a:pt x="288" y="46"/>
                    </a:lnTo>
                    <a:lnTo>
                      <a:pt x="288" y="48"/>
                    </a:lnTo>
                    <a:lnTo>
                      <a:pt x="290" y="46"/>
                    </a:lnTo>
                    <a:lnTo>
                      <a:pt x="290" y="44"/>
                    </a:lnTo>
                    <a:lnTo>
                      <a:pt x="290" y="42"/>
                    </a:lnTo>
                    <a:lnTo>
                      <a:pt x="290" y="40"/>
                    </a:lnTo>
                    <a:lnTo>
                      <a:pt x="292" y="40"/>
                    </a:lnTo>
                    <a:lnTo>
                      <a:pt x="292" y="38"/>
                    </a:lnTo>
                    <a:lnTo>
                      <a:pt x="292" y="37"/>
                    </a:lnTo>
                    <a:lnTo>
                      <a:pt x="292" y="35"/>
                    </a:lnTo>
                    <a:lnTo>
                      <a:pt x="292" y="33"/>
                    </a:lnTo>
                    <a:lnTo>
                      <a:pt x="294" y="33"/>
                    </a:lnTo>
                    <a:lnTo>
                      <a:pt x="292" y="35"/>
                    </a:lnTo>
                    <a:lnTo>
                      <a:pt x="294" y="35"/>
                    </a:lnTo>
                    <a:lnTo>
                      <a:pt x="294" y="33"/>
                    </a:lnTo>
                    <a:lnTo>
                      <a:pt x="296" y="35"/>
                    </a:lnTo>
                    <a:lnTo>
                      <a:pt x="294" y="33"/>
                    </a:lnTo>
                    <a:lnTo>
                      <a:pt x="296" y="33"/>
                    </a:lnTo>
                    <a:lnTo>
                      <a:pt x="296" y="31"/>
                    </a:lnTo>
                    <a:lnTo>
                      <a:pt x="296" y="29"/>
                    </a:lnTo>
                    <a:lnTo>
                      <a:pt x="296" y="27"/>
                    </a:lnTo>
                    <a:lnTo>
                      <a:pt x="296" y="25"/>
                    </a:lnTo>
                    <a:lnTo>
                      <a:pt x="296" y="27"/>
                    </a:lnTo>
                    <a:lnTo>
                      <a:pt x="296" y="25"/>
                    </a:lnTo>
                    <a:lnTo>
                      <a:pt x="296" y="27"/>
                    </a:lnTo>
                    <a:lnTo>
                      <a:pt x="296" y="25"/>
                    </a:lnTo>
                    <a:lnTo>
                      <a:pt x="296" y="23"/>
                    </a:lnTo>
                    <a:lnTo>
                      <a:pt x="298" y="23"/>
                    </a:lnTo>
                    <a:lnTo>
                      <a:pt x="296" y="23"/>
                    </a:lnTo>
                    <a:lnTo>
                      <a:pt x="296" y="25"/>
                    </a:lnTo>
                    <a:lnTo>
                      <a:pt x="298" y="25"/>
                    </a:lnTo>
                    <a:lnTo>
                      <a:pt x="298" y="27"/>
                    </a:lnTo>
                    <a:lnTo>
                      <a:pt x="300" y="25"/>
                    </a:lnTo>
                    <a:lnTo>
                      <a:pt x="300" y="27"/>
                    </a:lnTo>
                    <a:lnTo>
                      <a:pt x="300" y="25"/>
                    </a:lnTo>
                    <a:lnTo>
                      <a:pt x="300" y="27"/>
                    </a:lnTo>
                    <a:lnTo>
                      <a:pt x="300" y="25"/>
                    </a:lnTo>
                    <a:lnTo>
                      <a:pt x="302" y="25"/>
                    </a:lnTo>
                    <a:lnTo>
                      <a:pt x="302" y="27"/>
                    </a:lnTo>
                    <a:lnTo>
                      <a:pt x="300" y="27"/>
                    </a:lnTo>
                    <a:lnTo>
                      <a:pt x="302" y="27"/>
                    </a:lnTo>
                    <a:lnTo>
                      <a:pt x="300" y="27"/>
                    </a:lnTo>
                    <a:lnTo>
                      <a:pt x="302" y="27"/>
                    </a:lnTo>
                    <a:lnTo>
                      <a:pt x="302" y="25"/>
                    </a:lnTo>
                    <a:lnTo>
                      <a:pt x="300" y="25"/>
                    </a:lnTo>
                    <a:lnTo>
                      <a:pt x="300" y="27"/>
                    </a:lnTo>
                    <a:lnTo>
                      <a:pt x="300" y="25"/>
                    </a:lnTo>
                    <a:lnTo>
                      <a:pt x="298" y="25"/>
                    </a:lnTo>
                    <a:lnTo>
                      <a:pt x="298" y="27"/>
                    </a:lnTo>
                    <a:lnTo>
                      <a:pt x="298" y="25"/>
                    </a:lnTo>
                    <a:lnTo>
                      <a:pt x="296" y="25"/>
                    </a:lnTo>
                    <a:lnTo>
                      <a:pt x="296" y="23"/>
                    </a:lnTo>
                    <a:lnTo>
                      <a:pt x="298" y="23"/>
                    </a:lnTo>
                    <a:lnTo>
                      <a:pt x="296" y="23"/>
                    </a:lnTo>
                    <a:lnTo>
                      <a:pt x="298" y="21"/>
                    </a:lnTo>
                    <a:lnTo>
                      <a:pt x="298" y="19"/>
                    </a:lnTo>
                    <a:lnTo>
                      <a:pt x="298" y="17"/>
                    </a:lnTo>
                    <a:lnTo>
                      <a:pt x="300" y="17"/>
                    </a:lnTo>
                    <a:lnTo>
                      <a:pt x="298" y="17"/>
                    </a:lnTo>
                    <a:lnTo>
                      <a:pt x="300" y="17"/>
                    </a:lnTo>
                    <a:lnTo>
                      <a:pt x="300" y="15"/>
                    </a:lnTo>
                    <a:lnTo>
                      <a:pt x="300" y="13"/>
                    </a:lnTo>
                    <a:lnTo>
                      <a:pt x="302" y="13"/>
                    </a:lnTo>
                    <a:lnTo>
                      <a:pt x="302" y="12"/>
                    </a:lnTo>
                    <a:lnTo>
                      <a:pt x="302" y="10"/>
                    </a:lnTo>
                    <a:lnTo>
                      <a:pt x="304" y="10"/>
                    </a:lnTo>
                    <a:lnTo>
                      <a:pt x="302" y="10"/>
                    </a:lnTo>
                    <a:lnTo>
                      <a:pt x="304" y="10"/>
                    </a:lnTo>
                    <a:lnTo>
                      <a:pt x="302" y="10"/>
                    </a:lnTo>
                    <a:lnTo>
                      <a:pt x="302" y="12"/>
                    </a:lnTo>
                    <a:lnTo>
                      <a:pt x="304" y="10"/>
                    </a:lnTo>
                    <a:lnTo>
                      <a:pt x="304" y="8"/>
                    </a:lnTo>
                    <a:lnTo>
                      <a:pt x="306" y="8"/>
                    </a:lnTo>
                    <a:lnTo>
                      <a:pt x="306" y="6"/>
                    </a:lnTo>
                    <a:lnTo>
                      <a:pt x="306" y="4"/>
                    </a:lnTo>
                    <a:lnTo>
                      <a:pt x="306" y="6"/>
                    </a:lnTo>
                    <a:lnTo>
                      <a:pt x="306" y="8"/>
                    </a:lnTo>
                    <a:lnTo>
                      <a:pt x="306" y="6"/>
                    </a:lnTo>
                    <a:lnTo>
                      <a:pt x="306" y="8"/>
                    </a:lnTo>
                    <a:lnTo>
                      <a:pt x="306" y="10"/>
                    </a:lnTo>
                    <a:lnTo>
                      <a:pt x="306" y="8"/>
                    </a:lnTo>
                    <a:lnTo>
                      <a:pt x="306" y="10"/>
                    </a:lnTo>
                    <a:lnTo>
                      <a:pt x="308" y="10"/>
                    </a:lnTo>
                    <a:lnTo>
                      <a:pt x="308" y="8"/>
                    </a:lnTo>
                    <a:lnTo>
                      <a:pt x="308" y="6"/>
                    </a:lnTo>
                    <a:lnTo>
                      <a:pt x="306" y="6"/>
                    </a:lnTo>
                    <a:lnTo>
                      <a:pt x="308" y="6"/>
                    </a:lnTo>
                    <a:lnTo>
                      <a:pt x="306" y="6"/>
                    </a:lnTo>
                    <a:lnTo>
                      <a:pt x="306" y="4"/>
                    </a:lnTo>
                    <a:lnTo>
                      <a:pt x="311" y="8"/>
                    </a:lnTo>
                    <a:lnTo>
                      <a:pt x="315" y="10"/>
                    </a:lnTo>
                    <a:lnTo>
                      <a:pt x="325" y="15"/>
                    </a:lnTo>
                    <a:lnTo>
                      <a:pt x="329" y="19"/>
                    </a:lnTo>
                    <a:lnTo>
                      <a:pt x="331" y="19"/>
                    </a:lnTo>
                    <a:lnTo>
                      <a:pt x="333" y="21"/>
                    </a:lnTo>
                    <a:lnTo>
                      <a:pt x="336" y="23"/>
                    </a:lnTo>
                    <a:lnTo>
                      <a:pt x="346" y="29"/>
                    </a:lnTo>
                    <a:lnTo>
                      <a:pt x="359" y="35"/>
                    </a:lnTo>
                    <a:lnTo>
                      <a:pt x="415" y="58"/>
                    </a:lnTo>
                    <a:lnTo>
                      <a:pt x="481" y="83"/>
                    </a:lnTo>
                    <a:lnTo>
                      <a:pt x="481" y="85"/>
                    </a:lnTo>
                    <a:lnTo>
                      <a:pt x="479" y="83"/>
                    </a:lnTo>
                    <a:lnTo>
                      <a:pt x="479" y="85"/>
                    </a:lnTo>
                    <a:lnTo>
                      <a:pt x="481" y="85"/>
                    </a:lnTo>
                    <a:lnTo>
                      <a:pt x="482" y="85"/>
                    </a:lnTo>
                    <a:lnTo>
                      <a:pt x="484" y="85"/>
                    </a:lnTo>
                    <a:lnTo>
                      <a:pt x="507" y="92"/>
                    </a:lnTo>
                    <a:lnTo>
                      <a:pt x="511" y="94"/>
                    </a:lnTo>
                    <a:lnTo>
                      <a:pt x="513" y="94"/>
                    </a:lnTo>
                    <a:lnTo>
                      <a:pt x="515" y="96"/>
                    </a:lnTo>
                    <a:lnTo>
                      <a:pt x="513" y="96"/>
                    </a:lnTo>
                    <a:lnTo>
                      <a:pt x="515" y="96"/>
                    </a:lnTo>
                    <a:lnTo>
                      <a:pt x="517" y="96"/>
                    </a:lnTo>
                    <a:lnTo>
                      <a:pt x="517" y="94"/>
                    </a:lnTo>
                    <a:lnTo>
                      <a:pt x="517" y="96"/>
                    </a:lnTo>
                    <a:lnTo>
                      <a:pt x="519" y="96"/>
                    </a:lnTo>
                    <a:lnTo>
                      <a:pt x="517" y="96"/>
                    </a:lnTo>
                    <a:lnTo>
                      <a:pt x="519" y="96"/>
                    </a:lnTo>
                    <a:lnTo>
                      <a:pt x="519" y="98"/>
                    </a:lnTo>
                    <a:lnTo>
                      <a:pt x="521" y="96"/>
                    </a:lnTo>
                    <a:lnTo>
                      <a:pt x="521" y="98"/>
                    </a:lnTo>
                    <a:lnTo>
                      <a:pt x="521" y="96"/>
                    </a:lnTo>
                    <a:lnTo>
                      <a:pt x="523" y="96"/>
                    </a:lnTo>
                    <a:lnTo>
                      <a:pt x="523" y="94"/>
                    </a:lnTo>
                    <a:lnTo>
                      <a:pt x="525" y="94"/>
                    </a:lnTo>
                    <a:lnTo>
                      <a:pt x="525" y="92"/>
                    </a:lnTo>
                    <a:lnTo>
                      <a:pt x="525" y="94"/>
                    </a:lnTo>
                    <a:lnTo>
                      <a:pt x="525" y="92"/>
                    </a:lnTo>
                    <a:lnTo>
                      <a:pt x="527" y="92"/>
                    </a:lnTo>
                    <a:lnTo>
                      <a:pt x="529" y="92"/>
                    </a:lnTo>
                    <a:lnTo>
                      <a:pt x="530" y="92"/>
                    </a:lnTo>
                    <a:lnTo>
                      <a:pt x="534" y="90"/>
                    </a:lnTo>
                    <a:lnTo>
                      <a:pt x="542" y="88"/>
                    </a:lnTo>
                    <a:lnTo>
                      <a:pt x="555" y="87"/>
                    </a:lnTo>
                    <a:lnTo>
                      <a:pt x="557" y="87"/>
                    </a:lnTo>
                    <a:lnTo>
                      <a:pt x="557" y="85"/>
                    </a:lnTo>
                    <a:lnTo>
                      <a:pt x="559" y="85"/>
                    </a:lnTo>
                    <a:lnTo>
                      <a:pt x="559" y="83"/>
                    </a:lnTo>
                    <a:lnTo>
                      <a:pt x="561" y="83"/>
                    </a:lnTo>
                    <a:lnTo>
                      <a:pt x="561" y="81"/>
                    </a:lnTo>
                    <a:lnTo>
                      <a:pt x="561" y="79"/>
                    </a:lnTo>
                    <a:lnTo>
                      <a:pt x="559" y="79"/>
                    </a:lnTo>
                    <a:lnTo>
                      <a:pt x="559" y="77"/>
                    </a:lnTo>
                    <a:lnTo>
                      <a:pt x="561" y="77"/>
                    </a:lnTo>
                    <a:lnTo>
                      <a:pt x="563" y="77"/>
                    </a:lnTo>
                    <a:lnTo>
                      <a:pt x="563" y="75"/>
                    </a:lnTo>
                    <a:lnTo>
                      <a:pt x="563" y="73"/>
                    </a:lnTo>
                    <a:lnTo>
                      <a:pt x="565" y="73"/>
                    </a:lnTo>
                    <a:lnTo>
                      <a:pt x="567" y="73"/>
                    </a:lnTo>
                    <a:lnTo>
                      <a:pt x="569" y="71"/>
                    </a:lnTo>
                    <a:lnTo>
                      <a:pt x="571" y="71"/>
                    </a:lnTo>
                    <a:lnTo>
                      <a:pt x="571" y="69"/>
                    </a:lnTo>
                    <a:lnTo>
                      <a:pt x="573" y="69"/>
                    </a:lnTo>
                    <a:lnTo>
                      <a:pt x="575" y="69"/>
                    </a:lnTo>
                    <a:lnTo>
                      <a:pt x="577" y="69"/>
                    </a:lnTo>
                    <a:lnTo>
                      <a:pt x="577" y="67"/>
                    </a:lnTo>
                    <a:lnTo>
                      <a:pt x="579" y="67"/>
                    </a:lnTo>
                    <a:lnTo>
                      <a:pt x="580" y="67"/>
                    </a:lnTo>
                    <a:lnTo>
                      <a:pt x="580" y="69"/>
                    </a:lnTo>
                    <a:lnTo>
                      <a:pt x="582" y="69"/>
                    </a:lnTo>
                    <a:lnTo>
                      <a:pt x="582" y="71"/>
                    </a:lnTo>
                    <a:lnTo>
                      <a:pt x="584" y="71"/>
                    </a:lnTo>
                    <a:lnTo>
                      <a:pt x="584" y="73"/>
                    </a:lnTo>
                    <a:lnTo>
                      <a:pt x="586" y="73"/>
                    </a:lnTo>
                    <a:lnTo>
                      <a:pt x="586" y="71"/>
                    </a:lnTo>
                    <a:lnTo>
                      <a:pt x="586" y="69"/>
                    </a:lnTo>
                    <a:lnTo>
                      <a:pt x="584" y="69"/>
                    </a:lnTo>
                    <a:lnTo>
                      <a:pt x="586" y="69"/>
                    </a:lnTo>
                    <a:lnTo>
                      <a:pt x="586" y="67"/>
                    </a:lnTo>
                    <a:lnTo>
                      <a:pt x="588" y="67"/>
                    </a:lnTo>
                    <a:lnTo>
                      <a:pt x="588" y="69"/>
                    </a:lnTo>
                    <a:lnTo>
                      <a:pt x="588" y="67"/>
                    </a:lnTo>
                    <a:lnTo>
                      <a:pt x="590" y="67"/>
                    </a:lnTo>
                    <a:lnTo>
                      <a:pt x="592" y="67"/>
                    </a:lnTo>
                    <a:lnTo>
                      <a:pt x="592" y="65"/>
                    </a:lnTo>
                    <a:lnTo>
                      <a:pt x="594" y="65"/>
                    </a:lnTo>
                    <a:lnTo>
                      <a:pt x="596" y="63"/>
                    </a:lnTo>
                    <a:lnTo>
                      <a:pt x="594" y="63"/>
                    </a:lnTo>
                    <a:lnTo>
                      <a:pt x="594" y="62"/>
                    </a:lnTo>
                    <a:lnTo>
                      <a:pt x="594" y="60"/>
                    </a:lnTo>
                    <a:lnTo>
                      <a:pt x="594" y="58"/>
                    </a:lnTo>
                    <a:lnTo>
                      <a:pt x="594" y="56"/>
                    </a:lnTo>
                    <a:lnTo>
                      <a:pt x="596" y="56"/>
                    </a:lnTo>
                    <a:lnTo>
                      <a:pt x="598" y="56"/>
                    </a:lnTo>
                    <a:lnTo>
                      <a:pt x="600" y="56"/>
                    </a:lnTo>
                    <a:lnTo>
                      <a:pt x="600" y="54"/>
                    </a:lnTo>
                    <a:lnTo>
                      <a:pt x="602" y="54"/>
                    </a:lnTo>
                    <a:lnTo>
                      <a:pt x="602" y="56"/>
                    </a:lnTo>
                    <a:lnTo>
                      <a:pt x="602" y="54"/>
                    </a:lnTo>
                    <a:lnTo>
                      <a:pt x="600" y="54"/>
                    </a:lnTo>
                    <a:lnTo>
                      <a:pt x="602" y="54"/>
                    </a:lnTo>
                    <a:lnTo>
                      <a:pt x="603" y="54"/>
                    </a:lnTo>
                    <a:lnTo>
                      <a:pt x="605" y="54"/>
                    </a:lnTo>
                    <a:lnTo>
                      <a:pt x="607" y="54"/>
                    </a:lnTo>
                    <a:lnTo>
                      <a:pt x="609" y="54"/>
                    </a:lnTo>
                    <a:lnTo>
                      <a:pt x="609" y="52"/>
                    </a:lnTo>
                    <a:lnTo>
                      <a:pt x="607" y="52"/>
                    </a:lnTo>
                    <a:lnTo>
                      <a:pt x="609" y="52"/>
                    </a:lnTo>
                    <a:lnTo>
                      <a:pt x="611" y="52"/>
                    </a:lnTo>
                    <a:lnTo>
                      <a:pt x="611" y="50"/>
                    </a:lnTo>
                    <a:lnTo>
                      <a:pt x="613" y="52"/>
                    </a:lnTo>
                    <a:lnTo>
                      <a:pt x="615" y="52"/>
                    </a:lnTo>
                    <a:lnTo>
                      <a:pt x="613" y="52"/>
                    </a:lnTo>
                    <a:lnTo>
                      <a:pt x="615" y="52"/>
                    </a:lnTo>
                    <a:lnTo>
                      <a:pt x="615" y="50"/>
                    </a:lnTo>
                    <a:lnTo>
                      <a:pt x="615" y="48"/>
                    </a:lnTo>
                    <a:lnTo>
                      <a:pt x="615" y="46"/>
                    </a:lnTo>
                    <a:lnTo>
                      <a:pt x="615" y="44"/>
                    </a:lnTo>
                    <a:lnTo>
                      <a:pt x="617" y="44"/>
                    </a:lnTo>
                    <a:lnTo>
                      <a:pt x="615" y="44"/>
                    </a:lnTo>
                    <a:lnTo>
                      <a:pt x="617" y="44"/>
                    </a:lnTo>
                    <a:lnTo>
                      <a:pt x="617" y="42"/>
                    </a:lnTo>
                    <a:lnTo>
                      <a:pt x="619" y="42"/>
                    </a:lnTo>
                    <a:lnTo>
                      <a:pt x="621" y="42"/>
                    </a:lnTo>
                    <a:lnTo>
                      <a:pt x="621" y="40"/>
                    </a:lnTo>
                    <a:lnTo>
                      <a:pt x="621" y="42"/>
                    </a:lnTo>
                    <a:lnTo>
                      <a:pt x="623" y="42"/>
                    </a:lnTo>
                    <a:lnTo>
                      <a:pt x="625" y="42"/>
                    </a:lnTo>
                    <a:lnTo>
                      <a:pt x="627" y="42"/>
                    </a:lnTo>
                    <a:lnTo>
                      <a:pt x="627" y="44"/>
                    </a:lnTo>
                    <a:lnTo>
                      <a:pt x="628" y="44"/>
                    </a:lnTo>
                    <a:lnTo>
                      <a:pt x="630" y="44"/>
                    </a:lnTo>
                    <a:lnTo>
                      <a:pt x="632" y="44"/>
                    </a:lnTo>
                    <a:lnTo>
                      <a:pt x="632" y="46"/>
                    </a:lnTo>
                    <a:lnTo>
                      <a:pt x="634" y="46"/>
                    </a:lnTo>
                    <a:lnTo>
                      <a:pt x="634" y="44"/>
                    </a:lnTo>
                    <a:lnTo>
                      <a:pt x="634" y="46"/>
                    </a:lnTo>
                    <a:lnTo>
                      <a:pt x="636" y="46"/>
                    </a:lnTo>
                    <a:lnTo>
                      <a:pt x="636" y="44"/>
                    </a:lnTo>
                    <a:lnTo>
                      <a:pt x="636" y="46"/>
                    </a:lnTo>
                    <a:lnTo>
                      <a:pt x="636" y="44"/>
                    </a:lnTo>
                    <a:lnTo>
                      <a:pt x="638" y="44"/>
                    </a:lnTo>
                    <a:lnTo>
                      <a:pt x="638" y="46"/>
                    </a:lnTo>
                    <a:lnTo>
                      <a:pt x="638" y="44"/>
                    </a:lnTo>
                    <a:lnTo>
                      <a:pt x="638" y="46"/>
                    </a:lnTo>
                    <a:lnTo>
                      <a:pt x="640" y="46"/>
                    </a:lnTo>
                    <a:lnTo>
                      <a:pt x="638" y="46"/>
                    </a:lnTo>
                    <a:lnTo>
                      <a:pt x="638" y="48"/>
                    </a:lnTo>
                    <a:lnTo>
                      <a:pt x="636" y="48"/>
                    </a:lnTo>
                    <a:lnTo>
                      <a:pt x="638" y="48"/>
                    </a:lnTo>
                    <a:lnTo>
                      <a:pt x="636" y="48"/>
                    </a:lnTo>
                    <a:lnTo>
                      <a:pt x="636" y="50"/>
                    </a:lnTo>
                    <a:lnTo>
                      <a:pt x="636" y="52"/>
                    </a:lnTo>
                    <a:lnTo>
                      <a:pt x="634" y="52"/>
                    </a:lnTo>
                    <a:lnTo>
                      <a:pt x="634" y="54"/>
                    </a:lnTo>
                    <a:lnTo>
                      <a:pt x="632" y="54"/>
                    </a:lnTo>
                    <a:lnTo>
                      <a:pt x="630" y="56"/>
                    </a:lnTo>
                    <a:lnTo>
                      <a:pt x="630" y="58"/>
                    </a:lnTo>
                    <a:lnTo>
                      <a:pt x="632" y="58"/>
                    </a:lnTo>
                    <a:lnTo>
                      <a:pt x="630" y="58"/>
                    </a:lnTo>
                    <a:lnTo>
                      <a:pt x="630" y="60"/>
                    </a:lnTo>
                    <a:lnTo>
                      <a:pt x="630" y="62"/>
                    </a:lnTo>
                    <a:lnTo>
                      <a:pt x="630" y="63"/>
                    </a:lnTo>
                    <a:lnTo>
                      <a:pt x="630" y="65"/>
                    </a:lnTo>
                    <a:lnTo>
                      <a:pt x="628" y="65"/>
                    </a:lnTo>
                    <a:lnTo>
                      <a:pt x="628" y="67"/>
                    </a:lnTo>
                    <a:lnTo>
                      <a:pt x="628" y="69"/>
                    </a:lnTo>
                    <a:lnTo>
                      <a:pt x="628" y="71"/>
                    </a:lnTo>
                    <a:lnTo>
                      <a:pt x="628" y="73"/>
                    </a:lnTo>
                    <a:lnTo>
                      <a:pt x="628" y="75"/>
                    </a:lnTo>
                    <a:lnTo>
                      <a:pt x="630" y="75"/>
                    </a:lnTo>
                    <a:lnTo>
                      <a:pt x="632" y="75"/>
                    </a:lnTo>
                    <a:lnTo>
                      <a:pt x="634" y="75"/>
                    </a:lnTo>
                    <a:lnTo>
                      <a:pt x="636" y="75"/>
                    </a:lnTo>
                    <a:lnTo>
                      <a:pt x="636" y="77"/>
                    </a:lnTo>
                    <a:lnTo>
                      <a:pt x="638" y="77"/>
                    </a:lnTo>
                    <a:lnTo>
                      <a:pt x="640" y="77"/>
                    </a:lnTo>
                    <a:lnTo>
                      <a:pt x="642" y="75"/>
                    </a:lnTo>
                    <a:lnTo>
                      <a:pt x="642" y="77"/>
                    </a:lnTo>
                    <a:lnTo>
                      <a:pt x="644" y="77"/>
                    </a:lnTo>
                    <a:lnTo>
                      <a:pt x="644" y="79"/>
                    </a:lnTo>
                    <a:lnTo>
                      <a:pt x="644" y="81"/>
                    </a:lnTo>
                    <a:lnTo>
                      <a:pt x="644" y="83"/>
                    </a:lnTo>
                    <a:lnTo>
                      <a:pt x="644" y="85"/>
                    </a:lnTo>
                    <a:lnTo>
                      <a:pt x="642" y="85"/>
                    </a:lnTo>
                    <a:lnTo>
                      <a:pt x="642" y="87"/>
                    </a:lnTo>
                    <a:lnTo>
                      <a:pt x="644" y="87"/>
                    </a:lnTo>
                    <a:lnTo>
                      <a:pt x="644" y="88"/>
                    </a:lnTo>
                    <a:lnTo>
                      <a:pt x="646" y="88"/>
                    </a:lnTo>
                    <a:lnTo>
                      <a:pt x="646" y="90"/>
                    </a:lnTo>
                    <a:lnTo>
                      <a:pt x="644" y="92"/>
                    </a:lnTo>
                    <a:lnTo>
                      <a:pt x="644" y="94"/>
                    </a:lnTo>
                    <a:lnTo>
                      <a:pt x="642" y="94"/>
                    </a:lnTo>
                    <a:lnTo>
                      <a:pt x="640" y="94"/>
                    </a:lnTo>
                    <a:lnTo>
                      <a:pt x="640" y="92"/>
                    </a:lnTo>
                    <a:lnTo>
                      <a:pt x="638" y="92"/>
                    </a:lnTo>
                    <a:lnTo>
                      <a:pt x="636" y="92"/>
                    </a:lnTo>
                    <a:lnTo>
                      <a:pt x="634" y="92"/>
                    </a:lnTo>
                    <a:lnTo>
                      <a:pt x="632" y="92"/>
                    </a:lnTo>
                    <a:lnTo>
                      <a:pt x="632" y="94"/>
                    </a:lnTo>
                    <a:lnTo>
                      <a:pt x="634" y="94"/>
                    </a:lnTo>
                    <a:lnTo>
                      <a:pt x="632" y="96"/>
                    </a:lnTo>
                    <a:lnTo>
                      <a:pt x="632" y="98"/>
                    </a:lnTo>
                    <a:lnTo>
                      <a:pt x="632" y="100"/>
                    </a:lnTo>
                    <a:lnTo>
                      <a:pt x="634" y="100"/>
                    </a:lnTo>
                    <a:lnTo>
                      <a:pt x="634" y="98"/>
                    </a:lnTo>
                    <a:lnTo>
                      <a:pt x="636" y="98"/>
                    </a:lnTo>
                    <a:lnTo>
                      <a:pt x="638" y="98"/>
                    </a:lnTo>
                    <a:lnTo>
                      <a:pt x="638" y="100"/>
                    </a:lnTo>
                    <a:lnTo>
                      <a:pt x="638" y="102"/>
                    </a:lnTo>
                    <a:lnTo>
                      <a:pt x="638" y="104"/>
                    </a:lnTo>
                    <a:lnTo>
                      <a:pt x="636" y="104"/>
                    </a:lnTo>
                    <a:lnTo>
                      <a:pt x="636" y="106"/>
                    </a:lnTo>
                    <a:lnTo>
                      <a:pt x="634" y="108"/>
                    </a:lnTo>
                    <a:lnTo>
                      <a:pt x="632" y="108"/>
                    </a:lnTo>
                    <a:lnTo>
                      <a:pt x="630" y="108"/>
                    </a:lnTo>
                    <a:lnTo>
                      <a:pt x="628" y="108"/>
                    </a:lnTo>
                    <a:lnTo>
                      <a:pt x="627" y="108"/>
                    </a:lnTo>
                    <a:lnTo>
                      <a:pt x="627" y="110"/>
                    </a:lnTo>
                    <a:lnTo>
                      <a:pt x="625" y="110"/>
                    </a:lnTo>
                    <a:lnTo>
                      <a:pt x="623" y="112"/>
                    </a:lnTo>
                    <a:lnTo>
                      <a:pt x="621" y="112"/>
                    </a:lnTo>
                    <a:lnTo>
                      <a:pt x="621" y="113"/>
                    </a:lnTo>
                    <a:lnTo>
                      <a:pt x="619" y="113"/>
                    </a:lnTo>
                    <a:lnTo>
                      <a:pt x="617" y="115"/>
                    </a:lnTo>
                    <a:lnTo>
                      <a:pt x="615" y="115"/>
                    </a:lnTo>
                    <a:lnTo>
                      <a:pt x="613" y="115"/>
                    </a:lnTo>
                    <a:lnTo>
                      <a:pt x="611" y="117"/>
                    </a:lnTo>
                    <a:lnTo>
                      <a:pt x="609" y="117"/>
                    </a:lnTo>
                    <a:lnTo>
                      <a:pt x="609" y="119"/>
                    </a:lnTo>
                    <a:lnTo>
                      <a:pt x="609" y="121"/>
                    </a:lnTo>
                    <a:lnTo>
                      <a:pt x="607" y="121"/>
                    </a:lnTo>
                    <a:lnTo>
                      <a:pt x="605" y="123"/>
                    </a:lnTo>
                    <a:lnTo>
                      <a:pt x="605" y="125"/>
                    </a:lnTo>
                    <a:lnTo>
                      <a:pt x="603" y="127"/>
                    </a:lnTo>
                    <a:lnTo>
                      <a:pt x="605" y="127"/>
                    </a:lnTo>
                    <a:lnTo>
                      <a:pt x="605" y="129"/>
                    </a:lnTo>
                    <a:lnTo>
                      <a:pt x="603" y="129"/>
                    </a:lnTo>
                    <a:lnTo>
                      <a:pt x="603" y="131"/>
                    </a:lnTo>
                    <a:lnTo>
                      <a:pt x="602" y="131"/>
                    </a:lnTo>
                    <a:lnTo>
                      <a:pt x="602" y="133"/>
                    </a:lnTo>
                    <a:lnTo>
                      <a:pt x="600" y="133"/>
                    </a:lnTo>
                    <a:lnTo>
                      <a:pt x="598" y="133"/>
                    </a:lnTo>
                    <a:lnTo>
                      <a:pt x="596" y="133"/>
                    </a:lnTo>
                    <a:lnTo>
                      <a:pt x="594" y="133"/>
                    </a:lnTo>
                    <a:lnTo>
                      <a:pt x="592" y="133"/>
                    </a:lnTo>
                    <a:lnTo>
                      <a:pt x="590" y="135"/>
                    </a:lnTo>
                    <a:lnTo>
                      <a:pt x="590" y="133"/>
                    </a:lnTo>
                    <a:lnTo>
                      <a:pt x="588" y="133"/>
                    </a:lnTo>
                    <a:lnTo>
                      <a:pt x="586" y="135"/>
                    </a:lnTo>
                    <a:lnTo>
                      <a:pt x="586" y="137"/>
                    </a:lnTo>
                    <a:lnTo>
                      <a:pt x="584" y="138"/>
                    </a:lnTo>
                    <a:lnTo>
                      <a:pt x="584" y="137"/>
                    </a:lnTo>
                    <a:lnTo>
                      <a:pt x="582" y="137"/>
                    </a:lnTo>
                    <a:lnTo>
                      <a:pt x="580" y="137"/>
                    </a:lnTo>
                    <a:lnTo>
                      <a:pt x="580" y="138"/>
                    </a:lnTo>
                    <a:lnTo>
                      <a:pt x="579" y="138"/>
                    </a:lnTo>
                    <a:lnTo>
                      <a:pt x="577" y="140"/>
                    </a:lnTo>
                    <a:lnTo>
                      <a:pt x="577" y="138"/>
                    </a:lnTo>
                    <a:lnTo>
                      <a:pt x="575" y="138"/>
                    </a:lnTo>
                    <a:lnTo>
                      <a:pt x="573" y="138"/>
                    </a:lnTo>
                    <a:lnTo>
                      <a:pt x="571" y="138"/>
                    </a:lnTo>
                    <a:lnTo>
                      <a:pt x="569" y="138"/>
                    </a:lnTo>
                    <a:lnTo>
                      <a:pt x="567" y="140"/>
                    </a:lnTo>
                    <a:lnTo>
                      <a:pt x="565" y="140"/>
                    </a:lnTo>
                    <a:lnTo>
                      <a:pt x="565" y="142"/>
                    </a:lnTo>
                    <a:lnTo>
                      <a:pt x="563" y="142"/>
                    </a:lnTo>
                    <a:lnTo>
                      <a:pt x="561" y="142"/>
                    </a:lnTo>
                    <a:lnTo>
                      <a:pt x="559" y="142"/>
                    </a:lnTo>
                    <a:lnTo>
                      <a:pt x="557" y="144"/>
                    </a:lnTo>
                    <a:lnTo>
                      <a:pt x="555" y="144"/>
                    </a:lnTo>
                    <a:lnTo>
                      <a:pt x="555" y="142"/>
                    </a:lnTo>
                    <a:lnTo>
                      <a:pt x="554" y="142"/>
                    </a:lnTo>
                    <a:lnTo>
                      <a:pt x="554" y="144"/>
                    </a:lnTo>
                    <a:lnTo>
                      <a:pt x="552" y="144"/>
                    </a:lnTo>
                    <a:lnTo>
                      <a:pt x="552" y="146"/>
                    </a:lnTo>
                    <a:lnTo>
                      <a:pt x="550" y="146"/>
                    </a:lnTo>
                    <a:lnTo>
                      <a:pt x="550" y="148"/>
                    </a:lnTo>
                    <a:lnTo>
                      <a:pt x="548" y="148"/>
                    </a:lnTo>
                    <a:lnTo>
                      <a:pt x="548" y="150"/>
                    </a:lnTo>
                    <a:lnTo>
                      <a:pt x="546" y="150"/>
                    </a:lnTo>
                    <a:lnTo>
                      <a:pt x="546" y="152"/>
                    </a:lnTo>
                    <a:lnTo>
                      <a:pt x="546" y="154"/>
                    </a:lnTo>
                    <a:lnTo>
                      <a:pt x="546" y="156"/>
                    </a:lnTo>
                    <a:lnTo>
                      <a:pt x="544" y="156"/>
                    </a:lnTo>
                    <a:lnTo>
                      <a:pt x="544" y="154"/>
                    </a:lnTo>
                    <a:lnTo>
                      <a:pt x="542" y="154"/>
                    </a:lnTo>
                    <a:lnTo>
                      <a:pt x="540" y="154"/>
                    </a:lnTo>
                    <a:lnTo>
                      <a:pt x="540" y="156"/>
                    </a:lnTo>
                    <a:lnTo>
                      <a:pt x="538" y="156"/>
                    </a:lnTo>
                    <a:lnTo>
                      <a:pt x="536" y="158"/>
                    </a:lnTo>
                    <a:lnTo>
                      <a:pt x="536" y="160"/>
                    </a:lnTo>
                    <a:lnTo>
                      <a:pt x="534" y="160"/>
                    </a:lnTo>
                    <a:lnTo>
                      <a:pt x="534" y="162"/>
                    </a:lnTo>
                    <a:lnTo>
                      <a:pt x="532" y="162"/>
                    </a:lnTo>
                    <a:lnTo>
                      <a:pt x="532" y="163"/>
                    </a:lnTo>
                    <a:lnTo>
                      <a:pt x="530" y="163"/>
                    </a:lnTo>
                    <a:lnTo>
                      <a:pt x="530" y="165"/>
                    </a:lnTo>
                    <a:lnTo>
                      <a:pt x="529" y="165"/>
                    </a:lnTo>
                    <a:lnTo>
                      <a:pt x="529" y="167"/>
                    </a:lnTo>
                    <a:lnTo>
                      <a:pt x="530" y="167"/>
                    </a:lnTo>
                    <a:lnTo>
                      <a:pt x="530" y="169"/>
                    </a:lnTo>
                    <a:lnTo>
                      <a:pt x="529" y="169"/>
                    </a:lnTo>
                    <a:lnTo>
                      <a:pt x="527" y="171"/>
                    </a:lnTo>
                    <a:lnTo>
                      <a:pt x="527" y="173"/>
                    </a:lnTo>
                    <a:lnTo>
                      <a:pt x="527" y="175"/>
                    </a:lnTo>
                    <a:lnTo>
                      <a:pt x="527" y="173"/>
                    </a:lnTo>
                    <a:lnTo>
                      <a:pt x="525" y="173"/>
                    </a:lnTo>
                    <a:lnTo>
                      <a:pt x="523" y="173"/>
                    </a:lnTo>
                    <a:lnTo>
                      <a:pt x="521" y="173"/>
                    </a:lnTo>
                    <a:lnTo>
                      <a:pt x="519" y="173"/>
                    </a:lnTo>
                    <a:lnTo>
                      <a:pt x="517" y="173"/>
                    </a:lnTo>
                    <a:lnTo>
                      <a:pt x="515" y="173"/>
                    </a:lnTo>
                    <a:lnTo>
                      <a:pt x="513" y="173"/>
                    </a:lnTo>
                    <a:lnTo>
                      <a:pt x="513" y="175"/>
                    </a:lnTo>
                    <a:lnTo>
                      <a:pt x="511" y="175"/>
                    </a:lnTo>
                    <a:lnTo>
                      <a:pt x="509" y="175"/>
                    </a:lnTo>
                    <a:lnTo>
                      <a:pt x="507" y="175"/>
                    </a:lnTo>
                    <a:lnTo>
                      <a:pt x="505" y="175"/>
                    </a:lnTo>
                    <a:lnTo>
                      <a:pt x="504" y="175"/>
                    </a:lnTo>
                    <a:lnTo>
                      <a:pt x="502" y="175"/>
                    </a:lnTo>
                    <a:lnTo>
                      <a:pt x="502" y="177"/>
                    </a:lnTo>
                    <a:lnTo>
                      <a:pt x="500" y="175"/>
                    </a:lnTo>
                    <a:lnTo>
                      <a:pt x="498" y="177"/>
                    </a:lnTo>
                    <a:lnTo>
                      <a:pt x="496" y="179"/>
                    </a:lnTo>
                    <a:lnTo>
                      <a:pt x="494" y="179"/>
                    </a:lnTo>
                    <a:lnTo>
                      <a:pt x="494" y="181"/>
                    </a:lnTo>
                    <a:lnTo>
                      <a:pt x="492" y="181"/>
                    </a:lnTo>
                    <a:lnTo>
                      <a:pt x="490" y="181"/>
                    </a:lnTo>
                    <a:lnTo>
                      <a:pt x="488" y="183"/>
                    </a:lnTo>
                    <a:lnTo>
                      <a:pt x="486" y="187"/>
                    </a:lnTo>
                    <a:lnTo>
                      <a:pt x="484" y="187"/>
                    </a:lnTo>
                    <a:lnTo>
                      <a:pt x="484" y="188"/>
                    </a:lnTo>
                    <a:lnTo>
                      <a:pt x="482" y="188"/>
                    </a:lnTo>
                    <a:lnTo>
                      <a:pt x="481" y="190"/>
                    </a:lnTo>
                    <a:lnTo>
                      <a:pt x="481" y="192"/>
                    </a:lnTo>
                    <a:lnTo>
                      <a:pt x="479" y="192"/>
                    </a:lnTo>
                    <a:lnTo>
                      <a:pt x="477" y="194"/>
                    </a:lnTo>
                    <a:lnTo>
                      <a:pt x="477" y="196"/>
                    </a:lnTo>
                    <a:lnTo>
                      <a:pt x="475" y="198"/>
                    </a:lnTo>
                    <a:lnTo>
                      <a:pt x="475" y="200"/>
                    </a:lnTo>
                    <a:lnTo>
                      <a:pt x="475" y="202"/>
                    </a:lnTo>
                    <a:lnTo>
                      <a:pt x="473" y="202"/>
                    </a:lnTo>
                    <a:lnTo>
                      <a:pt x="471" y="200"/>
                    </a:lnTo>
                    <a:lnTo>
                      <a:pt x="469" y="200"/>
                    </a:lnTo>
                    <a:lnTo>
                      <a:pt x="467" y="204"/>
                    </a:lnTo>
                    <a:lnTo>
                      <a:pt x="465" y="206"/>
                    </a:lnTo>
                    <a:lnTo>
                      <a:pt x="463" y="208"/>
                    </a:lnTo>
                    <a:lnTo>
                      <a:pt x="461" y="208"/>
                    </a:lnTo>
                    <a:lnTo>
                      <a:pt x="461" y="206"/>
                    </a:lnTo>
                    <a:lnTo>
                      <a:pt x="459" y="206"/>
                    </a:lnTo>
                    <a:lnTo>
                      <a:pt x="457" y="208"/>
                    </a:lnTo>
                    <a:lnTo>
                      <a:pt x="456" y="208"/>
                    </a:lnTo>
                    <a:lnTo>
                      <a:pt x="456" y="210"/>
                    </a:lnTo>
                    <a:lnTo>
                      <a:pt x="456" y="212"/>
                    </a:lnTo>
                    <a:lnTo>
                      <a:pt x="454" y="212"/>
                    </a:lnTo>
                    <a:lnTo>
                      <a:pt x="452" y="212"/>
                    </a:lnTo>
                    <a:lnTo>
                      <a:pt x="450" y="210"/>
                    </a:lnTo>
                    <a:lnTo>
                      <a:pt x="452" y="208"/>
                    </a:lnTo>
                    <a:lnTo>
                      <a:pt x="448" y="204"/>
                    </a:lnTo>
                    <a:lnTo>
                      <a:pt x="450" y="202"/>
                    </a:lnTo>
                    <a:lnTo>
                      <a:pt x="450" y="200"/>
                    </a:lnTo>
                    <a:lnTo>
                      <a:pt x="446" y="198"/>
                    </a:lnTo>
                    <a:lnTo>
                      <a:pt x="444" y="198"/>
                    </a:lnTo>
                    <a:lnTo>
                      <a:pt x="442" y="198"/>
                    </a:lnTo>
                    <a:lnTo>
                      <a:pt x="440" y="200"/>
                    </a:lnTo>
                    <a:lnTo>
                      <a:pt x="438" y="200"/>
                    </a:lnTo>
                    <a:lnTo>
                      <a:pt x="438" y="202"/>
                    </a:lnTo>
                    <a:lnTo>
                      <a:pt x="436" y="202"/>
                    </a:lnTo>
                    <a:lnTo>
                      <a:pt x="434" y="204"/>
                    </a:lnTo>
                    <a:lnTo>
                      <a:pt x="432" y="206"/>
                    </a:lnTo>
                    <a:lnTo>
                      <a:pt x="431" y="206"/>
                    </a:lnTo>
                    <a:lnTo>
                      <a:pt x="429" y="206"/>
                    </a:lnTo>
                    <a:lnTo>
                      <a:pt x="427" y="208"/>
                    </a:lnTo>
                    <a:lnTo>
                      <a:pt x="425" y="208"/>
                    </a:lnTo>
                    <a:lnTo>
                      <a:pt x="425" y="210"/>
                    </a:lnTo>
                    <a:lnTo>
                      <a:pt x="423" y="212"/>
                    </a:lnTo>
                    <a:lnTo>
                      <a:pt x="423" y="213"/>
                    </a:lnTo>
                    <a:lnTo>
                      <a:pt x="425" y="215"/>
                    </a:lnTo>
                    <a:lnTo>
                      <a:pt x="425" y="217"/>
                    </a:lnTo>
                    <a:lnTo>
                      <a:pt x="423" y="219"/>
                    </a:lnTo>
                    <a:lnTo>
                      <a:pt x="421" y="219"/>
                    </a:lnTo>
                    <a:lnTo>
                      <a:pt x="419" y="219"/>
                    </a:lnTo>
                    <a:lnTo>
                      <a:pt x="419" y="221"/>
                    </a:lnTo>
                    <a:lnTo>
                      <a:pt x="417" y="223"/>
                    </a:lnTo>
                    <a:lnTo>
                      <a:pt x="415" y="223"/>
                    </a:lnTo>
                    <a:lnTo>
                      <a:pt x="413" y="225"/>
                    </a:lnTo>
                    <a:lnTo>
                      <a:pt x="413" y="227"/>
                    </a:lnTo>
                    <a:lnTo>
                      <a:pt x="415" y="227"/>
                    </a:lnTo>
                    <a:lnTo>
                      <a:pt x="415" y="229"/>
                    </a:lnTo>
                    <a:lnTo>
                      <a:pt x="415" y="233"/>
                    </a:lnTo>
                    <a:lnTo>
                      <a:pt x="415" y="235"/>
                    </a:lnTo>
                    <a:lnTo>
                      <a:pt x="411" y="238"/>
                    </a:lnTo>
                    <a:lnTo>
                      <a:pt x="411" y="240"/>
                    </a:lnTo>
                    <a:lnTo>
                      <a:pt x="411" y="242"/>
                    </a:lnTo>
                    <a:lnTo>
                      <a:pt x="411" y="244"/>
                    </a:lnTo>
                    <a:lnTo>
                      <a:pt x="411" y="246"/>
                    </a:lnTo>
                    <a:lnTo>
                      <a:pt x="413" y="248"/>
                    </a:lnTo>
                    <a:lnTo>
                      <a:pt x="415" y="250"/>
                    </a:lnTo>
                    <a:lnTo>
                      <a:pt x="413" y="252"/>
                    </a:lnTo>
                    <a:lnTo>
                      <a:pt x="413" y="254"/>
                    </a:lnTo>
                    <a:lnTo>
                      <a:pt x="409" y="258"/>
                    </a:lnTo>
                    <a:lnTo>
                      <a:pt x="409" y="260"/>
                    </a:lnTo>
                    <a:lnTo>
                      <a:pt x="406" y="260"/>
                    </a:lnTo>
                    <a:lnTo>
                      <a:pt x="404" y="261"/>
                    </a:lnTo>
                    <a:lnTo>
                      <a:pt x="402" y="261"/>
                    </a:lnTo>
                    <a:lnTo>
                      <a:pt x="402" y="263"/>
                    </a:lnTo>
                    <a:lnTo>
                      <a:pt x="402" y="265"/>
                    </a:lnTo>
                    <a:lnTo>
                      <a:pt x="400" y="267"/>
                    </a:lnTo>
                    <a:lnTo>
                      <a:pt x="398" y="269"/>
                    </a:lnTo>
                    <a:lnTo>
                      <a:pt x="398" y="271"/>
                    </a:lnTo>
                    <a:lnTo>
                      <a:pt x="396" y="273"/>
                    </a:lnTo>
                    <a:lnTo>
                      <a:pt x="396" y="275"/>
                    </a:lnTo>
                    <a:lnTo>
                      <a:pt x="392" y="281"/>
                    </a:lnTo>
                    <a:lnTo>
                      <a:pt x="388" y="286"/>
                    </a:lnTo>
                    <a:lnTo>
                      <a:pt x="384" y="290"/>
                    </a:lnTo>
                    <a:lnTo>
                      <a:pt x="384" y="292"/>
                    </a:lnTo>
                    <a:lnTo>
                      <a:pt x="383" y="292"/>
                    </a:lnTo>
                    <a:lnTo>
                      <a:pt x="383" y="294"/>
                    </a:lnTo>
                    <a:lnTo>
                      <a:pt x="383" y="296"/>
                    </a:lnTo>
                    <a:lnTo>
                      <a:pt x="383" y="298"/>
                    </a:lnTo>
                    <a:lnTo>
                      <a:pt x="381" y="300"/>
                    </a:lnTo>
                    <a:lnTo>
                      <a:pt x="379" y="302"/>
                    </a:lnTo>
                    <a:lnTo>
                      <a:pt x="379" y="306"/>
                    </a:lnTo>
                    <a:lnTo>
                      <a:pt x="377" y="308"/>
                    </a:lnTo>
                    <a:lnTo>
                      <a:pt x="375" y="308"/>
                    </a:lnTo>
                    <a:lnTo>
                      <a:pt x="373" y="310"/>
                    </a:lnTo>
                    <a:lnTo>
                      <a:pt x="373" y="311"/>
                    </a:lnTo>
                    <a:lnTo>
                      <a:pt x="373" y="313"/>
                    </a:lnTo>
                    <a:lnTo>
                      <a:pt x="375" y="313"/>
                    </a:lnTo>
                    <a:lnTo>
                      <a:pt x="375" y="315"/>
                    </a:lnTo>
                    <a:lnTo>
                      <a:pt x="377" y="317"/>
                    </a:lnTo>
                    <a:lnTo>
                      <a:pt x="377" y="319"/>
                    </a:lnTo>
                    <a:lnTo>
                      <a:pt x="377" y="323"/>
                    </a:lnTo>
                    <a:lnTo>
                      <a:pt x="373" y="327"/>
                    </a:lnTo>
                    <a:lnTo>
                      <a:pt x="373" y="329"/>
                    </a:lnTo>
                    <a:lnTo>
                      <a:pt x="371" y="331"/>
                    </a:lnTo>
                    <a:lnTo>
                      <a:pt x="371" y="333"/>
                    </a:lnTo>
                    <a:lnTo>
                      <a:pt x="369" y="336"/>
                    </a:lnTo>
                    <a:lnTo>
                      <a:pt x="369" y="340"/>
                    </a:lnTo>
                    <a:lnTo>
                      <a:pt x="371" y="342"/>
                    </a:lnTo>
                    <a:lnTo>
                      <a:pt x="373" y="344"/>
                    </a:lnTo>
                    <a:lnTo>
                      <a:pt x="373" y="346"/>
                    </a:lnTo>
                    <a:lnTo>
                      <a:pt x="371" y="348"/>
                    </a:lnTo>
                    <a:lnTo>
                      <a:pt x="371" y="350"/>
                    </a:lnTo>
                    <a:lnTo>
                      <a:pt x="369" y="354"/>
                    </a:lnTo>
                    <a:lnTo>
                      <a:pt x="367" y="356"/>
                    </a:lnTo>
                    <a:lnTo>
                      <a:pt x="365" y="356"/>
                    </a:lnTo>
                    <a:lnTo>
                      <a:pt x="363" y="360"/>
                    </a:lnTo>
                    <a:lnTo>
                      <a:pt x="361" y="363"/>
                    </a:lnTo>
                    <a:lnTo>
                      <a:pt x="359" y="365"/>
                    </a:lnTo>
                    <a:lnTo>
                      <a:pt x="358" y="367"/>
                    </a:lnTo>
                    <a:lnTo>
                      <a:pt x="358" y="371"/>
                    </a:lnTo>
                    <a:lnTo>
                      <a:pt x="356" y="375"/>
                    </a:lnTo>
                    <a:lnTo>
                      <a:pt x="358" y="377"/>
                    </a:lnTo>
                    <a:lnTo>
                      <a:pt x="356" y="379"/>
                    </a:lnTo>
                    <a:lnTo>
                      <a:pt x="354" y="381"/>
                    </a:lnTo>
                    <a:lnTo>
                      <a:pt x="352" y="381"/>
                    </a:lnTo>
                    <a:lnTo>
                      <a:pt x="352" y="383"/>
                    </a:lnTo>
                    <a:lnTo>
                      <a:pt x="350" y="383"/>
                    </a:lnTo>
                    <a:lnTo>
                      <a:pt x="348" y="385"/>
                    </a:lnTo>
                    <a:lnTo>
                      <a:pt x="348" y="386"/>
                    </a:lnTo>
                    <a:lnTo>
                      <a:pt x="348" y="388"/>
                    </a:lnTo>
                    <a:lnTo>
                      <a:pt x="348" y="390"/>
                    </a:lnTo>
                    <a:lnTo>
                      <a:pt x="346" y="394"/>
                    </a:lnTo>
                    <a:lnTo>
                      <a:pt x="344" y="396"/>
                    </a:lnTo>
                    <a:lnTo>
                      <a:pt x="342" y="396"/>
                    </a:lnTo>
                    <a:lnTo>
                      <a:pt x="340" y="396"/>
                    </a:lnTo>
                    <a:lnTo>
                      <a:pt x="338" y="394"/>
                    </a:lnTo>
                    <a:lnTo>
                      <a:pt x="338" y="396"/>
                    </a:lnTo>
                    <a:lnTo>
                      <a:pt x="336" y="398"/>
                    </a:lnTo>
                    <a:lnTo>
                      <a:pt x="335" y="400"/>
                    </a:lnTo>
                    <a:lnTo>
                      <a:pt x="333" y="400"/>
                    </a:lnTo>
                    <a:lnTo>
                      <a:pt x="331" y="400"/>
                    </a:lnTo>
                    <a:lnTo>
                      <a:pt x="331" y="398"/>
                    </a:lnTo>
                    <a:lnTo>
                      <a:pt x="329" y="398"/>
                    </a:lnTo>
                    <a:lnTo>
                      <a:pt x="329" y="400"/>
                    </a:lnTo>
                    <a:lnTo>
                      <a:pt x="325" y="400"/>
                    </a:lnTo>
                    <a:lnTo>
                      <a:pt x="310" y="392"/>
                    </a:lnTo>
                    <a:lnTo>
                      <a:pt x="300" y="388"/>
                    </a:lnTo>
                    <a:lnTo>
                      <a:pt x="283" y="383"/>
                    </a:lnTo>
                    <a:lnTo>
                      <a:pt x="281" y="381"/>
                    </a:lnTo>
                    <a:lnTo>
                      <a:pt x="281" y="383"/>
                    </a:lnTo>
                    <a:lnTo>
                      <a:pt x="279" y="383"/>
                    </a:lnTo>
                    <a:lnTo>
                      <a:pt x="269" y="375"/>
                    </a:lnTo>
                    <a:lnTo>
                      <a:pt x="269" y="377"/>
                    </a:lnTo>
                    <a:lnTo>
                      <a:pt x="267" y="377"/>
                    </a:lnTo>
                    <a:lnTo>
                      <a:pt x="263" y="381"/>
                    </a:lnTo>
                    <a:lnTo>
                      <a:pt x="260" y="377"/>
                    </a:lnTo>
                    <a:lnTo>
                      <a:pt x="254" y="385"/>
                    </a:lnTo>
                    <a:lnTo>
                      <a:pt x="256" y="385"/>
                    </a:lnTo>
                    <a:lnTo>
                      <a:pt x="256" y="386"/>
                    </a:lnTo>
                    <a:lnTo>
                      <a:pt x="252" y="390"/>
                    </a:lnTo>
                    <a:lnTo>
                      <a:pt x="246" y="386"/>
                    </a:lnTo>
                    <a:lnTo>
                      <a:pt x="240" y="383"/>
                    </a:lnTo>
                    <a:lnTo>
                      <a:pt x="237" y="386"/>
                    </a:lnTo>
                    <a:lnTo>
                      <a:pt x="233" y="392"/>
                    </a:lnTo>
                    <a:lnTo>
                      <a:pt x="223" y="383"/>
                    </a:lnTo>
                    <a:lnTo>
                      <a:pt x="217" y="390"/>
                    </a:lnTo>
                    <a:lnTo>
                      <a:pt x="213" y="388"/>
                    </a:lnTo>
                    <a:lnTo>
                      <a:pt x="210" y="392"/>
                    </a:lnTo>
                    <a:lnTo>
                      <a:pt x="208" y="394"/>
                    </a:lnTo>
                    <a:lnTo>
                      <a:pt x="208" y="396"/>
                    </a:lnTo>
                    <a:lnTo>
                      <a:pt x="204" y="392"/>
                    </a:lnTo>
                    <a:lnTo>
                      <a:pt x="185" y="379"/>
                    </a:lnTo>
                    <a:lnTo>
                      <a:pt x="181" y="375"/>
                    </a:lnTo>
                    <a:lnTo>
                      <a:pt x="181" y="377"/>
                    </a:lnTo>
                    <a:lnTo>
                      <a:pt x="175" y="385"/>
                    </a:lnTo>
                    <a:lnTo>
                      <a:pt x="164" y="375"/>
                    </a:lnTo>
                    <a:lnTo>
                      <a:pt x="165" y="371"/>
                    </a:lnTo>
                    <a:lnTo>
                      <a:pt x="169" y="367"/>
                    </a:lnTo>
                    <a:lnTo>
                      <a:pt x="164" y="363"/>
                    </a:lnTo>
                    <a:lnTo>
                      <a:pt x="156" y="358"/>
                    </a:lnTo>
                    <a:lnTo>
                      <a:pt x="154" y="360"/>
                    </a:lnTo>
                    <a:lnTo>
                      <a:pt x="150" y="365"/>
                    </a:lnTo>
                    <a:lnTo>
                      <a:pt x="144" y="361"/>
                    </a:lnTo>
                    <a:lnTo>
                      <a:pt x="142" y="358"/>
                    </a:lnTo>
                    <a:lnTo>
                      <a:pt x="135" y="365"/>
                    </a:lnTo>
                    <a:lnTo>
                      <a:pt x="133" y="363"/>
                    </a:lnTo>
                    <a:lnTo>
                      <a:pt x="125" y="358"/>
                    </a:lnTo>
                    <a:lnTo>
                      <a:pt x="123" y="361"/>
                    </a:lnTo>
                    <a:lnTo>
                      <a:pt x="117" y="367"/>
                    </a:lnTo>
                    <a:lnTo>
                      <a:pt x="114" y="373"/>
                    </a:lnTo>
                    <a:lnTo>
                      <a:pt x="115" y="377"/>
                    </a:lnTo>
                    <a:lnTo>
                      <a:pt x="119" y="379"/>
                    </a:lnTo>
                    <a:lnTo>
                      <a:pt x="123" y="381"/>
                    </a:lnTo>
                    <a:lnTo>
                      <a:pt x="119" y="385"/>
                    </a:lnTo>
                    <a:lnTo>
                      <a:pt x="121" y="386"/>
                    </a:lnTo>
                    <a:lnTo>
                      <a:pt x="125" y="390"/>
                    </a:lnTo>
                    <a:lnTo>
                      <a:pt x="123" y="390"/>
                    </a:lnTo>
                    <a:lnTo>
                      <a:pt x="121" y="394"/>
                    </a:lnTo>
                    <a:lnTo>
                      <a:pt x="123" y="394"/>
                    </a:lnTo>
                    <a:lnTo>
                      <a:pt x="119" y="400"/>
                    </a:lnTo>
                    <a:lnTo>
                      <a:pt x="117" y="402"/>
                    </a:lnTo>
                    <a:lnTo>
                      <a:pt x="117" y="400"/>
                    </a:lnTo>
                    <a:lnTo>
                      <a:pt x="114" y="394"/>
                    </a:lnTo>
                    <a:lnTo>
                      <a:pt x="112" y="394"/>
                    </a:lnTo>
                    <a:lnTo>
                      <a:pt x="110" y="394"/>
                    </a:lnTo>
                    <a:lnTo>
                      <a:pt x="108" y="396"/>
                    </a:lnTo>
                    <a:lnTo>
                      <a:pt x="106" y="398"/>
                    </a:lnTo>
                    <a:lnTo>
                      <a:pt x="104" y="400"/>
                    </a:lnTo>
                    <a:lnTo>
                      <a:pt x="102" y="402"/>
                    </a:lnTo>
                    <a:lnTo>
                      <a:pt x="100" y="402"/>
                    </a:lnTo>
                    <a:lnTo>
                      <a:pt x="100" y="404"/>
                    </a:lnTo>
                    <a:lnTo>
                      <a:pt x="98" y="404"/>
                    </a:lnTo>
                    <a:lnTo>
                      <a:pt x="96" y="406"/>
                    </a:lnTo>
                    <a:lnTo>
                      <a:pt x="94" y="406"/>
                    </a:lnTo>
                    <a:lnTo>
                      <a:pt x="92" y="408"/>
                    </a:lnTo>
                    <a:lnTo>
                      <a:pt x="91" y="408"/>
                    </a:lnTo>
                    <a:lnTo>
                      <a:pt x="91" y="410"/>
                    </a:lnTo>
                    <a:lnTo>
                      <a:pt x="89" y="410"/>
                    </a:lnTo>
                    <a:lnTo>
                      <a:pt x="87" y="410"/>
                    </a:lnTo>
                    <a:lnTo>
                      <a:pt x="85" y="410"/>
                    </a:lnTo>
                    <a:lnTo>
                      <a:pt x="85" y="408"/>
                    </a:lnTo>
                    <a:lnTo>
                      <a:pt x="87" y="404"/>
                    </a:lnTo>
                    <a:lnTo>
                      <a:pt x="85" y="404"/>
                    </a:lnTo>
                    <a:lnTo>
                      <a:pt x="85" y="402"/>
                    </a:lnTo>
                    <a:lnTo>
                      <a:pt x="83" y="400"/>
                    </a:lnTo>
                    <a:lnTo>
                      <a:pt x="83" y="398"/>
                    </a:lnTo>
                    <a:lnTo>
                      <a:pt x="81" y="398"/>
                    </a:lnTo>
                    <a:lnTo>
                      <a:pt x="77" y="398"/>
                    </a:lnTo>
                    <a:lnTo>
                      <a:pt x="77" y="400"/>
                    </a:lnTo>
                    <a:lnTo>
                      <a:pt x="75" y="400"/>
                    </a:lnTo>
                    <a:lnTo>
                      <a:pt x="73" y="402"/>
                    </a:lnTo>
                    <a:lnTo>
                      <a:pt x="71" y="402"/>
                    </a:lnTo>
                    <a:lnTo>
                      <a:pt x="69" y="402"/>
                    </a:lnTo>
                    <a:lnTo>
                      <a:pt x="69" y="404"/>
                    </a:lnTo>
                    <a:lnTo>
                      <a:pt x="67" y="406"/>
                    </a:lnTo>
                    <a:lnTo>
                      <a:pt x="66" y="404"/>
                    </a:lnTo>
                    <a:lnTo>
                      <a:pt x="56" y="402"/>
                    </a:lnTo>
                    <a:lnTo>
                      <a:pt x="54" y="400"/>
                    </a:lnTo>
                    <a:lnTo>
                      <a:pt x="52" y="402"/>
                    </a:lnTo>
                    <a:lnTo>
                      <a:pt x="48" y="404"/>
                    </a:lnTo>
                    <a:lnTo>
                      <a:pt x="46" y="402"/>
                    </a:lnTo>
                    <a:lnTo>
                      <a:pt x="44" y="402"/>
                    </a:lnTo>
                    <a:lnTo>
                      <a:pt x="44" y="400"/>
                    </a:lnTo>
                    <a:lnTo>
                      <a:pt x="42" y="400"/>
                    </a:lnTo>
                    <a:lnTo>
                      <a:pt x="41" y="400"/>
                    </a:lnTo>
                    <a:lnTo>
                      <a:pt x="41" y="402"/>
                    </a:lnTo>
                    <a:lnTo>
                      <a:pt x="41" y="404"/>
                    </a:lnTo>
                    <a:lnTo>
                      <a:pt x="41" y="406"/>
                    </a:lnTo>
                    <a:lnTo>
                      <a:pt x="39" y="406"/>
                    </a:lnTo>
                    <a:lnTo>
                      <a:pt x="37" y="406"/>
                    </a:lnTo>
                    <a:lnTo>
                      <a:pt x="35" y="404"/>
                    </a:lnTo>
                    <a:lnTo>
                      <a:pt x="33" y="406"/>
                    </a:lnTo>
                    <a:lnTo>
                      <a:pt x="27" y="413"/>
                    </a:lnTo>
                    <a:lnTo>
                      <a:pt x="29" y="415"/>
                    </a:lnTo>
                    <a:lnTo>
                      <a:pt x="27" y="419"/>
                    </a:lnTo>
                    <a:lnTo>
                      <a:pt x="25" y="421"/>
                    </a:lnTo>
                    <a:lnTo>
                      <a:pt x="27" y="423"/>
                    </a:lnTo>
                    <a:lnTo>
                      <a:pt x="23" y="427"/>
                    </a:lnTo>
                    <a:lnTo>
                      <a:pt x="19" y="431"/>
                    </a:lnTo>
                    <a:lnTo>
                      <a:pt x="19" y="429"/>
                    </a:lnTo>
                    <a:lnTo>
                      <a:pt x="18" y="431"/>
                    </a:lnTo>
                    <a:lnTo>
                      <a:pt x="14" y="427"/>
                    </a:lnTo>
                    <a:lnTo>
                      <a:pt x="12" y="427"/>
                    </a:lnTo>
                    <a:lnTo>
                      <a:pt x="14" y="425"/>
                    </a:lnTo>
                    <a:lnTo>
                      <a:pt x="14" y="423"/>
                    </a:lnTo>
                    <a:lnTo>
                      <a:pt x="18" y="419"/>
                    </a:lnTo>
                    <a:lnTo>
                      <a:pt x="19" y="417"/>
                    </a:lnTo>
                    <a:lnTo>
                      <a:pt x="18" y="415"/>
                    </a:lnTo>
                    <a:lnTo>
                      <a:pt x="14" y="411"/>
                    </a:lnTo>
                    <a:lnTo>
                      <a:pt x="16" y="410"/>
                    </a:lnTo>
                    <a:lnTo>
                      <a:pt x="14" y="408"/>
                    </a:lnTo>
                    <a:lnTo>
                      <a:pt x="12" y="408"/>
                    </a:lnTo>
                    <a:lnTo>
                      <a:pt x="12" y="406"/>
                    </a:lnTo>
                    <a:lnTo>
                      <a:pt x="12" y="404"/>
                    </a:lnTo>
                    <a:lnTo>
                      <a:pt x="10" y="404"/>
                    </a:lnTo>
                    <a:lnTo>
                      <a:pt x="8" y="406"/>
                    </a:lnTo>
                    <a:lnTo>
                      <a:pt x="8" y="404"/>
                    </a:lnTo>
                    <a:lnTo>
                      <a:pt x="12" y="398"/>
                    </a:lnTo>
                    <a:lnTo>
                      <a:pt x="14" y="394"/>
                    </a:lnTo>
                    <a:lnTo>
                      <a:pt x="14" y="392"/>
                    </a:lnTo>
                    <a:lnTo>
                      <a:pt x="10" y="390"/>
                    </a:lnTo>
                    <a:lnTo>
                      <a:pt x="4" y="386"/>
                    </a:lnTo>
                    <a:lnTo>
                      <a:pt x="0" y="383"/>
                    </a:lnTo>
                    <a:lnTo>
                      <a:pt x="0" y="381"/>
                    </a:lnTo>
                    <a:lnTo>
                      <a:pt x="2" y="377"/>
                    </a:lnTo>
                    <a:lnTo>
                      <a:pt x="4" y="377"/>
                    </a:lnTo>
                    <a:lnTo>
                      <a:pt x="4" y="375"/>
                    </a:lnTo>
                    <a:lnTo>
                      <a:pt x="6" y="373"/>
                    </a:lnTo>
                    <a:lnTo>
                      <a:pt x="6" y="369"/>
                    </a:lnTo>
                    <a:lnTo>
                      <a:pt x="8" y="367"/>
                    </a:lnTo>
                    <a:lnTo>
                      <a:pt x="8" y="365"/>
                    </a:lnTo>
                    <a:lnTo>
                      <a:pt x="10" y="365"/>
                    </a:lnTo>
                    <a:lnTo>
                      <a:pt x="8" y="363"/>
                    </a:lnTo>
                    <a:lnTo>
                      <a:pt x="10" y="361"/>
                    </a:lnTo>
                    <a:lnTo>
                      <a:pt x="10" y="360"/>
                    </a:lnTo>
                    <a:lnTo>
                      <a:pt x="12" y="360"/>
                    </a:lnTo>
                    <a:lnTo>
                      <a:pt x="12" y="358"/>
                    </a:lnTo>
                    <a:lnTo>
                      <a:pt x="14" y="354"/>
                    </a:lnTo>
                    <a:lnTo>
                      <a:pt x="16" y="354"/>
                    </a:lnTo>
                    <a:lnTo>
                      <a:pt x="19" y="352"/>
                    </a:lnTo>
                    <a:lnTo>
                      <a:pt x="21" y="352"/>
                    </a:lnTo>
                    <a:lnTo>
                      <a:pt x="23" y="352"/>
                    </a:lnTo>
                    <a:lnTo>
                      <a:pt x="25" y="350"/>
                    </a:lnTo>
                    <a:lnTo>
                      <a:pt x="27" y="348"/>
                    </a:lnTo>
                    <a:lnTo>
                      <a:pt x="25" y="348"/>
                    </a:lnTo>
                    <a:lnTo>
                      <a:pt x="25" y="346"/>
                    </a:lnTo>
                    <a:lnTo>
                      <a:pt x="25" y="344"/>
                    </a:lnTo>
                    <a:lnTo>
                      <a:pt x="21" y="342"/>
                    </a:lnTo>
                    <a:lnTo>
                      <a:pt x="23" y="342"/>
                    </a:lnTo>
                    <a:lnTo>
                      <a:pt x="25" y="342"/>
                    </a:lnTo>
                    <a:lnTo>
                      <a:pt x="23" y="342"/>
                    </a:lnTo>
                    <a:lnTo>
                      <a:pt x="23" y="340"/>
                    </a:lnTo>
                    <a:lnTo>
                      <a:pt x="23" y="338"/>
                    </a:lnTo>
                    <a:lnTo>
                      <a:pt x="23" y="336"/>
                    </a:lnTo>
                    <a:lnTo>
                      <a:pt x="23" y="338"/>
                    </a:lnTo>
                    <a:lnTo>
                      <a:pt x="25" y="336"/>
                    </a:lnTo>
                    <a:lnTo>
                      <a:pt x="23" y="335"/>
                    </a:lnTo>
                    <a:lnTo>
                      <a:pt x="27" y="335"/>
                    </a:lnTo>
                    <a:lnTo>
                      <a:pt x="27" y="331"/>
                    </a:lnTo>
                    <a:lnTo>
                      <a:pt x="27" y="329"/>
                    </a:lnTo>
                    <a:lnTo>
                      <a:pt x="29" y="323"/>
                    </a:lnTo>
                    <a:lnTo>
                      <a:pt x="31" y="319"/>
                    </a:lnTo>
                    <a:lnTo>
                      <a:pt x="31" y="317"/>
                    </a:lnTo>
                    <a:lnTo>
                      <a:pt x="31" y="315"/>
                    </a:lnTo>
                    <a:lnTo>
                      <a:pt x="33" y="311"/>
                    </a:lnTo>
                    <a:lnTo>
                      <a:pt x="39" y="304"/>
                    </a:lnTo>
                    <a:lnTo>
                      <a:pt x="41" y="304"/>
                    </a:lnTo>
                    <a:lnTo>
                      <a:pt x="50" y="304"/>
                    </a:lnTo>
                    <a:lnTo>
                      <a:pt x="52" y="304"/>
                    </a:lnTo>
                    <a:lnTo>
                      <a:pt x="54" y="304"/>
                    </a:lnTo>
                    <a:lnTo>
                      <a:pt x="54" y="306"/>
                    </a:lnTo>
                    <a:lnTo>
                      <a:pt x="60" y="304"/>
                    </a:lnTo>
                    <a:lnTo>
                      <a:pt x="66" y="308"/>
                    </a:lnTo>
                    <a:lnTo>
                      <a:pt x="67" y="304"/>
                    </a:lnTo>
                    <a:lnTo>
                      <a:pt x="83" y="285"/>
                    </a:lnTo>
                    <a:lnTo>
                      <a:pt x="79" y="281"/>
                    </a:lnTo>
                    <a:lnTo>
                      <a:pt x="77" y="281"/>
                    </a:lnTo>
                    <a:lnTo>
                      <a:pt x="73" y="277"/>
                    </a:lnTo>
                    <a:lnTo>
                      <a:pt x="71" y="275"/>
                    </a:lnTo>
                    <a:lnTo>
                      <a:pt x="73" y="275"/>
                    </a:lnTo>
                    <a:lnTo>
                      <a:pt x="75" y="273"/>
                    </a:lnTo>
                    <a:lnTo>
                      <a:pt x="85" y="260"/>
                    </a:lnTo>
                    <a:lnTo>
                      <a:pt x="87" y="256"/>
                    </a:lnTo>
                    <a:lnTo>
                      <a:pt x="91" y="252"/>
                    </a:lnTo>
                    <a:lnTo>
                      <a:pt x="92" y="252"/>
                    </a:lnTo>
                    <a:close/>
                    <a:moveTo>
                      <a:pt x="377" y="146"/>
                    </a:moveTo>
                    <a:lnTo>
                      <a:pt x="375" y="146"/>
                    </a:lnTo>
                    <a:lnTo>
                      <a:pt x="377" y="146"/>
                    </a:lnTo>
                    <a:close/>
                    <a:moveTo>
                      <a:pt x="429" y="154"/>
                    </a:moveTo>
                    <a:lnTo>
                      <a:pt x="429" y="152"/>
                    </a:lnTo>
                    <a:lnTo>
                      <a:pt x="431" y="152"/>
                    </a:lnTo>
                    <a:lnTo>
                      <a:pt x="429" y="152"/>
                    </a:lnTo>
                    <a:lnTo>
                      <a:pt x="429" y="154"/>
                    </a:lnTo>
                    <a:lnTo>
                      <a:pt x="427" y="154"/>
                    </a:lnTo>
                    <a:lnTo>
                      <a:pt x="429" y="154"/>
                    </a:lnTo>
                    <a:lnTo>
                      <a:pt x="429" y="156"/>
                    </a:lnTo>
                    <a:lnTo>
                      <a:pt x="427" y="156"/>
                    </a:lnTo>
                    <a:lnTo>
                      <a:pt x="427" y="154"/>
                    </a:lnTo>
                    <a:lnTo>
                      <a:pt x="427" y="156"/>
                    </a:lnTo>
                    <a:lnTo>
                      <a:pt x="429" y="156"/>
                    </a:lnTo>
                    <a:lnTo>
                      <a:pt x="429" y="154"/>
                    </a:lnTo>
                    <a:lnTo>
                      <a:pt x="427" y="154"/>
                    </a:lnTo>
                    <a:lnTo>
                      <a:pt x="429" y="154"/>
                    </a:lnTo>
                    <a:close/>
                    <a:moveTo>
                      <a:pt x="294" y="35"/>
                    </a:moveTo>
                    <a:lnTo>
                      <a:pt x="294" y="33"/>
                    </a:lnTo>
                    <a:lnTo>
                      <a:pt x="294" y="35"/>
                    </a:lnTo>
                    <a:close/>
                    <a:moveTo>
                      <a:pt x="281" y="69"/>
                    </a:moveTo>
                    <a:lnTo>
                      <a:pt x="279" y="69"/>
                    </a:lnTo>
                    <a:lnTo>
                      <a:pt x="281" y="69"/>
                    </a:lnTo>
                    <a:lnTo>
                      <a:pt x="279" y="69"/>
                    </a:lnTo>
                    <a:lnTo>
                      <a:pt x="281" y="69"/>
                    </a:lnTo>
                    <a:close/>
                    <a:moveTo>
                      <a:pt x="335" y="238"/>
                    </a:moveTo>
                    <a:lnTo>
                      <a:pt x="335" y="237"/>
                    </a:lnTo>
                    <a:lnTo>
                      <a:pt x="335" y="238"/>
                    </a:lnTo>
                    <a:close/>
                    <a:moveTo>
                      <a:pt x="329" y="106"/>
                    </a:moveTo>
                    <a:lnTo>
                      <a:pt x="329" y="108"/>
                    </a:lnTo>
                    <a:lnTo>
                      <a:pt x="329" y="106"/>
                    </a:lnTo>
                    <a:close/>
                    <a:moveTo>
                      <a:pt x="383" y="113"/>
                    </a:moveTo>
                    <a:lnTo>
                      <a:pt x="381" y="113"/>
                    </a:lnTo>
                    <a:lnTo>
                      <a:pt x="383" y="113"/>
                    </a:lnTo>
                    <a:close/>
                    <a:moveTo>
                      <a:pt x="281" y="117"/>
                    </a:moveTo>
                    <a:lnTo>
                      <a:pt x="281" y="119"/>
                    </a:lnTo>
                    <a:lnTo>
                      <a:pt x="281" y="117"/>
                    </a:lnTo>
                    <a:close/>
                    <a:moveTo>
                      <a:pt x="269" y="69"/>
                    </a:moveTo>
                    <a:lnTo>
                      <a:pt x="269" y="67"/>
                    </a:lnTo>
                    <a:lnTo>
                      <a:pt x="269" y="6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100">
                <a:extLst>
                  <a:ext uri="{FF2B5EF4-FFF2-40B4-BE49-F238E27FC236}">
                    <a16:creationId xmlns="" xmlns:a16="http://schemas.microsoft.com/office/drawing/2014/main" id="{D2899962-46D9-442D-BA48-F20011B4B6F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05150" y="2789238"/>
                <a:ext cx="393700" cy="482600"/>
              </a:xfrm>
              <a:custGeom>
                <a:avLst/>
                <a:gdLst>
                  <a:gd name="T0" fmla="*/ 36 w 248"/>
                  <a:gd name="T1" fmla="*/ 279 h 304"/>
                  <a:gd name="T2" fmla="*/ 54 w 248"/>
                  <a:gd name="T3" fmla="*/ 263 h 304"/>
                  <a:gd name="T4" fmla="*/ 65 w 248"/>
                  <a:gd name="T5" fmla="*/ 246 h 304"/>
                  <a:gd name="T6" fmla="*/ 105 w 248"/>
                  <a:gd name="T7" fmla="*/ 225 h 304"/>
                  <a:gd name="T8" fmla="*/ 125 w 248"/>
                  <a:gd name="T9" fmla="*/ 184 h 304"/>
                  <a:gd name="T10" fmla="*/ 32 w 248"/>
                  <a:gd name="T11" fmla="*/ 127 h 304"/>
                  <a:gd name="T12" fmla="*/ 113 w 248"/>
                  <a:gd name="T13" fmla="*/ 159 h 304"/>
                  <a:gd name="T14" fmla="*/ 115 w 248"/>
                  <a:gd name="T15" fmla="*/ 154 h 304"/>
                  <a:gd name="T16" fmla="*/ 23 w 248"/>
                  <a:gd name="T17" fmla="*/ 111 h 304"/>
                  <a:gd name="T18" fmla="*/ 19 w 248"/>
                  <a:gd name="T19" fmla="*/ 104 h 304"/>
                  <a:gd name="T20" fmla="*/ 29 w 248"/>
                  <a:gd name="T21" fmla="*/ 109 h 304"/>
                  <a:gd name="T22" fmla="*/ 15 w 248"/>
                  <a:gd name="T23" fmla="*/ 100 h 304"/>
                  <a:gd name="T24" fmla="*/ 13 w 248"/>
                  <a:gd name="T25" fmla="*/ 100 h 304"/>
                  <a:gd name="T26" fmla="*/ 9 w 248"/>
                  <a:gd name="T27" fmla="*/ 96 h 304"/>
                  <a:gd name="T28" fmla="*/ 121 w 248"/>
                  <a:gd name="T29" fmla="*/ 144 h 304"/>
                  <a:gd name="T30" fmla="*/ 121 w 248"/>
                  <a:gd name="T31" fmla="*/ 144 h 304"/>
                  <a:gd name="T32" fmla="*/ 8 w 248"/>
                  <a:gd name="T33" fmla="*/ 94 h 304"/>
                  <a:gd name="T34" fmla="*/ 2 w 248"/>
                  <a:gd name="T35" fmla="*/ 92 h 304"/>
                  <a:gd name="T36" fmla="*/ 38 w 248"/>
                  <a:gd name="T37" fmla="*/ 108 h 304"/>
                  <a:gd name="T38" fmla="*/ 44 w 248"/>
                  <a:gd name="T39" fmla="*/ 109 h 304"/>
                  <a:gd name="T40" fmla="*/ 44 w 248"/>
                  <a:gd name="T41" fmla="*/ 108 h 304"/>
                  <a:gd name="T42" fmla="*/ 52 w 248"/>
                  <a:gd name="T43" fmla="*/ 111 h 304"/>
                  <a:gd name="T44" fmla="*/ 123 w 248"/>
                  <a:gd name="T45" fmla="*/ 138 h 304"/>
                  <a:gd name="T46" fmla="*/ 123 w 248"/>
                  <a:gd name="T47" fmla="*/ 134 h 304"/>
                  <a:gd name="T48" fmla="*/ 125 w 248"/>
                  <a:gd name="T49" fmla="*/ 133 h 304"/>
                  <a:gd name="T50" fmla="*/ 121 w 248"/>
                  <a:gd name="T51" fmla="*/ 131 h 304"/>
                  <a:gd name="T52" fmla="*/ 119 w 248"/>
                  <a:gd name="T53" fmla="*/ 129 h 304"/>
                  <a:gd name="T54" fmla="*/ 6 w 248"/>
                  <a:gd name="T55" fmla="*/ 81 h 304"/>
                  <a:gd name="T56" fmla="*/ 6 w 248"/>
                  <a:gd name="T57" fmla="*/ 81 h 304"/>
                  <a:gd name="T58" fmla="*/ 71 w 248"/>
                  <a:gd name="T59" fmla="*/ 104 h 304"/>
                  <a:gd name="T60" fmla="*/ 73 w 248"/>
                  <a:gd name="T61" fmla="*/ 102 h 304"/>
                  <a:gd name="T62" fmla="*/ 11 w 248"/>
                  <a:gd name="T63" fmla="*/ 71 h 304"/>
                  <a:gd name="T64" fmla="*/ 15 w 248"/>
                  <a:gd name="T65" fmla="*/ 71 h 304"/>
                  <a:gd name="T66" fmla="*/ 82 w 248"/>
                  <a:gd name="T67" fmla="*/ 96 h 304"/>
                  <a:gd name="T68" fmla="*/ 127 w 248"/>
                  <a:gd name="T69" fmla="*/ 115 h 304"/>
                  <a:gd name="T70" fmla="*/ 82 w 248"/>
                  <a:gd name="T71" fmla="*/ 96 h 304"/>
                  <a:gd name="T72" fmla="*/ 17 w 248"/>
                  <a:gd name="T73" fmla="*/ 67 h 304"/>
                  <a:gd name="T74" fmla="*/ 136 w 248"/>
                  <a:gd name="T75" fmla="*/ 115 h 304"/>
                  <a:gd name="T76" fmla="*/ 25 w 248"/>
                  <a:gd name="T77" fmla="*/ 65 h 304"/>
                  <a:gd name="T78" fmla="*/ 155 w 248"/>
                  <a:gd name="T79" fmla="*/ 119 h 304"/>
                  <a:gd name="T80" fmla="*/ 27 w 248"/>
                  <a:gd name="T81" fmla="*/ 61 h 304"/>
                  <a:gd name="T82" fmla="*/ 27 w 248"/>
                  <a:gd name="T83" fmla="*/ 63 h 304"/>
                  <a:gd name="T84" fmla="*/ 90 w 248"/>
                  <a:gd name="T85" fmla="*/ 86 h 304"/>
                  <a:gd name="T86" fmla="*/ 161 w 248"/>
                  <a:gd name="T87" fmla="*/ 119 h 304"/>
                  <a:gd name="T88" fmla="*/ 161 w 248"/>
                  <a:gd name="T89" fmla="*/ 113 h 304"/>
                  <a:gd name="T90" fmla="*/ 96 w 248"/>
                  <a:gd name="T91" fmla="*/ 83 h 304"/>
                  <a:gd name="T92" fmla="*/ 127 w 248"/>
                  <a:gd name="T93" fmla="*/ 92 h 304"/>
                  <a:gd name="T94" fmla="*/ 127 w 248"/>
                  <a:gd name="T95" fmla="*/ 92 h 304"/>
                  <a:gd name="T96" fmla="*/ 171 w 248"/>
                  <a:gd name="T97" fmla="*/ 109 h 304"/>
                  <a:gd name="T98" fmla="*/ 129 w 248"/>
                  <a:gd name="T99" fmla="*/ 88 h 304"/>
                  <a:gd name="T100" fmla="*/ 129 w 248"/>
                  <a:gd name="T101" fmla="*/ 86 h 304"/>
                  <a:gd name="T102" fmla="*/ 123 w 248"/>
                  <a:gd name="T103" fmla="*/ 83 h 304"/>
                  <a:gd name="T104" fmla="*/ 113 w 248"/>
                  <a:gd name="T105" fmla="*/ 79 h 304"/>
                  <a:gd name="T106" fmla="*/ 117 w 248"/>
                  <a:gd name="T107" fmla="*/ 79 h 304"/>
                  <a:gd name="T108" fmla="*/ 129 w 248"/>
                  <a:gd name="T109" fmla="*/ 83 h 304"/>
                  <a:gd name="T110" fmla="*/ 190 w 248"/>
                  <a:gd name="T111" fmla="*/ 104 h 304"/>
                  <a:gd name="T112" fmla="*/ 36 w 248"/>
                  <a:gd name="T113" fmla="*/ 38 h 304"/>
                  <a:gd name="T114" fmla="*/ 207 w 248"/>
                  <a:gd name="T115" fmla="*/ 106 h 304"/>
                  <a:gd name="T116" fmla="*/ 36 w 248"/>
                  <a:gd name="T117" fmla="*/ 33 h 304"/>
                  <a:gd name="T118" fmla="*/ 203 w 248"/>
                  <a:gd name="T119" fmla="*/ 98 h 304"/>
                  <a:gd name="T120" fmla="*/ 42 w 248"/>
                  <a:gd name="T121" fmla="*/ 15 h 304"/>
                  <a:gd name="T122" fmla="*/ 46 w 248"/>
                  <a:gd name="T123" fmla="*/ 9 h 304"/>
                  <a:gd name="T124" fmla="*/ 52 w 248"/>
                  <a:gd name="T125" fmla="*/ 4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48" h="304">
                    <a:moveTo>
                      <a:pt x="40" y="304"/>
                    </a:moveTo>
                    <a:lnTo>
                      <a:pt x="38" y="302"/>
                    </a:lnTo>
                    <a:lnTo>
                      <a:pt x="40" y="302"/>
                    </a:lnTo>
                    <a:lnTo>
                      <a:pt x="40" y="304"/>
                    </a:lnTo>
                    <a:close/>
                    <a:moveTo>
                      <a:pt x="38" y="286"/>
                    </a:moveTo>
                    <a:lnTo>
                      <a:pt x="38" y="284"/>
                    </a:lnTo>
                    <a:lnTo>
                      <a:pt x="38" y="286"/>
                    </a:lnTo>
                    <a:close/>
                    <a:moveTo>
                      <a:pt x="36" y="279"/>
                    </a:moveTo>
                    <a:lnTo>
                      <a:pt x="36" y="281"/>
                    </a:lnTo>
                    <a:lnTo>
                      <a:pt x="38" y="281"/>
                    </a:lnTo>
                    <a:lnTo>
                      <a:pt x="36" y="281"/>
                    </a:lnTo>
                    <a:lnTo>
                      <a:pt x="36" y="279"/>
                    </a:lnTo>
                    <a:close/>
                    <a:moveTo>
                      <a:pt x="36" y="265"/>
                    </a:moveTo>
                    <a:lnTo>
                      <a:pt x="36" y="263"/>
                    </a:lnTo>
                    <a:lnTo>
                      <a:pt x="36" y="265"/>
                    </a:lnTo>
                    <a:close/>
                    <a:moveTo>
                      <a:pt x="54" y="263"/>
                    </a:moveTo>
                    <a:lnTo>
                      <a:pt x="54" y="261"/>
                    </a:lnTo>
                    <a:lnTo>
                      <a:pt x="54" y="263"/>
                    </a:lnTo>
                    <a:close/>
                    <a:moveTo>
                      <a:pt x="61" y="256"/>
                    </a:moveTo>
                    <a:lnTo>
                      <a:pt x="61" y="254"/>
                    </a:lnTo>
                    <a:lnTo>
                      <a:pt x="61" y="256"/>
                    </a:lnTo>
                    <a:close/>
                    <a:moveTo>
                      <a:pt x="65" y="246"/>
                    </a:moveTo>
                    <a:lnTo>
                      <a:pt x="67" y="244"/>
                    </a:lnTo>
                    <a:lnTo>
                      <a:pt x="65" y="246"/>
                    </a:lnTo>
                    <a:close/>
                    <a:moveTo>
                      <a:pt x="98" y="236"/>
                    </a:moveTo>
                    <a:lnTo>
                      <a:pt x="98" y="234"/>
                    </a:lnTo>
                    <a:lnTo>
                      <a:pt x="98" y="236"/>
                    </a:lnTo>
                    <a:close/>
                    <a:moveTo>
                      <a:pt x="104" y="229"/>
                    </a:moveTo>
                    <a:lnTo>
                      <a:pt x="104" y="227"/>
                    </a:lnTo>
                    <a:lnTo>
                      <a:pt x="104" y="229"/>
                    </a:lnTo>
                    <a:close/>
                    <a:moveTo>
                      <a:pt x="104" y="225"/>
                    </a:moveTo>
                    <a:lnTo>
                      <a:pt x="105" y="225"/>
                    </a:lnTo>
                    <a:lnTo>
                      <a:pt x="104" y="225"/>
                    </a:lnTo>
                    <a:close/>
                    <a:moveTo>
                      <a:pt x="111" y="211"/>
                    </a:moveTo>
                    <a:lnTo>
                      <a:pt x="111" y="209"/>
                    </a:lnTo>
                    <a:lnTo>
                      <a:pt x="113" y="209"/>
                    </a:lnTo>
                    <a:lnTo>
                      <a:pt x="111" y="211"/>
                    </a:lnTo>
                    <a:close/>
                    <a:moveTo>
                      <a:pt x="127" y="186"/>
                    </a:moveTo>
                    <a:lnTo>
                      <a:pt x="125" y="186"/>
                    </a:lnTo>
                    <a:lnTo>
                      <a:pt x="125" y="184"/>
                    </a:lnTo>
                    <a:lnTo>
                      <a:pt x="127" y="186"/>
                    </a:lnTo>
                    <a:close/>
                    <a:moveTo>
                      <a:pt x="115" y="161"/>
                    </a:moveTo>
                    <a:lnTo>
                      <a:pt x="113" y="161"/>
                    </a:lnTo>
                    <a:lnTo>
                      <a:pt x="115" y="161"/>
                    </a:lnTo>
                    <a:close/>
                    <a:moveTo>
                      <a:pt x="113" y="161"/>
                    </a:moveTo>
                    <a:lnTo>
                      <a:pt x="115" y="161"/>
                    </a:lnTo>
                    <a:lnTo>
                      <a:pt x="113" y="161"/>
                    </a:lnTo>
                    <a:close/>
                    <a:moveTo>
                      <a:pt x="32" y="127"/>
                    </a:moveTo>
                    <a:lnTo>
                      <a:pt x="34" y="127"/>
                    </a:lnTo>
                    <a:lnTo>
                      <a:pt x="36" y="129"/>
                    </a:lnTo>
                    <a:lnTo>
                      <a:pt x="36" y="131"/>
                    </a:lnTo>
                    <a:lnTo>
                      <a:pt x="34" y="131"/>
                    </a:lnTo>
                    <a:lnTo>
                      <a:pt x="34" y="129"/>
                    </a:lnTo>
                    <a:lnTo>
                      <a:pt x="34" y="127"/>
                    </a:lnTo>
                    <a:lnTo>
                      <a:pt x="32" y="127"/>
                    </a:lnTo>
                    <a:close/>
                    <a:moveTo>
                      <a:pt x="113" y="159"/>
                    </a:moveTo>
                    <a:lnTo>
                      <a:pt x="113" y="158"/>
                    </a:lnTo>
                    <a:lnTo>
                      <a:pt x="113" y="159"/>
                    </a:lnTo>
                    <a:close/>
                    <a:moveTo>
                      <a:pt x="117" y="154"/>
                    </a:moveTo>
                    <a:lnTo>
                      <a:pt x="115" y="154"/>
                    </a:lnTo>
                    <a:lnTo>
                      <a:pt x="117" y="154"/>
                    </a:lnTo>
                    <a:close/>
                    <a:moveTo>
                      <a:pt x="117" y="152"/>
                    </a:moveTo>
                    <a:lnTo>
                      <a:pt x="117" y="154"/>
                    </a:lnTo>
                    <a:lnTo>
                      <a:pt x="115" y="154"/>
                    </a:lnTo>
                    <a:lnTo>
                      <a:pt x="117" y="152"/>
                    </a:lnTo>
                    <a:close/>
                    <a:moveTo>
                      <a:pt x="17" y="109"/>
                    </a:moveTo>
                    <a:lnTo>
                      <a:pt x="17" y="108"/>
                    </a:lnTo>
                    <a:lnTo>
                      <a:pt x="17" y="109"/>
                    </a:lnTo>
                    <a:close/>
                    <a:moveTo>
                      <a:pt x="21" y="111"/>
                    </a:moveTo>
                    <a:lnTo>
                      <a:pt x="21" y="109"/>
                    </a:lnTo>
                    <a:lnTo>
                      <a:pt x="23" y="109"/>
                    </a:lnTo>
                    <a:lnTo>
                      <a:pt x="23" y="111"/>
                    </a:lnTo>
                    <a:lnTo>
                      <a:pt x="21" y="111"/>
                    </a:lnTo>
                    <a:close/>
                    <a:moveTo>
                      <a:pt x="29" y="109"/>
                    </a:moveTo>
                    <a:lnTo>
                      <a:pt x="27" y="109"/>
                    </a:lnTo>
                    <a:lnTo>
                      <a:pt x="29" y="109"/>
                    </a:lnTo>
                    <a:close/>
                    <a:moveTo>
                      <a:pt x="19" y="104"/>
                    </a:moveTo>
                    <a:lnTo>
                      <a:pt x="19" y="106"/>
                    </a:lnTo>
                    <a:lnTo>
                      <a:pt x="17" y="106"/>
                    </a:lnTo>
                    <a:lnTo>
                      <a:pt x="19" y="104"/>
                    </a:lnTo>
                    <a:close/>
                    <a:moveTo>
                      <a:pt x="19" y="104"/>
                    </a:moveTo>
                    <a:lnTo>
                      <a:pt x="17" y="104"/>
                    </a:lnTo>
                    <a:lnTo>
                      <a:pt x="19" y="104"/>
                    </a:lnTo>
                    <a:lnTo>
                      <a:pt x="17" y="104"/>
                    </a:lnTo>
                    <a:lnTo>
                      <a:pt x="19" y="104"/>
                    </a:lnTo>
                    <a:close/>
                    <a:moveTo>
                      <a:pt x="31" y="108"/>
                    </a:moveTo>
                    <a:lnTo>
                      <a:pt x="31" y="109"/>
                    </a:lnTo>
                    <a:lnTo>
                      <a:pt x="29" y="109"/>
                    </a:lnTo>
                    <a:lnTo>
                      <a:pt x="29" y="108"/>
                    </a:lnTo>
                    <a:lnTo>
                      <a:pt x="31" y="108"/>
                    </a:lnTo>
                    <a:close/>
                    <a:moveTo>
                      <a:pt x="21" y="104"/>
                    </a:moveTo>
                    <a:lnTo>
                      <a:pt x="21" y="106"/>
                    </a:lnTo>
                    <a:lnTo>
                      <a:pt x="21" y="104"/>
                    </a:lnTo>
                    <a:lnTo>
                      <a:pt x="19" y="104"/>
                    </a:lnTo>
                    <a:lnTo>
                      <a:pt x="21" y="104"/>
                    </a:lnTo>
                    <a:close/>
                    <a:moveTo>
                      <a:pt x="15" y="100"/>
                    </a:moveTo>
                    <a:lnTo>
                      <a:pt x="15" y="102"/>
                    </a:lnTo>
                    <a:lnTo>
                      <a:pt x="15" y="100"/>
                    </a:lnTo>
                    <a:lnTo>
                      <a:pt x="13" y="100"/>
                    </a:lnTo>
                    <a:lnTo>
                      <a:pt x="15" y="100"/>
                    </a:lnTo>
                    <a:close/>
                    <a:moveTo>
                      <a:pt x="13" y="98"/>
                    </a:moveTo>
                    <a:lnTo>
                      <a:pt x="11" y="98"/>
                    </a:lnTo>
                    <a:lnTo>
                      <a:pt x="13" y="98"/>
                    </a:lnTo>
                    <a:close/>
                    <a:moveTo>
                      <a:pt x="13" y="100"/>
                    </a:moveTo>
                    <a:lnTo>
                      <a:pt x="15" y="100"/>
                    </a:lnTo>
                    <a:lnTo>
                      <a:pt x="13" y="100"/>
                    </a:lnTo>
                    <a:lnTo>
                      <a:pt x="13" y="98"/>
                    </a:lnTo>
                    <a:lnTo>
                      <a:pt x="13" y="100"/>
                    </a:lnTo>
                    <a:close/>
                    <a:moveTo>
                      <a:pt x="11" y="96"/>
                    </a:moveTo>
                    <a:lnTo>
                      <a:pt x="9" y="96"/>
                    </a:lnTo>
                    <a:lnTo>
                      <a:pt x="11" y="96"/>
                    </a:lnTo>
                    <a:lnTo>
                      <a:pt x="9" y="96"/>
                    </a:lnTo>
                    <a:lnTo>
                      <a:pt x="11" y="96"/>
                    </a:lnTo>
                    <a:close/>
                    <a:moveTo>
                      <a:pt x="8" y="94"/>
                    </a:moveTo>
                    <a:lnTo>
                      <a:pt x="6" y="94"/>
                    </a:lnTo>
                    <a:lnTo>
                      <a:pt x="8" y="94"/>
                    </a:lnTo>
                    <a:close/>
                    <a:moveTo>
                      <a:pt x="34" y="108"/>
                    </a:moveTo>
                    <a:lnTo>
                      <a:pt x="36" y="108"/>
                    </a:lnTo>
                    <a:lnTo>
                      <a:pt x="34" y="108"/>
                    </a:lnTo>
                    <a:close/>
                    <a:moveTo>
                      <a:pt x="121" y="144"/>
                    </a:moveTo>
                    <a:lnTo>
                      <a:pt x="119" y="144"/>
                    </a:lnTo>
                    <a:lnTo>
                      <a:pt x="121" y="144"/>
                    </a:lnTo>
                    <a:lnTo>
                      <a:pt x="121" y="146"/>
                    </a:lnTo>
                    <a:lnTo>
                      <a:pt x="119" y="146"/>
                    </a:lnTo>
                    <a:lnTo>
                      <a:pt x="119" y="144"/>
                    </a:lnTo>
                    <a:lnTo>
                      <a:pt x="121" y="144"/>
                    </a:lnTo>
                    <a:lnTo>
                      <a:pt x="121" y="142"/>
                    </a:lnTo>
                    <a:lnTo>
                      <a:pt x="121" y="144"/>
                    </a:lnTo>
                    <a:lnTo>
                      <a:pt x="121" y="142"/>
                    </a:lnTo>
                    <a:lnTo>
                      <a:pt x="121" y="144"/>
                    </a:lnTo>
                    <a:lnTo>
                      <a:pt x="121" y="142"/>
                    </a:lnTo>
                    <a:lnTo>
                      <a:pt x="121" y="144"/>
                    </a:lnTo>
                    <a:close/>
                    <a:moveTo>
                      <a:pt x="9" y="96"/>
                    </a:moveTo>
                    <a:lnTo>
                      <a:pt x="8" y="94"/>
                    </a:lnTo>
                    <a:lnTo>
                      <a:pt x="6" y="92"/>
                    </a:lnTo>
                    <a:lnTo>
                      <a:pt x="8" y="94"/>
                    </a:lnTo>
                    <a:lnTo>
                      <a:pt x="9" y="94"/>
                    </a:lnTo>
                    <a:lnTo>
                      <a:pt x="9" y="96"/>
                    </a:lnTo>
                    <a:close/>
                    <a:moveTo>
                      <a:pt x="121" y="144"/>
                    </a:moveTo>
                    <a:lnTo>
                      <a:pt x="121" y="142"/>
                    </a:lnTo>
                    <a:lnTo>
                      <a:pt x="121" y="144"/>
                    </a:lnTo>
                    <a:close/>
                    <a:moveTo>
                      <a:pt x="2" y="88"/>
                    </a:moveTo>
                    <a:lnTo>
                      <a:pt x="2" y="90"/>
                    </a:lnTo>
                    <a:lnTo>
                      <a:pt x="2" y="92"/>
                    </a:lnTo>
                    <a:lnTo>
                      <a:pt x="0" y="90"/>
                    </a:lnTo>
                    <a:lnTo>
                      <a:pt x="0" y="88"/>
                    </a:lnTo>
                    <a:lnTo>
                      <a:pt x="0" y="90"/>
                    </a:lnTo>
                    <a:lnTo>
                      <a:pt x="2" y="88"/>
                    </a:lnTo>
                    <a:close/>
                    <a:moveTo>
                      <a:pt x="40" y="106"/>
                    </a:moveTo>
                    <a:lnTo>
                      <a:pt x="42" y="108"/>
                    </a:lnTo>
                    <a:lnTo>
                      <a:pt x="40" y="108"/>
                    </a:lnTo>
                    <a:lnTo>
                      <a:pt x="38" y="108"/>
                    </a:lnTo>
                    <a:lnTo>
                      <a:pt x="36" y="108"/>
                    </a:lnTo>
                    <a:lnTo>
                      <a:pt x="38" y="108"/>
                    </a:lnTo>
                    <a:lnTo>
                      <a:pt x="36" y="108"/>
                    </a:lnTo>
                    <a:lnTo>
                      <a:pt x="38" y="108"/>
                    </a:lnTo>
                    <a:lnTo>
                      <a:pt x="38" y="106"/>
                    </a:lnTo>
                    <a:lnTo>
                      <a:pt x="40" y="106"/>
                    </a:lnTo>
                    <a:close/>
                    <a:moveTo>
                      <a:pt x="46" y="109"/>
                    </a:moveTo>
                    <a:lnTo>
                      <a:pt x="44" y="109"/>
                    </a:lnTo>
                    <a:lnTo>
                      <a:pt x="42" y="108"/>
                    </a:lnTo>
                    <a:lnTo>
                      <a:pt x="40" y="108"/>
                    </a:lnTo>
                    <a:lnTo>
                      <a:pt x="42" y="108"/>
                    </a:lnTo>
                    <a:lnTo>
                      <a:pt x="44" y="108"/>
                    </a:lnTo>
                    <a:lnTo>
                      <a:pt x="46" y="109"/>
                    </a:lnTo>
                    <a:close/>
                    <a:moveTo>
                      <a:pt x="42" y="106"/>
                    </a:moveTo>
                    <a:lnTo>
                      <a:pt x="44" y="106"/>
                    </a:lnTo>
                    <a:lnTo>
                      <a:pt x="44" y="108"/>
                    </a:lnTo>
                    <a:lnTo>
                      <a:pt x="42" y="106"/>
                    </a:lnTo>
                    <a:lnTo>
                      <a:pt x="40" y="106"/>
                    </a:lnTo>
                    <a:lnTo>
                      <a:pt x="42" y="106"/>
                    </a:lnTo>
                    <a:close/>
                    <a:moveTo>
                      <a:pt x="56" y="111"/>
                    </a:moveTo>
                    <a:lnTo>
                      <a:pt x="54" y="111"/>
                    </a:lnTo>
                    <a:lnTo>
                      <a:pt x="54" y="113"/>
                    </a:lnTo>
                    <a:lnTo>
                      <a:pt x="54" y="111"/>
                    </a:lnTo>
                    <a:lnTo>
                      <a:pt x="52" y="111"/>
                    </a:lnTo>
                    <a:lnTo>
                      <a:pt x="54" y="111"/>
                    </a:lnTo>
                    <a:lnTo>
                      <a:pt x="56" y="111"/>
                    </a:lnTo>
                    <a:close/>
                    <a:moveTo>
                      <a:pt x="56" y="111"/>
                    </a:moveTo>
                    <a:lnTo>
                      <a:pt x="56" y="113"/>
                    </a:lnTo>
                    <a:lnTo>
                      <a:pt x="54" y="113"/>
                    </a:lnTo>
                    <a:lnTo>
                      <a:pt x="56" y="113"/>
                    </a:lnTo>
                    <a:lnTo>
                      <a:pt x="56" y="111"/>
                    </a:lnTo>
                    <a:close/>
                    <a:moveTo>
                      <a:pt x="123" y="138"/>
                    </a:moveTo>
                    <a:lnTo>
                      <a:pt x="123" y="136"/>
                    </a:lnTo>
                    <a:lnTo>
                      <a:pt x="123" y="138"/>
                    </a:lnTo>
                    <a:close/>
                    <a:moveTo>
                      <a:pt x="57" y="108"/>
                    </a:moveTo>
                    <a:lnTo>
                      <a:pt x="59" y="108"/>
                    </a:lnTo>
                    <a:lnTo>
                      <a:pt x="57" y="108"/>
                    </a:lnTo>
                    <a:close/>
                    <a:moveTo>
                      <a:pt x="123" y="134"/>
                    </a:moveTo>
                    <a:lnTo>
                      <a:pt x="123" y="136"/>
                    </a:lnTo>
                    <a:lnTo>
                      <a:pt x="123" y="134"/>
                    </a:lnTo>
                    <a:close/>
                    <a:moveTo>
                      <a:pt x="4" y="84"/>
                    </a:moveTo>
                    <a:lnTo>
                      <a:pt x="4" y="86"/>
                    </a:lnTo>
                    <a:lnTo>
                      <a:pt x="4" y="84"/>
                    </a:lnTo>
                    <a:lnTo>
                      <a:pt x="4" y="83"/>
                    </a:lnTo>
                    <a:lnTo>
                      <a:pt x="4" y="84"/>
                    </a:lnTo>
                    <a:close/>
                    <a:moveTo>
                      <a:pt x="125" y="134"/>
                    </a:moveTo>
                    <a:lnTo>
                      <a:pt x="123" y="133"/>
                    </a:lnTo>
                    <a:lnTo>
                      <a:pt x="125" y="133"/>
                    </a:lnTo>
                    <a:lnTo>
                      <a:pt x="125" y="134"/>
                    </a:lnTo>
                    <a:close/>
                    <a:moveTo>
                      <a:pt x="123" y="133"/>
                    </a:moveTo>
                    <a:lnTo>
                      <a:pt x="123" y="134"/>
                    </a:lnTo>
                    <a:lnTo>
                      <a:pt x="123" y="136"/>
                    </a:lnTo>
                    <a:lnTo>
                      <a:pt x="123" y="134"/>
                    </a:lnTo>
                    <a:lnTo>
                      <a:pt x="123" y="133"/>
                    </a:lnTo>
                    <a:lnTo>
                      <a:pt x="121" y="133"/>
                    </a:lnTo>
                    <a:lnTo>
                      <a:pt x="121" y="131"/>
                    </a:lnTo>
                    <a:lnTo>
                      <a:pt x="121" y="133"/>
                    </a:lnTo>
                    <a:lnTo>
                      <a:pt x="121" y="131"/>
                    </a:lnTo>
                    <a:lnTo>
                      <a:pt x="123" y="133"/>
                    </a:lnTo>
                    <a:close/>
                    <a:moveTo>
                      <a:pt x="63" y="106"/>
                    </a:moveTo>
                    <a:lnTo>
                      <a:pt x="61" y="106"/>
                    </a:lnTo>
                    <a:lnTo>
                      <a:pt x="63" y="106"/>
                    </a:lnTo>
                    <a:close/>
                    <a:moveTo>
                      <a:pt x="121" y="129"/>
                    </a:moveTo>
                    <a:lnTo>
                      <a:pt x="119" y="129"/>
                    </a:lnTo>
                    <a:lnTo>
                      <a:pt x="121" y="129"/>
                    </a:lnTo>
                    <a:close/>
                    <a:moveTo>
                      <a:pt x="61" y="106"/>
                    </a:moveTo>
                    <a:lnTo>
                      <a:pt x="63" y="104"/>
                    </a:lnTo>
                    <a:lnTo>
                      <a:pt x="63" y="106"/>
                    </a:lnTo>
                    <a:lnTo>
                      <a:pt x="61" y="106"/>
                    </a:lnTo>
                    <a:close/>
                    <a:moveTo>
                      <a:pt x="6" y="81"/>
                    </a:moveTo>
                    <a:lnTo>
                      <a:pt x="8" y="81"/>
                    </a:lnTo>
                    <a:lnTo>
                      <a:pt x="6" y="81"/>
                    </a:lnTo>
                    <a:lnTo>
                      <a:pt x="8" y="81"/>
                    </a:lnTo>
                    <a:lnTo>
                      <a:pt x="6" y="81"/>
                    </a:lnTo>
                    <a:lnTo>
                      <a:pt x="6" y="83"/>
                    </a:lnTo>
                    <a:lnTo>
                      <a:pt x="6" y="81"/>
                    </a:lnTo>
                    <a:lnTo>
                      <a:pt x="6" y="79"/>
                    </a:lnTo>
                    <a:lnTo>
                      <a:pt x="8" y="79"/>
                    </a:lnTo>
                    <a:lnTo>
                      <a:pt x="8" y="81"/>
                    </a:lnTo>
                    <a:lnTo>
                      <a:pt x="6" y="81"/>
                    </a:lnTo>
                    <a:close/>
                    <a:moveTo>
                      <a:pt x="9" y="79"/>
                    </a:moveTo>
                    <a:lnTo>
                      <a:pt x="8" y="79"/>
                    </a:lnTo>
                    <a:lnTo>
                      <a:pt x="9" y="77"/>
                    </a:lnTo>
                    <a:lnTo>
                      <a:pt x="9" y="79"/>
                    </a:lnTo>
                    <a:close/>
                    <a:moveTo>
                      <a:pt x="71" y="104"/>
                    </a:moveTo>
                    <a:lnTo>
                      <a:pt x="69" y="104"/>
                    </a:lnTo>
                    <a:lnTo>
                      <a:pt x="69" y="102"/>
                    </a:lnTo>
                    <a:lnTo>
                      <a:pt x="71" y="104"/>
                    </a:lnTo>
                    <a:close/>
                    <a:moveTo>
                      <a:pt x="9" y="75"/>
                    </a:moveTo>
                    <a:lnTo>
                      <a:pt x="9" y="77"/>
                    </a:lnTo>
                    <a:lnTo>
                      <a:pt x="9" y="75"/>
                    </a:lnTo>
                    <a:close/>
                    <a:moveTo>
                      <a:pt x="73" y="102"/>
                    </a:moveTo>
                    <a:lnTo>
                      <a:pt x="73" y="104"/>
                    </a:lnTo>
                    <a:lnTo>
                      <a:pt x="73" y="102"/>
                    </a:lnTo>
                    <a:lnTo>
                      <a:pt x="75" y="102"/>
                    </a:lnTo>
                    <a:lnTo>
                      <a:pt x="73" y="102"/>
                    </a:lnTo>
                    <a:close/>
                    <a:moveTo>
                      <a:pt x="11" y="73"/>
                    </a:moveTo>
                    <a:lnTo>
                      <a:pt x="11" y="71"/>
                    </a:lnTo>
                    <a:lnTo>
                      <a:pt x="11" y="73"/>
                    </a:lnTo>
                    <a:close/>
                    <a:moveTo>
                      <a:pt x="13" y="73"/>
                    </a:moveTo>
                    <a:lnTo>
                      <a:pt x="11" y="73"/>
                    </a:lnTo>
                    <a:lnTo>
                      <a:pt x="13" y="73"/>
                    </a:lnTo>
                    <a:lnTo>
                      <a:pt x="11" y="73"/>
                    </a:lnTo>
                    <a:lnTo>
                      <a:pt x="11" y="71"/>
                    </a:lnTo>
                    <a:lnTo>
                      <a:pt x="11" y="73"/>
                    </a:lnTo>
                    <a:lnTo>
                      <a:pt x="13" y="73"/>
                    </a:lnTo>
                    <a:close/>
                    <a:moveTo>
                      <a:pt x="77" y="102"/>
                    </a:moveTo>
                    <a:lnTo>
                      <a:pt x="75" y="102"/>
                    </a:lnTo>
                    <a:lnTo>
                      <a:pt x="77" y="100"/>
                    </a:lnTo>
                    <a:lnTo>
                      <a:pt x="77" y="102"/>
                    </a:lnTo>
                    <a:close/>
                    <a:moveTo>
                      <a:pt x="15" y="69"/>
                    </a:moveTo>
                    <a:lnTo>
                      <a:pt x="15" y="71"/>
                    </a:lnTo>
                    <a:lnTo>
                      <a:pt x="13" y="71"/>
                    </a:lnTo>
                    <a:lnTo>
                      <a:pt x="13" y="69"/>
                    </a:lnTo>
                    <a:lnTo>
                      <a:pt x="15" y="69"/>
                    </a:lnTo>
                    <a:lnTo>
                      <a:pt x="15" y="67"/>
                    </a:lnTo>
                    <a:lnTo>
                      <a:pt x="15" y="69"/>
                    </a:lnTo>
                    <a:close/>
                    <a:moveTo>
                      <a:pt x="82" y="98"/>
                    </a:moveTo>
                    <a:lnTo>
                      <a:pt x="81" y="98"/>
                    </a:lnTo>
                    <a:lnTo>
                      <a:pt x="82" y="96"/>
                    </a:lnTo>
                    <a:lnTo>
                      <a:pt x="82" y="98"/>
                    </a:lnTo>
                    <a:close/>
                    <a:moveTo>
                      <a:pt x="125" y="115"/>
                    </a:moveTo>
                    <a:lnTo>
                      <a:pt x="127" y="115"/>
                    </a:lnTo>
                    <a:lnTo>
                      <a:pt x="125" y="115"/>
                    </a:lnTo>
                    <a:close/>
                    <a:moveTo>
                      <a:pt x="127" y="115"/>
                    </a:moveTo>
                    <a:lnTo>
                      <a:pt x="125" y="115"/>
                    </a:lnTo>
                    <a:lnTo>
                      <a:pt x="125" y="113"/>
                    </a:lnTo>
                    <a:lnTo>
                      <a:pt x="127" y="115"/>
                    </a:lnTo>
                    <a:lnTo>
                      <a:pt x="125" y="115"/>
                    </a:lnTo>
                    <a:lnTo>
                      <a:pt x="127" y="115"/>
                    </a:lnTo>
                    <a:close/>
                    <a:moveTo>
                      <a:pt x="127" y="113"/>
                    </a:moveTo>
                    <a:lnTo>
                      <a:pt x="127" y="115"/>
                    </a:lnTo>
                    <a:lnTo>
                      <a:pt x="127" y="113"/>
                    </a:lnTo>
                    <a:close/>
                    <a:moveTo>
                      <a:pt x="82" y="96"/>
                    </a:moveTo>
                    <a:lnTo>
                      <a:pt x="81" y="96"/>
                    </a:lnTo>
                    <a:lnTo>
                      <a:pt x="82" y="96"/>
                    </a:lnTo>
                    <a:close/>
                    <a:moveTo>
                      <a:pt x="84" y="96"/>
                    </a:moveTo>
                    <a:lnTo>
                      <a:pt x="82" y="96"/>
                    </a:lnTo>
                    <a:lnTo>
                      <a:pt x="84" y="96"/>
                    </a:lnTo>
                    <a:close/>
                    <a:moveTo>
                      <a:pt x="19" y="65"/>
                    </a:moveTo>
                    <a:lnTo>
                      <a:pt x="19" y="67"/>
                    </a:lnTo>
                    <a:lnTo>
                      <a:pt x="17" y="67"/>
                    </a:lnTo>
                    <a:lnTo>
                      <a:pt x="15" y="67"/>
                    </a:lnTo>
                    <a:lnTo>
                      <a:pt x="17" y="67"/>
                    </a:lnTo>
                    <a:lnTo>
                      <a:pt x="17" y="65"/>
                    </a:lnTo>
                    <a:lnTo>
                      <a:pt x="19" y="65"/>
                    </a:lnTo>
                    <a:close/>
                    <a:moveTo>
                      <a:pt x="19" y="65"/>
                    </a:moveTo>
                    <a:lnTo>
                      <a:pt x="21" y="65"/>
                    </a:lnTo>
                    <a:lnTo>
                      <a:pt x="19" y="65"/>
                    </a:lnTo>
                    <a:close/>
                    <a:moveTo>
                      <a:pt x="136" y="115"/>
                    </a:moveTo>
                    <a:lnTo>
                      <a:pt x="134" y="115"/>
                    </a:lnTo>
                    <a:lnTo>
                      <a:pt x="136" y="115"/>
                    </a:lnTo>
                    <a:close/>
                    <a:moveTo>
                      <a:pt x="23" y="65"/>
                    </a:moveTo>
                    <a:lnTo>
                      <a:pt x="21" y="67"/>
                    </a:lnTo>
                    <a:lnTo>
                      <a:pt x="21" y="65"/>
                    </a:lnTo>
                    <a:lnTo>
                      <a:pt x="23" y="65"/>
                    </a:lnTo>
                    <a:close/>
                    <a:moveTo>
                      <a:pt x="148" y="117"/>
                    </a:moveTo>
                    <a:lnTo>
                      <a:pt x="146" y="117"/>
                    </a:lnTo>
                    <a:lnTo>
                      <a:pt x="148" y="117"/>
                    </a:lnTo>
                    <a:close/>
                    <a:moveTo>
                      <a:pt x="25" y="65"/>
                    </a:moveTo>
                    <a:lnTo>
                      <a:pt x="25" y="63"/>
                    </a:lnTo>
                    <a:lnTo>
                      <a:pt x="25" y="65"/>
                    </a:lnTo>
                    <a:close/>
                    <a:moveTo>
                      <a:pt x="157" y="119"/>
                    </a:moveTo>
                    <a:lnTo>
                      <a:pt x="157" y="121"/>
                    </a:lnTo>
                    <a:lnTo>
                      <a:pt x="157" y="119"/>
                    </a:lnTo>
                    <a:close/>
                    <a:moveTo>
                      <a:pt x="155" y="119"/>
                    </a:moveTo>
                    <a:lnTo>
                      <a:pt x="154" y="119"/>
                    </a:lnTo>
                    <a:lnTo>
                      <a:pt x="155" y="119"/>
                    </a:lnTo>
                    <a:close/>
                    <a:moveTo>
                      <a:pt x="88" y="90"/>
                    </a:moveTo>
                    <a:lnTo>
                      <a:pt x="88" y="92"/>
                    </a:lnTo>
                    <a:lnTo>
                      <a:pt x="88" y="90"/>
                    </a:lnTo>
                    <a:close/>
                    <a:moveTo>
                      <a:pt x="27" y="61"/>
                    </a:moveTo>
                    <a:lnTo>
                      <a:pt x="27" y="63"/>
                    </a:lnTo>
                    <a:lnTo>
                      <a:pt x="27" y="61"/>
                    </a:lnTo>
                    <a:lnTo>
                      <a:pt x="27" y="63"/>
                    </a:lnTo>
                    <a:lnTo>
                      <a:pt x="27" y="61"/>
                    </a:lnTo>
                    <a:close/>
                    <a:moveTo>
                      <a:pt x="129" y="108"/>
                    </a:moveTo>
                    <a:lnTo>
                      <a:pt x="129" y="106"/>
                    </a:lnTo>
                    <a:lnTo>
                      <a:pt x="129" y="108"/>
                    </a:lnTo>
                    <a:close/>
                    <a:moveTo>
                      <a:pt x="161" y="119"/>
                    </a:moveTo>
                    <a:lnTo>
                      <a:pt x="161" y="117"/>
                    </a:lnTo>
                    <a:lnTo>
                      <a:pt x="161" y="119"/>
                    </a:lnTo>
                    <a:close/>
                    <a:moveTo>
                      <a:pt x="29" y="63"/>
                    </a:moveTo>
                    <a:lnTo>
                      <a:pt x="27" y="63"/>
                    </a:lnTo>
                    <a:lnTo>
                      <a:pt x="29" y="61"/>
                    </a:lnTo>
                    <a:lnTo>
                      <a:pt x="27" y="59"/>
                    </a:lnTo>
                    <a:lnTo>
                      <a:pt x="29" y="59"/>
                    </a:lnTo>
                    <a:lnTo>
                      <a:pt x="29" y="61"/>
                    </a:lnTo>
                    <a:lnTo>
                      <a:pt x="29" y="63"/>
                    </a:lnTo>
                    <a:close/>
                    <a:moveTo>
                      <a:pt x="90" y="86"/>
                    </a:moveTo>
                    <a:lnTo>
                      <a:pt x="90" y="88"/>
                    </a:lnTo>
                    <a:lnTo>
                      <a:pt x="90" y="86"/>
                    </a:lnTo>
                    <a:close/>
                    <a:moveTo>
                      <a:pt x="127" y="102"/>
                    </a:moveTo>
                    <a:lnTo>
                      <a:pt x="129" y="102"/>
                    </a:lnTo>
                    <a:lnTo>
                      <a:pt x="129" y="104"/>
                    </a:lnTo>
                    <a:lnTo>
                      <a:pt x="127" y="104"/>
                    </a:lnTo>
                    <a:lnTo>
                      <a:pt x="127" y="102"/>
                    </a:lnTo>
                    <a:close/>
                    <a:moveTo>
                      <a:pt x="161" y="115"/>
                    </a:moveTo>
                    <a:lnTo>
                      <a:pt x="161" y="117"/>
                    </a:lnTo>
                    <a:lnTo>
                      <a:pt x="161" y="119"/>
                    </a:lnTo>
                    <a:lnTo>
                      <a:pt x="161" y="117"/>
                    </a:lnTo>
                    <a:lnTo>
                      <a:pt x="161" y="115"/>
                    </a:lnTo>
                    <a:close/>
                    <a:moveTo>
                      <a:pt x="161" y="115"/>
                    </a:moveTo>
                    <a:lnTo>
                      <a:pt x="161" y="113"/>
                    </a:lnTo>
                    <a:lnTo>
                      <a:pt x="161" y="115"/>
                    </a:lnTo>
                    <a:close/>
                    <a:moveTo>
                      <a:pt x="163" y="113"/>
                    </a:moveTo>
                    <a:lnTo>
                      <a:pt x="161" y="115"/>
                    </a:lnTo>
                    <a:lnTo>
                      <a:pt x="161" y="113"/>
                    </a:lnTo>
                    <a:lnTo>
                      <a:pt x="161" y="115"/>
                    </a:lnTo>
                    <a:lnTo>
                      <a:pt x="161" y="113"/>
                    </a:lnTo>
                    <a:lnTo>
                      <a:pt x="163" y="113"/>
                    </a:lnTo>
                    <a:close/>
                    <a:moveTo>
                      <a:pt x="94" y="84"/>
                    </a:moveTo>
                    <a:lnTo>
                      <a:pt x="92" y="84"/>
                    </a:lnTo>
                    <a:lnTo>
                      <a:pt x="92" y="83"/>
                    </a:lnTo>
                    <a:lnTo>
                      <a:pt x="94" y="83"/>
                    </a:lnTo>
                    <a:lnTo>
                      <a:pt x="96" y="83"/>
                    </a:lnTo>
                    <a:lnTo>
                      <a:pt x="94" y="83"/>
                    </a:lnTo>
                    <a:lnTo>
                      <a:pt x="94" y="84"/>
                    </a:lnTo>
                    <a:close/>
                    <a:moveTo>
                      <a:pt x="31" y="54"/>
                    </a:moveTo>
                    <a:lnTo>
                      <a:pt x="31" y="56"/>
                    </a:lnTo>
                    <a:lnTo>
                      <a:pt x="29" y="56"/>
                    </a:lnTo>
                    <a:lnTo>
                      <a:pt x="29" y="54"/>
                    </a:lnTo>
                    <a:lnTo>
                      <a:pt x="31" y="54"/>
                    </a:lnTo>
                    <a:close/>
                    <a:moveTo>
                      <a:pt x="127" y="92"/>
                    </a:moveTo>
                    <a:lnTo>
                      <a:pt x="129" y="94"/>
                    </a:lnTo>
                    <a:lnTo>
                      <a:pt x="127" y="94"/>
                    </a:lnTo>
                    <a:lnTo>
                      <a:pt x="127" y="92"/>
                    </a:lnTo>
                    <a:close/>
                    <a:moveTo>
                      <a:pt x="31" y="50"/>
                    </a:moveTo>
                    <a:lnTo>
                      <a:pt x="31" y="52"/>
                    </a:lnTo>
                    <a:lnTo>
                      <a:pt x="31" y="50"/>
                    </a:lnTo>
                    <a:close/>
                    <a:moveTo>
                      <a:pt x="127" y="90"/>
                    </a:moveTo>
                    <a:lnTo>
                      <a:pt x="127" y="92"/>
                    </a:lnTo>
                    <a:lnTo>
                      <a:pt x="127" y="90"/>
                    </a:lnTo>
                    <a:close/>
                    <a:moveTo>
                      <a:pt x="171" y="109"/>
                    </a:moveTo>
                    <a:lnTo>
                      <a:pt x="169" y="109"/>
                    </a:lnTo>
                    <a:lnTo>
                      <a:pt x="171" y="108"/>
                    </a:lnTo>
                    <a:lnTo>
                      <a:pt x="173" y="109"/>
                    </a:lnTo>
                    <a:lnTo>
                      <a:pt x="173" y="108"/>
                    </a:lnTo>
                    <a:lnTo>
                      <a:pt x="173" y="109"/>
                    </a:lnTo>
                    <a:lnTo>
                      <a:pt x="171" y="109"/>
                    </a:lnTo>
                    <a:close/>
                    <a:moveTo>
                      <a:pt x="32" y="48"/>
                    </a:moveTo>
                    <a:lnTo>
                      <a:pt x="31" y="48"/>
                    </a:lnTo>
                    <a:lnTo>
                      <a:pt x="32" y="48"/>
                    </a:lnTo>
                    <a:close/>
                    <a:moveTo>
                      <a:pt x="105" y="79"/>
                    </a:moveTo>
                    <a:lnTo>
                      <a:pt x="107" y="79"/>
                    </a:lnTo>
                    <a:lnTo>
                      <a:pt x="105" y="79"/>
                    </a:lnTo>
                    <a:close/>
                    <a:moveTo>
                      <a:pt x="127" y="88"/>
                    </a:moveTo>
                    <a:lnTo>
                      <a:pt x="129" y="88"/>
                    </a:lnTo>
                    <a:lnTo>
                      <a:pt x="127" y="88"/>
                    </a:lnTo>
                    <a:close/>
                    <a:moveTo>
                      <a:pt x="209" y="119"/>
                    </a:moveTo>
                    <a:lnTo>
                      <a:pt x="209" y="117"/>
                    </a:lnTo>
                    <a:lnTo>
                      <a:pt x="211" y="117"/>
                    </a:lnTo>
                    <a:lnTo>
                      <a:pt x="209" y="119"/>
                    </a:lnTo>
                    <a:close/>
                    <a:moveTo>
                      <a:pt x="129" y="86"/>
                    </a:moveTo>
                    <a:lnTo>
                      <a:pt x="127" y="86"/>
                    </a:lnTo>
                    <a:lnTo>
                      <a:pt x="129" y="86"/>
                    </a:lnTo>
                    <a:lnTo>
                      <a:pt x="129" y="84"/>
                    </a:lnTo>
                    <a:lnTo>
                      <a:pt x="129" y="86"/>
                    </a:lnTo>
                    <a:close/>
                    <a:moveTo>
                      <a:pt x="123" y="83"/>
                    </a:moveTo>
                    <a:lnTo>
                      <a:pt x="121" y="83"/>
                    </a:lnTo>
                    <a:lnTo>
                      <a:pt x="121" y="81"/>
                    </a:lnTo>
                    <a:lnTo>
                      <a:pt x="119" y="81"/>
                    </a:lnTo>
                    <a:lnTo>
                      <a:pt x="121" y="81"/>
                    </a:lnTo>
                    <a:lnTo>
                      <a:pt x="123" y="83"/>
                    </a:lnTo>
                    <a:close/>
                    <a:moveTo>
                      <a:pt x="127" y="84"/>
                    </a:moveTo>
                    <a:lnTo>
                      <a:pt x="129" y="84"/>
                    </a:lnTo>
                    <a:lnTo>
                      <a:pt x="127" y="84"/>
                    </a:lnTo>
                    <a:close/>
                    <a:moveTo>
                      <a:pt x="125" y="83"/>
                    </a:moveTo>
                    <a:lnTo>
                      <a:pt x="125" y="84"/>
                    </a:lnTo>
                    <a:lnTo>
                      <a:pt x="125" y="83"/>
                    </a:lnTo>
                    <a:close/>
                    <a:moveTo>
                      <a:pt x="115" y="79"/>
                    </a:moveTo>
                    <a:lnTo>
                      <a:pt x="113" y="79"/>
                    </a:lnTo>
                    <a:lnTo>
                      <a:pt x="115" y="79"/>
                    </a:lnTo>
                    <a:lnTo>
                      <a:pt x="117" y="79"/>
                    </a:lnTo>
                    <a:lnTo>
                      <a:pt x="117" y="81"/>
                    </a:lnTo>
                    <a:lnTo>
                      <a:pt x="117" y="79"/>
                    </a:lnTo>
                    <a:lnTo>
                      <a:pt x="115" y="81"/>
                    </a:lnTo>
                    <a:lnTo>
                      <a:pt x="115" y="79"/>
                    </a:lnTo>
                    <a:close/>
                    <a:moveTo>
                      <a:pt x="119" y="81"/>
                    </a:moveTo>
                    <a:lnTo>
                      <a:pt x="117" y="79"/>
                    </a:lnTo>
                    <a:lnTo>
                      <a:pt x="119" y="79"/>
                    </a:lnTo>
                    <a:lnTo>
                      <a:pt x="119" y="81"/>
                    </a:lnTo>
                    <a:close/>
                    <a:moveTo>
                      <a:pt x="119" y="81"/>
                    </a:moveTo>
                    <a:lnTo>
                      <a:pt x="121" y="81"/>
                    </a:lnTo>
                    <a:lnTo>
                      <a:pt x="119" y="81"/>
                    </a:lnTo>
                    <a:close/>
                    <a:moveTo>
                      <a:pt x="129" y="83"/>
                    </a:moveTo>
                    <a:lnTo>
                      <a:pt x="127" y="83"/>
                    </a:lnTo>
                    <a:lnTo>
                      <a:pt x="129" y="83"/>
                    </a:lnTo>
                    <a:close/>
                    <a:moveTo>
                      <a:pt x="34" y="38"/>
                    </a:moveTo>
                    <a:lnTo>
                      <a:pt x="34" y="40"/>
                    </a:lnTo>
                    <a:lnTo>
                      <a:pt x="34" y="38"/>
                    </a:lnTo>
                    <a:lnTo>
                      <a:pt x="34" y="40"/>
                    </a:lnTo>
                    <a:lnTo>
                      <a:pt x="34" y="38"/>
                    </a:lnTo>
                    <a:close/>
                    <a:moveTo>
                      <a:pt x="194" y="104"/>
                    </a:moveTo>
                    <a:lnTo>
                      <a:pt x="192" y="104"/>
                    </a:lnTo>
                    <a:lnTo>
                      <a:pt x="190" y="104"/>
                    </a:lnTo>
                    <a:lnTo>
                      <a:pt x="188" y="104"/>
                    </a:lnTo>
                    <a:lnTo>
                      <a:pt x="190" y="104"/>
                    </a:lnTo>
                    <a:lnTo>
                      <a:pt x="192" y="104"/>
                    </a:lnTo>
                    <a:lnTo>
                      <a:pt x="194" y="104"/>
                    </a:lnTo>
                    <a:close/>
                    <a:moveTo>
                      <a:pt x="238" y="119"/>
                    </a:moveTo>
                    <a:lnTo>
                      <a:pt x="240" y="119"/>
                    </a:lnTo>
                    <a:lnTo>
                      <a:pt x="238" y="119"/>
                    </a:lnTo>
                    <a:close/>
                    <a:moveTo>
                      <a:pt x="36" y="38"/>
                    </a:moveTo>
                    <a:lnTo>
                      <a:pt x="36" y="36"/>
                    </a:lnTo>
                    <a:lnTo>
                      <a:pt x="36" y="38"/>
                    </a:lnTo>
                    <a:lnTo>
                      <a:pt x="36" y="36"/>
                    </a:lnTo>
                    <a:lnTo>
                      <a:pt x="38" y="36"/>
                    </a:lnTo>
                    <a:lnTo>
                      <a:pt x="36" y="36"/>
                    </a:lnTo>
                    <a:lnTo>
                      <a:pt x="36" y="38"/>
                    </a:lnTo>
                    <a:close/>
                    <a:moveTo>
                      <a:pt x="207" y="108"/>
                    </a:moveTo>
                    <a:lnTo>
                      <a:pt x="207" y="106"/>
                    </a:lnTo>
                    <a:lnTo>
                      <a:pt x="207" y="108"/>
                    </a:lnTo>
                    <a:close/>
                    <a:moveTo>
                      <a:pt x="248" y="119"/>
                    </a:moveTo>
                    <a:lnTo>
                      <a:pt x="246" y="119"/>
                    </a:lnTo>
                    <a:lnTo>
                      <a:pt x="248" y="119"/>
                    </a:lnTo>
                    <a:close/>
                    <a:moveTo>
                      <a:pt x="36" y="33"/>
                    </a:moveTo>
                    <a:lnTo>
                      <a:pt x="36" y="31"/>
                    </a:lnTo>
                    <a:lnTo>
                      <a:pt x="38" y="31"/>
                    </a:lnTo>
                    <a:lnTo>
                      <a:pt x="36" y="33"/>
                    </a:lnTo>
                    <a:close/>
                    <a:moveTo>
                      <a:pt x="38" y="33"/>
                    </a:moveTo>
                    <a:lnTo>
                      <a:pt x="38" y="34"/>
                    </a:lnTo>
                    <a:lnTo>
                      <a:pt x="36" y="34"/>
                    </a:lnTo>
                    <a:lnTo>
                      <a:pt x="36" y="36"/>
                    </a:lnTo>
                    <a:lnTo>
                      <a:pt x="36" y="34"/>
                    </a:lnTo>
                    <a:lnTo>
                      <a:pt x="36" y="33"/>
                    </a:lnTo>
                    <a:lnTo>
                      <a:pt x="38" y="33"/>
                    </a:lnTo>
                    <a:close/>
                    <a:moveTo>
                      <a:pt x="203" y="98"/>
                    </a:moveTo>
                    <a:lnTo>
                      <a:pt x="203" y="100"/>
                    </a:lnTo>
                    <a:lnTo>
                      <a:pt x="203" y="98"/>
                    </a:lnTo>
                    <a:close/>
                    <a:moveTo>
                      <a:pt x="40" y="29"/>
                    </a:moveTo>
                    <a:lnTo>
                      <a:pt x="42" y="27"/>
                    </a:lnTo>
                    <a:lnTo>
                      <a:pt x="40" y="29"/>
                    </a:lnTo>
                    <a:close/>
                    <a:moveTo>
                      <a:pt x="42" y="15"/>
                    </a:moveTo>
                    <a:lnTo>
                      <a:pt x="42" y="13"/>
                    </a:lnTo>
                    <a:lnTo>
                      <a:pt x="42" y="15"/>
                    </a:lnTo>
                    <a:close/>
                    <a:moveTo>
                      <a:pt x="46" y="11"/>
                    </a:moveTo>
                    <a:lnTo>
                      <a:pt x="44" y="13"/>
                    </a:lnTo>
                    <a:lnTo>
                      <a:pt x="44" y="11"/>
                    </a:lnTo>
                    <a:lnTo>
                      <a:pt x="46" y="11"/>
                    </a:lnTo>
                    <a:close/>
                    <a:moveTo>
                      <a:pt x="44" y="9"/>
                    </a:moveTo>
                    <a:lnTo>
                      <a:pt x="44" y="11"/>
                    </a:lnTo>
                    <a:lnTo>
                      <a:pt x="44" y="9"/>
                    </a:lnTo>
                    <a:lnTo>
                      <a:pt x="46" y="9"/>
                    </a:lnTo>
                    <a:lnTo>
                      <a:pt x="46" y="11"/>
                    </a:lnTo>
                    <a:lnTo>
                      <a:pt x="44" y="11"/>
                    </a:lnTo>
                    <a:lnTo>
                      <a:pt x="44" y="9"/>
                    </a:lnTo>
                    <a:close/>
                    <a:moveTo>
                      <a:pt x="48" y="4"/>
                    </a:moveTo>
                    <a:lnTo>
                      <a:pt x="48" y="6"/>
                    </a:lnTo>
                    <a:lnTo>
                      <a:pt x="48" y="4"/>
                    </a:lnTo>
                    <a:close/>
                    <a:moveTo>
                      <a:pt x="52" y="2"/>
                    </a:moveTo>
                    <a:lnTo>
                      <a:pt x="52" y="4"/>
                    </a:lnTo>
                    <a:lnTo>
                      <a:pt x="50" y="4"/>
                    </a:lnTo>
                    <a:lnTo>
                      <a:pt x="50" y="2"/>
                    </a:lnTo>
                    <a:lnTo>
                      <a:pt x="52" y="2"/>
                    </a:lnTo>
                    <a:close/>
                    <a:moveTo>
                      <a:pt x="52" y="2"/>
                    </a:moveTo>
                    <a:lnTo>
                      <a:pt x="52" y="0"/>
                    </a:lnTo>
                    <a:lnTo>
                      <a:pt x="52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101">
                <a:extLst>
                  <a:ext uri="{FF2B5EF4-FFF2-40B4-BE49-F238E27FC236}">
                    <a16:creationId xmlns="" xmlns:a16="http://schemas.microsoft.com/office/drawing/2014/main" id="{AD1D05BF-B7D0-4335-9517-83F5795B81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95625" y="2786063"/>
                <a:ext cx="341313" cy="488950"/>
              </a:xfrm>
              <a:custGeom>
                <a:avLst/>
                <a:gdLst>
                  <a:gd name="T0" fmla="*/ 46 w 215"/>
                  <a:gd name="T1" fmla="*/ 308 h 308"/>
                  <a:gd name="T2" fmla="*/ 44 w 215"/>
                  <a:gd name="T3" fmla="*/ 286 h 308"/>
                  <a:gd name="T4" fmla="*/ 62 w 215"/>
                  <a:gd name="T5" fmla="*/ 256 h 308"/>
                  <a:gd name="T6" fmla="*/ 65 w 215"/>
                  <a:gd name="T7" fmla="*/ 254 h 308"/>
                  <a:gd name="T8" fmla="*/ 81 w 215"/>
                  <a:gd name="T9" fmla="*/ 236 h 308"/>
                  <a:gd name="T10" fmla="*/ 117 w 215"/>
                  <a:gd name="T11" fmla="*/ 215 h 308"/>
                  <a:gd name="T12" fmla="*/ 119 w 215"/>
                  <a:gd name="T13" fmla="*/ 210 h 308"/>
                  <a:gd name="T14" fmla="*/ 129 w 215"/>
                  <a:gd name="T15" fmla="*/ 177 h 308"/>
                  <a:gd name="T16" fmla="*/ 127 w 215"/>
                  <a:gd name="T17" fmla="*/ 177 h 308"/>
                  <a:gd name="T18" fmla="*/ 40 w 215"/>
                  <a:gd name="T19" fmla="*/ 135 h 308"/>
                  <a:gd name="T20" fmla="*/ 123 w 215"/>
                  <a:gd name="T21" fmla="*/ 163 h 308"/>
                  <a:gd name="T22" fmla="*/ 38 w 215"/>
                  <a:gd name="T23" fmla="*/ 129 h 308"/>
                  <a:gd name="T24" fmla="*/ 121 w 215"/>
                  <a:gd name="T25" fmla="*/ 156 h 308"/>
                  <a:gd name="T26" fmla="*/ 25 w 215"/>
                  <a:gd name="T27" fmla="*/ 111 h 308"/>
                  <a:gd name="T28" fmla="*/ 27 w 215"/>
                  <a:gd name="T29" fmla="*/ 106 h 308"/>
                  <a:gd name="T30" fmla="*/ 19 w 215"/>
                  <a:gd name="T31" fmla="*/ 102 h 308"/>
                  <a:gd name="T32" fmla="*/ 15 w 215"/>
                  <a:gd name="T33" fmla="*/ 98 h 308"/>
                  <a:gd name="T34" fmla="*/ 12 w 215"/>
                  <a:gd name="T35" fmla="*/ 96 h 308"/>
                  <a:gd name="T36" fmla="*/ 0 w 215"/>
                  <a:gd name="T37" fmla="*/ 88 h 308"/>
                  <a:gd name="T38" fmla="*/ 0 w 215"/>
                  <a:gd name="T39" fmla="*/ 88 h 308"/>
                  <a:gd name="T40" fmla="*/ 8 w 215"/>
                  <a:gd name="T41" fmla="*/ 94 h 308"/>
                  <a:gd name="T42" fmla="*/ 42 w 215"/>
                  <a:gd name="T43" fmla="*/ 110 h 308"/>
                  <a:gd name="T44" fmla="*/ 10 w 215"/>
                  <a:gd name="T45" fmla="*/ 90 h 308"/>
                  <a:gd name="T46" fmla="*/ 131 w 215"/>
                  <a:gd name="T47" fmla="*/ 138 h 308"/>
                  <a:gd name="T48" fmla="*/ 131 w 215"/>
                  <a:gd name="T49" fmla="*/ 136 h 308"/>
                  <a:gd name="T50" fmla="*/ 127 w 215"/>
                  <a:gd name="T51" fmla="*/ 131 h 308"/>
                  <a:gd name="T52" fmla="*/ 73 w 215"/>
                  <a:gd name="T53" fmla="*/ 104 h 308"/>
                  <a:gd name="T54" fmla="*/ 15 w 215"/>
                  <a:gd name="T55" fmla="*/ 75 h 308"/>
                  <a:gd name="T56" fmla="*/ 19 w 215"/>
                  <a:gd name="T57" fmla="*/ 73 h 308"/>
                  <a:gd name="T58" fmla="*/ 127 w 215"/>
                  <a:gd name="T59" fmla="*/ 121 h 308"/>
                  <a:gd name="T60" fmla="*/ 19 w 215"/>
                  <a:gd name="T61" fmla="*/ 73 h 308"/>
                  <a:gd name="T62" fmla="*/ 190 w 215"/>
                  <a:gd name="T63" fmla="*/ 144 h 308"/>
                  <a:gd name="T64" fmla="*/ 131 w 215"/>
                  <a:gd name="T65" fmla="*/ 117 h 308"/>
                  <a:gd name="T66" fmla="*/ 131 w 215"/>
                  <a:gd name="T67" fmla="*/ 117 h 308"/>
                  <a:gd name="T68" fmla="*/ 133 w 215"/>
                  <a:gd name="T69" fmla="*/ 115 h 308"/>
                  <a:gd name="T70" fmla="*/ 31 w 215"/>
                  <a:gd name="T71" fmla="*/ 65 h 308"/>
                  <a:gd name="T72" fmla="*/ 160 w 215"/>
                  <a:gd name="T73" fmla="*/ 119 h 308"/>
                  <a:gd name="T74" fmla="*/ 208 w 215"/>
                  <a:gd name="T75" fmla="*/ 136 h 308"/>
                  <a:gd name="T76" fmla="*/ 135 w 215"/>
                  <a:gd name="T77" fmla="*/ 108 h 308"/>
                  <a:gd name="T78" fmla="*/ 136 w 215"/>
                  <a:gd name="T79" fmla="*/ 108 h 308"/>
                  <a:gd name="T80" fmla="*/ 167 w 215"/>
                  <a:gd name="T81" fmla="*/ 119 h 308"/>
                  <a:gd name="T82" fmla="*/ 35 w 215"/>
                  <a:gd name="T83" fmla="*/ 61 h 308"/>
                  <a:gd name="T84" fmla="*/ 102 w 215"/>
                  <a:gd name="T85" fmla="*/ 83 h 308"/>
                  <a:gd name="T86" fmla="*/ 38 w 215"/>
                  <a:gd name="T87" fmla="*/ 52 h 308"/>
                  <a:gd name="T88" fmla="*/ 38 w 215"/>
                  <a:gd name="T89" fmla="*/ 52 h 308"/>
                  <a:gd name="T90" fmla="*/ 110 w 215"/>
                  <a:gd name="T91" fmla="*/ 81 h 308"/>
                  <a:gd name="T92" fmla="*/ 215 w 215"/>
                  <a:gd name="T93" fmla="*/ 121 h 308"/>
                  <a:gd name="T94" fmla="*/ 215 w 215"/>
                  <a:gd name="T95" fmla="*/ 121 h 308"/>
                  <a:gd name="T96" fmla="*/ 215 w 215"/>
                  <a:gd name="T97" fmla="*/ 121 h 308"/>
                  <a:gd name="T98" fmla="*/ 42 w 215"/>
                  <a:gd name="T99" fmla="*/ 42 h 308"/>
                  <a:gd name="T100" fmla="*/ 200 w 215"/>
                  <a:gd name="T101" fmla="*/ 106 h 308"/>
                  <a:gd name="T102" fmla="*/ 44 w 215"/>
                  <a:gd name="T103" fmla="*/ 38 h 308"/>
                  <a:gd name="T104" fmla="*/ 213 w 215"/>
                  <a:gd name="T105" fmla="*/ 110 h 308"/>
                  <a:gd name="T106" fmla="*/ 48 w 215"/>
                  <a:gd name="T107" fmla="*/ 25 h 308"/>
                  <a:gd name="T108" fmla="*/ 46 w 215"/>
                  <a:gd name="T109" fmla="*/ 21 h 308"/>
                  <a:gd name="T110" fmla="*/ 48 w 215"/>
                  <a:gd name="T111" fmla="*/ 19 h 308"/>
                  <a:gd name="T112" fmla="*/ 48 w 215"/>
                  <a:gd name="T113" fmla="*/ 19 h 308"/>
                  <a:gd name="T114" fmla="*/ 60 w 215"/>
                  <a:gd name="T115" fmla="*/ 8 h 308"/>
                  <a:gd name="T116" fmla="*/ 58 w 215"/>
                  <a:gd name="T117" fmla="*/ 6 h 308"/>
                  <a:gd name="T118" fmla="*/ 50 w 215"/>
                  <a:gd name="T119" fmla="*/ 0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15" h="308">
                    <a:moveTo>
                      <a:pt x="46" y="308"/>
                    </a:moveTo>
                    <a:lnTo>
                      <a:pt x="46" y="306"/>
                    </a:lnTo>
                    <a:lnTo>
                      <a:pt x="46" y="308"/>
                    </a:lnTo>
                    <a:close/>
                    <a:moveTo>
                      <a:pt x="44" y="286"/>
                    </a:moveTo>
                    <a:lnTo>
                      <a:pt x="44" y="284"/>
                    </a:lnTo>
                    <a:lnTo>
                      <a:pt x="44" y="286"/>
                    </a:lnTo>
                    <a:close/>
                    <a:moveTo>
                      <a:pt x="62" y="256"/>
                    </a:moveTo>
                    <a:lnTo>
                      <a:pt x="62" y="258"/>
                    </a:lnTo>
                    <a:lnTo>
                      <a:pt x="62" y="256"/>
                    </a:lnTo>
                    <a:close/>
                    <a:moveTo>
                      <a:pt x="67" y="256"/>
                    </a:moveTo>
                    <a:lnTo>
                      <a:pt x="65" y="256"/>
                    </a:lnTo>
                    <a:lnTo>
                      <a:pt x="65" y="254"/>
                    </a:lnTo>
                    <a:lnTo>
                      <a:pt x="67" y="256"/>
                    </a:lnTo>
                    <a:close/>
                    <a:moveTo>
                      <a:pt x="83" y="236"/>
                    </a:moveTo>
                    <a:lnTo>
                      <a:pt x="81" y="236"/>
                    </a:lnTo>
                    <a:lnTo>
                      <a:pt x="83" y="236"/>
                    </a:lnTo>
                    <a:close/>
                    <a:moveTo>
                      <a:pt x="117" y="213"/>
                    </a:moveTo>
                    <a:lnTo>
                      <a:pt x="117" y="215"/>
                    </a:lnTo>
                    <a:lnTo>
                      <a:pt x="117" y="213"/>
                    </a:lnTo>
                    <a:close/>
                    <a:moveTo>
                      <a:pt x="121" y="210"/>
                    </a:moveTo>
                    <a:lnTo>
                      <a:pt x="119" y="210"/>
                    </a:lnTo>
                    <a:lnTo>
                      <a:pt x="119" y="208"/>
                    </a:lnTo>
                    <a:lnTo>
                      <a:pt x="121" y="210"/>
                    </a:lnTo>
                    <a:close/>
                    <a:moveTo>
                      <a:pt x="129" y="177"/>
                    </a:moveTo>
                    <a:lnTo>
                      <a:pt x="127" y="177"/>
                    </a:lnTo>
                    <a:lnTo>
                      <a:pt x="129" y="177"/>
                    </a:lnTo>
                    <a:close/>
                    <a:moveTo>
                      <a:pt x="127" y="177"/>
                    </a:moveTo>
                    <a:lnTo>
                      <a:pt x="127" y="175"/>
                    </a:lnTo>
                    <a:lnTo>
                      <a:pt x="127" y="177"/>
                    </a:lnTo>
                    <a:close/>
                    <a:moveTo>
                      <a:pt x="40" y="135"/>
                    </a:moveTo>
                    <a:lnTo>
                      <a:pt x="38" y="136"/>
                    </a:lnTo>
                    <a:lnTo>
                      <a:pt x="40" y="135"/>
                    </a:lnTo>
                    <a:close/>
                    <a:moveTo>
                      <a:pt x="123" y="163"/>
                    </a:moveTo>
                    <a:lnTo>
                      <a:pt x="123" y="165"/>
                    </a:lnTo>
                    <a:lnTo>
                      <a:pt x="123" y="163"/>
                    </a:lnTo>
                    <a:close/>
                    <a:moveTo>
                      <a:pt x="38" y="129"/>
                    </a:moveTo>
                    <a:lnTo>
                      <a:pt x="38" y="127"/>
                    </a:lnTo>
                    <a:lnTo>
                      <a:pt x="38" y="129"/>
                    </a:lnTo>
                    <a:close/>
                    <a:moveTo>
                      <a:pt x="121" y="156"/>
                    </a:moveTo>
                    <a:lnTo>
                      <a:pt x="121" y="158"/>
                    </a:lnTo>
                    <a:lnTo>
                      <a:pt x="121" y="156"/>
                    </a:lnTo>
                    <a:close/>
                    <a:moveTo>
                      <a:pt x="25" y="111"/>
                    </a:moveTo>
                    <a:lnTo>
                      <a:pt x="23" y="111"/>
                    </a:lnTo>
                    <a:lnTo>
                      <a:pt x="25" y="111"/>
                    </a:lnTo>
                    <a:close/>
                    <a:moveTo>
                      <a:pt x="27" y="106"/>
                    </a:moveTo>
                    <a:lnTo>
                      <a:pt x="25" y="106"/>
                    </a:lnTo>
                    <a:lnTo>
                      <a:pt x="27" y="106"/>
                    </a:lnTo>
                    <a:close/>
                    <a:moveTo>
                      <a:pt x="19" y="102"/>
                    </a:moveTo>
                    <a:lnTo>
                      <a:pt x="19" y="100"/>
                    </a:lnTo>
                    <a:lnTo>
                      <a:pt x="19" y="102"/>
                    </a:lnTo>
                    <a:close/>
                    <a:moveTo>
                      <a:pt x="15" y="98"/>
                    </a:moveTo>
                    <a:lnTo>
                      <a:pt x="15" y="96"/>
                    </a:lnTo>
                    <a:lnTo>
                      <a:pt x="15" y="98"/>
                    </a:lnTo>
                    <a:close/>
                    <a:moveTo>
                      <a:pt x="12" y="96"/>
                    </a:moveTo>
                    <a:lnTo>
                      <a:pt x="12" y="94"/>
                    </a:lnTo>
                    <a:lnTo>
                      <a:pt x="12" y="96"/>
                    </a:lnTo>
                    <a:close/>
                    <a:moveTo>
                      <a:pt x="0" y="88"/>
                    </a:moveTo>
                    <a:lnTo>
                      <a:pt x="0" y="90"/>
                    </a:lnTo>
                    <a:lnTo>
                      <a:pt x="0" y="88"/>
                    </a:lnTo>
                    <a:close/>
                    <a:moveTo>
                      <a:pt x="0" y="88"/>
                    </a:moveTo>
                    <a:lnTo>
                      <a:pt x="0" y="90"/>
                    </a:lnTo>
                    <a:lnTo>
                      <a:pt x="0" y="88"/>
                    </a:lnTo>
                    <a:close/>
                    <a:moveTo>
                      <a:pt x="8" y="94"/>
                    </a:moveTo>
                    <a:lnTo>
                      <a:pt x="8" y="92"/>
                    </a:lnTo>
                    <a:lnTo>
                      <a:pt x="8" y="94"/>
                    </a:lnTo>
                    <a:close/>
                    <a:moveTo>
                      <a:pt x="42" y="110"/>
                    </a:moveTo>
                    <a:lnTo>
                      <a:pt x="42" y="108"/>
                    </a:lnTo>
                    <a:lnTo>
                      <a:pt x="42" y="110"/>
                    </a:lnTo>
                    <a:close/>
                    <a:moveTo>
                      <a:pt x="10" y="90"/>
                    </a:moveTo>
                    <a:lnTo>
                      <a:pt x="8" y="90"/>
                    </a:lnTo>
                    <a:lnTo>
                      <a:pt x="10" y="90"/>
                    </a:lnTo>
                    <a:close/>
                    <a:moveTo>
                      <a:pt x="131" y="138"/>
                    </a:moveTo>
                    <a:lnTo>
                      <a:pt x="129" y="138"/>
                    </a:lnTo>
                    <a:lnTo>
                      <a:pt x="129" y="136"/>
                    </a:lnTo>
                    <a:lnTo>
                      <a:pt x="131" y="136"/>
                    </a:lnTo>
                    <a:lnTo>
                      <a:pt x="131" y="138"/>
                    </a:lnTo>
                    <a:close/>
                    <a:moveTo>
                      <a:pt x="127" y="133"/>
                    </a:moveTo>
                    <a:lnTo>
                      <a:pt x="127" y="131"/>
                    </a:lnTo>
                    <a:lnTo>
                      <a:pt x="127" y="133"/>
                    </a:lnTo>
                    <a:close/>
                    <a:moveTo>
                      <a:pt x="75" y="104"/>
                    </a:moveTo>
                    <a:lnTo>
                      <a:pt x="73" y="104"/>
                    </a:lnTo>
                    <a:lnTo>
                      <a:pt x="75" y="104"/>
                    </a:lnTo>
                    <a:close/>
                    <a:moveTo>
                      <a:pt x="15" y="77"/>
                    </a:moveTo>
                    <a:lnTo>
                      <a:pt x="15" y="75"/>
                    </a:lnTo>
                    <a:lnTo>
                      <a:pt x="17" y="77"/>
                    </a:lnTo>
                    <a:lnTo>
                      <a:pt x="15" y="77"/>
                    </a:lnTo>
                    <a:close/>
                    <a:moveTo>
                      <a:pt x="19" y="73"/>
                    </a:moveTo>
                    <a:lnTo>
                      <a:pt x="17" y="73"/>
                    </a:lnTo>
                    <a:lnTo>
                      <a:pt x="19" y="73"/>
                    </a:lnTo>
                    <a:close/>
                    <a:moveTo>
                      <a:pt x="127" y="121"/>
                    </a:moveTo>
                    <a:lnTo>
                      <a:pt x="127" y="119"/>
                    </a:lnTo>
                    <a:lnTo>
                      <a:pt x="127" y="121"/>
                    </a:lnTo>
                    <a:close/>
                    <a:moveTo>
                      <a:pt x="19" y="73"/>
                    </a:moveTo>
                    <a:lnTo>
                      <a:pt x="19" y="71"/>
                    </a:lnTo>
                    <a:lnTo>
                      <a:pt x="19" y="73"/>
                    </a:lnTo>
                    <a:close/>
                    <a:moveTo>
                      <a:pt x="190" y="144"/>
                    </a:moveTo>
                    <a:lnTo>
                      <a:pt x="190" y="142"/>
                    </a:lnTo>
                    <a:lnTo>
                      <a:pt x="190" y="144"/>
                    </a:lnTo>
                    <a:close/>
                    <a:moveTo>
                      <a:pt x="131" y="117"/>
                    </a:moveTo>
                    <a:lnTo>
                      <a:pt x="129" y="117"/>
                    </a:lnTo>
                    <a:lnTo>
                      <a:pt x="131" y="117"/>
                    </a:lnTo>
                    <a:close/>
                    <a:moveTo>
                      <a:pt x="131" y="117"/>
                    </a:moveTo>
                    <a:lnTo>
                      <a:pt x="129" y="117"/>
                    </a:lnTo>
                    <a:lnTo>
                      <a:pt x="131" y="117"/>
                    </a:lnTo>
                    <a:close/>
                    <a:moveTo>
                      <a:pt x="133" y="115"/>
                    </a:moveTo>
                    <a:lnTo>
                      <a:pt x="131" y="115"/>
                    </a:lnTo>
                    <a:lnTo>
                      <a:pt x="133" y="115"/>
                    </a:lnTo>
                    <a:close/>
                    <a:moveTo>
                      <a:pt x="31" y="65"/>
                    </a:moveTo>
                    <a:lnTo>
                      <a:pt x="33" y="65"/>
                    </a:lnTo>
                    <a:lnTo>
                      <a:pt x="31" y="65"/>
                    </a:lnTo>
                    <a:close/>
                    <a:moveTo>
                      <a:pt x="160" y="119"/>
                    </a:moveTo>
                    <a:lnTo>
                      <a:pt x="161" y="121"/>
                    </a:lnTo>
                    <a:lnTo>
                      <a:pt x="160" y="119"/>
                    </a:lnTo>
                    <a:close/>
                    <a:moveTo>
                      <a:pt x="208" y="136"/>
                    </a:moveTo>
                    <a:lnTo>
                      <a:pt x="206" y="136"/>
                    </a:lnTo>
                    <a:lnTo>
                      <a:pt x="208" y="136"/>
                    </a:lnTo>
                    <a:close/>
                    <a:moveTo>
                      <a:pt x="135" y="108"/>
                    </a:moveTo>
                    <a:lnTo>
                      <a:pt x="135" y="106"/>
                    </a:lnTo>
                    <a:lnTo>
                      <a:pt x="135" y="108"/>
                    </a:lnTo>
                    <a:close/>
                    <a:moveTo>
                      <a:pt x="136" y="108"/>
                    </a:moveTo>
                    <a:lnTo>
                      <a:pt x="136" y="106"/>
                    </a:lnTo>
                    <a:lnTo>
                      <a:pt x="136" y="108"/>
                    </a:lnTo>
                    <a:close/>
                    <a:moveTo>
                      <a:pt x="167" y="119"/>
                    </a:moveTo>
                    <a:lnTo>
                      <a:pt x="167" y="117"/>
                    </a:lnTo>
                    <a:lnTo>
                      <a:pt x="167" y="119"/>
                    </a:lnTo>
                    <a:close/>
                    <a:moveTo>
                      <a:pt x="35" y="61"/>
                    </a:moveTo>
                    <a:lnTo>
                      <a:pt x="33" y="61"/>
                    </a:lnTo>
                    <a:lnTo>
                      <a:pt x="35" y="61"/>
                    </a:lnTo>
                    <a:close/>
                    <a:moveTo>
                      <a:pt x="102" y="83"/>
                    </a:moveTo>
                    <a:lnTo>
                      <a:pt x="100" y="83"/>
                    </a:lnTo>
                    <a:lnTo>
                      <a:pt x="102" y="83"/>
                    </a:lnTo>
                    <a:close/>
                    <a:moveTo>
                      <a:pt x="38" y="52"/>
                    </a:moveTo>
                    <a:lnTo>
                      <a:pt x="37" y="52"/>
                    </a:lnTo>
                    <a:lnTo>
                      <a:pt x="38" y="52"/>
                    </a:lnTo>
                    <a:close/>
                    <a:moveTo>
                      <a:pt x="38" y="52"/>
                    </a:moveTo>
                    <a:lnTo>
                      <a:pt x="37" y="52"/>
                    </a:lnTo>
                    <a:lnTo>
                      <a:pt x="38" y="52"/>
                    </a:lnTo>
                    <a:close/>
                    <a:moveTo>
                      <a:pt x="110" y="81"/>
                    </a:moveTo>
                    <a:lnTo>
                      <a:pt x="110" y="83"/>
                    </a:lnTo>
                    <a:lnTo>
                      <a:pt x="110" y="81"/>
                    </a:lnTo>
                    <a:close/>
                    <a:moveTo>
                      <a:pt x="215" y="121"/>
                    </a:moveTo>
                    <a:lnTo>
                      <a:pt x="213" y="121"/>
                    </a:lnTo>
                    <a:lnTo>
                      <a:pt x="213" y="119"/>
                    </a:lnTo>
                    <a:lnTo>
                      <a:pt x="215" y="121"/>
                    </a:lnTo>
                    <a:close/>
                    <a:moveTo>
                      <a:pt x="215" y="121"/>
                    </a:moveTo>
                    <a:lnTo>
                      <a:pt x="215" y="119"/>
                    </a:lnTo>
                    <a:lnTo>
                      <a:pt x="215" y="121"/>
                    </a:lnTo>
                    <a:close/>
                    <a:moveTo>
                      <a:pt x="42" y="42"/>
                    </a:moveTo>
                    <a:lnTo>
                      <a:pt x="42" y="44"/>
                    </a:lnTo>
                    <a:lnTo>
                      <a:pt x="42" y="42"/>
                    </a:lnTo>
                    <a:close/>
                    <a:moveTo>
                      <a:pt x="200" y="106"/>
                    </a:moveTo>
                    <a:lnTo>
                      <a:pt x="198" y="106"/>
                    </a:lnTo>
                    <a:lnTo>
                      <a:pt x="200" y="106"/>
                    </a:lnTo>
                    <a:close/>
                    <a:moveTo>
                      <a:pt x="44" y="38"/>
                    </a:moveTo>
                    <a:lnTo>
                      <a:pt x="44" y="36"/>
                    </a:lnTo>
                    <a:lnTo>
                      <a:pt x="44" y="38"/>
                    </a:lnTo>
                    <a:close/>
                    <a:moveTo>
                      <a:pt x="213" y="110"/>
                    </a:moveTo>
                    <a:lnTo>
                      <a:pt x="213" y="108"/>
                    </a:lnTo>
                    <a:lnTo>
                      <a:pt x="213" y="110"/>
                    </a:lnTo>
                    <a:close/>
                    <a:moveTo>
                      <a:pt x="48" y="25"/>
                    </a:moveTo>
                    <a:lnTo>
                      <a:pt x="48" y="27"/>
                    </a:lnTo>
                    <a:lnTo>
                      <a:pt x="48" y="25"/>
                    </a:lnTo>
                    <a:close/>
                    <a:moveTo>
                      <a:pt x="46" y="21"/>
                    </a:moveTo>
                    <a:lnTo>
                      <a:pt x="46" y="23"/>
                    </a:lnTo>
                    <a:lnTo>
                      <a:pt x="46" y="21"/>
                    </a:lnTo>
                    <a:close/>
                    <a:moveTo>
                      <a:pt x="48" y="19"/>
                    </a:moveTo>
                    <a:lnTo>
                      <a:pt x="46" y="19"/>
                    </a:lnTo>
                    <a:lnTo>
                      <a:pt x="48" y="19"/>
                    </a:lnTo>
                    <a:close/>
                    <a:moveTo>
                      <a:pt x="48" y="19"/>
                    </a:moveTo>
                    <a:lnTo>
                      <a:pt x="48" y="21"/>
                    </a:lnTo>
                    <a:lnTo>
                      <a:pt x="48" y="19"/>
                    </a:lnTo>
                    <a:close/>
                    <a:moveTo>
                      <a:pt x="60" y="8"/>
                    </a:moveTo>
                    <a:lnTo>
                      <a:pt x="60" y="6"/>
                    </a:lnTo>
                    <a:lnTo>
                      <a:pt x="60" y="8"/>
                    </a:lnTo>
                    <a:close/>
                    <a:moveTo>
                      <a:pt x="58" y="6"/>
                    </a:moveTo>
                    <a:lnTo>
                      <a:pt x="58" y="4"/>
                    </a:lnTo>
                    <a:lnTo>
                      <a:pt x="58" y="6"/>
                    </a:lnTo>
                    <a:close/>
                    <a:moveTo>
                      <a:pt x="50" y="0"/>
                    </a:moveTo>
                    <a:lnTo>
                      <a:pt x="52" y="0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102">
                <a:extLst>
                  <a:ext uri="{FF2B5EF4-FFF2-40B4-BE49-F238E27FC236}">
                    <a16:creationId xmlns="" xmlns:a16="http://schemas.microsoft.com/office/drawing/2014/main" id="{CDB1CF16-8486-4682-865A-F8C6B16785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9825" y="3600451"/>
                <a:ext cx="222250" cy="158750"/>
              </a:xfrm>
              <a:custGeom>
                <a:avLst/>
                <a:gdLst>
                  <a:gd name="T0" fmla="*/ 132 w 140"/>
                  <a:gd name="T1" fmla="*/ 83 h 100"/>
                  <a:gd name="T2" fmla="*/ 127 w 140"/>
                  <a:gd name="T3" fmla="*/ 85 h 100"/>
                  <a:gd name="T4" fmla="*/ 121 w 140"/>
                  <a:gd name="T5" fmla="*/ 83 h 100"/>
                  <a:gd name="T6" fmla="*/ 117 w 140"/>
                  <a:gd name="T7" fmla="*/ 75 h 100"/>
                  <a:gd name="T8" fmla="*/ 113 w 140"/>
                  <a:gd name="T9" fmla="*/ 77 h 100"/>
                  <a:gd name="T10" fmla="*/ 107 w 140"/>
                  <a:gd name="T11" fmla="*/ 79 h 100"/>
                  <a:gd name="T12" fmla="*/ 102 w 140"/>
                  <a:gd name="T13" fmla="*/ 81 h 100"/>
                  <a:gd name="T14" fmla="*/ 96 w 140"/>
                  <a:gd name="T15" fmla="*/ 79 h 100"/>
                  <a:gd name="T16" fmla="*/ 90 w 140"/>
                  <a:gd name="T17" fmla="*/ 85 h 100"/>
                  <a:gd name="T18" fmla="*/ 82 w 140"/>
                  <a:gd name="T19" fmla="*/ 89 h 100"/>
                  <a:gd name="T20" fmla="*/ 75 w 140"/>
                  <a:gd name="T21" fmla="*/ 91 h 100"/>
                  <a:gd name="T22" fmla="*/ 69 w 140"/>
                  <a:gd name="T23" fmla="*/ 94 h 100"/>
                  <a:gd name="T24" fmla="*/ 59 w 140"/>
                  <a:gd name="T25" fmla="*/ 98 h 100"/>
                  <a:gd name="T26" fmla="*/ 56 w 140"/>
                  <a:gd name="T27" fmla="*/ 87 h 100"/>
                  <a:gd name="T28" fmla="*/ 56 w 140"/>
                  <a:gd name="T29" fmla="*/ 75 h 100"/>
                  <a:gd name="T30" fmla="*/ 46 w 140"/>
                  <a:gd name="T31" fmla="*/ 68 h 100"/>
                  <a:gd name="T32" fmla="*/ 42 w 140"/>
                  <a:gd name="T33" fmla="*/ 52 h 100"/>
                  <a:gd name="T34" fmla="*/ 32 w 140"/>
                  <a:gd name="T35" fmla="*/ 52 h 100"/>
                  <a:gd name="T36" fmla="*/ 21 w 140"/>
                  <a:gd name="T37" fmla="*/ 56 h 100"/>
                  <a:gd name="T38" fmla="*/ 13 w 140"/>
                  <a:gd name="T39" fmla="*/ 52 h 100"/>
                  <a:gd name="T40" fmla="*/ 4 w 140"/>
                  <a:gd name="T41" fmla="*/ 54 h 100"/>
                  <a:gd name="T42" fmla="*/ 2 w 140"/>
                  <a:gd name="T43" fmla="*/ 48 h 100"/>
                  <a:gd name="T44" fmla="*/ 4 w 140"/>
                  <a:gd name="T45" fmla="*/ 43 h 100"/>
                  <a:gd name="T46" fmla="*/ 6 w 140"/>
                  <a:gd name="T47" fmla="*/ 33 h 100"/>
                  <a:gd name="T48" fmla="*/ 6 w 140"/>
                  <a:gd name="T49" fmla="*/ 23 h 100"/>
                  <a:gd name="T50" fmla="*/ 4 w 140"/>
                  <a:gd name="T51" fmla="*/ 16 h 100"/>
                  <a:gd name="T52" fmla="*/ 7 w 140"/>
                  <a:gd name="T53" fmla="*/ 12 h 100"/>
                  <a:gd name="T54" fmla="*/ 15 w 140"/>
                  <a:gd name="T55" fmla="*/ 12 h 100"/>
                  <a:gd name="T56" fmla="*/ 17 w 140"/>
                  <a:gd name="T57" fmla="*/ 6 h 100"/>
                  <a:gd name="T58" fmla="*/ 23 w 140"/>
                  <a:gd name="T59" fmla="*/ 0 h 100"/>
                  <a:gd name="T60" fmla="*/ 34 w 140"/>
                  <a:gd name="T61" fmla="*/ 2 h 100"/>
                  <a:gd name="T62" fmla="*/ 44 w 140"/>
                  <a:gd name="T63" fmla="*/ 6 h 100"/>
                  <a:gd name="T64" fmla="*/ 48 w 140"/>
                  <a:gd name="T65" fmla="*/ 6 h 100"/>
                  <a:gd name="T66" fmla="*/ 54 w 140"/>
                  <a:gd name="T67" fmla="*/ 10 h 100"/>
                  <a:gd name="T68" fmla="*/ 59 w 140"/>
                  <a:gd name="T69" fmla="*/ 14 h 100"/>
                  <a:gd name="T70" fmla="*/ 59 w 140"/>
                  <a:gd name="T71" fmla="*/ 23 h 100"/>
                  <a:gd name="T72" fmla="*/ 69 w 140"/>
                  <a:gd name="T73" fmla="*/ 23 h 100"/>
                  <a:gd name="T74" fmla="*/ 79 w 140"/>
                  <a:gd name="T75" fmla="*/ 19 h 100"/>
                  <a:gd name="T76" fmla="*/ 80 w 140"/>
                  <a:gd name="T77" fmla="*/ 21 h 100"/>
                  <a:gd name="T78" fmla="*/ 88 w 140"/>
                  <a:gd name="T79" fmla="*/ 23 h 100"/>
                  <a:gd name="T80" fmla="*/ 94 w 140"/>
                  <a:gd name="T81" fmla="*/ 21 h 100"/>
                  <a:gd name="T82" fmla="*/ 102 w 140"/>
                  <a:gd name="T83" fmla="*/ 21 h 100"/>
                  <a:gd name="T84" fmla="*/ 109 w 140"/>
                  <a:gd name="T85" fmla="*/ 23 h 100"/>
                  <a:gd name="T86" fmla="*/ 115 w 140"/>
                  <a:gd name="T87" fmla="*/ 29 h 100"/>
                  <a:gd name="T88" fmla="*/ 119 w 140"/>
                  <a:gd name="T89" fmla="*/ 25 h 100"/>
                  <a:gd name="T90" fmla="*/ 125 w 140"/>
                  <a:gd name="T91" fmla="*/ 21 h 100"/>
                  <a:gd name="T92" fmla="*/ 129 w 140"/>
                  <a:gd name="T93" fmla="*/ 23 h 100"/>
                  <a:gd name="T94" fmla="*/ 125 w 140"/>
                  <a:gd name="T95" fmla="*/ 31 h 100"/>
                  <a:gd name="T96" fmla="*/ 125 w 140"/>
                  <a:gd name="T97" fmla="*/ 35 h 100"/>
                  <a:gd name="T98" fmla="*/ 129 w 140"/>
                  <a:gd name="T99" fmla="*/ 43 h 100"/>
                  <a:gd name="T100" fmla="*/ 132 w 140"/>
                  <a:gd name="T101" fmla="*/ 43 h 100"/>
                  <a:gd name="T102" fmla="*/ 134 w 140"/>
                  <a:gd name="T103" fmla="*/ 46 h 100"/>
                  <a:gd name="T104" fmla="*/ 134 w 140"/>
                  <a:gd name="T105" fmla="*/ 52 h 100"/>
                  <a:gd name="T106" fmla="*/ 134 w 140"/>
                  <a:gd name="T107" fmla="*/ 56 h 100"/>
                  <a:gd name="T108" fmla="*/ 138 w 140"/>
                  <a:gd name="T109" fmla="*/ 64 h 100"/>
                  <a:gd name="T110" fmla="*/ 134 w 140"/>
                  <a:gd name="T111" fmla="*/ 77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0" h="100">
                    <a:moveTo>
                      <a:pt x="134" y="77"/>
                    </a:moveTo>
                    <a:lnTo>
                      <a:pt x="134" y="75"/>
                    </a:lnTo>
                    <a:lnTo>
                      <a:pt x="132" y="77"/>
                    </a:lnTo>
                    <a:lnTo>
                      <a:pt x="136" y="79"/>
                    </a:lnTo>
                    <a:lnTo>
                      <a:pt x="136" y="81"/>
                    </a:lnTo>
                    <a:lnTo>
                      <a:pt x="136" y="83"/>
                    </a:lnTo>
                    <a:lnTo>
                      <a:pt x="134" y="83"/>
                    </a:lnTo>
                    <a:lnTo>
                      <a:pt x="132" y="83"/>
                    </a:lnTo>
                    <a:lnTo>
                      <a:pt x="130" y="83"/>
                    </a:lnTo>
                    <a:lnTo>
                      <a:pt x="129" y="83"/>
                    </a:lnTo>
                    <a:lnTo>
                      <a:pt x="129" y="85"/>
                    </a:lnTo>
                    <a:lnTo>
                      <a:pt x="127" y="85"/>
                    </a:lnTo>
                    <a:lnTo>
                      <a:pt x="125" y="87"/>
                    </a:lnTo>
                    <a:lnTo>
                      <a:pt x="125" y="85"/>
                    </a:lnTo>
                    <a:lnTo>
                      <a:pt x="125" y="83"/>
                    </a:lnTo>
                    <a:lnTo>
                      <a:pt x="127" y="85"/>
                    </a:lnTo>
                    <a:lnTo>
                      <a:pt x="127" y="83"/>
                    </a:lnTo>
                    <a:lnTo>
                      <a:pt x="129" y="83"/>
                    </a:lnTo>
                    <a:lnTo>
                      <a:pt x="127" y="81"/>
                    </a:lnTo>
                    <a:lnTo>
                      <a:pt x="125" y="83"/>
                    </a:lnTo>
                    <a:lnTo>
                      <a:pt x="125" y="85"/>
                    </a:lnTo>
                    <a:lnTo>
                      <a:pt x="123" y="83"/>
                    </a:lnTo>
                    <a:lnTo>
                      <a:pt x="123" y="85"/>
                    </a:lnTo>
                    <a:lnTo>
                      <a:pt x="121" y="83"/>
                    </a:lnTo>
                    <a:lnTo>
                      <a:pt x="121" y="81"/>
                    </a:lnTo>
                    <a:lnTo>
                      <a:pt x="123" y="81"/>
                    </a:lnTo>
                    <a:lnTo>
                      <a:pt x="123" y="79"/>
                    </a:lnTo>
                    <a:lnTo>
                      <a:pt x="123" y="77"/>
                    </a:lnTo>
                    <a:lnTo>
                      <a:pt x="121" y="77"/>
                    </a:lnTo>
                    <a:lnTo>
                      <a:pt x="119" y="77"/>
                    </a:lnTo>
                    <a:lnTo>
                      <a:pt x="119" y="75"/>
                    </a:lnTo>
                    <a:lnTo>
                      <a:pt x="117" y="75"/>
                    </a:lnTo>
                    <a:lnTo>
                      <a:pt x="117" y="77"/>
                    </a:lnTo>
                    <a:lnTo>
                      <a:pt x="117" y="75"/>
                    </a:lnTo>
                    <a:lnTo>
                      <a:pt x="115" y="77"/>
                    </a:lnTo>
                    <a:lnTo>
                      <a:pt x="115" y="79"/>
                    </a:lnTo>
                    <a:lnTo>
                      <a:pt x="113" y="79"/>
                    </a:lnTo>
                    <a:lnTo>
                      <a:pt x="111" y="79"/>
                    </a:lnTo>
                    <a:lnTo>
                      <a:pt x="111" y="77"/>
                    </a:lnTo>
                    <a:lnTo>
                      <a:pt x="113" y="77"/>
                    </a:lnTo>
                    <a:lnTo>
                      <a:pt x="113" y="75"/>
                    </a:lnTo>
                    <a:lnTo>
                      <a:pt x="111" y="75"/>
                    </a:lnTo>
                    <a:lnTo>
                      <a:pt x="111" y="77"/>
                    </a:lnTo>
                    <a:lnTo>
                      <a:pt x="109" y="77"/>
                    </a:lnTo>
                    <a:lnTo>
                      <a:pt x="109" y="79"/>
                    </a:lnTo>
                    <a:lnTo>
                      <a:pt x="107" y="79"/>
                    </a:lnTo>
                    <a:lnTo>
                      <a:pt x="109" y="79"/>
                    </a:lnTo>
                    <a:lnTo>
                      <a:pt x="107" y="79"/>
                    </a:lnTo>
                    <a:lnTo>
                      <a:pt x="107" y="81"/>
                    </a:lnTo>
                    <a:lnTo>
                      <a:pt x="107" y="83"/>
                    </a:lnTo>
                    <a:lnTo>
                      <a:pt x="105" y="83"/>
                    </a:lnTo>
                    <a:lnTo>
                      <a:pt x="105" y="81"/>
                    </a:lnTo>
                    <a:lnTo>
                      <a:pt x="105" y="83"/>
                    </a:lnTo>
                    <a:lnTo>
                      <a:pt x="104" y="83"/>
                    </a:lnTo>
                    <a:lnTo>
                      <a:pt x="104" y="81"/>
                    </a:lnTo>
                    <a:lnTo>
                      <a:pt x="102" y="81"/>
                    </a:lnTo>
                    <a:lnTo>
                      <a:pt x="102" y="79"/>
                    </a:lnTo>
                    <a:lnTo>
                      <a:pt x="102" y="77"/>
                    </a:lnTo>
                    <a:lnTo>
                      <a:pt x="102" y="79"/>
                    </a:lnTo>
                    <a:lnTo>
                      <a:pt x="100" y="79"/>
                    </a:lnTo>
                    <a:lnTo>
                      <a:pt x="100" y="77"/>
                    </a:lnTo>
                    <a:lnTo>
                      <a:pt x="98" y="77"/>
                    </a:lnTo>
                    <a:lnTo>
                      <a:pt x="98" y="79"/>
                    </a:lnTo>
                    <a:lnTo>
                      <a:pt x="96" y="79"/>
                    </a:lnTo>
                    <a:lnTo>
                      <a:pt x="98" y="77"/>
                    </a:lnTo>
                    <a:lnTo>
                      <a:pt x="96" y="77"/>
                    </a:lnTo>
                    <a:lnTo>
                      <a:pt x="96" y="79"/>
                    </a:lnTo>
                    <a:lnTo>
                      <a:pt x="94" y="81"/>
                    </a:lnTo>
                    <a:lnTo>
                      <a:pt x="92" y="81"/>
                    </a:lnTo>
                    <a:lnTo>
                      <a:pt x="90" y="81"/>
                    </a:lnTo>
                    <a:lnTo>
                      <a:pt x="90" y="83"/>
                    </a:lnTo>
                    <a:lnTo>
                      <a:pt x="90" y="85"/>
                    </a:lnTo>
                    <a:lnTo>
                      <a:pt x="92" y="85"/>
                    </a:lnTo>
                    <a:lnTo>
                      <a:pt x="92" y="87"/>
                    </a:lnTo>
                    <a:lnTo>
                      <a:pt x="90" y="87"/>
                    </a:lnTo>
                    <a:lnTo>
                      <a:pt x="88" y="89"/>
                    </a:lnTo>
                    <a:lnTo>
                      <a:pt x="88" y="87"/>
                    </a:lnTo>
                    <a:lnTo>
                      <a:pt x="86" y="89"/>
                    </a:lnTo>
                    <a:lnTo>
                      <a:pt x="84" y="89"/>
                    </a:lnTo>
                    <a:lnTo>
                      <a:pt x="82" y="89"/>
                    </a:lnTo>
                    <a:lnTo>
                      <a:pt x="82" y="91"/>
                    </a:lnTo>
                    <a:lnTo>
                      <a:pt x="80" y="93"/>
                    </a:lnTo>
                    <a:lnTo>
                      <a:pt x="79" y="91"/>
                    </a:lnTo>
                    <a:lnTo>
                      <a:pt x="79" y="93"/>
                    </a:lnTo>
                    <a:lnTo>
                      <a:pt x="79" y="91"/>
                    </a:lnTo>
                    <a:lnTo>
                      <a:pt x="79" y="89"/>
                    </a:lnTo>
                    <a:lnTo>
                      <a:pt x="77" y="91"/>
                    </a:lnTo>
                    <a:lnTo>
                      <a:pt x="75" y="91"/>
                    </a:lnTo>
                    <a:lnTo>
                      <a:pt x="75" y="93"/>
                    </a:lnTo>
                    <a:lnTo>
                      <a:pt x="77" y="93"/>
                    </a:lnTo>
                    <a:lnTo>
                      <a:pt x="77" y="94"/>
                    </a:lnTo>
                    <a:lnTo>
                      <a:pt x="75" y="94"/>
                    </a:lnTo>
                    <a:lnTo>
                      <a:pt x="75" y="96"/>
                    </a:lnTo>
                    <a:lnTo>
                      <a:pt x="73" y="96"/>
                    </a:lnTo>
                    <a:lnTo>
                      <a:pt x="71" y="96"/>
                    </a:lnTo>
                    <a:lnTo>
                      <a:pt x="69" y="94"/>
                    </a:lnTo>
                    <a:lnTo>
                      <a:pt x="67" y="96"/>
                    </a:lnTo>
                    <a:lnTo>
                      <a:pt x="67" y="94"/>
                    </a:lnTo>
                    <a:lnTo>
                      <a:pt x="65" y="94"/>
                    </a:lnTo>
                    <a:lnTo>
                      <a:pt x="63" y="96"/>
                    </a:lnTo>
                    <a:lnTo>
                      <a:pt x="61" y="96"/>
                    </a:lnTo>
                    <a:lnTo>
                      <a:pt x="61" y="98"/>
                    </a:lnTo>
                    <a:lnTo>
                      <a:pt x="61" y="100"/>
                    </a:lnTo>
                    <a:lnTo>
                      <a:pt x="59" y="98"/>
                    </a:lnTo>
                    <a:lnTo>
                      <a:pt x="57" y="96"/>
                    </a:lnTo>
                    <a:lnTo>
                      <a:pt x="57" y="94"/>
                    </a:lnTo>
                    <a:lnTo>
                      <a:pt x="57" y="93"/>
                    </a:lnTo>
                    <a:lnTo>
                      <a:pt x="59" y="91"/>
                    </a:lnTo>
                    <a:lnTo>
                      <a:pt x="57" y="91"/>
                    </a:lnTo>
                    <a:lnTo>
                      <a:pt x="56" y="91"/>
                    </a:lnTo>
                    <a:lnTo>
                      <a:pt x="56" y="89"/>
                    </a:lnTo>
                    <a:lnTo>
                      <a:pt x="56" y="87"/>
                    </a:lnTo>
                    <a:lnTo>
                      <a:pt x="54" y="87"/>
                    </a:lnTo>
                    <a:lnTo>
                      <a:pt x="54" y="85"/>
                    </a:lnTo>
                    <a:lnTo>
                      <a:pt x="54" y="83"/>
                    </a:lnTo>
                    <a:lnTo>
                      <a:pt x="54" y="81"/>
                    </a:lnTo>
                    <a:lnTo>
                      <a:pt x="56" y="79"/>
                    </a:lnTo>
                    <a:lnTo>
                      <a:pt x="54" y="77"/>
                    </a:lnTo>
                    <a:lnTo>
                      <a:pt x="56" y="77"/>
                    </a:lnTo>
                    <a:lnTo>
                      <a:pt x="56" y="75"/>
                    </a:lnTo>
                    <a:lnTo>
                      <a:pt x="56" y="73"/>
                    </a:lnTo>
                    <a:lnTo>
                      <a:pt x="54" y="73"/>
                    </a:lnTo>
                    <a:lnTo>
                      <a:pt x="52" y="71"/>
                    </a:lnTo>
                    <a:lnTo>
                      <a:pt x="50" y="69"/>
                    </a:lnTo>
                    <a:lnTo>
                      <a:pt x="50" y="68"/>
                    </a:lnTo>
                    <a:lnTo>
                      <a:pt x="48" y="68"/>
                    </a:lnTo>
                    <a:lnTo>
                      <a:pt x="48" y="69"/>
                    </a:lnTo>
                    <a:lnTo>
                      <a:pt x="46" y="68"/>
                    </a:lnTo>
                    <a:lnTo>
                      <a:pt x="44" y="66"/>
                    </a:lnTo>
                    <a:lnTo>
                      <a:pt x="44" y="64"/>
                    </a:lnTo>
                    <a:lnTo>
                      <a:pt x="44" y="62"/>
                    </a:lnTo>
                    <a:lnTo>
                      <a:pt x="46" y="62"/>
                    </a:lnTo>
                    <a:lnTo>
                      <a:pt x="44" y="60"/>
                    </a:lnTo>
                    <a:lnTo>
                      <a:pt x="48" y="54"/>
                    </a:lnTo>
                    <a:lnTo>
                      <a:pt x="44" y="52"/>
                    </a:lnTo>
                    <a:lnTo>
                      <a:pt x="42" y="52"/>
                    </a:lnTo>
                    <a:lnTo>
                      <a:pt x="40" y="52"/>
                    </a:lnTo>
                    <a:lnTo>
                      <a:pt x="38" y="54"/>
                    </a:lnTo>
                    <a:lnTo>
                      <a:pt x="38" y="52"/>
                    </a:lnTo>
                    <a:lnTo>
                      <a:pt x="36" y="52"/>
                    </a:lnTo>
                    <a:lnTo>
                      <a:pt x="34" y="52"/>
                    </a:lnTo>
                    <a:lnTo>
                      <a:pt x="32" y="52"/>
                    </a:lnTo>
                    <a:lnTo>
                      <a:pt x="32" y="54"/>
                    </a:lnTo>
                    <a:lnTo>
                      <a:pt x="32" y="52"/>
                    </a:lnTo>
                    <a:lnTo>
                      <a:pt x="31" y="54"/>
                    </a:lnTo>
                    <a:lnTo>
                      <a:pt x="29" y="54"/>
                    </a:lnTo>
                    <a:lnTo>
                      <a:pt x="27" y="54"/>
                    </a:lnTo>
                    <a:lnTo>
                      <a:pt x="27" y="52"/>
                    </a:lnTo>
                    <a:lnTo>
                      <a:pt x="27" y="54"/>
                    </a:lnTo>
                    <a:lnTo>
                      <a:pt x="25" y="54"/>
                    </a:lnTo>
                    <a:lnTo>
                      <a:pt x="23" y="56"/>
                    </a:lnTo>
                    <a:lnTo>
                      <a:pt x="21" y="56"/>
                    </a:lnTo>
                    <a:lnTo>
                      <a:pt x="19" y="56"/>
                    </a:lnTo>
                    <a:lnTo>
                      <a:pt x="19" y="54"/>
                    </a:lnTo>
                    <a:lnTo>
                      <a:pt x="17" y="54"/>
                    </a:lnTo>
                    <a:lnTo>
                      <a:pt x="15" y="54"/>
                    </a:lnTo>
                    <a:lnTo>
                      <a:pt x="15" y="52"/>
                    </a:lnTo>
                    <a:lnTo>
                      <a:pt x="13" y="52"/>
                    </a:lnTo>
                    <a:lnTo>
                      <a:pt x="13" y="50"/>
                    </a:lnTo>
                    <a:lnTo>
                      <a:pt x="13" y="52"/>
                    </a:lnTo>
                    <a:lnTo>
                      <a:pt x="11" y="52"/>
                    </a:lnTo>
                    <a:lnTo>
                      <a:pt x="13" y="52"/>
                    </a:lnTo>
                    <a:lnTo>
                      <a:pt x="11" y="52"/>
                    </a:lnTo>
                    <a:lnTo>
                      <a:pt x="9" y="52"/>
                    </a:lnTo>
                    <a:lnTo>
                      <a:pt x="7" y="52"/>
                    </a:lnTo>
                    <a:lnTo>
                      <a:pt x="6" y="52"/>
                    </a:lnTo>
                    <a:lnTo>
                      <a:pt x="4" y="52"/>
                    </a:lnTo>
                    <a:lnTo>
                      <a:pt x="4" y="54"/>
                    </a:lnTo>
                    <a:lnTo>
                      <a:pt x="2" y="52"/>
                    </a:lnTo>
                    <a:lnTo>
                      <a:pt x="2" y="54"/>
                    </a:lnTo>
                    <a:lnTo>
                      <a:pt x="2" y="52"/>
                    </a:lnTo>
                    <a:lnTo>
                      <a:pt x="4" y="52"/>
                    </a:lnTo>
                    <a:lnTo>
                      <a:pt x="2" y="52"/>
                    </a:lnTo>
                    <a:lnTo>
                      <a:pt x="0" y="52"/>
                    </a:lnTo>
                    <a:lnTo>
                      <a:pt x="2" y="50"/>
                    </a:lnTo>
                    <a:lnTo>
                      <a:pt x="2" y="48"/>
                    </a:lnTo>
                    <a:lnTo>
                      <a:pt x="2" y="46"/>
                    </a:lnTo>
                    <a:lnTo>
                      <a:pt x="4" y="46"/>
                    </a:lnTo>
                    <a:lnTo>
                      <a:pt x="6" y="46"/>
                    </a:lnTo>
                    <a:lnTo>
                      <a:pt x="6" y="44"/>
                    </a:lnTo>
                    <a:lnTo>
                      <a:pt x="4" y="44"/>
                    </a:lnTo>
                    <a:lnTo>
                      <a:pt x="6" y="44"/>
                    </a:lnTo>
                    <a:lnTo>
                      <a:pt x="6" y="43"/>
                    </a:lnTo>
                    <a:lnTo>
                      <a:pt x="4" y="43"/>
                    </a:lnTo>
                    <a:lnTo>
                      <a:pt x="2" y="43"/>
                    </a:lnTo>
                    <a:lnTo>
                      <a:pt x="2" y="41"/>
                    </a:lnTo>
                    <a:lnTo>
                      <a:pt x="2" y="39"/>
                    </a:lnTo>
                    <a:lnTo>
                      <a:pt x="2" y="37"/>
                    </a:lnTo>
                    <a:lnTo>
                      <a:pt x="2" y="35"/>
                    </a:lnTo>
                    <a:lnTo>
                      <a:pt x="4" y="35"/>
                    </a:lnTo>
                    <a:lnTo>
                      <a:pt x="4" y="33"/>
                    </a:lnTo>
                    <a:lnTo>
                      <a:pt x="6" y="33"/>
                    </a:lnTo>
                    <a:lnTo>
                      <a:pt x="7" y="31"/>
                    </a:lnTo>
                    <a:lnTo>
                      <a:pt x="7" y="29"/>
                    </a:lnTo>
                    <a:lnTo>
                      <a:pt x="7" y="27"/>
                    </a:lnTo>
                    <a:lnTo>
                      <a:pt x="9" y="27"/>
                    </a:lnTo>
                    <a:lnTo>
                      <a:pt x="9" y="25"/>
                    </a:lnTo>
                    <a:lnTo>
                      <a:pt x="7" y="25"/>
                    </a:lnTo>
                    <a:lnTo>
                      <a:pt x="7" y="23"/>
                    </a:lnTo>
                    <a:lnTo>
                      <a:pt x="6" y="23"/>
                    </a:lnTo>
                    <a:lnTo>
                      <a:pt x="4" y="23"/>
                    </a:lnTo>
                    <a:lnTo>
                      <a:pt x="6" y="23"/>
                    </a:lnTo>
                    <a:lnTo>
                      <a:pt x="6" y="21"/>
                    </a:lnTo>
                    <a:lnTo>
                      <a:pt x="4" y="21"/>
                    </a:lnTo>
                    <a:lnTo>
                      <a:pt x="4" y="19"/>
                    </a:lnTo>
                    <a:lnTo>
                      <a:pt x="2" y="19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4" y="16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7" y="12"/>
                    </a:lnTo>
                    <a:lnTo>
                      <a:pt x="7" y="10"/>
                    </a:lnTo>
                    <a:lnTo>
                      <a:pt x="7" y="12"/>
                    </a:lnTo>
                    <a:lnTo>
                      <a:pt x="7" y="10"/>
                    </a:lnTo>
                    <a:lnTo>
                      <a:pt x="9" y="12"/>
                    </a:lnTo>
                    <a:lnTo>
                      <a:pt x="11" y="12"/>
                    </a:lnTo>
                    <a:lnTo>
                      <a:pt x="13" y="12"/>
                    </a:lnTo>
                    <a:lnTo>
                      <a:pt x="13" y="14"/>
                    </a:lnTo>
                    <a:lnTo>
                      <a:pt x="15" y="12"/>
                    </a:lnTo>
                    <a:lnTo>
                      <a:pt x="17" y="12"/>
                    </a:lnTo>
                    <a:lnTo>
                      <a:pt x="17" y="14"/>
                    </a:lnTo>
                    <a:lnTo>
                      <a:pt x="17" y="12"/>
                    </a:lnTo>
                    <a:lnTo>
                      <a:pt x="17" y="10"/>
                    </a:lnTo>
                    <a:lnTo>
                      <a:pt x="15" y="10"/>
                    </a:lnTo>
                    <a:lnTo>
                      <a:pt x="15" y="8"/>
                    </a:lnTo>
                    <a:lnTo>
                      <a:pt x="17" y="8"/>
                    </a:lnTo>
                    <a:lnTo>
                      <a:pt x="17" y="6"/>
                    </a:lnTo>
                    <a:lnTo>
                      <a:pt x="17" y="8"/>
                    </a:lnTo>
                    <a:lnTo>
                      <a:pt x="19" y="8"/>
                    </a:lnTo>
                    <a:lnTo>
                      <a:pt x="21" y="4"/>
                    </a:lnTo>
                    <a:lnTo>
                      <a:pt x="21" y="2"/>
                    </a:lnTo>
                    <a:lnTo>
                      <a:pt x="23" y="2"/>
                    </a:lnTo>
                    <a:lnTo>
                      <a:pt x="21" y="2"/>
                    </a:lnTo>
                    <a:lnTo>
                      <a:pt x="23" y="2"/>
                    </a:lnTo>
                    <a:lnTo>
                      <a:pt x="23" y="0"/>
                    </a:lnTo>
                    <a:lnTo>
                      <a:pt x="25" y="0"/>
                    </a:lnTo>
                    <a:lnTo>
                      <a:pt x="27" y="2"/>
                    </a:lnTo>
                    <a:lnTo>
                      <a:pt x="29" y="2"/>
                    </a:lnTo>
                    <a:lnTo>
                      <a:pt x="31" y="2"/>
                    </a:lnTo>
                    <a:lnTo>
                      <a:pt x="32" y="2"/>
                    </a:lnTo>
                    <a:lnTo>
                      <a:pt x="34" y="2"/>
                    </a:lnTo>
                    <a:lnTo>
                      <a:pt x="34" y="4"/>
                    </a:lnTo>
                    <a:lnTo>
                      <a:pt x="34" y="2"/>
                    </a:lnTo>
                    <a:lnTo>
                      <a:pt x="36" y="0"/>
                    </a:lnTo>
                    <a:lnTo>
                      <a:pt x="40" y="2"/>
                    </a:lnTo>
                    <a:lnTo>
                      <a:pt x="40" y="4"/>
                    </a:lnTo>
                    <a:lnTo>
                      <a:pt x="42" y="4"/>
                    </a:lnTo>
                    <a:lnTo>
                      <a:pt x="40" y="6"/>
                    </a:lnTo>
                    <a:lnTo>
                      <a:pt x="42" y="6"/>
                    </a:lnTo>
                    <a:lnTo>
                      <a:pt x="42" y="4"/>
                    </a:lnTo>
                    <a:lnTo>
                      <a:pt x="44" y="6"/>
                    </a:lnTo>
                    <a:lnTo>
                      <a:pt x="46" y="6"/>
                    </a:lnTo>
                    <a:lnTo>
                      <a:pt x="48" y="6"/>
                    </a:lnTo>
                    <a:lnTo>
                      <a:pt x="48" y="4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48" y="6"/>
                    </a:lnTo>
                    <a:lnTo>
                      <a:pt x="50" y="6"/>
                    </a:lnTo>
                    <a:lnTo>
                      <a:pt x="48" y="6"/>
                    </a:lnTo>
                    <a:lnTo>
                      <a:pt x="48" y="8"/>
                    </a:lnTo>
                    <a:lnTo>
                      <a:pt x="50" y="8"/>
                    </a:lnTo>
                    <a:lnTo>
                      <a:pt x="50" y="10"/>
                    </a:lnTo>
                    <a:lnTo>
                      <a:pt x="52" y="10"/>
                    </a:lnTo>
                    <a:lnTo>
                      <a:pt x="54" y="10"/>
                    </a:lnTo>
                    <a:lnTo>
                      <a:pt x="52" y="10"/>
                    </a:lnTo>
                    <a:lnTo>
                      <a:pt x="52" y="12"/>
                    </a:lnTo>
                    <a:lnTo>
                      <a:pt x="54" y="10"/>
                    </a:lnTo>
                    <a:lnTo>
                      <a:pt x="56" y="12"/>
                    </a:lnTo>
                    <a:lnTo>
                      <a:pt x="56" y="10"/>
                    </a:lnTo>
                    <a:lnTo>
                      <a:pt x="56" y="12"/>
                    </a:lnTo>
                    <a:lnTo>
                      <a:pt x="56" y="14"/>
                    </a:lnTo>
                    <a:lnTo>
                      <a:pt x="57" y="14"/>
                    </a:lnTo>
                    <a:lnTo>
                      <a:pt x="57" y="12"/>
                    </a:lnTo>
                    <a:lnTo>
                      <a:pt x="57" y="14"/>
                    </a:lnTo>
                    <a:lnTo>
                      <a:pt x="59" y="14"/>
                    </a:lnTo>
                    <a:lnTo>
                      <a:pt x="59" y="16"/>
                    </a:lnTo>
                    <a:lnTo>
                      <a:pt x="59" y="18"/>
                    </a:lnTo>
                    <a:lnTo>
                      <a:pt x="57" y="18"/>
                    </a:lnTo>
                    <a:lnTo>
                      <a:pt x="56" y="19"/>
                    </a:lnTo>
                    <a:lnTo>
                      <a:pt x="56" y="21"/>
                    </a:lnTo>
                    <a:lnTo>
                      <a:pt x="56" y="23"/>
                    </a:lnTo>
                    <a:lnTo>
                      <a:pt x="57" y="21"/>
                    </a:lnTo>
                    <a:lnTo>
                      <a:pt x="59" y="23"/>
                    </a:lnTo>
                    <a:lnTo>
                      <a:pt x="61" y="23"/>
                    </a:lnTo>
                    <a:lnTo>
                      <a:pt x="61" y="21"/>
                    </a:lnTo>
                    <a:lnTo>
                      <a:pt x="63" y="21"/>
                    </a:lnTo>
                    <a:lnTo>
                      <a:pt x="63" y="23"/>
                    </a:lnTo>
                    <a:lnTo>
                      <a:pt x="65" y="21"/>
                    </a:lnTo>
                    <a:lnTo>
                      <a:pt x="67" y="21"/>
                    </a:lnTo>
                    <a:lnTo>
                      <a:pt x="67" y="23"/>
                    </a:lnTo>
                    <a:lnTo>
                      <a:pt x="69" y="23"/>
                    </a:lnTo>
                    <a:lnTo>
                      <a:pt x="69" y="21"/>
                    </a:lnTo>
                    <a:lnTo>
                      <a:pt x="71" y="21"/>
                    </a:lnTo>
                    <a:lnTo>
                      <a:pt x="71" y="19"/>
                    </a:lnTo>
                    <a:lnTo>
                      <a:pt x="73" y="21"/>
                    </a:lnTo>
                    <a:lnTo>
                      <a:pt x="75" y="19"/>
                    </a:lnTo>
                    <a:lnTo>
                      <a:pt x="77" y="19"/>
                    </a:lnTo>
                    <a:lnTo>
                      <a:pt x="77" y="18"/>
                    </a:lnTo>
                    <a:lnTo>
                      <a:pt x="79" y="19"/>
                    </a:lnTo>
                    <a:lnTo>
                      <a:pt x="80" y="19"/>
                    </a:lnTo>
                    <a:lnTo>
                      <a:pt x="80" y="18"/>
                    </a:lnTo>
                    <a:lnTo>
                      <a:pt x="82" y="19"/>
                    </a:lnTo>
                    <a:lnTo>
                      <a:pt x="80" y="19"/>
                    </a:lnTo>
                    <a:lnTo>
                      <a:pt x="82" y="19"/>
                    </a:lnTo>
                    <a:lnTo>
                      <a:pt x="80" y="21"/>
                    </a:lnTo>
                    <a:lnTo>
                      <a:pt x="82" y="21"/>
                    </a:lnTo>
                    <a:lnTo>
                      <a:pt x="80" y="21"/>
                    </a:lnTo>
                    <a:lnTo>
                      <a:pt x="82" y="21"/>
                    </a:lnTo>
                    <a:lnTo>
                      <a:pt x="82" y="23"/>
                    </a:lnTo>
                    <a:lnTo>
                      <a:pt x="84" y="21"/>
                    </a:lnTo>
                    <a:lnTo>
                      <a:pt x="84" y="23"/>
                    </a:lnTo>
                    <a:lnTo>
                      <a:pt x="82" y="25"/>
                    </a:lnTo>
                    <a:lnTo>
                      <a:pt x="84" y="25"/>
                    </a:lnTo>
                    <a:lnTo>
                      <a:pt x="86" y="23"/>
                    </a:lnTo>
                    <a:lnTo>
                      <a:pt x="88" y="23"/>
                    </a:lnTo>
                    <a:lnTo>
                      <a:pt x="88" y="25"/>
                    </a:lnTo>
                    <a:lnTo>
                      <a:pt x="90" y="25"/>
                    </a:lnTo>
                    <a:lnTo>
                      <a:pt x="92" y="25"/>
                    </a:lnTo>
                    <a:lnTo>
                      <a:pt x="92" y="23"/>
                    </a:lnTo>
                    <a:lnTo>
                      <a:pt x="92" y="25"/>
                    </a:lnTo>
                    <a:lnTo>
                      <a:pt x="94" y="23"/>
                    </a:lnTo>
                    <a:lnTo>
                      <a:pt x="92" y="21"/>
                    </a:lnTo>
                    <a:lnTo>
                      <a:pt x="94" y="21"/>
                    </a:lnTo>
                    <a:lnTo>
                      <a:pt x="96" y="21"/>
                    </a:lnTo>
                    <a:lnTo>
                      <a:pt x="96" y="19"/>
                    </a:lnTo>
                    <a:lnTo>
                      <a:pt x="98" y="19"/>
                    </a:lnTo>
                    <a:lnTo>
                      <a:pt x="100" y="18"/>
                    </a:lnTo>
                    <a:lnTo>
                      <a:pt x="102" y="18"/>
                    </a:lnTo>
                    <a:lnTo>
                      <a:pt x="102" y="19"/>
                    </a:lnTo>
                    <a:lnTo>
                      <a:pt x="100" y="19"/>
                    </a:lnTo>
                    <a:lnTo>
                      <a:pt x="102" y="21"/>
                    </a:lnTo>
                    <a:lnTo>
                      <a:pt x="102" y="23"/>
                    </a:lnTo>
                    <a:lnTo>
                      <a:pt x="104" y="21"/>
                    </a:lnTo>
                    <a:lnTo>
                      <a:pt x="102" y="23"/>
                    </a:lnTo>
                    <a:lnTo>
                      <a:pt x="104" y="23"/>
                    </a:lnTo>
                    <a:lnTo>
                      <a:pt x="104" y="21"/>
                    </a:lnTo>
                    <a:lnTo>
                      <a:pt x="107" y="21"/>
                    </a:lnTo>
                    <a:lnTo>
                      <a:pt x="109" y="21"/>
                    </a:lnTo>
                    <a:lnTo>
                      <a:pt x="109" y="23"/>
                    </a:lnTo>
                    <a:lnTo>
                      <a:pt x="111" y="23"/>
                    </a:lnTo>
                    <a:lnTo>
                      <a:pt x="113" y="23"/>
                    </a:lnTo>
                    <a:lnTo>
                      <a:pt x="115" y="25"/>
                    </a:lnTo>
                    <a:lnTo>
                      <a:pt x="113" y="27"/>
                    </a:lnTo>
                    <a:lnTo>
                      <a:pt x="115" y="27"/>
                    </a:lnTo>
                    <a:lnTo>
                      <a:pt x="113" y="27"/>
                    </a:lnTo>
                    <a:lnTo>
                      <a:pt x="115" y="27"/>
                    </a:lnTo>
                    <a:lnTo>
                      <a:pt x="115" y="29"/>
                    </a:lnTo>
                    <a:lnTo>
                      <a:pt x="113" y="29"/>
                    </a:lnTo>
                    <a:lnTo>
                      <a:pt x="113" y="31"/>
                    </a:lnTo>
                    <a:lnTo>
                      <a:pt x="115" y="31"/>
                    </a:lnTo>
                    <a:lnTo>
                      <a:pt x="117" y="31"/>
                    </a:lnTo>
                    <a:lnTo>
                      <a:pt x="119" y="31"/>
                    </a:lnTo>
                    <a:lnTo>
                      <a:pt x="119" y="29"/>
                    </a:lnTo>
                    <a:lnTo>
                      <a:pt x="119" y="27"/>
                    </a:lnTo>
                    <a:lnTo>
                      <a:pt x="119" y="25"/>
                    </a:lnTo>
                    <a:lnTo>
                      <a:pt x="121" y="25"/>
                    </a:lnTo>
                    <a:lnTo>
                      <a:pt x="121" y="27"/>
                    </a:lnTo>
                    <a:lnTo>
                      <a:pt x="123" y="27"/>
                    </a:lnTo>
                    <a:lnTo>
                      <a:pt x="123" y="25"/>
                    </a:lnTo>
                    <a:lnTo>
                      <a:pt x="121" y="23"/>
                    </a:lnTo>
                    <a:lnTo>
                      <a:pt x="123" y="23"/>
                    </a:lnTo>
                    <a:lnTo>
                      <a:pt x="123" y="21"/>
                    </a:lnTo>
                    <a:lnTo>
                      <a:pt x="125" y="21"/>
                    </a:lnTo>
                    <a:lnTo>
                      <a:pt x="125" y="19"/>
                    </a:lnTo>
                    <a:lnTo>
                      <a:pt x="127" y="21"/>
                    </a:lnTo>
                    <a:lnTo>
                      <a:pt x="127" y="19"/>
                    </a:lnTo>
                    <a:lnTo>
                      <a:pt x="129" y="19"/>
                    </a:lnTo>
                    <a:lnTo>
                      <a:pt x="130" y="19"/>
                    </a:lnTo>
                    <a:lnTo>
                      <a:pt x="130" y="21"/>
                    </a:lnTo>
                    <a:lnTo>
                      <a:pt x="130" y="23"/>
                    </a:lnTo>
                    <a:lnTo>
                      <a:pt x="129" y="23"/>
                    </a:lnTo>
                    <a:lnTo>
                      <a:pt x="129" y="25"/>
                    </a:lnTo>
                    <a:lnTo>
                      <a:pt x="127" y="25"/>
                    </a:lnTo>
                    <a:lnTo>
                      <a:pt x="127" y="27"/>
                    </a:lnTo>
                    <a:lnTo>
                      <a:pt x="127" y="29"/>
                    </a:lnTo>
                    <a:lnTo>
                      <a:pt x="125" y="29"/>
                    </a:lnTo>
                    <a:lnTo>
                      <a:pt x="125" y="31"/>
                    </a:lnTo>
                    <a:lnTo>
                      <a:pt x="123" y="31"/>
                    </a:lnTo>
                    <a:lnTo>
                      <a:pt x="125" y="31"/>
                    </a:lnTo>
                    <a:lnTo>
                      <a:pt x="127" y="31"/>
                    </a:lnTo>
                    <a:lnTo>
                      <a:pt x="125" y="31"/>
                    </a:lnTo>
                    <a:lnTo>
                      <a:pt x="125" y="33"/>
                    </a:lnTo>
                    <a:lnTo>
                      <a:pt x="125" y="35"/>
                    </a:lnTo>
                    <a:lnTo>
                      <a:pt x="125" y="33"/>
                    </a:lnTo>
                    <a:lnTo>
                      <a:pt x="125" y="35"/>
                    </a:lnTo>
                    <a:lnTo>
                      <a:pt x="125" y="33"/>
                    </a:lnTo>
                    <a:lnTo>
                      <a:pt x="125" y="35"/>
                    </a:lnTo>
                    <a:lnTo>
                      <a:pt x="125" y="37"/>
                    </a:lnTo>
                    <a:lnTo>
                      <a:pt x="123" y="37"/>
                    </a:lnTo>
                    <a:lnTo>
                      <a:pt x="123" y="39"/>
                    </a:lnTo>
                    <a:lnTo>
                      <a:pt x="125" y="39"/>
                    </a:lnTo>
                    <a:lnTo>
                      <a:pt x="125" y="41"/>
                    </a:lnTo>
                    <a:lnTo>
                      <a:pt x="127" y="41"/>
                    </a:lnTo>
                    <a:lnTo>
                      <a:pt x="127" y="43"/>
                    </a:lnTo>
                    <a:lnTo>
                      <a:pt x="129" y="43"/>
                    </a:lnTo>
                    <a:lnTo>
                      <a:pt x="129" y="41"/>
                    </a:lnTo>
                    <a:lnTo>
                      <a:pt x="127" y="41"/>
                    </a:lnTo>
                    <a:lnTo>
                      <a:pt x="129" y="41"/>
                    </a:lnTo>
                    <a:lnTo>
                      <a:pt x="130" y="41"/>
                    </a:lnTo>
                    <a:lnTo>
                      <a:pt x="130" y="43"/>
                    </a:lnTo>
                    <a:lnTo>
                      <a:pt x="130" y="41"/>
                    </a:lnTo>
                    <a:lnTo>
                      <a:pt x="130" y="43"/>
                    </a:lnTo>
                    <a:lnTo>
                      <a:pt x="132" y="43"/>
                    </a:lnTo>
                    <a:lnTo>
                      <a:pt x="134" y="43"/>
                    </a:lnTo>
                    <a:lnTo>
                      <a:pt x="134" y="41"/>
                    </a:lnTo>
                    <a:lnTo>
                      <a:pt x="134" y="43"/>
                    </a:lnTo>
                    <a:lnTo>
                      <a:pt x="136" y="43"/>
                    </a:lnTo>
                    <a:lnTo>
                      <a:pt x="134" y="44"/>
                    </a:lnTo>
                    <a:lnTo>
                      <a:pt x="136" y="44"/>
                    </a:lnTo>
                    <a:lnTo>
                      <a:pt x="136" y="46"/>
                    </a:lnTo>
                    <a:lnTo>
                      <a:pt x="134" y="46"/>
                    </a:lnTo>
                    <a:lnTo>
                      <a:pt x="136" y="46"/>
                    </a:lnTo>
                    <a:lnTo>
                      <a:pt x="136" y="48"/>
                    </a:lnTo>
                    <a:lnTo>
                      <a:pt x="134" y="48"/>
                    </a:lnTo>
                    <a:lnTo>
                      <a:pt x="136" y="48"/>
                    </a:lnTo>
                    <a:lnTo>
                      <a:pt x="136" y="50"/>
                    </a:lnTo>
                    <a:lnTo>
                      <a:pt x="134" y="50"/>
                    </a:lnTo>
                    <a:lnTo>
                      <a:pt x="136" y="52"/>
                    </a:lnTo>
                    <a:lnTo>
                      <a:pt x="134" y="52"/>
                    </a:lnTo>
                    <a:lnTo>
                      <a:pt x="132" y="52"/>
                    </a:lnTo>
                    <a:lnTo>
                      <a:pt x="134" y="52"/>
                    </a:lnTo>
                    <a:lnTo>
                      <a:pt x="134" y="54"/>
                    </a:lnTo>
                    <a:lnTo>
                      <a:pt x="132" y="54"/>
                    </a:lnTo>
                    <a:lnTo>
                      <a:pt x="134" y="54"/>
                    </a:lnTo>
                    <a:lnTo>
                      <a:pt x="132" y="54"/>
                    </a:lnTo>
                    <a:lnTo>
                      <a:pt x="132" y="56"/>
                    </a:lnTo>
                    <a:lnTo>
                      <a:pt x="134" y="56"/>
                    </a:lnTo>
                    <a:lnTo>
                      <a:pt x="136" y="56"/>
                    </a:lnTo>
                    <a:lnTo>
                      <a:pt x="136" y="58"/>
                    </a:lnTo>
                    <a:lnTo>
                      <a:pt x="138" y="58"/>
                    </a:lnTo>
                    <a:lnTo>
                      <a:pt x="138" y="60"/>
                    </a:lnTo>
                    <a:lnTo>
                      <a:pt x="140" y="60"/>
                    </a:lnTo>
                    <a:lnTo>
                      <a:pt x="140" y="62"/>
                    </a:lnTo>
                    <a:lnTo>
                      <a:pt x="140" y="64"/>
                    </a:lnTo>
                    <a:lnTo>
                      <a:pt x="138" y="64"/>
                    </a:lnTo>
                    <a:lnTo>
                      <a:pt x="138" y="66"/>
                    </a:lnTo>
                    <a:lnTo>
                      <a:pt x="140" y="66"/>
                    </a:lnTo>
                    <a:lnTo>
                      <a:pt x="140" y="68"/>
                    </a:lnTo>
                    <a:lnTo>
                      <a:pt x="138" y="69"/>
                    </a:lnTo>
                    <a:lnTo>
                      <a:pt x="136" y="71"/>
                    </a:lnTo>
                    <a:lnTo>
                      <a:pt x="134" y="73"/>
                    </a:lnTo>
                    <a:lnTo>
                      <a:pt x="134" y="75"/>
                    </a:lnTo>
                    <a:lnTo>
                      <a:pt x="134" y="7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103">
                <a:extLst>
                  <a:ext uri="{FF2B5EF4-FFF2-40B4-BE49-F238E27FC236}">
                    <a16:creationId xmlns="" xmlns:a16="http://schemas.microsoft.com/office/drawing/2014/main" id="{5A9B2781-216C-42B7-8CE3-733D2D4DE6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6138" y="3702051"/>
                <a:ext cx="250825" cy="176213"/>
              </a:xfrm>
              <a:custGeom>
                <a:avLst/>
                <a:gdLst>
                  <a:gd name="T0" fmla="*/ 158 w 158"/>
                  <a:gd name="T1" fmla="*/ 46 h 111"/>
                  <a:gd name="T2" fmla="*/ 158 w 158"/>
                  <a:gd name="T3" fmla="*/ 61 h 111"/>
                  <a:gd name="T4" fmla="*/ 152 w 158"/>
                  <a:gd name="T5" fmla="*/ 71 h 111"/>
                  <a:gd name="T6" fmla="*/ 148 w 158"/>
                  <a:gd name="T7" fmla="*/ 80 h 111"/>
                  <a:gd name="T8" fmla="*/ 146 w 158"/>
                  <a:gd name="T9" fmla="*/ 86 h 111"/>
                  <a:gd name="T10" fmla="*/ 150 w 158"/>
                  <a:gd name="T11" fmla="*/ 98 h 111"/>
                  <a:gd name="T12" fmla="*/ 143 w 158"/>
                  <a:gd name="T13" fmla="*/ 102 h 111"/>
                  <a:gd name="T14" fmla="*/ 135 w 158"/>
                  <a:gd name="T15" fmla="*/ 102 h 111"/>
                  <a:gd name="T16" fmla="*/ 125 w 158"/>
                  <a:gd name="T17" fmla="*/ 100 h 111"/>
                  <a:gd name="T18" fmla="*/ 112 w 158"/>
                  <a:gd name="T19" fmla="*/ 107 h 111"/>
                  <a:gd name="T20" fmla="*/ 104 w 158"/>
                  <a:gd name="T21" fmla="*/ 109 h 111"/>
                  <a:gd name="T22" fmla="*/ 95 w 158"/>
                  <a:gd name="T23" fmla="*/ 105 h 111"/>
                  <a:gd name="T24" fmla="*/ 89 w 158"/>
                  <a:gd name="T25" fmla="*/ 96 h 111"/>
                  <a:gd name="T26" fmla="*/ 79 w 158"/>
                  <a:gd name="T27" fmla="*/ 92 h 111"/>
                  <a:gd name="T28" fmla="*/ 71 w 158"/>
                  <a:gd name="T29" fmla="*/ 92 h 111"/>
                  <a:gd name="T30" fmla="*/ 68 w 158"/>
                  <a:gd name="T31" fmla="*/ 100 h 111"/>
                  <a:gd name="T32" fmla="*/ 64 w 158"/>
                  <a:gd name="T33" fmla="*/ 104 h 111"/>
                  <a:gd name="T34" fmla="*/ 58 w 158"/>
                  <a:gd name="T35" fmla="*/ 102 h 111"/>
                  <a:gd name="T36" fmla="*/ 50 w 158"/>
                  <a:gd name="T37" fmla="*/ 94 h 111"/>
                  <a:gd name="T38" fmla="*/ 48 w 158"/>
                  <a:gd name="T39" fmla="*/ 84 h 111"/>
                  <a:gd name="T40" fmla="*/ 46 w 158"/>
                  <a:gd name="T41" fmla="*/ 73 h 111"/>
                  <a:gd name="T42" fmla="*/ 37 w 158"/>
                  <a:gd name="T43" fmla="*/ 61 h 111"/>
                  <a:gd name="T44" fmla="*/ 27 w 158"/>
                  <a:gd name="T45" fmla="*/ 65 h 111"/>
                  <a:gd name="T46" fmla="*/ 23 w 158"/>
                  <a:gd name="T47" fmla="*/ 71 h 111"/>
                  <a:gd name="T48" fmla="*/ 12 w 158"/>
                  <a:gd name="T49" fmla="*/ 67 h 111"/>
                  <a:gd name="T50" fmla="*/ 10 w 158"/>
                  <a:gd name="T51" fmla="*/ 65 h 111"/>
                  <a:gd name="T52" fmla="*/ 8 w 158"/>
                  <a:gd name="T53" fmla="*/ 63 h 111"/>
                  <a:gd name="T54" fmla="*/ 4 w 158"/>
                  <a:gd name="T55" fmla="*/ 67 h 111"/>
                  <a:gd name="T56" fmla="*/ 0 w 158"/>
                  <a:gd name="T57" fmla="*/ 57 h 111"/>
                  <a:gd name="T58" fmla="*/ 10 w 158"/>
                  <a:gd name="T59" fmla="*/ 44 h 111"/>
                  <a:gd name="T60" fmla="*/ 14 w 158"/>
                  <a:gd name="T61" fmla="*/ 44 h 111"/>
                  <a:gd name="T62" fmla="*/ 21 w 158"/>
                  <a:gd name="T63" fmla="*/ 44 h 111"/>
                  <a:gd name="T64" fmla="*/ 18 w 158"/>
                  <a:gd name="T65" fmla="*/ 34 h 111"/>
                  <a:gd name="T66" fmla="*/ 10 w 158"/>
                  <a:gd name="T67" fmla="*/ 34 h 111"/>
                  <a:gd name="T68" fmla="*/ 14 w 158"/>
                  <a:gd name="T69" fmla="*/ 32 h 111"/>
                  <a:gd name="T70" fmla="*/ 27 w 158"/>
                  <a:gd name="T71" fmla="*/ 29 h 111"/>
                  <a:gd name="T72" fmla="*/ 33 w 158"/>
                  <a:gd name="T73" fmla="*/ 23 h 111"/>
                  <a:gd name="T74" fmla="*/ 37 w 158"/>
                  <a:gd name="T75" fmla="*/ 15 h 111"/>
                  <a:gd name="T76" fmla="*/ 41 w 158"/>
                  <a:gd name="T77" fmla="*/ 9 h 111"/>
                  <a:gd name="T78" fmla="*/ 37 w 158"/>
                  <a:gd name="T79" fmla="*/ 5 h 111"/>
                  <a:gd name="T80" fmla="*/ 41 w 158"/>
                  <a:gd name="T81" fmla="*/ 2 h 111"/>
                  <a:gd name="T82" fmla="*/ 46 w 158"/>
                  <a:gd name="T83" fmla="*/ 5 h 111"/>
                  <a:gd name="T84" fmla="*/ 50 w 158"/>
                  <a:gd name="T85" fmla="*/ 11 h 111"/>
                  <a:gd name="T86" fmla="*/ 60 w 158"/>
                  <a:gd name="T87" fmla="*/ 9 h 111"/>
                  <a:gd name="T88" fmla="*/ 71 w 158"/>
                  <a:gd name="T89" fmla="*/ 7 h 111"/>
                  <a:gd name="T90" fmla="*/ 77 w 158"/>
                  <a:gd name="T91" fmla="*/ 23 h 111"/>
                  <a:gd name="T92" fmla="*/ 81 w 158"/>
                  <a:gd name="T93" fmla="*/ 30 h 111"/>
                  <a:gd name="T94" fmla="*/ 83 w 158"/>
                  <a:gd name="T95" fmla="*/ 40 h 111"/>
                  <a:gd name="T96" fmla="*/ 91 w 158"/>
                  <a:gd name="T97" fmla="*/ 54 h 111"/>
                  <a:gd name="T98" fmla="*/ 93 w 158"/>
                  <a:gd name="T99" fmla="*/ 57 h 111"/>
                  <a:gd name="T100" fmla="*/ 104 w 158"/>
                  <a:gd name="T101" fmla="*/ 65 h 111"/>
                  <a:gd name="T102" fmla="*/ 108 w 158"/>
                  <a:gd name="T103" fmla="*/ 57 h 111"/>
                  <a:gd name="T104" fmla="*/ 116 w 158"/>
                  <a:gd name="T105" fmla="*/ 48 h 111"/>
                  <a:gd name="T106" fmla="*/ 127 w 158"/>
                  <a:gd name="T107" fmla="*/ 46 h 111"/>
                  <a:gd name="T108" fmla="*/ 137 w 158"/>
                  <a:gd name="T109" fmla="*/ 34 h 111"/>
                  <a:gd name="T110" fmla="*/ 148 w 158"/>
                  <a:gd name="T111" fmla="*/ 34 h 111"/>
                  <a:gd name="T112" fmla="*/ 141 w 158"/>
                  <a:gd name="T113" fmla="*/ 46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8" h="111">
                    <a:moveTo>
                      <a:pt x="152" y="46"/>
                    </a:moveTo>
                    <a:lnTo>
                      <a:pt x="154" y="48"/>
                    </a:lnTo>
                    <a:lnTo>
                      <a:pt x="154" y="50"/>
                    </a:lnTo>
                    <a:lnTo>
                      <a:pt x="152" y="52"/>
                    </a:lnTo>
                    <a:lnTo>
                      <a:pt x="154" y="52"/>
                    </a:lnTo>
                    <a:lnTo>
                      <a:pt x="156" y="50"/>
                    </a:lnTo>
                    <a:lnTo>
                      <a:pt x="158" y="48"/>
                    </a:lnTo>
                    <a:lnTo>
                      <a:pt x="156" y="48"/>
                    </a:lnTo>
                    <a:lnTo>
                      <a:pt x="158" y="48"/>
                    </a:lnTo>
                    <a:lnTo>
                      <a:pt x="158" y="46"/>
                    </a:lnTo>
                    <a:lnTo>
                      <a:pt x="158" y="48"/>
                    </a:lnTo>
                    <a:lnTo>
                      <a:pt x="158" y="50"/>
                    </a:lnTo>
                    <a:lnTo>
                      <a:pt x="158" y="52"/>
                    </a:lnTo>
                    <a:lnTo>
                      <a:pt x="158" y="54"/>
                    </a:lnTo>
                    <a:lnTo>
                      <a:pt x="156" y="54"/>
                    </a:lnTo>
                    <a:lnTo>
                      <a:pt x="156" y="55"/>
                    </a:lnTo>
                    <a:lnTo>
                      <a:pt x="156" y="57"/>
                    </a:lnTo>
                    <a:lnTo>
                      <a:pt x="156" y="59"/>
                    </a:lnTo>
                    <a:lnTo>
                      <a:pt x="158" y="59"/>
                    </a:lnTo>
                    <a:lnTo>
                      <a:pt x="158" y="61"/>
                    </a:lnTo>
                    <a:lnTo>
                      <a:pt x="158" y="63"/>
                    </a:lnTo>
                    <a:lnTo>
                      <a:pt x="156" y="63"/>
                    </a:lnTo>
                    <a:lnTo>
                      <a:pt x="156" y="65"/>
                    </a:lnTo>
                    <a:lnTo>
                      <a:pt x="154" y="67"/>
                    </a:lnTo>
                    <a:lnTo>
                      <a:pt x="156" y="69"/>
                    </a:lnTo>
                    <a:lnTo>
                      <a:pt x="154" y="69"/>
                    </a:lnTo>
                    <a:lnTo>
                      <a:pt x="154" y="71"/>
                    </a:lnTo>
                    <a:lnTo>
                      <a:pt x="152" y="71"/>
                    </a:lnTo>
                    <a:lnTo>
                      <a:pt x="154" y="71"/>
                    </a:lnTo>
                    <a:lnTo>
                      <a:pt x="152" y="71"/>
                    </a:lnTo>
                    <a:lnTo>
                      <a:pt x="154" y="71"/>
                    </a:lnTo>
                    <a:lnTo>
                      <a:pt x="154" y="73"/>
                    </a:lnTo>
                    <a:lnTo>
                      <a:pt x="152" y="73"/>
                    </a:lnTo>
                    <a:lnTo>
                      <a:pt x="152" y="75"/>
                    </a:lnTo>
                    <a:lnTo>
                      <a:pt x="154" y="77"/>
                    </a:lnTo>
                    <a:lnTo>
                      <a:pt x="154" y="79"/>
                    </a:lnTo>
                    <a:lnTo>
                      <a:pt x="152" y="79"/>
                    </a:lnTo>
                    <a:lnTo>
                      <a:pt x="150" y="79"/>
                    </a:lnTo>
                    <a:lnTo>
                      <a:pt x="150" y="80"/>
                    </a:lnTo>
                    <a:lnTo>
                      <a:pt x="148" y="80"/>
                    </a:lnTo>
                    <a:lnTo>
                      <a:pt x="148" y="82"/>
                    </a:lnTo>
                    <a:lnTo>
                      <a:pt x="148" y="80"/>
                    </a:lnTo>
                    <a:lnTo>
                      <a:pt x="148" y="82"/>
                    </a:lnTo>
                    <a:lnTo>
                      <a:pt x="150" y="82"/>
                    </a:lnTo>
                    <a:lnTo>
                      <a:pt x="152" y="82"/>
                    </a:lnTo>
                    <a:lnTo>
                      <a:pt x="150" y="82"/>
                    </a:lnTo>
                    <a:lnTo>
                      <a:pt x="150" y="84"/>
                    </a:lnTo>
                    <a:lnTo>
                      <a:pt x="150" y="86"/>
                    </a:lnTo>
                    <a:lnTo>
                      <a:pt x="148" y="86"/>
                    </a:lnTo>
                    <a:lnTo>
                      <a:pt x="146" y="86"/>
                    </a:lnTo>
                    <a:lnTo>
                      <a:pt x="146" y="88"/>
                    </a:lnTo>
                    <a:lnTo>
                      <a:pt x="148" y="88"/>
                    </a:lnTo>
                    <a:lnTo>
                      <a:pt x="150" y="88"/>
                    </a:lnTo>
                    <a:lnTo>
                      <a:pt x="148" y="88"/>
                    </a:lnTo>
                    <a:lnTo>
                      <a:pt x="148" y="90"/>
                    </a:lnTo>
                    <a:lnTo>
                      <a:pt x="148" y="92"/>
                    </a:lnTo>
                    <a:lnTo>
                      <a:pt x="148" y="94"/>
                    </a:lnTo>
                    <a:lnTo>
                      <a:pt x="148" y="96"/>
                    </a:lnTo>
                    <a:lnTo>
                      <a:pt x="150" y="96"/>
                    </a:lnTo>
                    <a:lnTo>
                      <a:pt x="150" y="98"/>
                    </a:lnTo>
                    <a:lnTo>
                      <a:pt x="150" y="96"/>
                    </a:lnTo>
                    <a:lnTo>
                      <a:pt x="150" y="98"/>
                    </a:lnTo>
                    <a:lnTo>
                      <a:pt x="148" y="100"/>
                    </a:lnTo>
                    <a:lnTo>
                      <a:pt x="148" y="102"/>
                    </a:lnTo>
                    <a:lnTo>
                      <a:pt x="146" y="102"/>
                    </a:lnTo>
                    <a:lnTo>
                      <a:pt x="144" y="102"/>
                    </a:lnTo>
                    <a:lnTo>
                      <a:pt x="144" y="100"/>
                    </a:lnTo>
                    <a:lnTo>
                      <a:pt x="144" y="102"/>
                    </a:lnTo>
                    <a:lnTo>
                      <a:pt x="143" y="100"/>
                    </a:lnTo>
                    <a:lnTo>
                      <a:pt x="143" y="102"/>
                    </a:lnTo>
                    <a:lnTo>
                      <a:pt x="141" y="102"/>
                    </a:lnTo>
                    <a:lnTo>
                      <a:pt x="143" y="102"/>
                    </a:lnTo>
                    <a:lnTo>
                      <a:pt x="141" y="102"/>
                    </a:lnTo>
                    <a:lnTo>
                      <a:pt x="139" y="102"/>
                    </a:lnTo>
                    <a:lnTo>
                      <a:pt x="139" y="100"/>
                    </a:lnTo>
                    <a:lnTo>
                      <a:pt x="139" y="102"/>
                    </a:lnTo>
                    <a:lnTo>
                      <a:pt x="137" y="102"/>
                    </a:lnTo>
                    <a:lnTo>
                      <a:pt x="137" y="104"/>
                    </a:lnTo>
                    <a:lnTo>
                      <a:pt x="137" y="102"/>
                    </a:lnTo>
                    <a:lnTo>
                      <a:pt x="135" y="102"/>
                    </a:lnTo>
                    <a:lnTo>
                      <a:pt x="135" y="104"/>
                    </a:lnTo>
                    <a:lnTo>
                      <a:pt x="133" y="104"/>
                    </a:lnTo>
                    <a:lnTo>
                      <a:pt x="133" y="102"/>
                    </a:lnTo>
                    <a:lnTo>
                      <a:pt x="133" y="104"/>
                    </a:lnTo>
                    <a:lnTo>
                      <a:pt x="133" y="102"/>
                    </a:lnTo>
                    <a:lnTo>
                      <a:pt x="131" y="102"/>
                    </a:lnTo>
                    <a:lnTo>
                      <a:pt x="129" y="102"/>
                    </a:lnTo>
                    <a:lnTo>
                      <a:pt x="127" y="102"/>
                    </a:lnTo>
                    <a:lnTo>
                      <a:pt x="125" y="102"/>
                    </a:lnTo>
                    <a:lnTo>
                      <a:pt x="125" y="100"/>
                    </a:lnTo>
                    <a:lnTo>
                      <a:pt x="123" y="100"/>
                    </a:lnTo>
                    <a:lnTo>
                      <a:pt x="123" y="98"/>
                    </a:lnTo>
                    <a:lnTo>
                      <a:pt x="121" y="100"/>
                    </a:lnTo>
                    <a:lnTo>
                      <a:pt x="119" y="100"/>
                    </a:lnTo>
                    <a:lnTo>
                      <a:pt x="119" y="102"/>
                    </a:lnTo>
                    <a:lnTo>
                      <a:pt x="118" y="102"/>
                    </a:lnTo>
                    <a:lnTo>
                      <a:pt x="118" y="104"/>
                    </a:lnTo>
                    <a:lnTo>
                      <a:pt x="116" y="104"/>
                    </a:lnTo>
                    <a:lnTo>
                      <a:pt x="114" y="105"/>
                    </a:lnTo>
                    <a:lnTo>
                      <a:pt x="112" y="107"/>
                    </a:lnTo>
                    <a:lnTo>
                      <a:pt x="112" y="105"/>
                    </a:lnTo>
                    <a:lnTo>
                      <a:pt x="110" y="105"/>
                    </a:lnTo>
                    <a:lnTo>
                      <a:pt x="110" y="107"/>
                    </a:lnTo>
                    <a:lnTo>
                      <a:pt x="110" y="105"/>
                    </a:lnTo>
                    <a:lnTo>
                      <a:pt x="110" y="107"/>
                    </a:lnTo>
                    <a:lnTo>
                      <a:pt x="108" y="107"/>
                    </a:lnTo>
                    <a:lnTo>
                      <a:pt x="106" y="107"/>
                    </a:lnTo>
                    <a:lnTo>
                      <a:pt x="106" y="109"/>
                    </a:lnTo>
                    <a:lnTo>
                      <a:pt x="104" y="111"/>
                    </a:lnTo>
                    <a:lnTo>
                      <a:pt x="104" y="109"/>
                    </a:lnTo>
                    <a:lnTo>
                      <a:pt x="104" y="107"/>
                    </a:lnTo>
                    <a:lnTo>
                      <a:pt x="102" y="107"/>
                    </a:lnTo>
                    <a:lnTo>
                      <a:pt x="102" y="105"/>
                    </a:lnTo>
                    <a:lnTo>
                      <a:pt x="100" y="105"/>
                    </a:lnTo>
                    <a:lnTo>
                      <a:pt x="100" y="107"/>
                    </a:lnTo>
                    <a:lnTo>
                      <a:pt x="98" y="107"/>
                    </a:lnTo>
                    <a:lnTo>
                      <a:pt x="96" y="107"/>
                    </a:lnTo>
                    <a:lnTo>
                      <a:pt x="98" y="105"/>
                    </a:lnTo>
                    <a:lnTo>
                      <a:pt x="96" y="105"/>
                    </a:lnTo>
                    <a:lnTo>
                      <a:pt x="95" y="105"/>
                    </a:lnTo>
                    <a:lnTo>
                      <a:pt x="93" y="105"/>
                    </a:lnTo>
                    <a:lnTo>
                      <a:pt x="91" y="105"/>
                    </a:lnTo>
                    <a:lnTo>
                      <a:pt x="91" y="104"/>
                    </a:lnTo>
                    <a:lnTo>
                      <a:pt x="93" y="104"/>
                    </a:lnTo>
                    <a:lnTo>
                      <a:pt x="93" y="102"/>
                    </a:lnTo>
                    <a:lnTo>
                      <a:pt x="91" y="100"/>
                    </a:lnTo>
                    <a:lnTo>
                      <a:pt x="91" y="98"/>
                    </a:lnTo>
                    <a:lnTo>
                      <a:pt x="89" y="96"/>
                    </a:lnTo>
                    <a:lnTo>
                      <a:pt x="89" y="98"/>
                    </a:lnTo>
                    <a:lnTo>
                      <a:pt x="89" y="96"/>
                    </a:lnTo>
                    <a:lnTo>
                      <a:pt x="87" y="96"/>
                    </a:lnTo>
                    <a:lnTo>
                      <a:pt x="85" y="94"/>
                    </a:lnTo>
                    <a:lnTo>
                      <a:pt x="87" y="94"/>
                    </a:lnTo>
                    <a:lnTo>
                      <a:pt x="85" y="94"/>
                    </a:lnTo>
                    <a:lnTo>
                      <a:pt x="83" y="94"/>
                    </a:lnTo>
                    <a:lnTo>
                      <a:pt x="83" y="92"/>
                    </a:lnTo>
                    <a:lnTo>
                      <a:pt x="81" y="92"/>
                    </a:lnTo>
                    <a:lnTo>
                      <a:pt x="79" y="92"/>
                    </a:lnTo>
                    <a:lnTo>
                      <a:pt x="79" y="94"/>
                    </a:lnTo>
                    <a:lnTo>
                      <a:pt x="79" y="92"/>
                    </a:lnTo>
                    <a:lnTo>
                      <a:pt x="77" y="94"/>
                    </a:lnTo>
                    <a:lnTo>
                      <a:pt x="77" y="92"/>
                    </a:lnTo>
                    <a:lnTo>
                      <a:pt x="77" y="94"/>
                    </a:lnTo>
                    <a:lnTo>
                      <a:pt x="77" y="92"/>
                    </a:lnTo>
                    <a:lnTo>
                      <a:pt x="75" y="92"/>
                    </a:lnTo>
                    <a:lnTo>
                      <a:pt x="75" y="94"/>
                    </a:lnTo>
                    <a:lnTo>
                      <a:pt x="73" y="94"/>
                    </a:lnTo>
                    <a:lnTo>
                      <a:pt x="75" y="92"/>
                    </a:lnTo>
                    <a:lnTo>
                      <a:pt x="73" y="92"/>
                    </a:lnTo>
                    <a:lnTo>
                      <a:pt x="71" y="92"/>
                    </a:lnTo>
                    <a:lnTo>
                      <a:pt x="73" y="92"/>
                    </a:lnTo>
                    <a:lnTo>
                      <a:pt x="71" y="94"/>
                    </a:lnTo>
                    <a:lnTo>
                      <a:pt x="71" y="92"/>
                    </a:lnTo>
                    <a:lnTo>
                      <a:pt x="70" y="92"/>
                    </a:lnTo>
                    <a:lnTo>
                      <a:pt x="70" y="94"/>
                    </a:lnTo>
                    <a:lnTo>
                      <a:pt x="70" y="96"/>
                    </a:lnTo>
                    <a:lnTo>
                      <a:pt x="68" y="98"/>
                    </a:lnTo>
                    <a:lnTo>
                      <a:pt x="70" y="98"/>
                    </a:lnTo>
                    <a:lnTo>
                      <a:pt x="70" y="100"/>
                    </a:lnTo>
                    <a:lnTo>
                      <a:pt x="68" y="100"/>
                    </a:lnTo>
                    <a:lnTo>
                      <a:pt x="68" y="102"/>
                    </a:lnTo>
                    <a:lnTo>
                      <a:pt x="70" y="102"/>
                    </a:lnTo>
                    <a:lnTo>
                      <a:pt x="68" y="104"/>
                    </a:lnTo>
                    <a:lnTo>
                      <a:pt x="68" y="105"/>
                    </a:lnTo>
                    <a:lnTo>
                      <a:pt x="70" y="105"/>
                    </a:lnTo>
                    <a:lnTo>
                      <a:pt x="68" y="105"/>
                    </a:lnTo>
                    <a:lnTo>
                      <a:pt x="68" y="107"/>
                    </a:lnTo>
                    <a:lnTo>
                      <a:pt x="66" y="105"/>
                    </a:lnTo>
                    <a:lnTo>
                      <a:pt x="64" y="105"/>
                    </a:lnTo>
                    <a:lnTo>
                      <a:pt x="64" y="104"/>
                    </a:lnTo>
                    <a:lnTo>
                      <a:pt x="64" y="105"/>
                    </a:lnTo>
                    <a:lnTo>
                      <a:pt x="62" y="105"/>
                    </a:lnTo>
                    <a:lnTo>
                      <a:pt x="60" y="105"/>
                    </a:lnTo>
                    <a:lnTo>
                      <a:pt x="60" y="104"/>
                    </a:lnTo>
                    <a:lnTo>
                      <a:pt x="60" y="105"/>
                    </a:lnTo>
                    <a:lnTo>
                      <a:pt x="62" y="105"/>
                    </a:lnTo>
                    <a:lnTo>
                      <a:pt x="62" y="104"/>
                    </a:lnTo>
                    <a:lnTo>
                      <a:pt x="60" y="104"/>
                    </a:lnTo>
                    <a:lnTo>
                      <a:pt x="60" y="102"/>
                    </a:lnTo>
                    <a:lnTo>
                      <a:pt x="58" y="102"/>
                    </a:lnTo>
                    <a:lnTo>
                      <a:pt x="58" y="100"/>
                    </a:lnTo>
                    <a:lnTo>
                      <a:pt x="56" y="98"/>
                    </a:lnTo>
                    <a:lnTo>
                      <a:pt x="56" y="100"/>
                    </a:lnTo>
                    <a:lnTo>
                      <a:pt x="54" y="98"/>
                    </a:lnTo>
                    <a:lnTo>
                      <a:pt x="52" y="98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4"/>
                    </a:lnTo>
                    <a:lnTo>
                      <a:pt x="50" y="92"/>
                    </a:lnTo>
                    <a:lnTo>
                      <a:pt x="50" y="94"/>
                    </a:lnTo>
                    <a:lnTo>
                      <a:pt x="50" y="92"/>
                    </a:lnTo>
                    <a:lnTo>
                      <a:pt x="48" y="92"/>
                    </a:lnTo>
                    <a:lnTo>
                      <a:pt x="48" y="90"/>
                    </a:lnTo>
                    <a:lnTo>
                      <a:pt x="46" y="90"/>
                    </a:lnTo>
                    <a:lnTo>
                      <a:pt x="48" y="90"/>
                    </a:lnTo>
                    <a:lnTo>
                      <a:pt x="46" y="90"/>
                    </a:lnTo>
                    <a:lnTo>
                      <a:pt x="46" y="88"/>
                    </a:lnTo>
                    <a:lnTo>
                      <a:pt x="46" y="86"/>
                    </a:lnTo>
                    <a:lnTo>
                      <a:pt x="46" y="84"/>
                    </a:lnTo>
                    <a:lnTo>
                      <a:pt x="48" y="84"/>
                    </a:lnTo>
                    <a:lnTo>
                      <a:pt x="48" y="82"/>
                    </a:lnTo>
                    <a:lnTo>
                      <a:pt x="50" y="82"/>
                    </a:lnTo>
                    <a:lnTo>
                      <a:pt x="50" y="80"/>
                    </a:lnTo>
                    <a:lnTo>
                      <a:pt x="48" y="79"/>
                    </a:lnTo>
                    <a:lnTo>
                      <a:pt x="48" y="77"/>
                    </a:lnTo>
                    <a:lnTo>
                      <a:pt x="50" y="77"/>
                    </a:lnTo>
                    <a:lnTo>
                      <a:pt x="48" y="77"/>
                    </a:lnTo>
                    <a:lnTo>
                      <a:pt x="48" y="75"/>
                    </a:lnTo>
                    <a:lnTo>
                      <a:pt x="48" y="73"/>
                    </a:lnTo>
                    <a:lnTo>
                      <a:pt x="46" y="73"/>
                    </a:lnTo>
                    <a:lnTo>
                      <a:pt x="45" y="73"/>
                    </a:lnTo>
                    <a:lnTo>
                      <a:pt x="45" y="71"/>
                    </a:lnTo>
                    <a:lnTo>
                      <a:pt x="45" y="69"/>
                    </a:lnTo>
                    <a:lnTo>
                      <a:pt x="45" y="67"/>
                    </a:lnTo>
                    <a:lnTo>
                      <a:pt x="43" y="67"/>
                    </a:lnTo>
                    <a:lnTo>
                      <a:pt x="41" y="67"/>
                    </a:lnTo>
                    <a:lnTo>
                      <a:pt x="39" y="65"/>
                    </a:lnTo>
                    <a:lnTo>
                      <a:pt x="37" y="65"/>
                    </a:lnTo>
                    <a:lnTo>
                      <a:pt x="37" y="63"/>
                    </a:lnTo>
                    <a:lnTo>
                      <a:pt x="37" y="61"/>
                    </a:lnTo>
                    <a:lnTo>
                      <a:pt x="37" y="63"/>
                    </a:lnTo>
                    <a:lnTo>
                      <a:pt x="35" y="63"/>
                    </a:lnTo>
                    <a:lnTo>
                      <a:pt x="33" y="63"/>
                    </a:lnTo>
                    <a:lnTo>
                      <a:pt x="33" y="61"/>
                    </a:lnTo>
                    <a:lnTo>
                      <a:pt x="31" y="61"/>
                    </a:lnTo>
                    <a:lnTo>
                      <a:pt x="31" y="63"/>
                    </a:lnTo>
                    <a:lnTo>
                      <a:pt x="31" y="61"/>
                    </a:lnTo>
                    <a:lnTo>
                      <a:pt x="29" y="61"/>
                    </a:lnTo>
                    <a:lnTo>
                      <a:pt x="29" y="63"/>
                    </a:lnTo>
                    <a:lnTo>
                      <a:pt x="27" y="65"/>
                    </a:lnTo>
                    <a:lnTo>
                      <a:pt x="27" y="67"/>
                    </a:lnTo>
                    <a:lnTo>
                      <a:pt x="29" y="67"/>
                    </a:lnTo>
                    <a:lnTo>
                      <a:pt x="27" y="69"/>
                    </a:lnTo>
                    <a:lnTo>
                      <a:pt x="27" y="71"/>
                    </a:lnTo>
                    <a:lnTo>
                      <a:pt x="25" y="71"/>
                    </a:lnTo>
                    <a:lnTo>
                      <a:pt x="25" y="69"/>
                    </a:lnTo>
                    <a:lnTo>
                      <a:pt x="25" y="67"/>
                    </a:lnTo>
                    <a:lnTo>
                      <a:pt x="23" y="67"/>
                    </a:lnTo>
                    <a:lnTo>
                      <a:pt x="23" y="69"/>
                    </a:lnTo>
                    <a:lnTo>
                      <a:pt x="23" y="71"/>
                    </a:lnTo>
                    <a:lnTo>
                      <a:pt x="21" y="71"/>
                    </a:lnTo>
                    <a:lnTo>
                      <a:pt x="21" y="69"/>
                    </a:lnTo>
                    <a:lnTo>
                      <a:pt x="23" y="71"/>
                    </a:lnTo>
                    <a:lnTo>
                      <a:pt x="21" y="69"/>
                    </a:lnTo>
                    <a:lnTo>
                      <a:pt x="20" y="69"/>
                    </a:lnTo>
                    <a:lnTo>
                      <a:pt x="18" y="69"/>
                    </a:lnTo>
                    <a:lnTo>
                      <a:pt x="16" y="67"/>
                    </a:lnTo>
                    <a:lnTo>
                      <a:pt x="14" y="67"/>
                    </a:lnTo>
                    <a:lnTo>
                      <a:pt x="14" y="65"/>
                    </a:lnTo>
                    <a:lnTo>
                      <a:pt x="12" y="67"/>
                    </a:lnTo>
                    <a:lnTo>
                      <a:pt x="12" y="69"/>
                    </a:lnTo>
                    <a:lnTo>
                      <a:pt x="10" y="69"/>
                    </a:lnTo>
                    <a:lnTo>
                      <a:pt x="10" y="67"/>
                    </a:lnTo>
                    <a:lnTo>
                      <a:pt x="12" y="65"/>
                    </a:lnTo>
                    <a:lnTo>
                      <a:pt x="14" y="65"/>
                    </a:lnTo>
                    <a:lnTo>
                      <a:pt x="14" y="63"/>
                    </a:lnTo>
                    <a:lnTo>
                      <a:pt x="12" y="65"/>
                    </a:lnTo>
                    <a:lnTo>
                      <a:pt x="12" y="63"/>
                    </a:lnTo>
                    <a:lnTo>
                      <a:pt x="12" y="65"/>
                    </a:lnTo>
                    <a:lnTo>
                      <a:pt x="10" y="65"/>
                    </a:lnTo>
                    <a:lnTo>
                      <a:pt x="10" y="63"/>
                    </a:lnTo>
                    <a:lnTo>
                      <a:pt x="12" y="63"/>
                    </a:lnTo>
                    <a:lnTo>
                      <a:pt x="10" y="63"/>
                    </a:lnTo>
                    <a:lnTo>
                      <a:pt x="8" y="65"/>
                    </a:lnTo>
                    <a:lnTo>
                      <a:pt x="6" y="65"/>
                    </a:lnTo>
                    <a:lnTo>
                      <a:pt x="4" y="65"/>
                    </a:lnTo>
                    <a:lnTo>
                      <a:pt x="6" y="65"/>
                    </a:lnTo>
                    <a:lnTo>
                      <a:pt x="4" y="65"/>
                    </a:lnTo>
                    <a:lnTo>
                      <a:pt x="6" y="63"/>
                    </a:lnTo>
                    <a:lnTo>
                      <a:pt x="8" y="63"/>
                    </a:lnTo>
                    <a:lnTo>
                      <a:pt x="8" y="61"/>
                    </a:lnTo>
                    <a:lnTo>
                      <a:pt x="8" y="63"/>
                    </a:lnTo>
                    <a:lnTo>
                      <a:pt x="8" y="61"/>
                    </a:lnTo>
                    <a:lnTo>
                      <a:pt x="10" y="61"/>
                    </a:lnTo>
                    <a:lnTo>
                      <a:pt x="8" y="61"/>
                    </a:lnTo>
                    <a:lnTo>
                      <a:pt x="6" y="61"/>
                    </a:lnTo>
                    <a:lnTo>
                      <a:pt x="4" y="63"/>
                    </a:lnTo>
                    <a:lnTo>
                      <a:pt x="4" y="65"/>
                    </a:lnTo>
                    <a:lnTo>
                      <a:pt x="6" y="65"/>
                    </a:lnTo>
                    <a:lnTo>
                      <a:pt x="4" y="67"/>
                    </a:lnTo>
                    <a:lnTo>
                      <a:pt x="2" y="65"/>
                    </a:lnTo>
                    <a:lnTo>
                      <a:pt x="2" y="63"/>
                    </a:lnTo>
                    <a:lnTo>
                      <a:pt x="4" y="63"/>
                    </a:lnTo>
                    <a:lnTo>
                      <a:pt x="2" y="63"/>
                    </a:lnTo>
                    <a:lnTo>
                      <a:pt x="2" y="61"/>
                    </a:lnTo>
                    <a:lnTo>
                      <a:pt x="2" y="63"/>
                    </a:lnTo>
                    <a:lnTo>
                      <a:pt x="2" y="61"/>
                    </a:lnTo>
                    <a:lnTo>
                      <a:pt x="2" y="59"/>
                    </a:lnTo>
                    <a:lnTo>
                      <a:pt x="0" y="59"/>
                    </a:lnTo>
                    <a:lnTo>
                      <a:pt x="0" y="57"/>
                    </a:lnTo>
                    <a:lnTo>
                      <a:pt x="2" y="57"/>
                    </a:lnTo>
                    <a:lnTo>
                      <a:pt x="2" y="55"/>
                    </a:lnTo>
                    <a:lnTo>
                      <a:pt x="4" y="54"/>
                    </a:lnTo>
                    <a:lnTo>
                      <a:pt x="6" y="52"/>
                    </a:lnTo>
                    <a:lnTo>
                      <a:pt x="8" y="52"/>
                    </a:lnTo>
                    <a:lnTo>
                      <a:pt x="10" y="50"/>
                    </a:lnTo>
                    <a:lnTo>
                      <a:pt x="10" y="48"/>
                    </a:lnTo>
                    <a:lnTo>
                      <a:pt x="8" y="46"/>
                    </a:lnTo>
                    <a:lnTo>
                      <a:pt x="8" y="44"/>
                    </a:lnTo>
                    <a:lnTo>
                      <a:pt x="10" y="44"/>
                    </a:lnTo>
                    <a:lnTo>
                      <a:pt x="8" y="40"/>
                    </a:lnTo>
                    <a:lnTo>
                      <a:pt x="10" y="40"/>
                    </a:lnTo>
                    <a:lnTo>
                      <a:pt x="12" y="40"/>
                    </a:lnTo>
                    <a:lnTo>
                      <a:pt x="10" y="40"/>
                    </a:lnTo>
                    <a:lnTo>
                      <a:pt x="10" y="42"/>
                    </a:lnTo>
                    <a:lnTo>
                      <a:pt x="12" y="42"/>
                    </a:lnTo>
                    <a:lnTo>
                      <a:pt x="14" y="42"/>
                    </a:lnTo>
                    <a:lnTo>
                      <a:pt x="16" y="42"/>
                    </a:lnTo>
                    <a:lnTo>
                      <a:pt x="14" y="42"/>
                    </a:lnTo>
                    <a:lnTo>
                      <a:pt x="14" y="44"/>
                    </a:lnTo>
                    <a:lnTo>
                      <a:pt x="16" y="46"/>
                    </a:lnTo>
                    <a:lnTo>
                      <a:pt x="18" y="46"/>
                    </a:lnTo>
                    <a:lnTo>
                      <a:pt x="18" y="44"/>
                    </a:lnTo>
                    <a:lnTo>
                      <a:pt x="18" y="42"/>
                    </a:lnTo>
                    <a:lnTo>
                      <a:pt x="20" y="42"/>
                    </a:lnTo>
                    <a:lnTo>
                      <a:pt x="20" y="40"/>
                    </a:lnTo>
                    <a:lnTo>
                      <a:pt x="21" y="42"/>
                    </a:lnTo>
                    <a:lnTo>
                      <a:pt x="21" y="44"/>
                    </a:lnTo>
                    <a:lnTo>
                      <a:pt x="23" y="44"/>
                    </a:lnTo>
                    <a:lnTo>
                      <a:pt x="21" y="44"/>
                    </a:lnTo>
                    <a:lnTo>
                      <a:pt x="23" y="44"/>
                    </a:lnTo>
                    <a:lnTo>
                      <a:pt x="23" y="42"/>
                    </a:lnTo>
                    <a:lnTo>
                      <a:pt x="21" y="42"/>
                    </a:lnTo>
                    <a:lnTo>
                      <a:pt x="21" y="40"/>
                    </a:lnTo>
                    <a:lnTo>
                      <a:pt x="20" y="38"/>
                    </a:lnTo>
                    <a:lnTo>
                      <a:pt x="20" y="36"/>
                    </a:lnTo>
                    <a:lnTo>
                      <a:pt x="20" y="34"/>
                    </a:lnTo>
                    <a:lnTo>
                      <a:pt x="20" y="32"/>
                    </a:lnTo>
                    <a:lnTo>
                      <a:pt x="18" y="32"/>
                    </a:lnTo>
                    <a:lnTo>
                      <a:pt x="18" y="34"/>
                    </a:lnTo>
                    <a:lnTo>
                      <a:pt x="16" y="34"/>
                    </a:lnTo>
                    <a:lnTo>
                      <a:pt x="16" y="36"/>
                    </a:lnTo>
                    <a:lnTo>
                      <a:pt x="14" y="36"/>
                    </a:lnTo>
                    <a:lnTo>
                      <a:pt x="14" y="38"/>
                    </a:lnTo>
                    <a:lnTo>
                      <a:pt x="14" y="36"/>
                    </a:lnTo>
                    <a:lnTo>
                      <a:pt x="12" y="36"/>
                    </a:lnTo>
                    <a:lnTo>
                      <a:pt x="12" y="38"/>
                    </a:lnTo>
                    <a:lnTo>
                      <a:pt x="12" y="36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12" y="34"/>
                    </a:lnTo>
                    <a:lnTo>
                      <a:pt x="10" y="34"/>
                    </a:lnTo>
                    <a:lnTo>
                      <a:pt x="12" y="34"/>
                    </a:lnTo>
                    <a:lnTo>
                      <a:pt x="10" y="34"/>
                    </a:lnTo>
                    <a:lnTo>
                      <a:pt x="10" y="32"/>
                    </a:lnTo>
                    <a:lnTo>
                      <a:pt x="12" y="32"/>
                    </a:lnTo>
                    <a:lnTo>
                      <a:pt x="12" y="30"/>
                    </a:lnTo>
                    <a:lnTo>
                      <a:pt x="12" y="29"/>
                    </a:lnTo>
                    <a:lnTo>
                      <a:pt x="14" y="30"/>
                    </a:lnTo>
                    <a:lnTo>
                      <a:pt x="14" y="32"/>
                    </a:lnTo>
                    <a:lnTo>
                      <a:pt x="16" y="32"/>
                    </a:lnTo>
                    <a:lnTo>
                      <a:pt x="18" y="30"/>
                    </a:lnTo>
                    <a:lnTo>
                      <a:pt x="18" y="32"/>
                    </a:lnTo>
                    <a:lnTo>
                      <a:pt x="20" y="32"/>
                    </a:lnTo>
                    <a:lnTo>
                      <a:pt x="20" y="30"/>
                    </a:lnTo>
                    <a:lnTo>
                      <a:pt x="21" y="30"/>
                    </a:lnTo>
                    <a:lnTo>
                      <a:pt x="23" y="30"/>
                    </a:lnTo>
                    <a:lnTo>
                      <a:pt x="23" y="29"/>
                    </a:lnTo>
                    <a:lnTo>
                      <a:pt x="25" y="29"/>
                    </a:lnTo>
                    <a:lnTo>
                      <a:pt x="27" y="29"/>
                    </a:lnTo>
                    <a:lnTo>
                      <a:pt x="29" y="29"/>
                    </a:lnTo>
                    <a:lnTo>
                      <a:pt x="29" y="27"/>
                    </a:lnTo>
                    <a:lnTo>
                      <a:pt x="29" y="25"/>
                    </a:lnTo>
                    <a:lnTo>
                      <a:pt x="31" y="25"/>
                    </a:lnTo>
                    <a:lnTo>
                      <a:pt x="29" y="25"/>
                    </a:lnTo>
                    <a:lnTo>
                      <a:pt x="29" y="23"/>
                    </a:lnTo>
                    <a:lnTo>
                      <a:pt x="31" y="23"/>
                    </a:lnTo>
                    <a:lnTo>
                      <a:pt x="31" y="21"/>
                    </a:lnTo>
                    <a:lnTo>
                      <a:pt x="33" y="21"/>
                    </a:lnTo>
                    <a:lnTo>
                      <a:pt x="33" y="23"/>
                    </a:lnTo>
                    <a:lnTo>
                      <a:pt x="33" y="21"/>
                    </a:lnTo>
                    <a:lnTo>
                      <a:pt x="35" y="21"/>
                    </a:lnTo>
                    <a:lnTo>
                      <a:pt x="35" y="19"/>
                    </a:lnTo>
                    <a:lnTo>
                      <a:pt x="37" y="19"/>
                    </a:lnTo>
                    <a:lnTo>
                      <a:pt x="37" y="17"/>
                    </a:lnTo>
                    <a:lnTo>
                      <a:pt x="37" y="19"/>
                    </a:lnTo>
                    <a:lnTo>
                      <a:pt x="39" y="19"/>
                    </a:lnTo>
                    <a:lnTo>
                      <a:pt x="39" y="17"/>
                    </a:lnTo>
                    <a:lnTo>
                      <a:pt x="37" y="17"/>
                    </a:lnTo>
                    <a:lnTo>
                      <a:pt x="37" y="15"/>
                    </a:lnTo>
                    <a:lnTo>
                      <a:pt x="39" y="15"/>
                    </a:lnTo>
                    <a:lnTo>
                      <a:pt x="39" y="13"/>
                    </a:lnTo>
                    <a:lnTo>
                      <a:pt x="37" y="15"/>
                    </a:lnTo>
                    <a:lnTo>
                      <a:pt x="37" y="13"/>
                    </a:lnTo>
                    <a:lnTo>
                      <a:pt x="39" y="13"/>
                    </a:lnTo>
                    <a:lnTo>
                      <a:pt x="39" y="11"/>
                    </a:lnTo>
                    <a:lnTo>
                      <a:pt x="41" y="11"/>
                    </a:lnTo>
                    <a:lnTo>
                      <a:pt x="41" y="13"/>
                    </a:lnTo>
                    <a:lnTo>
                      <a:pt x="41" y="11"/>
                    </a:lnTo>
                    <a:lnTo>
                      <a:pt x="41" y="9"/>
                    </a:lnTo>
                    <a:lnTo>
                      <a:pt x="39" y="9"/>
                    </a:lnTo>
                    <a:lnTo>
                      <a:pt x="39" y="11"/>
                    </a:lnTo>
                    <a:lnTo>
                      <a:pt x="37" y="9"/>
                    </a:lnTo>
                    <a:lnTo>
                      <a:pt x="37" y="7"/>
                    </a:lnTo>
                    <a:lnTo>
                      <a:pt x="37" y="9"/>
                    </a:lnTo>
                    <a:lnTo>
                      <a:pt x="35" y="7"/>
                    </a:lnTo>
                    <a:lnTo>
                      <a:pt x="35" y="5"/>
                    </a:lnTo>
                    <a:lnTo>
                      <a:pt x="35" y="7"/>
                    </a:lnTo>
                    <a:lnTo>
                      <a:pt x="35" y="5"/>
                    </a:lnTo>
                    <a:lnTo>
                      <a:pt x="37" y="5"/>
                    </a:lnTo>
                    <a:lnTo>
                      <a:pt x="37" y="4"/>
                    </a:lnTo>
                    <a:lnTo>
                      <a:pt x="35" y="4"/>
                    </a:lnTo>
                    <a:lnTo>
                      <a:pt x="37" y="4"/>
                    </a:lnTo>
                    <a:lnTo>
                      <a:pt x="37" y="2"/>
                    </a:lnTo>
                    <a:lnTo>
                      <a:pt x="39" y="2"/>
                    </a:lnTo>
                    <a:lnTo>
                      <a:pt x="37" y="4"/>
                    </a:lnTo>
                    <a:lnTo>
                      <a:pt x="39" y="5"/>
                    </a:lnTo>
                    <a:lnTo>
                      <a:pt x="39" y="4"/>
                    </a:lnTo>
                    <a:lnTo>
                      <a:pt x="39" y="2"/>
                    </a:lnTo>
                    <a:lnTo>
                      <a:pt x="41" y="2"/>
                    </a:lnTo>
                    <a:lnTo>
                      <a:pt x="41" y="0"/>
                    </a:lnTo>
                    <a:lnTo>
                      <a:pt x="43" y="0"/>
                    </a:lnTo>
                    <a:lnTo>
                      <a:pt x="43" y="2"/>
                    </a:lnTo>
                    <a:lnTo>
                      <a:pt x="41" y="2"/>
                    </a:lnTo>
                    <a:lnTo>
                      <a:pt x="43" y="4"/>
                    </a:lnTo>
                    <a:lnTo>
                      <a:pt x="43" y="5"/>
                    </a:lnTo>
                    <a:lnTo>
                      <a:pt x="45" y="5"/>
                    </a:lnTo>
                    <a:lnTo>
                      <a:pt x="46" y="5"/>
                    </a:lnTo>
                    <a:lnTo>
                      <a:pt x="48" y="5"/>
                    </a:lnTo>
                    <a:lnTo>
                      <a:pt x="46" y="5"/>
                    </a:lnTo>
                    <a:lnTo>
                      <a:pt x="46" y="7"/>
                    </a:lnTo>
                    <a:lnTo>
                      <a:pt x="48" y="7"/>
                    </a:lnTo>
                    <a:lnTo>
                      <a:pt x="48" y="9"/>
                    </a:lnTo>
                    <a:lnTo>
                      <a:pt x="46" y="9"/>
                    </a:lnTo>
                    <a:lnTo>
                      <a:pt x="48" y="9"/>
                    </a:lnTo>
                    <a:lnTo>
                      <a:pt x="48" y="11"/>
                    </a:lnTo>
                    <a:lnTo>
                      <a:pt x="48" y="9"/>
                    </a:lnTo>
                    <a:lnTo>
                      <a:pt x="50" y="9"/>
                    </a:lnTo>
                    <a:lnTo>
                      <a:pt x="48" y="11"/>
                    </a:lnTo>
                    <a:lnTo>
                      <a:pt x="50" y="11"/>
                    </a:lnTo>
                    <a:lnTo>
                      <a:pt x="52" y="11"/>
                    </a:lnTo>
                    <a:lnTo>
                      <a:pt x="54" y="11"/>
                    </a:lnTo>
                    <a:lnTo>
                      <a:pt x="54" y="13"/>
                    </a:lnTo>
                    <a:lnTo>
                      <a:pt x="54" y="11"/>
                    </a:lnTo>
                    <a:lnTo>
                      <a:pt x="56" y="11"/>
                    </a:lnTo>
                    <a:lnTo>
                      <a:pt x="54" y="13"/>
                    </a:lnTo>
                    <a:lnTo>
                      <a:pt x="56" y="13"/>
                    </a:lnTo>
                    <a:lnTo>
                      <a:pt x="58" y="13"/>
                    </a:lnTo>
                    <a:lnTo>
                      <a:pt x="60" y="11"/>
                    </a:lnTo>
                    <a:lnTo>
                      <a:pt x="60" y="9"/>
                    </a:lnTo>
                    <a:lnTo>
                      <a:pt x="62" y="9"/>
                    </a:lnTo>
                    <a:lnTo>
                      <a:pt x="62" y="7"/>
                    </a:lnTo>
                    <a:lnTo>
                      <a:pt x="64" y="7"/>
                    </a:lnTo>
                    <a:lnTo>
                      <a:pt x="64" y="9"/>
                    </a:lnTo>
                    <a:lnTo>
                      <a:pt x="66" y="9"/>
                    </a:lnTo>
                    <a:lnTo>
                      <a:pt x="66" y="7"/>
                    </a:lnTo>
                    <a:lnTo>
                      <a:pt x="66" y="9"/>
                    </a:lnTo>
                    <a:lnTo>
                      <a:pt x="68" y="7"/>
                    </a:lnTo>
                    <a:lnTo>
                      <a:pt x="70" y="7"/>
                    </a:lnTo>
                    <a:lnTo>
                      <a:pt x="71" y="7"/>
                    </a:lnTo>
                    <a:lnTo>
                      <a:pt x="71" y="9"/>
                    </a:lnTo>
                    <a:lnTo>
                      <a:pt x="73" y="11"/>
                    </a:lnTo>
                    <a:lnTo>
                      <a:pt x="71" y="11"/>
                    </a:lnTo>
                    <a:lnTo>
                      <a:pt x="73" y="13"/>
                    </a:lnTo>
                    <a:lnTo>
                      <a:pt x="75" y="15"/>
                    </a:lnTo>
                    <a:lnTo>
                      <a:pt x="75" y="17"/>
                    </a:lnTo>
                    <a:lnTo>
                      <a:pt x="75" y="19"/>
                    </a:lnTo>
                    <a:lnTo>
                      <a:pt x="75" y="21"/>
                    </a:lnTo>
                    <a:lnTo>
                      <a:pt x="77" y="21"/>
                    </a:lnTo>
                    <a:lnTo>
                      <a:pt x="77" y="23"/>
                    </a:lnTo>
                    <a:lnTo>
                      <a:pt x="79" y="23"/>
                    </a:lnTo>
                    <a:lnTo>
                      <a:pt x="79" y="25"/>
                    </a:lnTo>
                    <a:lnTo>
                      <a:pt x="81" y="27"/>
                    </a:lnTo>
                    <a:lnTo>
                      <a:pt x="81" y="25"/>
                    </a:lnTo>
                    <a:lnTo>
                      <a:pt x="81" y="27"/>
                    </a:lnTo>
                    <a:lnTo>
                      <a:pt x="83" y="27"/>
                    </a:lnTo>
                    <a:lnTo>
                      <a:pt x="81" y="29"/>
                    </a:lnTo>
                    <a:lnTo>
                      <a:pt x="79" y="29"/>
                    </a:lnTo>
                    <a:lnTo>
                      <a:pt x="79" y="30"/>
                    </a:lnTo>
                    <a:lnTo>
                      <a:pt x="81" y="30"/>
                    </a:lnTo>
                    <a:lnTo>
                      <a:pt x="81" y="32"/>
                    </a:lnTo>
                    <a:lnTo>
                      <a:pt x="83" y="32"/>
                    </a:lnTo>
                    <a:lnTo>
                      <a:pt x="85" y="32"/>
                    </a:lnTo>
                    <a:lnTo>
                      <a:pt x="85" y="34"/>
                    </a:lnTo>
                    <a:lnTo>
                      <a:pt x="83" y="34"/>
                    </a:lnTo>
                    <a:lnTo>
                      <a:pt x="83" y="36"/>
                    </a:lnTo>
                    <a:lnTo>
                      <a:pt x="81" y="36"/>
                    </a:lnTo>
                    <a:lnTo>
                      <a:pt x="81" y="38"/>
                    </a:lnTo>
                    <a:lnTo>
                      <a:pt x="81" y="40"/>
                    </a:lnTo>
                    <a:lnTo>
                      <a:pt x="83" y="40"/>
                    </a:lnTo>
                    <a:lnTo>
                      <a:pt x="83" y="42"/>
                    </a:lnTo>
                    <a:lnTo>
                      <a:pt x="83" y="44"/>
                    </a:lnTo>
                    <a:lnTo>
                      <a:pt x="85" y="44"/>
                    </a:lnTo>
                    <a:lnTo>
                      <a:pt x="85" y="46"/>
                    </a:lnTo>
                    <a:lnTo>
                      <a:pt x="87" y="46"/>
                    </a:lnTo>
                    <a:lnTo>
                      <a:pt x="87" y="48"/>
                    </a:lnTo>
                    <a:lnTo>
                      <a:pt x="87" y="50"/>
                    </a:lnTo>
                    <a:lnTo>
                      <a:pt x="87" y="52"/>
                    </a:lnTo>
                    <a:lnTo>
                      <a:pt x="89" y="52"/>
                    </a:lnTo>
                    <a:lnTo>
                      <a:pt x="91" y="54"/>
                    </a:lnTo>
                    <a:lnTo>
                      <a:pt x="93" y="52"/>
                    </a:lnTo>
                    <a:lnTo>
                      <a:pt x="95" y="52"/>
                    </a:lnTo>
                    <a:lnTo>
                      <a:pt x="95" y="54"/>
                    </a:lnTo>
                    <a:lnTo>
                      <a:pt x="95" y="55"/>
                    </a:lnTo>
                    <a:lnTo>
                      <a:pt x="93" y="55"/>
                    </a:lnTo>
                    <a:lnTo>
                      <a:pt x="93" y="54"/>
                    </a:lnTo>
                    <a:lnTo>
                      <a:pt x="93" y="55"/>
                    </a:lnTo>
                    <a:lnTo>
                      <a:pt x="91" y="55"/>
                    </a:lnTo>
                    <a:lnTo>
                      <a:pt x="91" y="57"/>
                    </a:lnTo>
                    <a:lnTo>
                      <a:pt x="93" y="57"/>
                    </a:lnTo>
                    <a:lnTo>
                      <a:pt x="95" y="57"/>
                    </a:lnTo>
                    <a:lnTo>
                      <a:pt x="96" y="57"/>
                    </a:lnTo>
                    <a:lnTo>
                      <a:pt x="98" y="59"/>
                    </a:lnTo>
                    <a:lnTo>
                      <a:pt x="96" y="59"/>
                    </a:lnTo>
                    <a:lnTo>
                      <a:pt x="98" y="61"/>
                    </a:lnTo>
                    <a:lnTo>
                      <a:pt x="98" y="63"/>
                    </a:lnTo>
                    <a:lnTo>
                      <a:pt x="100" y="63"/>
                    </a:lnTo>
                    <a:lnTo>
                      <a:pt x="102" y="63"/>
                    </a:lnTo>
                    <a:lnTo>
                      <a:pt x="104" y="63"/>
                    </a:lnTo>
                    <a:lnTo>
                      <a:pt x="104" y="65"/>
                    </a:lnTo>
                    <a:lnTo>
                      <a:pt x="106" y="65"/>
                    </a:lnTo>
                    <a:lnTo>
                      <a:pt x="108" y="65"/>
                    </a:lnTo>
                    <a:lnTo>
                      <a:pt x="108" y="63"/>
                    </a:lnTo>
                    <a:lnTo>
                      <a:pt x="108" y="61"/>
                    </a:lnTo>
                    <a:lnTo>
                      <a:pt x="108" y="63"/>
                    </a:lnTo>
                    <a:lnTo>
                      <a:pt x="106" y="61"/>
                    </a:lnTo>
                    <a:lnTo>
                      <a:pt x="108" y="61"/>
                    </a:lnTo>
                    <a:lnTo>
                      <a:pt x="106" y="59"/>
                    </a:lnTo>
                    <a:lnTo>
                      <a:pt x="106" y="57"/>
                    </a:lnTo>
                    <a:lnTo>
                      <a:pt x="108" y="57"/>
                    </a:lnTo>
                    <a:lnTo>
                      <a:pt x="108" y="55"/>
                    </a:lnTo>
                    <a:lnTo>
                      <a:pt x="110" y="55"/>
                    </a:lnTo>
                    <a:lnTo>
                      <a:pt x="112" y="54"/>
                    </a:lnTo>
                    <a:lnTo>
                      <a:pt x="112" y="52"/>
                    </a:lnTo>
                    <a:lnTo>
                      <a:pt x="110" y="52"/>
                    </a:lnTo>
                    <a:lnTo>
                      <a:pt x="110" y="50"/>
                    </a:lnTo>
                    <a:lnTo>
                      <a:pt x="112" y="50"/>
                    </a:lnTo>
                    <a:lnTo>
                      <a:pt x="112" y="48"/>
                    </a:lnTo>
                    <a:lnTo>
                      <a:pt x="114" y="48"/>
                    </a:lnTo>
                    <a:lnTo>
                      <a:pt x="116" y="48"/>
                    </a:lnTo>
                    <a:lnTo>
                      <a:pt x="118" y="46"/>
                    </a:lnTo>
                    <a:lnTo>
                      <a:pt x="118" y="48"/>
                    </a:lnTo>
                    <a:lnTo>
                      <a:pt x="118" y="50"/>
                    </a:lnTo>
                    <a:lnTo>
                      <a:pt x="119" y="50"/>
                    </a:lnTo>
                    <a:lnTo>
                      <a:pt x="119" y="48"/>
                    </a:lnTo>
                    <a:lnTo>
                      <a:pt x="121" y="46"/>
                    </a:lnTo>
                    <a:lnTo>
                      <a:pt x="121" y="44"/>
                    </a:lnTo>
                    <a:lnTo>
                      <a:pt x="123" y="44"/>
                    </a:lnTo>
                    <a:lnTo>
                      <a:pt x="125" y="44"/>
                    </a:lnTo>
                    <a:lnTo>
                      <a:pt x="127" y="46"/>
                    </a:lnTo>
                    <a:lnTo>
                      <a:pt x="129" y="46"/>
                    </a:lnTo>
                    <a:lnTo>
                      <a:pt x="129" y="44"/>
                    </a:lnTo>
                    <a:lnTo>
                      <a:pt x="131" y="44"/>
                    </a:lnTo>
                    <a:lnTo>
                      <a:pt x="131" y="42"/>
                    </a:lnTo>
                    <a:lnTo>
                      <a:pt x="133" y="40"/>
                    </a:lnTo>
                    <a:lnTo>
                      <a:pt x="133" y="38"/>
                    </a:lnTo>
                    <a:lnTo>
                      <a:pt x="133" y="36"/>
                    </a:lnTo>
                    <a:lnTo>
                      <a:pt x="135" y="36"/>
                    </a:lnTo>
                    <a:lnTo>
                      <a:pt x="137" y="36"/>
                    </a:lnTo>
                    <a:lnTo>
                      <a:pt x="137" y="34"/>
                    </a:lnTo>
                    <a:lnTo>
                      <a:pt x="139" y="34"/>
                    </a:lnTo>
                    <a:lnTo>
                      <a:pt x="141" y="36"/>
                    </a:lnTo>
                    <a:lnTo>
                      <a:pt x="141" y="34"/>
                    </a:lnTo>
                    <a:lnTo>
                      <a:pt x="141" y="32"/>
                    </a:lnTo>
                    <a:lnTo>
                      <a:pt x="141" y="34"/>
                    </a:lnTo>
                    <a:lnTo>
                      <a:pt x="143" y="32"/>
                    </a:lnTo>
                    <a:lnTo>
                      <a:pt x="144" y="32"/>
                    </a:lnTo>
                    <a:lnTo>
                      <a:pt x="146" y="32"/>
                    </a:lnTo>
                    <a:lnTo>
                      <a:pt x="148" y="32"/>
                    </a:lnTo>
                    <a:lnTo>
                      <a:pt x="148" y="34"/>
                    </a:lnTo>
                    <a:lnTo>
                      <a:pt x="146" y="34"/>
                    </a:lnTo>
                    <a:lnTo>
                      <a:pt x="146" y="36"/>
                    </a:lnTo>
                    <a:lnTo>
                      <a:pt x="148" y="36"/>
                    </a:lnTo>
                    <a:lnTo>
                      <a:pt x="146" y="38"/>
                    </a:lnTo>
                    <a:lnTo>
                      <a:pt x="144" y="38"/>
                    </a:lnTo>
                    <a:lnTo>
                      <a:pt x="144" y="40"/>
                    </a:lnTo>
                    <a:lnTo>
                      <a:pt x="143" y="42"/>
                    </a:lnTo>
                    <a:lnTo>
                      <a:pt x="141" y="42"/>
                    </a:lnTo>
                    <a:lnTo>
                      <a:pt x="141" y="44"/>
                    </a:lnTo>
                    <a:lnTo>
                      <a:pt x="141" y="46"/>
                    </a:lnTo>
                    <a:lnTo>
                      <a:pt x="143" y="44"/>
                    </a:lnTo>
                    <a:lnTo>
                      <a:pt x="144" y="46"/>
                    </a:lnTo>
                    <a:lnTo>
                      <a:pt x="146" y="46"/>
                    </a:lnTo>
                    <a:lnTo>
                      <a:pt x="146" y="48"/>
                    </a:lnTo>
                    <a:lnTo>
                      <a:pt x="148" y="48"/>
                    </a:lnTo>
                    <a:lnTo>
                      <a:pt x="150" y="48"/>
                    </a:lnTo>
                    <a:lnTo>
                      <a:pt x="152" y="48"/>
                    </a:lnTo>
                    <a:lnTo>
                      <a:pt x="152" y="46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104">
                <a:extLst>
                  <a:ext uri="{FF2B5EF4-FFF2-40B4-BE49-F238E27FC236}">
                    <a16:creationId xmlns="" xmlns:a16="http://schemas.microsoft.com/office/drawing/2014/main" id="{723A401A-E1CC-42A4-B6A5-9E26FA1845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813425" y="1925638"/>
                <a:ext cx="795338" cy="566738"/>
              </a:xfrm>
              <a:custGeom>
                <a:avLst/>
                <a:gdLst>
                  <a:gd name="T0" fmla="*/ 44 w 501"/>
                  <a:gd name="T1" fmla="*/ 305 h 357"/>
                  <a:gd name="T2" fmla="*/ 56 w 501"/>
                  <a:gd name="T3" fmla="*/ 305 h 357"/>
                  <a:gd name="T4" fmla="*/ 61 w 501"/>
                  <a:gd name="T5" fmla="*/ 302 h 357"/>
                  <a:gd name="T6" fmla="*/ 61 w 501"/>
                  <a:gd name="T7" fmla="*/ 304 h 357"/>
                  <a:gd name="T8" fmla="*/ 67 w 501"/>
                  <a:gd name="T9" fmla="*/ 307 h 357"/>
                  <a:gd name="T10" fmla="*/ 61 w 501"/>
                  <a:gd name="T11" fmla="*/ 329 h 357"/>
                  <a:gd name="T12" fmla="*/ 71 w 501"/>
                  <a:gd name="T13" fmla="*/ 309 h 357"/>
                  <a:gd name="T14" fmla="*/ 77 w 501"/>
                  <a:gd name="T15" fmla="*/ 298 h 357"/>
                  <a:gd name="T16" fmla="*/ 84 w 501"/>
                  <a:gd name="T17" fmla="*/ 298 h 357"/>
                  <a:gd name="T18" fmla="*/ 82 w 501"/>
                  <a:gd name="T19" fmla="*/ 302 h 357"/>
                  <a:gd name="T20" fmla="*/ 79 w 501"/>
                  <a:gd name="T21" fmla="*/ 307 h 357"/>
                  <a:gd name="T22" fmla="*/ 73 w 501"/>
                  <a:gd name="T23" fmla="*/ 315 h 357"/>
                  <a:gd name="T24" fmla="*/ 71 w 501"/>
                  <a:gd name="T25" fmla="*/ 334 h 357"/>
                  <a:gd name="T26" fmla="*/ 75 w 501"/>
                  <a:gd name="T27" fmla="*/ 348 h 357"/>
                  <a:gd name="T28" fmla="*/ 81 w 501"/>
                  <a:gd name="T29" fmla="*/ 344 h 357"/>
                  <a:gd name="T30" fmla="*/ 65 w 501"/>
                  <a:gd name="T31" fmla="*/ 346 h 357"/>
                  <a:gd name="T32" fmla="*/ 56 w 501"/>
                  <a:gd name="T33" fmla="*/ 352 h 357"/>
                  <a:gd name="T34" fmla="*/ 46 w 501"/>
                  <a:gd name="T35" fmla="*/ 354 h 357"/>
                  <a:gd name="T36" fmla="*/ 13 w 501"/>
                  <a:gd name="T37" fmla="*/ 352 h 357"/>
                  <a:gd name="T38" fmla="*/ 40 w 501"/>
                  <a:gd name="T39" fmla="*/ 340 h 357"/>
                  <a:gd name="T40" fmla="*/ 50 w 501"/>
                  <a:gd name="T41" fmla="*/ 332 h 357"/>
                  <a:gd name="T42" fmla="*/ 23 w 501"/>
                  <a:gd name="T43" fmla="*/ 342 h 357"/>
                  <a:gd name="T44" fmla="*/ 11 w 501"/>
                  <a:gd name="T45" fmla="*/ 336 h 357"/>
                  <a:gd name="T46" fmla="*/ 6 w 501"/>
                  <a:gd name="T47" fmla="*/ 330 h 357"/>
                  <a:gd name="T48" fmla="*/ 2 w 501"/>
                  <a:gd name="T49" fmla="*/ 315 h 357"/>
                  <a:gd name="T50" fmla="*/ 13 w 501"/>
                  <a:gd name="T51" fmla="*/ 311 h 357"/>
                  <a:gd name="T52" fmla="*/ 21 w 501"/>
                  <a:gd name="T53" fmla="*/ 300 h 357"/>
                  <a:gd name="T54" fmla="*/ 34 w 501"/>
                  <a:gd name="T55" fmla="*/ 300 h 357"/>
                  <a:gd name="T56" fmla="*/ 407 w 501"/>
                  <a:gd name="T57" fmla="*/ 157 h 357"/>
                  <a:gd name="T58" fmla="*/ 376 w 501"/>
                  <a:gd name="T59" fmla="*/ 181 h 357"/>
                  <a:gd name="T60" fmla="*/ 346 w 501"/>
                  <a:gd name="T61" fmla="*/ 188 h 357"/>
                  <a:gd name="T62" fmla="*/ 351 w 501"/>
                  <a:gd name="T63" fmla="*/ 173 h 357"/>
                  <a:gd name="T64" fmla="*/ 357 w 501"/>
                  <a:gd name="T65" fmla="*/ 169 h 357"/>
                  <a:gd name="T66" fmla="*/ 349 w 501"/>
                  <a:gd name="T67" fmla="*/ 165 h 357"/>
                  <a:gd name="T68" fmla="*/ 392 w 501"/>
                  <a:gd name="T69" fmla="*/ 150 h 357"/>
                  <a:gd name="T70" fmla="*/ 453 w 501"/>
                  <a:gd name="T71" fmla="*/ 25 h 357"/>
                  <a:gd name="T72" fmla="*/ 474 w 501"/>
                  <a:gd name="T73" fmla="*/ 11 h 357"/>
                  <a:gd name="T74" fmla="*/ 501 w 501"/>
                  <a:gd name="T75" fmla="*/ 13 h 357"/>
                  <a:gd name="T76" fmla="*/ 467 w 501"/>
                  <a:gd name="T77" fmla="*/ 44 h 357"/>
                  <a:gd name="T78" fmla="*/ 413 w 501"/>
                  <a:gd name="T79" fmla="*/ 46 h 357"/>
                  <a:gd name="T80" fmla="*/ 422 w 501"/>
                  <a:gd name="T81" fmla="*/ 36 h 357"/>
                  <a:gd name="T82" fmla="*/ 453 w 501"/>
                  <a:gd name="T83" fmla="*/ 21 h 357"/>
                  <a:gd name="T84" fmla="*/ 298 w 501"/>
                  <a:gd name="T85" fmla="*/ 84 h 357"/>
                  <a:gd name="T86" fmla="*/ 307 w 501"/>
                  <a:gd name="T87" fmla="*/ 82 h 357"/>
                  <a:gd name="T88" fmla="*/ 303 w 501"/>
                  <a:gd name="T89" fmla="*/ 61 h 357"/>
                  <a:gd name="T90" fmla="*/ 317 w 501"/>
                  <a:gd name="T91" fmla="*/ 54 h 357"/>
                  <a:gd name="T92" fmla="*/ 369 w 501"/>
                  <a:gd name="T93" fmla="*/ 46 h 357"/>
                  <a:gd name="T94" fmla="*/ 388 w 501"/>
                  <a:gd name="T95" fmla="*/ 59 h 357"/>
                  <a:gd name="T96" fmla="*/ 376 w 501"/>
                  <a:gd name="T97" fmla="*/ 79 h 357"/>
                  <a:gd name="T98" fmla="*/ 346 w 501"/>
                  <a:gd name="T99" fmla="*/ 81 h 357"/>
                  <a:gd name="T100" fmla="*/ 336 w 501"/>
                  <a:gd name="T101" fmla="*/ 61 h 357"/>
                  <a:gd name="T102" fmla="*/ 330 w 501"/>
                  <a:gd name="T103" fmla="*/ 73 h 357"/>
                  <a:gd name="T104" fmla="*/ 363 w 501"/>
                  <a:gd name="T105" fmla="*/ 86 h 357"/>
                  <a:gd name="T106" fmla="*/ 342 w 501"/>
                  <a:gd name="T107" fmla="*/ 104 h 357"/>
                  <a:gd name="T108" fmla="*/ 328 w 501"/>
                  <a:gd name="T109" fmla="*/ 111 h 357"/>
                  <a:gd name="T110" fmla="*/ 301 w 501"/>
                  <a:gd name="T111" fmla="*/ 121 h 357"/>
                  <a:gd name="T112" fmla="*/ 301 w 501"/>
                  <a:gd name="T113" fmla="*/ 127 h 357"/>
                  <a:gd name="T114" fmla="*/ 263 w 501"/>
                  <a:gd name="T115" fmla="*/ 140 h 357"/>
                  <a:gd name="T116" fmla="*/ 246 w 501"/>
                  <a:gd name="T117" fmla="*/ 129 h 357"/>
                  <a:gd name="T118" fmla="*/ 246 w 501"/>
                  <a:gd name="T119" fmla="*/ 106 h 357"/>
                  <a:gd name="T120" fmla="*/ 255 w 501"/>
                  <a:gd name="T121" fmla="*/ 86 h 357"/>
                  <a:gd name="T122" fmla="*/ 280 w 501"/>
                  <a:gd name="T123" fmla="*/ 77 h 3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01" h="357">
                    <a:moveTo>
                      <a:pt x="38" y="304"/>
                    </a:moveTo>
                    <a:lnTo>
                      <a:pt x="38" y="305"/>
                    </a:lnTo>
                    <a:lnTo>
                      <a:pt x="38" y="304"/>
                    </a:lnTo>
                    <a:lnTo>
                      <a:pt x="38" y="302"/>
                    </a:lnTo>
                    <a:lnTo>
                      <a:pt x="40" y="302"/>
                    </a:lnTo>
                    <a:lnTo>
                      <a:pt x="38" y="304"/>
                    </a:lnTo>
                    <a:lnTo>
                      <a:pt x="40" y="304"/>
                    </a:lnTo>
                    <a:lnTo>
                      <a:pt x="40" y="305"/>
                    </a:lnTo>
                    <a:lnTo>
                      <a:pt x="40" y="307"/>
                    </a:lnTo>
                    <a:lnTo>
                      <a:pt x="38" y="307"/>
                    </a:lnTo>
                    <a:lnTo>
                      <a:pt x="40" y="307"/>
                    </a:lnTo>
                    <a:lnTo>
                      <a:pt x="40" y="305"/>
                    </a:lnTo>
                    <a:lnTo>
                      <a:pt x="40" y="304"/>
                    </a:lnTo>
                    <a:lnTo>
                      <a:pt x="42" y="304"/>
                    </a:lnTo>
                    <a:lnTo>
                      <a:pt x="40" y="304"/>
                    </a:lnTo>
                    <a:lnTo>
                      <a:pt x="40" y="305"/>
                    </a:lnTo>
                    <a:lnTo>
                      <a:pt x="42" y="305"/>
                    </a:lnTo>
                    <a:lnTo>
                      <a:pt x="42" y="304"/>
                    </a:lnTo>
                    <a:lnTo>
                      <a:pt x="42" y="305"/>
                    </a:lnTo>
                    <a:lnTo>
                      <a:pt x="42" y="307"/>
                    </a:lnTo>
                    <a:lnTo>
                      <a:pt x="42" y="305"/>
                    </a:lnTo>
                    <a:lnTo>
                      <a:pt x="44" y="305"/>
                    </a:lnTo>
                    <a:lnTo>
                      <a:pt x="44" y="304"/>
                    </a:lnTo>
                    <a:lnTo>
                      <a:pt x="42" y="304"/>
                    </a:lnTo>
                    <a:lnTo>
                      <a:pt x="42" y="302"/>
                    </a:lnTo>
                    <a:lnTo>
                      <a:pt x="44" y="302"/>
                    </a:lnTo>
                    <a:lnTo>
                      <a:pt x="42" y="302"/>
                    </a:lnTo>
                    <a:lnTo>
                      <a:pt x="44" y="302"/>
                    </a:lnTo>
                    <a:lnTo>
                      <a:pt x="42" y="304"/>
                    </a:lnTo>
                    <a:lnTo>
                      <a:pt x="44" y="304"/>
                    </a:lnTo>
                    <a:lnTo>
                      <a:pt x="44" y="302"/>
                    </a:lnTo>
                    <a:lnTo>
                      <a:pt x="44" y="304"/>
                    </a:lnTo>
                    <a:lnTo>
                      <a:pt x="42" y="304"/>
                    </a:lnTo>
                    <a:lnTo>
                      <a:pt x="44" y="304"/>
                    </a:lnTo>
                    <a:lnTo>
                      <a:pt x="44" y="305"/>
                    </a:lnTo>
                    <a:lnTo>
                      <a:pt x="44" y="304"/>
                    </a:lnTo>
                    <a:lnTo>
                      <a:pt x="46" y="304"/>
                    </a:lnTo>
                    <a:lnTo>
                      <a:pt x="44" y="304"/>
                    </a:lnTo>
                    <a:lnTo>
                      <a:pt x="44" y="302"/>
                    </a:lnTo>
                    <a:lnTo>
                      <a:pt x="46" y="304"/>
                    </a:lnTo>
                    <a:lnTo>
                      <a:pt x="46" y="305"/>
                    </a:lnTo>
                    <a:lnTo>
                      <a:pt x="46" y="304"/>
                    </a:lnTo>
                    <a:lnTo>
                      <a:pt x="48" y="304"/>
                    </a:lnTo>
                    <a:lnTo>
                      <a:pt x="48" y="302"/>
                    </a:lnTo>
                    <a:lnTo>
                      <a:pt x="50" y="304"/>
                    </a:lnTo>
                    <a:lnTo>
                      <a:pt x="48" y="304"/>
                    </a:lnTo>
                    <a:lnTo>
                      <a:pt x="50" y="304"/>
                    </a:lnTo>
                    <a:lnTo>
                      <a:pt x="50" y="305"/>
                    </a:lnTo>
                    <a:lnTo>
                      <a:pt x="50" y="307"/>
                    </a:lnTo>
                    <a:lnTo>
                      <a:pt x="52" y="307"/>
                    </a:lnTo>
                    <a:lnTo>
                      <a:pt x="50" y="307"/>
                    </a:lnTo>
                    <a:lnTo>
                      <a:pt x="50" y="305"/>
                    </a:lnTo>
                    <a:lnTo>
                      <a:pt x="50" y="307"/>
                    </a:lnTo>
                    <a:lnTo>
                      <a:pt x="48" y="307"/>
                    </a:lnTo>
                    <a:lnTo>
                      <a:pt x="48" y="309"/>
                    </a:lnTo>
                    <a:lnTo>
                      <a:pt x="50" y="309"/>
                    </a:lnTo>
                    <a:lnTo>
                      <a:pt x="50" y="311"/>
                    </a:lnTo>
                    <a:lnTo>
                      <a:pt x="52" y="309"/>
                    </a:lnTo>
                    <a:lnTo>
                      <a:pt x="52" y="307"/>
                    </a:lnTo>
                    <a:lnTo>
                      <a:pt x="50" y="307"/>
                    </a:lnTo>
                    <a:lnTo>
                      <a:pt x="52" y="307"/>
                    </a:lnTo>
                    <a:lnTo>
                      <a:pt x="52" y="305"/>
                    </a:lnTo>
                    <a:lnTo>
                      <a:pt x="52" y="307"/>
                    </a:lnTo>
                    <a:lnTo>
                      <a:pt x="52" y="305"/>
                    </a:lnTo>
                    <a:lnTo>
                      <a:pt x="54" y="305"/>
                    </a:lnTo>
                    <a:lnTo>
                      <a:pt x="52" y="305"/>
                    </a:lnTo>
                    <a:lnTo>
                      <a:pt x="54" y="305"/>
                    </a:lnTo>
                    <a:lnTo>
                      <a:pt x="54" y="307"/>
                    </a:lnTo>
                    <a:lnTo>
                      <a:pt x="54" y="305"/>
                    </a:lnTo>
                    <a:lnTo>
                      <a:pt x="56" y="305"/>
                    </a:lnTo>
                    <a:lnTo>
                      <a:pt x="56" y="307"/>
                    </a:lnTo>
                    <a:lnTo>
                      <a:pt x="56" y="305"/>
                    </a:lnTo>
                    <a:lnTo>
                      <a:pt x="56" y="307"/>
                    </a:lnTo>
                    <a:lnTo>
                      <a:pt x="56" y="305"/>
                    </a:lnTo>
                    <a:lnTo>
                      <a:pt x="54" y="305"/>
                    </a:lnTo>
                    <a:lnTo>
                      <a:pt x="54" y="304"/>
                    </a:lnTo>
                    <a:lnTo>
                      <a:pt x="56" y="304"/>
                    </a:lnTo>
                    <a:lnTo>
                      <a:pt x="56" y="302"/>
                    </a:lnTo>
                    <a:lnTo>
                      <a:pt x="57" y="302"/>
                    </a:lnTo>
                    <a:lnTo>
                      <a:pt x="57" y="304"/>
                    </a:lnTo>
                    <a:lnTo>
                      <a:pt x="57" y="302"/>
                    </a:lnTo>
                    <a:lnTo>
                      <a:pt x="57" y="304"/>
                    </a:lnTo>
                    <a:lnTo>
                      <a:pt x="57" y="302"/>
                    </a:lnTo>
                    <a:lnTo>
                      <a:pt x="57" y="304"/>
                    </a:lnTo>
                    <a:lnTo>
                      <a:pt x="57" y="305"/>
                    </a:lnTo>
                    <a:lnTo>
                      <a:pt x="57" y="307"/>
                    </a:lnTo>
                    <a:lnTo>
                      <a:pt x="57" y="305"/>
                    </a:lnTo>
                    <a:lnTo>
                      <a:pt x="59" y="305"/>
                    </a:lnTo>
                    <a:lnTo>
                      <a:pt x="57" y="305"/>
                    </a:lnTo>
                    <a:lnTo>
                      <a:pt x="59" y="305"/>
                    </a:lnTo>
                    <a:lnTo>
                      <a:pt x="59" y="304"/>
                    </a:lnTo>
                    <a:lnTo>
                      <a:pt x="57" y="304"/>
                    </a:lnTo>
                    <a:lnTo>
                      <a:pt x="57" y="302"/>
                    </a:lnTo>
                    <a:lnTo>
                      <a:pt x="59" y="302"/>
                    </a:lnTo>
                    <a:lnTo>
                      <a:pt x="57" y="302"/>
                    </a:lnTo>
                    <a:lnTo>
                      <a:pt x="59" y="302"/>
                    </a:lnTo>
                    <a:lnTo>
                      <a:pt x="59" y="300"/>
                    </a:lnTo>
                    <a:lnTo>
                      <a:pt x="59" y="302"/>
                    </a:lnTo>
                    <a:lnTo>
                      <a:pt x="59" y="300"/>
                    </a:lnTo>
                    <a:lnTo>
                      <a:pt x="59" y="302"/>
                    </a:lnTo>
                    <a:lnTo>
                      <a:pt x="61" y="302"/>
                    </a:lnTo>
                    <a:lnTo>
                      <a:pt x="59" y="302"/>
                    </a:lnTo>
                    <a:lnTo>
                      <a:pt x="61" y="302"/>
                    </a:lnTo>
                    <a:lnTo>
                      <a:pt x="59" y="302"/>
                    </a:lnTo>
                    <a:lnTo>
                      <a:pt x="61" y="302"/>
                    </a:lnTo>
                    <a:lnTo>
                      <a:pt x="59" y="302"/>
                    </a:lnTo>
                    <a:lnTo>
                      <a:pt x="61" y="300"/>
                    </a:lnTo>
                    <a:lnTo>
                      <a:pt x="59" y="300"/>
                    </a:lnTo>
                    <a:lnTo>
                      <a:pt x="61" y="300"/>
                    </a:lnTo>
                    <a:lnTo>
                      <a:pt x="61" y="298"/>
                    </a:lnTo>
                    <a:lnTo>
                      <a:pt x="61" y="300"/>
                    </a:lnTo>
                    <a:lnTo>
                      <a:pt x="61" y="298"/>
                    </a:lnTo>
                    <a:lnTo>
                      <a:pt x="63" y="298"/>
                    </a:lnTo>
                    <a:lnTo>
                      <a:pt x="65" y="298"/>
                    </a:lnTo>
                    <a:lnTo>
                      <a:pt x="65" y="300"/>
                    </a:lnTo>
                    <a:lnTo>
                      <a:pt x="65" y="298"/>
                    </a:lnTo>
                    <a:lnTo>
                      <a:pt x="65" y="300"/>
                    </a:lnTo>
                    <a:lnTo>
                      <a:pt x="67" y="302"/>
                    </a:lnTo>
                    <a:lnTo>
                      <a:pt x="67" y="300"/>
                    </a:lnTo>
                    <a:lnTo>
                      <a:pt x="67" y="302"/>
                    </a:lnTo>
                    <a:lnTo>
                      <a:pt x="67" y="300"/>
                    </a:lnTo>
                    <a:lnTo>
                      <a:pt x="69" y="300"/>
                    </a:lnTo>
                    <a:lnTo>
                      <a:pt x="69" y="302"/>
                    </a:lnTo>
                    <a:lnTo>
                      <a:pt x="67" y="302"/>
                    </a:lnTo>
                    <a:lnTo>
                      <a:pt x="69" y="302"/>
                    </a:lnTo>
                    <a:lnTo>
                      <a:pt x="67" y="302"/>
                    </a:lnTo>
                    <a:lnTo>
                      <a:pt x="69" y="302"/>
                    </a:lnTo>
                    <a:lnTo>
                      <a:pt x="69" y="304"/>
                    </a:lnTo>
                    <a:lnTo>
                      <a:pt x="67" y="304"/>
                    </a:lnTo>
                    <a:lnTo>
                      <a:pt x="67" y="302"/>
                    </a:lnTo>
                    <a:lnTo>
                      <a:pt x="67" y="304"/>
                    </a:lnTo>
                    <a:lnTo>
                      <a:pt x="67" y="302"/>
                    </a:lnTo>
                    <a:lnTo>
                      <a:pt x="67" y="304"/>
                    </a:lnTo>
                    <a:lnTo>
                      <a:pt x="65" y="304"/>
                    </a:lnTo>
                    <a:lnTo>
                      <a:pt x="65" y="305"/>
                    </a:lnTo>
                    <a:lnTo>
                      <a:pt x="65" y="304"/>
                    </a:lnTo>
                    <a:lnTo>
                      <a:pt x="65" y="302"/>
                    </a:lnTo>
                    <a:lnTo>
                      <a:pt x="65" y="304"/>
                    </a:lnTo>
                    <a:lnTo>
                      <a:pt x="63" y="304"/>
                    </a:lnTo>
                    <a:lnTo>
                      <a:pt x="61" y="304"/>
                    </a:lnTo>
                    <a:lnTo>
                      <a:pt x="63" y="304"/>
                    </a:lnTo>
                    <a:lnTo>
                      <a:pt x="61" y="304"/>
                    </a:lnTo>
                    <a:lnTo>
                      <a:pt x="63" y="304"/>
                    </a:lnTo>
                    <a:lnTo>
                      <a:pt x="61" y="304"/>
                    </a:lnTo>
                    <a:lnTo>
                      <a:pt x="63" y="304"/>
                    </a:lnTo>
                    <a:lnTo>
                      <a:pt x="63" y="305"/>
                    </a:lnTo>
                    <a:lnTo>
                      <a:pt x="65" y="305"/>
                    </a:lnTo>
                    <a:lnTo>
                      <a:pt x="67" y="305"/>
                    </a:lnTo>
                    <a:lnTo>
                      <a:pt x="65" y="305"/>
                    </a:lnTo>
                    <a:lnTo>
                      <a:pt x="65" y="307"/>
                    </a:lnTo>
                    <a:lnTo>
                      <a:pt x="65" y="305"/>
                    </a:lnTo>
                    <a:lnTo>
                      <a:pt x="63" y="305"/>
                    </a:lnTo>
                    <a:lnTo>
                      <a:pt x="63" y="307"/>
                    </a:lnTo>
                    <a:lnTo>
                      <a:pt x="65" y="307"/>
                    </a:lnTo>
                    <a:lnTo>
                      <a:pt x="63" y="307"/>
                    </a:lnTo>
                    <a:lnTo>
                      <a:pt x="65" y="307"/>
                    </a:lnTo>
                    <a:lnTo>
                      <a:pt x="65" y="305"/>
                    </a:lnTo>
                    <a:lnTo>
                      <a:pt x="65" y="307"/>
                    </a:lnTo>
                    <a:lnTo>
                      <a:pt x="63" y="307"/>
                    </a:lnTo>
                    <a:lnTo>
                      <a:pt x="65" y="307"/>
                    </a:lnTo>
                    <a:lnTo>
                      <a:pt x="65" y="305"/>
                    </a:lnTo>
                    <a:lnTo>
                      <a:pt x="65" y="307"/>
                    </a:lnTo>
                    <a:lnTo>
                      <a:pt x="67" y="307"/>
                    </a:lnTo>
                    <a:lnTo>
                      <a:pt x="67" y="305"/>
                    </a:lnTo>
                    <a:lnTo>
                      <a:pt x="67" y="304"/>
                    </a:lnTo>
                    <a:lnTo>
                      <a:pt x="69" y="304"/>
                    </a:lnTo>
                    <a:lnTo>
                      <a:pt x="69" y="305"/>
                    </a:lnTo>
                    <a:lnTo>
                      <a:pt x="67" y="305"/>
                    </a:lnTo>
                    <a:lnTo>
                      <a:pt x="69" y="305"/>
                    </a:lnTo>
                    <a:lnTo>
                      <a:pt x="69" y="307"/>
                    </a:lnTo>
                    <a:lnTo>
                      <a:pt x="67" y="307"/>
                    </a:lnTo>
                    <a:lnTo>
                      <a:pt x="67" y="309"/>
                    </a:lnTo>
                    <a:lnTo>
                      <a:pt x="67" y="307"/>
                    </a:lnTo>
                    <a:lnTo>
                      <a:pt x="67" y="309"/>
                    </a:lnTo>
                    <a:lnTo>
                      <a:pt x="67" y="307"/>
                    </a:lnTo>
                    <a:lnTo>
                      <a:pt x="69" y="309"/>
                    </a:lnTo>
                    <a:lnTo>
                      <a:pt x="67" y="309"/>
                    </a:lnTo>
                    <a:lnTo>
                      <a:pt x="67" y="311"/>
                    </a:lnTo>
                    <a:lnTo>
                      <a:pt x="67" y="313"/>
                    </a:lnTo>
                    <a:lnTo>
                      <a:pt x="69" y="313"/>
                    </a:lnTo>
                    <a:lnTo>
                      <a:pt x="67" y="315"/>
                    </a:lnTo>
                    <a:lnTo>
                      <a:pt x="65" y="315"/>
                    </a:lnTo>
                    <a:lnTo>
                      <a:pt x="67" y="315"/>
                    </a:lnTo>
                    <a:lnTo>
                      <a:pt x="67" y="317"/>
                    </a:lnTo>
                    <a:lnTo>
                      <a:pt x="65" y="317"/>
                    </a:lnTo>
                    <a:lnTo>
                      <a:pt x="65" y="319"/>
                    </a:lnTo>
                    <a:lnTo>
                      <a:pt x="67" y="319"/>
                    </a:lnTo>
                    <a:lnTo>
                      <a:pt x="65" y="319"/>
                    </a:lnTo>
                    <a:lnTo>
                      <a:pt x="65" y="321"/>
                    </a:lnTo>
                    <a:lnTo>
                      <a:pt x="63" y="321"/>
                    </a:lnTo>
                    <a:lnTo>
                      <a:pt x="61" y="321"/>
                    </a:lnTo>
                    <a:lnTo>
                      <a:pt x="63" y="321"/>
                    </a:lnTo>
                    <a:lnTo>
                      <a:pt x="61" y="321"/>
                    </a:lnTo>
                    <a:lnTo>
                      <a:pt x="61" y="323"/>
                    </a:lnTo>
                    <a:lnTo>
                      <a:pt x="59" y="323"/>
                    </a:lnTo>
                    <a:lnTo>
                      <a:pt x="57" y="323"/>
                    </a:lnTo>
                    <a:lnTo>
                      <a:pt x="59" y="323"/>
                    </a:lnTo>
                    <a:lnTo>
                      <a:pt x="59" y="325"/>
                    </a:lnTo>
                    <a:lnTo>
                      <a:pt x="59" y="327"/>
                    </a:lnTo>
                    <a:lnTo>
                      <a:pt x="57" y="329"/>
                    </a:lnTo>
                    <a:lnTo>
                      <a:pt x="59" y="329"/>
                    </a:lnTo>
                    <a:lnTo>
                      <a:pt x="59" y="327"/>
                    </a:lnTo>
                    <a:lnTo>
                      <a:pt x="61" y="327"/>
                    </a:lnTo>
                    <a:lnTo>
                      <a:pt x="61" y="329"/>
                    </a:lnTo>
                    <a:lnTo>
                      <a:pt x="59" y="329"/>
                    </a:lnTo>
                    <a:lnTo>
                      <a:pt x="61" y="329"/>
                    </a:lnTo>
                    <a:lnTo>
                      <a:pt x="61" y="330"/>
                    </a:lnTo>
                    <a:lnTo>
                      <a:pt x="61" y="329"/>
                    </a:lnTo>
                    <a:lnTo>
                      <a:pt x="59" y="329"/>
                    </a:lnTo>
                    <a:lnTo>
                      <a:pt x="61" y="329"/>
                    </a:lnTo>
                    <a:lnTo>
                      <a:pt x="61" y="327"/>
                    </a:lnTo>
                    <a:lnTo>
                      <a:pt x="59" y="327"/>
                    </a:lnTo>
                    <a:lnTo>
                      <a:pt x="59" y="325"/>
                    </a:lnTo>
                    <a:lnTo>
                      <a:pt x="59" y="323"/>
                    </a:lnTo>
                    <a:lnTo>
                      <a:pt x="61" y="323"/>
                    </a:lnTo>
                    <a:lnTo>
                      <a:pt x="61" y="321"/>
                    </a:lnTo>
                    <a:lnTo>
                      <a:pt x="63" y="321"/>
                    </a:lnTo>
                    <a:lnTo>
                      <a:pt x="65" y="321"/>
                    </a:lnTo>
                    <a:lnTo>
                      <a:pt x="65" y="319"/>
                    </a:lnTo>
                    <a:lnTo>
                      <a:pt x="67" y="321"/>
                    </a:lnTo>
                    <a:lnTo>
                      <a:pt x="67" y="319"/>
                    </a:lnTo>
                    <a:lnTo>
                      <a:pt x="67" y="317"/>
                    </a:lnTo>
                    <a:lnTo>
                      <a:pt x="67" y="315"/>
                    </a:lnTo>
                    <a:lnTo>
                      <a:pt x="65" y="315"/>
                    </a:lnTo>
                    <a:lnTo>
                      <a:pt x="67" y="315"/>
                    </a:lnTo>
                    <a:lnTo>
                      <a:pt x="69" y="313"/>
                    </a:lnTo>
                    <a:lnTo>
                      <a:pt x="69" y="315"/>
                    </a:lnTo>
                    <a:lnTo>
                      <a:pt x="71" y="315"/>
                    </a:lnTo>
                    <a:lnTo>
                      <a:pt x="69" y="315"/>
                    </a:lnTo>
                    <a:lnTo>
                      <a:pt x="69" y="313"/>
                    </a:lnTo>
                    <a:lnTo>
                      <a:pt x="69" y="311"/>
                    </a:lnTo>
                    <a:lnTo>
                      <a:pt x="69" y="313"/>
                    </a:lnTo>
                    <a:lnTo>
                      <a:pt x="67" y="313"/>
                    </a:lnTo>
                    <a:lnTo>
                      <a:pt x="67" y="311"/>
                    </a:lnTo>
                    <a:lnTo>
                      <a:pt x="67" y="309"/>
                    </a:lnTo>
                    <a:lnTo>
                      <a:pt x="69" y="309"/>
                    </a:lnTo>
                    <a:lnTo>
                      <a:pt x="67" y="309"/>
                    </a:lnTo>
                    <a:lnTo>
                      <a:pt x="69" y="309"/>
                    </a:lnTo>
                    <a:lnTo>
                      <a:pt x="69" y="307"/>
                    </a:lnTo>
                    <a:lnTo>
                      <a:pt x="71" y="307"/>
                    </a:lnTo>
                    <a:lnTo>
                      <a:pt x="71" y="309"/>
                    </a:lnTo>
                    <a:lnTo>
                      <a:pt x="71" y="307"/>
                    </a:lnTo>
                    <a:lnTo>
                      <a:pt x="69" y="307"/>
                    </a:lnTo>
                    <a:lnTo>
                      <a:pt x="71" y="307"/>
                    </a:lnTo>
                    <a:lnTo>
                      <a:pt x="71" y="309"/>
                    </a:lnTo>
                    <a:lnTo>
                      <a:pt x="73" y="309"/>
                    </a:lnTo>
                    <a:lnTo>
                      <a:pt x="73" y="311"/>
                    </a:lnTo>
                    <a:lnTo>
                      <a:pt x="73" y="309"/>
                    </a:lnTo>
                    <a:lnTo>
                      <a:pt x="71" y="307"/>
                    </a:lnTo>
                    <a:lnTo>
                      <a:pt x="69" y="307"/>
                    </a:lnTo>
                    <a:lnTo>
                      <a:pt x="71" y="307"/>
                    </a:lnTo>
                    <a:lnTo>
                      <a:pt x="69" y="307"/>
                    </a:lnTo>
                    <a:lnTo>
                      <a:pt x="69" y="305"/>
                    </a:lnTo>
                    <a:lnTo>
                      <a:pt x="71" y="305"/>
                    </a:lnTo>
                    <a:lnTo>
                      <a:pt x="71" y="307"/>
                    </a:lnTo>
                    <a:lnTo>
                      <a:pt x="71" y="305"/>
                    </a:lnTo>
                    <a:lnTo>
                      <a:pt x="71" y="304"/>
                    </a:lnTo>
                    <a:lnTo>
                      <a:pt x="73" y="304"/>
                    </a:lnTo>
                    <a:lnTo>
                      <a:pt x="75" y="304"/>
                    </a:lnTo>
                    <a:lnTo>
                      <a:pt x="75" y="305"/>
                    </a:lnTo>
                    <a:lnTo>
                      <a:pt x="75" y="307"/>
                    </a:lnTo>
                    <a:lnTo>
                      <a:pt x="77" y="307"/>
                    </a:lnTo>
                    <a:lnTo>
                      <a:pt x="75" y="307"/>
                    </a:lnTo>
                    <a:lnTo>
                      <a:pt x="75" y="305"/>
                    </a:lnTo>
                    <a:lnTo>
                      <a:pt x="75" y="307"/>
                    </a:lnTo>
                    <a:lnTo>
                      <a:pt x="75" y="305"/>
                    </a:lnTo>
                    <a:lnTo>
                      <a:pt x="75" y="304"/>
                    </a:lnTo>
                    <a:lnTo>
                      <a:pt x="75" y="302"/>
                    </a:lnTo>
                    <a:lnTo>
                      <a:pt x="73" y="304"/>
                    </a:lnTo>
                    <a:lnTo>
                      <a:pt x="73" y="302"/>
                    </a:lnTo>
                    <a:lnTo>
                      <a:pt x="73" y="300"/>
                    </a:lnTo>
                    <a:lnTo>
                      <a:pt x="75" y="300"/>
                    </a:lnTo>
                    <a:lnTo>
                      <a:pt x="75" y="298"/>
                    </a:lnTo>
                    <a:lnTo>
                      <a:pt x="75" y="300"/>
                    </a:lnTo>
                    <a:lnTo>
                      <a:pt x="75" y="298"/>
                    </a:lnTo>
                    <a:lnTo>
                      <a:pt x="77" y="298"/>
                    </a:lnTo>
                    <a:lnTo>
                      <a:pt x="79" y="298"/>
                    </a:lnTo>
                    <a:lnTo>
                      <a:pt x="77" y="298"/>
                    </a:lnTo>
                    <a:lnTo>
                      <a:pt x="79" y="298"/>
                    </a:lnTo>
                    <a:lnTo>
                      <a:pt x="77" y="298"/>
                    </a:lnTo>
                    <a:lnTo>
                      <a:pt x="79" y="298"/>
                    </a:lnTo>
                    <a:lnTo>
                      <a:pt x="77" y="298"/>
                    </a:lnTo>
                    <a:lnTo>
                      <a:pt x="79" y="298"/>
                    </a:lnTo>
                    <a:lnTo>
                      <a:pt x="79" y="296"/>
                    </a:lnTo>
                    <a:lnTo>
                      <a:pt x="77" y="296"/>
                    </a:lnTo>
                    <a:lnTo>
                      <a:pt x="79" y="296"/>
                    </a:lnTo>
                    <a:lnTo>
                      <a:pt x="77" y="296"/>
                    </a:lnTo>
                    <a:lnTo>
                      <a:pt x="77" y="294"/>
                    </a:lnTo>
                    <a:lnTo>
                      <a:pt x="79" y="294"/>
                    </a:lnTo>
                    <a:lnTo>
                      <a:pt x="77" y="294"/>
                    </a:lnTo>
                    <a:lnTo>
                      <a:pt x="77" y="296"/>
                    </a:lnTo>
                    <a:lnTo>
                      <a:pt x="77" y="294"/>
                    </a:lnTo>
                    <a:lnTo>
                      <a:pt x="79" y="294"/>
                    </a:lnTo>
                    <a:lnTo>
                      <a:pt x="81" y="294"/>
                    </a:lnTo>
                    <a:lnTo>
                      <a:pt x="81" y="296"/>
                    </a:lnTo>
                    <a:lnTo>
                      <a:pt x="81" y="294"/>
                    </a:lnTo>
                    <a:lnTo>
                      <a:pt x="79" y="294"/>
                    </a:lnTo>
                    <a:lnTo>
                      <a:pt x="81" y="292"/>
                    </a:lnTo>
                    <a:lnTo>
                      <a:pt x="82" y="292"/>
                    </a:lnTo>
                    <a:lnTo>
                      <a:pt x="81" y="292"/>
                    </a:lnTo>
                    <a:lnTo>
                      <a:pt x="81" y="294"/>
                    </a:lnTo>
                    <a:lnTo>
                      <a:pt x="82" y="294"/>
                    </a:lnTo>
                    <a:lnTo>
                      <a:pt x="82" y="296"/>
                    </a:lnTo>
                    <a:lnTo>
                      <a:pt x="82" y="294"/>
                    </a:lnTo>
                    <a:lnTo>
                      <a:pt x="82" y="296"/>
                    </a:lnTo>
                    <a:lnTo>
                      <a:pt x="82" y="294"/>
                    </a:lnTo>
                    <a:lnTo>
                      <a:pt x="82" y="292"/>
                    </a:lnTo>
                    <a:lnTo>
                      <a:pt x="84" y="292"/>
                    </a:lnTo>
                    <a:lnTo>
                      <a:pt x="82" y="292"/>
                    </a:lnTo>
                    <a:lnTo>
                      <a:pt x="84" y="292"/>
                    </a:lnTo>
                    <a:lnTo>
                      <a:pt x="84" y="294"/>
                    </a:lnTo>
                    <a:lnTo>
                      <a:pt x="84" y="296"/>
                    </a:lnTo>
                    <a:lnTo>
                      <a:pt x="84" y="298"/>
                    </a:lnTo>
                    <a:lnTo>
                      <a:pt x="86" y="298"/>
                    </a:lnTo>
                    <a:lnTo>
                      <a:pt x="84" y="298"/>
                    </a:lnTo>
                    <a:lnTo>
                      <a:pt x="84" y="296"/>
                    </a:lnTo>
                    <a:lnTo>
                      <a:pt x="86" y="296"/>
                    </a:lnTo>
                    <a:lnTo>
                      <a:pt x="84" y="296"/>
                    </a:lnTo>
                    <a:lnTo>
                      <a:pt x="86" y="296"/>
                    </a:lnTo>
                    <a:lnTo>
                      <a:pt x="86" y="294"/>
                    </a:lnTo>
                    <a:lnTo>
                      <a:pt x="86" y="296"/>
                    </a:lnTo>
                    <a:lnTo>
                      <a:pt x="86" y="294"/>
                    </a:lnTo>
                    <a:lnTo>
                      <a:pt x="86" y="292"/>
                    </a:lnTo>
                    <a:lnTo>
                      <a:pt x="86" y="294"/>
                    </a:lnTo>
                    <a:lnTo>
                      <a:pt x="86" y="292"/>
                    </a:lnTo>
                    <a:lnTo>
                      <a:pt x="86" y="294"/>
                    </a:lnTo>
                    <a:lnTo>
                      <a:pt x="86" y="296"/>
                    </a:lnTo>
                    <a:lnTo>
                      <a:pt x="86" y="298"/>
                    </a:lnTo>
                    <a:lnTo>
                      <a:pt x="86" y="296"/>
                    </a:lnTo>
                    <a:lnTo>
                      <a:pt x="88" y="296"/>
                    </a:lnTo>
                    <a:lnTo>
                      <a:pt x="88" y="298"/>
                    </a:lnTo>
                    <a:lnTo>
                      <a:pt x="86" y="298"/>
                    </a:lnTo>
                    <a:lnTo>
                      <a:pt x="86" y="300"/>
                    </a:lnTo>
                    <a:lnTo>
                      <a:pt x="88" y="300"/>
                    </a:lnTo>
                    <a:lnTo>
                      <a:pt x="86" y="300"/>
                    </a:lnTo>
                    <a:lnTo>
                      <a:pt x="86" y="302"/>
                    </a:lnTo>
                    <a:lnTo>
                      <a:pt x="88" y="302"/>
                    </a:lnTo>
                    <a:lnTo>
                      <a:pt x="88" y="304"/>
                    </a:lnTo>
                    <a:lnTo>
                      <a:pt x="88" y="302"/>
                    </a:lnTo>
                    <a:lnTo>
                      <a:pt x="88" y="304"/>
                    </a:lnTo>
                    <a:lnTo>
                      <a:pt x="86" y="304"/>
                    </a:lnTo>
                    <a:lnTo>
                      <a:pt x="86" y="305"/>
                    </a:lnTo>
                    <a:lnTo>
                      <a:pt x="86" y="307"/>
                    </a:lnTo>
                    <a:lnTo>
                      <a:pt x="84" y="307"/>
                    </a:lnTo>
                    <a:lnTo>
                      <a:pt x="82" y="305"/>
                    </a:lnTo>
                    <a:lnTo>
                      <a:pt x="84" y="304"/>
                    </a:lnTo>
                    <a:lnTo>
                      <a:pt x="82" y="304"/>
                    </a:lnTo>
                    <a:lnTo>
                      <a:pt x="84" y="304"/>
                    </a:lnTo>
                    <a:lnTo>
                      <a:pt x="82" y="304"/>
                    </a:lnTo>
                    <a:lnTo>
                      <a:pt x="82" y="302"/>
                    </a:lnTo>
                    <a:lnTo>
                      <a:pt x="82" y="304"/>
                    </a:lnTo>
                    <a:lnTo>
                      <a:pt x="82" y="302"/>
                    </a:lnTo>
                    <a:lnTo>
                      <a:pt x="82" y="300"/>
                    </a:lnTo>
                    <a:lnTo>
                      <a:pt x="81" y="300"/>
                    </a:lnTo>
                    <a:lnTo>
                      <a:pt x="79" y="300"/>
                    </a:lnTo>
                    <a:lnTo>
                      <a:pt x="81" y="300"/>
                    </a:lnTo>
                    <a:lnTo>
                      <a:pt x="82" y="300"/>
                    </a:lnTo>
                    <a:lnTo>
                      <a:pt x="82" y="302"/>
                    </a:lnTo>
                    <a:lnTo>
                      <a:pt x="82" y="304"/>
                    </a:lnTo>
                    <a:lnTo>
                      <a:pt x="82" y="305"/>
                    </a:lnTo>
                    <a:lnTo>
                      <a:pt x="81" y="305"/>
                    </a:lnTo>
                    <a:lnTo>
                      <a:pt x="82" y="305"/>
                    </a:lnTo>
                    <a:lnTo>
                      <a:pt x="82" y="304"/>
                    </a:lnTo>
                    <a:lnTo>
                      <a:pt x="81" y="304"/>
                    </a:lnTo>
                    <a:lnTo>
                      <a:pt x="79" y="304"/>
                    </a:lnTo>
                    <a:lnTo>
                      <a:pt x="77" y="304"/>
                    </a:lnTo>
                    <a:lnTo>
                      <a:pt x="77" y="302"/>
                    </a:lnTo>
                    <a:lnTo>
                      <a:pt x="79" y="302"/>
                    </a:lnTo>
                    <a:lnTo>
                      <a:pt x="77" y="302"/>
                    </a:lnTo>
                    <a:lnTo>
                      <a:pt x="77" y="300"/>
                    </a:lnTo>
                    <a:lnTo>
                      <a:pt x="79" y="300"/>
                    </a:lnTo>
                    <a:lnTo>
                      <a:pt x="79" y="298"/>
                    </a:lnTo>
                    <a:lnTo>
                      <a:pt x="77" y="298"/>
                    </a:lnTo>
                    <a:lnTo>
                      <a:pt x="79" y="298"/>
                    </a:lnTo>
                    <a:lnTo>
                      <a:pt x="77" y="298"/>
                    </a:lnTo>
                    <a:lnTo>
                      <a:pt x="77" y="300"/>
                    </a:lnTo>
                    <a:lnTo>
                      <a:pt x="75" y="300"/>
                    </a:lnTo>
                    <a:lnTo>
                      <a:pt x="75" y="302"/>
                    </a:lnTo>
                    <a:lnTo>
                      <a:pt x="77" y="302"/>
                    </a:lnTo>
                    <a:lnTo>
                      <a:pt x="77" y="304"/>
                    </a:lnTo>
                    <a:lnTo>
                      <a:pt x="77" y="305"/>
                    </a:lnTo>
                    <a:lnTo>
                      <a:pt x="77" y="304"/>
                    </a:lnTo>
                    <a:lnTo>
                      <a:pt x="79" y="304"/>
                    </a:lnTo>
                    <a:lnTo>
                      <a:pt x="79" y="305"/>
                    </a:lnTo>
                    <a:lnTo>
                      <a:pt x="79" y="307"/>
                    </a:lnTo>
                    <a:lnTo>
                      <a:pt x="79" y="309"/>
                    </a:lnTo>
                    <a:lnTo>
                      <a:pt x="77" y="309"/>
                    </a:lnTo>
                    <a:lnTo>
                      <a:pt x="79" y="309"/>
                    </a:lnTo>
                    <a:lnTo>
                      <a:pt x="77" y="309"/>
                    </a:lnTo>
                    <a:lnTo>
                      <a:pt x="77" y="311"/>
                    </a:lnTo>
                    <a:lnTo>
                      <a:pt x="75" y="311"/>
                    </a:lnTo>
                    <a:lnTo>
                      <a:pt x="77" y="311"/>
                    </a:lnTo>
                    <a:lnTo>
                      <a:pt x="75" y="311"/>
                    </a:lnTo>
                    <a:lnTo>
                      <a:pt x="73" y="311"/>
                    </a:lnTo>
                    <a:lnTo>
                      <a:pt x="73" y="309"/>
                    </a:lnTo>
                    <a:lnTo>
                      <a:pt x="75" y="309"/>
                    </a:lnTo>
                    <a:lnTo>
                      <a:pt x="75" y="307"/>
                    </a:lnTo>
                    <a:lnTo>
                      <a:pt x="73" y="307"/>
                    </a:lnTo>
                    <a:lnTo>
                      <a:pt x="73" y="305"/>
                    </a:lnTo>
                    <a:lnTo>
                      <a:pt x="71" y="305"/>
                    </a:lnTo>
                    <a:lnTo>
                      <a:pt x="71" y="307"/>
                    </a:lnTo>
                    <a:lnTo>
                      <a:pt x="73" y="307"/>
                    </a:lnTo>
                    <a:lnTo>
                      <a:pt x="75" y="307"/>
                    </a:lnTo>
                    <a:lnTo>
                      <a:pt x="73" y="309"/>
                    </a:lnTo>
                    <a:lnTo>
                      <a:pt x="73" y="311"/>
                    </a:lnTo>
                    <a:lnTo>
                      <a:pt x="75" y="311"/>
                    </a:lnTo>
                    <a:lnTo>
                      <a:pt x="77" y="311"/>
                    </a:lnTo>
                    <a:lnTo>
                      <a:pt x="75" y="313"/>
                    </a:lnTo>
                    <a:lnTo>
                      <a:pt x="75" y="315"/>
                    </a:lnTo>
                    <a:lnTo>
                      <a:pt x="75" y="313"/>
                    </a:lnTo>
                    <a:lnTo>
                      <a:pt x="73" y="313"/>
                    </a:lnTo>
                    <a:lnTo>
                      <a:pt x="71" y="313"/>
                    </a:lnTo>
                    <a:lnTo>
                      <a:pt x="73" y="313"/>
                    </a:lnTo>
                    <a:lnTo>
                      <a:pt x="75" y="313"/>
                    </a:lnTo>
                    <a:lnTo>
                      <a:pt x="75" y="315"/>
                    </a:lnTo>
                    <a:lnTo>
                      <a:pt x="73" y="315"/>
                    </a:lnTo>
                    <a:lnTo>
                      <a:pt x="75" y="315"/>
                    </a:lnTo>
                    <a:lnTo>
                      <a:pt x="75" y="317"/>
                    </a:lnTo>
                    <a:lnTo>
                      <a:pt x="75" y="315"/>
                    </a:lnTo>
                    <a:lnTo>
                      <a:pt x="73" y="315"/>
                    </a:lnTo>
                    <a:lnTo>
                      <a:pt x="75" y="315"/>
                    </a:lnTo>
                    <a:lnTo>
                      <a:pt x="75" y="313"/>
                    </a:lnTo>
                    <a:lnTo>
                      <a:pt x="77" y="313"/>
                    </a:lnTo>
                    <a:lnTo>
                      <a:pt x="77" y="311"/>
                    </a:lnTo>
                    <a:lnTo>
                      <a:pt x="77" y="313"/>
                    </a:lnTo>
                    <a:lnTo>
                      <a:pt x="79" y="313"/>
                    </a:lnTo>
                    <a:lnTo>
                      <a:pt x="79" y="315"/>
                    </a:lnTo>
                    <a:lnTo>
                      <a:pt x="79" y="317"/>
                    </a:lnTo>
                    <a:lnTo>
                      <a:pt x="81" y="317"/>
                    </a:lnTo>
                    <a:lnTo>
                      <a:pt x="81" y="319"/>
                    </a:lnTo>
                    <a:lnTo>
                      <a:pt x="79" y="319"/>
                    </a:lnTo>
                    <a:lnTo>
                      <a:pt x="79" y="321"/>
                    </a:lnTo>
                    <a:lnTo>
                      <a:pt x="79" y="323"/>
                    </a:lnTo>
                    <a:lnTo>
                      <a:pt x="77" y="325"/>
                    </a:lnTo>
                    <a:lnTo>
                      <a:pt x="75" y="325"/>
                    </a:lnTo>
                    <a:lnTo>
                      <a:pt x="77" y="325"/>
                    </a:lnTo>
                    <a:lnTo>
                      <a:pt x="77" y="323"/>
                    </a:lnTo>
                    <a:lnTo>
                      <a:pt x="77" y="321"/>
                    </a:lnTo>
                    <a:lnTo>
                      <a:pt x="77" y="323"/>
                    </a:lnTo>
                    <a:lnTo>
                      <a:pt x="77" y="325"/>
                    </a:lnTo>
                    <a:lnTo>
                      <a:pt x="75" y="325"/>
                    </a:lnTo>
                    <a:lnTo>
                      <a:pt x="77" y="325"/>
                    </a:lnTo>
                    <a:lnTo>
                      <a:pt x="75" y="325"/>
                    </a:lnTo>
                    <a:lnTo>
                      <a:pt x="75" y="327"/>
                    </a:lnTo>
                    <a:lnTo>
                      <a:pt x="75" y="329"/>
                    </a:lnTo>
                    <a:lnTo>
                      <a:pt x="73" y="329"/>
                    </a:lnTo>
                    <a:lnTo>
                      <a:pt x="73" y="330"/>
                    </a:lnTo>
                    <a:lnTo>
                      <a:pt x="71" y="330"/>
                    </a:lnTo>
                    <a:lnTo>
                      <a:pt x="69" y="330"/>
                    </a:lnTo>
                    <a:lnTo>
                      <a:pt x="69" y="332"/>
                    </a:lnTo>
                    <a:lnTo>
                      <a:pt x="69" y="334"/>
                    </a:lnTo>
                    <a:lnTo>
                      <a:pt x="69" y="332"/>
                    </a:lnTo>
                    <a:lnTo>
                      <a:pt x="69" y="330"/>
                    </a:lnTo>
                    <a:lnTo>
                      <a:pt x="71" y="332"/>
                    </a:lnTo>
                    <a:lnTo>
                      <a:pt x="71" y="334"/>
                    </a:lnTo>
                    <a:lnTo>
                      <a:pt x="71" y="336"/>
                    </a:lnTo>
                    <a:lnTo>
                      <a:pt x="71" y="334"/>
                    </a:lnTo>
                    <a:lnTo>
                      <a:pt x="71" y="332"/>
                    </a:lnTo>
                    <a:lnTo>
                      <a:pt x="71" y="330"/>
                    </a:lnTo>
                    <a:lnTo>
                      <a:pt x="73" y="330"/>
                    </a:lnTo>
                    <a:lnTo>
                      <a:pt x="73" y="329"/>
                    </a:lnTo>
                    <a:lnTo>
                      <a:pt x="73" y="330"/>
                    </a:lnTo>
                    <a:lnTo>
                      <a:pt x="73" y="332"/>
                    </a:lnTo>
                    <a:lnTo>
                      <a:pt x="75" y="334"/>
                    </a:lnTo>
                    <a:lnTo>
                      <a:pt x="75" y="336"/>
                    </a:lnTo>
                    <a:lnTo>
                      <a:pt x="77" y="336"/>
                    </a:lnTo>
                    <a:lnTo>
                      <a:pt x="77" y="338"/>
                    </a:lnTo>
                    <a:lnTo>
                      <a:pt x="75" y="338"/>
                    </a:lnTo>
                    <a:lnTo>
                      <a:pt x="73" y="336"/>
                    </a:lnTo>
                    <a:lnTo>
                      <a:pt x="71" y="336"/>
                    </a:lnTo>
                    <a:lnTo>
                      <a:pt x="73" y="336"/>
                    </a:lnTo>
                    <a:lnTo>
                      <a:pt x="73" y="338"/>
                    </a:lnTo>
                    <a:lnTo>
                      <a:pt x="75" y="338"/>
                    </a:lnTo>
                    <a:lnTo>
                      <a:pt x="75" y="340"/>
                    </a:lnTo>
                    <a:lnTo>
                      <a:pt x="73" y="340"/>
                    </a:lnTo>
                    <a:lnTo>
                      <a:pt x="75" y="340"/>
                    </a:lnTo>
                    <a:lnTo>
                      <a:pt x="75" y="342"/>
                    </a:lnTo>
                    <a:lnTo>
                      <a:pt x="77" y="342"/>
                    </a:lnTo>
                    <a:lnTo>
                      <a:pt x="75" y="342"/>
                    </a:lnTo>
                    <a:lnTo>
                      <a:pt x="75" y="344"/>
                    </a:lnTo>
                    <a:lnTo>
                      <a:pt x="77" y="344"/>
                    </a:lnTo>
                    <a:lnTo>
                      <a:pt x="75" y="344"/>
                    </a:lnTo>
                    <a:lnTo>
                      <a:pt x="73" y="344"/>
                    </a:lnTo>
                    <a:lnTo>
                      <a:pt x="75" y="344"/>
                    </a:lnTo>
                    <a:lnTo>
                      <a:pt x="77" y="344"/>
                    </a:lnTo>
                    <a:lnTo>
                      <a:pt x="77" y="346"/>
                    </a:lnTo>
                    <a:lnTo>
                      <a:pt x="75" y="346"/>
                    </a:lnTo>
                    <a:lnTo>
                      <a:pt x="73" y="346"/>
                    </a:lnTo>
                    <a:lnTo>
                      <a:pt x="73" y="348"/>
                    </a:lnTo>
                    <a:lnTo>
                      <a:pt x="75" y="348"/>
                    </a:lnTo>
                    <a:lnTo>
                      <a:pt x="77" y="348"/>
                    </a:lnTo>
                    <a:lnTo>
                      <a:pt x="75" y="348"/>
                    </a:lnTo>
                    <a:lnTo>
                      <a:pt x="75" y="346"/>
                    </a:lnTo>
                    <a:lnTo>
                      <a:pt x="77" y="346"/>
                    </a:lnTo>
                    <a:lnTo>
                      <a:pt x="77" y="344"/>
                    </a:lnTo>
                    <a:lnTo>
                      <a:pt x="77" y="346"/>
                    </a:lnTo>
                    <a:lnTo>
                      <a:pt x="79" y="346"/>
                    </a:lnTo>
                    <a:lnTo>
                      <a:pt x="77" y="346"/>
                    </a:lnTo>
                    <a:lnTo>
                      <a:pt x="77" y="348"/>
                    </a:lnTo>
                    <a:lnTo>
                      <a:pt x="77" y="346"/>
                    </a:lnTo>
                    <a:lnTo>
                      <a:pt x="79" y="346"/>
                    </a:lnTo>
                    <a:lnTo>
                      <a:pt x="79" y="344"/>
                    </a:lnTo>
                    <a:lnTo>
                      <a:pt x="77" y="344"/>
                    </a:lnTo>
                    <a:lnTo>
                      <a:pt x="75" y="344"/>
                    </a:lnTo>
                    <a:lnTo>
                      <a:pt x="75" y="342"/>
                    </a:lnTo>
                    <a:lnTo>
                      <a:pt x="77" y="342"/>
                    </a:lnTo>
                    <a:lnTo>
                      <a:pt x="75" y="342"/>
                    </a:lnTo>
                    <a:lnTo>
                      <a:pt x="77" y="342"/>
                    </a:lnTo>
                    <a:lnTo>
                      <a:pt x="75" y="342"/>
                    </a:lnTo>
                    <a:lnTo>
                      <a:pt x="75" y="340"/>
                    </a:lnTo>
                    <a:lnTo>
                      <a:pt x="73" y="340"/>
                    </a:lnTo>
                    <a:lnTo>
                      <a:pt x="75" y="340"/>
                    </a:lnTo>
                    <a:lnTo>
                      <a:pt x="75" y="338"/>
                    </a:lnTo>
                    <a:lnTo>
                      <a:pt x="73" y="338"/>
                    </a:lnTo>
                    <a:lnTo>
                      <a:pt x="75" y="338"/>
                    </a:lnTo>
                    <a:lnTo>
                      <a:pt x="77" y="338"/>
                    </a:lnTo>
                    <a:lnTo>
                      <a:pt x="77" y="340"/>
                    </a:lnTo>
                    <a:lnTo>
                      <a:pt x="77" y="342"/>
                    </a:lnTo>
                    <a:lnTo>
                      <a:pt x="79" y="342"/>
                    </a:lnTo>
                    <a:lnTo>
                      <a:pt x="77" y="344"/>
                    </a:lnTo>
                    <a:lnTo>
                      <a:pt x="79" y="342"/>
                    </a:lnTo>
                    <a:lnTo>
                      <a:pt x="79" y="344"/>
                    </a:lnTo>
                    <a:lnTo>
                      <a:pt x="79" y="346"/>
                    </a:lnTo>
                    <a:lnTo>
                      <a:pt x="81" y="346"/>
                    </a:lnTo>
                    <a:lnTo>
                      <a:pt x="81" y="344"/>
                    </a:lnTo>
                    <a:lnTo>
                      <a:pt x="81" y="346"/>
                    </a:lnTo>
                    <a:lnTo>
                      <a:pt x="81" y="348"/>
                    </a:lnTo>
                    <a:lnTo>
                      <a:pt x="81" y="346"/>
                    </a:lnTo>
                    <a:lnTo>
                      <a:pt x="81" y="348"/>
                    </a:lnTo>
                    <a:lnTo>
                      <a:pt x="79" y="348"/>
                    </a:lnTo>
                    <a:lnTo>
                      <a:pt x="79" y="350"/>
                    </a:lnTo>
                    <a:lnTo>
                      <a:pt x="79" y="352"/>
                    </a:lnTo>
                    <a:lnTo>
                      <a:pt x="77" y="352"/>
                    </a:lnTo>
                    <a:lnTo>
                      <a:pt x="77" y="350"/>
                    </a:lnTo>
                    <a:lnTo>
                      <a:pt x="75" y="350"/>
                    </a:lnTo>
                    <a:lnTo>
                      <a:pt x="73" y="350"/>
                    </a:lnTo>
                    <a:lnTo>
                      <a:pt x="71" y="350"/>
                    </a:lnTo>
                    <a:lnTo>
                      <a:pt x="71" y="348"/>
                    </a:lnTo>
                    <a:lnTo>
                      <a:pt x="73" y="348"/>
                    </a:lnTo>
                    <a:lnTo>
                      <a:pt x="71" y="348"/>
                    </a:lnTo>
                    <a:lnTo>
                      <a:pt x="69" y="348"/>
                    </a:lnTo>
                    <a:lnTo>
                      <a:pt x="67" y="348"/>
                    </a:lnTo>
                    <a:lnTo>
                      <a:pt x="67" y="346"/>
                    </a:lnTo>
                    <a:lnTo>
                      <a:pt x="67" y="344"/>
                    </a:lnTo>
                    <a:lnTo>
                      <a:pt x="69" y="344"/>
                    </a:lnTo>
                    <a:lnTo>
                      <a:pt x="67" y="344"/>
                    </a:lnTo>
                    <a:lnTo>
                      <a:pt x="69" y="344"/>
                    </a:lnTo>
                    <a:lnTo>
                      <a:pt x="69" y="342"/>
                    </a:lnTo>
                    <a:lnTo>
                      <a:pt x="67" y="342"/>
                    </a:lnTo>
                    <a:lnTo>
                      <a:pt x="69" y="342"/>
                    </a:lnTo>
                    <a:lnTo>
                      <a:pt x="67" y="342"/>
                    </a:lnTo>
                    <a:lnTo>
                      <a:pt x="69" y="344"/>
                    </a:lnTo>
                    <a:lnTo>
                      <a:pt x="67" y="344"/>
                    </a:lnTo>
                    <a:lnTo>
                      <a:pt x="67" y="346"/>
                    </a:lnTo>
                    <a:lnTo>
                      <a:pt x="65" y="346"/>
                    </a:lnTo>
                    <a:lnTo>
                      <a:pt x="65" y="344"/>
                    </a:lnTo>
                    <a:lnTo>
                      <a:pt x="63" y="342"/>
                    </a:lnTo>
                    <a:lnTo>
                      <a:pt x="63" y="344"/>
                    </a:lnTo>
                    <a:lnTo>
                      <a:pt x="65" y="344"/>
                    </a:lnTo>
                    <a:lnTo>
                      <a:pt x="65" y="346"/>
                    </a:lnTo>
                    <a:lnTo>
                      <a:pt x="63" y="346"/>
                    </a:lnTo>
                    <a:lnTo>
                      <a:pt x="65" y="346"/>
                    </a:lnTo>
                    <a:lnTo>
                      <a:pt x="67" y="346"/>
                    </a:lnTo>
                    <a:lnTo>
                      <a:pt x="67" y="348"/>
                    </a:lnTo>
                    <a:lnTo>
                      <a:pt x="65" y="348"/>
                    </a:lnTo>
                    <a:lnTo>
                      <a:pt x="63" y="348"/>
                    </a:lnTo>
                    <a:lnTo>
                      <a:pt x="61" y="348"/>
                    </a:lnTo>
                    <a:lnTo>
                      <a:pt x="59" y="348"/>
                    </a:lnTo>
                    <a:lnTo>
                      <a:pt x="59" y="346"/>
                    </a:lnTo>
                    <a:lnTo>
                      <a:pt x="57" y="346"/>
                    </a:lnTo>
                    <a:lnTo>
                      <a:pt x="59" y="346"/>
                    </a:lnTo>
                    <a:lnTo>
                      <a:pt x="59" y="348"/>
                    </a:lnTo>
                    <a:lnTo>
                      <a:pt x="61" y="348"/>
                    </a:lnTo>
                    <a:lnTo>
                      <a:pt x="63" y="348"/>
                    </a:lnTo>
                    <a:lnTo>
                      <a:pt x="63" y="350"/>
                    </a:lnTo>
                    <a:lnTo>
                      <a:pt x="63" y="352"/>
                    </a:lnTo>
                    <a:lnTo>
                      <a:pt x="65" y="352"/>
                    </a:lnTo>
                    <a:lnTo>
                      <a:pt x="65" y="350"/>
                    </a:lnTo>
                    <a:lnTo>
                      <a:pt x="65" y="352"/>
                    </a:lnTo>
                    <a:lnTo>
                      <a:pt x="67" y="352"/>
                    </a:lnTo>
                    <a:lnTo>
                      <a:pt x="65" y="352"/>
                    </a:lnTo>
                    <a:lnTo>
                      <a:pt x="63" y="352"/>
                    </a:lnTo>
                    <a:lnTo>
                      <a:pt x="63" y="354"/>
                    </a:lnTo>
                    <a:lnTo>
                      <a:pt x="61" y="354"/>
                    </a:lnTo>
                    <a:lnTo>
                      <a:pt x="63" y="354"/>
                    </a:lnTo>
                    <a:lnTo>
                      <a:pt x="61" y="354"/>
                    </a:lnTo>
                    <a:lnTo>
                      <a:pt x="61" y="355"/>
                    </a:lnTo>
                    <a:lnTo>
                      <a:pt x="59" y="357"/>
                    </a:lnTo>
                    <a:lnTo>
                      <a:pt x="57" y="357"/>
                    </a:lnTo>
                    <a:lnTo>
                      <a:pt x="57" y="355"/>
                    </a:lnTo>
                    <a:lnTo>
                      <a:pt x="56" y="355"/>
                    </a:lnTo>
                    <a:lnTo>
                      <a:pt x="57" y="355"/>
                    </a:lnTo>
                    <a:lnTo>
                      <a:pt x="56" y="355"/>
                    </a:lnTo>
                    <a:lnTo>
                      <a:pt x="56" y="354"/>
                    </a:lnTo>
                    <a:lnTo>
                      <a:pt x="56" y="352"/>
                    </a:lnTo>
                    <a:lnTo>
                      <a:pt x="56" y="354"/>
                    </a:lnTo>
                    <a:lnTo>
                      <a:pt x="54" y="354"/>
                    </a:lnTo>
                    <a:lnTo>
                      <a:pt x="56" y="354"/>
                    </a:lnTo>
                    <a:lnTo>
                      <a:pt x="54" y="354"/>
                    </a:lnTo>
                    <a:lnTo>
                      <a:pt x="56" y="354"/>
                    </a:lnTo>
                    <a:lnTo>
                      <a:pt x="56" y="355"/>
                    </a:lnTo>
                    <a:lnTo>
                      <a:pt x="54" y="355"/>
                    </a:lnTo>
                    <a:lnTo>
                      <a:pt x="56" y="355"/>
                    </a:lnTo>
                    <a:lnTo>
                      <a:pt x="54" y="355"/>
                    </a:lnTo>
                    <a:lnTo>
                      <a:pt x="56" y="355"/>
                    </a:lnTo>
                    <a:lnTo>
                      <a:pt x="57" y="355"/>
                    </a:lnTo>
                    <a:lnTo>
                      <a:pt x="57" y="357"/>
                    </a:lnTo>
                    <a:lnTo>
                      <a:pt x="56" y="357"/>
                    </a:lnTo>
                    <a:lnTo>
                      <a:pt x="54" y="357"/>
                    </a:lnTo>
                    <a:lnTo>
                      <a:pt x="56" y="357"/>
                    </a:lnTo>
                    <a:lnTo>
                      <a:pt x="54" y="355"/>
                    </a:lnTo>
                    <a:lnTo>
                      <a:pt x="52" y="355"/>
                    </a:lnTo>
                    <a:lnTo>
                      <a:pt x="50" y="355"/>
                    </a:lnTo>
                    <a:lnTo>
                      <a:pt x="48" y="355"/>
                    </a:lnTo>
                    <a:lnTo>
                      <a:pt x="48" y="354"/>
                    </a:lnTo>
                    <a:lnTo>
                      <a:pt x="50" y="354"/>
                    </a:lnTo>
                    <a:lnTo>
                      <a:pt x="52" y="354"/>
                    </a:lnTo>
                    <a:lnTo>
                      <a:pt x="52" y="352"/>
                    </a:lnTo>
                    <a:lnTo>
                      <a:pt x="50" y="352"/>
                    </a:lnTo>
                    <a:lnTo>
                      <a:pt x="52" y="352"/>
                    </a:lnTo>
                    <a:lnTo>
                      <a:pt x="52" y="350"/>
                    </a:lnTo>
                    <a:lnTo>
                      <a:pt x="52" y="352"/>
                    </a:lnTo>
                    <a:lnTo>
                      <a:pt x="50" y="352"/>
                    </a:lnTo>
                    <a:lnTo>
                      <a:pt x="52" y="354"/>
                    </a:lnTo>
                    <a:lnTo>
                      <a:pt x="50" y="354"/>
                    </a:lnTo>
                    <a:lnTo>
                      <a:pt x="48" y="354"/>
                    </a:lnTo>
                    <a:lnTo>
                      <a:pt x="46" y="355"/>
                    </a:lnTo>
                    <a:lnTo>
                      <a:pt x="46" y="354"/>
                    </a:lnTo>
                    <a:lnTo>
                      <a:pt x="46" y="355"/>
                    </a:lnTo>
                    <a:lnTo>
                      <a:pt x="46" y="354"/>
                    </a:lnTo>
                    <a:lnTo>
                      <a:pt x="46" y="355"/>
                    </a:lnTo>
                    <a:lnTo>
                      <a:pt x="44" y="355"/>
                    </a:lnTo>
                    <a:lnTo>
                      <a:pt x="42" y="355"/>
                    </a:lnTo>
                    <a:lnTo>
                      <a:pt x="40" y="355"/>
                    </a:lnTo>
                    <a:lnTo>
                      <a:pt x="42" y="355"/>
                    </a:lnTo>
                    <a:lnTo>
                      <a:pt x="42" y="354"/>
                    </a:lnTo>
                    <a:lnTo>
                      <a:pt x="44" y="354"/>
                    </a:lnTo>
                    <a:lnTo>
                      <a:pt x="46" y="354"/>
                    </a:lnTo>
                    <a:lnTo>
                      <a:pt x="44" y="352"/>
                    </a:lnTo>
                    <a:lnTo>
                      <a:pt x="44" y="354"/>
                    </a:lnTo>
                    <a:lnTo>
                      <a:pt x="42" y="354"/>
                    </a:lnTo>
                    <a:lnTo>
                      <a:pt x="40" y="355"/>
                    </a:lnTo>
                    <a:lnTo>
                      <a:pt x="38" y="355"/>
                    </a:lnTo>
                    <a:lnTo>
                      <a:pt x="36" y="355"/>
                    </a:lnTo>
                    <a:lnTo>
                      <a:pt x="34" y="355"/>
                    </a:lnTo>
                    <a:lnTo>
                      <a:pt x="34" y="354"/>
                    </a:lnTo>
                    <a:lnTo>
                      <a:pt x="32" y="354"/>
                    </a:lnTo>
                    <a:lnTo>
                      <a:pt x="34" y="354"/>
                    </a:lnTo>
                    <a:lnTo>
                      <a:pt x="32" y="354"/>
                    </a:lnTo>
                    <a:lnTo>
                      <a:pt x="32" y="352"/>
                    </a:lnTo>
                    <a:lnTo>
                      <a:pt x="31" y="352"/>
                    </a:lnTo>
                    <a:lnTo>
                      <a:pt x="29" y="352"/>
                    </a:lnTo>
                    <a:lnTo>
                      <a:pt x="31" y="352"/>
                    </a:lnTo>
                    <a:lnTo>
                      <a:pt x="29" y="352"/>
                    </a:lnTo>
                    <a:lnTo>
                      <a:pt x="27" y="352"/>
                    </a:lnTo>
                    <a:lnTo>
                      <a:pt x="25" y="352"/>
                    </a:lnTo>
                    <a:lnTo>
                      <a:pt x="25" y="354"/>
                    </a:lnTo>
                    <a:lnTo>
                      <a:pt x="23" y="354"/>
                    </a:lnTo>
                    <a:lnTo>
                      <a:pt x="21" y="354"/>
                    </a:lnTo>
                    <a:lnTo>
                      <a:pt x="19" y="354"/>
                    </a:lnTo>
                    <a:lnTo>
                      <a:pt x="17" y="354"/>
                    </a:lnTo>
                    <a:lnTo>
                      <a:pt x="15" y="354"/>
                    </a:lnTo>
                    <a:lnTo>
                      <a:pt x="13" y="352"/>
                    </a:lnTo>
                    <a:lnTo>
                      <a:pt x="13" y="354"/>
                    </a:lnTo>
                    <a:lnTo>
                      <a:pt x="13" y="352"/>
                    </a:lnTo>
                    <a:lnTo>
                      <a:pt x="11" y="352"/>
                    </a:lnTo>
                    <a:lnTo>
                      <a:pt x="13" y="352"/>
                    </a:lnTo>
                    <a:lnTo>
                      <a:pt x="15" y="352"/>
                    </a:lnTo>
                    <a:lnTo>
                      <a:pt x="17" y="352"/>
                    </a:lnTo>
                    <a:lnTo>
                      <a:pt x="17" y="350"/>
                    </a:lnTo>
                    <a:lnTo>
                      <a:pt x="19" y="350"/>
                    </a:lnTo>
                    <a:lnTo>
                      <a:pt x="19" y="348"/>
                    </a:lnTo>
                    <a:lnTo>
                      <a:pt x="19" y="346"/>
                    </a:lnTo>
                    <a:lnTo>
                      <a:pt x="21" y="346"/>
                    </a:lnTo>
                    <a:lnTo>
                      <a:pt x="19" y="346"/>
                    </a:lnTo>
                    <a:lnTo>
                      <a:pt x="19" y="348"/>
                    </a:lnTo>
                    <a:lnTo>
                      <a:pt x="19" y="350"/>
                    </a:lnTo>
                    <a:lnTo>
                      <a:pt x="19" y="348"/>
                    </a:lnTo>
                    <a:lnTo>
                      <a:pt x="19" y="346"/>
                    </a:lnTo>
                    <a:lnTo>
                      <a:pt x="21" y="346"/>
                    </a:lnTo>
                    <a:lnTo>
                      <a:pt x="19" y="346"/>
                    </a:lnTo>
                    <a:lnTo>
                      <a:pt x="21" y="344"/>
                    </a:lnTo>
                    <a:lnTo>
                      <a:pt x="23" y="342"/>
                    </a:lnTo>
                    <a:lnTo>
                      <a:pt x="25" y="342"/>
                    </a:lnTo>
                    <a:lnTo>
                      <a:pt x="25" y="340"/>
                    </a:lnTo>
                    <a:lnTo>
                      <a:pt x="27" y="340"/>
                    </a:lnTo>
                    <a:lnTo>
                      <a:pt x="29" y="340"/>
                    </a:lnTo>
                    <a:lnTo>
                      <a:pt x="29" y="342"/>
                    </a:lnTo>
                    <a:lnTo>
                      <a:pt x="31" y="342"/>
                    </a:lnTo>
                    <a:lnTo>
                      <a:pt x="31" y="344"/>
                    </a:lnTo>
                    <a:lnTo>
                      <a:pt x="32" y="346"/>
                    </a:lnTo>
                    <a:lnTo>
                      <a:pt x="31" y="344"/>
                    </a:lnTo>
                    <a:lnTo>
                      <a:pt x="31" y="342"/>
                    </a:lnTo>
                    <a:lnTo>
                      <a:pt x="29" y="342"/>
                    </a:lnTo>
                    <a:lnTo>
                      <a:pt x="31" y="342"/>
                    </a:lnTo>
                    <a:lnTo>
                      <a:pt x="32" y="342"/>
                    </a:lnTo>
                    <a:lnTo>
                      <a:pt x="34" y="342"/>
                    </a:lnTo>
                    <a:lnTo>
                      <a:pt x="36" y="340"/>
                    </a:lnTo>
                    <a:lnTo>
                      <a:pt x="38" y="340"/>
                    </a:lnTo>
                    <a:lnTo>
                      <a:pt x="40" y="340"/>
                    </a:lnTo>
                    <a:lnTo>
                      <a:pt x="42" y="340"/>
                    </a:lnTo>
                    <a:lnTo>
                      <a:pt x="42" y="338"/>
                    </a:lnTo>
                    <a:lnTo>
                      <a:pt x="44" y="338"/>
                    </a:lnTo>
                    <a:lnTo>
                      <a:pt x="44" y="336"/>
                    </a:lnTo>
                    <a:lnTo>
                      <a:pt x="46" y="336"/>
                    </a:lnTo>
                    <a:lnTo>
                      <a:pt x="48" y="336"/>
                    </a:lnTo>
                    <a:lnTo>
                      <a:pt x="50" y="336"/>
                    </a:lnTo>
                    <a:lnTo>
                      <a:pt x="50" y="338"/>
                    </a:lnTo>
                    <a:lnTo>
                      <a:pt x="50" y="340"/>
                    </a:lnTo>
                    <a:lnTo>
                      <a:pt x="50" y="338"/>
                    </a:lnTo>
                    <a:lnTo>
                      <a:pt x="52" y="340"/>
                    </a:lnTo>
                    <a:lnTo>
                      <a:pt x="52" y="342"/>
                    </a:lnTo>
                    <a:lnTo>
                      <a:pt x="52" y="344"/>
                    </a:lnTo>
                    <a:lnTo>
                      <a:pt x="52" y="342"/>
                    </a:lnTo>
                    <a:lnTo>
                      <a:pt x="52" y="340"/>
                    </a:lnTo>
                    <a:lnTo>
                      <a:pt x="52" y="338"/>
                    </a:lnTo>
                    <a:lnTo>
                      <a:pt x="50" y="338"/>
                    </a:lnTo>
                    <a:lnTo>
                      <a:pt x="52" y="336"/>
                    </a:lnTo>
                    <a:lnTo>
                      <a:pt x="50" y="334"/>
                    </a:lnTo>
                    <a:lnTo>
                      <a:pt x="52" y="334"/>
                    </a:lnTo>
                    <a:lnTo>
                      <a:pt x="52" y="336"/>
                    </a:lnTo>
                    <a:lnTo>
                      <a:pt x="54" y="336"/>
                    </a:lnTo>
                    <a:lnTo>
                      <a:pt x="54" y="338"/>
                    </a:lnTo>
                    <a:lnTo>
                      <a:pt x="54" y="340"/>
                    </a:lnTo>
                    <a:lnTo>
                      <a:pt x="54" y="338"/>
                    </a:lnTo>
                    <a:lnTo>
                      <a:pt x="54" y="340"/>
                    </a:lnTo>
                    <a:lnTo>
                      <a:pt x="56" y="340"/>
                    </a:lnTo>
                    <a:lnTo>
                      <a:pt x="54" y="338"/>
                    </a:lnTo>
                    <a:lnTo>
                      <a:pt x="54" y="340"/>
                    </a:lnTo>
                    <a:lnTo>
                      <a:pt x="54" y="338"/>
                    </a:lnTo>
                    <a:lnTo>
                      <a:pt x="54" y="336"/>
                    </a:lnTo>
                    <a:lnTo>
                      <a:pt x="52" y="336"/>
                    </a:lnTo>
                    <a:lnTo>
                      <a:pt x="52" y="334"/>
                    </a:lnTo>
                    <a:lnTo>
                      <a:pt x="50" y="334"/>
                    </a:lnTo>
                    <a:lnTo>
                      <a:pt x="50" y="332"/>
                    </a:lnTo>
                    <a:lnTo>
                      <a:pt x="48" y="332"/>
                    </a:lnTo>
                    <a:lnTo>
                      <a:pt x="46" y="332"/>
                    </a:lnTo>
                    <a:lnTo>
                      <a:pt x="48" y="332"/>
                    </a:lnTo>
                    <a:lnTo>
                      <a:pt x="46" y="332"/>
                    </a:lnTo>
                    <a:lnTo>
                      <a:pt x="44" y="332"/>
                    </a:lnTo>
                    <a:lnTo>
                      <a:pt x="42" y="332"/>
                    </a:lnTo>
                    <a:lnTo>
                      <a:pt x="42" y="334"/>
                    </a:lnTo>
                    <a:lnTo>
                      <a:pt x="40" y="332"/>
                    </a:lnTo>
                    <a:lnTo>
                      <a:pt x="40" y="334"/>
                    </a:lnTo>
                    <a:lnTo>
                      <a:pt x="40" y="332"/>
                    </a:lnTo>
                    <a:lnTo>
                      <a:pt x="42" y="334"/>
                    </a:lnTo>
                    <a:lnTo>
                      <a:pt x="42" y="332"/>
                    </a:lnTo>
                    <a:lnTo>
                      <a:pt x="44" y="332"/>
                    </a:lnTo>
                    <a:lnTo>
                      <a:pt x="46" y="332"/>
                    </a:lnTo>
                    <a:lnTo>
                      <a:pt x="46" y="334"/>
                    </a:lnTo>
                    <a:lnTo>
                      <a:pt x="48" y="332"/>
                    </a:lnTo>
                    <a:lnTo>
                      <a:pt x="50" y="332"/>
                    </a:lnTo>
                    <a:lnTo>
                      <a:pt x="50" y="334"/>
                    </a:lnTo>
                    <a:lnTo>
                      <a:pt x="48" y="334"/>
                    </a:lnTo>
                    <a:lnTo>
                      <a:pt x="46" y="334"/>
                    </a:lnTo>
                    <a:lnTo>
                      <a:pt x="44" y="336"/>
                    </a:lnTo>
                    <a:lnTo>
                      <a:pt x="42" y="338"/>
                    </a:lnTo>
                    <a:lnTo>
                      <a:pt x="40" y="338"/>
                    </a:lnTo>
                    <a:lnTo>
                      <a:pt x="38" y="338"/>
                    </a:lnTo>
                    <a:lnTo>
                      <a:pt x="36" y="338"/>
                    </a:lnTo>
                    <a:lnTo>
                      <a:pt x="34" y="340"/>
                    </a:lnTo>
                    <a:lnTo>
                      <a:pt x="32" y="340"/>
                    </a:lnTo>
                    <a:lnTo>
                      <a:pt x="31" y="340"/>
                    </a:lnTo>
                    <a:lnTo>
                      <a:pt x="29" y="340"/>
                    </a:lnTo>
                    <a:lnTo>
                      <a:pt x="27" y="340"/>
                    </a:lnTo>
                    <a:lnTo>
                      <a:pt x="29" y="340"/>
                    </a:lnTo>
                    <a:lnTo>
                      <a:pt x="27" y="340"/>
                    </a:lnTo>
                    <a:lnTo>
                      <a:pt x="25" y="340"/>
                    </a:lnTo>
                    <a:lnTo>
                      <a:pt x="23" y="340"/>
                    </a:lnTo>
                    <a:lnTo>
                      <a:pt x="23" y="342"/>
                    </a:lnTo>
                    <a:lnTo>
                      <a:pt x="21" y="342"/>
                    </a:lnTo>
                    <a:lnTo>
                      <a:pt x="21" y="344"/>
                    </a:lnTo>
                    <a:lnTo>
                      <a:pt x="19" y="342"/>
                    </a:lnTo>
                    <a:lnTo>
                      <a:pt x="17" y="342"/>
                    </a:lnTo>
                    <a:lnTo>
                      <a:pt x="15" y="342"/>
                    </a:lnTo>
                    <a:lnTo>
                      <a:pt x="15" y="340"/>
                    </a:lnTo>
                    <a:lnTo>
                      <a:pt x="15" y="338"/>
                    </a:lnTo>
                    <a:lnTo>
                      <a:pt x="15" y="336"/>
                    </a:lnTo>
                    <a:lnTo>
                      <a:pt x="15" y="338"/>
                    </a:lnTo>
                    <a:lnTo>
                      <a:pt x="17" y="338"/>
                    </a:lnTo>
                    <a:lnTo>
                      <a:pt x="17" y="336"/>
                    </a:lnTo>
                    <a:lnTo>
                      <a:pt x="19" y="336"/>
                    </a:lnTo>
                    <a:lnTo>
                      <a:pt x="19" y="334"/>
                    </a:lnTo>
                    <a:lnTo>
                      <a:pt x="17" y="334"/>
                    </a:lnTo>
                    <a:lnTo>
                      <a:pt x="19" y="334"/>
                    </a:lnTo>
                    <a:lnTo>
                      <a:pt x="17" y="334"/>
                    </a:lnTo>
                    <a:lnTo>
                      <a:pt x="19" y="332"/>
                    </a:lnTo>
                    <a:lnTo>
                      <a:pt x="19" y="334"/>
                    </a:lnTo>
                    <a:lnTo>
                      <a:pt x="21" y="334"/>
                    </a:lnTo>
                    <a:lnTo>
                      <a:pt x="19" y="334"/>
                    </a:lnTo>
                    <a:lnTo>
                      <a:pt x="19" y="332"/>
                    </a:lnTo>
                    <a:lnTo>
                      <a:pt x="21" y="332"/>
                    </a:lnTo>
                    <a:lnTo>
                      <a:pt x="19" y="332"/>
                    </a:lnTo>
                    <a:lnTo>
                      <a:pt x="17" y="334"/>
                    </a:lnTo>
                    <a:lnTo>
                      <a:pt x="19" y="334"/>
                    </a:lnTo>
                    <a:lnTo>
                      <a:pt x="17" y="334"/>
                    </a:lnTo>
                    <a:lnTo>
                      <a:pt x="19" y="336"/>
                    </a:lnTo>
                    <a:lnTo>
                      <a:pt x="17" y="336"/>
                    </a:lnTo>
                    <a:lnTo>
                      <a:pt x="15" y="336"/>
                    </a:lnTo>
                    <a:lnTo>
                      <a:pt x="17" y="336"/>
                    </a:lnTo>
                    <a:lnTo>
                      <a:pt x="17" y="338"/>
                    </a:lnTo>
                    <a:lnTo>
                      <a:pt x="15" y="338"/>
                    </a:lnTo>
                    <a:lnTo>
                      <a:pt x="15" y="336"/>
                    </a:lnTo>
                    <a:lnTo>
                      <a:pt x="13" y="336"/>
                    </a:lnTo>
                    <a:lnTo>
                      <a:pt x="11" y="336"/>
                    </a:lnTo>
                    <a:lnTo>
                      <a:pt x="9" y="336"/>
                    </a:lnTo>
                    <a:lnTo>
                      <a:pt x="9" y="334"/>
                    </a:lnTo>
                    <a:lnTo>
                      <a:pt x="11" y="334"/>
                    </a:lnTo>
                    <a:lnTo>
                      <a:pt x="11" y="332"/>
                    </a:lnTo>
                    <a:lnTo>
                      <a:pt x="13" y="332"/>
                    </a:lnTo>
                    <a:lnTo>
                      <a:pt x="13" y="334"/>
                    </a:lnTo>
                    <a:lnTo>
                      <a:pt x="11" y="334"/>
                    </a:lnTo>
                    <a:lnTo>
                      <a:pt x="13" y="336"/>
                    </a:lnTo>
                    <a:lnTo>
                      <a:pt x="13" y="334"/>
                    </a:lnTo>
                    <a:lnTo>
                      <a:pt x="15" y="334"/>
                    </a:lnTo>
                    <a:lnTo>
                      <a:pt x="15" y="332"/>
                    </a:lnTo>
                    <a:lnTo>
                      <a:pt x="15" y="334"/>
                    </a:lnTo>
                    <a:lnTo>
                      <a:pt x="13" y="334"/>
                    </a:lnTo>
                    <a:lnTo>
                      <a:pt x="13" y="332"/>
                    </a:lnTo>
                    <a:lnTo>
                      <a:pt x="15" y="332"/>
                    </a:lnTo>
                    <a:lnTo>
                      <a:pt x="13" y="332"/>
                    </a:lnTo>
                    <a:lnTo>
                      <a:pt x="11" y="332"/>
                    </a:lnTo>
                    <a:lnTo>
                      <a:pt x="11" y="330"/>
                    </a:lnTo>
                    <a:lnTo>
                      <a:pt x="13" y="330"/>
                    </a:lnTo>
                    <a:lnTo>
                      <a:pt x="13" y="332"/>
                    </a:lnTo>
                    <a:lnTo>
                      <a:pt x="13" y="330"/>
                    </a:lnTo>
                    <a:lnTo>
                      <a:pt x="11" y="330"/>
                    </a:lnTo>
                    <a:lnTo>
                      <a:pt x="11" y="332"/>
                    </a:lnTo>
                    <a:lnTo>
                      <a:pt x="9" y="332"/>
                    </a:lnTo>
                    <a:lnTo>
                      <a:pt x="9" y="330"/>
                    </a:lnTo>
                    <a:lnTo>
                      <a:pt x="9" y="332"/>
                    </a:lnTo>
                    <a:lnTo>
                      <a:pt x="9" y="330"/>
                    </a:lnTo>
                    <a:lnTo>
                      <a:pt x="9" y="329"/>
                    </a:lnTo>
                    <a:lnTo>
                      <a:pt x="9" y="330"/>
                    </a:lnTo>
                    <a:lnTo>
                      <a:pt x="8" y="330"/>
                    </a:lnTo>
                    <a:lnTo>
                      <a:pt x="9" y="330"/>
                    </a:lnTo>
                    <a:lnTo>
                      <a:pt x="8" y="330"/>
                    </a:lnTo>
                    <a:lnTo>
                      <a:pt x="8" y="329"/>
                    </a:lnTo>
                    <a:lnTo>
                      <a:pt x="8" y="330"/>
                    </a:lnTo>
                    <a:lnTo>
                      <a:pt x="6" y="330"/>
                    </a:lnTo>
                    <a:lnTo>
                      <a:pt x="6" y="329"/>
                    </a:lnTo>
                    <a:lnTo>
                      <a:pt x="8" y="329"/>
                    </a:lnTo>
                    <a:lnTo>
                      <a:pt x="6" y="329"/>
                    </a:lnTo>
                    <a:lnTo>
                      <a:pt x="6" y="327"/>
                    </a:lnTo>
                    <a:lnTo>
                      <a:pt x="4" y="327"/>
                    </a:lnTo>
                    <a:lnTo>
                      <a:pt x="6" y="327"/>
                    </a:lnTo>
                    <a:lnTo>
                      <a:pt x="6" y="325"/>
                    </a:lnTo>
                    <a:lnTo>
                      <a:pt x="8" y="325"/>
                    </a:lnTo>
                    <a:lnTo>
                      <a:pt x="6" y="325"/>
                    </a:lnTo>
                    <a:lnTo>
                      <a:pt x="4" y="325"/>
                    </a:lnTo>
                    <a:lnTo>
                      <a:pt x="2" y="325"/>
                    </a:lnTo>
                    <a:lnTo>
                      <a:pt x="4" y="325"/>
                    </a:lnTo>
                    <a:lnTo>
                      <a:pt x="4" y="323"/>
                    </a:lnTo>
                    <a:lnTo>
                      <a:pt x="2" y="323"/>
                    </a:lnTo>
                    <a:lnTo>
                      <a:pt x="2" y="321"/>
                    </a:lnTo>
                    <a:lnTo>
                      <a:pt x="4" y="321"/>
                    </a:lnTo>
                    <a:lnTo>
                      <a:pt x="4" y="323"/>
                    </a:lnTo>
                    <a:lnTo>
                      <a:pt x="6" y="323"/>
                    </a:lnTo>
                    <a:lnTo>
                      <a:pt x="6" y="325"/>
                    </a:lnTo>
                    <a:lnTo>
                      <a:pt x="8" y="325"/>
                    </a:lnTo>
                    <a:lnTo>
                      <a:pt x="8" y="323"/>
                    </a:lnTo>
                    <a:lnTo>
                      <a:pt x="6" y="323"/>
                    </a:lnTo>
                    <a:lnTo>
                      <a:pt x="4" y="321"/>
                    </a:lnTo>
                    <a:lnTo>
                      <a:pt x="2" y="321"/>
                    </a:lnTo>
                    <a:lnTo>
                      <a:pt x="2" y="319"/>
                    </a:lnTo>
                    <a:lnTo>
                      <a:pt x="2" y="317"/>
                    </a:lnTo>
                    <a:lnTo>
                      <a:pt x="0" y="317"/>
                    </a:lnTo>
                    <a:lnTo>
                      <a:pt x="2" y="317"/>
                    </a:lnTo>
                    <a:lnTo>
                      <a:pt x="4" y="317"/>
                    </a:lnTo>
                    <a:lnTo>
                      <a:pt x="2" y="317"/>
                    </a:lnTo>
                    <a:lnTo>
                      <a:pt x="4" y="317"/>
                    </a:lnTo>
                    <a:lnTo>
                      <a:pt x="2" y="317"/>
                    </a:lnTo>
                    <a:lnTo>
                      <a:pt x="4" y="317"/>
                    </a:lnTo>
                    <a:lnTo>
                      <a:pt x="2" y="317"/>
                    </a:lnTo>
                    <a:lnTo>
                      <a:pt x="2" y="315"/>
                    </a:lnTo>
                    <a:lnTo>
                      <a:pt x="4" y="315"/>
                    </a:lnTo>
                    <a:lnTo>
                      <a:pt x="4" y="313"/>
                    </a:lnTo>
                    <a:lnTo>
                      <a:pt x="4" y="315"/>
                    </a:lnTo>
                    <a:lnTo>
                      <a:pt x="2" y="313"/>
                    </a:lnTo>
                    <a:lnTo>
                      <a:pt x="2" y="311"/>
                    </a:lnTo>
                    <a:lnTo>
                      <a:pt x="4" y="311"/>
                    </a:lnTo>
                    <a:lnTo>
                      <a:pt x="4" y="313"/>
                    </a:lnTo>
                    <a:lnTo>
                      <a:pt x="4" y="311"/>
                    </a:lnTo>
                    <a:lnTo>
                      <a:pt x="4" y="309"/>
                    </a:lnTo>
                    <a:lnTo>
                      <a:pt x="6" y="309"/>
                    </a:lnTo>
                    <a:lnTo>
                      <a:pt x="4" y="309"/>
                    </a:lnTo>
                    <a:lnTo>
                      <a:pt x="4" y="307"/>
                    </a:lnTo>
                    <a:lnTo>
                      <a:pt x="6" y="307"/>
                    </a:lnTo>
                    <a:lnTo>
                      <a:pt x="8" y="307"/>
                    </a:lnTo>
                    <a:lnTo>
                      <a:pt x="6" y="307"/>
                    </a:lnTo>
                    <a:lnTo>
                      <a:pt x="8" y="307"/>
                    </a:lnTo>
                    <a:lnTo>
                      <a:pt x="6" y="307"/>
                    </a:lnTo>
                    <a:lnTo>
                      <a:pt x="6" y="309"/>
                    </a:lnTo>
                    <a:lnTo>
                      <a:pt x="6" y="307"/>
                    </a:lnTo>
                    <a:lnTo>
                      <a:pt x="6" y="309"/>
                    </a:lnTo>
                    <a:lnTo>
                      <a:pt x="6" y="311"/>
                    </a:lnTo>
                    <a:lnTo>
                      <a:pt x="6" y="309"/>
                    </a:lnTo>
                    <a:lnTo>
                      <a:pt x="8" y="311"/>
                    </a:lnTo>
                    <a:lnTo>
                      <a:pt x="9" y="311"/>
                    </a:lnTo>
                    <a:lnTo>
                      <a:pt x="9" y="313"/>
                    </a:lnTo>
                    <a:lnTo>
                      <a:pt x="9" y="311"/>
                    </a:lnTo>
                    <a:lnTo>
                      <a:pt x="9" y="309"/>
                    </a:lnTo>
                    <a:lnTo>
                      <a:pt x="11" y="309"/>
                    </a:lnTo>
                    <a:lnTo>
                      <a:pt x="11" y="311"/>
                    </a:lnTo>
                    <a:lnTo>
                      <a:pt x="13" y="311"/>
                    </a:lnTo>
                    <a:lnTo>
                      <a:pt x="11" y="309"/>
                    </a:lnTo>
                    <a:lnTo>
                      <a:pt x="13" y="309"/>
                    </a:lnTo>
                    <a:lnTo>
                      <a:pt x="13" y="311"/>
                    </a:lnTo>
                    <a:lnTo>
                      <a:pt x="13" y="309"/>
                    </a:lnTo>
                    <a:lnTo>
                      <a:pt x="13" y="311"/>
                    </a:lnTo>
                    <a:lnTo>
                      <a:pt x="13" y="309"/>
                    </a:lnTo>
                    <a:lnTo>
                      <a:pt x="13" y="311"/>
                    </a:lnTo>
                    <a:lnTo>
                      <a:pt x="13" y="309"/>
                    </a:lnTo>
                    <a:lnTo>
                      <a:pt x="13" y="307"/>
                    </a:lnTo>
                    <a:lnTo>
                      <a:pt x="15" y="307"/>
                    </a:lnTo>
                    <a:lnTo>
                      <a:pt x="13" y="307"/>
                    </a:lnTo>
                    <a:lnTo>
                      <a:pt x="15" y="307"/>
                    </a:lnTo>
                    <a:lnTo>
                      <a:pt x="13" y="307"/>
                    </a:lnTo>
                    <a:lnTo>
                      <a:pt x="13" y="305"/>
                    </a:lnTo>
                    <a:lnTo>
                      <a:pt x="15" y="305"/>
                    </a:lnTo>
                    <a:lnTo>
                      <a:pt x="15" y="304"/>
                    </a:lnTo>
                    <a:lnTo>
                      <a:pt x="15" y="305"/>
                    </a:lnTo>
                    <a:lnTo>
                      <a:pt x="15" y="304"/>
                    </a:lnTo>
                    <a:lnTo>
                      <a:pt x="17" y="302"/>
                    </a:lnTo>
                    <a:lnTo>
                      <a:pt x="17" y="304"/>
                    </a:lnTo>
                    <a:lnTo>
                      <a:pt x="15" y="304"/>
                    </a:lnTo>
                    <a:lnTo>
                      <a:pt x="17" y="304"/>
                    </a:lnTo>
                    <a:lnTo>
                      <a:pt x="17" y="302"/>
                    </a:lnTo>
                    <a:lnTo>
                      <a:pt x="17" y="300"/>
                    </a:lnTo>
                    <a:lnTo>
                      <a:pt x="17" y="302"/>
                    </a:lnTo>
                    <a:lnTo>
                      <a:pt x="17" y="300"/>
                    </a:lnTo>
                    <a:lnTo>
                      <a:pt x="19" y="300"/>
                    </a:lnTo>
                    <a:lnTo>
                      <a:pt x="17" y="300"/>
                    </a:lnTo>
                    <a:lnTo>
                      <a:pt x="17" y="298"/>
                    </a:lnTo>
                    <a:lnTo>
                      <a:pt x="19" y="298"/>
                    </a:lnTo>
                    <a:lnTo>
                      <a:pt x="17" y="298"/>
                    </a:lnTo>
                    <a:lnTo>
                      <a:pt x="19" y="298"/>
                    </a:lnTo>
                    <a:lnTo>
                      <a:pt x="21" y="298"/>
                    </a:lnTo>
                    <a:lnTo>
                      <a:pt x="19" y="298"/>
                    </a:lnTo>
                    <a:lnTo>
                      <a:pt x="19" y="300"/>
                    </a:lnTo>
                    <a:lnTo>
                      <a:pt x="21" y="300"/>
                    </a:lnTo>
                    <a:lnTo>
                      <a:pt x="21" y="298"/>
                    </a:lnTo>
                    <a:lnTo>
                      <a:pt x="21" y="300"/>
                    </a:lnTo>
                    <a:lnTo>
                      <a:pt x="21" y="302"/>
                    </a:lnTo>
                    <a:lnTo>
                      <a:pt x="21" y="300"/>
                    </a:lnTo>
                    <a:lnTo>
                      <a:pt x="23" y="298"/>
                    </a:lnTo>
                    <a:lnTo>
                      <a:pt x="23" y="300"/>
                    </a:lnTo>
                    <a:lnTo>
                      <a:pt x="25" y="300"/>
                    </a:lnTo>
                    <a:lnTo>
                      <a:pt x="25" y="298"/>
                    </a:lnTo>
                    <a:lnTo>
                      <a:pt x="25" y="300"/>
                    </a:lnTo>
                    <a:lnTo>
                      <a:pt x="27" y="300"/>
                    </a:lnTo>
                    <a:lnTo>
                      <a:pt x="27" y="298"/>
                    </a:lnTo>
                    <a:lnTo>
                      <a:pt x="27" y="300"/>
                    </a:lnTo>
                    <a:lnTo>
                      <a:pt x="29" y="300"/>
                    </a:lnTo>
                    <a:lnTo>
                      <a:pt x="27" y="300"/>
                    </a:lnTo>
                    <a:lnTo>
                      <a:pt x="27" y="302"/>
                    </a:lnTo>
                    <a:lnTo>
                      <a:pt x="27" y="300"/>
                    </a:lnTo>
                    <a:lnTo>
                      <a:pt x="27" y="302"/>
                    </a:lnTo>
                    <a:lnTo>
                      <a:pt x="27" y="300"/>
                    </a:lnTo>
                    <a:lnTo>
                      <a:pt x="29" y="302"/>
                    </a:lnTo>
                    <a:lnTo>
                      <a:pt x="29" y="300"/>
                    </a:lnTo>
                    <a:lnTo>
                      <a:pt x="31" y="298"/>
                    </a:lnTo>
                    <a:lnTo>
                      <a:pt x="29" y="300"/>
                    </a:lnTo>
                    <a:lnTo>
                      <a:pt x="29" y="298"/>
                    </a:lnTo>
                    <a:lnTo>
                      <a:pt x="31" y="298"/>
                    </a:lnTo>
                    <a:lnTo>
                      <a:pt x="31" y="300"/>
                    </a:lnTo>
                    <a:lnTo>
                      <a:pt x="31" y="302"/>
                    </a:lnTo>
                    <a:lnTo>
                      <a:pt x="31" y="300"/>
                    </a:lnTo>
                    <a:lnTo>
                      <a:pt x="32" y="300"/>
                    </a:lnTo>
                    <a:lnTo>
                      <a:pt x="32" y="302"/>
                    </a:lnTo>
                    <a:lnTo>
                      <a:pt x="32" y="300"/>
                    </a:lnTo>
                    <a:lnTo>
                      <a:pt x="32" y="298"/>
                    </a:lnTo>
                    <a:lnTo>
                      <a:pt x="34" y="298"/>
                    </a:lnTo>
                    <a:lnTo>
                      <a:pt x="34" y="300"/>
                    </a:lnTo>
                    <a:lnTo>
                      <a:pt x="34" y="302"/>
                    </a:lnTo>
                    <a:lnTo>
                      <a:pt x="34" y="304"/>
                    </a:lnTo>
                    <a:lnTo>
                      <a:pt x="34" y="302"/>
                    </a:lnTo>
                    <a:lnTo>
                      <a:pt x="36" y="302"/>
                    </a:lnTo>
                    <a:lnTo>
                      <a:pt x="36" y="300"/>
                    </a:lnTo>
                    <a:lnTo>
                      <a:pt x="34" y="300"/>
                    </a:lnTo>
                    <a:lnTo>
                      <a:pt x="36" y="300"/>
                    </a:lnTo>
                    <a:lnTo>
                      <a:pt x="36" y="298"/>
                    </a:lnTo>
                    <a:lnTo>
                      <a:pt x="36" y="300"/>
                    </a:lnTo>
                    <a:lnTo>
                      <a:pt x="38" y="300"/>
                    </a:lnTo>
                    <a:lnTo>
                      <a:pt x="36" y="300"/>
                    </a:lnTo>
                    <a:lnTo>
                      <a:pt x="36" y="302"/>
                    </a:lnTo>
                    <a:lnTo>
                      <a:pt x="38" y="300"/>
                    </a:lnTo>
                    <a:lnTo>
                      <a:pt x="38" y="302"/>
                    </a:lnTo>
                    <a:lnTo>
                      <a:pt x="38" y="304"/>
                    </a:lnTo>
                    <a:close/>
                    <a:moveTo>
                      <a:pt x="390" y="152"/>
                    </a:moveTo>
                    <a:lnTo>
                      <a:pt x="388" y="152"/>
                    </a:lnTo>
                    <a:lnTo>
                      <a:pt x="390" y="152"/>
                    </a:lnTo>
                    <a:lnTo>
                      <a:pt x="392" y="152"/>
                    </a:lnTo>
                    <a:lnTo>
                      <a:pt x="392" y="154"/>
                    </a:lnTo>
                    <a:lnTo>
                      <a:pt x="392" y="152"/>
                    </a:lnTo>
                    <a:lnTo>
                      <a:pt x="394" y="150"/>
                    </a:lnTo>
                    <a:lnTo>
                      <a:pt x="392" y="150"/>
                    </a:lnTo>
                    <a:lnTo>
                      <a:pt x="394" y="150"/>
                    </a:lnTo>
                    <a:lnTo>
                      <a:pt x="396" y="150"/>
                    </a:lnTo>
                    <a:lnTo>
                      <a:pt x="398" y="150"/>
                    </a:lnTo>
                    <a:lnTo>
                      <a:pt x="399" y="150"/>
                    </a:lnTo>
                    <a:lnTo>
                      <a:pt x="401" y="150"/>
                    </a:lnTo>
                    <a:lnTo>
                      <a:pt x="401" y="152"/>
                    </a:lnTo>
                    <a:lnTo>
                      <a:pt x="403" y="152"/>
                    </a:lnTo>
                    <a:lnTo>
                      <a:pt x="403" y="154"/>
                    </a:lnTo>
                    <a:lnTo>
                      <a:pt x="403" y="152"/>
                    </a:lnTo>
                    <a:lnTo>
                      <a:pt x="403" y="154"/>
                    </a:lnTo>
                    <a:lnTo>
                      <a:pt x="405" y="154"/>
                    </a:lnTo>
                    <a:lnTo>
                      <a:pt x="403" y="154"/>
                    </a:lnTo>
                    <a:lnTo>
                      <a:pt x="405" y="154"/>
                    </a:lnTo>
                    <a:lnTo>
                      <a:pt x="407" y="154"/>
                    </a:lnTo>
                    <a:lnTo>
                      <a:pt x="405" y="154"/>
                    </a:lnTo>
                    <a:lnTo>
                      <a:pt x="405" y="156"/>
                    </a:lnTo>
                    <a:lnTo>
                      <a:pt x="407" y="156"/>
                    </a:lnTo>
                    <a:lnTo>
                      <a:pt x="407" y="157"/>
                    </a:lnTo>
                    <a:lnTo>
                      <a:pt x="409" y="159"/>
                    </a:lnTo>
                    <a:lnTo>
                      <a:pt x="409" y="161"/>
                    </a:lnTo>
                    <a:lnTo>
                      <a:pt x="407" y="161"/>
                    </a:lnTo>
                    <a:lnTo>
                      <a:pt x="407" y="159"/>
                    </a:lnTo>
                    <a:lnTo>
                      <a:pt x="407" y="161"/>
                    </a:lnTo>
                    <a:lnTo>
                      <a:pt x="407" y="159"/>
                    </a:lnTo>
                    <a:lnTo>
                      <a:pt x="407" y="161"/>
                    </a:lnTo>
                    <a:lnTo>
                      <a:pt x="409" y="161"/>
                    </a:lnTo>
                    <a:lnTo>
                      <a:pt x="409" y="159"/>
                    </a:lnTo>
                    <a:lnTo>
                      <a:pt x="409" y="161"/>
                    </a:lnTo>
                    <a:lnTo>
                      <a:pt x="411" y="161"/>
                    </a:lnTo>
                    <a:lnTo>
                      <a:pt x="411" y="163"/>
                    </a:lnTo>
                    <a:lnTo>
                      <a:pt x="413" y="163"/>
                    </a:lnTo>
                    <a:lnTo>
                      <a:pt x="413" y="165"/>
                    </a:lnTo>
                    <a:lnTo>
                      <a:pt x="415" y="165"/>
                    </a:lnTo>
                    <a:lnTo>
                      <a:pt x="413" y="165"/>
                    </a:lnTo>
                    <a:lnTo>
                      <a:pt x="411" y="167"/>
                    </a:lnTo>
                    <a:lnTo>
                      <a:pt x="411" y="169"/>
                    </a:lnTo>
                    <a:lnTo>
                      <a:pt x="409" y="169"/>
                    </a:lnTo>
                    <a:lnTo>
                      <a:pt x="407" y="171"/>
                    </a:lnTo>
                    <a:lnTo>
                      <a:pt x="403" y="171"/>
                    </a:lnTo>
                    <a:lnTo>
                      <a:pt x="401" y="173"/>
                    </a:lnTo>
                    <a:lnTo>
                      <a:pt x="398" y="173"/>
                    </a:lnTo>
                    <a:lnTo>
                      <a:pt x="396" y="173"/>
                    </a:lnTo>
                    <a:lnTo>
                      <a:pt x="396" y="175"/>
                    </a:lnTo>
                    <a:lnTo>
                      <a:pt x="394" y="177"/>
                    </a:lnTo>
                    <a:lnTo>
                      <a:pt x="392" y="177"/>
                    </a:lnTo>
                    <a:lnTo>
                      <a:pt x="390" y="177"/>
                    </a:lnTo>
                    <a:lnTo>
                      <a:pt x="388" y="177"/>
                    </a:lnTo>
                    <a:lnTo>
                      <a:pt x="386" y="177"/>
                    </a:lnTo>
                    <a:lnTo>
                      <a:pt x="384" y="179"/>
                    </a:lnTo>
                    <a:lnTo>
                      <a:pt x="382" y="179"/>
                    </a:lnTo>
                    <a:lnTo>
                      <a:pt x="380" y="179"/>
                    </a:lnTo>
                    <a:lnTo>
                      <a:pt x="378" y="181"/>
                    </a:lnTo>
                    <a:lnTo>
                      <a:pt x="376" y="181"/>
                    </a:lnTo>
                    <a:lnTo>
                      <a:pt x="374" y="181"/>
                    </a:lnTo>
                    <a:lnTo>
                      <a:pt x="373" y="181"/>
                    </a:lnTo>
                    <a:lnTo>
                      <a:pt x="373" y="182"/>
                    </a:lnTo>
                    <a:lnTo>
                      <a:pt x="369" y="182"/>
                    </a:lnTo>
                    <a:lnTo>
                      <a:pt x="367" y="182"/>
                    </a:lnTo>
                    <a:lnTo>
                      <a:pt x="365" y="182"/>
                    </a:lnTo>
                    <a:lnTo>
                      <a:pt x="363" y="182"/>
                    </a:lnTo>
                    <a:lnTo>
                      <a:pt x="361" y="182"/>
                    </a:lnTo>
                    <a:lnTo>
                      <a:pt x="359" y="182"/>
                    </a:lnTo>
                    <a:lnTo>
                      <a:pt x="357" y="182"/>
                    </a:lnTo>
                    <a:lnTo>
                      <a:pt x="355" y="182"/>
                    </a:lnTo>
                    <a:lnTo>
                      <a:pt x="353" y="184"/>
                    </a:lnTo>
                    <a:lnTo>
                      <a:pt x="351" y="184"/>
                    </a:lnTo>
                    <a:lnTo>
                      <a:pt x="351" y="186"/>
                    </a:lnTo>
                    <a:lnTo>
                      <a:pt x="349" y="186"/>
                    </a:lnTo>
                    <a:lnTo>
                      <a:pt x="348" y="186"/>
                    </a:lnTo>
                    <a:lnTo>
                      <a:pt x="348" y="188"/>
                    </a:lnTo>
                    <a:lnTo>
                      <a:pt x="346" y="188"/>
                    </a:lnTo>
                    <a:lnTo>
                      <a:pt x="346" y="190"/>
                    </a:lnTo>
                    <a:lnTo>
                      <a:pt x="344" y="192"/>
                    </a:lnTo>
                    <a:lnTo>
                      <a:pt x="342" y="194"/>
                    </a:lnTo>
                    <a:lnTo>
                      <a:pt x="340" y="196"/>
                    </a:lnTo>
                    <a:lnTo>
                      <a:pt x="338" y="196"/>
                    </a:lnTo>
                    <a:lnTo>
                      <a:pt x="338" y="194"/>
                    </a:lnTo>
                    <a:lnTo>
                      <a:pt x="336" y="194"/>
                    </a:lnTo>
                    <a:lnTo>
                      <a:pt x="336" y="192"/>
                    </a:lnTo>
                    <a:lnTo>
                      <a:pt x="338" y="192"/>
                    </a:lnTo>
                    <a:lnTo>
                      <a:pt x="338" y="190"/>
                    </a:lnTo>
                    <a:lnTo>
                      <a:pt x="338" y="192"/>
                    </a:lnTo>
                    <a:lnTo>
                      <a:pt x="338" y="190"/>
                    </a:lnTo>
                    <a:lnTo>
                      <a:pt x="340" y="190"/>
                    </a:lnTo>
                    <a:lnTo>
                      <a:pt x="342" y="190"/>
                    </a:lnTo>
                    <a:lnTo>
                      <a:pt x="342" y="188"/>
                    </a:lnTo>
                    <a:lnTo>
                      <a:pt x="344" y="188"/>
                    </a:lnTo>
                    <a:lnTo>
                      <a:pt x="346" y="188"/>
                    </a:lnTo>
                    <a:lnTo>
                      <a:pt x="346" y="186"/>
                    </a:lnTo>
                    <a:lnTo>
                      <a:pt x="348" y="184"/>
                    </a:lnTo>
                    <a:lnTo>
                      <a:pt x="348" y="182"/>
                    </a:lnTo>
                    <a:lnTo>
                      <a:pt x="349" y="181"/>
                    </a:lnTo>
                    <a:lnTo>
                      <a:pt x="349" y="179"/>
                    </a:lnTo>
                    <a:lnTo>
                      <a:pt x="349" y="177"/>
                    </a:lnTo>
                    <a:lnTo>
                      <a:pt x="351" y="177"/>
                    </a:lnTo>
                    <a:lnTo>
                      <a:pt x="351" y="175"/>
                    </a:lnTo>
                    <a:lnTo>
                      <a:pt x="351" y="177"/>
                    </a:lnTo>
                    <a:lnTo>
                      <a:pt x="349" y="177"/>
                    </a:lnTo>
                    <a:lnTo>
                      <a:pt x="349" y="175"/>
                    </a:lnTo>
                    <a:lnTo>
                      <a:pt x="351" y="175"/>
                    </a:lnTo>
                    <a:lnTo>
                      <a:pt x="349" y="175"/>
                    </a:lnTo>
                    <a:lnTo>
                      <a:pt x="351" y="175"/>
                    </a:lnTo>
                    <a:lnTo>
                      <a:pt x="349" y="175"/>
                    </a:lnTo>
                    <a:lnTo>
                      <a:pt x="351" y="175"/>
                    </a:lnTo>
                    <a:lnTo>
                      <a:pt x="353" y="175"/>
                    </a:lnTo>
                    <a:lnTo>
                      <a:pt x="353" y="173"/>
                    </a:lnTo>
                    <a:lnTo>
                      <a:pt x="355" y="173"/>
                    </a:lnTo>
                    <a:lnTo>
                      <a:pt x="353" y="173"/>
                    </a:lnTo>
                    <a:lnTo>
                      <a:pt x="355" y="173"/>
                    </a:lnTo>
                    <a:lnTo>
                      <a:pt x="357" y="173"/>
                    </a:lnTo>
                    <a:lnTo>
                      <a:pt x="357" y="171"/>
                    </a:lnTo>
                    <a:lnTo>
                      <a:pt x="357" y="173"/>
                    </a:lnTo>
                    <a:lnTo>
                      <a:pt x="355" y="173"/>
                    </a:lnTo>
                    <a:lnTo>
                      <a:pt x="357" y="173"/>
                    </a:lnTo>
                    <a:lnTo>
                      <a:pt x="357" y="175"/>
                    </a:lnTo>
                    <a:lnTo>
                      <a:pt x="357" y="173"/>
                    </a:lnTo>
                    <a:lnTo>
                      <a:pt x="357" y="171"/>
                    </a:lnTo>
                    <a:lnTo>
                      <a:pt x="357" y="173"/>
                    </a:lnTo>
                    <a:lnTo>
                      <a:pt x="355" y="173"/>
                    </a:lnTo>
                    <a:lnTo>
                      <a:pt x="353" y="173"/>
                    </a:lnTo>
                    <a:lnTo>
                      <a:pt x="353" y="175"/>
                    </a:lnTo>
                    <a:lnTo>
                      <a:pt x="351" y="175"/>
                    </a:lnTo>
                    <a:lnTo>
                      <a:pt x="351" y="173"/>
                    </a:lnTo>
                    <a:lnTo>
                      <a:pt x="351" y="175"/>
                    </a:lnTo>
                    <a:lnTo>
                      <a:pt x="351" y="173"/>
                    </a:lnTo>
                    <a:lnTo>
                      <a:pt x="351" y="175"/>
                    </a:lnTo>
                    <a:lnTo>
                      <a:pt x="351" y="173"/>
                    </a:lnTo>
                    <a:lnTo>
                      <a:pt x="353" y="173"/>
                    </a:lnTo>
                    <a:lnTo>
                      <a:pt x="351" y="173"/>
                    </a:lnTo>
                    <a:lnTo>
                      <a:pt x="353" y="173"/>
                    </a:lnTo>
                    <a:lnTo>
                      <a:pt x="351" y="173"/>
                    </a:lnTo>
                    <a:lnTo>
                      <a:pt x="353" y="173"/>
                    </a:lnTo>
                    <a:lnTo>
                      <a:pt x="353" y="171"/>
                    </a:lnTo>
                    <a:lnTo>
                      <a:pt x="353" y="173"/>
                    </a:lnTo>
                    <a:lnTo>
                      <a:pt x="353" y="171"/>
                    </a:lnTo>
                    <a:lnTo>
                      <a:pt x="353" y="173"/>
                    </a:lnTo>
                    <a:lnTo>
                      <a:pt x="353" y="171"/>
                    </a:lnTo>
                    <a:lnTo>
                      <a:pt x="353" y="173"/>
                    </a:lnTo>
                    <a:lnTo>
                      <a:pt x="353" y="171"/>
                    </a:lnTo>
                    <a:lnTo>
                      <a:pt x="355" y="171"/>
                    </a:lnTo>
                    <a:lnTo>
                      <a:pt x="353" y="171"/>
                    </a:lnTo>
                    <a:lnTo>
                      <a:pt x="355" y="171"/>
                    </a:lnTo>
                    <a:lnTo>
                      <a:pt x="355" y="169"/>
                    </a:lnTo>
                    <a:lnTo>
                      <a:pt x="355" y="171"/>
                    </a:lnTo>
                    <a:lnTo>
                      <a:pt x="355" y="169"/>
                    </a:lnTo>
                    <a:lnTo>
                      <a:pt x="353" y="169"/>
                    </a:lnTo>
                    <a:lnTo>
                      <a:pt x="355" y="169"/>
                    </a:lnTo>
                    <a:lnTo>
                      <a:pt x="353" y="169"/>
                    </a:lnTo>
                    <a:lnTo>
                      <a:pt x="355" y="169"/>
                    </a:lnTo>
                    <a:lnTo>
                      <a:pt x="353" y="169"/>
                    </a:lnTo>
                    <a:lnTo>
                      <a:pt x="351" y="169"/>
                    </a:lnTo>
                    <a:lnTo>
                      <a:pt x="353" y="169"/>
                    </a:lnTo>
                    <a:lnTo>
                      <a:pt x="353" y="167"/>
                    </a:lnTo>
                    <a:lnTo>
                      <a:pt x="355" y="167"/>
                    </a:lnTo>
                    <a:lnTo>
                      <a:pt x="355" y="169"/>
                    </a:lnTo>
                    <a:lnTo>
                      <a:pt x="355" y="167"/>
                    </a:lnTo>
                    <a:lnTo>
                      <a:pt x="357" y="167"/>
                    </a:lnTo>
                    <a:lnTo>
                      <a:pt x="357" y="169"/>
                    </a:lnTo>
                    <a:lnTo>
                      <a:pt x="359" y="169"/>
                    </a:lnTo>
                    <a:lnTo>
                      <a:pt x="357" y="169"/>
                    </a:lnTo>
                    <a:lnTo>
                      <a:pt x="359" y="169"/>
                    </a:lnTo>
                    <a:lnTo>
                      <a:pt x="357" y="169"/>
                    </a:lnTo>
                    <a:lnTo>
                      <a:pt x="359" y="169"/>
                    </a:lnTo>
                    <a:lnTo>
                      <a:pt x="357" y="169"/>
                    </a:lnTo>
                    <a:lnTo>
                      <a:pt x="357" y="167"/>
                    </a:lnTo>
                    <a:lnTo>
                      <a:pt x="355" y="167"/>
                    </a:lnTo>
                    <a:lnTo>
                      <a:pt x="355" y="169"/>
                    </a:lnTo>
                    <a:lnTo>
                      <a:pt x="355" y="167"/>
                    </a:lnTo>
                    <a:lnTo>
                      <a:pt x="353" y="167"/>
                    </a:lnTo>
                    <a:lnTo>
                      <a:pt x="353" y="169"/>
                    </a:lnTo>
                    <a:lnTo>
                      <a:pt x="353" y="167"/>
                    </a:lnTo>
                    <a:lnTo>
                      <a:pt x="353" y="169"/>
                    </a:lnTo>
                    <a:lnTo>
                      <a:pt x="353" y="167"/>
                    </a:lnTo>
                    <a:lnTo>
                      <a:pt x="355" y="167"/>
                    </a:lnTo>
                    <a:lnTo>
                      <a:pt x="353" y="167"/>
                    </a:lnTo>
                    <a:lnTo>
                      <a:pt x="351" y="169"/>
                    </a:lnTo>
                    <a:lnTo>
                      <a:pt x="351" y="167"/>
                    </a:lnTo>
                    <a:lnTo>
                      <a:pt x="351" y="169"/>
                    </a:lnTo>
                    <a:lnTo>
                      <a:pt x="351" y="167"/>
                    </a:lnTo>
                    <a:lnTo>
                      <a:pt x="353" y="167"/>
                    </a:lnTo>
                    <a:lnTo>
                      <a:pt x="351" y="167"/>
                    </a:lnTo>
                    <a:lnTo>
                      <a:pt x="353" y="167"/>
                    </a:lnTo>
                    <a:lnTo>
                      <a:pt x="351" y="167"/>
                    </a:lnTo>
                    <a:lnTo>
                      <a:pt x="351" y="165"/>
                    </a:lnTo>
                    <a:lnTo>
                      <a:pt x="353" y="165"/>
                    </a:lnTo>
                    <a:lnTo>
                      <a:pt x="351" y="165"/>
                    </a:lnTo>
                    <a:lnTo>
                      <a:pt x="351" y="167"/>
                    </a:lnTo>
                    <a:lnTo>
                      <a:pt x="351" y="165"/>
                    </a:lnTo>
                    <a:lnTo>
                      <a:pt x="351" y="167"/>
                    </a:lnTo>
                    <a:lnTo>
                      <a:pt x="349" y="167"/>
                    </a:lnTo>
                    <a:lnTo>
                      <a:pt x="349" y="165"/>
                    </a:lnTo>
                    <a:lnTo>
                      <a:pt x="349" y="163"/>
                    </a:lnTo>
                    <a:lnTo>
                      <a:pt x="349" y="165"/>
                    </a:lnTo>
                    <a:lnTo>
                      <a:pt x="349" y="163"/>
                    </a:lnTo>
                    <a:lnTo>
                      <a:pt x="349" y="161"/>
                    </a:lnTo>
                    <a:lnTo>
                      <a:pt x="351" y="161"/>
                    </a:lnTo>
                    <a:lnTo>
                      <a:pt x="351" y="159"/>
                    </a:lnTo>
                    <a:lnTo>
                      <a:pt x="353" y="159"/>
                    </a:lnTo>
                    <a:lnTo>
                      <a:pt x="355" y="159"/>
                    </a:lnTo>
                    <a:lnTo>
                      <a:pt x="355" y="157"/>
                    </a:lnTo>
                    <a:lnTo>
                      <a:pt x="357" y="157"/>
                    </a:lnTo>
                    <a:lnTo>
                      <a:pt x="357" y="156"/>
                    </a:lnTo>
                    <a:lnTo>
                      <a:pt x="359" y="156"/>
                    </a:lnTo>
                    <a:lnTo>
                      <a:pt x="359" y="154"/>
                    </a:lnTo>
                    <a:lnTo>
                      <a:pt x="361" y="154"/>
                    </a:lnTo>
                    <a:lnTo>
                      <a:pt x="363" y="152"/>
                    </a:lnTo>
                    <a:lnTo>
                      <a:pt x="363" y="150"/>
                    </a:lnTo>
                    <a:lnTo>
                      <a:pt x="365" y="150"/>
                    </a:lnTo>
                    <a:lnTo>
                      <a:pt x="367" y="150"/>
                    </a:lnTo>
                    <a:lnTo>
                      <a:pt x="367" y="148"/>
                    </a:lnTo>
                    <a:lnTo>
                      <a:pt x="369" y="148"/>
                    </a:lnTo>
                    <a:lnTo>
                      <a:pt x="371" y="148"/>
                    </a:lnTo>
                    <a:lnTo>
                      <a:pt x="373" y="148"/>
                    </a:lnTo>
                    <a:lnTo>
                      <a:pt x="373" y="150"/>
                    </a:lnTo>
                    <a:lnTo>
                      <a:pt x="373" y="148"/>
                    </a:lnTo>
                    <a:lnTo>
                      <a:pt x="374" y="148"/>
                    </a:lnTo>
                    <a:lnTo>
                      <a:pt x="376" y="148"/>
                    </a:lnTo>
                    <a:lnTo>
                      <a:pt x="378" y="148"/>
                    </a:lnTo>
                    <a:lnTo>
                      <a:pt x="380" y="148"/>
                    </a:lnTo>
                    <a:lnTo>
                      <a:pt x="382" y="148"/>
                    </a:lnTo>
                    <a:lnTo>
                      <a:pt x="384" y="148"/>
                    </a:lnTo>
                    <a:lnTo>
                      <a:pt x="386" y="148"/>
                    </a:lnTo>
                    <a:lnTo>
                      <a:pt x="388" y="148"/>
                    </a:lnTo>
                    <a:lnTo>
                      <a:pt x="388" y="150"/>
                    </a:lnTo>
                    <a:lnTo>
                      <a:pt x="390" y="148"/>
                    </a:lnTo>
                    <a:lnTo>
                      <a:pt x="392" y="150"/>
                    </a:lnTo>
                    <a:lnTo>
                      <a:pt x="394" y="150"/>
                    </a:lnTo>
                    <a:lnTo>
                      <a:pt x="392" y="150"/>
                    </a:lnTo>
                    <a:lnTo>
                      <a:pt x="394" y="150"/>
                    </a:lnTo>
                    <a:lnTo>
                      <a:pt x="392" y="152"/>
                    </a:lnTo>
                    <a:lnTo>
                      <a:pt x="390" y="152"/>
                    </a:lnTo>
                    <a:close/>
                    <a:moveTo>
                      <a:pt x="359" y="167"/>
                    </a:moveTo>
                    <a:lnTo>
                      <a:pt x="359" y="169"/>
                    </a:lnTo>
                    <a:lnTo>
                      <a:pt x="359" y="167"/>
                    </a:lnTo>
                    <a:lnTo>
                      <a:pt x="359" y="169"/>
                    </a:lnTo>
                    <a:lnTo>
                      <a:pt x="359" y="167"/>
                    </a:lnTo>
                    <a:close/>
                    <a:moveTo>
                      <a:pt x="455" y="29"/>
                    </a:moveTo>
                    <a:lnTo>
                      <a:pt x="455" y="31"/>
                    </a:lnTo>
                    <a:lnTo>
                      <a:pt x="457" y="31"/>
                    </a:lnTo>
                    <a:lnTo>
                      <a:pt x="455" y="31"/>
                    </a:lnTo>
                    <a:lnTo>
                      <a:pt x="455" y="32"/>
                    </a:lnTo>
                    <a:lnTo>
                      <a:pt x="455" y="31"/>
                    </a:lnTo>
                    <a:lnTo>
                      <a:pt x="457" y="31"/>
                    </a:lnTo>
                    <a:lnTo>
                      <a:pt x="455" y="31"/>
                    </a:lnTo>
                    <a:lnTo>
                      <a:pt x="455" y="29"/>
                    </a:lnTo>
                    <a:lnTo>
                      <a:pt x="453" y="29"/>
                    </a:lnTo>
                    <a:lnTo>
                      <a:pt x="455" y="29"/>
                    </a:lnTo>
                    <a:lnTo>
                      <a:pt x="453" y="29"/>
                    </a:lnTo>
                    <a:lnTo>
                      <a:pt x="455" y="29"/>
                    </a:lnTo>
                    <a:lnTo>
                      <a:pt x="453" y="27"/>
                    </a:lnTo>
                    <a:lnTo>
                      <a:pt x="453" y="29"/>
                    </a:lnTo>
                    <a:lnTo>
                      <a:pt x="453" y="27"/>
                    </a:lnTo>
                    <a:lnTo>
                      <a:pt x="453" y="29"/>
                    </a:lnTo>
                    <a:lnTo>
                      <a:pt x="453" y="27"/>
                    </a:lnTo>
                    <a:lnTo>
                      <a:pt x="453" y="29"/>
                    </a:lnTo>
                    <a:lnTo>
                      <a:pt x="453" y="27"/>
                    </a:lnTo>
                    <a:lnTo>
                      <a:pt x="451" y="25"/>
                    </a:lnTo>
                    <a:lnTo>
                      <a:pt x="453" y="25"/>
                    </a:lnTo>
                    <a:lnTo>
                      <a:pt x="451" y="25"/>
                    </a:lnTo>
                    <a:lnTo>
                      <a:pt x="453" y="23"/>
                    </a:lnTo>
                    <a:lnTo>
                      <a:pt x="455" y="23"/>
                    </a:lnTo>
                    <a:lnTo>
                      <a:pt x="455" y="25"/>
                    </a:lnTo>
                    <a:lnTo>
                      <a:pt x="453" y="25"/>
                    </a:lnTo>
                    <a:lnTo>
                      <a:pt x="455" y="25"/>
                    </a:lnTo>
                    <a:lnTo>
                      <a:pt x="453" y="25"/>
                    </a:lnTo>
                    <a:lnTo>
                      <a:pt x="455" y="25"/>
                    </a:lnTo>
                    <a:lnTo>
                      <a:pt x="455" y="23"/>
                    </a:lnTo>
                    <a:lnTo>
                      <a:pt x="457" y="23"/>
                    </a:lnTo>
                    <a:lnTo>
                      <a:pt x="459" y="23"/>
                    </a:lnTo>
                    <a:lnTo>
                      <a:pt x="459" y="21"/>
                    </a:lnTo>
                    <a:lnTo>
                      <a:pt x="461" y="21"/>
                    </a:lnTo>
                    <a:lnTo>
                      <a:pt x="461" y="23"/>
                    </a:lnTo>
                    <a:lnTo>
                      <a:pt x="459" y="23"/>
                    </a:lnTo>
                    <a:lnTo>
                      <a:pt x="461" y="23"/>
                    </a:lnTo>
                    <a:lnTo>
                      <a:pt x="459" y="23"/>
                    </a:lnTo>
                    <a:lnTo>
                      <a:pt x="461" y="23"/>
                    </a:lnTo>
                    <a:lnTo>
                      <a:pt x="459" y="23"/>
                    </a:lnTo>
                    <a:lnTo>
                      <a:pt x="461" y="23"/>
                    </a:lnTo>
                    <a:lnTo>
                      <a:pt x="461" y="21"/>
                    </a:lnTo>
                    <a:lnTo>
                      <a:pt x="463" y="19"/>
                    </a:lnTo>
                    <a:lnTo>
                      <a:pt x="463" y="17"/>
                    </a:lnTo>
                    <a:lnTo>
                      <a:pt x="463" y="19"/>
                    </a:lnTo>
                    <a:lnTo>
                      <a:pt x="463" y="17"/>
                    </a:lnTo>
                    <a:lnTo>
                      <a:pt x="465" y="17"/>
                    </a:lnTo>
                    <a:lnTo>
                      <a:pt x="463" y="17"/>
                    </a:lnTo>
                    <a:lnTo>
                      <a:pt x="465" y="17"/>
                    </a:lnTo>
                    <a:lnTo>
                      <a:pt x="467" y="17"/>
                    </a:lnTo>
                    <a:lnTo>
                      <a:pt x="467" y="15"/>
                    </a:lnTo>
                    <a:lnTo>
                      <a:pt x="467" y="17"/>
                    </a:lnTo>
                    <a:lnTo>
                      <a:pt x="465" y="17"/>
                    </a:lnTo>
                    <a:lnTo>
                      <a:pt x="465" y="15"/>
                    </a:lnTo>
                    <a:lnTo>
                      <a:pt x="467" y="15"/>
                    </a:lnTo>
                    <a:lnTo>
                      <a:pt x="467" y="13"/>
                    </a:lnTo>
                    <a:lnTo>
                      <a:pt x="469" y="13"/>
                    </a:lnTo>
                    <a:lnTo>
                      <a:pt x="469" y="11"/>
                    </a:lnTo>
                    <a:lnTo>
                      <a:pt x="471" y="11"/>
                    </a:lnTo>
                    <a:lnTo>
                      <a:pt x="472" y="11"/>
                    </a:lnTo>
                    <a:lnTo>
                      <a:pt x="474" y="11"/>
                    </a:lnTo>
                    <a:lnTo>
                      <a:pt x="476" y="9"/>
                    </a:lnTo>
                    <a:lnTo>
                      <a:pt x="478" y="9"/>
                    </a:lnTo>
                    <a:lnTo>
                      <a:pt x="480" y="9"/>
                    </a:lnTo>
                    <a:lnTo>
                      <a:pt x="480" y="8"/>
                    </a:lnTo>
                    <a:lnTo>
                      <a:pt x="482" y="8"/>
                    </a:lnTo>
                    <a:lnTo>
                      <a:pt x="484" y="8"/>
                    </a:lnTo>
                    <a:lnTo>
                      <a:pt x="484" y="6"/>
                    </a:lnTo>
                    <a:lnTo>
                      <a:pt x="486" y="6"/>
                    </a:lnTo>
                    <a:lnTo>
                      <a:pt x="488" y="6"/>
                    </a:lnTo>
                    <a:lnTo>
                      <a:pt x="488" y="8"/>
                    </a:lnTo>
                    <a:lnTo>
                      <a:pt x="490" y="8"/>
                    </a:lnTo>
                    <a:lnTo>
                      <a:pt x="492" y="8"/>
                    </a:lnTo>
                    <a:lnTo>
                      <a:pt x="494" y="8"/>
                    </a:lnTo>
                    <a:lnTo>
                      <a:pt x="494" y="6"/>
                    </a:lnTo>
                    <a:lnTo>
                      <a:pt x="495" y="6"/>
                    </a:lnTo>
                    <a:lnTo>
                      <a:pt x="494" y="6"/>
                    </a:lnTo>
                    <a:lnTo>
                      <a:pt x="494" y="8"/>
                    </a:lnTo>
                    <a:lnTo>
                      <a:pt x="494" y="6"/>
                    </a:lnTo>
                    <a:lnTo>
                      <a:pt x="495" y="6"/>
                    </a:lnTo>
                    <a:lnTo>
                      <a:pt x="495" y="4"/>
                    </a:lnTo>
                    <a:lnTo>
                      <a:pt x="497" y="4"/>
                    </a:lnTo>
                    <a:lnTo>
                      <a:pt x="495" y="4"/>
                    </a:lnTo>
                    <a:lnTo>
                      <a:pt x="495" y="2"/>
                    </a:lnTo>
                    <a:lnTo>
                      <a:pt x="497" y="2"/>
                    </a:lnTo>
                    <a:lnTo>
                      <a:pt x="497" y="0"/>
                    </a:lnTo>
                    <a:lnTo>
                      <a:pt x="499" y="0"/>
                    </a:lnTo>
                    <a:lnTo>
                      <a:pt x="499" y="2"/>
                    </a:lnTo>
                    <a:lnTo>
                      <a:pt x="499" y="4"/>
                    </a:lnTo>
                    <a:lnTo>
                      <a:pt x="499" y="6"/>
                    </a:lnTo>
                    <a:lnTo>
                      <a:pt x="499" y="8"/>
                    </a:lnTo>
                    <a:lnTo>
                      <a:pt x="499" y="9"/>
                    </a:lnTo>
                    <a:lnTo>
                      <a:pt x="499" y="11"/>
                    </a:lnTo>
                    <a:lnTo>
                      <a:pt x="501" y="11"/>
                    </a:lnTo>
                    <a:lnTo>
                      <a:pt x="499" y="11"/>
                    </a:lnTo>
                    <a:lnTo>
                      <a:pt x="501" y="13"/>
                    </a:lnTo>
                    <a:lnTo>
                      <a:pt x="501" y="15"/>
                    </a:lnTo>
                    <a:lnTo>
                      <a:pt x="499" y="15"/>
                    </a:lnTo>
                    <a:lnTo>
                      <a:pt x="499" y="17"/>
                    </a:lnTo>
                    <a:lnTo>
                      <a:pt x="499" y="19"/>
                    </a:lnTo>
                    <a:lnTo>
                      <a:pt x="497" y="19"/>
                    </a:lnTo>
                    <a:lnTo>
                      <a:pt x="494" y="23"/>
                    </a:lnTo>
                    <a:lnTo>
                      <a:pt x="492" y="25"/>
                    </a:lnTo>
                    <a:lnTo>
                      <a:pt x="490" y="25"/>
                    </a:lnTo>
                    <a:lnTo>
                      <a:pt x="490" y="27"/>
                    </a:lnTo>
                    <a:lnTo>
                      <a:pt x="490" y="29"/>
                    </a:lnTo>
                    <a:lnTo>
                      <a:pt x="490" y="31"/>
                    </a:lnTo>
                    <a:lnTo>
                      <a:pt x="488" y="31"/>
                    </a:lnTo>
                    <a:lnTo>
                      <a:pt x="488" y="32"/>
                    </a:lnTo>
                    <a:lnTo>
                      <a:pt x="486" y="32"/>
                    </a:lnTo>
                    <a:lnTo>
                      <a:pt x="486" y="34"/>
                    </a:lnTo>
                    <a:lnTo>
                      <a:pt x="484" y="34"/>
                    </a:lnTo>
                    <a:lnTo>
                      <a:pt x="482" y="34"/>
                    </a:lnTo>
                    <a:lnTo>
                      <a:pt x="480" y="36"/>
                    </a:lnTo>
                    <a:lnTo>
                      <a:pt x="478" y="36"/>
                    </a:lnTo>
                    <a:lnTo>
                      <a:pt x="478" y="38"/>
                    </a:lnTo>
                    <a:lnTo>
                      <a:pt x="476" y="38"/>
                    </a:lnTo>
                    <a:lnTo>
                      <a:pt x="476" y="40"/>
                    </a:lnTo>
                    <a:lnTo>
                      <a:pt x="474" y="40"/>
                    </a:lnTo>
                    <a:lnTo>
                      <a:pt x="472" y="40"/>
                    </a:lnTo>
                    <a:lnTo>
                      <a:pt x="471" y="40"/>
                    </a:lnTo>
                    <a:lnTo>
                      <a:pt x="472" y="40"/>
                    </a:lnTo>
                    <a:lnTo>
                      <a:pt x="471" y="40"/>
                    </a:lnTo>
                    <a:lnTo>
                      <a:pt x="472" y="40"/>
                    </a:lnTo>
                    <a:lnTo>
                      <a:pt x="471" y="40"/>
                    </a:lnTo>
                    <a:lnTo>
                      <a:pt x="472" y="40"/>
                    </a:lnTo>
                    <a:lnTo>
                      <a:pt x="471" y="40"/>
                    </a:lnTo>
                    <a:lnTo>
                      <a:pt x="471" y="42"/>
                    </a:lnTo>
                    <a:lnTo>
                      <a:pt x="469" y="42"/>
                    </a:lnTo>
                    <a:lnTo>
                      <a:pt x="467" y="42"/>
                    </a:lnTo>
                    <a:lnTo>
                      <a:pt x="467" y="44"/>
                    </a:lnTo>
                    <a:lnTo>
                      <a:pt x="465" y="44"/>
                    </a:lnTo>
                    <a:lnTo>
                      <a:pt x="463" y="44"/>
                    </a:lnTo>
                    <a:lnTo>
                      <a:pt x="463" y="46"/>
                    </a:lnTo>
                    <a:lnTo>
                      <a:pt x="461" y="46"/>
                    </a:lnTo>
                    <a:lnTo>
                      <a:pt x="459" y="46"/>
                    </a:lnTo>
                    <a:lnTo>
                      <a:pt x="457" y="46"/>
                    </a:lnTo>
                    <a:lnTo>
                      <a:pt x="455" y="46"/>
                    </a:lnTo>
                    <a:lnTo>
                      <a:pt x="453" y="46"/>
                    </a:lnTo>
                    <a:lnTo>
                      <a:pt x="453" y="44"/>
                    </a:lnTo>
                    <a:lnTo>
                      <a:pt x="451" y="44"/>
                    </a:lnTo>
                    <a:lnTo>
                      <a:pt x="449" y="44"/>
                    </a:lnTo>
                    <a:lnTo>
                      <a:pt x="447" y="44"/>
                    </a:lnTo>
                    <a:lnTo>
                      <a:pt x="446" y="44"/>
                    </a:lnTo>
                    <a:lnTo>
                      <a:pt x="444" y="44"/>
                    </a:lnTo>
                    <a:lnTo>
                      <a:pt x="442" y="46"/>
                    </a:lnTo>
                    <a:lnTo>
                      <a:pt x="440" y="46"/>
                    </a:lnTo>
                    <a:lnTo>
                      <a:pt x="438" y="46"/>
                    </a:lnTo>
                    <a:lnTo>
                      <a:pt x="436" y="48"/>
                    </a:lnTo>
                    <a:lnTo>
                      <a:pt x="434" y="48"/>
                    </a:lnTo>
                    <a:lnTo>
                      <a:pt x="432" y="48"/>
                    </a:lnTo>
                    <a:lnTo>
                      <a:pt x="428" y="48"/>
                    </a:lnTo>
                    <a:lnTo>
                      <a:pt x="426" y="48"/>
                    </a:lnTo>
                    <a:lnTo>
                      <a:pt x="424" y="48"/>
                    </a:lnTo>
                    <a:lnTo>
                      <a:pt x="426" y="48"/>
                    </a:lnTo>
                    <a:lnTo>
                      <a:pt x="424" y="48"/>
                    </a:lnTo>
                    <a:lnTo>
                      <a:pt x="422" y="48"/>
                    </a:lnTo>
                    <a:lnTo>
                      <a:pt x="421" y="48"/>
                    </a:lnTo>
                    <a:lnTo>
                      <a:pt x="419" y="48"/>
                    </a:lnTo>
                    <a:lnTo>
                      <a:pt x="417" y="50"/>
                    </a:lnTo>
                    <a:lnTo>
                      <a:pt x="413" y="48"/>
                    </a:lnTo>
                    <a:lnTo>
                      <a:pt x="413" y="50"/>
                    </a:lnTo>
                    <a:lnTo>
                      <a:pt x="413" y="48"/>
                    </a:lnTo>
                    <a:lnTo>
                      <a:pt x="411" y="48"/>
                    </a:lnTo>
                    <a:lnTo>
                      <a:pt x="413" y="48"/>
                    </a:lnTo>
                    <a:lnTo>
                      <a:pt x="413" y="46"/>
                    </a:lnTo>
                    <a:lnTo>
                      <a:pt x="415" y="46"/>
                    </a:lnTo>
                    <a:lnTo>
                      <a:pt x="415" y="44"/>
                    </a:lnTo>
                    <a:lnTo>
                      <a:pt x="413" y="44"/>
                    </a:lnTo>
                    <a:lnTo>
                      <a:pt x="413" y="42"/>
                    </a:lnTo>
                    <a:lnTo>
                      <a:pt x="411" y="44"/>
                    </a:lnTo>
                    <a:lnTo>
                      <a:pt x="411" y="42"/>
                    </a:lnTo>
                    <a:lnTo>
                      <a:pt x="409" y="40"/>
                    </a:lnTo>
                    <a:lnTo>
                      <a:pt x="409" y="38"/>
                    </a:lnTo>
                    <a:lnTo>
                      <a:pt x="411" y="38"/>
                    </a:lnTo>
                    <a:lnTo>
                      <a:pt x="411" y="36"/>
                    </a:lnTo>
                    <a:lnTo>
                      <a:pt x="411" y="34"/>
                    </a:lnTo>
                    <a:lnTo>
                      <a:pt x="411" y="32"/>
                    </a:lnTo>
                    <a:lnTo>
                      <a:pt x="409" y="32"/>
                    </a:lnTo>
                    <a:lnTo>
                      <a:pt x="409" y="34"/>
                    </a:lnTo>
                    <a:lnTo>
                      <a:pt x="409" y="32"/>
                    </a:lnTo>
                    <a:lnTo>
                      <a:pt x="409" y="31"/>
                    </a:lnTo>
                    <a:lnTo>
                      <a:pt x="409" y="29"/>
                    </a:lnTo>
                    <a:lnTo>
                      <a:pt x="411" y="29"/>
                    </a:lnTo>
                    <a:lnTo>
                      <a:pt x="413" y="29"/>
                    </a:lnTo>
                    <a:lnTo>
                      <a:pt x="411" y="29"/>
                    </a:lnTo>
                    <a:lnTo>
                      <a:pt x="413" y="29"/>
                    </a:lnTo>
                    <a:lnTo>
                      <a:pt x="415" y="29"/>
                    </a:lnTo>
                    <a:lnTo>
                      <a:pt x="415" y="31"/>
                    </a:lnTo>
                    <a:lnTo>
                      <a:pt x="417" y="31"/>
                    </a:lnTo>
                    <a:lnTo>
                      <a:pt x="415" y="31"/>
                    </a:lnTo>
                    <a:lnTo>
                      <a:pt x="417" y="31"/>
                    </a:lnTo>
                    <a:lnTo>
                      <a:pt x="415" y="32"/>
                    </a:lnTo>
                    <a:lnTo>
                      <a:pt x="415" y="34"/>
                    </a:lnTo>
                    <a:lnTo>
                      <a:pt x="417" y="34"/>
                    </a:lnTo>
                    <a:lnTo>
                      <a:pt x="415" y="34"/>
                    </a:lnTo>
                    <a:lnTo>
                      <a:pt x="417" y="34"/>
                    </a:lnTo>
                    <a:lnTo>
                      <a:pt x="419" y="34"/>
                    </a:lnTo>
                    <a:lnTo>
                      <a:pt x="419" y="36"/>
                    </a:lnTo>
                    <a:lnTo>
                      <a:pt x="421" y="36"/>
                    </a:lnTo>
                    <a:lnTo>
                      <a:pt x="422" y="36"/>
                    </a:lnTo>
                    <a:lnTo>
                      <a:pt x="424" y="36"/>
                    </a:lnTo>
                    <a:lnTo>
                      <a:pt x="424" y="34"/>
                    </a:lnTo>
                    <a:lnTo>
                      <a:pt x="426" y="34"/>
                    </a:lnTo>
                    <a:lnTo>
                      <a:pt x="428" y="34"/>
                    </a:lnTo>
                    <a:lnTo>
                      <a:pt x="428" y="32"/>
                    </a:lnTo>
                    <a:lnTo>
                      <a:pt x="428" y="31"/>
                    </a:lnTo>
                    <a:lnTo>
                      <a:pt x="428" y="32"/>
                    </a:lnTo>
                    <a:lnTo>
                      <a:pt x="426" y="32"/>
                    </a:lnTo>
                    <a:lnTo>
                      <a:pt x="428" y="31"/>
                    </a:lnTo>
                    <a:lnTo>
                      <a:pt x="428" y="29"/>
                    </a:lnTo>
                    <a:lnTo>
                      <a:pt x="430" y="27"/>
                    </a:lnTo>
                    <a:lnTo>
                      <a:pt x="430" y="29"/>
                    </a:lnTo>
                    <a:lnTo>
                      <a:pt x="430" y="27"/>
                    </a:lnTo>
                    <a:lnTo>
                      <a:pt x="428" y="29"/>
                    </a:lnTo>
                    <a:lnTo>
                      <a:pt x="428" y="27"/>
                    </a:lnTo>
                    <a:lnTo>
                      <a:pt x="430" y="27"/>
                    </a:lnTo>
                    <a:lnTo>
                      <a:pt x="432" y="27"/>
                    </a:lnTo>
                    <a:lnTo>
                      <a:pt x="432" y="25"/>
                    </a:lnTo>
                    <a:lnTo>
                      <a:pt x="434" y="23"/>
                    </a:lnTo>
                    <a:lnTo>
                      <a:pt x="438" y="23"/>
                    </a:lnTo>
                    <a:lnTo>
                      <a:pt x="440" y="23"/>
                    </a:lnTo>
                    <a:lnTo>
                      <a:pt x="442" y="21"/>
                    </a:lnTo>
                    <a:lnTo>
                      <a:pt x="446" y="19"/>
                    </a:lnTo>
                    <a:lnTo>
                      <a:pt x="447" y="17"/>
                    </a:lnTo>
                    <a:lnTo>
                      <a:pt x="449" y="17"/>
                    </a:lnTo>
                    <a:lnTo>
                      <a:pt x="451" y="17"/>
                    </a:lnTo>
                    <a:lnTo>
                      <a:pt x="453" y="17"/>
                    </a:lnTo>
                    <a:lnTo>
                      <a:pt x="453" y="19"/>
                    </a:lnTo>
                    <a:lnTo>
                      <a:pt x="451" y="19"/>
                    </a:lnTo>
                    <a:lnTo>
                      <a:pt x="451" y="21"/>
                    </a:lnTo>
                    <a:lnTo>
                      <a:pt x="451" y="19"/>
                    </a:lnTo>
                    <a:lnTo>
                      <a:pt x="451" y="21"/>
                    </a:lnTo>
                    <a:lnTo>
                      <a:pt x="453" y="21"/>
                    </a:lnTo>
                    <a:lnTo>
                      <a:pt x="455" y="21"/>
                    </a:lnTo>
                    <a:lnTo>
                      <a:pt x="453" y="21"/>
                    </a:lnTo>
                    <a:lnTo>
                      <a:pt x="453" y="23"/>
                    </a:lnTo>
                    <a:lnTo>
                      <a:pt x="455" y="23"/>
                    </a:lnTo>
                    <a:lnTo>
                      <a:pt x="453" y="23"/>
                    </a:lnTo>
                    <a:lnTo>
                      <a:pt x="455" y="23"/>
                    </a:lnTo>
                    <a:lnTo>
                      <a:pt x="453" y="23"/>
                    </a:lnTo>
                    <a:lnTo>
                      <a:pt x="451" y="23"/>
                    </a:lnTo>
                    <a:lnTo>
                      <a:pt x="451" y="25"/>
                    </a:lnTo>
                    <a:lnTo>
                      <a:pt x="451" y="27"/>
                    </a:lnTo>
                    <a:lnTo>
                      <a:pt x="449" y="27"/>
                    </a:lnTo>
                    <a:lnTo>
                      <a:pt x="451" y="27"/>
                    </a:lnTo>
                    <a:lnTo>
                      <a:pt x="449" y="27"/>
                    </a:lnTo>
                    <a:lnTo>
                      <a:pt x="451" y="27"/>
                    </a:lnTo>
                    <a:lnTo>
                      <a:pt x="449" y="27"/>
                    </a:lnTo>
                    <a:lnTo>
                      <a:pt x="451" y="27"/>
                    </a:lnTo>
                    <a:lnTo>
                      <a:pt x="453" y="27"/>
                    </a:lnTo>
                    <a:lnTo>
                      <a:pt x="453" y="29"/>
                    </a:lnTo>
                    <a:lnTo>
                      <a:pt x="455" y="29"/>
                    </a:lnTo>
                    <a:lnTo>
                      <a:pt x="453" y="29"/>
                    </a:lnTo>
                    <a:lnTo>
                      <a:pt x="455" y="29"/>
                    </a:lnTo>
                    <a:close/>
                    <a:moveTo>
                      <a:pt x="286" y="82"/>
                    </a:moveTo>
                    <a:lnTo>
                      <a:pt x="288" y="82"/>
                    </a:lnTo>
                    <a:lnTo>
                      <a:pt x="290" y="82"/>
                    </a:lnTo>
                    <a:lnTo>
                      <a:pt x="290" y="81"/>
                    </a:lnTo>
                    <a:lnTo>
                      <a:pt x="292" y="81"/>
                    </a:lnTo>
                    <a:lnTo>
                      <a:pt x="294" y="81"/>
                    </a:lnTo>
                    <a:lnTo>
                      <a:pt x="296" y="81"/>
                    </a:lnTo>
                    <a:lnTo>
                      <a:pt x="298" y="81"/>
                    </a:lnTo>
                    <a:lnTo>
                      <a:pt x="296" y="81"/>
                    </a:lnTo>
                    <a:lnTo>
                      <a:pt x="296" y="82"/>
                    </a:lnTo>
                    <a:lnTo>
                      <a:pt x="296" y="81"/>
                    </a:lnTo>
                    <a:lnTo>
                      <a:pt x="298" y="81"/>
                    </a:lnTo>
                    <a:lnTo>
                      <a:pt x="298" y="82"/>
                    </a:lnTo>
                    <a:lnTo>
                      <a:pt x="298" y="84"/>
                    </a:lnTo>
                    <a:lnTo>
                      <a:pt x="298" y="82"/>
                    </a:lnTo>
                    <a:lnTo>
                      <a:pt x="298" y="84"/>
                    </a:lnTo>
                    <a:lnTo>
                      <a:pt x="298" y="86"/>
                    </a:lnTo>
                    <a:lnTo>
                      <a:pt x="298" y="84"/>
                    </a:lnTo>
                    <a:lnTo>
                      <a:pt x="298" y="86"/>
                    </a:lnTo>
                    <a:lnTo>
                      <a:pt x="300" y="86"/>
                    </a:lnTo>
                    <a:lnTo>
                      <a:pt x="298" y="86"/>
                    </a:lnTo>
                    <a:lnTo>
                      <a:pt x="300" y="86"/>
                    </a:lnTo>
                    <a:lnTo>
                      <a:pt x="300" y="84"/>
                    </a:lnTo>
                    <a:lnTo>
                      <a:pt x="300" y="86"/>
                    </a:lnTo>
                    <a:lnTo>
                      <a:pt x="300" y="84"/>
                    </a:lnTo>
                    <a:lnTo>
                      <a:pt x="301" y="84"/>
                    </a:lnTo>
                    <a:lnTo>
                      <a:pt x="300" y="84"/>
                    </a:lnTo>
                    <a:lnTo>
                      <a:pt x="301" y="84"/>
                    </a:lnTo>
                    <a:lnTo>
                      <a:pt x="301" y="82"/>
                    </a:lnTo>
                    <a:lnTo>
                      <a:pt x="300" y="82"/>
                    </a:lnTo>
                    <a:lnTo>
                      <a:pt x="301" y="82"/>
                    </a:lnTo>
                    <a:lnTo>
                      <a:pt x="303" y="82"/>
                    </a:lnTo>
                    <a:lnTo>
                      <a:pt x="305" y="82"/>
                    </a:lnTo>
                    <a:lnTo>
                      <a:pt x="305" y="84"/>
                    </a:lnTo>
                    <a:lnTo>
                      <a:pt x="305" y="82"/>
                    </a:lnTo>
                    <a:lnTo>
                      <a:pt x="305" y="84"/>
                    </a:lnTo>
                    <a:lnTo>
                      <a:pt x="303" y="82"/>
                    </a:lnTo>
                    <a:lnTo>
                      <a:pt x="305" y="84"/>
                    </a:lnTo>
                    <a:lnTo>
                      <a:pt x="303" y="84"/>
                    </a:lnTo>
                    <a:lnTo>
                      <a:pt x="301" y="84"/>
                    </a:lnTo>
                    <a:lnTo>
                      <a:pt x="303" y="84"/>
                    </a:lnTo>
                    <a:lnTo>
                      <a:pt x="305" y="84"/>
                    </a:lnTo>
                    <a:lnTo>
                      <a:pt x="303" y="84"/>
                    </a:lnTo>
                    <a:lnTo>
                      <a:pt x="305" y="82"/>
                    </a:lnTo>
                    <a:lnTo>
                      <a:pt x="305" y="84"/>
                    </a:lnTo>
                    <a:lnTo>
                      <a:pt x="305" y="82"/>
                    </a:lnTo>
                    <a:lnTo>
                      <a:pt x="305" y="84"/>
                    </a:lnTo>
                    <a:lnTo>
                      <a:pt x="305" y="82"/>
                    </a:lnTo>
                    <a:lnTo>
                      <a:pt x="307" y="82"/>
                    </a:lnTo>
                    <a:lnTo>
                      <a:pt x="307" y="84"/>
                    </a:lnTo>
                    <a:lnTo>
                      <a:pt x="307" y="82"/>
                    </a:lnTo>
                    <a:lnTo>
                      <a:pt x="307" y="84"/>
                    </a:lnTo>
                    <a:lnTo>
                      <a:pt x="307" y="82"/>
                    </a:lnTo>
                    <a:lnTo>
                      <a:pt x="309" y="82"/>
                    </a:lnTo>
                    <a:lnTo>
                      <a:pt x="309" y="81"/>
                    </a:lnTo>
                    <a:lnTo>
                      <a:pt x="311" y="81"/>
                    </a:lnTo>
                    <a:lnTo>
                      <a:pt x="309" y="81"/>
                    </a:lnTo>
                    <a:lnTo>
                      <a:pt x="311" y="81"/>
                    </a:lnTo>
                    <a:lnTo>
                      <a:pt x="311" y="79"/>
                    </a:lnTo>
                    <a:lnTo>
                      <a:pt x="309" y="81"/>
                    </a:lnTo>
                    <a:lnTo>
                      <a:pt x="307" y="81"/>
                    </a:lnTo>
                    <a:lnTo>
                      <a:pt x="307" y="79"/>
                    </a:lnTo>
                    <a:lnTo>
                      <a:pt x="307" y="81"/>
                    </a:lnTo>
                    <a:lnTo>
                      <a:pt x="307" y="79"/>
                    </a:lnTo>
                    <a:lnTo>
                      <a:pt x="309" y="79"/>
                    </a:lnTo>
                    <a:lnTo>
                      <a:pt x="307" y="79"/>
                    </a:lnTo>
                    <a:lnTo>
                      <a:pt x="305" y="79"/>
                    </a:lnTo>
                    <a:lnTo>
                      <a:pt x="307" y="79"/>
                    </a:lnTo>
                    <a:lnTo>
                      <a:pt x="305" y="79"/>
                    </a:lnTo>
                    <a:lnTo>
                      <a:pt x="305" y="77"/>
                    </a:lnTo>
                    <a:lnTo>
                      <a:pt x="303" y="77"/>
                    </a:lnTo>
                    <a:lnTo>
                      <a:pt x="305" y="77"/>
                    </a:lnTo>
                    <a:lnTo>
                      <a:pt x="303" y="75"/>
                    </a:lnTo>
                    <a:lnTo>
                      <a:pt x="303" y="73"/>
                    </a:lnTo>
                    <a:lnTo>
                      <a:pt x="303" y="71"/>
                    </a:lnTo>
                    <a:lnTo>
                      <a:pt x="301" y="71"/>
                    </a:lnTo>
                    <a:lnTo>
                      <a:pt x="301" y="69"/>
                    </a:lnTo>
                    <a:lnTo>
                      <a:pt x="301" y="67"/>
                    </a:lnTo>
                    <a:lnTo>
                      <a:pt x="300" y="67"/>
                    </a:lnTo>
                    <a:lnTo>
                      <a:pt x="300" y="65"/>
                    </a:lnTo>
                    <a:lnTo>
                      <a:pt x="300" y="63"/>
                    </a:lnTo>
                    <a:lnTo>
                      <a:pt x="301" y="63"/>
                    </a:lnTo>
                    <a:lnTo>
                      <a:pt x="303" y="63"/>
                    </a:lnTo>
                    <a:lnTo>
                      <a:pt x="301" y="63"/>
                    </a:lnTo>
                    <a:lnTo>
                      <a:pt x="301" y="61"/>
                    </a:lnTo>
                    <a:lnTo>
                      <a:pt x="303" y="61"/>
                    </a:lnTo>
                    <a:lnTo>
                      <a:pt x="301" y="61"/>
                    </a:lnTo>
                    <a:lnTo>
                      <a:pt x="301" y="59"/>
                    </a:lnTo>
                    <a:lnTo>
                      <a:pt x="303" y="59"/>
                    </a:lnTo>
                    <a:lnTo>
                      <a:pt x="305" y="59"/>
                    </a:lnTo>
                    <a:lnTo>
                      <a:pt x="307" y="59"/>
                    </a:lnTo>
                    <a:lnTo>
                      <a:pt x="305" y="61"/>
                    </a:lnTo>
                    <a:lnTo>
                      <a:pt x="307" y="61"/>
                    </a:lnTo>
                    <a:lnTo>
                      <a:pt x="307" y="59"/>
                    </a:lnTo>
                    <a:lnTo>
                      <a:pt x="307" y="61"/>
                    </a:lnTo>
                    <a:lnTo>
                      <a:pt x="309" y="59"/>
                    </a:lnTo>
                    <a:lnTo>
                      <a:pt x="311" y="59"/>
                    </a:lnTo>
                    <a:lnTo>
                      <a:pt x="313" y="59"/>
                    </a:lnTo>
                    <a:lnTo>
                      <a:pt x="311" y="59"/>
                    </a:lnTo>
                    <a:lnTo>
                      <a:pt x="309" y="59"/>
                    </a:lnTo>
                    <a:lnTo>
                      <a:pt x="311" y="59"/>
                    </a:lnTo>
                    <a:lnTo>
                      <a:pt x="309" y="59"/>
                    </a:lnTo>
                    <a:lnTo>
                      <a:pt x="311" y="59"/>
                    </a:lnTo>
                    <a:lnTo>
                      <a:pt x="309" y="59"/>
                    </a:lnTo>
                    <a:lnTo>
                      <a:pt x="309" y="57"/>
                    </a:lnTo>
                    <a:lnTo>
                      <a:pt x="307" y="57"/>
                    </a:lnTo>
                    <a:lnTo>
                      <a:pt x="307" y="56"/>
                    </a:lnTo>
                    <a:lnTo>
                      <a:pt x="305" y="56"/>
                    </a:lnTo>
                    <a:lnTo>
                      <a:pt x="303" y="56"/>
                    </a:lnTo>
                    <a:lnTo>
                      <a:pt x="305" y="56"/>
                    </a:lnTo>
                    <a:lnTo>
                      <a:pt x="309" y="56"/>
                    </a:lnTo>
                    <a:lnTo>
                      <a:pt x="307" y="56"/>
                    </a:lnTo>
                    <a:lnTo>
                      <a:pt x="309" y="56"/>
                    </a:lnTo>
                    <a:lnTo>
                      <a:pt x="307" y="56"/>
                    </a:lnTo>
                    <a:lnTo>
                      <a:pt x="309" y="56"/>
                    </a:lnTo>
                    <a:lnTo>
                      <a:pt x="307" y="56"/>
                    </a:lnTo>
                    <a:lnTo>
                      <a:pt x="309" y="56"/>
                    </a:lnTo>
                    <a:lnTo>
                      <a:pt x="309" y="54"/>
                    </a:lnTo>
                    <a:lnTo>
                      <a:pt x="313" y="54"/>
                    </a:lnTo>
                    <a:lnTo>
                      <a:pt x="315" y="54"/>
                    </a:lnTo>
                    <a:lnTo>
                      <a:pt x="317" y="54"/>
                    </a:lnTo>
                    <a:lnTo>
                      <a:pt x="319" y="56"/>
                    </a:lnTo>
                    <a:lnTo>
                      <a:pt x="321" y="56"/>
                    </a:lnTo>
                    <a:lnTo>
                      <a:pt x="323" y="56"/>
                    </a:lnTo>
                    <a:lnTo>
                      <a:pt x="321" y="56"/>
                    </a:lnTo>
                    <a:lnTo>
                      <a:pt x="325" y="56"/>
                    </a:lnTo>
                    <a:lnTo>
                      <a:pt x="326" y="56"/>
                    </a:lnTo>
                    <a:lnTo>
                      <a:pt x="328" y="56"/>
                    </a:lnTo>
                    <a:lnTo>
                      <a:pt x="328" y="57"/>
                    </a:lnTo>
                    <a:lnTo>
                      <a:pt x="330" y="57"/>
                    </a:lnTo>
                    <a:lnTo>
                      <a:pt x="332" y="57"/>
                    </a:lnTo>
                    <a:lnTo>
                      <a:pt x="334" y="57"/>
                    </a:lnTo>
                    <a:lnTo>
                      <a:pt x="334" y="56"/>
                    </a:lnTo>
                    <a:lnTo>
                      <a:pt x="336" y="56"/>
                    </a:lnTo>
                    <a:lnTo>
                      <a:pt x="338" y="56"/>
                    </a:lnTo>
                    <a:lnTo>
                      <a:pt x="340" y="56"/>
                    </a:lnTo>
                    <a:lnTo>
                      <a:pt x="342" y="56"/>
                    </a:lnTo>
                    <a:lnTo>
                      <a:pt x="344" y="54"/>
                    </a:lnTo>
                    <a:lnTo>
                      <a:pt x="346" y="54"/>
                    </a:lnTo>
                    <a:lnTo>
                      <a:pt x="346" y="52"/>
                    </a:lnTo>
                    <a:lnTo>
                      <a:pt x="348" y="52"/>
                    </a:lnTo>
                    <a:lnTo>
                      <a:pt x="349" y="52"/>
                    </a:lnTo>
                    <a:lnTo>
                      <a:pt x="348" y="52"/>
                    </a:lnTo>
                    <a:lnTo>
                      <a:pt x="348" y="50"/>
                    </a:lnTo>
                    <a:lnTo>
                      <a:pt x="349" y="50"/>
                    </a:lnTo>
                    <a:lnTo>
                      <a:pt x="349" y="48"/>
                    </a:lnTo>
                    <a:lnTo>
                      <a:pt x="351" y="48"/>
                    </a:lnTo>
                    <a:lnTo>
                      <a:pt x="353" y="46"/>
                    </a:lnTo>
                    <a:lnTo>
                      <a:pt x="355" y="46"/>
                    </a:lnTo>
                    <a:lnTo>
                      <a:pt x="357" y="46"/>
                    </a:lnTo>
                    <a:lnTo>
                      <a:pt x="359" y="46"/>
                    </a:lnTo>
                    <a:lnTo>
                      <a:pt x="361" y="46"/>
                    </a:lnTo>
                    <a:lnTo>
                      <a:pt x="363" y="46"/>
                    </a:lnTo>
                    <a:lnTo>
                      <a:pt x="365" y="46"/>
                    </a:lnTo>
                    <a:lnTo>
                      <a:pt x="367" y="46"/>
                    </a:lnTo>
                    <a:lnTo>
                      <a:pt x="369" y="46"/>
                    </a:lnTo>
                    <a:lnTo>
                      <a:pt x="371" y="46"/>
                    </a:lnTo>
                    <a:lnTo>
                      <a:pt x="371" y="44"/>
                    </a:lnTo>
                    <a:lnTo>
                      <a:pt x="373" y="44"/>
                    </a:lnTo>
                    <a:lnTo>
                      <a:pt x="374" y="44"/>
                    </a:lnTo>
                    <a:lnTo>
                      <a:pt x="376" y="44"/>
                    </a:lnTo>
                    <a:lnTo>
                      <a:pt x="374" y="44"/>
                    </a:lnTo>
                    <a:lnTo>
                      <a:pt x="376" y="44"/>
                    </a:lnTo>
                    <a:lnTo>
                      <a:pt x="378" y="44"/>
                    </a:lnTo>
                    <a:lnTo>
                      <a:pt x="380" y="44"/>
                    </a:lnTo>
                    <a:lnTo>
                      <a:pt x="382" y="44"/>
                    </a:lnTo>
                    <a:lnTo>
                      <a:pt x="384" y="44"/>
                    </a:lnTo>
                    <a:lnTo>
                      <a:pt x="386" y="42"/>
                    </a:lnTo>
                    <a:lnTo>
                      <a:pt x="388" y="42"/>
                    </a:lnTo>
                    <a:lnTo>
                      <a:pt x="390" y="44"/>
                    </a:lnTo>
                    <a:lnTo>
                      <a:pt x="392" y="44"/>
                    </a:lnTo>
                    <a:lnTo>
                      <a:pt x="390" y="44"/>
                    </a:lnTo>
                    <a:lnTo>
                      <a:pt x="390" y="46"/>
                    </a:lnTo>
                    <a:lnTo>
                      <a:pt x="388" y="46"/>
                    </a:lnTo>
                    <a:lnTo>
                      <a:pt x="388" y="48"/>
                    </a:lnTo>
                    <a:lnTo>
                      <a:pt x="386" y="48"/>
                    </a:lnTo>
                    <a:lnTo>
                      <a:pt x="386" y="50"/>
                    </a:lnTo>
                    <a:lnTo>
                      <a:pt x="384" y="52"/>
                    </a:lnTo>
                    <a:lnTo>
                      <a:pt x="384" y="54"/>
                    </a:lnTo>
                    <a:lnTo>
                      <a:pt x="384" y="56"/>
                    </a:lnTo>
                    <a:lnTo>
                      <a:pt x="384" y="57"/>
                    </a:lnTo>
                    <a:lnTo>
                      <a:pt x="382" y="59"/>
                    </a:lnTo>
                    <a:lnTo>
                      <a:pt x="382" y="57"/>
                    </a:lnTo>
                    <a:lnTo>
                      <a:pt x="382" y="59"/>
                    </a:lnTo>
                    <a:lnTo>
                      <a:pt x="382" y="57"/>
                    </a:lnTo>
                    <a:lnTo>
                      <a:pt x="384" y="57"/>
                    </a:lnTo>
                    <a:lnTo>
                      <a:pt x="384" y="59"/>
                    </a:lnTo>
                    <a:lnTo>
                      <a:pt x="386" y="59"/>
                    </a:lnTo>
                    <a:lnTo>
                      <a:pt x="388" y="59"/>
                    </a:lnTo>
                    <a:lnTo>
                      <a:pt x="390" y="59"/>
                    </a:lnTo>
                    <a:lnTo>
                      <a:pt x="388" y="59"/>
                    </a:lnTo>
                    <a:lnTo>
                      <a:pt x="388" y="61"/>
                    </a:lnTo>
                    <a:lnTo>
                      <a:pt x="388" y="59"/>
                    </a:lnTo>
                    <a:lnTo>
                      <a:pt x="386" y="61"/>
                    </a:lnTo>
                    <a:lnTo>
                      <a:pt x="388" y="61"/>
                    </a:lnTo>
                    <a:lnTo>
                      <a:pt x="386" y="61"/>
                    </a:lnTo>
                    <a:lnTo>
                      <a:pt x="388" y="61"/>
                    </a:lnTo>
                    <a:lnTo>
                      <a:pt x="386" y="61"/>
                    </a:lnTo>
                    <a:lnTo>
                      <a:pt x="386" y="63"/>
                    </a:lnTo>
                    <a:lnTo>
                      <a:pt x="388" y="63"/>
                    </a:lnTo>
                    <a:lnTo>
                      <a:pt x="386" y="63"/>
                    </a:lnTo>
                    <a:lnTo>
                      <a:pt x="388" y="63"/>
                    </a:lnTo>
                    <a:lnTo>
                      <a:pt x="388" y="65"/>
                    </a:lnTo>
                    <a:lnTo>
                      <a:pt x="388" y="67"/>
                    </a:lnTo>
                    <a:lnTo>
                      <a:pt x="386" y="69"/>
                    </a:lnTo>
                    <a:lnTo>
                      <a:pt x="386" y="71"/>
                    </a:lnTo>
                    <a:lnTo>
                      <a:pt x="384" y="71"/>
                    </a:lnTo>
                    <a:lnTo>
                      <a:pt x="384" y="73"/>
                    </a:lnTo>
                    <a:lnTo>
                      <a:pt x="384" y="75"/>
                    </a:lnTo>
                    <a:lnTo>
                      <a:pt x="382" y="75"/>
                    </a:lnTo>
                    <a:lnTo>
                      <a:pt x="382" y="77"/>
                    </a:lnTo>
                    <a:lnTo>
                      <a:pt x="380" y="77"/>
                    </a:lnTo>
                    <a:lnTo>
                      <a:pt x="378" y="77"/>
                    </a:lnTo>
                    <a:lnTo>
                      <a:pt x="378" y="79"/>
                    </a:lnTo>
                    <a:lnTo>
                      <a:pt x="378" y="77"/>
                    </a:lnTo>
                    <a:lnTo>
                      <a:pt x="378" y="79"/>
                    </a:lnTo>
                    <a:lnTo>
                      <a:pt x="378" y="77"/>
                    </a:lnTo>
                    <a:lnTo>
                      <a:pt x="378" y="79"/>
                    </a:lnTo>
                    <a:lnTo>
                      <a:pt x="378" y="77"/>
                    </a:lnTo>
                    <a:lnTo>
                      <a:pt x="376" y="79"/>
                    </a:lnTo>
                    <a:lnTo>
                      <a:pt x="376" y="77"/>
                    </a:lnTo>
                    <a:lnTo>
                      <a:pt x="378" y="77"/>
                    </a:lnTo>
                    <a:lnTo>
                      <a:pt x="376" y="77"/>
                    </a:lnTo>
                    <a:lnTo>
                      <a:pt x="376" y="79"/>
                    </a:lnTo>
                    <a:lnTo>
                      <a:pt x="376" y="77"/>
                    </a:lnTo>
                    <a:lnTo>
                      <a:pt x="376" y="79"/>
                    </a:lnTo>
                    <a:lnTo>
                      <a:pt x="374" y="79"/>
                    </a:lnTo>
                    <a:lnTo>
                      <a:pt x="373" y="79"/>
                    </a:lnTo>
                    <a:lnTo>
                      <a:pt x="371" y="81"/>
                    </a:lnTo>
                    <a:lnTo>
                      <a:pt x="369" y="81"/>
                    </a:lnTo>
                    <a:lnTo>
                      <a:pt x="369" y="82"/>
                    </a:lnTo>
                    <a:lnTo>
                      <a:pt x="367" y="82"/>
                    </a:lnTo>
                    <a:lnTo>
                      <a:pt x="367" y="84"/>
                    </a:lnTo>
                    <a:lnTo>
                      <a:pt x="367" y="82"/>
                    </a:lnTo>
                    <a:lnTo>
                      <a:pt x="367" y="84"/>
                    </a:lnTo>
                    <a:lnTo>
                      <a:pt x="365" y="84"/>
                    </a:lnTo>
                    <a:lnTo>
                      <a:pt x="363" y="84"/>
                    </a:lnTo>
                    <a:lnTo>
                      <a:pt x="361" y="84"/>
                    </a:lnTo>
                    <a:lnTo>
                      <a:pt x="361" y="82"/>
                    </a:lnTo>
                    <a:lnTo>
                      <a:pt x="361" y="84"/>
                    </a:lnTo>
                    <a:lnTo>
                      <a:pt x="359" y="84"/>
                    </a:lnTo>
                    <a:lnTo>
                      <a:pt x="359" y="82"/>
                    </a:lnTo>
                    <a:lnTo>
                      <a:pt x="357" y="82"/>
                    </a:lnTo>
                    <a:lnTo>
                      <a:pt x="357" y="84"/>
                    </a:lnTo>
                    <a:lnTo>
                      <a:pt x="357" y="82"/>
                    </a:lnTo>
                    <a:lnTo>
                      <a:pt x="357" y="84"/>
                    </a:lnTo>
                    <a:lnTo>
                      <a:pt x="355" y="84"/>
                    </a:lnTo>
                    <a:lnTo>
                      <a:pt x="353" y="82"/>
                    </a:lnTo>
                    <a:lnTo>
                      <a:pt x="353" y="81"/>
                    </a:lnTo>
                    <a:lnTo>
                      <a:pt x="351" y="81"/>
                    </a:lnTo>
                    <a:lnTo>
                      <a:pt x="351" y="82"/>
                    </a:lnTo>
                    <a:lnTo>
                      <a:pt x="349" y="82"/>
                    </a:lnTo>
                    <a:lnTo>
                      <a:pt x="349" y="81"/>
                    </a:lnTo>
                    <a:lnTo>
                      <a:pt x="348" y="81"/>
                    </a:lnTo>
                    <a:lnTo>
                      <a:pt x="349" y="81"/>
                    </a:lnTo>
                    <a:lnTo>
                      <a:pt x="348" y="81"/>
                    </a:lnTo>
                    <a:lnTo>
                      <a:pt x="349" y="81"/>
                    </a:lnTo>
                    <a:lnTo>
                      <a:pt x="348" y="81"/>
                    </a:lnTo>
                    <a:lnTo>
                      <a:pt x="348" y="79"/>
                    </a:lnTo>
                    <a:lnTo>
                      <a:pt x="346" y="79"/>
                    </a:lnTo>
                    <a:lnTo>
                      <a:pt x="346" y="81"/>
                    </a:lnTo>
                    <a:lnTo>
                      <a:pt x="344" y="79"/>
                    </a:lnTo>
                    <a:lnTo>
                      <a:pt x="346" y="79"/>
                    </a:lnTo>
                    <a:lnTo>
                      <a:pt x="344" y="79"/>
                    </a:lnTo>
                    <a:lnTo>
                      <a:pt x="344" y="77"/>
                    </a:lnTo>
                    <a:lnTo>
                      <a:pt x="342" y="77"/>
                    </a:lnTo>
                    <a:lnTo>
                      <a:pt x="342" y="75"/>
                    </a:lnTo>
                    <a:lnTo>
                      <a:pt x="342" y="73"/>
                    </a:lnTo>
                    <a:lnTo>
                      <a:pt x="344" y="73"/>
                    </a:lnTo>
                    <a:lnTo>
                      <a:pt x="342" y="71"/>
                    </a:lnTo>
                    <a:lnTo>
                      <a:pt x="344" y="71"/>
                    </a:lnTo>
                    <a:lnTo>
                      <a:pt x="344" y="69"/>
                    </a:lnTo>
                    <a:lnTo>
                      <a:pt x="344" y="67"/>
                    </a:lnTo>
                    <a:lnTo>
                      <a:pt x="346" y="67"/>
                    </a:lnTo>
                    <a:lnTo>
                      <a:pt x="346" y="65"/>
                    </a:lnTo>
                    <a:lnTo>
                      <a:pt x="348" y="65"/>
                    </a:lnTo>
                    <a:lnTo>
                      <a:pt x="346" y="65"/>
                    </a:lnTo>
                    <a:lnTo>
                      <a:pt x="348" y="65"/>
                    </a:lnTo>
                    <a:lnTo>
                      <a:pt x="346" y="65"/>
                    </a:lnTo>
                    <a:lnTo>
                      <a:pt x="348" y="65"/>
                    </a:lnTo>
                    <a:lnTo>
                      <a:pt x="348" y="63"/>
                    </a:lnTo>
                    <a:lnTo>
                      <a:pt x="348" y="61"/>
                    </a:lnTo>
                    <a:lnTo>
                      <a:pt x="346" y="61"/>
                    </a:lnTo>
                    <a:lnTo>
                      <a:pt x="348" y="61"/>
                    </a:lnTo>
                    <a:lnTo>
                      <a:pt x="346" y="61"/>
                    </a:lnTo>
                    <a:lnTo>
                      <a:pt x="346" y="59"/>
                    </a:lnTo>
                    <a:lnTo>
                      <a:pt x="344" y="59"/>
                    </a:lnTo>
                    <a:lnTo>
                      <a:pt x="346" y="59"/>
                    </a:lnTo>
                    <a:lnTo>
                      <a:pt x="344" y="59"/>
                    </a:lnTo>
                    <a:lnTo>
                      <a:pt x="342" y="59"/>
                    </a:lnTo>
                    <a:lnTo>
                      <a:pt x="340" y="59"/>
                    </a:lnTo>
                    <a:lnTo>
                      <a:pt x="340" y="61"/>
                    </a:lnTo>
                    <a:lnTo>
                      <a:pt x="338" y="61"/>
                    </a:lnTo>
                    <a:lnTo>
                      <a:pt x="338" y="59"/>
                    </a:lnTo>
                    <a:lnTo>
                      <a:pt x="338" y="61"/>
                    </a:lnTo>
                    <a:lnTo>
                      <a:pt x="336" y="61"/>
                    </a:lnTo>
                    <a:lnTo>
                      <a:pt x="336" y="63"/>
                    </a:lnTo>
                    <a:lnTo>
                      <a:pt x="334" y="63"/>
                    </a:lnTo>
                    <a:lnTo>
                      <a:pt x="334" y="65"/>
                    </a:lnTo>
                    <a:lnTo>
                      <a:pt x="334" y="63"/>
                    </a:lnTo>
                    <a:lnTo>
                      <a:pt x="332" y="63"/>
                    </a:lnTo>
                    <a:lnTo>
                      <a:pt x="332" y="65"/>
                    </a:lnTo>
                    <a:lnTo>
                      <a:pt x="330" y="65"/>
                    </a:lnTo>
                    <a:lnTo>
                      <a:pt x="332" y="65"/>
                    </a:lnTo>
                    <a:lnTo>
                      <a:pt x="330" y="65"/>
                    </a:lnTo>
                    <a:lnTo>
                      <a:pt x="330" y="67"/>
                    </a:lnTo>
                    <a:lnTo>
                      <a:pt x="332" y="67"/>
                    </a:lnTo>
                    <a:lnTo>
                      <a:pt x="332" y="65"/>
                    </a:lnTo>
                    <a:lnTo>
                      <a:pt x="334" y="65"/>
                    </a:lnTo>
                    <a:lnTo>
                      <a:pt x="334" y="67"/>
                    </a:lnTo>
                    <a:lnTo>
                      <a:pt x="332" y="67"/>
                    </a:lnTo>
                    <a:lnTo>
                      <a:pt x="332" y="69"/>
                    </a:lnTo>
                    <a:lnTo>
                      <a:pt x="330" y="69"/>
                    </a:lnTo>
                    <a:lnTo>
                      <a:pt x="328" y="69"/>
                    </a:lnTo>
                    <a:lnTo>
                      <a:pt x="326" y="69"/>
                    </a:lnTo>
                    <a:lnTo>
                      <a:pt x="326" y="71"/>
                    </a:lnTo>
                    <a:lnTo>
                      <a:pt x="328" y="71"/>
                    </a:lnTo>
                    <a:lnTo>
                      <a:pt x="328" y="69"/>
                    </a:lnTo>
                    <a:lnTo>
                      <a:pt x="330" y="69"/>
                    </a:lnTo>
                    <a:lnTo>
                      <a:pt x="332" y="69"/>
                    </a:lnTo>
                    <a:lnTo>
                      <a:pt x="332" y="71"/>
                    </a:lnTo>
                    <a:lnTo>
                      <a:pt x="330" y="71"/>
                    </a:lnTo>
                    <a:lnTo>
                      <a:pt x="330" y="73"/>
                    </a:lnTo>
                    <a:lnTo>
                      <a:pt x="328" y="73"/>
                    </a:lnTo>
                    <a:lnTo>
                      <a:pt x="326" y="73"/>
                    </a:lnTo>
                    <a:lnTo>
                      <a:pt x="328" y="73"/>
                    </a:lnTo>
                    <a:lnTo>
                      <a:pt x="330" y="73"/>
                    </a:lnTo>
                    <a:lnTo>
                      <a:pt x="330" y="71"/>
                    </a:lnTo>
                    <a:lnTo>
                      <a:pt x="330" y="73"/>
                    </a:lnTo>
                    <a:lnTo>
                      <a:pt x="332" y="73"/>
                    </a:lnTo>
                    <a:lnTo>
                      <a:pt x="330" y="73"/>
                    </a:lnTo>
                    <a:lnTo>
                      <a:pt x="330" y="75"/>
                    </a:lnTo>
                    <a:lnTo>
                      <a:pt x="330" y="73"/>
                    </a:lnTo>
                    <a:lnTo>
                      <a:pt x="332" y="73"/>
                    </a:lnTo>
                    <a:lnTo>
                      <a:pt x="330" y="73"/>
                    </a:lnTo>
                    <a:lnTo>
                      <a:pt x="332" y="73"/>
                    </a:lnTo>
                    <a:lnTo>
                      <a:pt x="332" y="75"/>
                    </a:lnTo>
                    <a:lnTo>
                      <a:pt x="330" y="75"/>
                    </a:lnTo>
                    <a:lnTo>
                      <a:pt x="332" y="75"/>
                    </a:lnTo>
                    <a:lnTo>
                      <a:pt x="332" y="77"/>
                    </a:lnTo>
                    <a:lnTo>
                      <a:pt x="334" y="77"/>
                    </a:lnTo>
                    <a:lnTo>
                      <a:pt x="334" y="79"/>
                    </a:lnTo>
                    <a:lnTo>
                      <a:pt x="334" y="81"/>
                    </a:lnTo>
                    <a:lnTo>
                      <a:pt x="336" y="81"/>
                    </a:lnTo>
                    <a:lnTo>
                      <a:pt x="336" y="82"/>
                    </a:lnTo>
                    <a:lnTo>
                      <a:pt x="338" y="82"/>
                    </a:lnTo>
                    <a:lnTo>
                      <a:pt x="336" y="82"/>
                    </a:lnTo>
                    <a:lnTo>
                      <a:pt x="338" y="82"/>
                    </a:lnTo>
                    <a:lnTo>
                      <a:pt x="340" y="82"/>
                    </a:lnTo>
                    <a:lnTo>
                      <a:pt x="340" y="84"/>
                    </a:lnTo>
                    <a:lnTo>
                      <a:pt x="340" y="82"/>
                    </a:lnTo>
                    <a:lnTo>
                      <a:pt x="340" y="84"/>
                    </a:lnTo>
                    <a:lnTo>
                      <a:pt x="342" y="84"/>
                    </a:lnTo>
                    <a:lnTo>
                      <a:pt x="344" y="84"/>
                    </a:lnTo>
                    <a:lnTo>
                      <a:pt x="344" y="86"/>
                    </a:lnTo>
                    <a:lnTo>
                      <a:pt x="346" y="86"/>
                    </a:lnTo>
                    <a:lnTo>
                      <a:pt x="348" y="86"/>
                    </a:lnTo>
                    <a:lnTo>
                      <a:pt x="349" y="88"/>
                    </a:lnTo>
                    <a:lnTo>
                      <a:pt x="351" y="88"/>
                    </a:lnTo>
                    <a:lnTo>
                      <a:pt x="353" y="88"/>
                    </a:lnTo>
                    <a:lnTo>
                      <a:pt x="355" y="88"/>
                    </a:lnTo>
                    <a:lnTo>
                      <a:pt x="357" y="88"/>
                    </a:lnTo>
                    <a:lnTo>
                      <a:pt x="357" y="86"/>
                    </a:lnTo>
                    <a:lnTo>
                      <a:pt x="359" y="86"/>
                    </a:lnTo>
                    <a:lnTo>
                      <a:pt x="361" y="86"/>
                    </a:lnTo>
                    <a:lnTo>
                      <a:pt x="363" y="86"/>
                    </a:lnTo>
                    <a:lnTo>
                      <a:pt x="365" y="86"/>
                    </a:lnTo>
                    <a:lnTo>
                      <a:pt x="367" y="86"/>
                    </a:lnTo>
                    <a:lnTo>
                      <a:pt x="369" y="86"/>
                    </a:lnTo>
                    <a:lnTo>
                      <a:pt x="369" y="84"/>
                    </a:lnTo>
                    <a:lnTo>
                      <a:pt x="371" y="84"/>
                    </a:lnTo>
                    <a:lnTo>
                      <a:pt x="374" y="84"/>
                    </a:lnTo>
                    <a:lnTo>
                      <a:pt x="374" y="86"/>
                    </a:lnTo>
                    <a:lnTo>
                      <a:pt x="373" y="88"/>
                    </a:lnTo>
                    <a:lnTo>
                      <a:pt x="371" y="90"/>
                    </a:lnTo>
                    <a:lnTo>
                      <a:pt x="369" y="90"/>
                    </a:lnTo>
                    <a:lnTo>
                      <a:pt x="369" y="92"/>
                    </a:lnTo>
                    <a:lnTo>
                      <a:pt x="367" y="92"/>
                    </a:lnTo>
                    <a:lnTo>
                      <a:pt x="367" y="94"/>
                    </a:lnTo>
                    <a:lnTo>
                      <a:pt x="365" y="94"/>
                    </a:lnTo>
                    <a:lnTo>
                      <a:pt x="363" y="96"/>
                    </a:lnTo>
                    <a:lnTo>
                      <a:pt x="363" y="94"/>
                    </a:lnTo>
                    <a:lnTo>
                      <a:pt x="361" y="96"/>
                    </a:lnTo>
                    <a:lnTo>
                      <a:pt x="361" y="98"/>
                    </a:lnTo>
                    <a:lnTo>
                      <a:pt x="361" y="96"/>
                    </a:lnTo>
                    <a:lnTo>
                      <a:pt x="359" y="96"/>
                    </a:lnTo>
                    <a:lnTo>
                      <a:pt x="359" y="98"/>
                    </a:lnTo>
                    <a:lnTo>
                      <a:pt x="359" y="96"/>
                    </a:lnTo>
                    <a:lnTo>
                      <a:pt x="359" y="98"/>
                    </a:lnTo>
                    <a:lnTo>
                      <a:pt x="357" y="98"/>
                    </a:lnTo>
                    <a:lnTo>
                      <a:pt x="357" y="100"/>
                    </a:lnTo>
                    <a:lnTo>
                      <a:pt x="357" y="102"/>
                    </a:lnTo>
                    <a:lnTo>
                      <a:pt x="357" y="104"/>
                    </a:lnTo>
                    <a:lnTo>
                      <a:pt x="355" y="104"/>
                    </a:lnTo>
                    <a:lnTo>
                      <a:pt x="353" y="104"/>
                    </a:lnTo>
                    <a:lnTo>
                      <a:pt x="351" y="104"/>
                    </a:lnTo>
                    <a:lnTo>
                      <a:pt x="349" y="104"/>
                    </a:lnTo>
                    <a:lnTo>
                      <a:pt x="348" y="104"/>
                    </a:lnTo>
                    <a:lnTo>
                      <a:pt x="346" y="104"/>
                    </a:lnTo>
                    <a:lnTo>
                      <a:pt x="344" y="104"/>
                    </a:lnTo>
                    <a:lnTo>
                      <a:pt x="342" y="104"/>
                    </a:lnTo>
                    <a:lnTo>
                      <a:pt x="344" y="104"/>
                    </a:lnTo>
                    <a:lnTo>
                      <a:pt x="342" y="104"/>
                    </a:lnTo>
                    <a:lnTo>
                      <a:pt x="344" y="104"/>
                    </a:lnTo>
                    <a:lnTo>
                      <a:pt x="342" y="104"/>
                    </a:lnTo>
                    <a:lnTo>
                      <a:pt x="342" y="102"/>
                    </a:lnTo>
                    <a:lnTo>
                      <a:pt x="344" y="100"/>
                    </a:lnTo>
                    <a:lnTo>
                      <a:pt x="346" y="100"/>
                    </a:lnTo>
                    <a:lnTo>
                      <a:pt x="348" y="100"/>
                    </a:lnTo>
                    <a:lnTo>
                      <a:pt x="349" y="100"/>
                    </a:lnTo>
                    <a:lnTo>
                      <a:pt x="351" y="100"/>
                    </a:lnTo>
                    <a:lnTo>
                      <a:pt x="349" y="100"/>
                    </a:lnTo>
                    <a:lnTo>
                      <a:pt x="351" y="100"/>
                    </a:lnTo>
                    <a:lnTo>
                      <a:pt x="351" y="102"/>
                    </a:lnTo>
                    <a:lnTo>
                      <a:pt x="351" y="100"/>
                    </a:lnTo>
                    <a:lnTo>
                      <a:pt x="349" y="100"/>
                    </a:lnTo>
                    <a:lnTo>
                      <a:pt x="348" y="100"/>
                    </a:lnTo>
                    <a:lnTo>
                      <a:pt x="346" y="98"/>
                    </a:lnTo>
                    <a:lnTo>
                      <a:pt x="346" y="100"/>
                    </a:lnTo>
                    <a:lnTo>
                      <a:pt x="346" y="98"/>
                    </a:lnTo>
                    <a:lnTo>
                      <a:pt x="344" y="98"/>
                    </a:lnTo>
                    <a:lnTo>
                      <a:pt x="344" y="100"/>
                    </a:lnTo>
                    <a:lnTo>
                      <a:pt x="342" y="100"/>
                    </a:lnTo>
                    <a:lnTo>
                      <a:pt x="340" y="100"/>
                    </a:lnTo>
                    <a:lnTo>
                      <a:pt x="338" y="102"/>
                    </a:lnTo>
                    <a:lnTo>
                      <a:pt x="338" y="104"/>
                    </a:lnTo>
                    <a:lnTo>
                      <a:pt x="336" y="104"/>
                    </a:lnTo>
                    <a:lnTo>
                      <a:pt x="336" y="106"/>
                    </a:lnTo>
                    <a:lnTo>
                      <a:pt x="334" y="106"/>
                    </a:lnTo>
                    <a:lnTo>
                      <a:pt x="336" y="106"/>
                    </a:lnTo>
                    <a:lnTo>
                      <a:pt x="334" y="107"/>
                    </a:lnTo>
                    <a:lnTo>
                      <a:pt x="332" y="107"/>
                    </a:lnTo>
                    <a:lnTo>
                      <a:pt x="332" y="109"/>
                    </a:lnTo>
                    <a:lnTo>
                      <a:pt x="330" y="109"/>
                    </a:lnTo>
                    <a:lnTo>
                      <a:pt x="330" y="111"/>
                    </a:lnTo>
                    <a:lnTo>
                      <a:pt x="328" y="111"/>
                    </a:lnTo>
                    <a:lnTo>
                      <a:pt x="326" y="113"/>
                    </a:lnTo>
                    <a:lnTo>
                      <a:pt x="325" y="115"/>
                    </a:lnTo>
                    <a:lnTo>
                      <a:pt x="323" y="115"/>
                    </a:lnTo>
                    <a:lnTo>
                      <a:pt x="321" y="117"/>
                    </a:lnTo>
                    <a:lnTo>
                      <a:pt x="319" y="119"/>
                    </a:lnTo>
                    <a:lnTo>
                      <a:pt x="317" y="119"/>
                    </a:lnTo>
                    <a:lnTo>
                      <a:pt x="317" y="121"/>
                    </a:lnTo>
                    <a:lnTo>
                      <a:pt x="315" y="121"/>
                    </a:lnTo>
                    <a:lnTo>
                      <a:pt x="315" y="123"/>
                    </a:lnTo>
                    <a:lnTo>
                      <a:pt x="313" y="123"/>
                    </a:lnTo>
                    <a:lnTo>
                      <a:pt x="313" y="125"/>
                    </a:lnTo>
                    <a:lnTo>
                      <a:pt x="313" y="123"/>
                    </a:lnTo>
                    <a:lnTo>
                      <a:pt x="313" y="125"/>
                    </a:lnTo>
                    <a:lnTo>
                      <a:pt x="311" y="125"/>
                    </a:lnTo>
                    <a:lnTo>
                      <a:pt x="313" y="125"/>
                    </a:lnTo>
                    <a:lnTo>
                      <a:pt x="311" y="125"/>
                    </a:lnTo>
                    <a:lnTo>
                      <a:pt x="309" y="127"/>
                    </a:lnTo>
                    <a:lnTo>
                      <a:pt x="309" y="129"/>
                    </a:lnTo>
                    <a:lnTo>
                      <a:pt x="307" y="129"/>
                    </a:lnTo>
                    <a:lnTo>
                      <a:pt x="305" y="129"/>
                    </a:lnTo>
                    <a:lnTo>
                      <a:pt x="307" y="129"/>
                    </a:lnTo>
                    <a:lnTo>
                      <a:pt x="309" y="127"/>
                    </a:lnTo>
                    <a:lnTo>
                      <a:pt x="311" y="127"/>
                    </a:lnTo>
                    <a:lnTo>
                      <a:pt x="309" y="127"/>
                    </a:lnTo>
                    <a:lnTo>
                      <a:pt x="309" y="125"/>
                    </a:lnTo>
                    <a:lnTo>
                      <a:pt x="307" y="125"/>
                    </a:lnTo>
                    <a:lnTo>
                      <a:pt x="307" y="123"/>
                    </a:lnTo>
                    <a:lnTo>
                      <a:pt x="305" y="123"/>
                    </a:lnTo>
                    <a:lnTo>
                      <a:pt x="303" y="123"/>
                    </a:lnTo>
                    <a:lnTo>
                      <a:pt x="303" y="121"/>
                    </a:lnTo>
                    <a:lnTo>
                      <a:pt x="303" y="119"/>
                    </a:lnTo>
                    <a:lnTo>
                      <a:pt x="303" y="117"/>
                    </a:lnTo>
                    <a:lnTo>
                      <a:pt x="303" y="119"/>
                    </a:lnTo>
                    <a:lnTo>
                      <a:pt x="303" y="121"/>
                    </a:lnTo>
                    <a:lnTo>
                      <a:pt x="301" y="121"/>
                    </a:lnTo>
                    <a:lnTo>
                      <a:pt x="303" y="121"/>
                    </a:lnTo>
                    <a:lnTo>
                      <a:pt x="301" y="121"/>
                    </a:lnTo>
                    <a:lnTo>
                      <a:pt x="303" y="121"/>
                    </a:lnTo>
                    <a:lnTo>
                      <a:pt x="303" y="123"/>
                    </a:lnTo>
                    <a:lnTo>
                      <a:pt x="301" y="123"/>
                    </a:lnTo>
                    <a:lnTo>
                      <a:pt x="301" y="121"/>
                    </a:lnTo>
                    <a:lnTo>
                      <a:pt x="301" y="123"/>
                    </a:lnTo>
                    <a:lnTo>
                      <a:pt x="300" y="123"/>
                    </a:lnTo>
                    <a:lnTo>
                      <a:pt x="301" y="123"/>
                    </a:lnTo>
                    <a:lnTo>
                      <a:pt x="300" y="123"/>
                    </a:lnTo>
                    <a:lnTo>
                      <a:pt x="300" y="121"/>
                    </a:lnTo>
                    <a:lnTo>
                      <a:pt x="301" y="121"/>
                    </a:lnTo>
                    <a:lnTo>
                      <a:pt x="300" y="121"/>
                    </a:lnTo>
                    <a:lnTo>
                      <a:pt x="300" y="123"/>
                    </a:lnTo>
                    <a:lnTo>
                      <a:pt x="300" y="121"/>
                    </a:lnTo>
                    <a:lnTo>
                      <a:pt x="298" y="121"/>
                    </a:lnTo>
                    <a:lnTo>
                      <a:pt x="296" y="121"/>
                    </a:lnTo>
                    <a:lnTo>
                      <a:pt x="298" y="121"/>
                    </a:lnTo>
                    <a:lnTo>
                      <a:pt x="300" y="121"/>
                    </a:lnTo>
                    <a:lnTo>
                      <a:pt x="300" y="123"/>
                    </a:lnTo>
                    <a:lnTo>
                      <a:pt x="298" y="123"/>
                    </a:lnTo>
                    <a:lnTo>
                      <a:pt x="300" y="123"/>
                    </a:lnTo>
                    <a:lnTo>
                      <a:pt x="298" y="123"/>
                    </a:lnTo>
                    <a:lnTo>
                      <a:pt x="298" y="125"/>
                    </a:lnTo>
                    <a:lnTo>
                      <a:pt x="298" y="127"/>
                    </a:lnTo>
                    <a:lnTo>
                      <a:pt x="296" y="127"/>
                    </a:lnTo>
                    <a:lnTo>
                      <a:pt x="298" y="127"/>
                    </a:lnTo>
                    <a:lnTo>
                      <a:pt x="298" y="129"/>
                    </a:lnTo>
                    <a:lnTo>
                      <a:pt x="300" y="129"/>
                    </a:lnTo>
                    <a:lnTo>
                      <a:pt x="300" y="131"/>
                    </a:lnTo>
                    <a:lnTo>
                      <a:pt x="300" y="129"/>
                    </a:lnTo>
                    <a:lnTo>
                      <a:pt x="301" y="129"/>
                    </a:lnTo>
                    <a:lnTo>
                      <a:pt x="301" y="127"/>
                    </a:lnTo>
                    <a:lnTo>
                      <a:pt x="301" y="129"/>
                    </a:lnTo>
                    <a:lnTo>
                      <a:pt x="301" y="127"/>
                    </a:lnTo>
                    <a:lnTo>
                      <a:pt x="301" y="129"/>
                    </a:lnTo>
                    <a:lnTo>
                      <a:pt x="300" y="131"/>
                    </a:lnTo>
                    <a:lnTo>
                      <a:pt x="300" y="132"/>
                    </a:lnTo>
                    <a:lnTo>
                      <a:pt x="300" y="134"/>
                    </a:lnTo>
                    <a:lnTo>
                      <a:pt x="300" y="136"/>
                    </a:lnTo>
                    <a:lnTo>
                      <a:pt x="300" y="138"/>
                    </a:lnTo>
                    <a:lnTo>
                      <a:pt x="300" y="140"/>
                    </a:lnTo>
                    <a:lnTo>
                      <a:pt x="298" y="140"/>
                    </a:lnTo>
                    <a:lnTo>
                      <a:pt x="298" y="142"/>
                    </a:lnTo>
                    <a:lnTo>
                      <a:pt x="296" y="142"/>
                    </a:lnTo>
                    <a:lnTo>
                      <a:pt x="296" y="144"/>
                    </a:lnTo>
                    <a:lnTo>
                      <a:pt x="294" y="144"/>
                    </a:lnTo>
                    <a:lnTo>
                      <a:pt x="292" y="144"/>
                    </a:lnTo>
                    <a:lnTo>
                      <a:pt x="290" y="144"/>
                    </a:lnTo>
                    <a:lnTo>
                      <a:pt x="288" y="144"/>
                    </a:lnTo>
                    <a:lnTo>
                      <a:pt x="286" y="144"/>
                    </a:lnTo>
                    <a:lnTo>
                      <a:pt x="286" y="142"/>
                    </a:lnTo>
                    <a:lnTo>
                      <a:pt x="286" y="144"/>
                    </a:lnTo>
                    <a:lnTo>
                      <a:pt x="284" y="144"/>
                    </a:lnTo>
                    <a:lnTo>
                      <a:pt x="282" y="144"/>
                    </a:lnTo>
                    <a:lnTo>
                      <a:pt x="280" y="144"/>
                    </a:lnTo>
                    <a:lnTo>
                      <a:pt x="278" y="146"/>
                    </a:lnTo>
                    <a:lnTo>
                      <a:pt x="278" y="144"/>
                    </a:lnTo>
                    <a:lnTo>
                      <a:pt x="278" y="146"/>
                    </a:lnTo>
                    <a:lnTo>
                      <a:pt x="276" y="146"/>
                    </a:lnTo>
                    <a:lnTo>
                      <a:pt x="275" y="146"/>
                    </a:lnTo>
                    <a:lnTo>
                      <a:pt x="273" y="146"/>
                    </a:lnTo>
                    <a:lnTo>
                      <a:pt x="271" y="144"/>
                    </a:lnTo>
                    <a:lnTo>
                      <a:pt x="269" y="144"/>
                    </a:lnTo>
                    <a:lnTo>
                      <a:pt x="269" y="142"/>
                    </a:lnTo>
                    <a:lnTo>
                      <a:pt x="267" y="142"/>
                    </a:lnTo>
                    <a:lnTo>
                      <a:pt x="265" y="140"/>
                    </a:lnTo>
                    <a:lnTo>
                      <a:pt x="267" y="140"/>
                    </a:lnTo>
                    <a:lnTo>
                      <a:pt x="265" y="140"/>
                    </a:lnTo>
                    <a:lnTo>
                      <a:pt x="263" y="140"/>
                    </a:lnTo>
                    <a:lnTo>
                      <a:pt x="261" y="140"/>
                    </a:lnTo>
                    <a:lnTo>
                      <a:pt x="261" y="138"/>
                    </a:lnTo>
                    <a:lnTo>
                      <a:pt x="259" y="138"/>
                    </a:lnTo>
                    <a:lnTo>
                      <a:pt x="261" y="138"/>
                    </a:lnTo>
                    <a:lnTo>
                      <a:pt x="259" y="138"/>
                    </a:lnTo>
                    <a:lnTo>
                      <a:pt x="259" y="140"/>
                    </a:lnTo>
                    <a:lnTo>
                      <a:pt x="261" y="140"/>
                    </a:lnTo>
                    <a:lnTo>
                      <a:pt x="259" y="140"/>
                    </a:lnTo>
                    <a:lnTo>
                      <a:pt x="257" y="140"/>
                    </a:lnTo>
                    <a:lnTo>
                      <a:pt x="255" y="140"/>
                    </a:lnTo>
                    <a:lnTo>
                      <a:pt x="253" y="140"/>
                    </a:lnTo>
                    <a:lnTo>
                      <a:pt x="251" y="138"/>
                    </a:lnTo>
                    <a:lnTo>
                      <a:pt x="250" y="138"/>
                    </a:lnTo>
                    <a:lnTo>
                      <a:pt x="248" y="138"/>
                    </a:lnTo>
                    <a:lnTo>
                      <a:pt x="246" y="136"/>
                    </a:lnTo>
                    <a:lnTo>
                      <a:pt x="244" y="136"/>
                    </a:lnTo>
                    <a:lnTo>
                      <a:pt x="242" y="134"/>
                    </a:lnTo>
                    <a:lnTo>
                      <a:pt x="244" y="134"/>
                    </a:lnTo>
                    <a:lnTo>
                      <a:pt x="246" y="134"/>
                    </a:lnTo>
                    <a:lnTo>
                      <a:pt x="246" y="132"/>
                    </a:lnTo>
                    <a:lnTo>
                      <a:pt x="248" y="132"/>
                    </a:lnTo>
                    <a:lnTo>
                      <a:pt x="246" y="132"/>
                    </a:lnTo>
                    <a:lnTo>
                      <a:pt x="246" y="134"/>
                    </a:lnTo>
                    <a:lnTo>
                      <a:pt x="244" y="134"/>
                    </a:lnTo>
                    <a:lnTo>
                      <a:pt x="242" y="134"/>
                    </a:lnTo>
                    <a:lnTo>
                      <a:pt x="240" y="132"/>
                    </a:lnTo>
                    <a:lnTo>
                      <a:pt x="238" y="131"/>
                    </a:lnTo>
                    <a:lnTo>
                      <a:pt x="240" y="131"/>
                    </a:lnTo>
                    <a:lnTo>
                      <a:pt x="240" y="129"/>
                    </a:lnTo>
                    <a:lnTo>
                      <a:pt x="242" y="129"/>
                    </a:lnTo>
                    <a:lnTo>
                      <a:pt x="244" y="127"/>
                    </a:lnTo>
                    <a:lnTo>
                      <a:pt x="242" y="127"/>
                    </a:lnTo>
                    <a:lnTo>
                      <a:pt x="242" y="129"/>
                    </a:lnTo>
                    <a:lnTo>
                      <a:pt x="244" y="129"/>
                    </a:lnTo>
                    <a:lnTo>
                      <a:pt x="246" y="129"/>
                    </a:lnTo>
                    <a:lnTo>
                      <a:pt x="248" y="129"/>
                    </a:lnTo>
                    <a:lnTo>
                      <a:pt x="248" y="127"/>
                    </a:lnTo>
                    <a:lnTo>
                      <a:pt x="250" y="127"/>
                    </a:lnTo>
                    <a:lnTo>
                      <a:pt x="250" y="125"/>
                    </a:lnTo>
                    <a:lnTo>
                      <a:pt x="248" y="125"/>
                    </a:lnTo>
                    <a:lnTo>
                      <a:pt x="246" y="125"/>
                    </a:lnTo>
                    <a:lnTo>
                      <a:pt x="244" y="125"/>
                    </a:lnTo>
                    <a:lnTo>
                      <a:pt x="244" y="127"/>
                    </a:lnTo>
                    <a:lnTo>
                      <a:pt x="244" y="125"/>
                    </a:lnTo>
                    <a:lnTo>
                      <a:pt x="242" y="125"/>
                    </a:lnTo>
                    <a:lnTo>
                      <a:pt x="244" y="123"/>
                    </a:lnTo>
                    <a:lnTo>
                      <a:pt x="244" y="121"/>
                    </a:lnTo>
                    <a:lnTo>
                      <a:pt x="242" y="121"/>
                    </a:lnTo>
                    <a:lnTo>
                      <a:pt x="240" y="121"/>
                    </a:lnTo>
                    <a:lnTo>
                      <a:pt x="238" y="121"/>
                    </a:lnTo>
                    <a:lnTo>
                      <a:pt x="236" y="119"/>
                    </a:lnTo>
                    <a:lnTo>
                      <a:pt x="234" y="119"/>
                    </a:lnTo>
                    <a:lnTo>
                      <a:pt x="236" y="119"/>
                    </a:lnTo>
                    <a:lnTo>
                      <a:pt x="238" y="115"/>
                    </a:lnTo>
                    <a:lnTo>
                      <a:pt x="238" y="113"/>
                    </a:lnTo>
                    <a:lnTo>
                      <a:pt x="236" y="113"/>
                    </a:lnTo>
                    <a:lnTo>
                      <a:pt x="236" y="111"/>
                    </a:lnTo>
                    <a:lnTo>
                      <a:pt x="236" y="109"/>
                    </a:lnTo>
                    <a:lnTo>
                      <a:pt x="238" y="107"/>
                    </a:lnTo>
                    <a:lnTo>
                      <a:pt x="240" y="107"/>
                    </a:lnTo>
                    <a:lnTo>
                      <a:pt x="240" y="109"/>
                    </a:lnTo>
                    <a:lnTo>
                      <a:pt x="240" y="107"/>
                    </a:lnTo>
                    <a:lnTo>
                      <a:pt x="242" y="107"/>
                    </a:lnTo>
                    <a:lnTo>
                      <a:pt x="244" y="107"/>
                    </a:lnTo>
                    <a:lnTo>
                      <a:pt x="244" y="106"/>
                    </a:lnTo>
                    <a:lnTo>
                      <a:pt x="244" y="107"/>
                    </a:lnTo>
                    <a:lnTo>
                      <a:pt x="246" y="106"/>
                    </a:lnTo>
                    <a:lnTo>
                      <a:pt x="248" y="107"/>
                    </a:lnTo>
                    <a:lnTo>
                      <a:pt x="248" y="106"/>
                    </a:lnTo>
                    <a:lnTo>
                      <a:pt x="246" y="106"/>
                    </a:lnTo>
                    <a:lnTo>
                      <a:pt x="244" y="106"/>
                    </a:lnTo>
                    <a:lnTo>
                      <a:pt x="242" y="106"/>
                    </a:lnTo>
                    <a:lnTo>
                      <a:pt x="242" y="104"/>
                    </a:lnTo>
                    <a:lnTo>
                      <a:pt x="240" y="104"/>
                    </a:lnTo>
                    <a:lnTo>
                      <a:pt x="238" y="104"/>
                    </a:lnTo>
                    <a:lnTo>
                      <a:pt x="238" y="102"/>
                    </a:lnTo>
                    <a:lnTo>
                      <a:pt x="238" y="100"/>
                    </a:lnTo>
                    <a:lnTo>
                      <a:pt x="238" y="98"/>
                    </a:lnTo>
                    <a:lnTo>
                      <a:pt x="240" y="96"/>
                    </a:lnTo>
                    <a:lnTo>
                      <a:pt x="242" y="94"/>
                    </a:lnTo>
                    <a:lnTo>
                      <a:pt x="244" y="94"/>
                    </a:lnTo>
                    <a:lnTo>
                      <a:pt x="246" y="92"/>
                    </a:lnTo>
                    <a:lnTo>
                      <a:pt x="248" y="92"/>
                    </a:lnTo>
                    <a:lnTo>
                      <a:pt x="248" y="90"/>
                    </a:lnTo>
                    <a:lnTo>
                      <a:pt x="248" y="88"/>
                    </a:lnTo>
                    <a:lnTo>
                      <a:pt x="246" y="90"/>
                    </a:lnTo>
                    <a:lnTo>
                      <a:pt x="248" y="90"/>
                    </a:lnTo>
                    <a:lnTo>
                      <a:pt x="246" y="90"/>
                    </a:lnTo>
                    <a:lnTo>
                      <a:pt x="246" y="92"/>
                    </a:lnTo>
                    <a:lnTo>
                      <a:pt x="246" y="90"/>
                    </a:lnTo>
                    <a:lnTo>
                      <a:pt x="248" y="90"/>
                    </a:lnTo>
                    <a:lnTo>
                      <a:pt x="248" y="88"/>
                    </a:lnTo>
                    <a:lnTo>
                      <a:pt x="248" y="86"/>
                    </a:lnTo>
                    <a:lnTo>
                      <a:pt x="248" y="84"/>
                    </a:lnTo>
                    <a:lnTo>
                      <a:pt x="250" y="84"/>
                    </a:lnTo>
                    <a:lnTo>
                      <a:pt x="250" y="82"/>
                    </a:lnTo>
                    <a:lnTo>
                      <a:pt x="251" y="82"/>
                    </a:lnTo>
                    <a:lnTo>
                      <a:pt x="250" y="82"/>
                    </a:lnTo>
                    <a:lnTo>
                      <a:pt x="250" y="84"/>
                    </a:lnTo>
                    <a:lnTo>
                      <a:pt x="251" y="84"/>
                    </a:lnTo>
                    <a:lnTo>
                      <a:pt x="251" y="86"/>
                    </a:lnTo>
                    <a:lnTo>
                      <a:pt x="253" y="86"/>
                    </a:lnTo>
                    <a:lnTo>
                      <a:pt x="251" y="86"/>
                    </a:lnTo>
                    <a:lnTo>
                      <a:pt x="253" y="86"/>
                    </a:lnTo>
                    <a:lnTo>
                      <a:pt x="255" y="86"/>
                    </a:lnTo>
                    <a:lnTo>
                      <a:pt x="255" y="88"/>
                    </a:lnTo>
                    <a:lnTo>
                      <a:pt x="255" y="86"/>
                    </a:lnTo>
                    <a:lnTo>
                      <a:pt x="253" y="86"/>
                    </a:lnTo>
                    <a:lnTo>
                      <a:pt x="253" y="84"/>
                    </a:lnTo>
                    <a:lnTo>
                      <a:pt x="251" y="84"/>
                    </a:lnTo>
                    <a:lnTo>
                      <a:pt x="253" y="84"/>
                    </a:lnTo>
                    <a:lnTo>
                      <a:pt x="251" y="84"/>
                    </a:lnTo>
                    <a:lnTo>
                      <a:pt x="251" y="82"/>
                    </a:lnTo>
                    <a:lnTo>
                      <a:pt x="251" y="81"/>
                    </a:lnTo>
                    <a:lnTo>
                      <a:pt x="253" y="81"/>
                    </a:lnTo>
                    <a:lnTo>
                      <a:pt x="253" y="79"/>
                    </a:lnTo>
                    <a:lnTo>
                      <a:pt x="255" y="79"/>
                    </a:lnTo>
                    <a:lnTo>
                      <a:pt x="257" y="77"/>
                    </a:lnTo>
                    <a:lnTo>
                      <a:pt x="259" y="75"/>
                    </a:lnTo>
                    <a:lnTo>
                      <a:pt x="261" y="75"/>
                    </a:lnTo>
                    <a:lnTo>
                      <a:pt x="263" y="75"/>
                    </a:lnTo>
                    <a:lnTo>
                      <a:pt x="261" y="75"/>
                    </a:lnTo>
                    <a:lnTo>
                      <a:pt x="261" y="77"/>
                    </a:lnTo>
                    <a:lnTo>
                      <a:pt x="263" y="77"/>
                    </a:lnTo>
                    <a:lnTo>
                      <a:pt x="263" y="79"/>
                    </a:lnTo>
                    <a:lnTo>
                      <a:pt x="263" y="77"/>
                    </a:lnTo>
                    <a:lnTo>
                      <a:pt x="263" y="79"/>
                    </a:lnTo>
                    <a:lnTo>
                      <a:pt x="265" y="79"/>
                    </a:lnTo>
                    <a:lnTo>
                      <a:pt x="267" y="79"/>
                    </a:lnTo>
                    <a:lnTo>
                      <a:pt x="269" y="79"/>
                    </a:lnTo>
                    <a:lnTo>
                      <a:pt x="271" y="79"/>
                    </a:lnTo>
                    <a:lnTo>
                      <a:pt x="273" y="79"/>
                    </a:lnTo>
                    <a:lnTo>
                      <a:pt x="275" y="79"/>
                    </a:lnTo>
                    <a:lnTo>
                      <a:pt x="276" y="79"/>
                    </a:lnTo>
                    <a:lnTo>
                      <a:pt x="280" y="79"/>
                    </a:lnTo>
                    <a:lnTo>
                      <a:pt x="280" y="77"/>
                    </a:lnTo>
                    <a:lnTo>
                      <a:pt x="282" y="77"/>
                    </a:lnTo>
                    <a:lnTo>
                      <a:pt x="280" y="77"/>
                    </a:lnTo>
                    <a:lnTo>
                      <a:pt x="280" y="79"/>
                    </a:lnTo>
                    <a:lnTo>
                      <a:pt x="280" y="77"/>
                    </a:lnTo>
                    <a:lnTo>
                      <a:pt x="280" y="79"/>
                    </a:lnTo>
                    <a:lnTo>
                      <a:pt x="282" y="79"/>
                    </a:lnTo>
                    <a:lnTo>
                      <a:pt x="282" y="77"/>
                    </a:lnTo>
                    <a:lnTo>
                      <a:pt x="282" y="79"/>
                    </a:lnTo>
                    <a:lnTo>
                      <a:pt x="284" y="79"/>
                    </a:lnTo>
                    <a:lnTo>
                      <a:pt x="282" y="79"/>
                    </a:lnTo>
                    <a:lnTo>
                      <a:pt x="282" y="81"/>
                    </a:lnTo>
                    <a:lnTo>
                      <a:pt x="282" y="82"/>
                    </a:lnTo>
                    <a:lnTo>
                      <a:pt x="284" y="81"/>
                    </a:lnTo>
                    <a:lnTo>
                      <a:pt x="284" y="82"/>
                    </a:lnTo>
                    <a:lnTo>
                      <a:pt x="286" y="8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105">
                <a:extLst>
                  <a:ext uri="{FF2B5EF4-FFF2-40B4-BE49-F238E27FC236}">
                    <a16:creationId xmlns="" xmlns:a16="http://schemas.microsoft.com/office/drawing/2014/main" id="{0919A9BD-8BB8-456E-A9EC-5E6223AC3DD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07025" y="1849438"/>
                <a:ext cx="1833563" cy="665163"/>
              </a:xfrm>
              <a:custGeom>
                <a:avLst/>
                <a:gdLst>
                  <a:gd name="T0" fmla="*/ 1155 w 1155"/>
                  <a:gd name="T1" fmla="*/ 209 h 419"/>
                  <a:gd name="T2" fmla="*/ 1122 w 1155"/>
                  <a:gd name="T3" fmla="*/ 229 h 419"/>
                  <a:gd name="T4" fmla="*/ 1132 w 1155"/>
                  <a:gd name="T5" fmla="*/ 219 h 419"/>
                  <a:gd name="T6" fmla="*/ 1145 w 1155"/>
                  <a:gd name="T7" fmla="*/ 184 h 419"/>
                  <a:gd name="T8" fmla="*/ 1132 w 1155"/>
                  <a:gd name="T9" fmla="*/ 169 h 419"/>
                  <a:gd name="T10" fmla="*/ 613 w 1155"/>
                  <a:gd name="T11" fmla="*/ 327 h 419"/>
                  <a:gd name="T12" fmla="*/ 607 w 1155"/>
                  <a:gd name="T13" fmla="*/ 340 h 419"/>
                  <a:gd name="T14" fmla="*/ 605 w 1155"/>
                  <a:gd name="T15" fmla="*/ 330 h 419"/>
                  <a:gd name="T16" fmla="*/ 344 w 1155"/>
                  <a:gd name="T17" fmla="*/ 407 h 419"/>
                  <a:gd name="T18" fmla="*/ 348 w 1155"/>
                  <a:gd name="T19" fmla="*/ 413 h 419"/>
                  <a:gd name="T20" fmla="*/ 337 w 1155"/>
                  <a:gd name="T21" fmla="*/ 415 h 419"/>
                  <a:gd name="T22" fmla="*/ 406 w 1155"/>
                  <a:gd name="T23" fmla="*/ 386 h 419"/>
                  <a:gd name="T24" fmla="*/ 406 w 1155"/>
                  <a:gd name="T25" fmla="*/ 392 h 419"/>
                  <a:gd name="T26" fmla="*/ 394 w 1155"/>
                  <a:gd name="T27" fmla="*/ 392 h 419"/>
                  <a:gd name="T28" fmla="*/ 396 w 1155"/>
                  <a:gd name="T29" fmla="*/ 388 h 419"/>
                  <a:gd name="T30" fmla="*/ 385 w 1155"/>
                  <a:gd name="T31" fmla="*/ 382 h 419"/>
                  <a:gd name="T32" fmla="*/ 400 w 1155"/>
                  <a:gd name="T33" fmla="*/ 380 h 419"/>
                  <a:gd name="T34" fmla="*/ 377 w 1155"/>
                  <a:gd name="T35" fmla="*/ 390 h 419"/>
                  <a:gd name="T36" fmla="*/ 327 w 1155"/>
                  <a:gd name="T37" fmla="*/ 400 h 419"/>
                  <a:gd name="T38" fmla="*/ 325 w 1155"/>
                  <a:gd name="T39" fmla="*/ 409 h 419"/>
                  <a:gd name="T40" fmla="*/ 325 w 1155"/>
                  <a:gd name="T41" fmla="*/ 402 h 419"/>
                  <a:gd name="T42" fmla="*/ 344 w 1155"/>
                  <a:gd name="T43" fmla="*/ 392 h 419"/>
                  <a:gd name="T44" fmla="*/ 340 w 1155"/>
                  <a:gd name="T45" fmla="*/ 396 h 419"/>
                  <a:gd name="T46" fmla="*/ 337 w 1155"/>
                  <a:gd name="T47" fmla="*/ 386 h 419"/>
                  <a:gd name="T48" fmla="*/ 335 w 1155"/>
                  <a:gd name="T49" fmla="*/ 384 h 419"/>
                  <a:gd name="T50" fmla="*/ 385 w 1155"/>
                  <a:gd name="T51" fmla="*/ 352 h 419"/>
                  <a:gd name="T52" fmla="*/ 383 w 1155"/>
                  <a:gd name="T53" fmla="*/ 357 h 419"/>
                  <a:gd name="T54" fmla="*/ 386 w 1155"/>
                  <a:gd name="T55" fmla="*/ 359 h 419"/>
                  <a:gd name="T56" fmla="*/ 390 w 1155"/>
                  <a:gd name="T57" fmla="*/ 361 h 419"/>
                  <a:gd name="T58" fmla="*/ 377 w 1155"/>
                  <a:gd name="T59" fmla="*/ 367 h 419"/>
                  <a:gd name="T60" fmla="*/ 369 w 1155"/>
                  <a:gd name="T61" fmla="*/ 371 h 419"/>
                  <a:gd name="T62" fmla="*/ 373 w 1155"/>
                  <a:gd name="T63" fmla="*/ 359 h 419"/>
                  <a:gd name="T64" fmla="*/ 273 w 1155"/>
                  <a:gd name="T65" fmla="*/ 398 h 419"/>
                  <a:gd name="T66" fmla="*/ 248 w 1155"/>
                  <a:gd name="T67" fmla="*/ 396 h 419"/>
                  <a:gd name="T68" fmla="*/ 267 w 1155"/>
                  <a:gd name="T69" fmla="*/ 392 h 419"/>
                  <a:gd name="T70" fmla="*/ 338 w 1155"/>
                  <a:gd name="T71" fmla="*/ 353 h 419"/>
                  <a:gd name="T72" fmla="*/ 337 w 1155"/>
                  <a:gd name="T73" fmla="*/ 361 h 419"/>
                  <a:gd name="T74" fmla="*/ 344 w 1155"/>
                  <a:gd name="T75" fmla="*/ 363 h 419"/>
                  <a:gd name="T76" fmla="*/ 342 w 1155"/>
                  <a:gd name="T77" fmla="*/ 359 h 419"/>
                  <a:gd name="T78" fmla="*/ 346 w 1155"/>
                  <a:gd name="T79" fmla="*/ 353 h 419"/>
                  <a:gd name="T80" fmla="*/ 354 w 1155"/>
                  <a:gd name="T81" fmla="*/ 348 h 419"/>
                  <a:gd name="T82" fmla="*/ 354 w 1155"/>
                  <a:gd name="T83" fmla="*/ 348 h 419"/>
                  <a:gd name="T84" fmla="*/ 358 w 1155"/>
                  <a:gd name="T85" fmla="*/ 350 h 419"/>
                  <a:gd name="T86" fmla="*/ 356 w 1155"/>
                  <a:gd name="T87" fmla="*/ 359 h 419"/>
                  <a:gd name="T88" fmla="*/ 356 w 1155"/>
                  <a:gd name="T89" fmla="*/ 361 h 419"/>
                  <a:gd name="T90" fmla="*/ 369 w 1155"/>
                  <a:gd name="T91" fmla="*/ 346 h 419"/>
                  <a:gd name="T92" fmla="*/ 367 w 1155"/>
                  <a:gd name="T93" fmla="*/ 357 h 419"/>
                  <a:gd name="T94" fmla="*/ 373 w 1155"/>
                  <a:gd name="T95" fmla="*/ 355 h 419"/>
                  <a:gd name="T96" fmla="*/ 363 w 1155"/>
                  <a:gd name="T97" fmla="*/ 361 h 419"/>
                  <a:gd name="T98" fmla="*/ 348 w 1155"/>
                  <a:gd name="T99" fmla="*/ 378 h 419"/>
                  <a:gd name="T100" fmla="*/ 348 w 1155"/>
                  <a:gd name="T101" fmla="*/ 386 h 419"/>
                  <a:gd name="T102" fmla="*/ 338 w 1155"/>
                  <a:gd name="T103" fmla="*/ 388 h 419"/>
                  <a:gd name="T104" fmla="*/ 342 w 1155"/>
                  <a:gd name="T105" fmla="*/ 369 h 419"/>
                  <a:gd name="T106" fmla="*/ 348 w 1155"/>
                  <a:gd name="T107" fmla="*/ 359 h 419"/>
                  <a:gd name="T108" fmla="*/ 494 w 1155"/>
                  <a:gd name="T109" fmla="*/ 246 h 419"/>
                  <a:gd name="T110" fmla="*/ 602 w 1155"/>
                  <a:gd name="T111" fmla="*/ 204 h 419"/>
                  <a:gd name="T112" fmla="*/ 590 w 1155"/>
                  <a:gd name="T113" fmla="*/ 192 h 419"/>
                  <a:gd name="T114" fmla="*/ 39 w 1155"/>
                  <a:gd name="T115" fmla="*/ 369 h 419"/>
                  <a:gd name="T116" fmla="*/ 31 w 1155"/>
                  <a:gd name="T117" fmla="*/ 390 h 419"/>
                  <a:gd name="T118" fmla="*/ 10 w 1155"/>
                  <a:gd name="T119" fmla="*/ 378 h 419"/>
                  <a:gd name="T120" fmla="*/ 473 w 1155"/>
                  <a:gd name="T121" fmla="*/ 180 h 419"/>
                  <a:gd name="T122" fmla="*/ 463 w 1155"/>
                  <a:gd name="T123" fmla="*/ 173 h 419"/>
                  <a:gd name="T124" fmla="*/ 688 w 1155"/>
                  <a:gd name="T125" fmla="*/ 0 h 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55" h="419">
                    <a:moveTo>
                      <a:pt x="1134" y="217"/>
                    </a:moveTo>
                    <a:lnTo>
                      <a:pt x="1136" y="215"/>
                    </a:lnTo>
                    <a:lnTo>
                      <a:pt x="1134" y="215"/>
                    </a:lnTo>
                    <a:lnTo>
                      <a:pt x="1136" y="215"/>
                    </a:lnTo>
                    <a:lnTo>
                      <a:pt x="1136" y="213"/>
                    </a:lnTo>
                    <a:lnTo>
                      <a:pt x="1136" y="215"/>
                    </a:lnTo>
                    <a:lnTo>
                      <a:pt x="1138" y="215"/>
                    </a:lnTo>
                    <a:lnTo>
                      <a:pt x="1140" y="213"/>
                    </a:lnTo>
                    <a:lnTo>
                      <a:pt x="1140" y="211"/>
                    </a:lnTo>
                    <a:lnTo>
                      <a:pt x="1141" y="211"/>
                    </a:lnTo>
                    <a:lnTo>
                      <a:pt x="1141" y="213"/>
                    </a:lnTo>
                    <a:lnTo>
                      <a:pt x="1141" y="211"/>
                    </a:lnTo>
                    <a:lnTo>
                      <a:pt x="1143" y="211"/>
                    </a:lnTo>
                    <a:lnTo>
                      <a:pt x="1145" y="211"/>
                    </a:lnTo>
                    <a:lnTo>
                      <a:pt x="1145" y="209"/>
                    </a:lnTo>
                    <a:lnTo>
                      <a:pt x="1147" y="209"/>
                    </a:lnTo>
                    <a:lnTo>
                      <a:pt x="1147" y="207"/>
                    </a:lnTo>
                    <a:lnTo>
                      <a:pt x="1149" y="207"/>
                    </a:lnTo>
                    <a:lnTo>
                      <a:pt x="1149" y="205"/>
                    </a:lnTo>
                    <a:lnTo>
                      <a:pt x="1149" y="204"/>
                    </a:lnTo>
                    <a:lnTo>
                      <a:pt x="1147" y="204"/>
                    </a:lnTo>
                    <a:lnTo>
                      <a:pt x="1149" y="204"/>
                    </a:lnTo>
                    <a:lnTo>
                      <a:pt x="1151" y="204"/>
                    </a:lnTo>
                    <a:lnTo>
                      <a:pt x="1153" y="202"/>
                    </a:lnTo>
                    <a:lnTo>
                      <a:pt x="1153" y="204"/>
                    </a:lnTo>
                    <a:lnTo>
                      <a:pt x="1153" y="205"/>
                    </a:lnTo>
                    <a:lnTo>
                      <a:pt x="1155" y="207"/>
                    </a:lnTo>
                    <a:lnTo>
                      <a:pt x="1155" y="209"/>
                    </a:lnTo>
                    <a:lnTo>
                      <a:pt x="1153" y="209"/>
                    </a:lnTo>
                    <a:lnTo>
                      <a:pt x="1153" y="211"/>
                    </a:lnTo>
                    <a:lnTo>
                      <a:pt x="1151" y="213"/>
                    </a:lnTo>
                    <a:lnTo>
                      <a:pt x="1149" y="213"/>
                    </a:lnTo>
                    <a:lnTo>
                      <a:pt x="1145" y="215"/>
                    </a:lnTo>
                    <a:lnTo>
                      <a:pt x="1145" y="217"/>
                    </a:lnTo>
                    <a:lnTo>
                      <a:pt x="1145" y="219"/>
                    </a:lnTo>
                    <a:lnTo>
                      <a:pt x="1145" y="221"/>
                    </a:lnTo>
                    <a:lnTo>
                      <a:pt x="1143" y="221"/>
                    </a:lnTo>
                    <a:lnTo>
                      <a:pt x="1141" y="221"/>
                    </a:lnTo>
                    <a:lnTo>
                      <a:pt x="1140" y="221"/>
                    </a:lnTo>
                    <a:lnTo>
                      <a:pt x="1138" y="223"/>
                    </a:lnTo>
                    <a:lnTo>
                      <a:pt x="1136" y="223"/>
                    </a:lnTo>
                    <a:lnTo>
                      <a:pt x="1134" y="223"/>
                    </a:lnTo>
                    <a:lnTo>
                      <a:pt x="1136" y="223"/>
                    </a:lnTo>
                    <a:lnTo>
                      <a:pt x="1138" y="223"/>
                    </a:lnTo>
                    <a:lnTo>
                      <a:pt x="1136" y="223"/>
                    </a:lnTo>
                    <a:lnTo>
                      <a:pt x="1134" y="225"/>
                    </a:lnTo>
                    <a:lnTo>
                      <a:pt x="1132" y="225"/>
                    </a:lnTo>
                    <a:lnTo>
                      <a:pt x="1134" y="225"/>
                    </a:lnTo>
                    <a:lnTo>
                      <a:pt x="1132" y="225"/>
                    </a:lnTo>
                    <a:lnTo>
                      <a:pt x="1132" y="227"/>
                    </a:lnTo>
                    <a:lnTo>
                      <a:pt x="1130" y="227"/>
                    </a:lnTo>
                    <a:lnTo>
                      <a:pt x="1128" y="227"/>
                    </a:lnTo>
                    <a:lnTo>
                      <a:pt x="1126" y="227"/>
                    </a:lnTo>
                    <a:lnTo>
                      <a:pt x="1126" y="229"/>
                    </a:lnTo>
                    <a:lnTo>
                      <a:pt x="1124" y="229"/>
                    </a:lnTo>
                    <a:lnTo>
                      <a:pt x="1122" y="229"/>
                    </a:lnTo>
                    <a:lnTo>
                      <a:pt x="1122" y="230"/>
                    </a:lnTo>
                    <a:lnTo>
                      <a:pt x="1120" y="230"/>
                    </a:lnTo>
                    <a:lnTo>
                      <a:pt x="1120" y="229"/>
                    </a:lnTo>
                    <a:lnTo>
                      <a:pt x="1120" y="230"/>
                    </a:lnTo>
                    <a:lnTo>
                      <a:pt x="1118" y="230"/>
                    </a:lnTo>
                    <a:lnTo>
                      <a:pt x="1117" y="230"/>
                    </a:lnTo>
                    <a:lnTo>
                      <a:pt x="1117" y="229"/>
                    </a:lnTo>
                    <a:lnTo>
                      <a:pt x="1118" y="229"/>
                    </a:lnTo>
                    <a:lnTo>
                      <a:pt x="1120" y="229"/>
                    </a:lnTo>
                    <a:lnTo>
                      <a:pt x="1120" y="227"/>
                    </a:lnTo>
                    <a:lnTo>
                      <a:pt x="1120" y="229"/>
                    </a:lnTo>
                    <a:lnTo>
                      <a:pt x="1122" y="229"/>
                    </a:lnTo>
                    <a:lnTo>
                      <a:pt x="1124" y="229"/>
                    </a:lnTo>
                    <a:lnTo>
                      <a:pt x="1124" y="227"/>
                    </a:lnTo>
                    <a:lnTo>
                      <a:pt x="1126" y="227"/>
                    </a:lnTo>
                    <a:lnTo>
                      <a:pt x="1126" y="225"/>
                    </a:lnTo>
                    <a:lnTo>
                      <a:pt x="1126" y="223"/>
                    </a:lnTo>
                    <a:lnTo>
                      <a:pt x="1126" y="225"/>
                    </a:lnTo>
                    <a:lnTo>
                      <a:pt x="1128" y="225"/>
                    </a:lnTo>
                    <a:lnTo>
                      <a:pt x="1128" y="223"/>
                    </a:lnTo>
                    <a:lnTo>
                      <a:pt x="1130" y="223"/>
                    </a:lnTo>
                    <a:lnTo>
                      <a:pt x="1130" y="221"/>
                    </a:lnTo>
                    <a:lnTo>
                      <a:pt x="1128" y="221"/>
                    </a:lnTo>
                    <a:lnTo>
                      <a:pt x="1130" y="221"/>
                    </a:lnTo>
                    <a:lnTo>
                      <a:pt x="1132" y="221"/>
                    </a:lnTo>
                    <a:lnTo>
                      <a:pt x="1132" y="219"/>
                    </a:lnTo>
                    <a:lnTo>
                      <a:pt x="1130" y="219"/>
                    </a:lnTo>
                    <a:lnTo>
                      <a:pt x="1132" y="219"/>
                    </a:lnTo>
                    <a:lnTo>
                      <a:pt x="1134" y="217"/>
                    </a:lnTo>
                    <a:lnTo>
                      <a:pt x="1132" y="215"/>
                    </a:lnTo>
                    <a:lnTo>
                      <a:pt x="1134" y="215"/>
                    </a:lnTo>
                    <a:lnTo>
                      <a:pt x="1134" y="217"/>
                    </a:lnTo>
                    <a:close/>
                    <a:moveTo>
                      <a:pt x="1128" y="173"/>
                    </a:moveTo>
                    <a:lnTo>
                      <a:pt x="1130" y="173"/>
                    </a:lnTo>
                    <a:lnTo>
                      <a:pt x="1130" y="175"/>
                    </a:lnTo>
                    <a:lnTo>
                      <a:pt x="1132" y="175"/>
                    </a:lnTo>
                    <a:lnTo>
                      <a:pt x="1134" y="175"/>
                    </a:lnTo>
                    <a:lnTo>
                      <a:pt x="1136" y="175"/>
                    </a:lnTo>
                    <a:lnTo>
                      <a:pt x="1138" y="175"/>
                    </a:lnTo>
                    <a:lnTo>
                      <a:pt x="1138" y="177"/>
                    </a:lnTo>
                    <a:lnTo>
                      <a:pt x="1140" y="177"/>
                    </a:lnTo>
                    <a:lnTo>
                      <a:pt x="1140" y="179"/>
                    </a:lnTo>
                    <a:lnTo>
                      <a:pt x="1141" y="180"/>
                    </a:lnTo>
                    <a:lnTo>
                      <a:pt x="1143" y="180"/>
                    </a:lnTo>
                    <a:lnTo>
                      <a:pt x="1141" y="180"/>
                    </a:lnTo>
                    <a:lnTo>
                      <a:pt x="1143" y="180"/>
                    </a:lnTo>
                    <a:lnTo>
                      <a:pt x="1145" y="182"/>
                    </a:lnTo>
                    <a:lnTo>
                      <a:pt x="1147" y="184"/>
                    </a:lnTo>
                    <a:lnTo>
                      <a:pt x="1149" y="186"/>
                    </a:lnTo>
                    <a:lnTo>
                      <a:pt x="1149" y="188"/>
                    </a:lnTo>
                    <a:lnTo>
                      <a:pt x="1147" y="188"/>
                    </a:lnTo>
                    <a:lnTo>
                      <a:pt x="1147" y="190"/>
                    </a:lnTo>
                    <a:lnTo>
                      <a:pt x="1147" y="188"/>
                    </a:lnTo>
                    <a:lnTo>
                      <a:pt x="1147" y="186"/>
                    </a:lnTo>
                    <a:lnTo>
                      <a:pt x="1147" y="184"/>
                    </a:lnTo>
                    <a:lnTo>
                      <a:pt x="1145" y="184"/>
                    </a:lnTo>
                    <a:lnTo>
                      <a:pt x="1143" y="182"/>
                    </a:lnTo>
                    <a:lnTo>
                      <a:pt x="1141" y="182"/>
                    </a:lnTo>
                    <a:lnTo>
                      <a:pt x="1140" y="182"/>
                    </a:lnTo>
                    <a:lnTo>
                      <a:pt x="1138" y="184"/>
                    </a:lnTo>
                    <a:lnTo>
                      <a:pt x="1136" y="184"/>
                    </a:lnTo>
                    <a:lnTo>
                      <a:pt x="1134" y="184"/>
                    </a:lnTo>
                    <a:lnTo>
                      <a:pt x="1134" y="182"/>
                    </a:lnTo>
                    <a:lnTo>
                      <a:pt x="1132" y="182"/>
                    </a:lnTo>
                    <a:lnTo>
                      <a:pt x="1134" y="180"/>
                    </a:lnTo>
                    <a:lnTo>
                      <a:pt x="1132" y="180"/>
                    </a:lnTo>
                    <a:lnTo>
                      <a:pt x="1130" y="180"/>
                    </a:lnTo>
                    <a:lnTo>
                      <a:pt x="1130" y="179"/>
                    </a:lnTo>
                    <a:lnTo>
                      <a:pt x="1128" y="177"/>
                    </a:lnTo>
                    <a:lnTo>
                      <a:pt x="1128" y="175"/>
                    </a:lnTo>
                    <a:lnTo>
                      <a:pt x="1128" y="177"/>
                    </a:lnTo>
                    <a:lnTo>
                      <a:pt x="1128" y="175"/>
                    </a:lnTo>
                    <a:lnTo>
                      <a:pt x="1128" y="173"/>
                    </a:lnTo>
                    <a:close/>
                    <a:moveTo>
                      <a:pt x="1124" y="159"/>
                    </a:moveTo>
                    <a:lnTo>
                      <a:pt x="1126" y="161"/>
                    </a:lnTo>
                    <a:lnTo>
                      <a:pt x="1124" y="161"/>
                    </a:lnTo>
                    <a:lnTo>
                      <a:pt x="1126" y="161"/>
                    </a:lnTo>
                    <a:lnTo>
                      <a:pt x="1126" y="163"/>
                    </a:lnTo>
                    <a:lnTo>
                      <a:pt x="1126" y="165"/>
                    </a:lnTo>
                    <a:lnTo>
                      <a:pt x="1128" y="167"/>
                    </a:lnTo>
                    <a:lnTo>
                      <a:pt x="1130" y="167"/>
                    </a:lnTo>
                    <a:lnTo>
                      <a:pt x="1130" y="169"/>
                    </a:lnTo>
                    <a:lnTo>
                      <a:pt x="1130" y="171"/>
                    </a:lnTo>
                    <a:lnTo>
                      <a:pt x="1132" y="169"/>
                    </a:lnTo>
                    <a:lnTo>
                      <a:pt x="1134" y="171"/>
                    </a:lnTo>
                    <a:lnTo>
                      <a:pt x="1134" y="173"/>
                    </a:lnTo>
                    <a:lnTo>
                      <a:pt x="1134" y="175"/>
                    </a:lnTo>
                    <a:lnTo>
                      <a:pt x="1132" y="175"/>
                    </a:lnTo>
                    <a:lnTo>
                      <a:pt x="1130" y="175"/>
                    </a:lnTo>
                    <a:lnTo>
                      <a:pt x="1130" y="173"/>
                    </a:lnTo>
                    <a:lnTo>
                      <a:pt x="1128" y="173"/>
                    </a:lnTo>
                    <a:lnTo>
                      <a:pt x="1126" y="171"/>
                    </a:lnTo>
                    <a:lnTo>
                      <a:pt x="1124" y="171"/>
                    </a:lnTo>
                    <a:lnTo>
                      <a:pt x="1126" y="171"/>
                    </a:lnTo>
                    <a:lnTo>
                      <a:pt x="1124" y="171"/>
                    </a:lnTo>
                    <a:lnTo>
                      <a:pt x="1122" y="171"/>
                    </a:lnTo>
                    <a:lnTo>
                      <a:pt x="1122" y="169"/>
                    </a:lnTo>
                    <a:lnTo>
                      <a:pt x="1120" y="167"/>
                    </a:lnTo>
                    <a:lnTo>
                      <a:pt x="1120" y="165"/>
                    </a:lnTo>
                    <a:lnTo>
                      <a:pt x="1122" y="165"/>
                    </a:lnTo>
                    <a:lnTo>
                      <a:pt x="1122" y="163"/>
                    </a:lnTo>
                    <a:lnTo>
                      <a:pt x="1122" y="165"/>
                    </a:lnTo>
                    <a:lnTo>
                      <a:pt x="1120" y="165"/>
                    </a:lnTo>
                    <a:lnTo>
                      <a:pt x="1122" y="163"/>
                    </a:lnTo>
                    <a:lnTo>
                      <a:pt x="1122" y="161"/>
                    </a:lnTo>
                    <a:lnTo>
                      <a:pt x="1122" y="159"/>
                    </a:lnTo>
                    <a:lnTo>
                      <a:pt x="1124" y="159"/>
                    </a:lnTo>
                    <a:close/>
                    <a:moveTo>
                      <a:pt x="609" y="321"/>
                    </a:moveTo>
                    <a:lnTo>
                      <a:pt x="611" y="323"/>
                    </a:lnTo>
                    <a:lnTo>
                      <a:pt x="611" y="325"/>
                    </a:lnTo>
                    <a:lnTo>
                      <a:pt x="613" y="325"/>
                    </a:lnTo>
                    <a:lnTo>
                      <a:pt x="613" y="327"/>
                    </a:lnTo>
                    <a:lnTo>
                      <a:pt x="611" y="327"/>
                    </a:lnTo>
                    <a:lnTo>
                      <a:pt x="609" y="327"/>
                    </a:lnTo>
                    <a:lnTo>
                      <a:pt x="607" y="329"/>
                    </a:lnTo>
                    <a:lnTo>
                      <a:pt x="609" y="327"/>
                    </a:lnTo>
                    <a:lnTo>
                      <a:pt x="611" y="327"/>
                    </a:lnTo>
                    <a:lnTo>
                      <a:pt x="613" y="327"/>
                    </a:lnTo>
                    <a:lnTo>
                      <a:pt x="611" y="327"/>
                    </a:lnTo>
                    <a:lnTo>
                      <a:pt x="613" y="327"/>
                    </a:lnTo>
                    <a:lnTo>
                      <a:pt x="613" y="329"/>
                    </a:lnTo>
                    <a:lnTo>
                      <a:pt x="613" y="327"/>
                    </a:lnTo>
                    <a:lnTo>
                      <a:pt x="615" y="329"/>
                    </a:lnTo>
                    <a:lnTo>
                      <a:pt x="617" y="329"/>
                    </a:lnTo>
                    <a:lnTo>
                      <a:pt x="615" y="329"/>
                    </a:lnTo>
                    <a:lnTo>
                      <a:pt x="615" y="330"/>
                    </a:lnTo>
                    <a:lnTo>
                      <a:pt x="613" y="329"/>
                    </a:lnTo>
                    <a:lnTo>
                      <a:pt x="611" y="329"/>
                    </a:lnTo>
                    <a:lnTo>
                      <a:pt x="613" y="329"/>
                    </a:lnTo>
                    <a:lnTo>
                      <a:pt x="615" y="329"/>
                    </a:lnTo>
                    <a:lnTo>
                      <a:pt x="615" y="330"/>
                    </a:lnTo>
                    <a:lnTo>
                      <a:pt x="615" y="332"/>
                    </a:lnTo>
                    <a:lnTo>
                      <a:pt x="615" y="334"/>
                    </a:lnTo>
                    <a:lnTo>
                      <a:pt x="613" y="334"/>
                    </a:lnTo>
                    <a:lnTo>
                      <a:pt x="613" y="336"/>
                    </a:lnTo>
                    <a:lnTo>
                      <a:pt x="611" y="336"/>
                    </a:lnTo>
                    <a:lnTo>
                      <a:pt x="611" y="338"/>
                    </a:lnTo>
                    <a:lnTo>
                      <a:pt x="611" y="340"/>
                    </a:lnTo>
                    <a:lnTo>
                      <a:pt x="609" y="340"/>
                    </a:lnTo>
                    <a:lnTo>
                      <a:pt x="607" y="340"/>
                    </a:lnTo>
                    <a:lnTo>
                      <a:pt x="605" y="340"/>
                    </a:lnTo>
                    <a:lnTo>
                      <a:pt x="605" y="342"/>
                    </a:lnTo>
                    <a:lnTo>
                      <a:pt x="604" y="342"/>
                    </a:lnTo>
                    <a:lnTo>
                      <a:pt x="604" y="340"/>
                    </a:lnTo>
                    <a:lnTo>
                      <a:pt x="604" y="338"/>
                    </a:lnTo>
                    <a:lnTo>
                      <a:pt x="602" y="338"/>
                    </a:lnTo>
                    <a:lnTo>
                      <a:pt x="604" y="338"/>
                    </a:lnTo>
                    <a:lnTo>
                      <a:pt x="602" y="338"/>
                    </a:lnTo>
                    <a:lnTo>
                      <a:pt x="602" y="336"/>
                    </a:lnTo>
                    <a:lnTo>
                      <a:pt x="602" y="334"/>
                    </a:lnTo>
                    <a:lnTo>
                      <a:pt x="604" y="334"/>
                    </a:lnTo>
                    <a:lnTo>
                      <a:pt x="604" y="332"/>
                    </a:lnTo>
                    <a:lnTo>
                      <a:pt x="605" y="332"/>
                    </a:lnTo>
                    <a:lnTo>
                      <a:pt x="605" y="330"/>
                    </a:lnTo>
                    <a:lnTo>
                      <a:pt x="607" y="330"/>
                    </a:lnTo>
                    <a:lnTo>
                      <a:pt x="605" y="330"/>
                    </a:lnTo>
                    <a:lnTo>
                      <a:pt x="607" y="330"/>
                    </a:lnTo>
                    <a:lnTo>
                      <a:pt x="605" y="330"/>
                    </a:lnTo>
                    <a:lnTo>
                      <a:pt x="607" y="330"/>
                    </a:lnTo>
                    <a:lnTo>
                      <a:pt x="609" y="330"/>
                    </a:lnTo>
                    <a:lnTo>
                      <a:pt x="611" y="330"/>
                    </a:lnTo>
                    <a:lnTo>
                      <a:pt x="609" y="330"/>
                    </a:lnTo>
                    <a:lnTo>
                      <a:pt x="607" y="330"/>
                    </a:lnTo>
                    <a:lnTo>
                      <a:pt x="607" y="329"/>
                    </a:lnTo>
                    <a:lnTo>
                      <a:pt x="609" y="329"/>
                    </a:lnTo>
                    <a:lnTo>
                      <a:pt x="607" y="329"/>
                    </a:lnTo>
                    <a:lnTo>
                      <a:pt x="605" y="329"/>
                    </a:lnTo>
                    <a:lnTo>
                      <a:pt x="605" y="330"/>
                    </a:lnTo>
                    <a:lnTo>
                      <a:pt x="605" y="332"/>
                    </a:lnTo>
                    <a:lnTo>
                      <a:pt x="604" y="332"/>
                    </a:lnTo>
                    <a:lnTo>
                      <a:pt x="604" y="334"/>
                    </a:lnTo>
                    <a:lnTo>
                      <a:pt x="602" y="334"/>
                    </a:lnTo>
                    <a:lnTo>
                      <a:pt x="602" y="336"/>
                    </a:lnTo>
                    <a:lnTo>
                      <a:pt x="602" y="338"/>
                    </a:lnTo>
                    <a:lnTo>
                      <a:pt x="602" y="340"/>
                    </a:lnTo>
                    <a:lnTo>
                      <a:pt x="602" y="338"/>
                    </a:lnTo>
                    <a:lnTo>
                      <a:pt x="600" y="338"/>
                    </a:lnTo>
                    <a:lnTo>
                      <a:pt x="600" y="336"/>
                    </a:lnTo>
                    <a:lnTo>
                      <a:pt x="600" y="334"/>
                    </a:lnTo>
                    <a:lnTo>
                      <a:pt x="600" y="332"/>
                    </a:lnTo>
                    <a:lnTo>
                      <a:pt x="600" y="330"/>
                    </a:lnTo>
                    <a:lnTo>
                      <a:pt x="600" y="329"/>
                    </a:lnTo>
                    <a:lnTo>
                      <a:pt x="602" y="327"/>
                    </a:lnTo>
                    <a:lnTo>
                      <a:pt x="602" y="325"/>
                    </a:lnTo>
                    <a:lnTo>
                      <a:pt x="604" y="323"/>
                    </a:lnTo>
                    <a:lnTo>
                      <a:pt x="604" y="321"/>
                    </a:lnTo>
                    <a:lnTo>
                      <a:pt x="605" y="321"/>
                    </a:lnTo>
                    <a:lnTo>
                      <a:pt x="607" y="321"/>
                    </a:lnTo>
                    <a:lnTo>
                      <a:pt x="609" y="321"/>
                    </a:lnTo>
                    <a:close/>
                    <a:moveTo>
                      <a:pt x="344" y="407"/>
                    </a:moveTo>
                    <a:lnTo>
                      <a:pt x="344" y="409"/>
                    </a:lnTo>
                    <a:lnTo>
                      <a:pt x="344" y="407"/>
                    </a:lnTo>
                    <a:lnTo>
                      <a:pt x="344" y="409"/>
                    </a:lnTo>
                    <a:lnTo>
                      <a:pt x="344" y="407"/>
                    </a:lnTo>
                    <a:lnTo>
                      <a:pt x="344" y="409"/>
                    </a:lnTo>
                    <a:lnTo>
                      <a:pt x="344" y="407"/>
                    </a:lnTo>
                    <a:lnTo>
                      <a:pt x="346" y="407"/>
                    </a:lnTo>
                    <a:lnTo>
                      <a:pt x="344" y="407"/>
                    </a:lnTo>
                    <a:lnTo>
                      <a:pt x="346" y="407"/>
                    </a:lnTo>
                    <a:lnTo>
                      <a:pt x="346" y="409"/>
                    </a:lnTo>
                    <a:lnTo>
                      <a:pt x="348" y="409"/>
                    </a:lnTo>
                    <a:lnTo>
                      <a:pt x="348" y="411"/>
                    </a:lnTo>
                    <a:lnTo>
                      <a:pt x="348" y="413"/>
                    </a:lnTo>
                    <a:lnTo>
                      <a:pt x="346" y="413"/>
                    </a:lnTo>
                    <a:lnTo>
                      <a:pt x="346" y="411"/>
                    </a:lnTo>
                    <a:lnTo>
                      <a:pt x="344" y="411"/>
                    </a:lnTo>
                    <a:lnTo>
                      <a:pt x="344" y="413"/>
                    </a:lnTo>
                    <a:lnTo>
                      <a:pt x="342" y="411"/>
                    </a:lnTo>
                    <a:lnTo>
                      <a:pt x="340" y="411"/>
                    </a:lnTo>
                    <a:lnTo>
                      <a:pt x="342" y="411"/>
                    </a:lnTo>
                    <a:lnTo>
                      <a:pt x="342" y="413"/>
                    </a:lnTo>
                    <a:lnTo>
                      <a:pt x="342" y="411"/>
                    </a:lnTo>
                    <a:lnTo>
                      <a:pt x="342" y="413"/>
                    </a:lnTo>
                    <a:lnTo>
                      <a:pt x="340" y="411"/>
                    </a:lnTo>
                    <a:lnTo>
                      <a:pt x="342" y="413"/>
                    </a:lnTo>
                    <a:lnTo>
                      <a:pt x="344" y="415"/>
                    </a:lnTo>
                    <a:lnTo>
                      <a:pt x="344" y="413"/>
                    </a:lnTo>
                    <a:lnTo>
                      <a:pt x="346" y="413"/>
                    </a:lnTo>
                    <a:lnTo>
                      <a:pt x="344" y="413"/>
                    </a:lnTo>
                    <a:lnTo>
                      <a:pt x="344" y="411"/>
                    </a:lnTo>
                    <a:lnTo>
                      <a:pt x="346" y="413"/>
                    </a:lnTo>
                    <a:lnTo>
                      <a:pt x="348" y="413"/>
                    </a:lnTo>
                    <a:lnTo>
                      <a:pt x="348" y="411"/>
                    </a:lnTo>
                    <a:lnTo>
                      <a:pt x="348" y="413"/>
                    </a:lnTo>
                    <a:lnTo>
                      <a:pt x="348" y="411"/>
                    </a:lnTo>
                    <a:lnTo>
                      <a:pt x="350" y="411"/>
                    </a:lnTo>
                    <a:lnTo>
                      <a:pt x="350" y="413"/>
                    </a:lnTo>
                    <a:lnTo>
                      <a:pt x="352" y="413"/>
                    </a:lnTo>
                    <a:lnTo>
                      <a:pt x="352" y="415"/>
                    </a:lnTo>
                    <a:lnTo>
                      <a:pt x="354" y="417"/>
                    </a:lnTo>
                    <a:lnTo>
                      <a:pt x="356" y="419"/>
                    </a:lnTo>
                    <a:lnTo>
                      <a:pt x="354" y="419"/>
                    </a:lnTo>
                    <a:lnTo>
                      <a:pt x="352" y="419"/>
                    </a:lnTo>
                    <a:lnTo>
                      <a:pt x="350" y="419"/>
                    </a:lnTo>
                    <a:lnTo>
                      <a:pt x="350" y="417"/>
                    </a:lnTo>
                    <a:lnTo>
                      <a:pt x="350" y="419"/>
                    </a:lnTo>
                    <a:lnTo>
                      <a:pt x="348" y="419"/>
                    </a:lnTo>
                    <a:lnTo>
                      <a:pt x="350" y="419"/>
                    </a:lnTo>
                    <a:lnTo>
                      <a:pt x="348" y="419"/>
                    </a:lnTo>
                    <a:lnTo>
                      <a:pt x="348" y="417"/>
                    </a:lnTo>
                    <a:lnTo>
                      <a:pt x="350" y="417"/>
                    </a:lnTo>
                    <a:lnTo>
                      <a:pt x="348" y="417"/>
                    </a:lnTo>
                    <a:lnTo>
                      <a:pt x="348" y="415"/>
                    </a:lnTo>
                    <a:lnTo>
                      <a:pt x="348" y="417"/>
                    </a:lnTo>
                    <a:lnTo>
                      <a:pt x="346" y="417"/>
                    </a:lnTo>
                    <a:lnTo>
                      <a:pt x="344" y="417"/>
                    </a:lnTo>
                    <a:lnTo>
                      <a:pt x="342" y="417"/>
                    </a:lnTo>
                    <a:lnTo>
                      <a:pt x="340" y="417"/>
                    </a:lnTo>
                    <a:lnTo>
                      <a:pt x="338" y="415"/>
                    </a:lnTo>
                    <a:lnTo>
                      <a:pt x="340" y="415"/>
                    </a:lnTo>
                    <a:lnTo>
                      <a:pt x="338" y="415"/>
                    </a:lnTo>
                    <a:lnTo>
                      <a:pt x="337" y="415"/>
                    </a:lnTo>
                    <a:lnTo>
                      <a:pt x="337" y="413"/>
                    </a:lnTo>
                    <a:lnTo>
                      <a:pt x="337" y="415"/>
                    </a:lnTo>
                    <a:lnTo>
                      <a:pt x="337" y="413"/>
                    </a:lnTo>
                    <a:lnTo>
                      <a:pt x="338" y="413"/>
                    </a:lnTo>
                    <a:lnTo>
                      <a:pt x="337" y="415"/>
                    </a:lnTo>
                    <a:lnTo>
                      <a:pt x="337" y="413"/>
                    </a:lnTo>
                    <a:lnTo>
                      <a:pt x="337" y="411"/>
                    </a:lnTo>
                    <a:lnTo>
                      <a:pt x="338" y="411"/>
                    </a:lnTo>
                    <a:lnTo>
                      <a:pt x="338" y="409"/>
                    </a:lnTo>
                    <a:lnTo>
                      <a:pt x="340" y="409"/>
                    </a:lnTo>
                    <a:lnTo>
                      <a:pt x="342" y="409"/>
                    </a:lnTo>
                    <a:lnTo>
                      <a:pt x="342" y="407"/>
                    </a:lnTo>
                    <a:lnTo>
                      <a:pt x="344" y="407"/>
                    </a:lnTo>
                    <a:close/>
                    <a:moveTo>
                      <a:pt x="402" y="388"/>
                    </a:moveTo>
                    <a:lnTo>
                      <a:pt x="400" y="388"/>
                    </a:lnTo>
                    <a:lnTo>
                      <a:pt x="402" y="388"/>
                    </a:lnTo>
                    <a:lnTo>
                      <a:pt x="402" y="390"/>
                    </a:lnTo>
                    <a:lnTo>
                      <a:pt x="400" y="390"/>
                    </a:lnTo>
                    <a:lnTo>
                      <a:pt x="402" y="390"/>
                    </a:lnTo>
                    <a:lnTo>
                      <a:pt x="400" y="390"/>
                    </a:lnTo>
                    <a:lnTo>
                      <a:pt x="402" y="390"/>
                    </a:lnTo>
                    <a:lnTo>
                      <a:pt x="402" y="388"/>
                    </a:lnTo>
                    <a:lnTo>
                      <a:pt x="404" y="388"/>
                    </a:lnTo>
                    <a:lnTo>
                      <a:pt x="406" y="388"/>
                    </a:lnTo>
                    <a:lnTo>
                      <a:pt x="406" y="386"/>
                    </a:lnTo>
                    <a:lnTo>
                      <a:pt x="408" y="386"/>
                    </a:lnTo>
                    <a:lnTo>
                      <a:pt x="406" y="388"/>
                    </a:lnTo>
                    <a:lnTo>
                      <a:pt x="406" y="386"/>
                    </a:lnTo>
                    <a:lnTo>
                      <a:pt x="406" y="388"/>
                    </a:lnTo>
                    <a:lnTo>
                      <a:pt x="406" y="390"/>
                    </a:lnTo>
                    <a:lnTo>
                      <a:pt x="406" y="388"/>
                    </a:lnTo>
                    <a:lnTo>
                      <a:pt x="406" y="390"/>
                    </a:lnTo>
                    <a:lnTo>
                      <a:pt x="404" y="390"/>
                    </a:lnTo>
                    <a:lnTo>
                      <a:pt x="404" y="388"/>
                    </a:lnTo>
                    <a:lnTo>
                      <a:pt x="404" y="390"/>
                    </a:lnTo>
                    <a:lnTo>
                      <a:pt x="404" y="392"/>
                    </a:lnTo>
                    <a:lnTo>
                      <a:pt x="402" y="392"/>
                    </a:lnTo>
                    <a:lnTo>
                      <a:pt x="404" y="392"/>
                    </a:lnTo>
                    <a:lnTo>
                      <a:pt x="404" y="390"/>
                    </a:lnTo>
                    <a:lnTo>
                      <a:pt x="406" y="390"/>
                    </a:lnTo>
                    <a:lnTo>
                      <a:pt x="406" y="388"/>
                    </a:lnTo>
                    <a:lnTo>
                      <a:pt x="406" y="390"/>
                    </a:lnTo>
                    <a:lnTo>
                      <a:pt x="408" y="390"/>
                    </a:lnTo>
                    <a:lnTo>
                      <a:pt x="408" y="388"/>
                    </a:lnTo>
                    <a:lnTo>
                      <a:pt x="408" y="390"/>
                    </a:lnTo>
                    <a:lnTo>
                      <a:pt x="408" y="388"/>
                    </a:lnTo>
                    <a:lnTo>
                      <a:pt x="408" y="390"/>
                    </a:lnTo>
                    <a:lnTo>
                      <a:pt x="410" y="388"/>
                    </a:lnTo>
                    <a:lnTo>
                      <a:pt x="410" y="390"/>
                    </a:lnTo>
                    <a:lnTo>
                      <a:pt x="408" y="390"/>
                    </a:lnTo>
                    <a:lnTo>
                      <a:pt x="410" y="390"/>
                    </a:lnTo>
                    <a:lnTo>
                      <a:pt x="408" y="390"/>
                    </a:lnTo>
                    <a:lnTo>
                      <a:pt x="408" y="392"/>
                    </a:lnTo>
                    <a:lnTo>
                      <a:pt x="406" y="392"/>
                    </a:lnTo>
                    <a:lnTo>
                      <a:pt x="408" y="392"/>
                    </a:lnTo>
                    <a:lnTo>
                      <a:pt x="406" y="392"/>
                    </a:lnTo>
                    <a:lnTo>
                      <a:pt x="408" y="392"/>
                    </a:lnTo>
                    <a:lnTo>
                      <a:pt x="406" y="392"/>
                    </a:lnTo>
                    <a:lnTo>
                      <a:pt x="408" y="392"/>
                    </a:lnTo>
                    <a:lnTo>
                      <a:pt x="406" y="392"/>
                    </a:lnTo>
                    <a:lnTo>
                      <a:pt x="408" y="392"/>
                    </a:lnTo>
                    <a:lnTo>
                      <a:pt x="406" y="392"/>
                    </a:lnTo>
                    <a:lnTo>
                      <a:pt x="408" y="392"/>
                    </a:lnTo>
                    <a:lnTo>
                      <a:pt x="408" y="394"/>
                    </a:lnTo>
                    <a:lnTo>
                      <a:pt x="406" y="394"/>
                    </a:lnTo>
                    <a:lnTo>
                      <a:pt x="404" y="394"/>
                    </a:lnTo>
                    <a:lnTo>
                      <a:pt x="404" y="396"/>
                    </a:lnTo>
                    <a:lnTo>
                      <a:pt x="404" y="394"/>
                    </a:lnTo>
                    <a:lnTo>
                      <a:pt x="402" y="394"/>
                    </a:lnTo>
                    <a:lnTo>
                      <a:pt x="404" y="394"/>
                    </a:lnTo>
                    <a:lnTo>
                      <a:pt x="406" y="392"/>
                    </a:lnTo>
                    <a:lnTo>
                      <a:pt x="406" y="394"/>
                    </a:lnTo>
                    <a:lnTo>
                      <a:pt x="404" y="394"/>
                    </a:lnTo>
                    <a:lnTo>
                      <a:pt x="402" y="394"/>
                    </a:lnTo>
                    <a:lnTo>
                      <a:pt x="400" y="394"/>
                    </a:lnTo>
                    <a:lnTo>
                      <a:pt x="398" y="394"/>
                    </a:lnTo>
                    <a:lnTo>
                      <a:pt x="400" y="394"/>
                    </a:lnTo>
                    <a:lnTo>
                      <a:pt x="400" y="392"/>
                    </a:lnTo>
                    <a:lnTo>
                      <a:pt x="402" y="392"/>
                    </a:lnTo>
                    <a:lnTo>
                      <a:pt x="400" y="392"/>
                    </a:lnTo>
                    <a:lnTo>
                      <a:pt x="398" y="394"/>
                    </a:lnTo>
                    <a:lnTo>
                      <a:pt x="396" y="394"/>
                    </a:lnTo>
                    <a:lnTo>
                      <a:pt x="396" y="392"/>
                    </a:lnTo>
                    <a:lnTo>
                      <a:pt x="394" y="392"/>
                    </a:lnTo>
                    <a:lnTo>
                      <a:pt x="394" y="390"/>
                    </a:lnTo>
                    <a:lnTo>
                      <a:pt x="392" y="390"/>
                    </a:lnTo>
                    <a:lnTo>
                      <a:pt x="394" y="390"/>
                    </a:lnTo>
                    <a:lnTo>
                      <a:pt x="394" y="392"/>
                    </a:lnTo>
                    <a:lnTo>
                      <a:pt x="396" y="392"/>
                    </a:lnTo>
                    <a:lnTo>
                      <a:pt x="396" y="394"/>
                    </a:lnTo>
                    <a:lnTo>
                      <a:pt x="394" y="394"/>
                    </a:lnTo>
                    <a:lnTo>
                      <a:pt x="392" y="394"/>
                    </a:lnTo>
                    <a:lnTo>
                      <a:pt x="394" y="394"/>
                    </a:lnTo>
                    <a:lnTo>
                      <a:pt x="396" y="394"/>
                    </a:lnTo>
                    <a:lnTo>
                      <a:pt x="394" y="394"/>
                    </a:lnTo>
                    <a:lnTo>
                      <a:pt x="394" y="396"/>
                    </a:lnTo>
                    <a:lnTo>
                      <a:pt x="394" y="394"/>
                    </a:lnTo>
                    <a:lnTo>
                      <a:pt x="392" y="396"/>
                    </a:lnTo>
                    <a:lnTo>
                      <a:pt x="392" y="394"/>
                    </a:lnTo>
                    <a:lnTo>
                      <a:pt x="390" y="396"/>
                    </a:lnTo>
                    <a:lnTo>
                      <a:pt x="388" y="396"/>
                    </a:lnTo>
                    <a:lnTo>
                      <a:pt x="388" y="394"/>
                    </a:lnTo>
                    <a:lnTo>
                      <a:pt x="390" y="394"/>
                    </a:lnTo>
                    <a:lnTo>
                      <a:pt x="390" y="396"/>
                    </a:lnTo>
                    <a:lnTo>
                      <a:pt x="390" y="394"/>
                    </a:lnTo>
                    <a:lnTo>
                      <a:pt x="390" y="392"/>
                    </a:lnTo>
                    <a:lnTo>
                      <a:pt x="392" y="390"/>
                    </a:lnTo>
                    <a:lnTo>
                      <a:pt x="394" y="388"/>
                    </a:lnTo>
                    <a:lnTo>
                      <a:pt x="394" y="390"/>
                    </a:lnTo>
                    <a:lnTo>
                      <a:pt x="392" y="390"/>
                    </a:lnTo>
                    <a:lnTo>
                      <a:pt x="394" y="388"/>
                    </a:lnTo>
                    <a:lnTo>
                      <a:pt x="396" y="388"/>
                    </a:lnTo>
                    <a:lnTo>
                      <a:pt x="396" y="386"/>
                    </a:lnTo>
                    <a:lnTo>
                      <a:pt x="398" y="386"/>
                    </a:lnTo>
                    <a:lnTo>
                      <a:pt x="400" y="384"/>
                    </a:lnTo>
                    <a:lnTo>
                      <a:pt x="402" y="384"/>
                    </a:lnTo>
                    <a:lnTo>
                      <a:pt x="404" y="384"/>
                    </a:lnTo>
                    <a:lnTo>
                      <a:pt x="406" y="384"/>
                    </a:lnTo>
                    <a:lnTo>
                      <a:pt x="406" y="382"/>
                    </a:lnTo>
                    <a:lnTo>
                      <a:pt x="406" y="384"/>
                    </a:lnTo>
                    <a:lnTo>
                      <a:pt x="408" y="384"/>
                    </a:lnTo>
                    <a:lnTo>
                      <a:pt x="406" y="384"/>
                    </a:lnTo>
                    <a:lnTo>
                      <a:pt x="406" y="386"/>
                    </a:lnTo>
                    <a:lnTo>
                      <a:pt x="406" y="384"/>
                    </a:lnTo>
                    <a:lnTo>
                      <a:pt x="406" y="386"/>
                    </a:lnTo>
                    <a:lnTo>
                      <a:pt x="404" y="386"/>
                    </a:lnTo>
                    <a:lnTo>
                      <a:pt x="406" y="386"/>
                    </a:lnTo>
                    <a:lnTo>
                      <a:pt x="404" y="386"/>
                    </a:lnTo>
                    <a:lnTo>
                      <a:pt x="404" y="388"/>
                    </a:lnTo>
                    <a:lnTo>
                      <a:pt x="406" y="388"/>
                    </a:lnTo>
                    <a:lnTo>
                      <a:pt x="406" y="386"/>
                    </a:lnTo>
                    <a:lnTo>
                      <a:pt x="406" y="388"/>
                    </a:lnTo>
                    <a:lnTo>
                      <a:pt x="404" y="388"/>
                    </a:lnTo>
                    <a:lnTo>
                      <a:pt x="404" y="386"/>
                    </a:lnTo>
                    <a:lnTo>
                      <a:pt x="404" y="388"/>
                    </a:lnTo>
                    <a:lnTo>
                      <a:pt x="402" y="388"/>
                    </a:lnTo>
                    <a:close/>
                    <a:moveTo>
                      <a:pt x="379" y="382"/>
                    </a:moveTo>
                    <a:lnTo>
                      <a:pt x="381" y="382"/>
                    </a:lnTo>
                    <a:lnTo>
                      <a:pt x="383" y="382"/>
                    </a:lnTo>
                    <a:lnTo>
                      <a:pt x="385" y="382"/>
                    </a:lnTo>
                    <a:lnTo>
                      <a:pt x="383" y="382"/>
                    </a:lnTo>
                    <a:lnTo>
                      <a:pt x="385" y="382"/>
                    </a:lnTo>
                    <a:lnTo>
                      <a:pt x="385" y="384"/>
                    </a:lnTo>
                    <a:lnTo>
                      <a:pt x="385" y="382"/>
                    </a:lnTo>
                    <a:lnTo>
                      <a:pt x="386" y="382"/>
                    </a:lnTo>
                    <a:lnTo>
                      <a:pt x="386" y="384"/>
                    </a:lnTo>
                    <a:lnTo>
                      <a:pt x="388" y="382"/>
                    </a:lnTo>
                    <a:lnTo>
                      <a:pt x="390" y="382"/>
                    </a:lnTo>
                    <a:lnTo>
                      <a:pt x="392" y="382"/>
                    </a:lnTo>
                    <a:lnTo>
                      <a:pt x="392" y="384"/>
                    </a:lnTo>
                    <a:lnTo>
                      <a:pt x="390" y="384"/>
                    </a:lnTo>
                    <a:lnTo>
                      <a:pt x="392" y="384"/>
                    </a:lnTo>
                    <a:lnTo>
                      <a:pt x="392" y="382"/>
                    </a:lnTo>
                    <a:lnTo>
                      <a:pt x="390" y="382"/>
                    </a:lnTo>
                    <a:lnTo>
                      <a:pt x="392" y="382"/>
                    </a:lnTo>
                    <a:lnTo>
                      <a:pt x="392" y="380"/>
                    </a:lnTo>
                    <a:lnTo>
                      <a:pt x="394" y="380"/>
                    </a:lnTo>
                    <a:lnTo>
                      <a:pt x="396" y="380"/>
                    </a:lnTo>
                    <a:lnTo>
                      <a:pt x="396" y="378"/>
                    </a:lnTo>
                    <a:lnTo>
                      <a:pt x="398" y="378"/>
                    </a:lnTo>
                    <a:lnTo>
                      <a:pt x="396" y="380"/>
                    </a:lnTo>
                    <a:lnTo>
                      <a:pt x="398" y="378"/>
                    </a:lnTo>
                    <a:lnTo>
                      <a:pt x="400" y="378"/>
                    </a:lnTo>
                    <a:lnTo>
                      <a:pt x="400" y="380"/>
                    </a:lnTo>
                    <a:lnTo>
                      <a:pt x="400" y="382"/>
                    </a:lnTo>
                    <a:lnTo>
                      <a:pt x="400" y="380"/>
                    </a:lnTo>
                    <a:lnTo>
                      <a:pt x="398" y="380"/>
                    </a:lnTo>
                    <a:lnTo>
                      <a:pt x="400" y="380"/>
                    </a:lnTo>
                    <a:lnTo>
                      <a:pt x="400" y="382"/>
                    </a:lnTo>
                    <a:lnTo>
                      <a:pt x="398" y="382"/>
                    </a:lnTo>
                    <a:lnTo>
                      <a:pt x="398" y="384"/>
                    </a:lnTo>
                    <a:lnTo>
                      <a:pt x="396" y="384"/>
                    </a:lnTo>
                    <a:lnTo>
                      <a:pt x="394" y="384"/>
                    </a:lnTo>
                    <a:lnTo>
                      <a:pt x="396" y="384"/>
                    </a:lnTo>
                    <a:lnTo>
                      <a:pt x="394" y="386"/>
                    </a:lnTo>
                    <a:lnTo>
                      <a:pt x="392" y="386"/>
                    </a:lnTo>
                    <a:lnTo>
                      <a:pt x="390" y="386"/>
                    </a:lnTo>
                    <a:lnTo>
                      <a:pt x="388" y="386"/>
                    </a:lnTo>
                    <a:lnTo>
                      <a:pt x="386" y="386"/>
                    </a:lnTo>
                    <a:lnTo>
                      <a:pt x="385" y="386"/>
                    </a:lnTo>
                    <a:lnTo>
                      <a:pt x="386" y="386"/>
                    </a:lnTo>
                    <a:lnTo>
                      <a:pt x="386" y="388"/>
                    </a:lnTo>
                    <a:lnTo>
                      <a:pt x="386" y="386"/>
                    </a:lnTo>
                    <a:lnTo>
                      <a:pt x="388" y="386"/>
                    </a:lnTo>
                    <a:lnTo>
                      <a:pt x="388" y="388"/>
                    </a:lnTo>
                    <a:lnTo>
                      <a:pt x="386" y="388"/>
                    </a:lnTo>
                    <a:lnTo>
                      <a:pt x="385" y="388"/>
                    </a:lnTo>
                    <a:lnTo>
                      <a:pt x="383" y="388"/>
                    </a:lnTo>
                    <a:lnTo>
                      <a:pt x="381" y="388"/>
                    </a:lnTo>
                    <a:lnTo>
                      <a:pt x="381" y="390"/>
                    </a:lnTo>
                    <a:lnTo>
                      <a:pt x="379" y="390"/>
                    </a:lnTo>
                    <a:lnTo>
                      <a:pt x="379" y="388"/>
                    </a:lnTo>
                    <a:lnTo>
                      <a:pt x="377" y="388"/>
                    </a:lnTo>
                    <a:lnTo>
                      <a:pt x="379" y="388"/>
                    </a:lnTo>
                    <a:lnTo>
                      <a:pt x="377" y="388"/>
                    </a:lnTo>
                    <a:lnTo>
                      <a:pt x="377" y="390"/>
                    </a:lnTo>
                    <a:lnTo>
                      <a:pt x="375" y="390"/>
                    </a:lnTo>
                    <a:lnTo>
                      <a:pt x="375" y="392"/>
                    </a:lnTo>
                    <a:lnTo>
                      <a:pt x="375" y="390"/>
                    </a:lnTo>
                    <a:lnTo>
                      <a:pt x="377" y="390"/>
                    </a:lnTo>
                    <a:lnTo>
                      <a:pt x="375" y="392"/>
                    </a:lnTo>
                    <a:lnTo>
                      <a:pt x="373" y="392"/>
                    </a:lnTo>
                    <a:lnTo>
                      <a:pt x="371" y="392"/>
                    </a:lnTo>
                    <a:lnTo>
                      <a:pt x="369" y="392"/>
                    </a:lnTo>
                    <a:lnTo>
                      <a:pt x="365" y="392"/>
                    </a:lnTo>
                    <a:lnTo>
                      <a:pt x="363" y="390"/>
                    </a:lnTo>
                    <a:lnTo>
                      <a:pt x="365" y="390"/>
                    </a:lnTo>
                    <a:lnTo>
                      <a:pt x="365" y="388"/>
                    </a:lnTo>
                    <a:lnTo>
                      <a:pt x="367" y="388"/>
                    </a:lnTo>
                    <a:lnTo>
                      <a:pt x="367" y="386"/>
                    </a:lnTo>
                    <a:lnTo>
                      <a:pt x="369" y="386"/>
                    </a:lnTo>
                    <a:lnTo>
                      <a:pt x="371" y="384"/>
                    </a:lnTo>
                    <a:lnTo>
                      <a:pt x="373" y="384"/>
                    </a:lnTo>
                    <a:lnTo>
                      <a:pt x="373" y="382"/>
                    </a:lnTo>
                    <a:lnTo>
                      <a:pt x="375" y="382"/>
                    </a:lnTo>
                    <a:lnTo>
                      <a:pt x="377" y="382"/>
                    </a:lnTo>
                    <a:lnTo>
                      <a:pt x="379" y="382"/>
                    </a:lnTo>
                    <a:lnTo>
                      <a:pt x="381" y="382"/>
                    </a:lnTo>
                    <a:lnTo>
                      <a:pt x="379" y="382"/>
                    </a:lnTo>
                    <a:close/>
                    <a:moveTo>
                      <a:pt x="331" y="400"/>
                    </a:moveTo>
                    <a:lnTo>
                      <a:pt x="329" y="400"/>
                    </a:lnTo>
                    <a:lnTo>
                      <a:pt x="327" y="400"/>
                    </a:lnTo>
                    <a:lnTo>
                      <a:pt x="329" y="400"/>
                    </a:lnTo>
                    <a:lnTo>
                      <a:pt x="327" y="400"/>
                    </a:lnTo>
                    <a:lnTo>
                      <a:pt x="329" y="400"/>
                    </a:lnTo>
                    <a:lnTo>
                      <a:pt x="327" y="400"/>
                    </a:lnTo>
                    <a:lnTo>
                      <a:pt x="329" y="400"/>
                    </a:lnTo>
                    <a:lnTo>
                      <a:pt x="331" y="400"/>
                    </a:lnTo>
                    <a:lnTo>
                      <a:pt x="333" y="400"/>
                    </a:lnTo>
                    <a:lnTo>
                      <a:pt x="331" y="400"/>
                    </a:lnTo>
                    <a:lnTo>
                      <a:pt x="333" y="400"/>
                    </a:lnTo>
                    <a:lnTo>
                      <a:pt x="335" y="400"/>
                    </a:lnTo>
                    <a:lnTo>
                      <a:pt x="337" y="400"/>
                    </a:lnTo>
                    <a:lnTo>
                      <a:pt x="338" y="402"/>
                    </a:lnTo>
                    <a:lnTo>
                      <a:pt x="340" y="402"/>
                    </a:lnTo>
                    <a:lnTo>
                      <a:pt x="340" y="403"/>
                    </a:lnTo>
                    <a:lnTo>
                      <a:pt x="338" y="405"/>
                    </a:lnTo>
                    <a:lnTo>
                      <a:pt x="338" y="407"/>
                    </a:lnTo>
                    <a:lnTo>
                      <a:pt x="338" y="409"/>
                    </a:lnTo>
                    <a:lnTo>
                      <a:pt x="338" y="411"/>
                    </a:lnTo>
                    <a:lnTo>
                      <a:pt x="337" y="411"/>
                    </a:lnTo>
                    <a:lnTo>
                      <a:pt x="335" y="411"/>
                    </a:lnTo>
                    <a:lnTo>
                      <a:pt x="335" y="409"/>
                    </a:lnTo>
                    <a:lnTo>
                      <a:pt x="333" y="409"/>
                    </a:lnTo>
                    <a:lnTo>
                      <a:pt x="335" y="409"/>
                    </a:lnTo>
                    <a:lnTo>
                      <a:pt x="333" y="409"/>
                    </a:lnTo>
                    <a:lnTo>
                      <a:pt x="331" y="409"/>
                    </a:lnTo>
                    <a:lnTo>
                      <a:pt x="329" y="409"/>
                    </a:lnTo>
                    <a:lnTo>
                      <a:pt x="329" y="411"/>
                    </a:lnTo>
                    <a:lnTo>
                      <a:pt x="327" y="411"/>
                    </a:lnTo>
                    <a:lnTo>
                      <a:pt x="325" y="411"/>
                    </a:lnTo>
                    <a:lnTo>
                      <a:pt x="325" y="409"/>
                    </a:lnTo>
                    <a:lnTo>
                      <a:pt x="323" y="409"/>
                    </a:lnTo>
                    <a:lnTo>
                      <a:pt x="323" y="407"/>
                    </a:lnTo>
                    <a:lnTo>
                      <a:pt x="321" y="407"/>
                    </a:lnTo>
                    <a:lnTo>
                      <a:pt x="319" y="407"/>
                    </a:lnTo>
                    <a:lnTo>
                      <a:pt x="317" y="407"/>
                    </a:lnTo>
                    <a:lnTo>
                      <a:pt x="315" y="407"/>
                    </a:lnTo>
                    <a:lnTo>
                      <a:pt x="315" y="405"/>
                    </a:lnTo>
                    <a:lnTo>
                      <a:pt x="315" y="407"/>
                    </a:lnTo>
                    <a:lnTo>
                      <a:pt x="315" y="405"/>
                    </a:lnTo>
                    <a:lnTo>
                      <a:pt x="315" y="407"/>
                    </a:lnTo>
                    <a:lnTo>
                      <a:pt x="315" y="405"/>
                    </a:lnTo>
                    <a:lnTo>
                      <a:pt x="317" y="405"/>
                    </a:lnTo>
                    <a:lnTo>
                      <a:pt x="317" y="403"/>
                    </a:lnTo>
                    <a:lnTo>
                      <a:pt x="317" y="405"/>
                    </a:lnTo>
                    <a:lnTo>
                      <a:pt x="319" y="405"/>
                    </a:lnTo>
                    <a:lnTo>
                      <a:pt x="317" y="405"/>
                    </a:lnTo>
                    <a:lnTo>
                      <a:pt x="317" y="403"/>
                    </a:lnTo>
                    <a:lnTo>
                      <a:pt x="319" y="403"/>
                    </a:lnTo>
                    <a:lnTo>
                      <a:pt x="319" y="402"/>
                    </a:lnTo>
                    <a:lnTo>
                      <a:pt x="319" y="400"/>
                    </a:lnTo>
                    <a:lnTo>
                      <a:pt x="321" y="400"/>
                    </a:lnTo>
                    <a:lnTo>
                      <a:pt x="321" y="402"/>
                    </a:lnTo>
                    <a:lnTo>
                      <a:pt x="321" y="400"/>
                    </a:lnTo>
                    <a:lnTo>
                      <a:pt x="321" y="402"/>
                    </a:lnTo>
                    <a:lnTo>
                      <a:pt x="323" y="402"/>
                    </a:lnTo>
                    <a:lnTo>
                      <a:pt x="323" y="400"/>
                    </a:lnTo>
                    <a:lnTo>
                      <a:pt x="325" y="400"/>
                    </a:lnTo>
                    <a:lnTo>
                      <a:pt x="325" y="402"/>
                    </a:lnTo>
                    <a:lnTo>
                      <a:pt x="327" y="400"/>
                    </a:lnTo>
                    <a:lnTo>
                      <a:pt x="329" y="400"/>
                    </a:lnTo>
                    <a:lnTo>
                      <a:pt x="327" y="400"/>
                    </a:lnTo>
                    <a:lnTo>
                      <a:pt x="329" y="400"/>
                    </a:lnTo>
                    <a:lnTo>
                      <a:pt x="327" y="400"/>
                    </a:lnTo>
                    <a:lnTo>
                      <a:pt x="327" y="398"/>
                    </a:lnTo>
                    <a:lnTo>
                      <a:pt x="329" y="398"/>
                    </a:lnTo>
                    <a:lnTo>
                      <a:pt x="331" y="398"/>
                    </a:lnTo>
                    <a:lnTo>
                      <a:pt x="331" y="400"/>
                    </a:lnTo>
                    <a:close/>
                    <a:moveTo>
                      <a:pt x="340" y="394"/>
                    </a:moveTo>
                    <a:lnTo>
                      <a:pt x="342" y="394"/>
                    </a:lnTo>
                    <a:lnTo>
                      <a:pt x="340" y="394"/>
                    </a:lnTo>
                    <a:lnTo>
                      <a:pt x="338" y="394"/>
                    </a:lnTo>
                    <a:lnTo>
                      <a:pt x="338" y="392"/>
                    </a:lnTo>
                    <a:lnTo>
                      <a:pt x="340" y="392"/>
                    </a:lnTo>
                    <a:lnTo>
                      <a:pt x="340" y="390"/>
                    </a:lnTo>
                    <a:lnTo>
                      <a:pt x="338" y="390"/>
                    </a:lnTo>
                    <a:lnTo>
                      <a:pt x="340" y="390"/>
                    </a:lnTo>
                    <a:lnTo>
                      <a:pt x="340" y="392"/>
                    </a:lnTo>
                    <a:lnTo>
                      <a:pt x="340" y="394"/>
                    </a:lnTo>
                    <a:lnTo>
                      <a:pt x="342" y="394"/>
                    </a:lnTo>
                    <a:lnTo>
                      <a:pt x="340" y="392"/>
                    </a:lnTo>
                    <a:lnTo>
                      <a:pt x="342" y="392"/>
                    </a:lnTo>
                    <a:lnTo>
                      <a:pt x="342" y="390"/>
                    </a:lnTo>
                    <a:lnTo>
                      <a:pt x="342" y="392"/>
                    </a:lnTo>
                    <a:lnTo>
                      <a:pt x="342" y="394"/>
                    </a:lnTo>
                    <a:lnTo>
                      <a:pt x="342" y="392"/>
                    </a:lnTo>
                    <a:lnTo>
                      <a:pt x="344" y="392"/>
                    </a:lnTo>
                    <a:lnTo>
                      <a:pt x="344" y="394"/>
                    </a:lnTo>
                    <a:lnTo>
                      <a:pt x="344" y="396"/>
                    </a:lnTo>
                    <a:lnTo>
                      <a:pt x="342" y="396"/>
                    </a:lnTo>
                    <a:lnTo>
                      <a:pt x="342" y="398"/>
                    </a:lnTo>
                    <a:lnTo>
                      <a:pt x="342" y="400"/>
                    </a:lnTo>
                    <a:lnTo>
                      <a:pt x="344" y="400"/>
                    </a:lnTo>
                    <a:lnTo>
                      <a:pt x="344" y="402"/>
                    </a:lnTo>
                    <a:lnTo>
                      <a:pt x="344" y="400"/>
                    </a:lnTo>
                    <a:lnTo>
                      <a:pt x="344" y="402"/>
                    </a:lnTo>
                    <a:lnTo>
                      <a:pt x="344" y="403"/>
                    </a:lnTo>
                    <a:lnTo>
                      <a:pt x="342" y="403"/>
                    </a:lnTo>
                    <a:lnTo>
                      <a:pt x="340" y="402"/>
                    </a:lnTo>
                    <a:lnTo>
                      <a:pt x="340" y="400"/>
                    </a:lnTo>
                    <a:lnTo>
                      <a:pt x="342" y="400"/>
                    </a:lnTo>
                    <a:lnTo>
                      <a:pt x="340" y="400"/>
                    </a:lnTo>
                    <a:lnTo>
                      <a:pt x="340" y="402"/>
                    </a:lnTo>
                    <a:lnTo>
                      <a:pt x="340" y="400"/>
                    </a:lnTo>
                    <a:lnTo>
                      <a:pt x="340" y="402"/>
                    </a:lnTo>
                    <a:lnTo>
                      <a:pt x="338" y="402"/>
                    </a:lnTo>
                    <a:lnTo>
                      <a:pt x="338" y="400"/>
                    </a:lnTo>
                    <a:lnTo>
                      <a:pt x="337" y="400"/>
                    </a:lnTo>
                    <a:lnTo>
                      <a:pt x="335" y="400"/>
                    </a:lnTo>
                    <a:lnTo>
                      <a:pt x="335" y="398"/>
                    </a:lnTo>
                    <a:lnTo>
                      <a:pt x="337" y="396"/>
                    </a:lnTo>
                    <a:lnTo>
                      <a:pt x="337" y="394"/>
                    </a:lnTo>
                    <a:lnTo>
                      <a:pt x="338" y="394"/>
                    </a:lnTo>
                    <a:lnTo>
                      <a:pt x="338" y="396"/>
                    </a:lnTo>
                    <a:lnTo>
                      <a:pt x="340" y="396"/>
                    </a:lnTo>
                    <a:lnTo>
                      <a:pt x="340" y="394"/>
                    </a:lnTo>
                    <a:lnTo>
                      <a:pt x="340" y="396"/>
                    </a:lnTo>
                    <a:lnTo>
                      <a:pt x="340" y="394"/>
                    </a:lnTo>
                    <a:lnTo>
                      <a:pt x="340" y="396"/>
                    </a:lnTo>
                    <a:lnTo>
                      <a:pt x="342" y="396"/>
                    </a:lnTo>
                    <a:lnTo>
                      <a:pt x="340" y="396"/>
                    </a:lnTo>
                    <a:lnTo>
                      <a:pt x="342" y="396"/>
                    </a:lnTo>
                    <a:lnTo>
                      <a:pt x="340" y="394"/>
                    </a:lnTo>
                    <a:close/>
                    <a:moveTo>
                      <a:pt x="337" y="375"/>
                    </a:moveTo>
                    <a:lnTo>
                      <a:pt x="337" y="377"/>
                    </a:lnTo>
                    <a:lnTo>
                      <a:pt x="335" y="378"/>
                    </a:lnTo>
                    <a:lnTo>
                      <a:pt x="337" y="378"/>
                    </a:lnTo>
                    <a:lnTo>
                      <a:pt x="337" y="377"/>
                    </a:lnTo>
                    <a:lnTo>
                      <a:pt x="337" y="378"/>
                    </a:lnTo>
                    <a:lnTo>
                      <a:pt x="337" y="380"/>
                    </a:lnTo>
                    <a:lnTo>
                      <a:pt x="337" y="378"/>
                    </a:lnTo>
                    <a:lnTo>
                      <a:pt x="338" y="377"/>
                    </a:lnTo>
                    <a:lnTo>
                      <a:pt x="337" y="378"/>
                    </a:lnTo>
                    <a:lnTo>
                      <a:pt x="338" y="378"/>
                    </a:lnTo>
                    <a:lnTo>
                      <a:pt x="338" y="380"/>
                    </a:lnTo>
                    <a:lnTo>
                      <a:pt x="338" y="378"/>
                    </a:lnTo>
                    <a:lnTo>
                      <a:pt x="338" y="380"/>
                    </a:lnTo>
                    <a:lnTo>
                      <a:pt x="338" y="382"/>
                    </a:lnTo>
                    <a:lnTo>
                      <a:pt x="337" y="380"/>
                    </a:lnTo>
                    <a:lnTo>
                      <a:pt x="338" y="382"/>
                    </a:lnTo>
                    <a:lnTo>
                      <a:pt x="337" y="382"/>
                    </a:lnTo>
                    <a:lnTo>
                      <a:pt x="337" y="384"/>
                    </a:lnTo>
                    <a:lnTo>
                      <a:pt x="337" y="386"/>
                    </a:lnTo>
                    <a:lnTo>
                      <a:pt x="338" y="388"/>
                    </a:lnTo>
                    <a:lnTo>
                      <a:pt x="338" y="386"/>
                    </a:lnTo>
                    <a:lnTo>
                      <a:pt x="338" y="388"/>
                    </a:lnTo>
                    <a:lnTo>
                      <a:pt x="338" y="390"/>
                    </a:lnTo>
                    <a:lnTo>
                      <a:pt x="337" y="390"/>
                    </a:lnTo>
                    <a:lnTo>
                      <a:pt x="337" y="392"/>
                    </a:lnTo>
                    <a:lnTo>
                      <a:pt x="337" y="390"/>
                    </a:lnTo>
                    <a:lnTo>
                      <a:pt x="338" y="390"/>
                    </a:lnTo>
                    <a:lnTo>
                      <a:pt x="338" y="388"/>
                    </a:lnTo>
                    <a:lnTo>
                      <a:pt x="338" y="390"/>
                    </a:lnTo>
                    <a:lnTo>
                      <a:pt x="340" y="390"/>
                    </a:lnTo>
                    <a:lnTo>
                      <a:pt x="338" y="392"/>
                    </a:lnTo>
                    <a:lnTo>
                      <a:pt x="338" y="394"/>
                    </a:lnTo>
                    <a:lnTo>
                      <a:pt x="340" y="394"/>
                    </a:lnTo>
                    <a:lnTo>
                      <a:pt x="338" y="394"/>
                    </a:lnTo>
                    <a:lnTo>
                      <a:pt x="337" y="394"/>
                    </a:lnTo>
                    <a:lnTo>
                      <a:pt x="337" y="392"/>
                    </a:lnTo>
                    <a:lnTo>
                      <a:pt x="335" y="392"/>
                    </a:lnTo>
                    <a:lnTo>
                      <a:pt x="335" y="390"/>
                    </a:lnTo>
                    <a:lnTo>
                      <a:pt x="333" y="390"/>
                    </a:lnTo>
                    <a:lnTo>
                      <a:pt x="335" y="390"/>
                    </a:lnTo>
                    <a:lnTo>
                      <a:pt x="333" y="390"/>
                    </a:lnTo>
                    <a:lnTo>
                      <a:pt x="333" y="388"/>
                    </a:lnTo>
                    <a:lnTo>
                      <a:pt x="335" y="388"/>
                    </a:lnTo>
                    <a:lnTo>
                      <a:pt x="335" y="386"/>
                    </a:lnTo>
                    <a:lnTo>
                      <a:pt x="335" y="384"/>
                    </a:lnTo>
                    <a:lnTo>
                      <a:pt x="335" y="386"/>
                    </a:lnTo>
                    <a:lnTo>
                      <a:pt x="335" y="384"/>
                    </a:lnTo>
                    <a:lnTo>
                      <a:pt x="335" y="386"/>
                    </a:lnTo>
                    <a:lnTo>
                      <a:pt x="335" y="388"/>
                    </a:lnTo>
                    <a:lnTo>
                      <a:pt x="335" y="386"/>
                    </a:lnTo>
                    <a:lnTo>
                      <a:pt x="337" y="386"/>
                    </a:lnTo>
                    <a:lnTo>
                      <a:pt x="335" y="386"/>
                    </a:lnTo>
                    <a:lnTo>
                      <a:pt x="337" y="386"/>
                    </a:lnTo>
                    <a:lnTo>
                      <a:pt x="335" y="386"/>
                    </a:lnTo>
                    <a:lnTo>
                      <a:pt x="335" y="384"/>
                    </a:lnTo>
                    <a:lnTo>
                      <a:pt x="335" y="382"/>
                    </a:lnTo>
                    <a:lnTo>
                      <a:pt x="333" y="382"/>
                    </a:lnTo>
                    <a:lnTo>
                      <a:pt x="333" y="380"/>
                    </a:lnTo>
                    <a:lnTo>
                      <a:pt x="331" y="380"/>
                    </a:lnTo>
                    <a:lnTo>
                      <a:pt x="331" y="378"/>
                    </a:lnTo>
                    <a:lnTo>
                      <a:pt x="333" y="378"/>
                    </a:lnTo>
                    <a:lnTo>
                      <a:pt x="333" y="377"/>
                    </a:lnTo>
                    <a:lnTo>
                      <a:pt x="333" y="375"/>
                    </a:lnTo>
                    <a:lnTo>
                      <a:pt x="335" y="375"/>
                    </a:lnTo>
                    <a:lnTo>
                      <a:pt x="333" y="375"/>
                    </a:lnTo>
                    <a:lnTo>
                      <a:pt x="335" y="375"/>
                    </a:lnTo>
                    <a:lnTo>
                      <a:pt x="335" y="373"/>
                    </a:lnTo>
                    <a:lnTo>
                      <a:pt x="335" y="371"/>
                    </a:lnTo>
                    <a:lnTo>
                      <a:pt x="335" y="373"/>
                    </a:lnTo>
                    <a:lnTo>
                      <a:pt x="337" y="373"/>
                    </a:lnTo>
                    <a:lnTo>
                      <a:pt x="337" y="375"/>
                    </a:lnTo>
                    <a:close/>
                    <a:moveTo>
                      <a:pt x="385" y="353"/>
                    </a:moveTo>
                    <a:lnTo>
                      <a:pt x="385" y="352"/>
                    </a:lnTo>
                    <a:lnTo>
                      <a:pt x="385" y="353"/>
                    </a:lnTo>
                    <a:lnTo>
                      <a:pt x="385" y="352"/>
                    </a:lnTo>
                    <a:lnTo>
                      <a:pt x="386" y="352"/>
                    </a:lnTo>
                    <a:lnTo>
                      <a:pt x="386" y="353"/>
                    </a:lnTo>
                    <a:lnTo>
                      <a:pt x="385" y="353"/>
                    </a:lnTo>
                    <a:lnTo>
                      <a:pt x="383" y="355"/>
                    </a:lnTo>
                    <a:lnTo>
                      <a:pt x="381" y="357"/>
                    </a:lnTo>
                    <a:lnTo>
                      <a:pt x="379" y="357"/>
                    </a:lnTo>
                    <a:lnTo>
                      <a:pt x="379" y="359"/>
                    </a:lnTo>
                    <a:lnTo>
                      <a:pt x="377" y="359"/>
                    </a:lnTo>
                    <a:lnTo>
                      <a:pt x="375" y="359"/>
                    </a:lnTo>
                    <a:lnTo>
                      <a:pt x="375" y="361"/>
                    </a:lnTo>
                    <a:lnTo>
                      <a:pt x="377" y="359"/>
                    </a:lnTo>
                    <a:lnTo>
                      <a:pt x="379" y="359"/>
                    </a:lnTo>
                    <a:lnTo>
                      <a:pt x="379" y="357"/>
                    </a:lnTo>
                    <a:lnTo>
                      <a:pt x="379" y="359"/>
                    </a:lnTo>
                    <a:lnTo>
                      <a:pt x="381" y="359"/>
                    </a:lnTo>
                    <a:lnTo>
                      <a:pt x="381" y="357"/>
                    </a:lnTo>
                    <a:lnTo>
                      <a:pt x="381" y="359"/>
                    </a:lnTo>
                    <a:lnTo>
                      <a:pt x="379" y="359"/>
                    </a:lnTo>
                    <a:lnTo>
                      <a:pt x="381" y="359"/>
                    </a:lnTo>
                    <a:lnTo>
                      <a:pt x="379" y="359"/>
                    </a:lnTo>
                    <a:lnTo>
                      <a:pt x="381" y="359"/>
                    </a:lnTo>
                    <a:lnTo>
                      <a:pt x="379" y="361"/>
                    </a:lnTo>
                    <a:lnTo>
                      <a:pt x="381" y="361"/>
                    </a:lnTo>
                    <a:lnTo>
                      <a:pt x="381" y="359"/>
                    </a:lnTo>
                    <a:lnTo>
                      <a:pt x="381" y="361"/>
                    </a:lnTo>
                    <a:lnTo>
                      <a:pt x="381" y="359"/>
                    </a:lnTo>
                    <a:lnTo>
                      <a:pt x="383" y="359"/>
                    </a:lnTo>
                    <a:lnTo>
                      <a:pt x="383" y="357"/>
                    </a:lnTo>
                    <a:lnTo>
                      <a:pt x="385" y="357"/>
                    </a:lnTo>
                    <a:lnTo>
                      <a:pt x="386" y="357"/>
                    </a:lnTo>
                    <a:lnTo>
                      <a:pt x="388" y="357"/>
                    </a:lnTo>
                    <a:lnTo>
                      <a:pt x="388" y="355"/>
                    </a:lnTo>
                    <a:lnTo>
                      <a:pt x="388" y="357"/>
                    </a:lnTo>
                    <a:lnTo>
                      <a:pt x="388" y="355"/>
                    </a:lnTo>
                    <a:lnTo>
                      <a:pt x="388" y="357"/>
                    </a:lnTo>
                    <a:lnTo>
                      <a:pt x="386" y="357"/>
                    </a:lnTo>
                    <a:lnTo>
                      <a:pt x="385" y="357"/>
                    </a:lnTo>
                    <a:lnTo>
                      <a:pt x="386" y="357"/>
                    </a:lnTo>
                    <a:lnTo>
                      <a:pt x="388" y="357"/>
                    </a:lnTo>
                    <a:lnTo>
                      <a:pt x="388" y="355"/>
                    </a:lnTo>
                    <a:lnTo>
                      <a:pt x="390" y="355"/>
                    </a:lnTo>
                    <a:lnTo>
                      <a:pt x="390" y="357"/>
                    </a:lnTo>
                    <a:lnTo>
                      <a:pt x="388" y="357"/>
                    </a:lnTo>
                    <a:lnTo>
                      <a:pt x="386" y="357"/>
                    </a:lnTo>
                    <a:lnTo>
                      <a:pt x="388" y="357"/>
                    </a:lnTo>
                    <a:lnTo>
                      <a:pt x="390" y="357"/>
                    </a:lnTo>
                    <a:lnTo>
                      <a:pt x="390" y="355"/>
                    </a:lnTo>
                    <a:lnTo>
                      <a:pt x="390" y="357"/>
                    </a:lnTo>
                    <a:lnTo>
                      <a:pt x="388" y="357"/>
                    </a:lnTo>
                    <a:lnTo>
                      <a:pt x="386" y="359"/>
                    </a:lnTo>
                    <a:lnTo>
                      <a:pt x="388" y="357"/>
                    </a:lnTo>
                    <a:lnTo>
                      <a:pt x="386" y="359"/>
                    </a:lnTo>
                    <a:lnTo>
                      <a:pt x="385" y="359"/>
                    </a:lnTo>
                    <a:lnTo>
                      <a:pt x="386" y="359"/>
                    </a:lnTo>
                    <a:lnTo>
                      <a:pt x="388" y="359"/>
                    </a:lnTo>
                    <a:lnTo>
                      <a:pt x="386" y="359"/>
                    </a:lnTo>
                    <a:lnTo>
                      <a:pt x="385" y="359"/>
                    </a:lnTo>
                    <a:lnTo>
                      <a:pt x="385" y="361"/>
                    </a:lnTo>
                    <a:lnTo>
                      <a:pt x="383" y="361"/>
                    </a:lnTo>
                    <a:lnTo>
                      <a:pt x="381" y="361"/>
                    </a:lnTo>
                    <a:lnTo>
                      <a:pt x="381" y="363"/>
                    </a:lnTo>
                    <a:lnTo>
                      <a:pt x="381" y="361"/>
                    </a:lnTo>
                    <a:lnTo>
                      <a:pt x="383" y="361"/>
                    </a:lnTo>
                    <a:lnTo>
                      <a:pt x="381" y="363"/>
                    </a:lnTo>
                    <a:lnTo>
                      <a:pt x="379" y="363"/>
                    </a:lnTo>
                    <a:lnTo>
                      <a:pt x="381" y="363"/>
                    </a:lnTo>
                    <a:lnTo>
                      <a:pt x="383" y="363"/>
                    </a:lnTo>
                    <a:lnTo>
                      <a:pt x="383" y="361"/>
                    </a:lnTo>
                    <a:lnTo>
                      <a:pt x="385" y="361"/>
                    </a:lnTo>
                    <a:lnTo>
                      <a:pt x="383" y="361"/>
                    </a:lnTo>
                    <a:lnTo>
                      <a:pt x="385" y="361"/>
                    </a:lnTo>
                    <a:lnTo>
                      <a:pt x="386" y="361"/>
                    </a:lnTo>
                    <a:lnTo>
                      <a:pt x="388" y="361"/>
                    </a:lnTo>
                    <a:lnTo>
                      <a:pt x="390" y="361"/>
                    </a:lnTo>
                    <a:lnTo>
                      <a:pt x="388" y="361"/>
                    </a:lnTo>
                    <a:lnTo>
                      <a:pt x="386" y="361"/>
                    </a:lnTo>
                    <a:lnTo>
                      <a:pt x="386" y="363"/>
                    </a:lnTo>
                    <a:lnTo>
                      <a:pt x="386" y="361"/>
                    </a:lnTo>
                    <a:lnTo>
                      <a:pt x="386" y="363"/>
                    </a:lnTo>
                    <a:lnTo>
                      <a:pt x="386" y="361"/>
                    </a:lnTo>
                    <a:lnTo>
                      <a:pt x="388" y="361"/>
                    </a:lnTo>
                    <a:lnTo>
                      <a:pt x="390" y="361"/>
                    </a:lnTo>
                    <a:lnTo>
                      <a:pt x="392" y="361"/>
                    </a:lnTo>
                    <a:lnTo>
                      <a:pt x="390" y="361"/>
                    </a:lnTo>
                    <a:lnTo>
                      <a:pt x="392" y="361"/>
                    </a:lnTo>
                    <a:lnTo>
                      <a:pt x="390" y="361"/>
                    </a:lnTo>
                    <a:lnTo>
                      <a:pt x="392" y="361"/>
                    </a:lnTo>
                    <a:lnTo>
                      <a:pt x="390" y="361"/>
                    </a:lnTo>
                    <a:lnTo>
                      <a:pt x="390" y="363"/>
                    </a:lnTo>
                    <a:lnTo>
                      <a:pt x="390" y="361"/>
                    </a:lnTo>
                    <a:lnTo>
                      <a:pt x="390" y="363"/>
                    </a:lnTo>
                    <a:lnTo>
                      <a:pt x="388" y="363"/>
                    </a:lnTo>
                    <a:lnTo>
                      <a:pt x="386" y="363"/>
                    </a:lnTo>
                    <a:lnTo>
                      <a:pt x="386" y="365"/>
                    </a:lnTo>
                    <a:lnTo>
                      <a:pt x="385" y="365"/>
                    </a:lnTo>
                    <a:lnTo>
                      <a:pt x="383" y="365"/>
                    </a:lnTo>
                    <a:lnTo>
                      <a:pt x="381" y="367"/>
                    </a:lnTo>
                    <a:lnTo>
                      <a:pt x="379" y="367"/>
                    </a:lnTo>
                    <a:lnTo>
                      <a:pt x="381" y="367"/>
                    </a:lnTo>
                    <a:lnTo>
                      <a:pt x="383" y="365"/>
                    </a:lnTo>
                    <a:lnTo>
                      <a:pt x="385" y="365"/>
                    </a:lnTo>
                    <a:lnTo>
                      <a:pt x="383" y="365"/>
                    </a:lnTo>
                    <a:lnTo>
                      <a:pt x="385" y="365"/>
                    </a:lnTo>
                    <a:lnTo>
                      <a:pt x="383" y="367"/>
                    </a:lnTo>
                    <a:lnTo>
                      <a:pt x="381" y="367"/>
                    </a:lnTo>
                    <a:lnTo>
                      <a:pt x="379" y="367"/>
                    </a:lnTo>
                    <a:lnTo>
                      <a:pt x="377" y="369"/>
                    </a:lnTo>
                    <a:lnTo>
                      <a:pt x="377" y="367"/>
                    </a:lnTo>
                    <a:lnTo>
                      <a:pt x="377" y="369"/>
                    </a:lnTo>
                    <a:lnTo>
                      <a:pt x="377" y="367"/>
                    </a:lnTo>
                    <a:lnTo>
                      <a:pt x="379" y="367"/>
                    </a:lnTo>
                    <a:lnTo>
                      <a:pt x="377" y="367"/>
                    </a:lnTo>
                    <a:lnTo>
                      <a:pt x="379" y="367"/>
                    </a:lnTo>
                    <a:lnTo>
                      <a:pt x="379" y="365"/>
                    </a:lnTo>
                    <a:lnTo>
                      <a:pt x="381" y="365"/>
                    </a:lnTo>
                    <a:lnTo>
                      <a:pt x="383" y="365"/>
                    </a:lnTo>
                    <a:lnTo>
                      <a:pt x="383" y="363"/>
                    </a:lnTo>
                    <a:lnTo>
                      <a:pt x="385" y="363"/>
                    </a:lnTo>
                    <a:lnTo>
                      <a:pt x="383" y="363"/>
                    </a:lnTo>
                    <a:lnTo>
                      <a:pt x="385" y="363"/>
                    </a:lnTo>
                    <a:lnTo>
                      <a:pt x="383" y="363"/>
                    </a:lnTo>
                    <a:lnTo>
                      <a:pt x="383" y="365"/>
                    </a:lnTo>
                    <a:lnTo>
                      <a:pt x="379" y="365"/>
                    </a:lnTo>
                    <a:lnTo>
                      <a:pt x="379" y="367"/>
                    </a:lnTo>
                    <a:lnTo>
                      <a:pt x="377" y="367"/>
                    </a:lnTo>
                    <a:lnTo>
                      <a:pt x="375" y="369"/>
                    </a:lnTo>
                    <a:lnTo>
                      <a:pt x="373" y="369"/>
                    </a:lnTo>
                    <a:lnTo>
                      <a:pt x="373" y="371"/>
                    </a:lnTo>
                    <a:lnTo>
                      <a:pt x="371" y="371"/>
                    </a:lnTo>
                    <a:lnTo>
                      <a:pt x="373" y="369"/>
                    </a:lnTo>
                    <a:lnTo>
                      <a:pt x="375" y="367"/>
                    </a:lnTo>
                    <a:lnTo>
                      <a:pt x="373" y="367"/>
                    </a:lnTo>
                    <a:lnTo>
                      <a:pt x="373" y="369"/>
                    </a:lnTo>
                    <a:lnTo>
                      <a:pt x="373" y="367"/>
                    </a:lnTo>
                    <a:lnTo>
                      <a:pt x="373" y="369"/>
                    </a:lnTo>
                    <a:lnTo>
                      <a:pt x="371" y="369"/>
                    </a:lnTo>
                    <a:lnTo>
                      <a:pt x="371" y="371"/>
                    </a:lnTo>
                    <a:lnTo>
                      <a:pt x="369" y="371"/>
                    </a:lnTo>
                    <a:lnTo>
                      <a:pt x="371" y="371"/>
                    </a:lnTo>
                    <a:lnTo>
                      <a:pt x="369" y="371"/>
                    </a:lnTo>
                    <a:lnTo>
                      <a:pt x="369" y="373"/>
                    </a:lnTo>
                    <a:lnTo>
                      <a:pt x="367" y="373"/>
                    </a:lnTo>
                    <a:lnTo>
                      <a:pt x="365" y="373"/>
                    </a:lnTo>
                    <a:lnTo>
                      <a:pt x="363" y="373"/>
                    </a:lnTo>
                    <a:lnTo>
                      <a:pt x="361" y="373"/>
                    </a:lnTo>
                    <a:lnTo>
                      <a:pt x="363" y="373"/>
                    </a:lnTo>
                    <a:lnTo>
                      <a:pt x="361" y="375"/>
                    </a:lnTo>
                    <a:lnTo>
                      <a:pt x="361" y="373"/>
                    </a:lnTo>
                    <a:lnTo>
                      <a:pt x="363" y="373"/>
                    </a:lnTo>
                    <a:lnTo>
                      <a:pt x="363" y="371"/>
                    </a:lnTo>
                    <a:lnTo>
                      <a:pt x="365" y="371"/>
                    </a:lnTo>
                    <a:lnTo>
                      <a:pt x="363" y="371"/>
                    </a:lnTo>
                    <a:lnTo>
                      <a:pt x="365" y="371"/>
                    </a:lnTo>
                    <a:lnTo>
                      <a:pt x="363" y="371"/>
                    </a:lnTo>
                    <a:lnTo>
                      <a:pt x="363" y="369"/>
                    </a:lnTo>
                    <a:lnTo>
                      <a:pt x="365" y="369"/>
                    </a:lnTo>
                    <a:lnTo>
                      <a:pt x="363" y="367"/>
                    </a:lnTo>
                    <a:lnTo>
                      <a:pt x="365" y="365"/>
                    </a:lnTo>
                    <a:lnTo>
                      <a:pt x="367" y="365"/>
                    </a:lnTo>
                    <a:lnTo>
                      <a:pt x="365" y="365"/>
                    </a:lnTo>
                    <a:lnTo>
                      <a:pt x="367" y="363"/>
                    </a:lnTo>
                    <a:lnTo>
                      <a:pt x="369" y="363"/>
                    </a:lnTo>
                    <a:lnTo>
                      <a:pt x="369" y="361"/>
                    </a:lnTo>
                    <a:lnTo>
                      <a:pt x="371" y="361"/>
                    </a:lnTo>
                    <a:lnTo>
                      <a:pt x="369" y="361"/>
                    </a:lnTo>
                    <a:lnTo>
                      <a:pt x="371" y="361"/>
                    </a:lnTo>
                    <a:lnTo>
                      <a:pt x="371" y="359"/>
                    </a:lnTo>
                    <a:lnTo>
                      <a:pt x="373" y="359"/>
                    </a:lnTo>
                    <a:lnTo>
                      <a:pt x="375" y="357"/>
                    </a:lnTo>
                    <a:lnTo>
                      <a:pt x="375" y="359"/>
                    </a:lnTo>
                    <a:lnTo>
                      <a:pt x="377" y="357"/>
                    </a:lnTo>
                    <a:lnTo>
                      <a:pt x="379" y="357"/>
                    </a:lnTo>
                    <a:lnTo>
                      <a:pt x="381" y="355"/>
                    </a:lnTo>
                    <a:lnTo>
                      <a:pt x="383" y="355"/>
                    </a:lnTo>
                    <a:lnTo>
                      <a:pt x="383" y="353"/>
                    </a:lnTo>
                    <a:lnTo>
                      <a:pt x="385" y="353"/>
                    </a:lnTo>
                    <a:lnTo>
                      <a:pt x="385" y="352"/>
                    </a:lnTo>
                    <a:lnTo>
                      <a:pt x="386" y="352"/>
                    </a:lnTo>
                    <a:lnTo>
                      <a:pt x="385" y="352"/>
                    </a:lnTo>
                    <a:lnTo>
                      <a:pt x="385" y="353"/>
                    </a:lnTo>
                    <a:close/>
                    <a:moveTo>
                      <a:pt x="275" y="392"/>
                    </a:moveTo>
                    <a:lnTo>
                      <a:pt x="275" y="394"/>
                    </a:lnTo>
                    <a:lnTo>
                      <a:pt x="275" y="392"/>
                    </a:lnTo>
                    <a:lnTo>
                      <a:pt x="277" y="392"/>
                    </a:lnTo>
                    <a:lnTo>
                      <a:pt x="275" y="392"/>
                    </a:lnTo>
                    <a:lnTo>
                      <a:pt x="275" y="394"/>
                    </a:lnTo>
                    <a:lnTo>
                      <a:pt x="273" y="396"/>
                    </a:lnTo>
                    <a:lnTo>
                      <a:pt x="273" y="398"/>
                    </a:lnTo>
                    <a:lnTo>
                      <a:pt x="273" y="396"/>
                    </a:lnTo>
                    <a:lnTo>
                      <a:pt x="273" y="398"/>
                    </a:lnTo>
                    <a:lnTo>
                      <a:pt x="271" y="398"/>
                    </a:lnTo>
                    <a:lnTo>
                      <a:pt x="273" y="398"/>
                    </a:lnTo>
                    <a:lnTo>
                      <a:pt x="273" y="396"/>
                    </a:lnTo>
                    <a:lnTo>
                      <a:pt x="273" y="394"/>
                    </a:lnTo>
                    <a:lnTo>
                      <a:pt x="273" y="396"/>
                    </a:lnTo>
                    <a:lnTo>
                      <a:pt x="273" y="398"/>
                    </a:lnTo>
                    <a:lnTo>
                      <a:pt x="271" y="398"/>
                    </a:lnTo>
                    <a:lnTo>
                      <a:pt x="271" y="396"/>
                    </a:lnTo>
                    <a:lnTo>
                      <a:pt x="269" y="396"/>
                    </a:lnTo>
                    <a:lnTo>
                      <a:pt x="267" y="396"/>
                    </a:lnTo>
                    <a:lnTo>
                      <a:pt x="269" y="396"/>
                    </a:lnTo>
                    <a:lnTo>
                      <a:pt x="267" y="398"/>
                    </a:lnTo>
                    <a:lnTo>
                      <a:pt x="269" y="398"/>
                    </a:lnTo>
                    <a:lnTo>
                      <a:pt x="269" y="396"/>
                    </a:lnTo>
                    <a:lnTo>
                      <a:pt x="271" y="398"/>
                    </a:lnTo>
                    <a:lnTo>
                      <a:pt x="271" y="396"/>
                    </a:lnTo>
                    <a:lnTo>
                      <a:pt x="269" y="396"/>
                    </a:lnTo>
                    <a:lnTo>
                      <a:pt x="271" y="396"/>
                    </a:lnTo>
                    <a:lnTo>
                      <a:pt x="271" y="398"/>
                    </a:lnTo>
                    <a:lnTo>
                      <a:pt x="269" y="400"/>
                    </a:lnTo>
                    <a:lnTo>
                      <a:pt x="267" y="400"/>
                    </a:lnTo>
                    <a:lnTo>
                      <a:pt x="265" y="400"/>
                    </a:lnTo>
                    <a:lnTo>
                      <a:pt x="264" y="400"/>
                    </a:lnTo>
                    <a:lnTo>
                      <a:pt x="262" y="400"/>
                    </a:lnTo>
                    <a:lnTo>
                      <a:pt x="260" y="400"/>
                    </a:lnTo>
                    <a:lnTo>
                      <a:pt x="258" y="400"/>
                    </a:lnTo>
                    <a:lnTo>
                      <a:pt x="256" y="400"/>
                    </a:lnTo>
                    <a:lnTo>
                      <a:pt x="254" y="398"/>
                    </a:lnTo>
                    <a:lnTo>
                      <a:pt x="254" y="400"/>
                    </a:lnTo>
                    <a:lnTo>
                      <a:pt x="252" y="400"/>
                    </a:lnTo>
                    <a:lnTo>
                      <a:pt x="252" y="398"/>
                    </a:lnTo>
                    <a:lnTo>
                      <a:pt x="250" y="398"/>
                    </a:lnTo>
                    <a:lnTo>
                      <a:pt x="248" y="398"/>
                    </a:lnTo>
                    <a:lnTo>
                      <a:pt x="248" y="396"/>
                    </a:lnTo>
                    <a:lnTo>
                      <a:pt x="250" y="396"/>
                    </a:lnTo>
                    <a:lnTo>
                      <a:pt x="248" y="396"/>
                    </a:lnTo>
                    <a:lnTo>
                      <a:pt x="248" y="394"/>
                    </a:lnTo>
                    <a:lnTo>
                      <a:pt x="250" y="394"/>
                    </a:lnTo>
                    <a:lnTo>
                      <a:pt x="252" y="394"/>
                    </a:lnTo>
                    <a:lnTo>
                      <a:pt x="250" y="396"/>
                    </a:lnTo>
                    <a:lnTo>
                      <a:pt x="252" y="394"/>
                    </a:lnTo>
                    <a:lnTo>
                      <a:pt x="252" y="396"/>
                    </a:lnTo>
                    <a:lnTo>
                      <a:pt x="254" y="396"/>
                    </a:lnTo>
                    <a:lnTo>
                      <a:pt x="256" y="396"/>
                    </a:lnTo>
                    <a:lnTo>
                      <a:pt x="258" y="396"/>
                    </a:lnTo>
                    <a:lnTo>
                      <a:pt x="258" y="398"/>
                    </a:lnTo>
                    <a:lnTo>
                      <a:pt x="258" y="396"/>
                    </a:lnTo>
                    <a:lnTo>
                      <a:pt x="260" y="396"/>
                    </a:lnTo>
                    <a:lnTo>
                      <a:pt x="260" y="398"/>
                    </a:lnTo>
                    <a:lnTo>
                      <a:pt x="258" y="398"/>
                    </a:lnTo>
                    <a:lnTo>
                      <a:pt x="256" y="398"/>
                    </a:lnTo>
                    <a:lnTo>
                      <a:pt x="258" y="398"/>
                    </a:lnTo>
                    <a:lnTo>
                      <a:pt x="260" y="398"/>
                    </a:lnTo>
                    <a:lnTo>
                      <a:pt x="262" y="398"/>
                    </a:lnTo>
                    <a:lnTo>
                      <a:pt x="262" y="400"/>
                    </a:lnTo>
                    <a:lnTo>
                      <a:pt x="264" y="400"/>
                    </a:lnTo>
                    <a:lnTo>
                      <a:pt x="264" y="398"/>
                    </a:lnTo>
                    <a:lnTo>
                      <a:pt x="265" y="398"/>
                    </a:lnTo>
                    <a:lnTo>
                      <a:pt x="265" y="396"/>
                    </a:lnTo>
                    <a:lnTo>
                      <a:pt x="265" y="394"/>
                    </a:lnTo>
                    <a:lnTo>
                      <a:pt x="267" y="394"/>
                    </a:lnTo>
                    <a:lnTo>
                      <a:pt x="267" y="392"/>
                    </a:lnTo>
                    <a:lnTo>
                      <a:pt x="265" y="392"/>
                    </a:lnTo>
                    <a:lnTo>
                      <a:pt x="265" y="390"/>
                    </a:lnTo>
                    <a:lnTo>
                      <a:pt x="265" y="388"/>
                    </a:lnTo>
                    <a:lnTo>
                      <a:pt x="267" y="388"/>
                    </a:lnTo>
                    <a:lnTo>
                      <a:pt x="267" y="386"/>
                    </a:lnTo>
                    <a:lnTo>
                      <a:pt x="267" y="388"/>
                    </a:lnTo>
                    <a:lnTo>
                      <a:pt x="267" y="390"/>
                    </a:lnTo>
                    <a:lnTo>
                      <a:pt x="267" y="388"/>
                    </a:lnTo>
                    <a:lnTo>
                      <a:pt x="267" y="386"/>
                    </a:lnTo>
                    <a:lnTo>
                      <a:pt x="265" y="386"/>
                    </a:lnTo>
                    <a:lnTo>
                      <a:pt x="265" y="384"/>
                    </a:lnTo>
                    <a:lnTo>
                      <a:pt x="267" y="384"/>
                    </a:lnTo>
                    <a:lnTo>
                      <a:pt x="267" y="386"/>
                    </a:lnTo>
                    <a:lnTo>
                      <a:pt x="269" y="386"/>
                    </a:lnTo>
                    <a:lnTo>
                      <a:pt x="269" y="384"/>
                    </a:lnTo>
                    <a:lnTo>
                      <a:pt x="271" y="386"/>
                    </a:lnTo>
                    <a:lnTo>
                      <a:pt x="271" y="388"/>
                    </a:lnTo>
                    <a:lnTo>
                      <a:pt x="269" y="390"/>
                    </a:lnTo>
                    <a:lnTo>
                      <a:pt x="271" y="390"/>
                    </a:lnTo>
                    <a:lnTo>
                      <a:pt x="273" y="390"/>
                    </a:lnTo>
                    <a:lnTo>
                      <a:pt x="275" y="390"/>
                    </a:lnTo>
                    <a:lnTo>
                      <a:pt x="275" y="392"/>
                    </a:lnTo>
                    <a:close/>
                    <a:moveTo>
                      <a:pt x="335" y="353"/>
                    </a:moveTo>
                    <a:lnTo>
                      <a:pt x="337" y="352"/>
                    </a:lnTo>
                    <a:lnTo>
                      <a:pt x="337" y="353"/>
                    </a:lnTo>
                    <a:lnTo>
                      <a:pt x="338" y="353"/>
                    </a:lnTo>
                    <a:lnTo>
                      <a:pt x="337" y="353"/>
                    </a:lnTo>
                    <a:lnTo>
                      <a:pt x="338" y="353"/>
                    </a:lnTo>
                    <a:lnTo>
                      <a:pt x="338" y="355"/>
                    </a:lnTo>
                    <a:lnTo>
                      <a:pt x="337" y="355"/>
                    </a:lnTo>
                    <a:lnTo>
                      <a:pt x="338" y="355"/>
                    </a:lnTo>
                    <a:lnTo>
                      <a:pt x="338" y="357"/>
                    </a:lnTo>
                    <a:lnTo>
                      <a:pt x="338" y="355"/>
                    </a:lnTo>
                    <a:lnTo>
                      <a:pt x="337" y="355"/>
                    </a:lnTo>
                    <a:lnTo>
                      <a:pt x="338" y="355"/>
                    </a:lnTo>
                    <a:lnTo>
                      <a:pt x="338" y="353"/>
                    </a:lnTo>
                    <a:lnTo>
                      <a:pt x="338" y="355"/>
                    </a:lnTo>
                    <a:lnTo>
                      <a:pt x="340" y="355"/>
                    </a:lnTo>
                    <a:lnTo>
                      <a:pt x="340" y="357"/>
                    </a:lnTo>
                    <a:lnTo>
                      <a:pt x="342" y="357"/>
                    </a:lnTo>
                    <a:lnTo>
                      <a:pt x="340" y="355"/>
                    </a:lnTo>
                    <a:lnTo>
                      <a:pt x="342" y="355"/>
                    </a:lnTo>
                    <a:lnTo>
                      <a:pt x="342" y="357"/>
                    </a:lnTo>
                    <a:lnTo>
                      <a:pt x="342" y="359"/>
                    </a:lnTo>
                    <a:lnTo>
                      <a:pt x="342" y="361"/>
                    </a:lnTo>
                    <a:lnTo>
                      <a:pt x="340" y="361"/>
                    </a:lnTo>
                    <a:lnTo>
                      <a:pt x="340" y="363"/>
                    </a:lnTo>
                    <a:lnTo>
                      <a:pt x="338" y="363"/>
                    </a:lnTo>
                    <a:lnTo>
                      <a:pt x="338" y="365"/>
                    </a:lnTo>
                    <a:lnTo>
                      <a:pt x="337" y="365"/>
                    </a:lnTo>
                    <a:lnTo>
                      <a:pt x="335" y="365"/>
                    </a:lnTo>
                    <a:lnTo>
                      <a:pt x="335" y="363"/>
                    </a:lnTo>
                    <a:lnTo>
                      <a:pt x="335" y="365"/>
                    </a:lnTo>
                    <a:lnTo>
                      <a:pt x="335" y="363"/>
                    </a:lnTo>
                    <a:lnTo>
                      <a:pt x="335" y="361"/>
                    </a:lnTo>
                    <a:lnTo>
                      <a:pt x="337" y="361"/>
                    </a:lnTo>
                    <a:lnTo>
                      <a:pt x="335" y="361"/>
                    </a:lnTo>
                    <a:lnTo>
                      <a:pt x="335" y="359"/>
                    </a:lnTo>
                    <a:lnTo>
                      <a:pt x="333" y="359"/>
                    </a:lnTo>
                    <a:lnTo>
                      <a:pt x="333" y="357"/>
                    </a:lnTo>
                    <a:lnTo>
                      <a:pt x="335" y="357"/>
                    </a:lnTo>
                    <a:lnTo>
                      <a:pt x="335" y="355"/>
                    </a:lnTo>
                    <a:lnTo>
                      <a:pt x="335" y="353"/>
                    </a:lnTo>
                    <a:close/>
                    <a:moveTo>
                      <a:pt x="348" y="361"/>
                    </a:moveTo>
                    <a:lnTo>
                      <a:pt x="350" y="361"/>
                    </a:lnTo>
                    <a:lnTo>
                      <a:pt x="348" y="361"/>
                    </a:lnTo>
                    <a:lnTo>
                      <a:pt x="348" y="359"/>
                    </a:lnTo>
                    <a:lnTo>
                      <a:pt x="348" y="361"/>
                    </a:lnTo>
                    <a:lnTo>
                      <a:pt x="346" y="361"/>
                    </a:lnTo>
                    <a:lnTo>
                      <a:pt x="346" y="363"/>
                    </a:lnTo>
                    <a:lnTo>
                      <a:pt x="344" y="363"/>
                    </a:lnTo>
                    <a:lnTo>
                      <a:pt x="344" y="361"/>
                    </a:lnTo>
                    <a:lnTo>
                      <a:pt x="342" y="361"/>
                    </a:lnTo>
                    <a:lnTo>
                      <a:pt x="344" y="361"/>
                    </a:lnTo>
                    <a:lnTo>
                      <a:pt x="344" y="359"/>
                    </a:lnTo>
                    <a:lnTo>
                      <a:pt x="342" y="361"/>
                    </a:lnTo>
                    <a:lnTo>
                      <a:pt x="342" y="363"/>
                    </a:lnTo>
                    <a:lnTo>
                      <a:pt x="342" y="361"/>
                    </a:lnTo>
                    <a:lnTo>
                      <a:pt x="344" y="361"/>
                    </a:lnTo>
                    <a:lnTo>
                      <a:pt x="344" y="363"/>
                    </a:lnTo>
                    <a:lnTo>
                      <a:pt x="342" y="363"/>
                    </a:lnTo>
                    <a:lnTo>
                      <a:pt x="344" y="363"/>
                    </a:lnTo>
                    <a:lnTo>
                      <a:pt x="344" y="361"/>
                    </a:lnTo>
                    <a:lnTo>
                      <a:pt x="344" y="363"/>
                    </a:lnTo>
                    <a:lnTo>
                      <a:pt x="342" y="363"/>
                    </a:lnTo>
                    <a:lnTo>
                      <a:pt x="342" y="365"/>
                    </a:lnTo>
                    <a:lnTo>
                      <a:pt x="340" y="367"/>
                    </a:lnTo>
                    <a:lnTo>
                      <a:pt x="338" y="369"/>
                    </a:lnTo>
                    <a:lnTo>
                      <a:pt x="338" y="371"/>
                    </a:lnTo>
                    <a:lnTo>
                      <a:pt x="337" y="373"/>
                    </a:lnTo>
                    <a:lnTo>
                      <a:pt x="337" y="375"/>
                    </a:lnTo>
                    <a:lnTo>
                      <a:pt x="338" y="375"/>
                    </a:lnTo>
                    <a:lnTo>
                      <a:pt x="338" y="377"/>
                    </a:lnTo>
                    <a:lnTo>
                      <a:pt x="337" y="378"/>
                    </a:lnTo>
                    <a:lnTo>
                      <a:pt x="337" y="377"/>
                    </a:lnTo>
                    <a:lnTo>
                      <a:pt x="337" y="375"/>
                    </a:lnTo>
                    <a:lnTo>
                      <a:pt x="337" y="373"/>
                    </a:lnTo>
                    <a:lnTo>
                      <a:pt x="335" y="373"/>
                    </a:lnTo>
                    <a:lnTo>
                      <a:pt x="337" y="373"/>
                    </a:lnTo>
                    <a:lnTo>
                      <a:pt x="337" y="371"/>
                    </a:lnTo>
                    <a:lnTo>
                      <a:pt x="338" y="371"/>
                    </a:lnTo>
                    <a:lnTo>
                      <a:pt x="338" y="369"/>
                    </a:lnTo>
                    <a:lnTo>
                      <a:pt x="338" y="367"/>
                    </a:lnTo>
                    <a:lnTo>
                      <a:pt x="338" y="369"/>
                    </a:lnTo>
                    <a:lnTo>
                      <a:pt x="338" y="367"/>
                    </a:lnTo>
                    <a:lnTo>
                      <a:pt x="338" y="365"/>
                    </a:lnTo>
                    <a:lnTo>
                      <a:pt x="340" y="363"/>
                    </a:lnTo>
                    <a:lnTo>
                      <a:pt x="338" y="363"/>
                    </a:lnTo>
                    <a:lnTo>
                      <a:pt x="340" y="363"/>
                    </a:lnTo>
                    <a:lnTo>
                      <a:pt x="340" y="361"/>
                    </a:lnTo>
                    <a:lnTo>
                      <a:pt x="342" y="361"/>
                    </a:lnTo>
                    <a:lnTo>
                      <a:pt x="342" y="359"/>
                    </a:lnTo>
                    <a:lnTo>
                      <a:pt x="344" y="359"/>
                    </a:lnTo>
                    <a:lnTo>
                      <a:pt x="342" y="359"/>
                    </a:lnTo>
                    <a:lnTo>
                      <a:pt x="344" y="359"/>
                    </a:lnTo>
                    <a:lnTo>
                      <a:pt x="342" y="357"/>
                    </a:lnTo>
                    <a:lnTo>
                      <a:pt x="344" y="357"/>
                    </a:lnTo>
                    <a:lnTo>
                      <a:pt x="342" y="355"/>
                    </a:lnTo>
                    <a:lnTo>
                      <a:pt x="344" y="355"/>
                    </a:lnTo>
                    <a:lnTo>
                      <a:pt x="344" y="353"/>
                    </a:lnTo>
                    <a:lnTo>
                      <a:pt x="344" y="355"/>
                    </a:lnTo>
                    <a:lnTo>
                      <a:pt x="344" y="353"/>
                    </a:lnTo>
                    <a:lnTo>
                      <a:pt x="342" y="353"/>
                    </a:lnTo>
                    <a:lnTo>
                      <a:pt x="342" y="352"/>
                    </a:lnTo>
                    <a:lnTo>
                      <a:pt x="344" y="352"/>
                    </a:lnTo>
                    <a:lnTo>
                      <a:pt x="344" y="350"/>
                    </a:lnTo>
                    <a:lnTo>
                      <a:pt x="344" y="348"/>
                    </a:lnTo>
                    <a:lnTo>
                      <a:pt x="346" y="348"/>
                    </a:lnTo>
                    <a:lnTo>
                      <a:pt x="346" y="346"/>
                    </a:lnTo>
                    <a:lnTo>
                      <a:pt x="348" y="346"/>
                    </a:lnTo>
                    <a:lnTo>
                      <a:pt x="348" y="344"/>
                    </a:lnTo>
                    <a:lnTo>
                      <a:pt x="350" y="344"/>
                    </a:lnTo>
                    <a:lnTo>
                      <a:pt x="350" y="346"/>
                    </a:lnTo>
                    <a:lnTo>
                      <a:pt x="348" y="348"/>
                    </a:lnTo>
                    <a:lnTo>
                      <a:pt x="348" y="350"/>
                    </a:lnTo>
                    <a:lnTo>
                      <a:pt x="346" y="350"/>
                    </a:lnTo>
                    <a:lnTo>
                      <a:pt x="346" y="352"/>
                    </a:lnTo>
                    <a:lnTo>
                      <a:pt x="344" y="352"/>
                    </a:lnTo>
                    <a:lnTo>
                      <a:pt x="346" y="352"/>
                    </a:lnTo>
                    <a:lnTo>
                      <a:pt x="346" y="353"/>
                    </a:lnTo>
                    <a:lnTo>
                      <a:pt x="344" y="353"/>
                    </a:lnTo>
                    <a:lnTo>
                      <a:pt x="346" y="353"/>
                    </a:lnTo>
                    <a:lnTo>
                      <a:pt x="344" y="352"/>
                    </a:lnTo>
                    <a:lnTo>
                      <a:pt x="346" y="352"/>
                    </a:lnTo>
                    <a:lnTo>
                      <a:pt x="346" y="350"/>
                    </a:lnTo>
                    <a:lnTo>
                      <a:pt x="348" y="350"/>
                    </a:lnTo>
                    <a:lnTo>
                      <a:pt x="348" y="352"/>
                    </a:lnTo>
                    <a:lnTo>
                      <a:pt x="348" y="350"/>
                    </a:lnTo>
                    <a:lnTo>
                      <a:pt x="348" y="348"/>
                    </a:lnTo>
                    <a:lnTo>
                      <a:pt x="350" y="348"/>
                    </a:lnTo>
                    <a:lnTo>
                      <a:pt x="350" y="346"/>
                    </a:lnTo>
                    <a:lnTo>
                      <a:pt x="350" y="344"/>
                    </a:lnTo>
                    <a:lnTo>
                      <a:pt x="350" y="346"/>
                    </a:lnTo>
                    <a:lnTo>
                      <a:pt x="352" y="344"/>
                    </a:lnTo>
                    <a:lnTo>
                      <a:pt x="352" y="342"/>
                    </a:lnTo>
                    <a:lnTo>
                      <a:pt x="354" y="342"/>
                    </a:lnTo>
                    <a:lnTo>
                      <a:pt x="356" y="340"/>
                    </a:lnTo>
                    <a:lnTo>
                      <a:pt x="356" y="342"/>
                    </a:lnTo>
                    <a:lnTo>
                      <a:pt x="354" y="342"/>
                    </a:lnTo>
                    <a:lnTo>
                      <a:pt x="356" y="342"/>
                    </a:lnTo>
                    <a:lnTo>
                      <a:pt x="356" y="340"/>
                    </a:lnTo>
                    <a:lnTo>
                      <a:pt x="358" y="340"/>
                    </a:lnTo>
                    <a:lnTo>
                      <a:pt x="358" y="342"/>
                    </a:lnTo>
                    <a:lnTo>
                      <a:pt x="356" y="342"/>
                    </a:lnTo>
                    <a:lnTo>
                      <a:pt x="356" y="344"/>
                    </a:lnTo>
                    <a:lnTo>
                      <a:pt x="356" y="346"/>
                    </a:lnTo>
                    <a:lnTo>
                      <a:pt x="354" y="346"/>
                    </a:lnTo>
                    <a:lnTo>
                      <a:pt x="354" y="348"/>
                    </a:lnTo>
                    <a:lnTo>
                      <a:pt x="352" y="348"/>
                    </a:lnTo>
                    <a:lnTo>
                      <a:pt x="352" y="350"/>
                    </a:lnTo>
                    <a:lnTo>
                      <a:pt x="350" y="350"/>
                    </a:lnTo>
                    <a:lnTo>
                      <a:pt x="350" y="352"/>
                    </a:lnTo>
                    <a:lnTo>
                      <a:pt x="348" y="352"/>
                    </a:lnTo>
                    <a:lnTo>
                      <a:pt x="348" y="353"/>
                    </a:lnTo>
                    <a:lnTo>
                      <a:pt x="350" y="353"/>
                    </a:lnTo>
                    <a:lnTo>
                      <a:pt x="348" y="355"/>
                    </a:lnTo>
                    <a:lnTo>
                      <a:pt x="346" y="357"/>
                    </a:lnTo>
                    <a:lnTo>
                      <a:pt x="348" y="355"/>
                    </a:lnTo>
                    <a:lnTo>
                      <a:pt x="350" y="355"/>
                    </a:lnTo>
                    <a:lnTo>
                      <a:pt x="350" y="353"/>
                    </a:lnTo>
                    <a:lnTo>
                      <a:pt x="350" y="355"/>
                    </a:lnTo>
                    <a:lnTo>
                      <a:pt x="350" y="353"/>
                    </a:lnTo>
                    <a:lnTo>
                      <a:pt x="348" y="353"/>
                    </a:lnTo>
                    <a:lnTo>
                      <a:pt x="348" y="352"/>
                    </a:lnTo>
                    <a:lnTo>
                      <a:pt x="350" y="352"/>
                    </a:lnTo>
                    <a:lnTo>
                      <a:pt x="350" y="350"/>
                    </a:lnTo>
                    <a:lnTo>
                      <a:pt x="352" y="350"/>
                    </a:lnTo>
                    <a:lnTo>
                      <a:pt x="352" y="348"/>
                    </a:lnTo>
                    <a:lnTo>
                      <a:pt x="354" y="348"/>
                    </a:lnTo>
                    <a:lnTo>
                      <a:pt x="356" y="348"/>
                    </a:lnTo>
                    <a:lnTo>
                      <a:pt x="356" y="346"/>
                    </a:lnTo>
                    <a:lnTo>
                      <a:pt x="358" y="344"/>
                    </a:lnTo>
                    <a:lnTo>
                      <a:pt x="358" y="346"/>
                    </a:lnTo>
                    <a:lnTo>
                      <a:pt x="356" y="346"/>
                    </a:lnTo>
                    <a:lnTo>
                      <a:pt x="356" y="348"/>
                    </a:lnTo>
                    <a:lnTo>
                      <a:pt x="354" y="348"/>
                    </a:lnTo>
                    <a:lnTo>
                      <a:pt x="354" y="350"/>
                    </a:lnTo>
                    <a:lnTo>
                      <a:pt x="354" y="348"/>
                    </a:lnTo>
                    <a:lnTo>
                      <a:pt x="354" y="350"/>
                    </a:lnTo>
                    <a:lnTo>
                      <a:pt x="356" y="350"/>
                    </a:lnTo>
                    <a:lnTo>
                      <a:pt x="356" y="352"/>
                    </a:lnTo>
                    <a:lnTo>
                      <a:pt x="354" y="352"/>
                    </a:lnTo>
                    <a:lnTo>
                      <a:pt x="354" y="353"/>
                    </a:lnTo>
                    <a:lnTo>
                      <a:pt x="352" y="353"/>
                    </a:lnTo>
                    <a:lnTo>
                      <a:pt x="350" y="353"/>
                    </a:lnTo>
                    <a:lnTo>
                      <a:pt x="352" y="353"/>
                    </a:lnTo>
                    <a:lnTo>
                      <a:pt x="350" y="355"/>
                    </a:lnTo>
                    <a:lnTo>
                      <a:pt x="348" y="355"/>
                    </a:lnTo>
                    <a:lnTo>
                      <a:pt x="348" y="357"/>
                    </a:lnTo>
                    <a:lnTo>
                      <a:pt x="350" y="357"/>
                    </a:lnTo>
                    <a:lnTo>
                      <a:pt x="348" y="357"/>
                    </a:lnTo>
                    <a:lnTo>
                      <a:pt x="348" y="359"/>
                    </a:lnTo>
                    <a:lnTo>
                      <a:pt x="350" y="357"/>
                    </a:lnTo>
                    <a:lnTo>
                      <a:pt x="348" y="357"/>
                    </a:lnTo>
                    <a:lnTo>
                      <a:pt x="350" y="357"/>
                    </a:lnTo>
                    <a:lnTo>
                      <a:pt x="350" y="355"/>
                    </a:lnTo>
                    <a:lnTo>
                      <a:pt x="352" y="355"/>
                    </a:lnTo>
                    <a:lnTo>
                      <a:pt x="352" y="353"/>
                    </a:lnTo>
                    <a:lnTo>
                      <a:pt x="354" y="353"/>
                    </a:lnTo>
                    <a:lnTo>
                      <a:pt x="354" y="352"/>
                    </a:lnTo>
                    <a:lnTo>
                      <a:pt x="356" y="352"/>
                    </a:lnTo>
                    <a:lnTo>
                      <a:pt x="358" y="350"/>
                    </a:lnTo>
                    <a:lnTo>
                      <a:pt x="356" y="350"/>
                    </a:lnTo>
                    <a:lnTo>
                      <a:pt x="358" y="350"/>
                    </a:lnTo>
                    <a:lnTo>
                      <a:pt x="360" y="350"/>
                    </a:lnTo>
                    <a:lnTo>
                      <a:pt x="360" y="348"/>
                    </a:lnTo>
                    <a:lnTo>
                      <a:pt x="361" y="346"/>
                    </a:lnTo>
                    <a:lnTo>
                      <a:pt x="363" y="346"/>
                    </a:lnTo>
                    <a:lnTo>
                      <a:pt x="363" y="348"/>
                    </a:lnTo>
                    <a:lnTo>
                      <a:pt x="361" y="348"/>
                    </a:lnTo>
                    <a:lnTo>
                      <a:pt x="361" y="350"/>
                    </a:lnTo>
                    <a:lnTo>
                      <a:pt x="360" y="350"/>
                    </a:lnTo>
                    <a:lnTo>
                      <a:pt x="358" y="352"/>
                    </a:lnTo>
                    <a:lnTo>
                      <a:pt x="358" y="353"/>
                    </a:lnTo>
                    <a:lnTo>
                      <a:pt x="358" y="352"/>
                    </a:lnTo>
                    <a:lnTo>
                      <a:pt x="360" y="350"/>
                    </a:lnTo>
                    <a:lnTo>
                      <a:pt x="361" y="350"/>
                    </a:lnTo>
                    <a:lnTo>
                      <a:pt x="361" y="348"/>
                    </a:lnTo>
                    <a:lnTo>
                      <a:pt x="363" y="346"/>
                    </a:lnTo>
                    <a:lnTo>
                      <a:pt x="363" y="348"/>
                    </a:lnTo>
                    <a:lnTo>
                      <a:pt x="363" y="346"/>
                    </a:lnTo>
                    <a:lnTo>
                      <a:pt x="363" y="348"/>
                    </a:lnTo>
                    <a:lnTo>
                      <a:pt x="361" y="348"/>
                    </a:lnTo>
                    <a:lnTo>
                      <a:pt x="361" y="350"/>
                    </a:lnTo>
                    <a:lnTo>
                      <a:pt x="360" y="352"/>
                    </a:lnTo>
                    <a:lnTo>
                      <a:pt x="358" y="353"/>
                    </a:lnTo>
                    <a:lnTo>
                      <a:pt x="360" y="355"/>
                    </a:lnTo>
                    <a:lnTo>
                      <a:pt x="358" y="355"/>
                    </a:lnTo>
                    <a:lnTo>
                      <a:pt x="358" y="357"/>
                    </a:lnTo>
                    <a:lnTo>
                      <a:pt x="356" y="357"/>
                    </a:lnTo>
                    <a:lnTo>
                      <a:pt x="354" y="359"/>
                    </a:lnTo>
                    <a:lnTo>
                      <a:pt x="356" y="359"/>
                    </a:lnTo>
                    <a:lnTo>
                      <a:pt x="354" y="361"/>
                    </a:lnTo>
                    <a:lnTo>
                      <a:pt x="356" y="361"/>
                    </a:lnTo>
                    <a:lnTo>
                      <a:pt x="356" y="359"/>
                    </a:lnTo>
                    <a:lnTo>
                      <a:pt x="356" y="361"/>
                    </a:lnTo>
                    <a:lnTo>
                      <a:pt x="354" y="361"/>
                    </a:lnTo>
                    <a:lnTo>
                      <a:pt x="352" y="361"/>
                    </a:lnTo>
                    <a:lnTo>
                      <a:pt x="350" y="363"/>
                    </a:lnTo>
                    <a:lnTo>
                      <a:pt x="348" y="363"/>
                    </a:lnTo>
                    <a:lnTo>
                      <a:pt x="348" y="365"/>
                    </a:lnTo>
                    <a:lnTo>
                      <a:pt x="346" y="365"/>
                    </a:lnTo>
                    <a:lnTo>
                      <a:pt x="346" y="367"/>
                    </a:lnTo>
                    <a:lnTo>
                      <a:pt x="346" y="369"/>
                    </a:lnTo>
                    <a:lnTo>
                      <a:pt x="346" y="367"/>
                    </a:lnTo>
                    <a:lnTo>
                      <a:pt x="346" y="365"/>
                    </a:lnTo>
                    <a:lnTo>
                      <a:pt x="348" y="363"/>
                    </a:lnTo>
                    <a:lnTo>
                      <a:pt x="348" y="365"/>
                    </a:lnTo>
                    <a:lnTo>
                      <a:pt x="348" y="363"/>
                    </a:lnTo>
                    <a:lnTo>
                      <a:pt x="350" y="363"/>
                    </a:lnTo>
                    <a:lnTo>
                      <a:pt x="352" y="363"/>
                    </a:lnTo>
                    <a:lnTo>
                      <a:pt x="352" y="361"/>
                    </a:lnTo>
                    <a:lnTo>
                      <a:pt x="354" y="361"/>
                    </a:lnTo>
                    <a:lnTo>
                      <a:pt x="356" y="361"/>
                    </a:lnTo>
                    <a:lnTo>
                      <a:pt x="354" y="361"/>
                    </a:lnTo>
                    <a:lnTo>
                      <a:pt x="354" y="363"/>
                    </a:lnTo>
                    <a:lnTo>
                      <a:pt x="354" y="365"/>
                    </a:lnTo>
                    <a:lnTo>
                      <a:pt x="354" y="363"/>
                    </a:lnTo>
                    <a:lnTo>
                      <a:pt x="354" y="361"/>
                    </a:lnTo>
                    <a:lnTo>
                      <a:pt x="356" y="361"/>
                    </a:lnTo>
                    <a:lnTo>
                      <a:pt x="356" y="359"/>
                    </a:lnTo>
                    <a:lnTo>
                      <a:pt x="358" y="359"/>
                    </a:lnTo>
                    <a:lnTo>
                      <a:pt x="358" y="361"/>
                    </a:lnTo>
                    <a:lnTo>
                      <a:pt x="358" y="359"/>
                    </a:lnTo>
                    <a:lnTo>
                      <a:pt x="360" y="359"/>
                    </a:lnTo>
                    <a:lnTo>
                      <a:pt x="360" y="357"/>
                    </a:lnTo>
                    <a:lnTo>
                      <a:pt x="360" y="355"/>
                    </a:lnTo>
                    <a:lnTo>
                      <a:pt x="361" y="355"/>
                    </a:lnTo>
                    <a:lnTo>
                      <a:pt x="361" y="353"/>
                    </a:lnTo>
                    <a:lnTo>
                      <a:pt x="361" y="352"/>
                    </a:lnTo>
                    <a:lnTo>
                      <a:pt x="363" y="352"/>
                    </a:lnTo>
                    <a:lnTo>
                      <a:pt x="365" y="352"/>
                    </a:lnTo>
                    <a:lnTo>
                      <a:pt x="365" y="350"/>
                    </a:lnTo>
                    <a:lnTo>
                      <a:pt x="367" y="350"/>
                    </a:lnTo>
                    <a:lnTo>
                      <a:pt x="369" y="350"/>
                    </a:lnTo>
                    <a:lnTo>
                      <a:pt x="371" y="348"/>
                    </a:lnTo>
                    <a:lnTo>
                      <a:pt x="369" y="348"/>
                    </a:lnTo>
                    <a:lnTo>
                      <a:pt x="369" y="350"/>
                    </a:lnTo>
                    <a:lnTo>
                      <a:pt x="367" y="350"/>
                    </a:lnTo>
                    <a:lnTo>
                      <a:pt x="365" y="350"/>
                    </a:lnTo>
                    <a:lnTo>
                      <a:pt x="367" y="350"/>
                    </a:lnTo>
                    <a:lnTo>
                      <a:pt x="367" y="348"/>
                    </a:lnTo>
                    <a:lnTo>
                      <a:pt x="365" y="348"/>
                    </a:lnTo>
                    <a:lnTo>
                      <a:pt x="367" y="348"/>
                    </a:lnTo>
                    <a:lnTo>
                      <a:pt x="367" y="346"/>
                    </a:lnTo>
                    <a:lnTo>
                      <a:pt x="369" y="346"/>
                    </a:lnTo>
                    <a:lnTo>
                      <a:pt x="369" y="344"/>
                    </a:lnTo>
                    <a:lnTo>
                      <a:pt x="369" y="346"/>
                    </a:lnTo>
                    <a:lnTo>
                      <a:pt x="369" y="344"/>
                    </a:lnTo>
                    <a:lnTo>
                      <a:pt x="371" y="344"/>
                    </a:lnTo>
                    <a:lnTo>
                      <a:pt x="373" y="344"/>
                    </a:lnTo>
                    <a:lnTo>
                      <a:pt x="375" y="344"/>
                    </a:lnTo>
                    <a:lnTo>
                      <a:pt x="377" y="344"/>
                    </a:lnTo>
                    <a:lnTo>
                      <a:pt x="375" y="344"/>
                    </a:lnTo>
                    <a:lnTo>
                      <a:pt x="377" y="344"/>
                    </a:lnTo>
                    <a:lnTo>
                      <a:pt x="375" y="344"/>
                    </a:lnTo>
                    <a:lnTo>
                      <a:pt x="377" y="344"/>
                    </a:lnTo>
                    <a:lnTo>
                      <a:pt x="375" y="344"/>
                    </a:lnTo>
                    <a:lnTo>
                      <a:pt x="377" y="344"/>
                    </a:lnTo>
                    <a:lnTo>
                      <a:pt x="379" y="344"/>
                    </a:lnTo>
                    <a:lnTo>
                      <a:pt x="379" y="346"/>
                    </a:lnTo>
                    <a:lnTo>
                      <a:pt x="377" y="346"/>
                    </a:lnTo>
                    <a:lnTo>
                      <a:pt x="377" y="348"/>
                    </a:lnTo>
                    <a:lnTo>
                      <a:pt x="377" y="350"/>
                    </a:lnTo>
                    <a:lnTo>
                      <a:pt x="375" y="350"/>
                    </a:lnTo>
                    <a:lnTo>
                      <a:pt x="377" y="350"/>
                    </a:lnTo>
                    <a:lnTo>
                      <a:pt x="375" y="350"/>
                    </a:lnTo>
                    <a:lnTo>
                      <a:pt x="373" y="350"/>
                    </a:lnTo>
                    <a:lnTo>
                      <a:pt x="373" y="352"/>
                    </a:lnTo>
                    <a:lnTo>
                      <a:pt x="371" y="353"/>
                    </a:lnTo>
                    <a:lnTo>
                      <a:pt x="369" y="353"/>
                    </a:lnTo>
                    <a:lnTo>
                      <a:pt x="367" y="353"/>
                    </a:lnTo>
                    <a:lnTo>
                      <a:pt x="367" y="355"/>
                    </a:lnTo>
                    <a:lnTo>
                      <a:pt x="367" y="357"/>
                    </a:lnTo>
                    <a:lnTo>
                      <a:pt x="365" y="357"/>
                    </a:lnTo>
                    <a:lnTo>
                      <a:pt x="367" y="357"/>
                    </a:lnTo>
                    <a:lnTo>
                      <a:pt x="367" y="355"/>
                    </a:lnTo>
                    <a:lnTo>
                      <a:pt x="369" y="355"/>
                    </a:lnTo>
                    <a:lnTo>
                      <a:pt x="367" y="357"/>
                    </a:lnTo>
                    <a:lnTo>
                      <a:pt x="369" y="355"/>
                    </a:lnTo>
                    <a:lnTo>
                      <a:pt x="367" y="355"/>
                    </a:lnTo>
                    <a:lnTo>
                      <a:pt x="369" y="355"/>
                    </a:lnTo>
                    <a:lnTo>
                      <a:pt x="369" y="353"/>
                    </a:lnTo>
                    <a:lnTo>
                      <a:pt x="371" y="353"/>
                    </a:lnTo>
                    <a:lnTo>
                      <a:pt x="373" y="353"/>
                    </a:lnTo>
                    <a:lnTo>
                      <a:pt x="371" y="353"/>
                    </a:lnTo>
                    <a:lnTo>
                      <a:pt x="373" y="353"/>
                    </a:lnTo>
                    <a:lnTo>
                      <a:pt x="373" y="352"/>
                    </a:lnTo>
                    <a:lnTo>
                      <a:pt x="375" y="352"/>
                    </a:lnTo>
                    <a:lnTo>
                      <a:pt x="375" y="350"/>
                    </a:lnTo>
                    <a:lnTo>
                      <a:pt x="377" y="350"/>
                    </a:lnTo>
                    <a:lnTo>
                      <a:pt x="377" y="352"/>
                    </a:lnTo>
                    <a:lnTo>
                      <a:pt x="377" y="353"/>
                    </a:lnTo>
                    <a:lnTo>
                      <a:pt x="375" y="353"/>
                    </a:lnTo>
                    <a:lnTo>
                      <a:pt x="375" y="355"/>
                    </a:lnTo>
                    <a:lnTo>
                      <a:pt x="373" y="355"/>
                    </a:lnTo>
                    <a:lnTo>
                      <a:pt x="373" y="357"/>
                    </a:lnTo>
                    <a:lnTo>
                      <a:pt x="371" y="357"/>
                    </a:lnTo>
                    <a:lnTo>
                      <a:pt x="369" y="357"/>
                    </a:lnTo>
                    <a:lnTo>
                      <a:pt x="367" y="357"/>
                    </a:lnTo>
                    <a:lnTo>
                      <a:pt x="369" y="357"/>
                    </a:lnTo>
                    <a:lnTo>
                      <a:pt x="371" y="357"/>
                    </a:lnTo>
                    <a:lnTo>
                      <a:pt x="373" y="357"/>
                    </a:lnTo>
                    <a:lnTo>
                      <a:pt x="373" y="355"/>
                    </a:lnTo>
                    <a:lnTo>
                      <a:pt x="375" y="355"/>
                    </a:lnTo>
                    <a:lnTo>
                      <a:pt x="375" y="353"/>
                    </a:lnTo>
                    <a:lnTo>
                      <a:pt x="377" y="353"/>
                    </a:lnTo>
                    <a:lnTo>
                      <a:pt x="377" y="355"/>
                    </a:lnTo>
                    <a:lnTo>
                      <a:pt x="375" y="355"/>
                    </a:lnTo>
                    <a:lnTo>
                      <a:pt x="375" y="357"/>
                    </a:lnTo>
                    <a:lnTo>
                      <a:pt x="373" y="357"/>
                    </a:lnTo>
                    <a:lnTo>
                      <a:pt x="375" y="357"/>
                    </a:lnTo>
                    <a:lnTo>
                      <a:pt x="373" y="357"/>
                    </a:lnTo>
                    <a:lnTo>
                      <a:pt x="373" y="359"/>
                    </a:lnTo>
                    <a:lnTo>
                      <a:pt x="373" y="357"/>
                    </a:lnTo>
                    <a:lnTo>
                      <a:pt x="373" y="359"/>
                    </a:lnTo>
                    <a:lnTo>
                      <a:pt x="371" y="359"/>
                    </a:lnTo>
                    <a:lnTo>
                      <a:pt x="371" y="361"/>
                    </a:lnTo>
                    <a:lnTo>
                      <a:pt x="369" y="361"/>
                    </a:lnTo>
                    <a:lnTo>
                      <a:pt x="367" y="361"/>
                    </a:lnTo>
                    <a:lnTo>
                      <a:pt x="367" y="363"/>
                    </a:lnTo>
                    <a:lnTo>
                      <a:pt x="365" y="363"/>
                    </a:lnTo>
                    <a:lnTo>
                      <a:pt x="365" y="365"/>
                    </a:lnTo>
                    <a:lnTo>
                      <a:pt x="363" y="365"/>
                    </a:lnTo>
                    <a:lnTo>
                      <a:pt x="365" y="365"/>
                    </a:lnTo>
                    <a:lnTo>
                      <a:pt x="363" y="365"/>
                    </a:lnTo>
                    <a:lnTo>
                      <a:pt x="361" y="365"/>
                    </a:lnTo>
                    <a:lnTo>
                      <a:pt x="360" y="365"/>
                    </a:lnTo>
                    <a:lnTo>
                      <a:pt x="360" y="363"/>
                    </a:lnTo>
                    <a:lnTo>
                      <a:pt x="361" y="363"/>
                    </a:lnTo>
                    <a:lnTo>
                      <a:pt x="361" y="361"/>
                    </a:lnTo>
                    <a:lnTo>
                      <a:pt x="363" y="361"/>
                    </a:lnTo>
                    <a:lnTo>
                      <a:pt x="361" y="361"/>
                    </a:lnTo>
                    <a:lnTo>
                      <a:pt x="361" y="363"/>
                    </a:lnTo>
                    <a:lnTo>
                      <a:pt x="360" y="363"/>
                    </a:lnTo>
                    <a:lnTo>
                      <a:pt x="360" y="365"/>
                    </a:lnTo>
                    <a:lnTo>
                      <a:pt x="358" y="365"/>
                    </a:lnTo>
                    <a:lnTo>
                      <a:pt x="360" y="365"/>
                    </a:lnTo>
                    <a:lnTo>
                      <a:pt x="358" y="367"/>
                    </a:lnTo>
                    <a:lnTo>
                      <a:pt x="358" y="365"/>
                    </a:lnTo>
                    <a:lnTo>
                      <a:pt x="358" y="367"/>
                    </a:lnTo>
                    <a:lnTo>
                      <a:pt x="358" y="369"/>
                    </a:lnTo>
                    <a:lnTo>
                      <a:pt x="356" y="369"/>
                    </a:lnTo>
                    <a:lnTo>
                      <a:pt x="354" y="369"/>
                    </a:lnTo>
                    <a:lnTo>
                      <a:pt x="356" y="369"/>
                    </a:lnTo>
                    <a:lnTo>
                      <a:pt x="358" y="369"/>
                    </a:lnTo>
                    <a:lnTo>
                      <a:pt x="356" y="371"/>
                    </a:lnTo>
                    <a:lnTo>
                      <a:pt x="354" y="371"/>
                    </a:lnTo>
                    <a:lnTo>
                      <a:pt x="354" y="373"/>
                    </a:lnTo>
                    <a:lnTo>
                      <a:pt x="354" y="371"/>
                    </a:lnTo>
                    <a:lnTo>
                      <a:pt x="354" y="373"/>
                    </a:lnTo>
                    <a:lnTo>
                      <a:pt x="352" y="373"/>
                    </a:lnTo>
                    <a:lnTo>
                      <a:pt x="350" y="375"/>
                    </a:lnTo>
                    <a:lnTo>
                      <a:pt x="348" y="375"/>
                    </a:lnTo>
                    <a:lnTo>
                      <a:pt x="348" y="377"/>
                    </a:lnTo>
                    <a:lnTo>
                      <a:pt x="346" y="377"/>
                    </a:lnTo>
                    <a:lnTo>
                      <a:pt x="348" y="377"/>
                    </a:lnTo>
                    <a:lnTo>
                      <a:pt x="348" y="378"/>
                    </a:lnTo>
                    <a:lnTo>
                      <a:pt x="346" y="378"/>
                    </a:lnTo>
                    <a:lnTo>
                      <a:pt x="348" y="378"/>
                    </a:lnTo>
                    <a:lnTo>
                      <a:pt x="348" y="380"/>
                    </a:lnTo>
                    <a:lnTo>
                      <a:pt x="346" y="380"/>
                    </a:lnTo>
                    <a:lnTo>
                      <a:pt x="348" y="380"/>
                    </a:lnTo>
                    <a:lnTo>
                      <a:pt x="348" y="378"/>
                    </a:lnTo>
                    <a:lnTo>
                      <a:pt x="346" y="378"/>
                    </a:lnTo>
                    <a:lnTo>
                      <a:pt x="348" y="378"/>
                    </a:lnTo>
                    <a:lnTo>
                      <a:pt x="346" y="377"/>
                    </a:lnTo>
                    <a:lnTo>
                      <a:pt x="348" y="377"/>
                    </a:lnTo>
                    <a:lnTo>
                      <a:pt x="348" y="375"/>
                    </a:lnTo>
                    <a:lnTo>
                      <a:pt x="350" y="375"/>
                    </a:lnTo>
                    <a:lnTo>
                      <a:pt x="348" y="377"/>
                    </a:lnTo>
                    <a:lnTo>
                      <a:pt x="348" y="378"/>
                    </a:lnTo>
                    <a:lnTo>
                      <a:pt x="348" y="377"/>
                    </a:lnTo>
                    <a:lnTo>
                      <a:pt x="348" y="378"/>
                    </a:lnTo>
                    <a:lnTo>
                      <a:pt x="348" y="380"/>
                    </a:lnTo>
                    <a:lnTo>
                      <a:pt x="348" y="382"/>
                    </a:lnTo>
                    <a:lnTo>
                      <a:pt x="346" y="382"/>
                    </a:lnTo>
                    <a:lnTo>
                      <a:pt x="348" y="382"/>
                    </a:lnTo>
                    <a:lnTo>
                      <a:pt x="346" y="382"/>
                    </a:lnTo>
                    <a:lnTo>
                      <a:pt x="348" y="382"/>
                    </a:lnTo>
                    <a:lnTo>
                      <a:pt x="346" y="382"/>
                    </a:lnTo>
                    <a:lnTo>
                      <a:pt x="346" y="380"/>
                    </a:lnTo>
                    <a:lnTo>
                      <a:pt x="346" y="382"/>
                    </a:lnTo>
                    <a:lnTo>
                      <a:pt x="348" y="382"/>
                    </a:lnTo>
                    <a:lnTo>
                      <a:pt x="350" y="382"/>
                    </a:lnTo>
                    <a:lnTo>
                      <a:pt x="348" y="382"/>
                    </a:lnTo>
                    <a:lnTo>
                      <a:pt x="348" y="384"/>
                    </a:lnTo>
                    <a:lnTo>
                      <a:pt x="348" y="386"/>
                    </a:lnTo>
                    <a:lnTo>
                      <a:pt x="348" y="388"/>
                    </a:lnTo>
                    <a:lnTo>
                      <a:pt x="346" y="388"/>
                    </a:lnTo>
                    <a:lnTo>
                      <a:pt x="346" y="386"/>
                    </a:lnTo>
                    <a:lnTo>
                      <a:pt x="344" y="386"/>
                    </a:lnTo>
                    <a:lnTo>
                      <a:pt x="346" y="386"/>
                    </a:lnTo>
                    <a:lnTo>
                      <a:pt x="344" y="384"/>
                    </a:lnTo>
                    <a:lnTo>
                      <a:pt x="344" y="382"/>
                    </a:lnTo>
                    <a:lnTo>
                      <a:pt x="346" y="382"/>
                    </a:lnTo>
                    <a:lnTo>
                      <a:pt x="344" y="382"/>
                    </a:lnTo>
                    <a:lnTo>
                      <a:pt x="346" y="382"/>
                    </a:lnTo>
                    <a:lnTo>
                      <a:pt x="344" y="382"/>
                    </a:lnTo>
                    <a:lnTo>
                      <a:pt x="346" y="382"/>
                    </a:lnTo>
                    <a:lnTo>
                      <a:pt x="344" y="382"/>
                    </a:lnTo>
                    <a:lnTo>
                      <a:pt x="344" y="384"/>
                    </a:lnTo>
                    <a:lnTo>
                      <a:pt x="344" y="386"/>
                    </a:lnTo>
                    <a:lnTo>
                      <a:pt x="344" y="384"/>
                    </a:lnTo>
                    <a:lnTo>
                      <a:pt x="344" y="386"/>
                    </a:lnTo>
                    <a:lnTo>
                      <a:pt x="344" y="388"/>
                    </a:lnTo>
                    <a:lnTo>
                      <a:pt x="342" y="388"/>
                    </a:lnTo>
                    <a:lnTo>
                      <a:pt x="342" y="390"/>
                    </a:lnTo>
                    <a:lnTo>
                      <a:pt x="340" y="392"/>
                    </a:lnTo>
                    <a:lnTo>
                      <a:pt x="340" y="390"/>
                    </a:lnTo>
                    <a:lnTo>
                      <a:pt x="338" y="390"/>
                    </a:lnTo>
                    <a:lnTo>
                      <a:pt x="338" y="388"/>
                    </a:lnTo>
                    <a:lnTo>
                      <a:pt x="340" y="388"/>
                    </a:lnTo>
                    <a:lnTo>
                      <a:pt x="340" y="386"/>
                    </a:lnTo>
                    <a:lnTo>
                      <a:pt x="340" y="388"/>
                    </a:lnTo>
                    <a:lnTo>
                      <a:pt x="338" y="388"/>
                    </a:lnTo>
                    <a:lnTo>
                      <a:pt x="338" y="386"/>
                    </a:lnTo>
                    <a:lnTo>
                      <a:pt x="337" y="386"/>
                    </a:lnTo>
                    <a:lnTo>
                      <a:pt x="338" y="384"/>
                    </a:lnTo>
                    <a:lnTo>
                      <a:pt x="338" y="386"/>
                    </a:lnTo>
                    <a:lnTo>
                      <a:pt x="338" y="384"/>
                    </a:lnTo>
                    <a:lnTo>
                      <a:pt x="337" y="384"/>
                    </a:lnTo>
                    <a:lnTo>
                      <a:pt x="338" y="382"/>
                    </a:lnTo>
                    <a:lnTo>
                      <a:pt x="338" y="384"/>
                    </a:lnTo>
                    <a:lnTo>
                      <a:pt x="338" y="382"/>
                    </a:lnTo>
                    <a:lnTo>
                      <a:pt x="338" y="380"/>
                    </a:lnTo>
                    <a:lnTo>
                      <a:pt x="338" y="382"/>
                    </a:lnTo>
                    <a:lnTo>
                      <a:pt x="338" y="380"/>
                    </a:lnTo>
                    <a:lnTo>
                      <a:pt x="340" y="380"/>
                    </a:lnTo>
                    <a:lnTo>
                      <a:pt x="338" y="380"/>
                    </a:lnTo>
                    <a:lnTo>
                      <a:pt x="340" y="378"/>
                    </a:lnTo>
                    <a:lnTo>
                      <a:pt x="338" y="378"/>
                    </a:lnTo>
                    <a:lnTo>
                      <a:pt x="337" y="378"/>
                    </a:lnTo>
                    <a:lnTo>
                      <a:pt x="338" y="378"/>
                    </a:lnTo>
                    <a:lnTo>
                      <a:pt x="338" y="377"/>
                    </a:lnTo>
                    <a:lnTo>
                      <a:pt x="338" y="375"/>
                    </a:lnTo>
                    <a:lnTo>
                      <a:pt x="337" y="375"/>
                    </a:lnTo>
                    <a:lnTo>
                      <a:pt x="337" y="373"/>
                    </a:lnTo>
                    <a:lnTo>
                      <a:pt x="338" y="373"/>
                    </a:lnTo>
                    <a:lnTo>
                      <a:pt x="338" y="371"/>
                    </a:lnTo>
                    <a:lnTo>
                      <a:pt x="340" y="371"/>
                    </a:lnTo>
                    <a:lnTo>
                      <a:pt x="340" y="369"/>
                    </a:lnTo>
                    <a:lnTo>
                      <a:pt x="340" y="367"/>
                    </a:lnTo>
                    <a:lnTo>
                      <a:pt x="342" y="369"/>
                    </a:lnTo>
                    <a:lnTo>
                      <a:pt x="342" y="371"/>
                    </a:lnTo>
                    <a:lnTo>
                      <a:pt x="340" y="371"/>
                    </a:lnTo>
                    <a:lnTo>
                      <a:pt x="342" y="371"/>
                    </a:lnTo>
                    <a:lnTo>
                      <a:pt x="340" y="371"/>
                    </a:lnTo>
                    <a:lnTo>
                      <a:pt x="340" y="373"/>
                    </a:lnTo>
                    <a:lnTo>
                      <a:pt x="338" y="373"/>
                    </a:lnTo>
                    <a:lnTo>
                      <a:pt x="340" y="373"/>
                    </a:lnTo>
                    <a:lnTo>
                      <a:pt x="338" y="373"/>
                    </a:lnTo>
                    <a:lnTo>
                      <a:pt x="340" y="373"/>
                    </a:lnTo>
                    <a:lnTo>
                      <a:pt x="342" y="371"/>
                    </a:lnTo>
                    <a:lnTo>
                      <a:pt x="342" y="373"/>
                    </a:lnTo>
                    <a:lnTo>
                      <a:pt x="342" y="375"/>
                    </a:lnTo>
                    <a:lnTo>
                      <a:pt x="342" y="373"/>
                    </a:lnTo>
                    <a:lnTo>
                      <a:pt x="344" y="373"/>
                    </a:lnTo>
                    <a:lnTo>
                      <a:pt x="342" y="373"/>
                    </a:lnTo>
                    <a:lnTo>
                      <a:pt x="342" y="371"/>
                    </a:lnTo>
                    <a:lnTo>
                      <a:pt x="342" y="369"/>
                    </a:lnTo>
                    <a:lnTo>
                      <a:pt x="342" y="367"/>
                    </a:lnTo>
                    <a:lnTo>
                      <a:pt x="342" y="365"/>
                    </a:lnTo>
                    <a:lnTo>
                      <a:pt x="344" y="363"/>
                    </a:lnTo>
                    <a:lnTo>
                      <a:pt x="344" y="365"/>
                    </a:lnTo>
                    <a:lnTo>
                      <a:pt x="342" y="365"/>
                    </a:lnTo>
                    <a:lnTo>
                      <a:pt x="344" y="365"/>
                    </a:lnTo>
                    <a:lnTo>
                      <a:pt x="344" y="363"/>
                    </a:lnTo>
                    <a:lnTo>
                      <a:pt x="346" y="363"/>
                    </a:lnTo>
                    <a:lnTo>
                      <a:pt x="346" y="361"/>
                    </a:lnTo>
                    <a:lnTo>
                      <a:pt x="348" y="361"/>
                    </a:lnTo>
                    <a:lnTo>
                      <a:pt x="348" y="359"/>
                    </a:lnTo>
                    <a:lnTo>
                      <a:pt x="348" y="361"/>
                    </a:lnTo>
                    <a:lnTo>
                      <a:pt x="348" y="363"/>
                    </a:lnTo>
                    <a:lnTo>
                      <a:pt x="348" y="361"/>
                    </a:lnTo>
                    <a:close/>
                    <a:moveTo>
                      <a:pt x="511" y="248"/>
                    </a:moveTo>
                    <a:lnTo>
                      <a:pt x="511" y="250"/>
                    </a:lnTo>
                    <a:lnTo>
                      <a:pt x="511" y="248"/>
                    </a:lnTo>
                    <a:lnTo>
                      <a:pt x="511" y="250"/>
                    </a:lnTo>
                    <a:lnTo>
                      <a:pt x="513" y="250"/>
                    </a:lnTo>
                    <a:lnTo>
                      <a:pt x="511" y="250"/>
                    </a:lnTo>
                    <a:lnTo>
                      <a:pt x="511" y="252"/>
                    </a:lnTo>
                    <a:lnTo>
                      <a:pt x="511" y="250"/>
                    </a:lnTo>
                    <a:lnTo>
                      <a:pt x="511" y="252"/>
                    </a:lnTo>
                    <a:lnTo>
                      <a:pt x="509" y="252"/>
                    </a:lnTo>
                    <a:lnTo>
                      <a:pt x="507" y="252"/>
                    </a:lnTo>
                    <a:lnTo>
                      <a:pt x="507" y="250"/>
                    </a:lnTo>
                    <a:lnTo>
                      <a:pt x="506" y="250"/>
                    </a:lnTo>
                    <a:lnTo>
                      <a:pt x="504" y="250"/>
                    </a:lnTo>
                    <a:lnTo>
                      <a:pt x="502" y="250"/>
                    </a:lnTo>
                    <a:lnTo>
                      <a:pt x="500" y="250"/>
                    </a:lnTo>
                    <a:lnTo>
                      <a:pt x="500" y="248"/>
                    </a:lnTo>
                    <a:lnTo>
                      <a:pt x="498" y="248"/>
                    </a:lnTo>
                    <a:lnTo>
                      <a:pt x="498" y="246"/>
                    </a:lnTo>
                    <a:lnTo>
                      <a:pt x="496" y="246"/>
                    </a:lnTo>
                    <a:lnTo>
                      <a:pt x="494" y="246"/>
                    </a:lnTo>
                    <a:lnTo>
                      <a:pt x="494" y="244"/>
                    </a:lnTo>
                    <a:lnTo>
                      <a:pt x="492" y="244"/>
                    </a:lnTo>
                    <a:lnTo>
                      <a:pt x="492" y="246"/>
                    </a:lnTo>
                    <a:lnTo>
                      <a:pt x="494" y="246"/>
                    </a:lnTo>
                    <a:lnTo>
                      <a:pt x="492" y="246"/>
                    </a:lnTo>
                    <a:lnTo>
                      <a:pt x="490" y="246"/>
                    </a:lnTo>
                    <a:lnTo>
                      <a:pt x="490" y="244"/>
                    </a:lnTo>
                    <a:lnTo>
                      <a:pt x="490" y="242"/>
                    </a:lnTo>
                    <a:lnTo>
                      <a:pt x="488" y="242"/>
                    </a:lnTo>
                    <a:lnTo>
                      <a:pt x="490" y="242"/>
                    </a:lnTo>
                    <a:lnTo>
                      <a:pt x="488" y="242"/>
                    </a:lnTo>
                    <a:lnTo>
                      <a:pt x="490" y="242"/>
                    </a:lnTo>
                    <a:lnTo>
                      <a:pt x="492" y="242"/>
                    </a:lnTo>
                    <a:lnTo>
                      <a:pt x="494" y="242"/>
                    </a:lnTo>
                    <a:lnTo>
                      <a:pt x="496" y="242"/>
                    </a:lnTo>
                    <a:lnTo>
                      <a:pt x="498" y="242"/>
                    </a:lnTo>
                    <a:lnTo>
                      <a:pt x="500" y="244"/>
                    </a:lnTo>
                    <a:lnTo>
                      <a:pt x="502" y="244"/>
                    </a:lnTo>
                    <a:lnTo>
                      <a:pt x="504" y="244"/>
                    </a:lnTo>
                    <a:lnTo>
                      <a:pt x="506" y="244"/>
                    </a:lnTo>
                    <a:lnTo>
                      <a:pt x="506" y="246"/>
                    </a:lnTo>
                    <a:lnTo>
                      <a:pt x="507" y="246"/>
                    </a:lnTo>
                    <a:lnTo>
                      <a:pt x="509" y="248"/>
                    </a:lnTo>
                    <a:lnTo>
                      <a:pt x="511" y="248"/>
                    </a:lnTo>
                    <a:close/>
                    <a:moveTo>
                      <a:pt x="600" y="196"/>
                    </a:moveTo>
                    <a:lnTo>
                      <a:pt x="600" y="198"/>
                    </a:lnTo>
                    <a:lnTo>
                      <a:pt x="602" y="198"/>
                    </a:lnTo>
                    <a:lnTo>
                      <a:pt x="602" y="200"/>
                    </a:lnTo>
                    <a:lnTo>
                      <a:pt x="602" y="198"/>
                    </a:lnTo>
                    <a:lnTo>
                      <a:pt x="602" y="200"/>
                    </a:lnTo>
                    <a:lnTo>
                      <a:pt x="602" y="202"/>
                    </a:lnTo>
                    <a:lnTo>
                      <a:pt x="602" y="204"/>
                    </a:lnTo>
                    <a:lnTo>
                      <a:pt x="600" y="205"/>
                    </a:lnTo>
                    <a:lnTo>
                      <a:pt x="598" y="205"/>
                    </a:lnTo>
                    <a:lnTo>
                      <a:pt x="598" y="207"/>
                    </a:lnTo>
                    <a:lnTo>
                      <a:pt x="596" y="207"/>
                    </a:lnTo>
                    <a:lnTo>
                      <a:pt x="596" y="209"/>
                    </a:lnTo>
                    <a:lnTo>
                      <a:pt x="594" y="209"/>
                    </a:lnTo>
                    <a:lnTo>
                      <a:pt x="594" y="211"/>
                    </a:lnTo>
                    <a:lnTo>
                      <a:pt x="592" y="211"/>
                    </a:lnTo>
                    <a:lnTo>
                      <a:pt x="590" y="211"/>
                    </a:lnTo>
                    <a:lnTo>
                      <a:pt x="590" y="209"/>
                    </a:lnTo>
                    <a:lnTo>
                      <a:pt x="588" y="209"/>
                    </a:lnTo>
                    <a:lnTo>
                      <a:pt x="586" y="209"/>
                    </a:lnTo>
                    <a:lnTo>
                      <a:pt x="586" y="207"/>
                    </a:lnTo>
                    <a:lnTo>
                      <a:pt x="586" y="209"/>
                    </a:lnTo>
                    <a:lnTo>
                      <a:pt x="586" y="207"/>
                    </a:lnTo>
                    <a:lnTo>
                      <a:pt x="586" y="209"/>
                    </a:lnTo>
                    <a:lnTo>
                      <a:pt x="588" y="209"/>
                    </a:lnTo>
                    <a:lnTo>
                      <a:pt x="586" y="209"/>
                    </a:lnTo>
                    <a:lnTo>
                      <a:pt x="584" y="207"/>
                    </a:lnTo>
                    <a:lnTo>
                      <a:pt x="582" y="205"/>
                    </a:lnTo>
                    <a:lnTo>
                      <a:pt x="582" y="204"/>
                    </a:lnTo>
                    <a:lnTo>
                      <a:pt x="582" y="202"/>
                    </a:lnTo>
                    <a:lnTo>
                      <a:pt x="582" y="200"/>
                    </a:lnTo>
                    <a:lnTo>
                      <a:pt x="582" y="198"/>
                    </a:lnTo>
                    <a:lnTo>
                      <a:pt x="584" y="196"/>
                    </a:lnTo>
                    <a:lnTo>
                      <a:pt x="586" y="196"/>
                    </a:lnTo>
                    <a:lnTo>
                      <a:pt x="588" y="194"/>
                    </a:lnTo>
                    <a:lnTo>
                      <a:pt x="590" y="192"/>
                    </a:lnTo>
                    <a:lnTo>
                      <a:pt x="592" y="192"/>
                    </a:lnTo>
                    <a:lnTo>
                      <a:pt x="594" y="192"/>
                    </a:lnTo>
                    <a:lnTo>
                      <a:pt x="596" y="190"/>
                    </a:lnTo>
                    <a:lnTo>
                      <a:pt x="596" y="192"/>
                    </a:lnTo>
                    <a:lnTo>
                      <a:pt x="598" y="192"/>
                    </a:lnTo>
                    <a:lnTo>
                      <a:pt x="596" y="192"/>
                    </a:lnTo>
                    <a:lnTo>
                      <a:pt x="598" y="192"/>
                    </a:lnTo>
                    <a:lnTo>
                      <a:pt x="600" y="192"/>
                    </a:lnTo>
                    <a:lnTo>
                      <a:pt x="600" y="194"/>
                    </a:lnTo>
                    <a:lnTo>
                      <a:pt x="600" y="196"/>
                    </a:lnTo>
                    <a:close/>
                    <a:moveTo>
                      <a:pt x="10" y="369"/>
                    </a:moveTo>
                    <a:lnTo>
                      <a:pt x="12" y="369"/>
                    </a:lnTo>
                    <a:lnTo>
                      <a:pt x="14" y="369"/>
                    </a:lnTo>
                    <a:lnTo>
                      <a:pt x="16" y="369"/>
                    </a:lnTo>
                    <a:lnTo>
                      <a:pt x="18" y="369"/>
                    </a:lnTo>
                    <a:lnTo>
                      <a:pt x="18" y="371"/>
                    </a:lnTo>
                    <a:lnTo>
                      <a:pt x="18" y="369"/>
                    </a:lnTo>
                    <a:lnTo>
                      <a:pt x="20" y="369"/>
                    </a:lnTo>
                    <a:lnTo>
                      <a:pt x="21" y="369"/>
                    </a:lnTo>
                    <a:lnTo>
                      <a:pt x="25" y="369"/>
                    </a:lnTo>
                    <a:lnTo>
                      <a:pt x="27" y="369"/>
                    </a:lnTo>
                    <a:lnTo>
                      <a:pt x="31" y="369"/>
                    </a:lnTo>
                    <a:lnTo>
                      <a:pt x="35" y="369"/>
                    </a:lnTo>
                    <a:lnTo>
                      <a:pt x="37" y="369"/>
                    </a:lnTo>
                    <a:lnTo>
                      <a:pt x="37" y="371"/>
                    </a:lnTo>
                    <a:lnTo>
                      <a:pt x="39" y="371"/>
                    </a:lnTo>
                    <a:lnTo>
                      <a:pt x="37" y="369"/>
                    </a:lnTo>
                    <a:lnTo>
                      <a:pt x="39" y="369"/>
                    </a:lnTo>
                    <a:lnTo>
                      <a:pt x="39" y="371"/>
                    </a:lnTo>
                    <a:lnTo>
                      <a:pt x="41" y="371"/>
                    </a:lnTo>
                    <a:lnTo>
                      <a:pt x="41" y="373"/>
                    </a:lnTo>
                    <a:lnTo>
                      <a:pt x="41" y="371"/>
                    </a:lnTo>
                    <a:lnTo>
                      <a:pt x="41" y="373"/>
                    </a:lnTo>
                    <a:lnTo>
                      <a:pt x="39" y="373"/>
                    </a:lnTo>
                    <a:lnTo>
                      <a:pt x="41" y="373"/>
                    </a:lnTo>
                    <a:lnTo>
                      <a:pt x="41" y="375"/>
                    </a:lnTo>
                    <a:lnTo>
                      <a:pt x="41" y="377"/>
                    </a:lnTo>
                    <a:lnTo>
                      <a:pt x="39" y="377"/>
                    </a:lnTo>
                    <a:lnTo>
                      <a:pt x="41" y="377"/>
                    </a:lnTo>
                    <a:lnTo>
                      <a:pt x="39" y="377"/>
                    </a:lnTo>
                    <a:lnTo>
                      <a:pt x="39" y="378"/>
                    </a:lnTo>
                    <a:lnTo>
                      <a:pt x="39" y="377"/>
                    </a:lnTo>
                    <a:lnTo>
                      <a:pt x="39" y="378"/>
                    </a:lnTo>
                    <a:lnTo>
                      <a:pt x="39" y="377"/>
                    </a:lnTo>
                    <a:lnTo>
                      <a:pt x="39" y="378"/>
                    </a:lnTo>
                    <a:lnTo>
                      <a:pt x="37" y="378"/>
                    </a:lnTo>
                    <a:lnTo>
                      <a:pt x="39" y="378"/>
                    </a:lnTo>
                    <a:lnTo>
                      <a:pt x="39" y="380"/>
                    </a:lnTo>
                    <a:lnTo>
                      <a:pt x="37" y="382"/>
                    </a:lnTo>
                    <a:lnTo>
                      <a:pt x="37" y="384"/>
                    </a:lnTo>
                    <a:lnTo>
                      <a:pt x="37" y="382"/>
                    </a:lnTo>
                    <a:lnTo>
                      <a:pt x="35" y="384"/>
                    </a:lnTo>
                    <a:lnTo>
                      <a:pt x="33" y="384"/>
                    </a:lnTo>
                    <a:lnTo>
                      <a:pt x="33" y="386"/>
                    </a:lnTo>
                    <a:lnTo>
                      <a:pt x="31" y="388"/>
                    </a:lnTo>
                    <a:lnTo>
                      <a:pt x="31" y="390"/>
                    </a:lnTo>
                    <a:lnTo>
                      <a:pt x="29" y="390"/>
                    </a:lnTo>
                    <a:lnTo>
                      <a:pt x="27" y="390"/>
                    </a:lnTo>
                    <a:lnTo>
                      <a:pt x="25" y="390"/>
                    </a:lnTo>
                    <a:lnTo>
                      <a:pt x="23" y="390"/>
                    </a:lnTo>
                    <a:lnTo>
                      <a:pt x="21" y="390"/>
                    </a:lnTo>
                    <a:lnTo>
                      <a:pt x="20" y="390"/>
                    </a:lnTo>
                    <a:lnTo>
                      <a:pt x="18" y="390"/>
                    </a:lnTo>
                    <a:lnTo>
                      <a:pt x="16" y="390"/>
                    </a:lnTo>
                    <a:lnTo>
                      <a:pt x="14" y="388"/>
                    </a:lnTo>
                    <a:lnTo>
                      <a:pt x="12" y="388"/>
                    </a:lnTo>
                    <a:lnTo>
                      <a:pt x="12" y="386"/>
                    </a:lnTo>
                    <a:lnTo>
                      <a:pt x="8" y="386"/>
                    </a:lnTo>
                    <a:lnTo>
                      <a:pt x="6" y="386"/>
                    </a:lnTo>
                    <a:lnTo>
                      <a:pt x="4" y="386"/>
                    </a:lnTo>
                    <a:lnTo>
                      <a:pt x="2" y="386"/>
                    </a:lnTo>
                    <a:lnTo>
                      <a:pt x="2" y="384"/>
                    </a:lnTo>
                    <a:lnTo>
                      <a:pt x="0" y="384"/>
                    </a:lnTo>
                    <a:lnTo>
                      <a:pt x="0" y="382"/>
                    </a:lnTo>
                    <a:lnTo>
                      <a:pt x="2" y="382"/>
                    </a:lnTo>
                    <a:lnTo>
                      <a:pt x="2" y="380"/>
                    </a:lnTo>
                    <a:lnTo>
                      <a:pt x="4" y="380"/>
                    </a:lnTo>
                    <a:lnTo>
                      <a:pt x="6" y="380"/>
                    </a:lnTo>
                    <a:lnTo>
                      <a:pt x="8" y="380"/>
                    </a:lnTo>
                    <a:lnTo>
                      <a:pt x="10" y="380"/>
                    </a:lnTo>
                    <a:lnTo>
                      <a:pt x="12" y="378"/>
                    </a:lnTo>
                    <a:lnTo>
                      <a:pt x="10" y="378"/>
                    </a:lnTo>
                    <a:lnTo>
                      <a:pt x="12" y="378"/>
                    </a:lnTo>
                    <a:lnTo>
                      <a:pt x="10" y="378"/>
                    </a:lnTo>
                    <a:lnTo>
                      <a:pt x="12" y="377"/>
                    </a:lnTo>
                    <a:lnTo>
                      <a:pt x="12" y="375"/>
                    </a:lnTo>
                    <a:lnTo>
                      <a:pt x="12" y="377"/>
                    </a:lnTo>
                    <a:lnTo>
                      <a:pt x="10" y="375"/>
                    </a:lnTo>
                    <a:lnTo>
                      <a:pt x="12" y="375"/>
                    </a:lnTo>
                    <a:lnTo>
                      <a:pt x="10" y="375"/>
                    </a:lnTo>
                    <a:lnTo>
                      <a:pt x="10" y="377"/>
                    </a:lnTo>
                    <a:lnTo>
                      <a:pt x="10" y="375"/>
                    </a:lnTo>
                    <a:lnTo>
                      <a:pt x="10" y="373"/>
                    </a:lnTo>
                    <a:lnTo>
                      <a:pt x="10" y="371"/>
                    </a:lnTo>
                    <a:lnTo>
                      <a:pt x="10" y="369"/>
                    </a:lnTo>
                    <a:close/>
                    <a:moveTo>
                      <a:pt x="461" y="165"/>
                    </a:moveTo>
                    <a:lnTo>
                      <a:pt x="461" y="167"/>
                    </a:lnTo>
                    <a:lnTo>
                      <a:pt x="463" y="167"/>
                    </a:lnTo>
                    <a:lnTo>
                      <a:pt x="465" y="169"/>
                    </a:lnTo>
                    <a:lnTo>
                      <a:pt x="467" y="171"/>
                    </a:lnTo>
                    <a:lnTo>
                      <a:pt x="469" y="171"/>
                    </a:lnTo>
                    <a:lnTo>
                      <a:pt x="471" y="173"/>
                    </a:lnTo>
                    <a:lnTo>
                      <a:pt x="473" y="173"/>
                    </a:lnTo>
                    <a:lnTo>
                      <a:pt x="475" y="173"/>
                    </a:lnTo>
                    <a:lnTo>
                      <a:pt x="477" y="173"/>
                    </a:lnTo>
                    <a:lnTo>
                      <a:pt x="475" y="173"/>
                    </a:lnTo>
                    <a:lnTo>
                      <a:pt x="475" y="175"/>
                    </a:lnTo>
                    <a:lnTo>
                      <a:pt x="475" y="177"/>
                    </a:lnTo>
                    <a:lnTo>
                      <a:pt x="475" y="179"/>
                    </a:lnTo>
                    <a:lnTo>
                      <a:pt x="473" y="179"/>
                    </a:lnTo>
                    <a:lnTo>
                      <a:pt x="475" y="179"/>
                    </a:lnTo>
                    <a:lnTo>
                      <a:pt x="473" y="180"/>
                    </a:lnTo>
                    <a:lnTo>
                      <a:pt x="475" y="180"/>
                    </a:lnTo>
                    <a:lnTo>
                      <a:pt x="475" y="182"/>
                    </a:lnTo>
                    <a:lnTo>
                      <a:pt x="477" y="182"/>
                    </a:lnTo>
                    <a:lnTo>
                      <a:pt x="475" y="182"/>
                    </a:lnTo>
                    <a:lnTo>
                      <a:pt x="475" y="184"/>
                    </a:lnTo>
                    <a:lnTo>
                      <a:pt x="475" y="186"/>
                    </a:lnTo>
                    <a:lnTo>
                      <a:pt x="473" y="186"/>
                    </a:lnTo>
                    <a:lnTo>
                      <a:pt x="475" y="186"/>
                    </a:lnTo>
                    <a:lnTo>
                      <a:pt x="473" y="188"/>
                    </a:lnTo>
                    <a:lnTo>
                      <a:pt x="471" y="188"/>
                    </a:lnTo>
                    <a:lnTo>
                      <a:pt x="469" y="188"/>
                    </a:lnTo>
                    <a:lnTo>
                      <a:pt x="469" y="190"/>
                    </a:lnTo>
                    <a:lnTo>
                      <a:pt x="467" y="190"/>
                    </a:lnTo>
                    <a:lnTo>
                      <a:pt x="467" y="188"/>
                    </a:lnTo>
                    <a:lnTo>
                      <a:pt x="467" y="186"/>
                    </a:lnTo>
                    <a:lnTo>
                      <a:pt x="465" y="186"/>
                    </a:lnTo>
                    <a:lnTo>
                      <a:pt x="467" y="186"/>
                    </a:lnTo>
                    <a:lnTo>
                      <a:pt x="467" y="184"/>
                    </a:lnTo>
                    <a:lnTo>
                      <a:pt x="467" y="182"/>
                    </a:lnTo>
                    <a:lnTo>
                      <a:pt x="467" y="180"/>
                    </a:lnTo>
                    <a:lnTo>
                      <a:pt x="465" y="180"/>
                    </a:lnTo>
                    <a:lnTo>
                      <a:pt x="467" y="180"/>
                    </a:lnTo>
                    <a:lnTo>
                      <a:pt x="465" y="180"/>
                    </a:lnTo>
                    <a:lnTo>
                      <a:pt x="465" y="179"/>
                    </a:lnTo>
                    <a:lnTo>
                      <a:pt x="465" y="177"/>
                    </a:lnTo>
                    <a:lnTo>
                      <a:pt x="463" y="177"/>
                    </a:lnTo>
                    <a:lnTo>
                      <a:pt x="463" y="175"/>
                    </a:lnTo>
                    <a:lnTo>
                      <a:pt x="463" y="173"/>
                    </a:lnTo>
                    <a:lnTo>
                      <a:pt x="463" y="171"/>
                    </a:lnTo>
                    <a:lnTo>
                      <a:pt x="463" y="169"/>
                    </a:lnTo>
                    <a:lnTo>
                      <a:pt x="463" y="167"/>
                    </a:lnTo>
                    <a:lnTo>
                      <a:pt x="461" y="167"/>
                    </a:lnTo>
                    <a:lnTo>
                      <a:pt x="461" y="165"/>
                    </a:lnTo>
                    <a:close/>
                    <a:moveTo>
                      <a:pt x="688" y="0"/>
                    </a:moveTo>
                    <a:lnTo>
                      <a:pt x="688" y="2"/>
                    </a:lnTo>
                    <a:lnTo>
                      <a:pt x="686" y="2"/>
                    </a:lnTo>
                    <a:lnTo>
                      <a:pt x="686" y="4"/>
                    </a:lnTo>
                    <a:lnTo>
                      <a:pt x="686" y="6"/>
                    </a:lnTo>
                    <a:lnTo>
                      <a:pt x="688" y="6"/>
                    </a:lnTo>
                    <a:lnTo>
                      <a:pt x="688" y="7"/>
                    </a:lnTo>
                    <a:lnTo>
                      <a:pt x="686" y="7"/>
                    </a:lnTo>
                    <a:lnTo>
                      <a:pt x="684" y="7"/>
                    </a:lnTo>
                    <a:lnTo>
                      <a:pt x="682" y="7"/>
                    </a:lnTo>
                    <a:lnTo>
                      <a:pt x="682" y="9"/>
                    </a:lnTo>
                    <a:lnTo>
                      <a:pt x="680" y="11"/>
                    </a:lnTo>
                    <a:lnTo>
                      <a:pt x="678" y="11"/>
                    </a:lnTo>
                    <a:lnTo>
                      <a:pt x="677" y="13"/>
                    </a:lnTo>
                    <a:lnTo>
                      <a:pt x="675" y="13"/>
                    </a:lnTo>
                    <a:lnTo>
                      <a:pt x="675" y="11"/>
                    </a:lnTo>
                    <a:lnTo>
                      <a:pt x="677" y="11"/>
                    </a:lnTo>
                    <a:lnTo>
                      <a:pt x="677" y="9"/>
                    </a:lnTo>
                    <a:lnTo>
                      <a:pt x="678" y="9"/>
                    </a:lnTo>
                    <a:lnTo>
                      <a:pt x="678" y="7"/>
                    </a:lnTo>
                    <a:lnTo>
                      <a:pt x="684" y="2"/>
                    </a:lnTo>
                    <a:lnTo>
                      <a:pt x="686" y="2"/>
                    </a:lnTo>
                    <a:lnTo>
                      <a:pt x="688" y="0"/>
                    </a:lnTo>
                    <a:lnTo>
                      <a:pt x="690" y="0"/>
                    </a:lnTo>
                    <a:lnTo>
                      <a:pt x="688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106">
                <a:extLst>
                  <a:ext uri="{FF2B5EF4-FFF2-40B4-BE49-F238E27FC236}">
                    <a16:creationId xmlns="" xmlns:a16="http://schemas.microsoft.com/office/drawing/2014/main" id="{A66E2355-3E56-4D8C-9989-FAC2928C16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76850" y="2019301"/>
                <a:ext cx="2024063" cy="2076450"/>
              </a:xfrm>
              <a:custGeom>
                <a:avLst/>
                <a:gdLst>
                  <a:gd name="T0" fmla="*/ 1195 w 1275"/>
                  <a:gd name="T1" fmla="*/ 145 h 1308"/>
                  <a:gd name="T2" fmla="*/ 1237 w 1275"/>
                  <a:gd name="T3" fmla="*/ 97 h 1308"/>
                  <a:gd name="T4" fmla="*/ 916 w 1275"/>
                  <a:gd name="T5" fmla="*/ 168 h 1308"/>
                  <a:gd name="T6" fmla="*/ 939 w 1275"/>
                  <a:gd name="T7" fmla="*/ 112 h 1308"/>
                  <a:gd name="T8" fmla="*/ 620 w 1275"/>
                  <a:gd name="T9" fmla="*/ 275 h 1308"/>
                  <a:gd name="T10" fmla="*/ 273 w 1275"/>
                  <a:gd name="T11" fmla="*/ 300 h 1308"/>
                  <a:gd name="T12" fmla="*/ 140 w 1275"/>
                  <a:gd name="T13" fmla="*/ 329 h 1308"/>
                  <a:gd name="T14" fmla="*/ 169 w 1275"/>
                  <a:gd name="T15" fmla="*/ 293 h 1308"/>
                  <a:gd name="T16" fmla="*/ 299 w 1275"/>
                  <a:gd name="T17" fmla="*/ 308 h 1308"/>
                  <a:gd name="T18" fmla="*/ 365 w 1275"/>
                  <a:gd name="T19" fmla="*/ 421 h 1308"/>
                  <a:gd name="T20" fmla="*/ 390 w 1275"/>
                  <a:gd name="T21" fmla="*/ 298 h 1308"/>
                  <a:gd name="T22" fmla="*/ 422 w 1275"/>
                  <a:gd name="T23" fmla="*/ 460 h 1308"/>
                  <a:gd name="T24" fmla="*/ 401 w 1275"/>
                  <a:gd name="T25" fmla="*/ 564 h 1308"/>
                  <a:gd name="T26" fmla="*/ 451 w 1275"/>
                  <a:gd name="T27" fmla="*/ 631 h 1308"/>
                  <a:gd name="T28" fmla="*/ 565 w 1275"/>
                  <a:gd name="T29" fmla="*/ 750 h 1308"/>
                  <a:gd name="T30" fmla="*/ 568 w 1275"/>
                  <a:gd name="T31" fmla="*/ 781 h 1308"/>
                  <a:gd name="T32" fmla="*/ 538 w 1275"/>
                  <a:gd name="T33" fmla="*/ 731 h 1308"/>
                  <a:gd name="T34" fmla="*/ 524 w 1275"/>
                  <a:gd name="T35" fmla="*/ 666 h 1308"/>
                  <a:gd name="T36" fmla="*/ 449 w 1275"/>
                  <a:gd name="T37" fmla="*/ 602 h 1308"/>
                  <a:gd name="T38" fmla="*/ 490 w 1275"/>
                  <a:gd name="T39" fmla="*/ 548 h 1308"/>
                  <a:gd name="T40" fmla="*/ 518 w 1275"/>
                  <a:gd name="T41" fmla="*/ 481 h 1308"/>
                  <a:gd name="T42" fmla="*/ 451 w 1275"/>
                  <a:gd name="T43" fmla="*/ 468 h 1308"/>
                  <a:gd name="T44" fmla="*/ 457 w 1275"/>
                  <a:gd name="T45" fmla="*/ 333 h 1308"/>
                  <a:gd name="T46" fmla="*/ 522 w 1275"/>
                  <a:gd name="T47" fmla="*/ 343 h 1308"/>
                  <a:gd name="T48" fmla="*/ 605 w 1275"/>
                  <a:gd name="T49" fmla="*/ 366 h 1308"/>
                  <a:gd name="T50" fmla="*/ 605 w 1275"/>
                  <a:gd name="T51" fmla="*/ 287 h 1308"/>
                  <a:gd name="T52" fmla="*/ 666 w 1275"/>
                  <a:gd name="T53" fmla="*/ 348 h 1308"/>
                  <a:gd name="T54" fmla="*/ 676 w 1275"/>
                  <a:gd name="T55" fmla="*/ 427 h 1308"/>
                  <a:gd name="T56" fmla="*/ 664 w 1275"/>
                  <a:gd name="T57" fmla="*/ 364 h 1308"/>
                  <a:gd name="T58" fmla="*/ 657 w 1275"/>
                  <a:gd name="T59" fmla="*/ 279 h 1308"/>
                  <a:gd name="T60" fmla="*/ 689 w 1275"/>
                  <a:gd name="T61" fmla="*/ 268 h 1308"/>
                  <a:gd name="T62" fmla="*/ 718 w 1275"/>
                  <a:gd name="T63" fmla="*/ 222 h 1308"/>
                  <a:gd name="T64" fmla="*/ 716 w 1275"/>
                  <a:gd name="T65" fmla="*/ 158 h 1308"/>
                  <a:gd name="T66" fmla="*/ 799 w 1275"/>
                  <a:gd name="T67" fmla="*/ 147 h 1308"/>
                  <a:gd name="T68" fmla="*/ 820 w 1275"/>
                  <a:gd name="T69" fmla="*/ 193 h 1308"/>
                  <a:gd name="T70" fmla="*/ 903 w 1275"/>
                  <a:gd name="T71" fmla="*/ 102 h 1308"/>
                  <a:gd name="T72" fmla="*/ 905 w 1275"/>
                  <a:gd name="T73" fmla="*/ 177 h 1308"/>
                  <a:gd name="T74" fmla="*/ 951 w 1275"/>
                  <a:gd name="T75" fmla="*/ 271 h 1308"/>
                  <a:gd name="T76" fmla="*/ 885 w 1275"/>
                  <a:gd name="T77" fmla="*/ 337 h 1308"/>
                  <a:gd name="T78" fmla="*/ 891 w 1275"/>
                  <a:gd name="T79" fmla="*/ 371 h 1308"/>
                  <a:gd name="T80" fmla="*/ 926 w 1275"/>
                  <a:gd name="T81" fmla="*/ 454 h 1308"/>
                  <a:gd name="T82" fmla="*/ 983 w 1275"/>
                  <a:gd name="T83" fmla="*/ 543 h 1308"/>
                  <a:gd name="T84" fmla="*/ 889 w 1275"/>
                  <a:gd name="T85" fmla="*/ 416 h 1308"/>
                  <a:gd name="T86" fmla="*/ 947 w 1275"/>
                  <a:gd name="T87" fmla="*/ 289 h 1308"/>
                  <a:gd name="T88" fmla="*/ 941 w 1275"/>
                  <a:gd name="T89" fmla="*/ 145 h 1308"/>
                  <a:gd name="T90" fmla="*/ 999 w 1275"/>
                  <a:gd name="T91" fmla="*/ 112 h 1308"/>
                  <a:gd name="T92" fmla="*/ 1101 w 1275"/>
                  <a:gd name="T93" fmla="*/ 43 h 1308"/>
                  <a:gd name="T94" fmla="*/ 1175 w 1275"/>
                  <a:gd name="T95" fmla="*/ 64 h 1308"/>
                  <a:gd name="T96" fmla="*/ 1195 w 1275"/>
                  <a:gd name="T97" fmla="*/ 116 h 1308"/>
                  <a:gd name="T98" fmla="*/ 1185 w 1275"/>
                  <a:gd name="T99" fmla="*/ 181 h 1308"/>
                  <a:gd name="T100" fmla="*/ 1245 w 1275"/>
                  <a:gd name="T101" fmla="*/ 287 h 1308"/>
                  <a:gd name="T102" fmla="*/ 1106 w 1275"/>
                  <a:gd name="T103" fmla="*/ 496 h 1308"/>
                  <a:gd name="T104" fmla="*/ 1083 w 1275"/>
                  <a:gd name="T105" fmla="*/ 700 h 1308"/>
                  <a:gd name="T106" fmla="*/ 989 w 1275"/>
                  <a:gd name="T107" fmla="*/ 885 h 1308"/>
                  <a:gd name="T108" fmla="*/ 858 w 1275"/>
                  <a:gd name="T109" fmla="*/ 1081 h 1308"/>
                  <a:gd name="T110" fmla="*/ 851 w 1275"/>
                  <a:gd name="T111" fmla="*/ 1258 h 1308"/>
                  <a:gd name="T112" fmla="*/ 582 w 1275"/>
                  <a:gd name="T113" fmla="*/ 1275 h 1308"/>
                  <a:gd name="T114" fmla="*/ 409 w 1275"/>
                  <a:gd name="T115" fmla="*/ 1125 h 1308"/>
                  <a:gd name="T116" fmla="*/ 248 w 1275"/>
                  <a:gd name="T117" fmla="*/ 1171 h 1308"/>
                  <a:gd name="T118" fmla="*/ 140 w 1275"/>
                  <a:gd name="T119" fmla="*/ 979 h 1308"/>
                  <a:gd name="T120" fmla="*/ 27 w 1275"/>
                  <a:gd name="T121" fmla="*/ 829 h 1308"/>
                  <a:gd name="T122" fmla="*/ 75 w 1275"/>
                  <a:gd name="T123" fmla="*/ 494 h 1308"/>
                  <a:gd name="T124" fmla="*/ 94 w 1275"/>
                  <a:gd name="T125" fmla="*/ 304 h 1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75" h="1308">
                    <a:moveTo>
                      <a:pt x="616" y="769"/>
                    </a:moveTo>
                    <a:lnTo>
                      <a:pt x="614" y="769"/>
                    </a:lnTo>
                    <a:lnTo>
                      <a:pt x="616" y="769"/>
                    </a:lnTo>
                    <a:close/>
                    <a:moveTo>
                      <a:pt x="595" y="764"/>
                    </a:moveTo>
                    <a:lnTo>
                      <a:pt x="595" y="766"/>
                    </a:lnTo>
                    <a:lnTo>
                      <a:pt x="597" y="766"/>
                    </a:lnTo>
                    <a:lnTo>
                      <a:pt x="595" y="766"/>
                    </a:lnTo>
                    <a:lnTo>
                      <a:pt x="595" y="764"/>
                    </a:lnTo>
                    <a:lnTo>
                      <a:pt x="597" y="764"/>
                    </a:lnTo>
                    <a:lnTo>
                      <a:pt x="597" y="766"/>
                    </a:lnTo>
                    <a:lnTo>
                      <a:pt x="599" y="766"/>
                    </a:lnTo>
                    <a:lnTo>
                      <a:pt x="599" y="767"/>
                    </a:lnTo>
                    <a:lnTo>
                      <a:pt x="601" y="767"/>
                    </a:lnTo>
                    <a:lnTo>
                      <a:pt x="599" y="767"/>
                    </a:lnTo>
                    <a:lnTo>
                      <a:pt x="597" y="767"/>
                    </a:lnTo>
                    <a:lnTo>
                      <a:pt x="595" y="767"/>
                    </a:lnTo>
                    <a:lnTo>
                      <a:pt x="593" y="767"/>
                    </a:lnTo>
                    <a:lnTo>
                      <a:pt x="593" y="766"/>
                    </a:lnTo>
                    <a:lnTo>
                      <a:pt x="593" y="764"/>
                    </a:lnTo>
                    <a:lnTo>
                      <a:pt x="591" y="764"/>
                    </a:lnTo>
                    <a:lnTo>
                      <a:pt x="593" y="764"/>
                    </a:lnTo>
                    <a:lnTo>
                      <a:pt x="595" y="764"/>
                    </a:lnTo>
                    <a:close/>
                    <a:moveTo>
                      <a:pt x="526" y="733"/>
                    </a:moveTo>
                    <a:lnTo>
                      <a:pt x="526" y="731"/>
                    </a:lnTo>
                    <a:lnTo>
                      <a:pt x="526" y="733"/>
                    </a:lnTo>
                    <a:lnTo>
                      <a:pt x="528" y="733"/>
                    </a:lnTo>
                    <a:lnTo>
                      <a:pt x="528" y="735"/>
                    </a:lnTo>
                    <a:lnTo>
                      <a:pt x="526" y="735"/>
                    </a:lnTo>
                    <a:lnTo>
                      <a:pt x="524" y="733"/>
                    </a:lnTo>
                    <a:lnTo>
                      <a:pt x="522" y="733"/>
                    </a:lnTo>
                    <a:lnTo>
                      <a:pt x="522" y="731"/>
                    </a:lnTo>
                    <a:lnTo>
                      <a:pt x="522" y="733"/>
                    </a:lnTo>
                    <a:lnTo>
                      <a:pt x="524" y="733"/>
                    </a:lnTo>
                    <a:lnTo>
                      <a:pt x="522" y="733"/>
                    </a:lnTo>
                    <a:lnTo>
                      <a:pt x="522" y="731"/>
                    </a:lnTo>
                    <a:lnTo>
                      <a:pt x="524" y="731"/>
                    </a:lnTo>
                    <a:lnTo>
                      <a:pt x="524" y="733"/>
                    </a:lnTo>
                    <a:lnTo>
                      <a:pt x="524" y="731"/>
                    </a:lnTo>
                    <a:lnTo>
                      <a:pt x="526" y="731"/>
                    </a:lnTo>
                    <a:lnTo>
                      <a:pt x="526" y="733"/>
                    </a:lnTo>
                    <a:close/>
                    <a:moveTo>
                      <a:pt x="522" y="725"/>
                    </a:moveTo>
                    <a:lnTo>
                      <a:pt x="522" y="727"/>
                    </a:lnTo>
                    <a:lnTo>
                      <a:pt x="520" y="725"/>
                    </a:lnTo>
                    <a:lnTo>
                      <a:pt x="522" y="725"/>
                    </a:lnTo>
                    <a:lnTo>
                      <a:pt x="520" y="725"/>
                    </a:lnTo>
                    <a:lnTo>
                      <a:pt x="522" y="725"/>
                    </a:lnTo>
                    <a:lnTo>
                      <a:pt x="524" y="725"/>
                    </a:lnTo>
                    <a:lnTo>
                      <a:pt x="524" y="727"/>
                    </a:lnTo>
                    <a:lnTo>
                      <a:pt x="526" y="727"/>
                    </a:lnTo>
                    <a:lnTo>
                      <a:pt x="524" y="727"/>
                    </a:lnTo>
                    <a:lnTo>
                      <a:pt x="524" y="725"/>
                    </a:lnTo>
                    <a:lnTo>
                      <a:pt x="526" y="725"/>
                    </a:lnTo>
                    <a:lnTo>
                      <a:pt x="526" y="727"/>
                    </a:lnTo>
                    <a:lnTo>
                      <a:pt x="526" y="729"/>
                    </a:lnTo>
                    <a:lnTo>
                      <a:pt x="524" y="729"/>
                    </a:lnTo>
                    <a:lnTo>
                      <a:pt x="524" y="727"/>
                    </a:lnTo>
                    <a:lnTo>
                      <a:pt x="522" y="727"/>
                    </a:lnTo>
                    <a:lnTo>
                      <a:pt x="522" y="725"/>
                    </a:lnTo>
                    <a:close/>
                    <a:moveTo>
                      <a:pt x="515" y="725"/>
                    </a:moveTo>
                    <a:lnTo>
                      <a:pt x="513" y="725"/>
                    </a:lnTo>
                    <a:lnTo>
                      <a:pt x="513" y="723"/>
                    </a:lnTo>
                    <a:lnTo>
                      <a:pt x="513" y="721"/>
                    </a:lnTo>
                    <a:lnTo>
                      <a:pt x="513" y="723"/>
                    </a:lnTo>
                    <a:lnTo>
                      <a:pt x="513" y="721"/>
                    </a:lnTo>
                    <a:lnTo>
                      <a:pt x="513" y="723"/>
                    </a:lnTo>
                    <a:lnTo>
                      <a:pt x="515" y="723"/>
                    </a:lnTo>
                    <a:lnTo>
                      <a:pt x="513" y="723"/>
                    </a:lnTo>
                    <a:lnTo>
                      <a:pt x="515" y="723"/>
                    </a:lnTo>
                    <a:lnTo>
                      <a:pt x="515" y="725"/>
                    </a:lnTo>
                    <a:close/>
                    <a:moveTo>
                      <a:pt x="497" y="708"/>
                    </a:moveTo>
                    <a:lnTo>
                      <a:pt x="495" y="708"/>
                    </a:lnTo>
                    <a:lnTo>
                      <a:pt x="497" y="708"/>
                    </a:lnTo>
                    <a:lnTo>
                      <a:pt x="497" y="710"/>
                    </a:lnTo>
                    <a:lnTo>
                      <a:pt x="497" y="712"/>
                    </a:lnTo>
                    <a:lnTo>
                      <a:pt x="499" y="712"/>
                    </a:lnTo>
                    <a:lnTo>
                      <a:pt x="499" y="714"/>
                    </a:lnTo>
                    <a:lnTo>
                      <a:pt x="497" y="714"/>
                    </a:lnTo>
                    <a:lnTo>
                      <a:pt x="497" y="712"/>
                    </a:lnTo>
                    <a:lnTo>
                      <a:pt x="497" y="710"/>
                    </a:lnTo>
                    <a:lnTo>
                      <a:pt x="495" y="708"/>
                    </a:lnTo>
                    <a:lnTo>
                      <a:pt x="497" y="708"/>
                    </a:lnTo>
                    <a:lnTo>
                      <a:pt x="495" y="708"/>
                    </a:lnTo>
                    <a:lnTo>
                      <a:pt x="497" y="708"/>
                    </a:lnTo>
                    <a:close/>
                    <a:moveTo>
                      <a:pt x="951" y="518"/>
                    </a:moveTo>
                    <a:lnTo>
                      <a:pt x="951" y="519"/>
                    </a:lnTo>
                    <a:lnTo>
                      <a:pt x="949" y="519"/>
                    </a:lnTo>
                    <a:lnTo>
                      <a:pt x="949" y="518"/>
                    </a:lnTo>
                    <a:lnTo>
                      <a:pt x="951" y="518"/>
                    </a:lnTo>
                    <a:close/>
                    <a:moveTo>
                      <a:pt x="926" y="454"/>
                    </a:moveTo>
                    <a:lnTo>
                      <a:pt x="928" y="454"/>
                    </a:lnTo>
                    <a:lnTo>
                      <a:pt x="926" y="454"/>
                    </a:lnTo>
                    <a:lnTo>
                      <a:pt x="928" y="454"/>
                    </a:lnTo>
                    <a:lnTo>
                      <a:pt x="928" y="456"/>
                    </a:lnTo>
                    <a:lnTo>
                      <a:pt x="928" y="454"/>
                    </a:lnTo>
                    <a:lnTo>
                      <a:pt x="926" y="454"/>
                    </a:lnTo>
                    <a:lnTo>
                      <a:pt x="928" y="454"/>
                    </a:lnTo>
                    <a:lnTo>
                      <a:pt x="926" y="454"/>
                    </a:lnTo>
                    <a:close/>
                    <a:moveTo>
                      <a:pt x="926" y="454"/>
                    </a:moveTo>
                    <a:lnTo>
                      <a:pt x="924" y="454"/>
                    </a:lnTo>
                    <a:lnTo>
                      <a:pt x="926" y="454"/>
                    </a:lnTo>
                    <a:close/>
                    <a:moveTo>
                      <a:pt x="457" y="633"/>
                    </a:moveTo>
                    <a:lnTo>
                      <a:pt x="455" y="633"/>
                    </a:lnTo>
                    <a:lnTo>
                      <a:pt x="455" y="631"/>
                    </a:lnTo>
                    <a:lnTo>
                      <a:pt x="457" y="631"/>
                    </a:lnTo>
                    <a:lnTo>
                      <a:pt x="457" y="633"/>
                    </a:lnTo>
                    <a:lnTo>
                      <a:pt x="457" y="631"/>
                    </a:lnTo>
                    <a:lnTo>
                      <a:pt x="457" y="633"/>
                    </a:lnTo>
                    <a:lnTo>
                      <a:pt x="457" y="635"/>
                    </a:lnTo>
                    <a:lnTo>
                      <a:pt x="457" y="637"/>
                    </a:lnTo>
                    <a:lnTo>
                      <a:pt x="457" y="635"/>
                    </a:lnTo>
                    <a:lnTo>
                      <a:pt x="457" y="633"/>
                    </a:lnTo>
                    <a:lnTo>
                      <a:pt x="459" y="635"/>
                    </a:lnTo>
                    <a:lnTo>
                      <a:pt x="459" y="633"/>
                    </a:lnTo>
                    <a:lnTo>
                      <a:pt x="459" y="635"/>
                    </a:lnTo>
                    <a:lnTo>
                      <a:pt x="459" y="633"/>
                    </a:lnTo>
                    <a:lnTo>
                      <a:pt x="459" y="635"/>
                    </a:lnTo>
                    <a:lnTo>
                      <a:pt x="459" y="633"/>
                    </a:lnTo>
                    <a:lnTo>
                      <a:pt x="459" y="635"/>
                    </a:lnTo>
                    <a:lnTo>
                      <a:pt x="461" y="637"/>
                    </a:lnTo>
                    <a:lnTo>
                      <a:pt x="461" y="639"/>
                    </a:lnTo>
                    <a:lnTo>
                      <a:pt x="463" y="639"/>
                    </a:lnTo>
                    <a:lnTo>
                      <a:pt x="463" y="641"/>
                    </a:lnTo>
                    <a:lnTo>
                      <a:pt x="461" y="641"/>
                    </a:lnTo>
                    <a:lnTo>
                      <a:pt x="459" y="641"/>
                    </a:lnTo>
                    <a:lnTo>
                      <a:pt x="461" y="641"/>
                    </a:lnTo>
                    <a:lnTo>
                      <a:pt x="459" y="639"/>
                    </a:lnTo>
                    <a:lnTo>
                      <a:pt x="457" y="637"/>
                    </a:lnTo>
                    <a:lnTo>
                      <a:pt x="457" y="635"/>
                    </a:lnTo>
                    <a:lnTo>
                      <a:pt x="455" y="635"/>
                    </a:lnTo>
                    <a:lnTo>
                      <a:pt x="455" y="633"/>
                    </a:lnTo>
                    <a:lnTo>
                      <a:pt x="457" y="633"/>
                    </a:lnTo>
                    <a:lnTo>
                      <a:pt x="455" y="633"/>
                    </a:lnTo>
                    <a:lnTo>
                      <a:pt x="457" y="633"/>
                    </a:lnTo>
                    <a:lnTo>
                      <a:pt x="455" y="633"/>
                    </a:lnTo>
                    <a:lnTo>
                      <a:pt x="457" y="633"/>
                    </a:lnTo>
                    <a:close/>
                    <a:moveTo>
                      <a:pt x="901" y="433"/>
                    </a:moveTo>
                    <a:lnTo>
                      <a:pt x="903" y="433"/>
                    </a:lnTo>
                    <a:lnTo>
                      <a:pt x="901" y="433"/>
                    </a:lnTo>
                    <a:lnTo>
                      <a:pt x="901" y="431"/>
                    </a:lnTo>
                    <a:lnTo>
                      <a:pt x="899" y="431"/>
                    </a:lnTo>
                    <a:lnTo>
                      <a:pt x="901" y="431"/>
                    </a:lnTo>
                    <a:lnTo>
                      <a:pt x="901" y="433"/>
                    </a:lnTo>
                    <a:lnTo>
                      <a:pt x="903" y="433"/>
                    </a:lnTo>
                    <a:lnTo>
                      <a:pt x="901" y="433"/>
                    </a:lnTo>
                    <a:close/>
                    <a:moveTo>
                      <a:pt x="451" y="616"/>
                    </a:moveTo>
                    <a:lnTo>
                      <a:pt x="451" y="618"/>
                    </a:lnTo>
                    <a:lnTo>
                      <a:pt x="451" y="616"/>
                    </a:lnTo>
                    <a:lnTo>
                      <a:pt x="451" y="618"/>
                    </a:lnTo>
                    <a:lnTo>
                      <a:pt x="451" y="619"/>
                    </a:lnTo>
                    <a:lnTo>
                      <a:pt x="451" y="621"/>
                    </a:lnTo>
                    <a:lnTo>
                      <a:pt x="451" y="619"/>
                    </a:lnTo>
                    <a:lnTo>
                      <a:pt x="451" y="618"/>
                    </a:lnTo>
                    <a:lnTo>
                      <a:pt x="449" y="618"/>
                    </a:lnTo>
                    <a:lnTo>
                      <a:pt x="449" y="616"/>
                    </a:lnTo>
                    <a:lnTo>
                      <a:pt x="449" y="614"/>
                    </a:lnTo>
                    <a:lnTo>
                      <a:pt x="449" y="612"/>
                    </a:lnTo>
                    <a:lnTo>
                      <a:pt x="449" y="614"/>
                    </a:lnTo>
                    <a:lnTo>
                      <a:pt x="449" y="616"/>
                    </a:lnTo>
                    <a:lnTo>
                      <a:pt x="451" y="616"/>
                    </a:lnTo>
                    <a:close/>
                    <a:moveTo>
                      <a:pt x="926" y="346"/>
                    </a:moveTo>
                    <a:lnTo>
                      <a:pt x="926" y="348"/>
                    </a:lnTo>
                    <a:lnTo>
                      <a:pt x="924" y="348"/>
                    </a:lnTo>
                    <a:lnTo>
                      <a:pt x="924" y="346"/>
                    </a:lnTo>
                    <a:lnTo>
                      <a:pt x="926" y="345"/>
                    </a:lnTo>
                    <a:lnTo>
                      <a:pt x="928" y="345"/>
                    </a:lnTo>
                    <a:lnTo>
                      <a:pt x="930" y="345"/>
                    </a:lnTo>
                    <a:lnTo>
                      <a:pt x="931" y="345"/>
                    </a:lnTo>
                    <a:lnTo>
                      <a:pt x="930" y="346"/>
                    </a:lnTo>
                    <a:lnTo>
                      <a:pt x="928" y="346"/>
                    </a:lnTo>
                    <a:lnTo>
                      <a:pt x="928" y="348"/>
                    </a:lnTo>
                    <a:lnTo>
                      <a:pt x="928" y="346"/>
                    </a:lnTo>
                    <a:lnTo>
                      <a:pt x="926" y="346"/>
                    </a:lnTo>
                    <a:close/>
                    <a:moveTo>
                      <a:pt x="1200" y="162"/>
                    </a:moveTo>
                    <a:lnTo>
                      <a:pt x="1200" y="160"/>
                    </a:lnTo>
                    <a:lnTo>
                      <a:pt x="1200" y="162"/>
                    </a:lnTo>
                    <a:close/>
                    <a:moveTo>
                      <a:pt x="687" y="443"/>
                    </a:moveTo>
                    <a:lnTo>
                      <a:pt x="689" y="443"/>
                    </a:lnTo>
                    <a:lnTo>
                      <a:pt x="687" y="443"/>
                    </a:lnTo>
                    <a:close/>
                    <a:moveTo>
                      <a:pt x="1243" y="112"/>
                    </a:moveTo>
                    <a:lnTo>
                      <a:pt x="1245" y="110"/>
                    </a:lnTo>
                    <a:lnTo>
                      <a:pt x="1245" y="112"/>
                    </a:lnTo>
                    <a:lnTo>
                      <a:pt x="1245" y="114"/>
                    </a:lnTo>
                    <a:lnTo>
                      <a:pt x="1243" y="116"/>
                    </a:lnTo>
                    <a:lnTo>
                      <a:pt x="1243" y="118"/>
                    </a:lnTo>
                    <a:lnTo>
                      <a:pt x="1241" y="118"/>
                    </a:lnTo>
                    <a:lnTo>
                      <a:pt x="1241" y="116"/>
                    </a:lnTo>
                    <a:lnTo>
                      <a:pt x="1239" y="116"/>
                    </a:lnTo>
                    <a:lnTo>
                      <a:pt x="1241" y="114"/>
                    </a:lnTo>
                    <a:lnTo>
                      <a:pt x="1243" y="112"/>
                    </a:lnTo>
                    <a:close/>
                    <a:moveTo>
                      <a:pt x="682" y="435"/>
                    </a:moveTo>
                    <a:lnTo>
                      <a:pt x="684" y="435"/>
                    </a:lnTo>
                    <a:lnTo>
                      <a:pt x="682" y="435"/>
                    </a:lnTo>
                    <a:close/>
                    <a:moveTo>
                      <a:pt x="663" y="439"/>
                    </a:moveTo>
                    <a:lnTo>
                      <a:pt x="661" y="439"/>
                    </a:lnTo>
                    <a:lnTo>
                      <a:pt x="663" y="439"/>
                    </a:lnTo>
                    <a:close/>
                    <a:moveTo>
                      <a:pt x="666" y="433"/>
                    </a:moveTo>
                    <a:lnTo>
                      <a:pt x="666" y="435"/>
                    </a:lnTo>
                    <a:lnTo>
                      <a:pt x="664" y="435"/>
                    </a:lnTo>
                    <a:lnTo>
                      <a:pt x="666" y="433"/>
                    </a:lnTo>
                    <a:close/>
                    <a:moveTo>
                      <a:pt x="1200" y="160"/>
                    </a:moveTo>
                    <a:lnTo>
                      <a:pt x="1202" y="160"/>
                    </a:lnTo>
                    <a:lnTo>
                      <a:pt x="1200" y="160"/>
                    </a:lnTo>
                    <a:lnTo>
                      <a:pt x="1202" y="160"/>
                    </a:lnTo>
                    <a:lnTo>
                      <a:pt x="1202" y="158"/>
                    </a:lnTo>
                    <a:lnTo>
                      <a:pt x="1200" y="158"/>
                    </a:lnTo>
                    <a:lnTo>
                      <a:pt x="1200" y="156"/>
                    </a:lnTo>
                    <a:lnTo>
                      <a:pt x="1200" y="154"/>
                    </a:lnTo>
                    <a:lnTo>
                      <a:pt x="1199" y="154"/>
                    </a:lnTo>
                    <a:lnTo>
                      <a:pt x="1200" y="154"/>
                    </a:lnTo>
                    <a:lnTo>
                      <a:pt x="1199" y="154"/>
                    </a:lnTo>
                    <a:lnTo>
                      <a:pt x="1200" y="154"/>
                    </a:lnTo>
                    <a:lnTo>
                      <a:pt x="1199" y="152"/>
                    </a:lnTo>
                    <a:lnTo>
                      <a:pt x="1200" y="152"/>
                    </a:lnTo>
                    <a:lnTo>
                      <a:pt x="1199" y="152"/>
                    </a:lnTo>
                    <a:lnTo>
                      <a:pt x="1200" y="152"/>
                    </a:lnTo>
                    <a:lnTo>
                      <a:pt x="1199" y="152"/>
                    </a:lnTo>
                    <a:lnTo>
                      <a:pt x="1200" y="154"/>
                    </a:lnTo>
                    <a:lnTo>
                      <a:pt x="1200" y="152"/>
                    </a:lnTo>
                    <a:lnTo>
                      <a:pt x="1200" y="154"/>
                    </a:lnTo>
                    <a:lnTo>
                      <a:pt x="1200" y="152"/>
                    </a:lnTo>
                    <a:lnTo>
                      <a:pt x="1199" y="152"/>
                    </a:lnTo>
                    <a:lnTo>
                      <a:pt x="1199" y="150"/>
                    </a:lnTo>
                    <a:lnTo>
                      <a:pt x="1197" y="150"/>
                    </a:lnTo>
                    <a:lnTo>
                      <a:pt x="1199" y="150"/>
                    </a:lnTo>
                    <a:lnTo>
                      <a:pt x="1197" y="150"/>
                    </a:lnTo>
                    <a:lnTo>
                      <a:pt x="1197" y="148"/>
                    </a:lnTo>
                    <a:lnTo>
                      <a:pt x="1197" y="150"/>
                    </a:lnTo>
                    <a:lnTo>
                      <a:pt x="1199" y="150"/>
                    </a:lnTo>
                    <a:lnTo>
                      <a:pt x="1197" y="150"/>
                    </a:lnTo>
                    <a:lnTo>
                      <a:pt x="1199" y="148"/>
                    </a:lnTo>
                    <a:lnTo>
                      <a:pt x="1197" y="148"/>
                    </a:lnTo>
                    <a:lnTo>
                      <a:pt x="1197" y="147"/>
                    </a:lnTo>
                    <a:lnTo>
                      <a:pt x="1197" y="145"/>
                    </a:lnTo>
                    <a:lnTo>
                      <a:pt x="1195" y="145"/>
                    </a:lnTo>
                    <a:lnTo>
                      <a:pt x="1197" y="145"/>
                    </a:lnTo>
                    <a:lnTo>
                      <a:pt x="1195" y="145"/>
                    </a:lnTo>
                    <a:lnTo>
                      <a:pt x="1197" y="145"/>
                    </a:lnTo>
                    <a:lnTo>
                      <a:pt x="1195" y="145"/>
                    </a:lnTo>
                    <a:lnTo>
                      <a:pt x="1195" y="143"/>
                    </a:lnTo>
                    <a:lnTo>
                      <a:pt x="1193" y="143"/>
                    </a:lnTo>
                    <a:lnTo>
                      <a:pt x="1193" y="141"/>
                    </a:lnTo>
                    <a:lnTo>
                      <a:pt x="1193" y="139"/>
                    </a:lnTo>
                    <a:lnTo>
                      <a:pt x="1191" y="139"/>
                    </a:lnTo>
                    <a:lnTo>
                      <a:pt x="1193" y="139"/>
                    </a:lnTo>
                    <a:lnTo>
                      <a:pt x="1191" y="139"/>
                    </a:lnTo>
                    <a:lnTo>
                      <a:pt x="1191" y="137"/>
                    </a:lnTo>
                    <a:lnTo>
                      <a:pt x="1191" y="139"/>
                    </a:lnTo>
                    <a:lnTo>
                      <a:pt x="1189" y="139"/>
                    </a:lnTo>
                    <a:lnTo>
                      <a:pt x="1191" y="137"/>
                    </a:lnTo>
                    <a:lnTo>
                      <a:pt x="1189" y="137"/>
                    </a:lnTo>
                    <a:lnTo>
                      <a:pt x="1189" y="135"/>
                    </a:lnTo>
                    <a:lnTo>
                      <a:pt x="1189" y="137"/>
                    </a:lnTo>
                    <a:lnTo>
                      <a:pt x="1189" y="135"/>
                    </a:lnTo>
                    <a:lnTo>
                      <a:pt x="1187" y="135"/>
                    </a:lnTo>
                    <a:lnTo>
                      <a:pt x="1185" y="135"/>
                    </a:lnTo>
                    <a:lnTo>
                      <a:pt x="1185" y="133"/>
                    </a:lnTo>
                    <a:lnTo>
                      <a:pt x="1185" y="135"/>
                    </a:lnTo>
                    <a:lnTo>
                      <a:pt x="1183" y="135"/>
                    </a:lnTo>
                    <a:lnTo>
                      <a:pt x="1183" y="133"/>
                    </a:lnTo>
                    <a:lnTo>
                      <a:pt x="1181" y="133"/>
                    </a:lnTo>
                    <a:lnTo>
                      <a:pt x="1183" y="133"/>
                    </a:lnTo>
                    <a:lnTo>
                      <a:pt x="1183" y="131"/>
                    </a:lnTo>
                    <a:lnTo>
                      <a:pt x="1185" y="129"/>
                    </a:lnTo>
                    <a:lnTo>
                      <a:pt x="1187" y="127"/>
                    </a:lnTo>
                    <a:lnTo>
                      <a:pt x="1187" y="125"/>
                    </a:lnTo>
                    <a:lnTo>
                      <a:pt x="1189" y="125"/>
                    </a:lnTo>
                    <a:lnTo>
                      <a:pt x="1189" y="123"/>
                    </a:lnTo>
                    <a:lnTo>
                      <a:pt x="1191" y="123"/>
                    </a:lnTo>
                    <a:lnTo>
                      <a:pt x="1191" y="122"/>
                    </a:lnTo>
                    <a:lnTo>
                      <a:pt x="1193" y="122"/>
                    </a:lnTo>
                    <a:lnTo>
                      <a:pt x="1193" y="123"/>
                    </a:lnTo>
                    <a:lnTo>
                      <a:pt x="1193" y="125"/>
                    </a:lnTo>
                    <a:lnTo>
                      <a:pt x="1193" y="123"/>
                    </a:lnTo>
                    <a:lnTo>
                      <a:pt x="1193" y="125"/>
                    </a:lnTo>
                    <a:lnTo>
                      <a:pt x="1191" y="125"/>
                    </a:lnTo>
                    <a:lnTo>
                      <a:pt x="1191" y="127"/>
                    </a:lnTo>
                    <a:lnTo>
                      <a:pt x="1193" y="129"/>
                    </a:lnTo>
                    <a:lnTo>
                      <a:pt x="1193" y="127"/>
                    </a:lnTo>
                    <a:lnTo>
                      <a:pt x="1195" y="127"/>
                    </a:lnTo>
                    <a:lnTo>
                      <a:pt x="1197" y="127"/>
                    </a:lnTo>
                    <a:lnTo>
                      <a:pt x="1197" y="125"/>
                    </a:lnTo>
                    <a:lnTo>
                      <a:pt x="1199" y="125"/>
                    </a:lnTo>
                    <a:lnTo>
                      <a:pt x="1200" y="125"/>
                    </a:lnTo>
                    <a:lnTo>
                      <a:pt x="1202" y="125"/>
                    </a:lnTo>
                    <a:lnTo>
                      <a:pt x="1204" y="125"/>
                    </a:lnTo>
                    <a:lnTo>
                      <a:pt x="1204" y="123"/>
                    </a:lnTo>
                    <a:lnTo>
                      <a:pt x="1206" y="123"/>
                    </a:lnTo>
                    <a:lnTo>
                      <a:pt x="1208" y="123"/>
                    </a:lnTo>
                    <a:lnTo>
                      <a:pt x="1210" y="122"/>
                    </a:lnTo>
                    <a:lnTo>
                      <a:pt x="1212" y="122"/>
                    </a:lnTo>
                    <a:lnTo>
                      <a:pt x="1212" y="120"/>
                    </a:lnTo>
                    <a:lnTo>
                      <a:pt x="1214" y="120"/>
                    </a:lnTo>
                    <a:lnTo>
                      <a:pt x="1214" y="118"/>
                    </a:lnTo>
                    <a:lnTo>
                      <a:pt x="1216" y="118"/>
                    </a:lnTo>
                    <a:lnTo>
                      <a:pt x="1218" y="118"/>
                    </a:lnTo>
                    <a:lnTo>
                      <a:pt x="1220" y="118"/>
                    </a:lnTo>
                    <a:lnTo>
                      <a:pt x="1220" y="116"/>
                    </a:lnTo>
                    <a:lnTo>
                      <a:pt x="1222" y="116"/>
                    </a:lnTo>
                    <a:lnTo>
                      <a:pt x="1222" y="114"/>
                    </a:lnTo>
                    <a:lnTo>
                      <a:pt x="1223" y="114"/>
                    </a:lnTo>
                    <a:lnTo>
                      <a:pt x="1225" y="116"/>
                    </a:lnTo>
                    <a:lnTo>
                      <a:pt x="1227" y="116"/>
                    </a:lnTo>
                    <a:lnTo>
                      <a:pt x="1227" y="114"/>
                    </a:lnTo>
                    <a:lnTo>
                      <a:pt x="1229" y="114"/>
                    </a:lnTo>
                    <a:lnTo>
                      <a:pt x="1227" y="114"/>
                    </a:lnTo>
                    <a:lnTo>
                      <a:pt x="1229" y="112"/>
                    </a:lnTo>
                    <a:lnTo>
                      <a:pt x="1227" y="112"/>
                    </a:lnTo>
                    <a:lnTo>
                      <a:pt x="1227" y="110"/>
                    </a:lnTo>
                    <a:lnTo>
                      <a:pt x="1229" y="110"/>
                    </a:lnTo>
                    <a:lnTo>
                      <a:pt x="1231" y="110"/>
                    </a:lnTo>
                    <a:lnTo>
                      <a:pt x="1233" y="110"/>
                    </a:lnTo>
                    <a:lnTo>
                      <a:pt x="1231" y="112"/>
                    </a:lnTo>
                    <a:lnTo>
                      <a:pt x="1233" y="112"/>
                    </a:lnTo>
                    <a:lnTo>
                      <a:pt x="1233" y="114"/>
                    </a:lnTo>
                    <a:lnTo>
                      <a:pt x="1235" y="114"/>
                    </a:lnTo>
                    <a:lnTo>
                      <a:pt x="1235" y="116"/>
                    </a:lnTo>
                    <a:lnTo>
                      <a:pt x="1237" y="116"/>
                    </a:lnTo>
                    <a:lnTo>
                      <a:pt x="1237" y="118"/>
                    </a:lnTo>
                    <a:lnTo>
                      <a:pt x="1239" y="118"/>
                    </a:lnTo>
                    <a:lnTo>
                      <a:pt x="1239" y="116"/>
                    </a:lnTo>
                    <a:lnTo>
                      <a:pt x="1241" y="116"/>
                    </a:lnTo>
                    <a:lnTo>
                      <a:pt x="1241" y="118"/>
                    </a:lnTo>
                    <a:lnTo>
                      <a:pt x="1243" y="118"/>
                    </a:lnTo>
                    <a:lnTo>
                      <a:pt x="1241" y="120"/>
                    </a:lnTo>
                    <a:lnTo>
                      <a:pt x="1239" y="122"/>
                    </a:lnTo>
                    <a:lnTo>
                      <a:pt x="1237" y="123"/>
                    </a:lnTo>
                    <a:lnTo>
                      <a:pt x="1235" y="125"/>
                    </a:lnTo>
                    <a:lnTo>
                      <a:pt x="1235" y="127"/>
                    </a:lnTo>
                    <a:lnTo>
                      <a:pt x="1233" y="127"/>
                    </a:lnTo>
                    <a:lnTo>
                      <a:pt x="1231" y="127"/>
                    </a:lnTo>
                    <a:lnTo>
                      <a:pt x="1229" y="129"/>
                    </a:lnTo>
                    <a:lnTo>
                      <a:pt x="1227" y="129"/>
                    </a:lnTo>
                    <a:lnTo>
                      <a:pt x="1227" y="131"/>
                    </a:lnTo>
                    <a:lnTo>
                      <a:pt x="1225" y="131"/>
                    </a:lnTo>
                    <a:lnTo>
                      <a:pt x="1225" y="133"/>
                    </a:lnTo>
                    <a:lnTo>
                      <a:pt x="1223" y="133"/>
                    </a:lnTo>
                    <a:lnTo>
                      <a:pt x="1223" y="135"/>
                    </a:lnTo>
                    <a:lnTo>
                      <a:pt x="1222" y="135"/>
                    </a:lnTo>
                    <a:lnTo>
                      <a:pt x="1222" y="137"/>
                    </a:lnTo>
                    <a:lnTo>
                      <a:pt x="1223" y="137"/>
                    </a:lnTo>
                    <a:lnTo>
                      <a:pt x="1223" y="139"/>
                    </a:lnTo>
                    <a:lnTo>
                      <a:pt x="1223" y="141"/>
                    </a:lnTo>
                    <a:lnTo>
                      <a:pt x="1222" y="139"/>
                    </a:lnTo>
                    <a:lnTo>
                      <a:pt x="1222" y="141"/>
                    </a:lnTo>
                    <a:lnTo>
                      <a:pt x="1220" y="141"/>
                    </a:lnTo>
                    <a:lnTo>
                      <a:pt x="1220" y="139"/>
                    </a:lnTo>
                    <a:lnTo>
                      <a:pt x="1220" y="141"/>
                    </a:lnTo>
                    <a:lnTo>
                      <a:pt x="1218" y="141"/>
                    </a:lnTo>
                    <a:lnTo>
                      <a:pt x="1218" y="143"/>
                    </a:lnTo>
                    <a:lnTo>
                      <a:pt x="1216" y="143"/>
                    </a:lnTo>
                    <a:lnTo>
                      <a:pt x="1216" y="145"/>
                    </a:lnTo>
                    <a:lnTo>
                      <a:pt x="1214" y="145"/>
                    </a:lnTo>
                    <a:lnTo>
                      <a:pt x="1214" y="147"/>
                    </a:lnTo>
                    <a:lnTo>
                      <a:pt x="1212" y="147"/>
                    </a:lnTo>
                    <a:lnTo>
                      <a:pt x="1212" y="148"/>
                    </a:lnTo>
                    <a:lnTo>
                      <a:pt x="1214" y="148"/>
                    </a:lnTo>
                    <a:lnTo>
                      <a:pt x="1212" y="148"/>
                    </a:lnTo>
                    <a:lnTo>
                      <a:pt x="1212" y="150"/>
                    </a:lnTo>
                    <a:lnTo>
                      <a:pt x="1210" y="150"/>
                    </a:lnTo>
                    <a:lnTo>
                      <a:pt x="1210" y="152"/>
                    </a:lnTo>
                    <a:lnTo>
                      <a:pt x="1210" y="154"/>
                    </a:lnTo>
                    <a:lnTo>
                      <a:pt x="1210" y="156"/>
                    </a:lnTo>
                    <a:lnTo>
                      <a:pt x="1206" y="156"/>
                    </a:lnTo>
                    <a:lnTo>
                      <a:pt x="1206" y="158"/>
                    </a:lnTo>
                    <a:lnTo>
                      <a:pt x="1204" y="158"/>
                    </a:lnTo>
                    <a:lnTo>
                      <a:pt x="1202" y="160"/>
                    </a:lnTo>
                    <a:lnTo>
                      <a:pt x="1202" y="162"/>
                    </a:lnTo>
                    <a:lnTo>
                      <a:pt x="1200" y="162"/>
                    </a:lnTo>
                    <a:lnTo>
                      <a:pt x="1202" y="162"/>
                    </a:lnTo>
                    <a:lnTo>
                      <a:pt x="1200" y="162"/>
                    </a:lnTo>
                    <a:lnTo>
                      <a:pt x="1202" y="160"/>
                    </a:lnTo>
                    <a:lnTo>
                      <a:pt x="1200" y="160"/>
                    </a:lnTo>
                    <a:close/>
                    <a:moveTo>
                      <a:pt x="947" y="287"/>
                    </a:moveTo>
                    <a:lnTo>
                      <a:pt x="947" y="285"/>
                    </a:lnTo>
                    <a:lnTo>
                      <a:pt x="947" y="287"/>
                    </a:lnTo>
                    <a:lnTo>
                      <a:pt x="947" y="289"/>
                    </a:lnTo>
                    <a:lnTo>
                      <a:pt x="947" y="287"/>
                    </a:lnTo>
                    <a:lnTo>
                      <a:pt x="945" y="285"/>
                    </a:lnTo>
                    <a:lnTo>
                      <a:pt x="947" y="287"/>
                    </a:lnTo>
                    <a:close/>
                    <a:moveTo>
                      <a:pt x="1185" y="125"/>
                    </a:moveTo>
                    <a:lnTo>
                      <a:pt x="1187" y="123"/>
                    </a:lnTo>
                    <a:lnTo>
                      <a:pt x="1187" y="122"/>
                    </a:lnTo>
                    <a:lnTo>
                      <a:pt x="1189" y="122"/>
                    </a:lnTo>
                    <a:lnTo>
                      <a:pt x="1187" y="122"/>
                    </a:lnTo>
                    <a:lnTo>
                      <a:pt x="1189" y="122"/>
                    </a:lnTo>
                    <a:lnTo>
                      <a:pt x="1191" y="122"/>
                    </a:lnTo>
                    <a:lnTo>
                      <a:pt x="1189" y="122"/>
                    </a:lnTo>
                    <a:lnTo>
                      <a:pt x="1187" y="123"/>
                    </a:lnTo>
                    <a:lnTo>
                      <a:pt x="1187" y="125"/>
                    </a:lnTo>
                    <a:lnTo>
                      <a:pt x="1185" y="125"/>
                    </a:lnTo>
                    <a:close/>
                    <a:moveTo>
                      <a:pt x="1202" y="120"/>
                    </a:moveTo>
                    <a:lnTo>
                      <a:pt x="1200" y="120"/>
                    </a:lnTo>
                    <a:lnTo>
                      <a:pt x="1200" y="118"/>
                    </a:lnTo>
                    <a:lnTo>
                      <a:pt x="1200" y="120"/>
                    </a:lnTo>
                    <a:lnTo>
                      <a:pt x="1200" y="118"/>
                    </a:lnTo>
                    <a:lnTo>
                      <a:pt x="1200" y="120"/>
                    </a:lnTo>
                    <a:lnTo>
                      <a:pt x="1202" y="120"/>
                    </a:lnTo>
                    <a:lnTo>
                      <a:pt x="1200" y="122"/>
                    </a:lnTo>
                    <a:lnTo>
                      <a:pt x="1199" y="122"/>
                    </a:lnTo>
                    <a:lnTo>
                      <a:pt x="1197" y="122"/>
                    </a:lnTo>
                    <a:lnTo>
                      <a:pt x="1195" y="120"/>
                    </a:lnTo>
                    <a:lnTo>
                      <a:pt x="1195" y="122"/>
                    </a:lnTo>
                    <a:lnTo>
                      <a:pt x="1193" y="122"/>
                    </a:lnTo>
                    <a:lnTo>
                      <a:pt x="1193" y="120"/>
                    </a:lnTo>
                    <a:lnTo>
                      <a:pt x="1191" y="122"/>
                    </a:lnTo>
                    <a:lnTo>
                      <a:pt x="1189" y="122"/>
                    </a:lnTo>
                    <a:lnTo>
                      <a:pt x="1189" y="120"/>
                    </a:lnTo>
                    <a:lnTo>
                      <a:pt x="1187" y="120"/>
                    </a:lnTo>
                    <a:lnTo>
                      <a:pt x="1189" y="120"/>
                    </a:lnTo>
                    <a:lnTo>
                      <a:pt x="1189" y="118"/>
                    </a:lnTo>
                    <a:lnTo>
                      <a:pt x="1191" y="118"/>
                    </a:lnTo>
                    <a:lnTo>
                      <a:pt x="1191" y="116"/>
                    </a:lnTo>
                    <a:lnTo>
                      <a:pt x="1191" y="118"/>
                    </a:lnTo>
                    <a:lnTo>
                      <a:pt x="1193" y="118"/>
                    </a:lnTo>
                    <a:lnTo>
                      <a:pt x="1193" y="116"/>
                    </a:lnTo>
                    <a:lnTo>
                      <a:pt x="1195" y="116"/>
                    </a:lnTo>
                    <a:lnTo>
                      <a:pt x="1197" y="116"/>
                    </a:lnTo>
                    <a:lnTo>
                      <a:pt x="1199" y="116"/>
                    </a:lnTo>
                    <a:lnTo>
                      <a:pt x="1197" y="116"/>
                    </a:lnTo>
                    <a:lnTo>
                      <a:pt x="1197" y="114"/>
                    </a:lnTo>
                    <a:lnTo>
                      <a:pt x="1197" y="112"/>
                    </a:lnTo>
                    <a:lnTo>
                      <a:pt x="1199" y="112"/>
                    </a:lnTo>
                    <a:lnTo>
                      <a:pt x="1200" y="114"/>
                    </a:lnTo>
                    <a:lnTo>
                      <a:pt x="1202" y="114"/>
                    </a:lnTo>
                    <a:lnTo>
                      <a:pt x="1202" y="112"/>
                    </a:lnTo>
                    <a:lnTo>
                      <a:pt x="1202" y="114"/>
                    </a:lnTo>
                    <a:lnTo>
                      <a:pt x="1204" y="114"/>
                    </a:lnTo>
                    <a:lnTo>
                      <a:pt x="1204" y="112"/>
                    </a:lnTo>
                    <a:lnTo>
                      <a:pt x="1204" y="114"/>
                    </a:lnTo>
                    <a:lnTo>
                      <a:pt x="1204" y="116"/>
                    </a:lnTo>
                    <a:lnTo>
                      <a:pt x="1204" y="114"/>
                    </a:lnTo>
                    <a:lnTo>
                      <a:pt x="1206" y="114"/>
                    </a:lnTo>
                    <a:lnTo>
                      <a:pt x="1206" y="112"/>
                    </a:lnTo>
                    <a:lnTo>
                      <a:pt x="1206" y="114"/>
                    </a:lnTo>
                    <a:lnTo>
                      <a:pt x="1206" y="116"/>
                    </a:lnTo>
                    <a:lnTo>
                      <a:pt x="1208" y="116"/>
                    </a:lnTo>
                    <a:lnTo>
                      <a:pt x="1208" y="114"/>
                    </a:lnTo>
                    <a:lnTo>
                      <a:pt x="1208" y="116"/>
                    </a:lnTo>
                    <a:lnTo>
                      <a:pt x="1210" y="116"/>
                    </a:lnTo>
                    <a:lnTo>
                      <a:pt x="1210" y="114"/>
                    </a:lnTo>
                    <a:lnTo>
                      <a:pt x="1210" y="116"/>
                    </a:lnTo>
                    <a:lnTo>
                      <a:pt x="1208" y="116"/>
                    </a:lnTo>
                    <a:lnTo>
                      <a:pt x="1208" y="118"/>
                    </a:lnTo>
                    <a:lnTo>
                      <a:pt x="1206" y="118"/>
                    </a:lnTo>
                    <a:lnTo>
                      <a:pt x="1208" y="120"/>
                    </a:lnTo>
                    <a:lnTo>
                      <a:pt x="1206" y="120"/>
                    </a:lnTo>
                    <a:lnTo>
                      <a:pt x="1206" y="122"/>
                    </a:lnTo>
                    <a:lnTo>
                      <a:pt x="1204" y="122"/>
                    </a:lnTo>
                    <a:lnTo>
                      <a:pt x="1204" y="120"/>
                    </a:lnTo>
                    <a:lnTo>
                      <a:pt x="1202" y="122"/>
                    </a:lnTo>
                    <a:lnTo>
                      <a:pt x="1202" y="120"/>
                    </a:lnTo>
                    <a:close/>
                    <a:moveTo>
                      <a:pt x="428" y="466"/>
                    </a:moveTo>
                    <a:lnTo>
                      <a:pt x="426" y="466"/>
                    </a:lnTo>
                    <a:lnTo>
                      <a:pt x="426" y="464"/>
                    </a:lnTo>
                    <a:lnTo>
                      <a:pt x="428" y="464"/>
                    </a:lnTo>
                    <a:lnTo>
                      <a:pt x="428" y="462"/>
                    </a:lnTo>
                    <a:lnTo>
                      <a:pt x="426" y="462"/>
                    </a:lnTo>
                    <a:lnTo>
                      <a:pt x="428" y="462"/>
                    </a:lnTo>
                    <a:lnTo>
                      <a:pt x="430" y="462"/>
                    </a:lnTo>
                    <a:lnTo>
                      <a:pt x="432" y="462"/>
                    </a:lnTo>
                    <a:lnTo>
                      <a:pt x="432" y="464"/>
                    </a:lnTo>
                    <a:lnTo>
                      <a:pt x="430" y="464"/>
                    </a:lnTo>
                    <a:lnTo>
                      <a:pt x="430" y="466"/>
                    </a:lnTo>
                    <a:lnTo>
                      <a:pt x="428" y="466"/>
                    </a:lnTo>
                    <a:lnTo>
                      <a:pt x="428" y="468"/>
                    </a:lnTo>
                    <a:lnTo>
                      <a:pt x="426" y="468"/>
                    </a:lnTo>
                    <a:lnTo>
                      <a:pt x="426" y="466"/>
                    </a:lnTo>
                    <a:lnTo>
                      <a:pt x="428" y="466"/>
                    </a:lnTo>
                    <a:close/>
                    <a:moveTo>
                      <a:pt x="1183" y="60"/>
                    </a:moveTo>
                    <a:lnTo>
                      <a:pt x="1181" y="60"/>
                    </a:lnTo>
                    <a:lnTo>
                      <a:pt x="1183" y="60"/>
                    </a:lnTo>
                    <a:close/>
                    <a:moveTo>
                      <a:pt x="1237" y="104"/>
                    </a:moveTo>
                    <a:lnTo>
                      <a:pt x="1237" y="102"/>
                    </a:lnTo>
                    <a:lnTo>
                      <a:pt x="1237" y="100"/>
                    </a:lnTo>
                    <a:lnTo>
                      <a:pt x="1237" y="98"/>
                    </a:lnTo>
                    <a:lnTo>
                      <a:pt x="1237" y="97"/>
                    </a:lnTo>
                    <a:lnTo>
                      <a:pt x="1235" y="95"/>
                    </a:lnTo>
                    <a:lnTo>
                      <a:pt x="1235" y="93"/>
                    </a:lnTo>
                    <a:lnTo>
                      <a:pt x="1235" y="91"/>
                    </a:lnTo>
                    <a:lnTo>
                      <a:pt x="1237" y="91"/>
                    </a:lnTo>
                    <a:lnTo>
                      <a:pt x="1237" y="89"/>
                    </a:lnTo>
                    <a:lnTo>
                      <a:pt x="1235" y="89"/>
                    </a:lnTo>
                    <a:lnTo>
                      <a:pt x="1235" y="87"/>
                    </a:lnTo>
                    <a:lnTo>
                      <a:pt x="1237" y="89"/>
                    </a:lnTo>
                    <a:lnTo>
                      <a:pt x="1239" y="89"/>
                    </a:lnTo>
                    <a:lnTo>
                      <a:pt x="1241" y="89"/>
                    </a:lnTo>
                    <a:lnTo>
                      <a:pt x="1243" y="89"/>
                    </a:lnTo>
                    <a:lnTo>
                      <a:pt x="1245" y="91"/>
                    </a:lnTo>
                    <a:lnTo>
                      <a:pt x="1243" y="89"/>
                    </a:lnTo>
                    <a:lnTo>
                      <a:pt x="1241" y="89"/>
                    </a:lnTo>
                    <a:lnTo>
                      <a:pt x="1239" y="89"/>
                    </a:lnTo>
                    <a:lnTo>
                      <a:pt x="1237" y="89"/>
                    </a:lnTo>
                    <a:lnTo>
                      <a:pt x="1235" y="87"/>
                    </a:lnTo>
                    <a:lnTo>
                      <a:pt x="1235" y="89"/>
                    </a:lnTo>
                    <a:lnTo>
                      <a:pt x="1233" y="89"/>
                    </a:lnTo>
                    <a:lnTo>
                      <a:pt x="1231" y="89"/>
                    </a:lnTo>
                    <a:lnTo>
                      <a:pt x="1233" y="89"/>
                    </a:lnTo>
                    <a:lnTo>
                      <a:pt x="1233" y="87"/>
                    </a:lnTo>
                    <a:lnTo>
                      <a:pt x="1231" y="87"/>
                    </a:lnTo>
                    <a:lnTo>
                      <a:pt x="1231" y="85"/>
                    </a:lnTo>
                    <a:lnTo>
                      <a:pt x="1233" y="85"/>
                    </a:lnTo>
                    <a:lnTo>
                      <a:pt x="1233" y="83"/>
                    </a:lnTo>
                    <a:lnTo>
                      <a:pt x="1235" y="81"/>
                    </a:lnTo>
                    <a:lnTo>
                      <a:pt x="1235" y="79"/>
                    </a:lnTo>
                    <a:lnTo>
                      <a:pt x="1233" y="77"/>
                    </a:lnTo>
                    <a:lnTo>
                      <a:pt x="1233" y="75"/>
                    </a:lnTo>
                    <a:lnTo>
                      <a:pt x="1231" y="75"/>
                    </a:lnTo>
                    <a:lnTo>
                      <a:pt x="1229" y="75"/>
                    </a:lnTo>
                    <a:lnTo>
                      <a:pt x="1227" y="75"/>
                    </a:lnTo>
                    <a:lnTo>
                      <a:pt x="1227" y="73"/>
                    </a:lnTo>
                    <a:lnTo>
                      <a:pt x="1227" y="75"/>
                    </a:lnTo>
                    <a:lnTo>
                      <a:pt x="1227" y="73"/>
                    </a:lnTo>
                    <a:lnTo>
                      <a:pt x="1225" y="72"/>
                    </a:lnTo>
                    <a:lnTo>
                      <a:pt x="1223" y="72"/>
                    </a:lnTo>
                    <a:lnTo>
                      <a:pt x="1223" y="70"/>
                    </a:lnTo>
                    <a:lnTo>
                      <a:pt x="1222" y="70"/>
                    </a:lnTo>
                    <a:lnTo>
                      <a:pt x="1222" y="68"/>
                    </a:lnTo>
                    <a:lnTo>
                      <a:pt x="1222" y="66"/>
                    </a:lnTo>
                    <a:lnTo>
                      <a:pt x="1220" y="66"/>
                    </a:lnTo>
                    <a:lnTo>
                      <a:pt x="1218" y="66"/>
                    </a:lnTo>
                    <a:lnTo>
                      <a:pt x="1218" y="64"/>
                    </a:lnTo>
                    <a:lnTo>
                      <a:pt x="1218" y="62"/>
                    </a:lnTo>
                    <a:lnTo>
                      <a:pt x="1220" y="62"/>
                    </a:lnTo>
                    <a:lnTo>
                      <a:pt x="1220" y="60"/>
                    </a:lnTo>
                    <a:lnTo>
                      <a:pt x="1218" y="60"/>
                    </a:lnTo>
                    <a:lnTo>
                      <a:pt x="1216" y="60"/>
                    </a:lnTo>
                    <a:lnTo>
                      <a:pt x="1216" y="58"/>
                    </a:lnTo>
                    <a:lnTo>
                      <a:pt x="1214" y="60"/>
                    </a:lnTo>
                    <a:lnTo>
                      <a:pt x="1214" y="58"/>
                    </a:lnTo>
                    <a:lnTo>
                      <a:pt x="1212" y="58"/>
                    </a:lnTo>
                    <a:lnTo>
                      <a:pt x="1214" y="56"/>
                    </a:lnTo>
                    <a:lnTo>
                      <a:pt x="1214" y="54"/>
                    </a:lnTo>
                    <a:lnTo>
                      <a:pt x="1214" y="52"/>
                    </a:lnTo>
                    <a:lnTo>
                      <a:pt x="1214" y="50"/>
                    </a:lnTo>
                    <a:lnTo>
                      <a:pt x="1214" y="48"/>
                    </a:lnTo>
                    <a:lnTo>
                      <a:pt x="1214" y="47"/>
                    </a:lnTo>
                    <a:lnTo>
                      <a:pt x="1216" y="45"/>
                    </a:lnTo>
                    <a:lnTo>
                      <a:pt x="1218" y="45"/>
                    </a:lnTo>
                    <a:lnTo>
                      <a:pt x="1218" y="43"/>
                    </a:lnTo>
                    <a:lnTo>
                      <a:pt x="1218" y="41"/>
                    </a:lnTo>
                    <a:lnTo>
                      <a:pt x="1216" y="41"/>
                    </a:lnTo>
                    <a:lnTo>
                      <a:pt x="1216" y="39"/>
                    </a:lnTo>
                    <a:lnTo>
                      <a:pt x="1218" y="39"/>
                    </a:lnTo>
                    <a:lnTo>
                      <a:pt x="1216" y="39"/>
                    </a:lnTo>
                    <a:lnTo>
                      <a:pt x="1218" y="37"/>
                    </a:lnTo>
                    <a:lnTo>
                      <a:pt x="1218" y="35"/>
                    </a:lnTo>
                    <a:lnTo>
                      <a:pt x="1216" y="35"/>
                    </a:lnTo>
                    <a:lnTo>
                      <a:pt x="1218" y="35"/>
                    </a:lnTo>
                    <a:lnTo>
                      <a:pt x="1218" y="33"/>
                    </a:lnTo>
                    <a:lnTo>
                      <a:pt x="1220" y="33"/>
                    </a:lnTo>
                    <a:lnTo>
                      <a:pt x="1220" y="31"/>
                    </a:lnTo>
                    <a:lnTo>
                      <a:pt x="1218" y="31"/>
                    </a:lnTo>
                    <a:lnTo>
                      <a:pt x="1220" y="31"/>
                    </a:lnTo>
                    <a:lnTo>
                      <a:pt x="1220" y="33"/>
                    </a:lnTo>
                    <a:lnTo>
                      <a:pt x="1222" y="35"/>
                    </a:lnTo>
                    <a:lnTo>
                      <a:pt x="1222" y="37"/>
                    </a:lnTo>
                    <a:lnTo>
                      <a:pt x="1227" y="41"/>
                    </a:lnTo>
                    <a:lnTo>
                      <a:pt x="1227" y="43"/>
                    </a:lnTo>
                    <a:lnTo>
                      <a:pt x="1229" y="43"/>
                    </a:lnTo>
                    <a:lnTo>
                      <a:pt x="1231" y="43"/>
                    </a:lnTo>
                    <a:lnTo>
                      <a:pt x="1233" y="45"/>
                    </a:lnTo>
                    <a:lnTo>
                      <a:pt x="1235" y="45"/>
                    </a:lnTo>
                    <a:lnTo>
                      <a:pt x="1237" y="45"/>
                    </a:lnTo>
                    <a:lnTo>
                      <a:pt x="1243" y="47"/>
                    </a:lnTo>
                    <a:lnTo>
                      <a:pt x="1245" y="48"/>
                    </a:lnTo>
                    <a:lnTo>
                      <a:pt x="1243" y="52"/>
                    </a:lnTo>
                    <a:lnTo>
                      <a:pt x="1241" y="54"/>
                    </a:lnTo>
                    <a:lnTo>
                      <a:pt x="1243" y="56"/>
                    </a:lnTo>
                    <a:lnTo>
                      <a:pt x="1245" y="56"/>
                    </a:lnTo>
                    <a:lnTo>
                      <a:pt x="1247" y="58"/>
                    </a:lnTo>
                    <a:lnTo>
                      <a:pt x="1248" y="58"/>
                    </a:lnTo>
                    <a:lnTo>
                      <a:pt x="1252" y="58"/>
                    </a:lnTo>
                    <a:lnTo>
                      <a:pt x="1254" y="60"/>
                    </a:lnTo>
                    <a:lnTo>
                      <a:pt x="1256" y="60"/>
                    </a:lnTo>
                    <a:lnTo>
                      <a:pt x="1256" y="62"/>
                    </a:lnTo>
                    <a:lnTo>
                      <a:pt x="1258" y="66"/>
                    </a:lnTo>
                    <a:lnTo>
                      <a:pt x="1258" y="68"/>
                    </a:lnTo>
                    <a:lnTo>
                      <a:pt x="1254" y="68"/>
                    </a:lnTo>
                    <a:lnTo>
                      <a:pt x="1258" y="72"/>
                    </a:lnTo>
                    <a:lnTo>
                      <a:pt x="1262" y="72"/>
                    </a:lnTo>
                    <a:lnTo>
                      <a:pt x="1264" y="73"/>
                    </a:lnTo>
                    <a:lnTo>
                      <a:pt x="1266" y="75"/>
                    </a:lnTo>
                    <a:lnTo>
                      <a:pt x="1266" y="77"/>
                    </a:lnTo>
                    <a:lnTo>
                      <a:pt x="1266" y="79"/>
                    </a:lnTo>
                    <a:lnTo>
                      <a:pt x="1266" y="81"/>
                    </a:lnTo>
                    <a:lnTo>
                      <a:pt x="1266" y="83"/>
                    </a:lnTo>
                    <a:lnTo>
                      <a:pt x="1268" y="83"/>
                    </a:lnTo>
                    <a:lnTo>
                      <a:pt x="1270" y="87"/>
                    </a:lnTo>
                    <a:lnTo>
                      <a:pt x="1270" y="89"/>
                    </a:lnTo>
                    <a:lnTo>
                      <a:pt x="1270" y="91"/>
                    </a:lnTo>
                    <a:lnTo>
                      <a:pt x="1270" y="93"/>
                    </a:lnTo>
                    <a:lnTo>
                      <a:pt x="1268" y="95"/>
                    </a:lnTo>
                    <a:lnTo>
                      <a:pt x="1266" y="95"/>
                    </a:lnTo>
                    <a:lnTo>
                      <a:pt x="1264" y="97"/>
                    </a:lnTo>
                    <a:lnTo>
                      <a:pt x="1262" y="97"/>
                    </a:lnTo>
                    <a:lnTo>
                      <a:pt x="1260" y="97"/>
                    </a:lnTo>
                    <a:lnTo>
                      <a:pt x="1258" y="98"/>
                    </a:lnTo>
                    <a:lnTo>
                      <a:pt x="1254" y="102"/>
                    </a:lnTo>
                    <a:lnTo>
                      <a:pt x="1252" y="102"/>
                    </a:lnTo>
                    <a:lnTo>
                      <a:pt x="1250" y="102"/>
                    </a:lnTo>
                    <a:lnTo>
                      <a:pt x="1250" y="104"/>
                    </a:lnTo>
                    <a:lnTo>
                      <a:pt x="1248" y="104"/>
                    </a:lnTo>
                    <a:lnTo>
                      <a:pt x="1247" y="106"/>
                    </a:lnTo>
                    <a:lnTo>
                      <a:pt x="1247" y="108"/>
                    </a:lnTo>
                    <a:lnTo>
                      <a:pt x="1245" y="110"/>
                    </a:lnTo>
                    <a:lnTo>
                      <a:pt x="1243" y="110"/>
                    </a:lnTo>
                    <a:lnTo>
                      <a:pt x="1243" y="112"/>
                    </a:lnTo>
                    <a:lnTo>
                      <a:pt x="1241" y="112"/>
                    </a:lnTo>
                    <a:lnTo>
                      <a:pt x="1241" y="114"/>
                    </a:lnTo>
                    <a:lnTo>
                      <a:pt x="1241" y="112"/>
                    </a:lnTo>
                    <a:lnTo>
                      <a:pt x="1241" y="110"/>
                    </a:lnTo>
                    <a:lnTo>
                      <a:pt x="1239" y="110"/>
                    </a:lnTo>
                    <a:lnTo>
                      <a:pt x="1239" y="112"/>
                    </a:lnTo>
                    <a:lnTo>
                      <a:pt x="1239" y="110"/>
                    </a:lnTo>
                    <a:lnTo>
                      <a:pt x="1237" y="110"/>
                    </a:lnTo>
                    <a:lnTo>
                      <a:pt x="1237" y="112"/>
                    </a:lnTo>
                    <a:lnTo>
                      <a:pt x="1235" y="112"/>
                    </a:lnTo>
                    <a:lnTo>
                      <a:pt x="1237" y="110"/>
                    </a:lnTo>
                    <a:lnTo>
                      <a:pt x="1237" y="108"/>
                    </a:lnTo>
                    <a:lnTo>
                      <a:pt x="1239" y="108"/>
                    </a:lnTo>
                    <a:lnTo>
                      <a:pt x="1237" y="108"/>
                    </a:lnTo>
                    <a:lnTo>
                      <a:pt x="1235" y="108"/>
                    </a:lnTo>
                    <a:lnTo>
                      <a:pt x="1235" y="110"/>
                    </a:lnTo>
                    <a:lnTo>
                      <a:pt x="1233" y="110"/>
                    </a:lnTo>
                    <a:lnTo>
                      <a:pt x="1235" y="108"/>
                    </a:lnTo>
                    <a:lnTo>
                      <a:pt x="1235" y="106"/>
                    </a:lnTo>
                    <a:lnTo>
                      <a:pt x="1237" y="104"/>
                    </a:lnTo>
                    <a:close/>
                    <a:moveTo>
                      <a:pt x="445" y="433"/>
                    </a:moveTo>
                    <a:lnTo>
                      <a:pt x="445" y="435"/>
                    </a:lnTo>
                    <a:lnTo>
                      <a:pt x="443" y="435"/>
                    </a:lnTo>
                    <a:lnTo>
                      <a:pt x="442" y="435"/>
                    </a:lnTo>
                    <a:lnTo>
                      <a:pt x="443" y="435"/>
                    </a:lnTo>
                    <a:lnTo>
                      <a:pt x="445" y="433"/>
                    </a:lnTo>
                    <a:close/>
                    <a:moveTo>
                      <a:pt x="453" y="412"/>
                    </a:moveTo>
                    <a:lnTo>
                      <a:pt x="451" y="412"/>
                    </a:lnTo>
                    <a:lnTo>
                      <a:pt x="453" y="412"/>
                    </a:lnTo>
                    <a:lnTo>
                      <a:pt x="453" y="410"/>
                    </a:lnTo>
                    <a:lnTo>
                      <a:pt x="453" y="412"/>
                    </a:lnTo>
                    <a:lnTo>
                      <a:pt x="453" y="410"/>
                    </a:lnTo>
                    <a:lnTo>
                      <a:pt x="453" y="412"/>
                    </a:lnTo>
                    <a:lnTo>
                      <a:pt x="453" y="414"/>
                    </a:lnTo>
                    <a:lnTo>
                      <a:pt x="451" y="412"/>
                    </a:lnTo>
                    <a:lnTo>
                      <a:pt x="449" y="412"/>
                    </a:lnTo>
                    <a:lnTo>
                      <a:pt x="449" y="410"/>
                    </a:lnTo>
                    <a:lnTo>
                      <a:pt x="449" y="412"/>
                    </a:lnTo>
                    <a:lnTo>
                      <a:pt x="449" y="410"/>
                    </a:lnTo>
                    <a:lnTo>
                      <a:pt x="451" y="412"/>
                    </a:lnTo>
                    <a:lnTo>
                      <a:pt x="453" y="412"/>
                    </a:lnTo>
                    <a:close/>
                    <a:moveTo>
                      <a:pt x="1001" y="110"/>
                    </a:moveTo>
                    <a:lnTo>
                      <a:pt x="999" y="110"/>
                    </a:lnTo>
                    <a:lnTo>
                      <a:pt x="1001" y="110"/>
                    </a:lnTo>
                    <a:lnTo>
                      <a:pt x="999" y="110"/>
                    </a:lnTo>
                    <a:lnTo>
                      <a:pt x="1001" y="110"/>
                    </a:lnTo>
                    <a:lnTo>
                      <a:pt x="999" y="110"/>
                    </a:lnTo>
                    <a:lnTo>
                      <a:pt x="1001" y="110"/>
                    </a:lnTo>
                    <a:lnTo>
                      <a:pt x="1001" y="108"/>
                    </a:lnTo>
                    <a:lnTo>
                      <a:pt x="1001" y="110"/>
                    </a:lnTo>
                    <a:lnTo>
                      <a:pt x="1001" y="108"/>
                    </a:lnTo>
                    <a:lnTo>
                      <a:pt x="1001" y="110"/>
                    </a:lnTo>
                    <a:close/>
                    <a:moveTo>
                      <a:pt x="931" y="150"/>
                    </a:moveTo>
                    <a:lnTo>
                      <a:pt x="931" y="148"/>
                    </a:lnTo>
                    <a:lnTo>
                      <a:pt x="933" y="148"/>
                    </a:lnTo>
                    <a:lnTo>
                      <a:pt x="933" y="150"/>
                    </a:lnTo>
                    <a:lnTo>
                      <a:pt x="931" y="150"/>
                    </a:lnTo>
                    <a:lnTo>
                      <a:pt x="933" y="150"/>
                    </a:lnTo>
                    <a:lnTo>
                      <a:pt x="931" y="150"/>
                    </a:lnTo>
                    <a:lnTo>
                      <a:pt x="931" y="152"/>
                    </a:lnTo>
                    <a:lnTo>
                      <a:pt x="930" y="152"/>
                    </a:lnTo>
                    <a:lnTo>
                      <a:pt x="931" y="150"/>
                    </a:lnTo>
                    <a:close/>
                    <a:moveTo>
                      <a:pt x="912" y="166"/>
                    </a:moveTo>
                    <a:lnTo>
                      <a:pt x="912" y="168"/>
                    </a:lnTo>
                    <a:lnTo>
                      <a:pt x="912" y="166"/>
                    </a:lnTo>
                    <a:lnTo>
                      <a:pt x="914" y="166"/>
                    </a:lnTo>
                    <a:lnTo>
                      <a:pt x="914" y="164"/>
                    </a:lnTo>
                    <a:lnTo>
                      <a:pt x="914" y="162"/>
                    </a:lnTo>
                    <a:lnTo>
                      <a:pt x="912" y="162"/>
                    </a:lnTo>
                    <a:lnTo>
                      <a:pt x="912" y="164"/>
                    </a:lnTo>
                    <a:lnTo>
                      <a:pt x="912" y="162"/>
                    </a:lnTo>
                    <a:lnTo>
                      <a:pt x="912" y="160"/>
                    </a:lnTo>
                    <a:lnTo>
                      <a:pt x="912" y="162"/>
                    </a:lnTo>
                    <a:lnTo>
                      <a:pt x="912" y="160"/>
                    </a:lnTo>
                    <a:lnTo>
                      <a:pt x="914" y="160"/>
                    </a:lnTo>
                    <a:lnTo>
                      <a:pt x="912" y="160"/>
                    </a:lnTo>
                    <a:lnTo>
                      <a:pt x="912" y="158"/>
                    </a:lnTo>
                    <a:lnTo>
                      <a:pt x="914" y="158"/>
                    </a:lnTo>
                    <a:lnTo>
                      <a:pt x="916" y="158"/>
                    </a:lnTo>
                    <a:lnTo>
                      <a:pt x="916" y="156"/>
                    </a:lnTo>
                    <a:lnTo>
                      <a:pt x="918" y="156"/>
                    </a:lnTo>
                    <a:lnTo>
                      <a:pt x="916" y="156"/>
                    </a:lnTo>
                    <a:lnTo>
                      <a:pt x="916" y="154"/>
                    </a:lnTo>
                    <a:lnTo>
                      <a:pt x="918" y="154"/>
                    </a:lnTo>
                    <a:lnTo>
                      <a:pt x="918" y="152"/>
                    </a:lnTo>
                    <a:lnTo>
                      <a:pt x="918" y="154"/>
                    </a:lnTo>
                    <a:lnTo>
                      <a:pt x="916" y="154"/>
                    </a:lnTo>
                    <a:lnTo>
                      <a:pt x="916" y="152"/>
                    </a:lnTo>
                    <a:lnTo>
                      <a:pt x="918" y="152"/>
                    </a:lnTo>
                    <a:lnTo>
                      <a:pt x="920" y="150"/>
                    </a:lnTo>
                    <a:lnTo>
                      <a:pt x="922" y="152"/>
                    </a:lnTo>
                    <a:lnTo>
                      <a:pt x="922" y="154"/>
                    </a:lnTo>
                    <a:lnTo>
                      <a:pt x="924" y="154"/>
                    </a:lnTo>
                    <a:lnTo>
                      <a:pt x="922" y="156"/>
                    </a:lnTo>
                    <a:lnTo>
                      <a:pt x="920" y="156"/>
                    </a:lnTo>
                    <a:lnTo>
                      <a:pt x="920" y="158"/>
                    </a:lnTo>
                    <a:lnTo>
                      <a:pt x="922" y="158"/>
                    </a:lnTo>
                    <a:lnTo>
                      <a:pt x="922" y="160"/>
                    </a:lnTo>
                    <a:lnTo>
                      <a:pt x="920" y="162"/>
                    </a:lnTo>
                    <a:lnTo>
                      <a:pt x="918" y="162"/>
                    </a:lnTo>
                    <a:lnTo>
                      <a:pt x="918" y="164"/>
                    </a:lnTo>
                    <a:lnTo>
                      <a:pt x="920" y="164"/>
                    </a:lnTo>
                    <a:lnTo>
                      <a:pt x="920" y="166"/>
                    </a:lnTo>
                    <a:lnTo>
                      <a:pt x="918" y="168"/>
                    </a:lnTo>
                    <a:lnTo>
                      <a:pt x="916" y="168"/>
                    </a:lnTo>
                    <a:lnTo>
                      <a:pt x="916" y="170"/>
                    </a:lnTo>
                    <a:lnTo>
                      <a:pt x="916" y="168"/>
                    </a:lnTo>
                    <a:lnTo>
                      <a:pt x="918" y="168"/>
                    </a:lnTo>
                    <a:lnTo>
                      <a:pt x="920" y="166"/>
                    </a:lnTo>
                    <a:lnTo>
                      <a:pt x="920" y="168"/>
                    </a:lnTo>
                    <a:lnTo>
                      <a:pt x="920" y="166"/>
                    </a:lnTo>
                    <a:lnTo>
                      <a:pt x="920" y="168"/>
                    </a:lnTo>
                    <a:lnTo>
                      <a:pt x="922" y="168"/>
                    </a:lnTo>
                    <a:lnTo>
                      <a:pt x="922" y="170"/>
                    </a:lnTo>
                    <a:lnTo>
                      <a:pt x="922" y="172"/>
                    </a:lnTo>
                    <a:lnTo>
                      <a:pt x="920" y="172"/>
                    </a:lnTo>
                    <a:lnTo>
                      <a:pt x="918" y="173"/>
                    </a:lnTo>
                    <a:lnTo>
                      <a:pt x="918" y="175"/>
                    </a:lnTo>
                    <a:lnTo>
                      <a:pt x="916" y="175"/>
                    </a:lnTo>
                    <a:lnTo>
                      <a:pt x="914" y="175"/>
                    </a:lnTo>
                    <a:lnTo>
                      <a:pt x="914" y="173"/>
                    </a:lnTo>
                    <a:lnTo>
                      <a:pt x="914" y="175"/>
                    </a:lnTo>
                    <a:lnTo>
                      <a:pt x="916" y="175"/>
                    </a:lnTo>
                    <a:lnTo>
                      <a:pt x="916" y="177"/>
                    </a:lnTo>
                    <a:lnTo>
                      <a:pt x="916" y="179"/>
                    </a:lnTo>
                    <a:lnTo>
                      <a:pt x="914" y="179"/>
                    </a:lnTo>
                    <a:lnTo>
                      <a:pt x="914" y="177"/>
                    </a:lnTo>
                    <a:lnTo>
                      <a:pt x="912" y="177"/>
                    </a:lnTo>
                    <a:lnTo>
                      <a:pt x="912" y="179"/>
                    </a:lnTo>
                    <a:lnTo>
                      <a:pt x="912" y="177"/>
                    </a:lnTo>
                    <a:lnTo>
                      <a:pt x="910" y="177"/>
                    </a:lnTo>
                    <a:lnTo>
                      <a:pt x="912" y="177"/>
                    </a:lnTo>
                    <a:lnTo>
                      <a:pt x="910" y="177"/>
                    </a:lnTo>
                    <a:lnTo>
                      <a:pt x="910" y="175"/>
                    </a:lnTo>
                    <a:lnTo>
                      <a:pt x="908" y="175"/>
                    </a:lnTo>
                    <a:lnTo>
                      <a:pt x="910" y="175"/>
                    </a:lnTo>
                    <a:lnTo>
                      <a:pt x="908" y="175"/>
                    </a:lnTo>
                    <a:lnTo>
                      <a:pt x="908" y="173"/>
                    </a:lnTo>
                    <a:lnTo>
                      <a:pt x="910" y="173"/>
                    </a:lnTo>
                    <a:lnTo>
                      <a:pt x="910" y="172"/>
                    </a:lnTo>
                    <a:lnTo>
                      <a:pt x="910" y="170"/>
                    </a:lnTo>
                    <a:lnTo>
                      <a:pt x="908" y="170"/>
                    </a:lnTo>
                    <a:lnTo>
                      <a:pt x="910" y="170"/>
                    </a:lnTo>
                    <a:lnTo>
                      <a:pt x="910" y="168"/>
                    </a:lnTo>
                    <a:lnTo>
                      <a:pt x="912" y="166"/>
                    </a:lnTo>
                    <a:close/>
                    <a:moveTo>
                      <a:pt x="522" y="339"/>
                    </a:moveTo>
                    <a:lnTo>
                      <a:pt x="520" y="339"/>
                    </a:lnTo>
                    <a:lnTo>
                      <a:pt x="522" y="339"/>
                    </a:lnTo>
                    <a:lnTo>
                      <a:pt x="520" y="339"/>
                    </a:lnTo>
                    <a:lnTo>
                      <a:pt x="522" y="339"/>
                    </a:lnTo>
                    <a:lnTo>
                      <a:pt x="520" y="339"/>
                    </a:lnTo>
                    <a:lnTo>
                      <a:pt x="522" y="339"/>
                    </a:lnTo>
                    <a:close/>
                    <a:moveTo>
                      <a:pt x="928" y="139"/>
                    </a:moveTo>
                    <a:lnTo>
                      <a:pt x="928" y="141"/>
                    </a:lnTo>
                    <a:lnTo>
                      <a:pt x="926" y="141"/>
                    </a:lnTo>
                    <a:lnTo>
                      <a:pt x="928" y="141"/>
                    </a:lnTo>
                    <a:lnTo>
                      <a:pt x="928" y="139"/>
                    </a:lnTo>
                    <a:lnTo>
                      <a:pt x="928" y="137"/>
                    </a:lnTo>
                    <a:lnTo>
                      <a:pt x="928" y="135"/>
                    </a:lnTo>
                    <a:lnTo>
                      <a:pt x="926" y="135"/>
                    </a:lnTo>
                    <a:lnTo>
                      <a:pt x="928" y="135"/>
                    </a:lnTo>
                    <a:lnTo>
                      <a:pt x="928" y="133"/>
                    </a:lnTo>
                    <a:lnTo>
                      <a:pt x="928" y="131"/>
                    </a:lnTo>
                    <a:lnTo>
                      <a:pt x="930" y="131"/>
                    </a:lnTo>
                    <a:lnTo>
                      <a:pt x="931" y="131"/>
                    </a:lnTo>
                    <a:lnTo>
                      <a:pt x="931" y="129"/>
                    </a:lnTo>
                    <a:lnTo>
                      <a:pt x="931" y="127"/>
                    </a:lnTo>
                    <a:lnTo>
                      <a:pt x="931" y="129"/>
                    </a:lnTo>
                    <a:lnTo>
                      <a:pt x="931" y="131"/>
                    </a:lnTo>
                    <a:lnTo>
                      <a:pt x="931" y="133"/>
                    </a:lnTo>
                    <a:lnTo>
                      <a:pt x="933" y="133"/>
                    </a:lnTo>
                    <a:lnTo>
                      <a:pt x="933" y="135"/>
                    </a:lnTo>
                    <a:lnTo>
                      <a:pt x="931" y="137"/>
                    </a:lnTo>
                    <a:lnTo>
                      <a:pt x="933" y="137"/>
                    </a:lnTo>
                    <a:lnTo>
                      <a:pt x="931" y="139"/>
                    </a:lnTo>
                    <a:lnTo>
                      <a:pt x="931" y="141"/>
                    </a:lnTo>
                    <a:lnTo>
                      <a:pt x="930" y="141"/>
                    </a:lnTo>
                    <a:lnTo>
                      <a:pt x="930" y="143"/>
                    </a:lnTo>
                    <a:lnTo>
                      <a:pt x="931" y="143"/>
                    </a:lnTo>
                    <a:lnTo>
                      <a:pt x="931" y="145"/>
                    </a:lnTo>
                    <a:lnTo>
                      <a:pt x="933" y="145"/>
                    </a:lnTo>
                    <a:lnTo>
                      <a:pt x="931" y="145"/>
                    </a:lnTo>
                    <a:lnTo>
                      <a:pt x="930" y="147"/>
                    </a:lnTo>
                    <a:lnTo>
                      <a:pt x="931" y="147"/>
                    </a:lnTo>
                    <a:lnTo>
                      <a:pt x="931" y="148"/>
                    </a:lnTo>
                    <a:lnTo>
                      <a:pt x="931" y="150"/>
                    </a:lnTo>
                    <a:lnTo>
                      <a:pt x="930" y="150"/>
                    </a:lnTo>
                    <a:lnTo>
                      <a:pt x="928" y="152"/>
                    </a:lnTo>
                    <a:lnTo>
                      <a:pt x="930" y="152"/>
                    </a:lnTo>
                    <a:lnTo>
                      <a:pt x="928" y="154"/>
                    </a:lnTo>
                    <a:lnTo>
                      <a:pt x="926" y="154"/>
                    </a:lnTo>
                    <a:lnTo>
                      <a:pt x="926" y="156"/>
                    </a:lnTo>
                    <a:lnTo>
                      <a:pt x="926" y="158"/>
                    </a:lnTo>
                    <a:lnTo>
                      <a:pt x="926" y="160"/>
                    </a:lnTo>
                    <a:lnTo>
                      <a:pt x="924" y="160"/>
                    </a:lnTo>
                    <a:lnTo>
                      <a:pt x="922" y="160"/>
                    </a:lnTo>
                    <a:lnTo>
                      <a:pt x="922" y="158"/>
                    </a:lnTo>
                    <a:lnTo>
                      <a:pt x="922" y="156"/>
                    </a:lnTo>
                    <a:lnTo>
                      <a:pt x="924" y="156"/>
                    </a:lnTo>
                    <a:lnTo>
                      <a:pt x="924" y="154"/>
                    </a:lnTo>
                    <a:lnTo>
                      <a:pt x="922" y="154"/>
                    </a:lnTo>
                    <a:lnTo>
                      <a:pt x="922" y="152"/>
                    </a:lnTo>
                    <a:lnTo>
                      <a:pt x="924" y="152"/>
                    </a:lnTo>
                    <a:lnTo>
                      <a:pt x="922" y="152"/>
                    </a:lnTo>
                    <a:lnTo>
                      <a:pt x="922" y="150"/>
                    </a:lnTo>
                    <a:lnTo>
                      <a:pt x="920" y="150"/>
                    </a:lnTo>
                    <a:lnTo>
                      <a:pt x="922" y="150"/>
                    </a:lnTo>
                    <a:lnTo>
                      <a:pt x="920" y="150"/>
                    </a:lnTo>
                    <a:lnTo>
                      <a:pt x="922" y="150"/>
                    </a:lnTo>
                    <a:lnTo>
                      <a:pt x="922" y="148"/>
                    </a:lnTo>
                    <a:lnTo>
                      <a:pt x="920" y="148"/>
                    </a:lnTo>
                    <a:lnTo>
                      <a:pt x="920" y="147"/>
                    </a:lnTo>
                    <a:lnTo>
                      <a:pt x="920" y="145"/>
                    </a:lnTo>
                    <a:lnTo>
                      <a:pt x="922" y="145"/>
                    </a:lnTo>
                    <a:lnTo>
                      <a:pt x="922" y="143"/>
                    </a:lnTo>
                    <a:lnTo>
                      <a:pt x="922" y="141"/>
                    </a:lnTo>
                    <a:lnTo>
                      <a:pt x="920" y="141"/>
                    </a:lnTo>
                    <a:lnTo>
                      <a:pt x="922" y="139"/>
                    </a:lnTo>
                    <a:lnTo>
                      <a:pt x="924" y="139"/>
                    </a:lnTo>
                    <a:lnTo>
                      <a:pt x="926" y="139"/>
                    </a:lnTo>
                    <a:lnTo>
                      <a:pt x="926" y="137"/>
                    </a:lnTo>
                    <a:lnTo>
                      <a:pt x="928" y="137"/>
                    </a:lnTo>
                    <a:lnTo>
                      <a:pt x="928" y="139"/>
                    </a:lnTo>
                    <a:close/>
                    <a:moveTo>
                      <a:pt x="941" y="118"/>
                    </a:moveTo>
                    <a:lnTo>
                      <a:pt x="941" y="120"/>
                    </a:lnTo>
                    <a:lnTo>
                      <a:pt x="941" y="122"/>
                    </a:lnTo>
                    <a:lnTo>
                      <a:pt x="941" y="120"/>
                    </a:lnTo>
                    <a:lnTo>
                      <a:pt x="941" y="118"/>
                    </a:lnTo>
                    <a:lnTo>
                      <a:pt x="941" y="116"/>
                    </a:lnTo>
                    <a:lnTo>
                      <a:pt x="941" y="118"/>
                    </a:lnTo>
                    <a:lnTo>
                      <a:pt x="941" y="116"/>
                    </a:lnTo>
                    <a:lnTo>
                      <a:pt x="941" y="118"/>
                    </a:lnTo>
                    <a:lnTo>
                      <a:pt x="941" y="120"/>
                    </a:lnTo>
                    <a:lnTo>
                      <a:pt x="941" y="122"/>
                    </a:lnTo>
                    <a:lnTo>
                      <a:pt x="941" y="120"/>
                    </a:lnTo>
                    <a:lnTo>
                      <a:pt x="941" y="122"/>
                    </a:lnTo>
                    <a:lnTo>
                      <a:pt x="943" y="122"/>
                    </a:lnTo>
                    <a:lnTo>
                      <a:pt x="943" y="123"/>
                    </a:lnTo>
                    <a:lnTo>
                      <a:pt x="945" y="123"/>
                    </a:lnTo>
                    <a:lnTo>
                      <a:pt x="945" y="125"/>
                    </a:lnTo>
                    <a:lnTo>
                      <a:pt x="945" y="127"/>
                    </a:lnTo>
                    <a:lnTo>
                      <a:pt x="943" y="129"/>
                    </a:lnTo>
                    <a:lnTo>
                      <a:pt x="943" y="131"/>
                    </a:lnTo>
                    <a:lnTo>
                      <a:pt x="943" y="129"/>
                    </a:lnTo>
                    <a:lnTo>
                      <a:pt x="941" y="129"/>
                    </a:lnTo>
                    <a:lnTo>
                      <a:pt x="941" y="131"/>
                    </a:lnTo>
                    <a:lnTo>
                      <a:pt x="941" y="133"/>
                    </a:lnTo>
                    <a:lnTo>
                      <a:pt x="939" y="133"/>
                    </a:lnTo>
                    <a:lnTo>
                      <a:pt x="941" y="133"/>
                    </a:lnTo>
                    <a:lnTo>
                      <a:pt x="939" y="133"/>
                    </a:lnTo>
                    <a:lnTo>
                      <a:pt x="939" y="135"/>
                    </a:lnTo>
                    <a:lnTo>
                      <a:pt x="941" y="135"/>
                    </a:lnTo>
                    <a:lnTo>
                      <a:pt x="939" y="137"/>
                    </a:lnTo>
                    <a:lnTo>
                      <a:pt x="937" y="137"/>
                    </a:lnTo>
                    <a:lnTo>
                      <a:pt x="939" y="137"/>
                    </a:lnTo>
                    <a:lnTo>
                      <a:pt x="941" y="135"/>
                    </a:lnTo>
                    <a:lnTo>
                      <a:pt x="939" y="135"/>
                    </a:lnTo>
                    <a:lnTo>
                      <a:pt x="941" y="133"/>
                    </a:lnTo>
                    <a:lnTo>
                      <a:pt x="939" y="133"/>
                    </a:lnTo>
                    <a:lnTo>
                      <a:pt x="941" y="133"/>
                    </a:lnTo>
                    <a:lnTo>
                      <a:pt x="941" y="131"/>
                    </a:lnTo>
                    <a:lnTo>
                      <a:pt x="941" y="129"/>
                    </a:lnTo>
                    <a:lnTo>
                      <a:pt x="943" y="129"/>
                    </a:lnTo>
                    <a:lnTo>
                      <a:pt x="943" y="131"/>
                    </a:lnTo>
                    <a:lnTo>
                      <a:pt x="943" y="129"/>
                    </a:lnTo>
                    <a:lnTo>
                      <a:pt x="945" y="129"/>
                    </a:lnTo>
                    <a:lnTo>
                      <a:pt x="945" y="127"/>
                    </a:lnTo>
                    <a:lnTo>
                      <a:pt x="945" y="129"/>
                    </a:lnTo>
                    <a:lnTo>
                      <a:pt x="947" y="129"/>
                    </a:lnTo>
                    <a:lnTo>
                      <a:pt x="949" y="129"/>
                    </a:lnTo>
                    <a:lnTo>
                      <a:pt x="947" y="131"/>
                    </a:lnTo>
                    <a:lnTo>
                      <a:pt x="947" y="129"/>
                    </a:lnTo>
                    <a:lnTo>
                      <a:pt x="947" y="131"/>
                    </a:lnTo>
                    <a:lnTo>
                      <a:pt x="945" y="131"/>
                    </a:lnTo>
                    <a:lnTo>
                      <a:pt x="947" y="131"/>
                    </a:lnTo>
                    <a:lnTo>
                      <a:pt x="945" y="133"/>
                    </a:lnTo>
                    <a:lnTo>
                      <a:pt x="947" y="133"/>
                    </a:lnTo>
                    <a:lnTo>
                      <a:pt x="947" y="135"/>
                    </a:lnTo>
                    <a:lnTo>
                      <a:pt x="945" y="135"/>
                    </a:lnTo>
                    <a:lnTo>
                      <a:pt x="945" y="133"/>
                    </a:lnTo>
                    <a:lnTo>
                      <a:pt x="943" y="135"/>
                    </a:lnTo>
                    <a:lnTo>
                      <a:pt x="943" y="137"/>
                    </a:lnTo>
                    <a:lnTo>
                      <a:pt x="943" y="139"/>
                    </a:lnTo>
                    <a:lnTo>
                      <a:pt x="943" y="141"/>
                    </a:lnTo>
                    <a:lnTo>
                      <a:pt x="941" y="141"/>
                    </a:lnTo>
                    <a:lnTo>
                      <a:pt x="941" y="143"/>
                    </a:lnTo>
                    <a:lnTo>
                      <a:pt x="939" y="143"/>
                    </a:lnTo>
                    <a:lnTo>
                      <a:pt x="941" y="145"/>
                    </a:lnTo>
                    <a:lnTo>
                      <a:pt x="939" y="145"/>
                    </a:lnTo>
                    <a:lnTo>
                      <a:pt x="937" y="145"/>
                    </a:lnTo>
                    <a:lnTo>
                      <a:pt x="935" y="147"/>
                    </a:lnTo>
                    <a:lnTo>
                      <a:pt x="933" y="147"/>
                    </a:lnTo>
                    <a:lnTo>
                      <a:pt x="933" y="145"/>
                    </a:lnTo>
                    <a:lnTo>
                      <a:pt x="935" y="145"/>
                    </a:lnTo>
                    <a:lnTo>
                      <a:pt x="935" y="143"/>
                    </a:lnTo>
                    <a:lnTo>
                      <a:pt x="935" y="145"/>
                    </a:lnTo>
                    <a:lnTo>
                      <a:pt x="933" y="145"/>
                    </a:lnTo>
                    <a:lnTo>
                      <a:pt x="933" y="147"/>
                    </a:lnTo>
                    <a:lnTo>
                      <a:pt x="931" y="147"/>
                    </a:lnTo>
                    <a:lnTo>
                      <a:pt x="931" y="145"/>
                    </a:lnTo>
                    <a:lnTo>
                      <a:pt x="933" y="145"/>
                    </a:lnTo>
                    <a:lnTo>
                      <a:pt x="931" y="143"/>
                    </a:lnTo>
                    <a:lnTo>
                      <a:pt x="930" y="143"/>
                    </a:lnTo>
                    <a:lnTo>
                      <a:pt x="930" y="141"/>
                    </a:lnTo>
                    <a:lnTo>
                      <a:pt x="931" y="141"/>
                    </a:lnTo>
                    <a:lnTo>
                      <a:pt x="931" y="139"/>
                    </a:lnTo>
                    <a:lnTo>
                      <a:pt x="933" y="139"/>
                    </a:lnTo>
                    <a:lnTo>
                      <a:pt x="933" y="137"/>
                    </a:lnTo>
                    <a:lnTo>
                      <a:pt x="931" y="137"/>
                    </a:lnTo>
                    <a:lnTo>
                      <a:pt x="933" y="137"/>
                    </a:lnTo>
                    <a:lnTo>
                      <a:pt x="935" y="137"/>
                    </a:lnTo>
                    <a:lnTo>
                      <a:pt x="933" y="137"/>
                    </a:lnTo>
                    <a:lnTo>
                      <a:pt x="931" y="137"/>
                    </a:lnTo>
                    <a:lnTo>
                      <a:pt x="933" y="135"/>
                    </a:lnTo>
                    <a:lnTo>
                      <a:pt x="935" y="135"/>
                    </a:lnTo>
                    <a:lnTo>
                      <a:pt x="933" y="135"/>
                    </a:lnTo>
                    <a:lnTo>
                      <a:pt x="933" y="133"/>
                    </a:lnTo>
                    <a:lnTo>
                      <a:pt x="931" y="133"/>
                    </a:lnTo>
                    <a:lnTo>
                      <a:pt x="931" y="131"/>
                    </a:lnTo>
                    <a:lnTo>
                      <a:pt x="931" y="133"/>
                    </a:lnTo>
                    <a:lnTo>
                      <a:pt x="931" y="131"/>
                    </a:lnTo>
                    <a:lnTo>
                      <a:pt x="931" y="129"/>
                    </a:lnTo>
                    <a:lnTo>
                      <a:pt x="931" y="127"/>
                    </a:lnTo>
                    <a:lnTo>
                      <a:pt x="933" y="127"/>
                    </a:lnTo>
                    <a:lnTo>
                      <a:pt x="931" y="127"/>
                    </a:lnTo>
                    <a:lnTo>
                      <a:pt x="933" y="127"/>
                    </a:lnTo>
                    <a:lnTo>
                      <a:pt x="933" y="125"/>
                    </a:lnTo>
                    <a:lnTo>
                      <a:pt x="935" y="125"/>
                    </a:lnTo>
                    <a:lnTo>
                      <a:pt x="935" y="123"/>
                    </a:lnTo>
                    <a:lnTo>
                      <a:pt x="935" y="122"/>
                    </a:lnTo>
                    <a:lnTo>
                      <a:pt x="937" y="122"/>
                    </a:lnTo>
                    <a:lnTo>
                      <a:pt x="939" y="122"/>
                    </a:lnTo>
                    <a:lnTo>
                      <a:pt x="939" y="120"/>
                    </a:lnTo>
                    <a:lnTo>
                      <a:pt x="939" y="118"/>
                    </a:lnTo>
                    <a:lnTo>
                      <a:pt x="939" y="116"/>
                    </a:lnTo>
                    <a:lnTo>
                      <a:pt x="939" y="114"/>
                    </a:lnTo>
                    <a:lnTo>
                      <a:pt x="939" y="112"/>
                    </a:lnTo>
                    <a:lnTo>
                      <a:pt x="941" y="112"/>
                    </a:lnTo>
                    <a:lnTo>
                      <a:pt x="941" y="114"/>
                    </a:lnTo>
                    <a:lnTo>
                      <a:pt x="941" y="116"/>
                    </a:lnTo>
                    <a:lnTo>
                      <a:pt x="941" y="118"/>
                    </a:lnTo>
                    <a:close/>
                    <a:moveTo>
                      <a:pt x="941" y="110"/>
                    </a:moveTo>
                    <a:lnTo>
                      <a:pt x="939" y="112"/>
                    </a:lnTo>
                    <a:lnTo>
                      <a:pt x="941" y="110"/>
                    </a:lnTo>
                    <a:lnTo>
                      <a:pt x="939" y="112"/>
                    </a:lnTo>
                    <a:lnTo>
                      <a:pt x="939" y="110"/>
                    </a:lnTo>
                    <a:lnTo>
                      <a:pt x="939" y="108"/>
                    </a:lnTo>
                    <a:lnTo>
                      <a:pt x="939" y="110"/>
                    </a:lnTo>
                    <a:lnTo>
                      <a:pt x="941" y="110"/>
                    </a:lnTo>
                    <a:lnTo>
                      <a:pt x="941" y="108"/>
                    </a:lnTo>
                    <a:lnTo>
                      <a:pt x="941" y="110"/>
                    </a:lnTo>
                    <a:lnTo>
                      <a:pt x="939" y="110"/>
                    </a:lnTo>
                    <a:lnTo>
                      <a:pt x="939" y="108"/>
                    </a:lnTo>
                    <a:lnTo>
                      <a:pt x="941" y="108"/>
                    </a:lnTo>
                    <a:lnTo>
                      <a:pt x="939" y="108"/>
                    </a:lnTo>
                    <a:lnTo>
                      <a:pt x="941" y="108"/>
                    </a:lnTo>
                    <a:lnTo>
                      <a:pt x="941" y="106"/>
                    </a:lnTo>
                    <a:lnTo>
                      <a:pt x="941" y="108"/>
                    </a:lnTo>
                    <a:lnTo>
                      <a:pt x="943" y="108"/>
                    </a:lnTo>
                    <a:lnTo>
                      <a:pt x="941" y="108"/>
                    </a:lnTo>
                    <a:lnTo>
                      <a:pt x="943" y="108"/>
                    </a:lnTo>
                    <a:lnTo>
                      <a:pt x="941" y="108"/>
                    </a:lnTo>
                    <a:lnTo>
                      <a:pt x="941" y="110"/>
                    </a:lnTo>
                    <a:lnTo>
                      <a:pt x="941" y="108"/>
                    </a:lnTo>
                    <a:lnTo>
                      <a:pt x="941" y="110"/>
                    </a:lnTo>
                    <a:lnTo>
                      <a:pt x="941" y="108"/>
                    </a:lnTo>
                    <a:lnTo>
                      <a:pt x="943" y="108"/>
                    </a:lnTo>
                    <a:lnTo>
                      <a:pt x="945" y="108"/>
                    </a:lnTo>
                    <a:lnTo>
                      <a:pt x="943" y="108"/>
                    </a:lnTo>
                    <a:lnTo>
                      <a:pt x="943" y="110"/>
                    </a:lnTo>
                    <a:lnTo>
                      <a:pt x="943" y="112"/>
                    </a:lnTo>
                    <a:lnTo>
                      <a:pt x="941" y="112"/>
                    </a:lnTo>
                    <a:lnTo>
                      <a:pt x="941" y="110"/>
                    </a:lnTo>
                    <a:close/>
                    <a:moveTo>
                      <a:pt x="618" y="277"/>
                    </a:moveTo>
                    <a:lnTo>
                      <a:pt x="618" y="279"/>
                    </a:lnTo>
                    <a:lnTo>
                      <a:pt x="616" y="279"/>
                    </a:lnTo>
                    <a:lnTo>
                      <a:pt x="616" y="277"/>
                    </a:lnTo>
                    <a:lnTo>
                      <a:pt x="618" y="277"/>
                    </a:lnTo>
                    <a:close/>
                    <a:moveTo>
                      <a:pt x="943" y="106"/>
                    </a:moveTo>
                    <a:lnTo>
                      <a:pt x="945" y="106"/>
                    </a:lnTo>
                    <a:lnTo>
                      <a:pt x="943" y="106"/>
                    </a:lnTo>
                    <a:lnTo>
                      <a:pt x="945" y="106"/>
                    </a:lnTo>
                    <a:lnTo>
                      <a:pt x="943" y="106"/>
                    </a:lnTo>
                    <a:lnTo>
                      <a:pt x="945" y="106"/>
                    </a:lnTo>
                    <a:lnTo>
                      <a:pt x="943" y="104"/>
                    </a:lnTo>
                    <a:lnTo>
                      <a:pt x="945" y="104"/>
                    </a:lnTo>
                    <a:lnTo>
                      <a:pt x="943" y="104"/>
                    </a:lnTo>
                    <a:lnTo>
                      <a:pt x="945" y="104"/>
                    </a:lnTo>
                    <a:lnTo>
                      <a:pt x="943" y="104"/>
                    </a:lnTo>
                    <a:lnTo>
                      <a:pt x="945" y="104"/>
                    </a:lnTo>
                    <a:lnTo>
                      <a:pt x="945" y="106"/>
                    </a:lnTo>
                    <a:lnTo>
                      <a:pt x="943" y="106"/>
                    </a:lnTo>
                    <a:lnTo>
                      <a:pt x="943" y="104"/>
                    </a:lnTo>
                    <a:lnTo>
                      <a:pt x="943" y="106"/>
                    </a:lnTo>
                    <a:lnTo>
                      <a:pt x="943" y="104"/>
                    </a:lnTo>
                    <a:lnTo>
                      <a:pt x="943" y="106"/>
                    </a:lnTo>
                    <a:lnTo>
                      <a:pt x="943" y="104"/>
                    </a:lnTo>
                    <a:lnTo>
                      <a:pt x="943" y="106"/>
                    </a:lnTo>
                    <a:close/>
                    <a:moveTo>
                      <a:pt x="501" y="323"/>
                    </a:moveTo>
                    <a:lnTo>
                      <a:pt x="499" y="323"/>
                    </a:lnTo>
                    <a:lnTo>
                      <a:pt x="499" y="321"/>
                    </a:lnTo>
                    <a:lnTo>
                      <a:pt x="501" y="323"/>
                    </a:lnTo>
                    <a:close/>
                    <a:moveTo>
                      <a:pt x="933" y="108"/>
                    </a:moveTo>
                    <a:lnTo>
                      <a:pt x="933" y="106"/>
                    </a:lnTo>
                    <a:lnTo>
                      <a:pt x="933" y="108"/>
                    </a:lnTo>
                    <a:lnTo>
                      <a:pt x="931" y="108"/>
                    </a:lnTo>
                    <a:lnTo>
                      <a:pt x="933" y="108"/>
                    </a:lnTo>
                    <a:close/>
                    <a:moveTo>
                      <a:pt x="924" y="129"/>
                    </a:moveTo>
                    <a:lnTo>
                      <a:pt x="924" y="131"/>
                    </a:lnTo>
                    <a:lnTo>
                      <a:pt x="924" y="129"/>
                    </a:lnTo>
                    <a:lnTo>
                      <a:pt x="924" y="127"/>
                    </a:lnTo>
                    <a:lnTo>
                      <a:pt x="926" y="127"/>
                    </a:lnTo>
                    <a:lnTo>
                      <a:pt x="924" y="127"/>
                    </a:lnTo>
                    <a:lnTo>
                      <a:pt x="924" y="129"/>
                    </a:lnTo>
                    <a:lnTo>
                      <a:pt x="924" y="131"/>
                    </a:lnTo>
                    <a:lnTo>
                      <a:pt x="924" y="129"/>
                    </a:lnTo>
                    <a:lnTo>
                      <a:pt x="924" y="131"/>
                    </a:lnTo>
                    <a:lnTo>
                      <a:pt x="922" y="131"/>
                    </a:lnTo>
                    <a:lnTo>
                      <a:pt x="924" y="131"/>
                    </a:lnTo>
                    <a:lnTo>
                      <a:pt x="922" y="131"/>
                    </a:lnTo>
                    <a:lnTo>
                      <a:pt x="922" y="133"/>
                    </a:lnTo>
                    <a:lnTo>
                      <a:pt x="920" y="133"/>
                    </a:lnTo>
                    <a:lnTo>
                      <a:pt x="920" y="131"/>
                    </a:lnTo>
                    <a:lnTo>
                      <a:pt x="920" y="129"/>
                    </a:lnTo>
                    <a:lnTo>
                      <a:pt x="920" y="127"/>
                    </a:lnTo>
                    <a:lnTo>
                      <a:pt x="922" y="127"/>
                    </a:lnTo>
                    <a:lnTo>
                      <a:pt x="924" y="125"/>
                    </a:lnTo>
                    <a:lnTo>
                      <a:pt x="926" y="125"/>
                    </a:lnTo>
                    <a:lnTo>
                      <a:pt x="924" y="125"/>
                    </a:lnTo>
                    <a:lnTo>
                      <a:pt x="926" y="125"/>
                    </a:lnTo>
                    <a:lnTo>
                      <a:pt x="926" y="127"/>
                    </a:lnTo>
                    <a:lnTo>
                      <a:pt x="926" y="125"/>
                    </a:lnTo>
                    <a:lnTo>
                      <a:pt x="924" y="125"/>
                    </a:lnTo>
                    <a:lnTo>
                      <a:pt x="926" y="125"/>
                    </a:lnTo>
                    <a:lnTo>
                      <a:pt x="926" y="123"/>
                    </a:lnTo>
                    <a:lnTo>
                      <a:pt x="924" y="123"/>
                    </a:lnTo>
                    <a:lnTo>
                      <a:pt x="926" y="122"/>
                    </a:lnTo>
                    <a:lnTo>
                      <a:pt x="926" y="120"/>
                    </a:lnTo>
                    <a:lnTo>
                      <a:pt x="926" y="118"/>
                    </a:lnTo>
                    <a:lnTo>
                      <a:pt x="926" y="116"/>
                    </a:lnTo>
                    <a:lnTo>
                      <a:pt x="926" y="114"/>
                    </a:lnTo>
                    <a:lnTo>
                      <a:pt x="926" y="112"/>
                    </a:lnTo>
                    <a:lnTo>
                      <a:pt x="926" y="110"/>
                    </a:lnTo>
                    <a:lnTo>
                      <a:pt x="928" y="110"/>
                    </a:lnTo>
                    <a:lnTo>
                      <a:pt x="928" y="112"/>
                    </a:lnTo>
                    <a:lnTo>
                      <a:pt x="926" y="112"/>
                    </a:lnTo>
                    <a:lnTo>
                      <a:pt x="928" y="112"/>
                    </a:lnTo>
                    <a:lnTo>
                      <a:pt x="928" y="110"/>
                    </a:lnTo>
                    <a:lnTo>
                      <a:pt x="930" y="110"/>
                    </a:lnTo>
                    <a:lnTo>
                      <a:pt x="930" y="108"/>
                    </a:lnTo>
                    <a:lnTo>
                      <a:pt x="930" y="110"/>
                    </a:lnTo>
                    <a:lnTo>
                      <a:pt x="930" y="112"/>
                    </a:lnTo>
                    <a:lnTo>
                      <a:pt x="930" y="110"/>
                    </a:lnTo>
                    <a:lnTo>
                      <a:pt x="931" y="110"/>
                    </a:lnTo>
                    <a:lnTo>
                      <a:pt x="930" y="110"/>
                    </a:lnTo>
                    <a:lnTo>
                      <a:pt x="931" y="108"/>
                    </a:lnTo>
                    <a:lnTo>
                      <a:pt x="931" y="110"/>
                    </a:lnTo>
                    <a:lnTo>
                      <a:pt x="931" y="112"/>
                    </a:lnTo>
                    <a:lnTo>
                      <a:pt x="931" y="114"/>
                    </a:lnTo>
                    <a:lnTo>
                      <a:pt x="933" y="114"/>
                    </a:lnTo>
                    <a:lnTo>
                      <a:pt x="933" y="116"/>
                    </a:lnTo>
                    <a:lnTo>
                      <a:pt x="931" y="116"/>
                    </a:lnTo>
                    <a:lnTo>
                      <a:pt x="931" y="118"/>
                    </a:lnTo>
                    <a:lnTo>
                      <a:pt x="933" y="118"/>
                    </a:lnTo>
                    <a:lnTo>
                      <a:pt x="931" y="118"/>
                    </a:lnTo>
                    <a:lnTo>
                      <a:pt x="931" y="116"/>
                    </a:lnTo>
                    <a:lnTo>
                      <a:pt x="933" y="116"/>
                    </a:lnTo>
                    <a:lnTo>
                      <a:pt x="933" y="114"/>
                    </a:lnTo>
                    <a:lnTo>
                      <a:pt x="935" y="114"/>
                    </a:lnTo>
                    <a:lnTo>
                      <a:pt x="935" y="116"/>
                    </a:lnTo>
                    <a:lnTo>
                      <a:pt x="935" y="118"/>
                    </a:lnTo>
                    <a:lnTo>
                      <a:pt x="937" y="118"/>
                    </a:lnTo>
                    <a:lnTo>
                      <a:pt x="935" y="118"/>
                    </a:lnTo>
                    <a:lnTo>
                      <a:pt x="935" y="120"/>
                    </a:lnTo>
                    <a:lnTo>
                      <a:pt x="937" y="122"/>
                    </a:lnTo>
                    <a:lnTo>
                      <a:pt x="935" y="122"/>
                    </a:lnTo>
                    <a:lnTo>
                      <a:pt x="933" y="122"/>
                    </a:lnTo>
                    <a:lnTo>
                      <a:pt x="933" y="123"/>
                    </a:lnTo>
                    <a:lnTo>
                      <a:pt x="933" y="125"/>
                    </a:lnTo>
                    <a:lnTo>
                      <a:pt x="935" y="125"/>
                    </a:lnTo>
                    <a:lnTo>
                      <a:pt x="933" y="125"/>
                    </a:lnTo>
                    <a:lnTo>
                      <a:pt x="931" y="127"/>
                    </a:lnTo>
                    <a:lnTo>
                      <a:pt x="931" y="129"/>
                    </a:lnTo>
                    <a:lnTo>
                      <a:pt x="930" y="129"/>
                    </a:lnTo>
                    <a:lnTo>
                      <a:pt x="930" y="127"/>
                    </a:lnTo>
                    <a:lnTo>
                      <a:pt x="930" y="129"/>
                    </a:lnTo>
                    <a:lnTo>
                      <a:pt x="930" y="131"/>
                    </a:lnTo>
                    <a:lnTo>
                      <a:pt x="930" y="129"/>
                    </a:lnTo>
                    <a:lnTo>
                      <a:pt x="930" y="131"/>
                    </a:lnTo>
                    <a:lnTo>
                      <a:pt x="930" y="129"/>
                    </a:lnTo>
                    <a:lnTo>
                      <a:pt x="930" y="131"/>
                    </a:lnTo>
                    <a:lnTo>
                      <a:pt x="930" y="129"/>
                    </a:lnTo>
                    <a:lnTo>
                      <a:pt x="930" y="131"/>
                    </a:lnTo>
                    <a:lnTo>
                      <a:pt x="928" y="131"/>
                    </a:lnTo>
                    <a:lnTo>
                      <a:pt x="928" y="133"/>
                    </a:lnTo>
                    <a:lnTo>
                      <a:pt x="928" y="135"/>
                    </a:lnTo>
                    <a:lnTo>
                      <a:pt x="926" y="135"/>
                    </a:lnTo>
                    <a:lnTo>
                      <a:pt x="928" y="137"/>
                    </a:lnTo>
                    <a:lnTo>
                      <a:pt x="926" y="137"/>
                    </a:lnTo>
                    <a:lnTo>
                      <a:pt x="926" y="139"/>
                    </a:lnTo>
                    <a:lnTo>
                      <a:pt x="924" y="139"/>
                    </a:lnTo>
                    <a:lnTo>
                      <a:pt x="922" y="139"/>
                    </a:lnTo>
                    <a:lnTo>
                      <a:pt x="920" y="139"/>
                    </a:lnTo>
                    <a:lnTo>
                      <a:pt x="920" y="137"/>
                    </a:lnTo>
                    <a:lnTo>
                      <a:pt x="922" y="137"/>
                    </a:lnTo>
                    <a:lnTo>
                      <a:pt x="922" y="135"/>
                    </a:lnTo>
                    <a:lnTo>
                      <a:pt x="922" y="133"/>
                    </a:lnTo>
                    <a:lnTo>
                      <a:pt x="924" y="131"/>
                    </a:lnTo>
                    <a:lnTo>
                      <a:pt x="922" y="131"/>
                    </a:lnTo>
                    <a:lnTo>
                      <a:pt x="924" y="131"/>
                    </a:lnTo>
                    <a:lnTo>
                      <a:pt x="924" y="129"/>
                    </a:lnTo>
                    <a:close/>
                    <a:moveTo>
                      <a:pt x="666" y="252"/>
                    </a:moveTo>
                    <a:lnTo>
                      <a:pt x="668" y="252"/>
                    </a:lnTo>
                    <a:lnTo>
                      <a:pt x="666" y="252"/>
                    </a:lnTo>
                    <a:lnTo>
                      <a:pt x="664" y="250"/>
                    </a:lnTo>
                    <a:lnTo>
                      <a:pt x="664" y="248"/>
                    </a:lnTo>
                    <a:lnTo>
                      <a:pt x="666" y="248"/>
                    </a:lnTo>
                    <a:lnTo>
                      <a:pt x="664" y="248"/>
                    </a:lnTo>
                    <a:lnTo>
                      <a:pt x="666" y="248"/>
                    </a:lnTo>
                    <a:lnTo>
                      <a:pt x="664" y="248"/>
                    </a:lnTo>
                    <a:lnTo>
                      <a:pt x="666" y="248"/>
                    </a:lnTo>
                    <a:lnTo>
                      <a:pt x="668" y="246"/>
                    </a:lnTo>
                    <a:lnTo>
                      <a:pt x="670" y="245"/>
                    </a:lnTo>
                    <a:lnTo>
                      <a:pt x="672" y="243"/>
                    </a:lnTo>
                    <a:lnTo>
                      <a:pt x="674" y="243"/>
                    </a:lnTo>
                    <a:lnTo>
                      <a:pt x="676" y="241"/>
                    </a:lnTo>
                    <a:lnTo>
                      <a:pt x="676" y="243"/>
                    </a:lnTo>
                    <a:lnTo>
                      <a:pt x="674" y="243"/>
                    </a:lnTo>
                    <a:lnTo>
                      <a:pt x="676" y="243"/>
                    </a:lnTo>
                    <a:lnTo>
                      <a:pt x="678" y="243"/>
                    </a:lnTo>
                    <a:lnTo>
                      <a:pt x="678" y="241"/>
                    </a:lnTo>
                    <a:lnTo>
                      <a:pt x="678" y="243"/>
                    </a:lnTo>
                    <a:lnTo>
                      <a:pt x="680" y="243"/>
                    </a:lnTo>
                    <a:lnTo>
                      <a:pt x="682" y="243"/>
                    </a:lnTo>
                    <a:lnTo>
                      <a:pt x="684" y="245"/>
                    </a:lnTo>
                    <a:lnTo>
                      <a:pt x="684" y="246"/>
                    </a:lnTo>
                    <a:lnTo>
                      <a:pt x="682" y="246"/>
                    </a:lnTo>
                    <a:lnTo>
                      <a:pt x="682" y="248"/>
                    </a:lnTo>
                    <a:lnTo>
                      <a:pt x="682" y="250"/>
                    </a:lnTo>
                    <a:lnTo>
                      <a:pt x="682" y="252"/>
                    </a:lnTo>
                    <a:lnTo>
                      <a:pt x="680" y="252"/>
                    </a:lnTo>
                    <a:lnTo>
                      <a:pt x="678" y="252"/>
                    </a:lnTo>
                    <a:lnTo>
                      <a:pt x="676" y="252"/>
                    </a:lnTo>
                    <a:lnTo>
                      <a:pt x="676" y="250"/>
                    </a:lnTo>
                    <a:lnTo>
                      <a:pt x="674" y="250"/>
                    </a:lnTo>
                    <a:lnTo>
                      <a:pt x="672" y="250"/>
                    </a:lnTo>
                    <a:lnTo>
                      <a:pt x="672" y="252"/>
                    </a:lnTo>
                    <a:lnTo>
                      <a:pt x="672" y="250"/>
                    </a:lnTo>
                    <a:lnTo>
                      <a:pt x="672" y="252"/>
                    </a:lnTo>
                    <a:lnTo>
                      <a:pt x="672" y="250"/>
                    </a:lnTo>
                    <a:lnTo>
                      <a:pt x="670" y="250"/>
                    </a:lnTo>
                    <a:lnTo>
                      <a:pt x="670" y="252"/>
                    </a:lnTo>
                    <a:lnTo>
                      <a:pt x="672" y="252"/>
                    </a:lnTo>
                    <a:lnTo>
                      <a:pt x="670" y="252"/>
                    </a:lnTo>
                    <a:lnTo>
                      <a:pt x="668" y="252"/>
                    </a:lnTo>
                    <a:lnTo>
                      <a:pt x="670" y="252"/>
                    </a:lnTo>
                    <a:lnTo>
                      <a:pt x="668" y="252"/>
                    </a:lnTo>
                    <a:lnTo>
                      <a:pt x="670" y="252"/>
                    </a:lnTo>
                    <a:lnTo>
                      <a:pt x="668" y="252"/>
                    </a:lnTo>
                    <a:lnTo>
                      <a:pt x="670" y="252"/>
                    </a:lnTo>
                    <a:lnTo>
                      <a:pt x="668" y="254"/>
                    </a:lnTo>
                    <a:lnTo>
                      <a:pt x="668" y="252"/>
                    </a:lnTo>
                    <a:lnTo>
                      <a:pt x="668" y="254"/>
                    </a:lnTo>
                    <a:lnTo>
                      <a:pt x="668" y="252"/>
                    </a:lnTo>
                    <a:lnTo>
                      <a:pt x="668" y="254"/>
                    </a:lnTo>
                    <a:lnTo>
                      <a:pt x="666" y="254"/>
                    </a:lnTo>
                    <a:lnTo>
                      <a:pt x="664" y="254"/>
                    </a:lnTo>
                    <a:lnTo>
                      <a:pt x="664" y="252"/>
                    </a:lnTo>
                    <a:lnTo>
                      <a:pt x="664" y="254"/>
                    </a:lnTo>
                    <a:lnTo>
                      <a:pt x="663" y="254"/>
                    </a:lnTo>
                    <a:lnTo>
                      <a:pt x="663" y="252"/>
                    </a:lnTo>
                    <a:lnTo>
                      <a:pt x="663" y="250"/>
                    </a:lnTo>
                    <a:lnTo>
                      <a:pt x="664" y="250"/>
                    </a:lnTo>
                    <a:lnTo>
                      <a:pt x="663" y="250"/>
                    </a:lnTo>
                    <a:lnTo>
                      <a:pt x="664" y="250"/>
                    </a:lnTo>
                    <a:lnTo>
                      <a:pt x="666" y="252"/>
                    </a:lnTo>
                    <a:close/>
                    <a:moveTo>
                      <a:pt x="620" y="279"/>
                    </a:moveTo>
                    <a:lnTo>
                      <a:pt x="622" y="279"/>
                    </a:lnTo>
                    <a:lnTo>
                      <a:pt x="620" y="279"/>
                    </a:lnTo>
                    <a:lnTo>
                      <a:pt x="618" y="279"/>
                    </a:lnTo>
                    <a:lnTo>
                      <a:pt x="618" y="277"/>
                    </a:lnTo>
                    <a:lnTo>
                      <a:pt x="618" y="275"/>
                    </a:lnTo>
                    <a:lnTo>
                      <a:pt x="620" y="275"/>
                    </a:lnTo>
                    <a:lnTo>
                      <a:pt x="618" y="275"/>
                    </a:lnTo>
                    <a:lnTo>
                      <a:pt x="618" y="273"/>
                    </a:lnTo>
                    <a:lnTo>
                      <a:pt x="620" y="273"/>
                    </a:lnTo>
                    <a:lnTo>
                      <a:pt x="620" y="271"/>
                    </a:lnTo>
                    <a:lnTo>
                      <a:pt x="620" y="273"/>
                    </a:lnTo>
                    <a:lnTo>
                      <a:pt x="620" y="271"/>
                    </a:lnTo>
                    <a:lnTo>
                      <a:pt x="622" y="271"/>
                    </a:lnTo>
                    <a:lnTo>
                      <a:pt x="622" y="270"/>
                    </a:lnTo>
                    <a:lnTo>
                      <a:pt x="624" y="270"/>
                    </a:lnTo>
                    <a:lnTo>
                      <a:pt x="626" y="268"/>
                    </a:lnTo>
                    <a:lnTo>
                      <a:pt x="624" y="268"/>
                    </a:lnTo>
                    <a:lnTo>
                      <a:pt x="624" y="270"/>
                    </a:lnTo>
                    <a:lnTo>
                      <a:pt x="624" y="268"/>
                    </a:lnTo>
                    <a:lnTo>
                      <a:pt x="626" y="268"/>
                    </a:lnTo>
                    <a:lnTo>
                      <a:pt x="626" y="266"/>
                    </a:lnTo>
                    <a:lnTo>
                      <a:pt x="626" y="268"/>
                    </a:lnTo>
                    <a:lnTo>
                      <a:pt x="628" y="268"/>
                    </a:lnTo>
                    <a:lnTo>
                      <a:pt x="626" y="268"/>
                    </a:lnTo>
                    <a:lnTo>
                      <a:pt x="626" y="266"/>
                    </a:lnTo>
                    <a:lnTo>
                      <a:pt x="628" y="268"/>
                    </a:lnTo>
                    <a:lnTo>
                      <a:pt x="630" y="268"/>
                    </a:lnTo>
                    <a:lnTo>
                      <a:pt x="632" y="268"/>
                    </a:lnTo>
                    <a:lnTo>
                      <a:pt x="634" y="268"/>
                    </a:lnTo>
                    <a:lnTo>
                      <a:pt x="634" y="270"/>
                    </a:lnTo>
                    <a:lnTo>
                      <a:pt x="636" y="270"/>
                    </a:lnTo>
                    <a:lnTo>
                      <a:pt x="636" y="268"/>
                    </a:lnTo>
                    <a:lnTo>
                      <a:pt x="636" y="270"/>
                    </a:lnTo>
                    <a:lnTo>
                      <a:pt x="636" y="271"/>
                    </a:lnTo>
                    <a:lnTo>
                      <a:pt x="638" y="271"/>
                    </a:lnTo>
                    <a:lnTo>
                      <a:pt x="636" y="271"/>
                    </a:lnTo>
                    <a:lnTo>
                      <a:pt x="636" y="273"/>
                    </a:lnTo>
                    <a:lnTo>
                      <a:pt x="638" y="273"/>
                    </a:lnTo>
                    <a:lnTo>
                      <a:pt x="636" y="273"/>
                    </a:lnTo>
                    <a:lnTo>
                      <a:pt x="638" y="273"/>
                    </a:lnTo>
                    <a:lnTo>
                      <a:pt x="636" y="271"/>
                    </a:lnTo>
                    <a:lnTo>
                      <a:pt x="636" y="273"/>
                    </a:lnTo>
                    <a:lnTo>
                      <a:pt x="636" y="271"/>
                    </a:lnTo>
                    <a:lnTo>
                      <a:pt x="638" y="271"/>
                    </a:lnTo>
                    <a:lnTo>
                      <a:pt x="636" y="271"/>
                    </a:lnTo>
                    <a:lnTo>
                      <a:pt x="636" y="270"/>
                    </a:lnTo>
                    <a:lnTo>
                      <a:pt x="636" y="268"/>
                    </a:lnTo>
                    <a:lnTo>
                      <a:pt x="636" y="270"/>
                    </a:lnTo>
                    <a:lnTo>
                      <a:pt x="634" y="270"/>
                    </a:lnTo>
                    <a:lnTo>
                      <a:pt x="634" y="268"/>
                    </a:lnTo>
                    <a:lnTo>
                      <a:pt x="632" y="268"/>
                    </a:lnTo>
                    <a:lnTo>
                      <a:pt x="630" y="268"/>
                    </a:lnTo>
                    <a:lnTo>
                      <a:pt x="628" y="268"/>
                    </a:lnTo>
                    <a:lnTo>
                      <a:pt x="628" y="266"/>
                    </a:lnTo>
                    <a:lnTo>
                      <a:pt x="626" y="266"/>
                    </a:lnTo>
                    <a:lnTo>
                      <a:pt x="628" y="266"/>
                    </a:lnTo>
                    <a:lnTo>
                      <a:pt x="628" y="264"/>
                    </a:lnTo>
                    <a:lnTo>
                      <a:pt x="630" y="264"/>
                    </a:lnTo>
                    <a:lnTo>
                      <a:pt x="630" y="262"/>
                    </a:lnTo>
                    <a:lnTo>
                      <a:pt x="630" y="260"/>
                    </a:lnTo>
                    <a:lnTo>
                      <a:pt x="632" y="260"/>
                    </a:lnTo>
                    <a:lnTo>
                      <a:pt x="634" y="258"/>
                    </a:lnTo>
                    <a:lnTo>
                      <a:pt x="636" y="258"/>
                    </a:lnTo>
                    <a:lnTo>
                      <a:pt x="636" y="256"/>
                    </a:lnTo>
                    <a:lnTo>
                      <a:pt x="638" y="256"/>
                    </a:lnTo>
                    <a:lnTo>
                      <a:pt x="639" y="256"/>
                    </a:lnTo>
                    <a:lnTo>
                      <a:pt x="641" y="256"/>
                    </a:lnTo>
                    <a:lnTo>
                      <a:pt x="641" y="254"/>
                    </a:lnTo>
                    <a:lnTo>
                      <a:pt x="643" y="254"/>
                    </a:lnTo>
                    <a:lnTo>
                      <a:pt x="641" y="254"/>
                    </a:lnTo>
                    <a:lnTo>
                      <a:pt x="641" y="256"/>
                    </a:lnTo>
                    <a:lnTo>
                      <a:pt x="639" y="256"/>
                    </a:lnTo>
                    <a:lnTo>
                      <a:pt x="638" y="256"/>
                    </a:lnTo>
                    <a:lnTo>
                      <a:pt x="639" y="256"/>
                    </a:lnTo>
                    <a:lnTo>
                      <a:pt x="641" y="256"/>
                    </a:lnTo>
                    <a:lnTo>
                      <a:pt x="643" y="256"/>
                    </a:lnTo>
                    <a:lnTo>
                      <a:pt x="643" y="254"/>
                    </a:lnTo>
                    <a:lnTo>
                      <a:pt x="643" y="256"/>
                    </a:lnTo>
                    <a:lnTo>
                      <a:pt x="645" y="256"/>
                    </a:lnTo>
                    <a:lnTo>
                      <a:pt x="643" y="256"/>
                    </a:lnTo>
                    <a:lnTo>
                      <a:pt x="645" y="256"/>
                    </a:lnTo>
                    <a:lnTo>
                      <a:pt x="647" y="256"/>
                    </a:lnTo>
                    <a:lnTo>
                      <a:pt x="647" y="258"/>
                    </a:lnTo>
                    <a:lnTo>
                      <a:pt x="647" y="260"/>
                    </a:lnTo>
                    <a:lnTo>
                      <a:pt x="647" y="258"/>
                    </a:lnTo>
                    <a:lnTo>
                      <a:pt x="647" y="260"/>
                    </a:lnTo>
                    <a:lnTo>
                      <a:pt x="647" y="258"/>
                    </a:lnTo>
                    <a:lnTo>
                      <a:pt x="647" y="256"/>
                    </a:lnTo>
                    <a:lnTo>
                      <a:pt x="649" y="256"/>
                    </a:lnTo>
                    <a:lnTo>
                      <a:pt x="647" y="256"/>
                    </a:lnTo>
                    <a:lnTo>
                      <a:pt x="649" y="256"/>
                    </a:lnTo>
                    <a:lnTo>
                      <a:pt x="651" y="256"/>
                    </a:lnTo>
                    <a:lnTo>
                      <a:pt x="649" y="256"/>
                    </a:lnTo>
                    <a:lnTo>
                      <a:pt x="651" y="256"/>
                    </a:lnTo>
                    <a:lnTo>
                      <a:pt x="649" y="256"/>
                    </a:lnTo>
                    <a:lnTo>
                      <a:pt x="649" y="254"/>
                    </a:lnTo>
                    <a:lnTo>
                      <a:pt x="651" y="254"/>
                    </a:lnTo>
                    <a:lnTo>
                      <a:pt x="649" y="254"/>
                    </a:lnTo>
                    <a:lnTo>
                      <a:pt x="647" y="256"/>
                    </a:lnTo>
                    <a:lnTo>
                      <a:pt x="645" y="254"/>
                    </a:lnTo>
                    <a:lnTo>
                      <a:pt x="645" y="256"/>
                    </a:lnTo>
                    <a:lnTo>
                      <a:pt x="645" y="254"/>
                    </a:lnTo>
                    <a:lnTo>
                      <a:pt x="647" y="254"/>
                    </a:lnTo>
                    <a:lnTo>
                      <a:pt x="647" y="252"/>
                    </a:lnTo>
                    <a:lnTo>
                      <a:pt x="649" y="252"/>
                    </a:lnTo>
                    <a:lnTo>
                      <a:pt x="647" y="252"/>
                    </a:lnTo>
                    <a:lnTo>
                      <a:pt x="649" y="252"/>
                    </a:lnTo>
                    <a:lnTo>
                      <a:pt x="651" y="252"/>
                    </a:lnTo>
                    <a:lnTo>
                      <a:pt x="649" y="252"/>
                    </a:lnTo>
                    <a:lnTo>
                      <a:pt x="651" y="252"/>
                    </a:lnTo>
                    <a:lnTo>
                      <a:pt x="649" y="252"/>
                    </a:lnTo>
                    <a:lnTo>
                      <a:pt x="651" y="252"/>
                    </a:lnTo>
                    <a:lnTo>
                      <a:pt x="651" y="254"/>
                    </a:lnTo>
                    <a:lnTo>
                      <a:pt x="653" y="254"/>
                    </a:lnTo>
                    <a:lnTo>
                      <a:pt x="653" y="256"/>
                    </a:lnTo>
                    <a:lnTo>
                      <a:pt x="653" y="254"/>
                    </a:lnTo>
                    <a:lnTo>
                      <a:pt x="651" y="254"/>
                    </a:lnTo>
                    <a:lnTo>
                      <a:pt x="653" y="254"/>
                    </a:lnTo>
                    <a:lnTo>
                      <a:pt x="655" y="254"/>
                    </a:lnTo>
                    <a:lnTo>
                      <a:pt x="655" y="252"/>
                    </a:lnTo>
                    <a:lnTo>
                      <a:pt x="655" y="254"/>
                    </a:lnTo>
                    <a:lnTo>
                      <a:pt x="655" y="252"/>
                    </a:lnTo>
                    <a:lnTo>
                      <a:pt x="655" y="254"/>
                    </a:lnTo>
                    <a:lnTo>
                      <a:pt x="653" y="256"/>
                    </a:lnTo>
                    <a:lnTo>
                      <a:pt x="653" y="258"/>
                    </a:lnTo>
                    <a:lnTo>
                      <a:pt x="651" y="260"/>
                    </a:lnTo>
                    <a:lnTo>
                      <a:pt x="649" y="262"/>
                    </a:lnTo>
                    <a:lnTo>
                      <a:pt x="647" y="262"/>
                    </a:lnTo>
                    <a:lnTo>
                      <a:pt x="649" y="262"/>
                    </a:lnTo>
                    <a:lnTo>
                      <a:pt x="647" y="262"/>
                    </a:lnTo>
                    <a:lnTo>
                      <a:pt x="647" y="260"/>
                    </a:lnTo>
                    <a:lnTo>
                      <a:pt x="647" y="262"/>
                    </a:lnTo>
                    <a:lnTo>
                      <a:pt x="649" y="262"/>
                    </a:lnTo>
                    <a:lnTo>
                      <a:pt x="647" y="262"/>
                    </a:lnTo>
                    <a:lnTo>
                      <a:pt x="647" y="264"/>
                    </a:lnTo>
                    <a:lnTo>
                      <a:pt x="647" y="266"/>
                    </a:lnTo>
                    <a:lnTo>
                      <a:pt x="647" y="264"/>
                    </a:lnTo>
                    <a:lnTo>
                      <a:pt x="647" y="266"/>
                    </a:lnTo>
                    <a:lnTo>
                      <a:pt x="645" y="266"/>
                    </a:lnTo>
                    <a:lnTo>
                      <a:pt x="647" y="266"/>
                    </a:lnTo>
                    <a:lnTo>
                      <a:pt x="647" y="268"/>
                    </a:lnTo>
                    <a:lnTo>
                      <a:pt x="645" y="268"/>
                    </a:lnTo>
                    <a:lnTo>
                      <a:pt x="647" y="270"/>
                    </a:lnTo>
                    <a:lnTo>
                      <a:pt x="647" y="268"/>
                    </a:lnTo>
                    <a:lnTo>
                      <a:pt x="647" y="270"/>
                    </a:lnTo>
                    <a:lnTo>
                      <a:pt x="649" y="271"/>
                    </a:lnTo>
                    <a:lnTo>
                      <a:pt x="647" y="271"/>
                    </a:lnTo>
                    <a:lnTo>
                      <a:pt x="647" y="273"/>
                    </a:lnTo>
                    <a:lnTo>
                      <a:pt x="645" y="273"/>
                    </a:lnTo>
                    <a:lnTo>
                      <a:pt x="645" y="275"/>
                    </a:lnTo>
                    <a:lnTo>
                      <a:pt x="647" y="275"/>
                    </a:lnTo>
                    <a:lnTo>
                      <a:pt x="647" y="273"/>
                    </a:lnTo>
                    <a:lnTo>
                      <a:pt x="647" y="275"/>
                    </a:lnTo>
                    <a:lnTo>
                      <a:pt x="649" y="275"/>
                    </a:lnTo>
                    <a:lnTo>
                      <a:pt x="651" y="275"/>
                    </a:lnTo>
                    <a:lnTo>
                      <a:pt x="649" y="277"/>
                    </a:lnTo>
                    <a:lnTo>
                      <a:pt x="651" y="277"/>
                    </a:lnTo>
                    <a:lnTo>
                      <a:pt x="651" y="279"/>
                    </a:lnTo>
                    <a:lnTo>
                      <a:pt x="651" y="281"/>
                    </a:lnTo>
                    <a:lnTo>
                      <a:pt x="653" y="281"/>
                    </a:lnTo>
                    <a:lnTo>
                      <a:pt x="651" y="281"/>
                    </a:lnTo>
                    <a:lnTo>
                      <a:pt x="649" y="281"/>
                    </a:lnTo>
                    <a:lnTo>
                      <a:pt x="649" y="283"/>
                    </a:lnTo>
                    <a:lnTo>
                      <a:pt x="649" y="281"/>
                    </a:lnTo>
                    <a:lnTo>
                      <a:pt x="647" y="281"/>
                    </a:lnTo>
                    <a:lnTo>
                      <a:pt x="647" y="283"/>
                    </a:lnTo>
                    <a:lnTo>
                      <a:pt x="647" y="281"/>
                    </a:lnTo>
                    <a:lnTo>
                      <a:pt x="645" y="279"/>
                    </a:lnTo>
                    <a:lnTo>
                      <a:pt x="645" y="277"/>
                    </a:lnTo>
                    <a:lnTo>
                      <a:pt x="645" y="275"/>
                    </a:lnTo>
                    <a:lnTo>
                      <a:pt x="643" y="275"/>
                    </a:lnTo>
                    <a:lnTo>
                      <a:pt x="643" y="277"/>
                    </a:lnTo>
                    <a:lnTo>
                      <a:pt x="641" y="277"/>
                    </a:lnTo>
                    <a:lnTo>
                      <a:pt x="639" y="277"/>
                    </a:lnTo>
                    <a:lnTo>
                      <a:pt x="639" y="279"/>
                    </a:lnTo>
                    <a:lnTo>
                      <a:pt x="639" y="277"/>
                    </a:lnTo>
                    <a:lnTo>
                      <a:pt x="638" y="277"/>
                    </a:lnTo>
                    <a:lnTo>
                      <a:pt x="639" y="277"/>
                    </a:lnTo>
                    <a:lnTo>
                      <a:pt x="639" y="275"/>
                    </a:lnTo>
                    <a:lnTo>
                      <a:pt x="638" y="275"/>
                    </a:lnTo>
                    <a:lnTo>
                      <a:pt x="639" y="273"/>
                    </a:lnTo>
                    <a:lnTo>
                      <a:pt x="638" y="275"/>
                    </a:lnTo>
                    <a:lnTo>
                      <a:pt x="636" y="275"/>
                    </a:lnTo>
                    <a:lnTo>
                      <a:pt x="634" y="275"/>
                    </a:lnTo>
                    <a:lnTo>
                      <a:pt x="634" y="277"/>
                    </a:lnTo>
                    <a:lnTo>
                      <a:pt x="632" y="277"/>
                    </a:lnTo>
                    <a:lnTo>
                      <a:pt x="632" y="275"/>
                    </a:lnTo>
                    <a:lnTo>
                      <a:pt x="632" y="277"/>
                    </a:lnTo>
                    <a:lnTo>
                      <a:pt x="630" y="277"/>
                    </a:lnTo>
                    <a:lnTo>
                      <a:pt x="630" y="279"/>
                    </a:lnTo>
                    <a:lnTo>
                      <a:pt x="628" y="279"/>
                    </a:lnTo>
                    <a:lnTo>
                      <a:pt x="628" y="277"/>
                    </a:lnTo>
                    <a:lnTo>
                      <a:pt x="626" y="279"/>
                    </a:lnTo>
                    <a:lnTo>
                      <a:pt x="626" y="277"/>
                    </a:lnTo>
                    <a:lnTo>
                      <a:pt x="626" y="279"/>
                    </a:lnTo>
                    <a:lnTo>
                      <a:pt x="624" y="279"/>
                    </a:lnTo>
                    <a:lnTo>
                      <a:pt x="624" y="277"/>
                    </a:lnTo>
                    <a:lnTo>
                      <a:pt x="622" y="277"/>
                    </a:lnTo>
                    <a:lnTo>
                      <a:pt x="622" y="279"/>
                    </a:lnTo>
                    <a:lnTo>
                      <a:pt x="620" y="279"/>
                    </a:lnTo>
                    <a:close/>
                    <a:moveTo>
                      <a:pt x="920" y="108"/>
                    </a:moveTo>
                    <a:lnTo>
                      <a:pt x="920" y="110"/>
                    </a:lnTo>
                    <a:lnTo>
                      <a:pt x="920" y="112"/>
                    </a:lnTo>
                    <a:lnTo>
                      <a:pt x="922" y="112"/>
                    </a:lnTo>
                    <a:lnTo>
                      <a:pt x="922" y="114"/>
                    </a:lnTo>
                    <a:lnTo>
                      <a:pt x="922" y="112"/>
                    </a:lnTo>
                    <a:lnTo>
                      <a:pt x="922" y="114"/>
                    </a:lnTo>
                    <a:lnTo>
                      <a:pt x="922" y="116"/>
                    </a:lnTo>
                    <a:lnTo>
                      <a:pt x="920" y="116"/>
                    </a:lnTo>
                    <a:lnTo>
                      <a:pt x="920" y="114"/>
                    </a:lnTo>
                    <a:lnTo>
                      <a:pt x="918" y="114"/>
                    </a:lnTo>
                    <a:lnTo>
                      <a:pt x="918" y="112"/>
                    </a:lnTo>
                    <a:lnTo>
                      <a:pt x="916" y="112"/>
                    </a:lnTo>
                    <a:lnTo>
                      <a:pt x="916" y="110"/>
                    </a:lnTo>
                    <a:lnTo>
                      <a:pt x="916" y="112"/>
                    </a:lnTo>
                    <a:lnTo>
                      <a:pt x="914" y="112"/>
                    </a:lnTo>
                    <a:lnTo>
                      <a:pt x="914" y="110"/>
                    </a:lnTo>
                    <a:lnTo>
                      <a:pt x="916" y="110"/>
                    </a:lnTo>
                    <a:lnTo>
                      <a:pt x="914" y="110"/>
                    </a:lnTo>
                    <a:lnTo>
                      <a:pt x="916" y="110"/>
                    </a:lnTo>
                    <a:lnTo>
                      <a:pt x="916" y="108"/>
                    </a:lnTo>
                    <a:lnTo>
                      <a:pt x="918" y="108"/>
                    </a:lnTo>
                    <a:lnTo>
                      <a:pt x="920" y="108"/>
                    </a:lnTo>
                    <a:close/>
                    <a:moveTo>
                      <a:pt x="251" y="304"/>
                    </a:moveTo>
                    <a:lnTo>
                      <a:pt x="249" y="304"/>
                    </a:lnTo>
                    <a:lnTo>
                      <a:pt x="251" y="304"/>
                    </a:lnTo>
                    <a:close/>
                    <a:moveTo>
                      <a:pt x="274" y="300"/>
                    </a:moveTo>
                    <a:lnTo>
                      <a:pt x="274" y="298"/>
                    </a:lnTo>
                    <a:lnTo>
                      <a:pt x="274" y="296"/>
                    </a:lnTo>
                    <a:lnTo>
                      <a:pt x="276" y="296"/>
                    </a:lnTo>
                    <a:lnTo>
                      <a:pt x="274" y="296"/>
                    </a:lnTo>
                    <a:lnTo>
                      <a:pt x="274" y="298"/>
                    </a:lnTo>
                    <a:lnTo>
                      <a:pt x="276" y="298"/>
                    </a:lnTo>
                    <a:lnTo>
                      <a:pt x="274" y="300"/>
                    </a:lnTo>
                    <a:lnTo>
                      <a:pt x="276" y="298"/>
                    </a:lnTo>
                    <a:lnTo>
                      <a:pt x="274" y="300"/>
                    </a:lnTo>
                    <a:close/>
                    <a:moveTo>
                      <a:pt x="273" y="302"/>
                    </a:moveTo>
                    <a:lnTo>
                      <a:pt x="273" y="300"/>
                    </a:lnTo>
                    <a:lnTo>
                      <a:pt x="273" y="298"/>
                    </a:lnTo>
                    <a:lnTo>
                      <a:pt x="273" y="300"/>
                    </a:lnTo>
                    <a:lnTo>
                      <a:pt x="274" y="300"/>
                    </a:lnTo>
                    <a:lnTo>
                      <a:pt x="273" y="300"/>
                    </a:lnTo>
                    <a:lnTo>
                      <a:pt x="274" y="300"/>
                    </a:lnTo>
                    <a:lnTo>
                      <a:pt x="273" y="300"/>
                    </a:lnTo>
                    <a:lnTo>
                      <a:pt x="273" y="302"/>
                    </a:lnTo>
                    <a:lnTo>
                      <a:pt x="274" y="300"/>
                    </a:lnTo>
                    <a:lnTo>
                      <a:pt x="274" y="302"/>
                    </a:lnTo>
                    <a:lnTo>
                      <a:pt x="274" y="304"/>
                    </a:lnTo>
                    <a:lnTo>
                      <a:pt x="276" y="304"/>
                    </a:lnTo>
                    <a:lnTo>
                      <a:pt x="274" y="304"/>
                    </a:lnTo>
                    <a:lnTo>
                      <a:pt x="274" y="302"/>
                    </a:lnTo>
                    <a:lnTo>
                      <a:pt x="276" y="302"/>
                    </a:lnTo>
                    <a:lnTo>
                      <a:pt x="274" y="302"/>
                    </a:lnTo>
                    <a:lnTo>
                      <a:pt x="274" y="300"/>
                    </a:lnTo>
                    <a:lnTo>
                      <a:pt x="276" y="300"/>
                    </a:lnTo>
                    <a:lnTo>
                      <a:pt x="274" y="300"/>
                    </a:lnTo>
                    <a:lnTo>
                      <a:pt x="276" y="300"/>
                    </a:lnTo>
                    <a:lnTo>
                      <a:pt x="276" y="298"/>
                    </a:lnTo>
                    <a:lnTo>
                      <a:pt x="278" y="298"/>
                    </a:lnTo>
                    <a:lnTo>
                      <a:pt x="276" y="300"/>
                    </a:lnTo>
                    <a:lnTo>
                      <a:pt x="276" y="298"/>
                    </a:lnTo>
                    <a:lnTo>
                      <a:pt x="278" y="298"/>
                    </a:lnTo>
                    <a:lnTo>
                      <a:pt x="280" y="298"/>
                    </a:lnTo>
                    <a:lnTo>
                      <a:pt x="280" y="296"/>
                    </a:lnTo>
                    <a:lnTo>
                      <a:pt x="282" y="296"/>
                    </a:lnTo>
                    <a:lnTo>
                      <a:pt x="282" y="298"/>
                    </a:lnTo>
                    <a:lnTo>
                      <a:pt x="282" y="300"/>
                    </a:lnTo>
                    <a:lnTo>
                      <a:pt x="280" y="300"/>
                    </a:lnTo>
                    <a:lnTo>
                      <a:pt x="278" y="302"/>
                    </a:lnTo>
                    <a:lnTo>
                      <a:pt x="276" y="304"/>
                    </a:lnTo>
                    <a:lnTo>
                      <a:pt x="274" y="304"/>
                    </a:lnTo>
                    <a:lnTo>
                      <a:pt x="273" y="304"/>
                    </a:lnTo>
                    <a:lnTo>
                      <a:pt x="273" y="306"/>
                    </a:lnTo>
                    <a:lnTo>
                      <a:pt x="271" y="306"/>
                    </a:lnTo>
                    <a:lnTo>
                      <a:pt x="271" y="304"/>
                    </a:lnTo>
                    <a:lnTo>
                      <a:pt x="273" y="302"/>
                    </a:lnTo>
                    <a:lnTo>
                      <a:pt x="271" y="302"/>
                    </a:lnTo>
                    <a:lnTo>
                      <a:pt x="269" y="302"/>
                    </a:lnTo>
                    <a:lnTo>
                      <a:pt x="267" y="302"/>
                    </a:lnTo>
                    <a:lnTo>
                      <a:pt x="269" y="302"/>
                    </a:lnTo>
                    <a:lnTo>
                      <a:pt x="267" y="300"/>
                    </a:lnTo>
                    <a:lnTo>
                      <a:pt x="269" y="300"/>
                    </a:lnTo>
                    <a:lnTo>
                      <a:pt x="269" y="298"/>
                    </a:lnTo>
                    <a:lnTo>
                      <a:pt x="269" y="300"/>
                    </a:lnTo>
                    <a:lnTo>
                      <a:pt x="269" y="298"/>
                    </a:lnTo>
                    <a:lnTo>
                      <a:pt x="271" y="298"/>
                    </a:lnTo>
                    <a:lnTo>
                      <a:pt x="271" y="300"/>
                    </a:lnTo>
                    <a:lnTo>
                      <a:pt x="271" y="298"/>
                    </a:lnTo>
                    <a:lnTo>
                      <a:pt x="273" y="298"/>
                    </a:lnTo>
                    <a:lnTo>
                      <a:pt x="271" y="298"/>
                    </a:lnTo>
                    <a:lnTo>
                      <a:pt x="273" y="298"/>
                    </a:lnTo>
                    <a:lnTo>
                      <a:pt x="273" y="300"/>
                    </a:lnTo>
                    <a:lnTo>
                      <a:pt x="273" y="302"/>
                    </a:lnTo>
                    <a:close/>
                    <a:moveTo>
                      <a:pt x="265" y="300"/>
                    </a:moveTo>
                    <a:lnTo>
                      <a:pt x="265" y="298"/>
                    </a:lnTo>
                    <a:lnTo>
                      <a:pt x="265" y="300"/>
                    </a:lnTo>
                    <a:lnTo>
                      <a:pt x="267" y="300"/>
                    </a:lnTo>
                    <a:lnTo>
                      <a:pt x="267" y="298"/>
                    </a:lnTo>
                    <a:lnTo>
                      <a:pt x="265" y="298"/>
                    </a:lnTo>
                    <a:lnTo>
                      <a:pt x="267" y="300"/>
                    </a:lnTo>
                    <a:lnTo>
                      <a:pt x="265" y="300"/>
                    </a:lnTo>
                    <a:lnTo>
                      <a:pt x="265" y="298"/>
                    </a:lnTo>
                    <a:lnTo>
                      <a:pt x="267" y="298"/>
                    </a:lnTo>
                    <a:lnTo>
                      <a:pt x="269" y="298"/>
                    </a:lnTo>
                    <a:lnTo>
                      <a:pt x="269" y="300"/>
                    </a:lnTo>
                    <a:lnTo>
                      <a:pt x="267" y="300"/>
                    </a:lnTo>
                    <a:lnTo>
                      <a:pt x="265" y="300"/>
                    </a:lnTo>
                    <a:close/>
                    <a:moveTo>
                      <a:pt x="125" y="314"/>
                    </a:moveTo>
                    <a:lnTo>
                      <a:pt x="125" y="316"/>
                    </a:lnTo>
                    <a:lnTo>
                      <a:pt x="125" y="314"/>
                    </a:lnTo>
                    <a:close/>
                    <a:moveTo>
                      <a:pt x="165" y="296"/>
                    </a:moveTo>
                    <a:lnTo>
                      <a:pt x="163" y="296"/>
                    </a:lnTo>
                    <a:lnTo>
                      <a:pt x="165" y="296"/>
                    </a:lnTo>
                    <a:lnTo>
                      <a:pt x="165" y="295"/>
                    </a:lnTo>
                    <a:lnTo>
                      <a:pt x="167" y="295"/>
                    </a:lnTo>
                    <a:lnTo>
                      <a:pt x="167" y="293"/>
                    </a:lnTo>
                    <a:lnTo>
                      <a:pt x="167" y="295"/>
                    </a:lnTo>
                    <a:lnTo>
                      <a:pt x="167" y="296"/>
                    </a:lnTo>
                    <a:lnTo>
                      <a:pt x="165" y="296"/>
                    </a:lnTo>
                    <a:close/>
                    <a:moveTo>
                      <a:pt x="128" y="306"/>
                    </a:moveTo>
                    <a:lnTo>
                      <a:pt x="130" y="306"/>
                    </a:lnTo>
                    <a:lnTo>
                      <a:pt x="128" y="308"/>
                    </a:lnTo>
                    <a:lnTo>
                      <a:pt x="128" y="310"/>
                    </a:lnTo>
                    <a:lnTo>
                      <a:pt x="126" y="310"/>
                    </a:lnTo>
                    <a:lnTo>
                      <a:pt x="126" y="312"/>
                    </a:lnTo>
                    <a:lnTo>
                      <a:pt x="126" y="314"/>
                    </a:lnTo>
                    <a:lnTo>
                      <a:pt x="125" y="314"/>
                    </a:lnTo>
                    <a:lnTo>
                      <a:pt x="126" y="314"/>
                    </a:lnTo>
                    <a:lnTo>
                      <a:pt x="125" y="314"/>
                    </a:lnTo>
                    <a:lnTo>
                      <a:pt x="125" y="316"/>
                    </a:lnTo>
                    <a:lnTo>
                      <a:pt x="125" y="314"/>
                    </a:lnTo>
                    <a:lnTo>
                      <a:pt x="123" y="316"/>
                    </a:lnTo>
                    <a:lnTo>
                      <a:pt x="123" y="314"/>
                    </a:lnTo>
                    <a:lnTo>
                      <a:pt x="123" y="316"/>
                    </a:lnTo>
                    <a:lnTo>
                      <a:pt x="125" y="316"/>
                    </a:lnTo>
                    <a:lnTo>
                      <a:pt x="125" y="314"/>
                    </a:lnTo>
                    <a:lnTo>
                      <a:pt x="126" y="314"/>
                    </a:lnTo>
                    <a:lnTo>
                      <a:pt x="126" y="316"/>
                    </a:lnTo>
                    <a:lnTo>
                      <a:pt x="126" y="314"/>
                    </a:lnTo>
                    <a:lnTo>
                      <a:pt x="126" y="316"/>
                    </a:lnTo>
                    <a:lnTo>
                      <a:pt x="128" y="316"/>
                    </a:lnTo>
                    <a:lnTo>
                      <a:pt x="128" y="318"/>
                    </a:lnTo>
                    <a:lnTo>
                      <a:pt x="130" y="318"/>
                    </a:lnTo>
                    <a:lnTo>
                      <a:pt x="132" y="318"/>
                    </a:lnTo>
                    <a:lnTo>
                      <a:pt x="134" y="318"/>
                    </a:lnTo>
                    <a:lnTo>
                      <a:pt x="134" y="320"/>
                    </a:lnTo>
                    <a:lnTo>
                      <a:pt x="136" y="320"/>
                    </a:lnTo>
                    <a:lnTo>
                      <a:pt x="136" y="321"/>
                    </a:lnTo>
                    <a:lnTo>
                      <a:pt x="136" y="323"/>
                    </a:lnTo>
                    <a:lnTo>
                      <a:pt x="134" y="323"/>
                    </a:lnTo>
                    <a:lnTo>
                      <a:pt x="134" y="325"/>
                    </a:lnTo>
                    <a:lnTo>
                      <a:pt x="132" y="325"/>
                    </a:lnTo>
                    <a:lnTo>
                      <a:pt x="132" y="323"/>
                    </a:lnTo>
                    <a:lnTo>
                      <a:pt x="130" y="323"/>
                    </a:lnTo>
                    <a:lnTo>
                      <a:pt x="128" y="323"/>
                    </a:lnTo>
                    <a:lnTo>
                      <a:pt x="128" y="325"/>
                    </a:lnTo>
                    <a:lnTo>
                      <a:pt x="126" y="325"/>
                    </a:lnTo>
                    <a:lnTo>
                      <a:pt x="126" y="323"/>
                    </a:lnTo>
                    <a:lnTo>
                      <a:pt x="125" y="323"/>
                    </a:lnTo>
                    <a:lnTo>
                      <a:pt x="125" y="325"/>
                    </a:lnTo>
                    <a:lnTo>
                      <a:pt x="125" y="327"/>
                    </a:lnTo>
                    <a:lnTo>
                      <a:pt x="125" y="325"/>
                    </a:lnTo>
                    <a:lnTo>
                      <a:pt x="126" y="325"/>
                    </a:lnTo>
                    <a:lnTo>
                      <a:pt x="125" y="325"/>
                    </a:lnTo>
                    <a:lnTo>
                      <a:pt x="126" y="325"/>
                    </a:lnTo>
                    <a:lnTo>
                      <a:pt x="126" y="323"/>
                    </a:lnTo>
                    <a:lnTo>
                      <a:pt x="126" y="325"/>
                    </a:lnTo>
                    <a:lnTo>
                      <a:pt x="128" y="325"/>
                    </a:lnTo>
                    <a:lnTo>
                      <a:pt x="130" y="325"/>
                    </a:lnTo>
                    <a:lnTo>
                      <a:pt x="130" y="323"/>
                    </a:lnTo>
                    <a:lnTo>
                      <a:pt x="132" y="325"/>
                    </a:lnTo>
                    <a:lnTo>
                      <a:pt x="130" y="325"/>
                    </a:lnTo>
                    <a:lnTo>
                      <a:pt x="132" y="325"/>
                    </a:lnTo>
                    <a:lnTo>
                      <a:pt x="134" y="325"/>
                    </a:lnTo>
                    <a:lnTo>
                      <a:pt x="136" y="325"/>
                    </a:lnTo>
                    <a:lnTo>
                      <a:pt x="136" y="327"/>
                    </a:lnTo>
                    <a:lnTo>
                      <a:pt x="136" y="329"/>
                    </a:lnTo>
                    <a:lnTo>
                      <a:pt x="138" y="329"/>
                    </a:lnTo>
                    <a:lnTo>
                      <a:pt x="138" y="331"/>
                    </a:lnTo>
                    <a:lnTo>
                      <a:pt x="136" y="333"/>
                    </a:lnTo>
                    <a:lnTo>
                      <a:pt x="138" y="333"/>
                    </a:lnTo>
                    <a:lnTo>
                      <a:pt x="138" y="335"/>
                    </a:lnTo>
                    <a:lnTo>
                      <a:pt x="136" y="335"/>
                    </a:lnTo>
                    <a:lnTo>
                      <a:pt x="136" y="337"/>
                    </a:lnTo>
                    <a:lnTo>
                      <a:pt x="138" y="337"/>
                    </a:lnTo>
                    <a:lnTo>
                      <a:pt x="136" y="337"/>
                    </a:lnTo>
                    <a:lnTo>
                      <a:pt x="138" y="339"/>
                    </a:lnTo>
                    <a:lnTo>
                      <a:pt x="138" y="341"/>
                    </a:lnTo>
                    <a:lnTo>
                      <a:pt x="136" y="341"/>
                    </a:lnTo>
                    <a:lnTo>
                      <a:pt x="136" y="343"/>
                    </a:lnTo>
                    <a:lnTo>
                      <a:pt x="134" y="345"/>
                    </a:lnTo>
                    <a:lnTo>
                      <a:pt x="132" y="345"/>
                    </a:lnTo>
                    <a:lnTo>
                      <a:pt x="134" y="345"/>
                    </a:lnTo>
                    <a:lnTo>
                      <a:pt x="134" y="343"/>
                    </a:lnTo>
                    <a:lnTo>
                      <a:pt x="136" y="343"/>
                    </a:lnTo>
                    <a:lnTo>
                      <a:pt x="134" y="343"/>
                    </a:lnTo>
                    <a:lnTo>
                      <a:pt x="136" y="343"/>
                    </a:lnTo>
                    <a:lnTo>
                      <a:pt x="134" y="343"/>
                    </a:lnTo>
                    <a:lnTo>
                      <a:pt x="136" y="343"/>
                    </a:lnTo>
                    <a:lnTo>
                      <a:pt x="134" y="343"/>
                    </a:lnTo>
                    <a:lnTo>
                      <a:pt x="134" y="345"/>
                    </a:lnTo>
                    <a:lnTo>
                      <a:pt x="132" y="345"/>
                    </a:lnTo>
                    <a:lnTo>
                      <a:pt x="132" y="346"/>
                    </a:lnTo>
                    <a:lnTo>
                      <a:pt x="132" y="348"/>
                    </a:lnTo>
                    <a:lnTo>
                      <a:pt x="132" y="350"/>
                    </a:lnTo>
                    <a:lnTo>
                      <a:pt x="134" y="350"/>
                    </a:lnTo>
                    <a:lnTo>
                      <a:pt x="134" y="352"/>
                    </a:lnTo>
                    <a:lnTo>
                      <a:pt x="136" y="352"/>
                    </a:lnTo>
                    <a:lnTo>
                      <a:pt x="136" y="354"/>
                    </a:lnTo>
                    <a:lnTo>
                      <a:pt x="140" y="354"/>
                    </a:lnTo>
                    <a:lnTo>
                      <a:pt x="142" y="354"/>
                    </a:lnTo>
                    <a:lnTo>
                      <a:pt x="142" y="356"/>
                    </a:lnTo>
                    <a:lnTo>
                      <a:pt x="142" y="354"/>
                    </a:lnTo>
                    <a:lnTo>
                      <a:pt x="142" y="356"/>
                    </a:lnTo>
                    <a:lnTo>
                      <a:pt x="144" y="356"/>
                    </a:lnTo>
                    <a:lnTo>
                      <a:pt x="146" y="356"/>
                    </a:lnTo>
                    <a:lnTo>
                      <a:pt x="148" y="356"/>
                    </a:lnTo>
                    <a:lnTo>
                      <a:pt x="146" y="356"/>
                    </a:lnTo>
                    <a:lnTo>
                      <a:pt x="150" y="356"/>
                    </a:lnTo>
                    <a:lnTo>
                      <a:pt x="151" y="356"/>
                    </a:lnTo>
                    <a:lnTo>
                      <a:pt x="153" y="356"/>
                    </a:lnTo>
                    <a:lnTo>
                      <a:pt x="153" y="358"/>
                    </a:lnTo>
                    <a:lnTo>
                      <a:pt x="153" y="356"/>
                    </a:lnTo>
                    <a:lnTo>
                      <a:pt x="153" y="358"/>
                    </a:lnTo>
                    <a:lnTo>
                      <a:pt x="155" y="358"/>
                    </a:lnTo>
                    <a:lnTo>
                      <a:pt x="157" y="358"/>
                    </a:lnTo>
                    <a:lnTo>
                      <a:pt x="155" y="356"/>
                    </a:lnTo>
                    <a:lnTo>
                      <a:pt x="153" y="356"/>
                    </a:lnTo>
                    <a:lnTo>
                      <a:pt x="155" y="356"/>
                    </a:lnTo>
                    <a:lnTo>
                      <a:pt x="157" y="356"/>
                    </a:lnTo>
                    <a:lnTo>
                      <a:pt x="157" y="358"/>
                    </a:lnTo>
                    <a:lnTo>
                      <a:pt x="157" y="356"/>
                    </a:lnTo>
                    <a:lnTo>
                      <a:pt x="157" y="358"/>
                    </a:lnTo>
                    <a:lnTo>
                      <a:pt x="155" y="358"/>
                    </a:lnTo>
                    <a:lnTo>
                      <a:pt x="155" y="356"/>
                    </a:lnTo>
                    <a:lnTo>
                      <a:pt x="155" y="358"/>
                    </a:lnTo>
                    <a:lnTo>
                      <a:pt x="155" y="356"/>
                    </a:lnTo>
                    <a:lnTo>
                      <a:pt x="155" y="358"/>
                    </a:lnTo>
                    <a:lnTo>
                      <a:pt x="155" y="356"/>
                    </a:lnTo>
                    <a:lnTo>
                      <a:pt x="153" y="356"/>
                    </a:lnTo>
                    <a:lnTo>
                      <a:pt x="151" y="356"/>
                    </a:lnTo>
                    <a:lnTo>
                      <a:pt x="150" y="356"/>
                    </a:lnTo>
                    <a:lnTo>
                      <a:pt x="148" y="356"/>
                    </a:lnTo>
                    <a:lnTo>
                      <a:pt x="146" y="356"/>
                    </a:lnTo>
                    <a:lnTo>
                      <a:pt x="144" y="356"/>
                    </a:lnTo>
                    <a:lnTo>
                      <a:pt x="142" y="356"/>
                    </a:lnTo>
                    <a:lnTo>
                      <a:pt x="144" y="356"/>
                    </a:lnTo>
                    <a:lnTo>
                      <a:pt x="142" y="354"/>
                    </a:lnTo>
                    <a:lnTo>
                      <a:pt x="140" y="354"/>
                    </a:lnTo>
                    <a:lnTo>
                      <a:pt x="138" y="354"/>
                    </a:lnTo>
                    <a:lnTo>
                      <a:pt x="140" y="354"/>
                    </a:lnTo>
                    <a:lnTo>
                      <a:pt x="138" y="354"/>
                    </a:lnTo>
                    <a:lnTo>
                      <a:pt x="138" y="352"/>
                    </a:lnTo>
                    <a:lnTo>
                      <a:pt x="136" y="352"/>
                    </a:lnTo>
                    <a:lnTo>
                      <a:pt x="134" y="352"/>
                    </a:lnTo>
                    <a:lnTo>
                      <a:pt x="134" y="350"/>
                    </a:lnTo>
                    <a:lnTo>
                      <a:pt x="136" y="350"/>
                    </a:lnTo>
                    <a:lnTo>
                      <a:pt x="136" y="348"/>
                    </a:lnTo>
                    <a:lnTo>
                      <a:pt x="134" y="348"/>
                    </a:lnTo>
                    <a:lnTo>
                      <a:pt x="132" y="348"/>
                    </a:lnTo>
                    <a:lnTo>
                      <a:pt x="132" y="346"/>
                    </a:lnTo>
                    <a:lnTo>
                      <a:pt x="134" y="346"/>
                    </a:lnTo>
                    <a:lnTo>
                      <a:pt x="132" y="346"/>
                    </a:lnTo>
                    <a:lnTo>
                      <a:pt x="134" y="346"/>
                    </a:lnTo>
                    <a:lnTo>
                      <a:pt x="132" y="346"/>
                    </a:lnTo>
                    <a:lnTo>
                      <a:pt x="132" y="345"/>
                    </a:lnTo>
                    <a:lnTo>
                      <a:pt x="134" y="346"/>
                    </a:lnTo>
                    <a:lnTo>
                      <a:pt x="134" y="345"/>
                    </a:lnTo>
                    <a:lnTo>
                      <a:pt x="136" y="345"/>
                    </a:lnTo>
                    <a:lnTo>
                      <a:pt x="136" y="343"/>
                    </a:lnTo>
                    <a:lnTo>
                      <a:pt x="138" y="343"/>
                    </a:lnTo>
                    <a:lnTo>
                      <a:pt x="138" y="341"/>
                    </a:lnTo>
                    <a:lnTo>
                      <a:pt x="140" y="339"/>
                    </a:lnTo>
                    <a:lnTo>
                      <a:pt x="140" y="341"/>
                    </a:lnTo>
                    <a:lnTo>
                      <a:pt x="140" y="339"/>
                    </a:lnTo>
                    <a:lnTo>
                      <a:pt x="138" y="339"/>
                    </a:lnTo>
                    <a:lnTo>
                      <a:pt x="138" y="337"/>
                    </a:lnTo>
                    <a:lnTo>
                      <a:pt x="138" y="335"/>
                    </a:lnTo>
                    <a:lnTo>
                      <a:pt x="138" y="333"/>
                    </a:lnTo>
                    <a:lnTo>
                      <a:pt x="138" y="331"/>
                    </a:lnTo>
                    <a:lnTo>
                      <a:pt x="138" y="329"/>
                    </a:lnTo>
                    <a:lnTo>
                      <a:pt x="140" y="329"/>
                    </a:lnTo>
                    <a:lnTo>
                      <a:pt x="140" y="331"/>
                    </a:lnTo>
                    <a:lnTo>
                      <a:pt x="140" y="329"/>
                    </a:lnTo>
                    <a:lnTo>
                      <a:pt x="138" y="329"/>
                    </a:lnTo>
                    <a:lnTo>
                      <a:pt x="138" y="327"/>
                    </a:lnTo>
                    <a:lnTo>
                      <a:pt x="136" y="327"/>
                    </a:lnTo>
                    <a:lnTo>
                      <a:pt x="138" y="327"/>
                    </a:lnTo>
                    <a:lnTo>
                      <a:pt x="140" y="329"/>
                    </a:lnTo>
                    <a:lnTo>
                      <a:pt x="142" y="329"/>
                    </a:lnTo>
                    <a:lnTo>
                      <a:pt x="144" y="329"/>
                    </a:lnTo>
                    <a:lnTo>
                      <a:pt x="142" y="329"/>
                    </a:lnTo>
                    <a:lnTo>
                      <a:pt x="142" y="331"/>
                    </a:lnTo>
                    <a:lnTo>
                      <a:pt x="144" y="331"/>
                    </a:lnTo>
                    <a:lnTo>
                      <a:pt x="142" y="331"/>
                    </a:lnTo>
                    <a:lnTo>
                      <a:pt x="142" y="333"/>
                    </a:lnTo>
                    <a:lnTo>
                      <a:pt x="140" y="333"/>
                    </a:lnTo>
                    <a:lnTo>
                      <a:pt x="142" y="333"/>
                    </a:lnTo>
                    <a:lnTo>
                      <a:pt x="140" y="333"/>
                    </a:lnTo>
                    <a:lnTo>
                      <a:pt x="142" y="335"/>
                    </a:lnTo>
                    <a:lnTo>
                      <a:pt x="140" y="335"/>
                    </a:lnTo>
                    <a:lnTo>
                      <a:pt x="142" y="335"/>
                    </a:lnTo>
                    <a:lnTo>
                      <a:pt x="142" y="333"/>
                    </a:lnTo>
                    <a:lnTo>
                      <a:pt x="144" y="333"/>
                    </a:lnTo>
                    <a:lnTo>
                      <a:pt x="144" y="331"/>
                    </a:lnTo>
                    <a:lnTo>
                      <a:pt x="142" y="331"/>
                    </a:lnTo>
                    <a:lnTo>
                      <a:pt x="144" y="331"/>
                    </a:lnTo>
                    <a:lnTo>
                      <a:pt x="142" y="329"/>
                    </a:lnTo>
                    <a:lnTo>
                      <a:pt x="144" y="329"/>
                    </a:lnTo>
                    <a:lnTo>
                      <a:pt x="142" y="329"/>
                    </a:lnTo>
                    <a:lnTo>
                      <a:pt x="140" y="329"/>
                    </a:lnTo>
                    <a:lnTo>
                      <a:pt x="140" y="327"/>
                    </a:lnTo>
                    <a:lnTo>
                      <a:pt x="138" y="327"/>
                    </a:lnTo>
                    <a:lnTo>
                      <a:pt x="140" y="327"/>
                    </a:lnTo>
                    <a:lnTo>
                      <a:pt x="138" y="327"/>
                    </a:lnTo>
                    <a:lnTo>
                      <a:pt x="138" y="325"/>
                    </a:lnTo>
                    <a:lnTo>
                      <a:pt x="136" y="325"/>
                    </a:lnTo>
                    <a:lnTo>
                      <a:pt x="136" y="323"/>
                    </a:lnTo>
                    <a:lnTo>
                      <a:pt x="138" y="323"/>
                    </a:lnTo>
                    <a:lnTo>
                      <a:pt x="138" y="321"/>
                    </a:lnTo>
                    <a:lnTo>
                      <a:pt x="140" y="321"/>
                    </a:lnTo>
                    <a:lnTo>
                      <a:pt x="138" y="321"/>
                    </a:lnTo>
                    <a:lnTo>
                      <a:pt x="140" y="321"/>
                    </a:lnTo>
                    <a:lnTo>
                      <a:pt x="140" y="320"/>
                    </a:lnTo>
                    <a:lnTo>
                      <a:pt x="140" y="318"/>
                    </a:lnTo>
                    <a:lnTo>
                      <a:pt x="142" y="318"/>
                    </a:lnTo>
                    <a:lnTo>
                      <a:pt x="144" y="318"/>
                    </a:lnTo>
                    <a:lnTo>
                      <a:pt x="146" y="318"/>
                    </a:lnTo>
                    <a:lnTo>
                      <a:pt x="148" y="318"/>
                    </a:lnTo>
                    <a:lnTo>
                      <a:pt x="150" y="318"/>
                    </a:lnTo>
                    <a:lnTo>
                      <a:pt x="150" y="320"/>
                    </a:lnTo>
                    <a:lnTo>
                      <a:pt x="148" y="320"/>
                    </a:lnTo>
                    <a:lnTo>
                      <a:pt x="150" y="320"/>
                    </a:lnTo>
                    <a:lnTo>
                      <a:pt x="150" y="318"/>
                    </a:lnTo>
                    <a:lnTo>
                      <a:pt x="151" y="320"/>
                    </a:lnTo>
                    <a:lnTo>
                      <a:pt x="153" y="321"/>
                    </a:lnTo>
                    <a:lnTo>
                      <a:pt x="155" y="323"/>
                    </a:lnTo>
                    <a:lnTo>
                      <a:pt x="155" y="321"/>
                    </a:lnTo>
                    <a:lnTo>
                      <a:pt x="155" y="323"/>
                    </a:lnTo>
                    <a:lnTo>
                      <a:pt x="155" y="321"/>
                    </a:lnTo>
                    <a:lnTo>
                      <a:pt x="157" y="323"/>
                    </a:lnTo>
                    <a:lnTo>
                      <a:pt x="159" y="323"/>
                    </a:lnTo>
                    <a:lnTo>
                      <a:pt x="157" y="323"/>
                    </a:lnTo>
                    <a:lnTo>
                      <a:pt x="155" y="321"/>
                    </a:lnTo>
                    <a:lnTo>
                      <a:pt x="157" y="321"/>
                    </a:lnTo>
                    <a:lnTo>
                      <a:pt x="157" y="323"/>
                    </a:lnTo>
                    <a:lnTo>
                      <a:pt x="159" y="323"/>
                    </a:lnTo>
                    <a:lnTo>
                      <a:pt x="161" y="323"/>
                    </a:lnTo>
                    <a:lnTo>
                      <a:pt x="161" y="321"/>
                    </a:lnTo>
                    <a:lnTo>
                      <a:pt x="163" y="321"/>
                    </a:lnTo>
                    <a:lnTo>
                      <a:pt x="163" y="323"/>
                    </a:lnTo>
                    <a:lnTo>
                      <a:pt x="165" y="323"/>
                    </a:lnTo>
                    <a:lnTo>
                      <a:pt x="165" y="325"/>
                    </a:lnTo>
                    <a:lnTo>
                      <a:pt x="165" y="327"/>
                    </a:lnTo>
                    <a:lnTo>
                      <a:pt x="165" y="329"/>
                    </a:lnTo>
                    <a:lnTo>
                      <a:pt x="165" y="331"/>
                    </a:lnTo>
                    <a:lnTo>
                      <a:pt x="167" y="331"/>
                    </a:lnTo>
                    <a:lnTo>
                      <a:pt x="169" y="331"/>
                    </a:lnTo>
                    <a:lnTo>
                      <a:pt x="169" y="333"/>
                    </a:lnTo>
                    <a:lnTo>
                      <a:pt x="171" y="333"/>
                    </a:lnTo>
                    <a:lnTo>
                      <a:pt x="171" y="331"/>
                    </a:lnTo>
                    <a:lnTo>
                      <a:pt x="173" y="331"/>
                    </a:lnTo>
                    <a:lnTo>
                      <a:pt x="175" y="331"/>
                    </a:lnTo>
                    <a:lnTo>
                      <a:pt x="176" y="331"/>
                    </a:lnTo>
                    <a:lnTo>
                      <a:pt x="175" y="331"/>
                    </a:lnTo>
                    <a:lnTo>
                      <a:pt x="175" y="329"/>
                    </a:lnTo>
                    <a:lnTo>
                      <a:pt x="176" y="329"/>
                    </a:lnTo>
                    <a:lnTo>
                      <a:pt x="178" y="329"/>
                    </a:lnTo>
                    <a:lnTo>
                      <a:pt x="176" y="329"/>
                    </a:lnTo>
                    <a:lnTo>
                      <a:pt x="176" y="331"/>
                    </a:lnTo>
                    <a:lnTo>
                      <a:pt x="178" y="331"/>
                    </a:lnTo>
                    <a:lnTo>
                      <a:pt x="178" y="329"/>
                    </a:lnTo>
                    <a:lnTo>
                      <a:pt x="178" y="331"/>
                    </a:lnTo>
                    <a:lnTo>
                      <a:pt x="180" y="331"/>
                    </a:lnTo>
                    <a:lnTo>
                      <a:pt x="182" y="331"/>
                    </a:lnTo>
                    <a:lnTo>
                      <a:pt x="180" y="331"/>
                    </a:lnTo>
                    <a:lnTo>
                      <a:pt x="180" y="333"/>
                    </a:lnTo>
                    <a:lnTo>
                      <a:pt x="182" y="333"/>
                    </a:lnTo>
                    <a:lnTo>
                      <a:pt x="184" y="333"/>
                    </a:lnTo>
                    <a:lnTo>
                      <a:pt x="184" y="331"/>
                    </a:lnTo>
                    <a:lnTo>
                      <a:pt x="186" y="331"/>
                    </a:lnTo>
                    <a:lnTo>
                      <a:pt x="186" y="333"/>
                    </a:lnTo>
                    <a:lnTo>
                      <a:pt x="186" y="331"/>
                    </a:lnTo>
                    <a:lnTo>
                      <a:pt x="186" y="333"/>
                    </a:lnTo>
                    <a:lnTo>
                      <a:pt x="188" y="333"/>
                    </a:lnTo>
                    <a:lnTo>
                      <a:pt x="188" y="331"/>
                    </a:lnTo>
                    <a:lnTo>
                      <a:pt x="186" y="331"/>
                    </a:lnTo>
                    <a:lnTo>
                      <a:pt x="188" y="331"/>
                    </a:lnTo>
                    <a:lnTo>
                      <a:pt x="190" y="331"/>
                    </a:lnTo>
                    <a:lnTo>
                      <a:pt x="192" y="331"/>
                    </a:lnTo>
                    <a:lnTo>
                      <a:pt x="194" y="331"/>
                    </a:lnTo>
                    <a:lnTo>
                      <a:pt x="192" y="331"/>
                    </a:lnTo>
                    <a:lnTo>
                      <a:pt x="192" y="333"/>
                    </a:lnTo>
                    <a:lnTo>
                      <a:pt x="194" y="333"/>
                    </a:lnTo>
                    <a:lnTo>
                      <a:pt x="194" y="331"/>
                    </a:lnTo>
                    <a:lnTo>
                      <a:pt x="194" y="333"/>
                    </a:lnTo>
                    <a:lnTo>
                      <a:pt x="196" y="333"/>
                    </a:lnTo>
                    <a:lnTo>
                      <a:pt x="198" y="333"/>
                    </a:lnTo>
                    <a:lnTo>
                      <a:pt x="200" y="333"/>
                    </a:lnTo>
                    <a:lnTo>
                      <a:pt x="198" y="333"/>
                    </a:lnTo>
                    <a:lnTo>
                      <a:pt x="196" y="333"/>
                    </a:lnTo>
                    <a:lnTo>
                      <a:pt x="196" y="331"/>
                    </a:lnTo>
                    <a:lnTo>
                      <a:pt x="194" y="331"/>
                    </a:lnTo>
                    <a:lnTo>
                      <a:pt x="194" y="333"/>
                    </a:lnTo>
                    <a:lnTo>
                      <a:pt x="192" y="333"/>
                    </a:lnTo>
                    <a:lnTo>
                      <a:pt x="192" y="331"/>
                    </a:lnTo>
                    <a:lnTo>
                      <a:pt x="194" y="331"/>
                    </a:lnTo>
                    <a:lnTo>
                      <a:pt x="192" y="331"/>
                    </a:lnTo>
                    <a:lnTo>
                      <a:pt x="190" y="331"/>
                    </a:lnTo>
                    <a:lnTo>
                      <a:pt x="188" y="331"/>
                    </a:lnTo>
                    <a:lnTo>
                      <a:pt x="186" y="331"/>
                    </a:lnTo>
                    <a:lnTo>
                      <a:pt x="188" y="331"/>
                    </a:lnTo>
                    <a:lnTo>
                      <a:pt x="188" y="333"/>
                    </a:lnTo>
                    <a:lnTo>
                      <a:pt x="186" y="333"/>
                    </a:lnTo>
                    <a:lnTo>
                      <a:pt x="186" y="331"/>
                    </a:lnTo>
                    <a:lnTo>
                      <a:pt x="184" y="331"/>
                    </a:lnTo>
                    <a:lnTo>
                      <a:pt x="184" y="333"/>
                    </a:lnTo>
                    <a:lnTo>
                      <a:pt x="182" y="333"/>
                    </a:lnTo>
                    <a:lnTo>
                      <a:pt x="180" y="333"/>
                    </a:lnTo>
                    <a:lnTo>
                      <a:pt x="180" y="331"/>
                    </a:lnTo>
                    <a:lnTo>
                      <a:pt x="182" y="331"/>
                    </a:lnTo>
                    <a:lnTo>
                      <a:pt x="180" y="331"/>
                    </a:lnTo>
                    <a:lnTo>
                      <a:pt x="178" y="331"/>
                    </a:lnTo>
                    <a:lnTo>
                      <a:pt x="178" y="329"/>
                    </a:lnTo>
                    <a:lnTo>
                      <a:pt x="178" y="331"/>
                    </a:lnTo>
                    <a:lnTo>
                      <a:pt x="176" y="331"/>
                    </a:lnTo>
                    <a:lnTo>
                      <a:pt x="176" y="329"/>
                    </a:lnTo>
                    <a:lnTo>
                      <a:pt x="178" y="329"/>
                    </a:lnTo>
                    <a:lnTo>
                      <a:pt x="176" y="329"/>
                    </a:lnTo>
                    <a:lnTo>
                      <a:pt x="175" y="329"/>
                    </a:lnTo>
                    <a:lnTo>
                      <a:pt x="175" y="331"/>
                    </a:lnTo>
                    <a:lnTo>
                      <a:pt x="176" y="331"/>
                    </a:lnTo>
                    <a:lnTo>
                      <a:pt x="175" y="331"/>
                    </a:lnTo>
                    <a:lnTo>
                      <a:pt x="173" y="331"/>
                    </a:lnTo>
                    <a:lnTo>
                      <a:pt x="171" y="331"/>
                    </a:lnTo>
                    <a:lnTo>
                      <a:pt x="171" y="333"/>
                    </a:lnTo>
                    <a:lnTo>
                      <a:pt x="169" y="333"/>
                    </a:lnTo>
                    <a:lnTo>
                      <a:pt x="169" y="331"/>
                    </a:lnTo>
                    <a:lnTo>
                      <a:pt x="167" y="331"/>
                    </a:lnTo>
                    <a:lnTo>
                      <a:pt x="167" y="329"/>
                    </a:lnTo>
                    <a:lnTo>
                      <a:pt x="165" y="329"/>
                    </a:lnTo>
                    <a:lnTo>
                      <a:pt x="165" y="327"/>
                    </a:lnTo>
                    <a:lnTo>
                      <a:pt x="165" y="325"/>
                    </a:lnTo>
                    <a:lnTo>
                      <a:pt x="167" y="327"/>
                    </a:lnTo>
                    <a:lnTo>
                      <a:pt x="167" y="329"/>
                    </a:lnTo>
                    <a:lnTo>
                      <a:pt x="167" y="327"/>
                    </a:lnTo>
                    <a:lnTo>
                      <a:pt x="167" y="325"/>
                    </a:lnTo>
                    <a:lnTo>
                      <a:pt x="165" y="325"/>
                    </a:lnTo>
                    <a:lnTo>
                      <a:pt x="167" y="325"/>
                    </a:lnTo>
                    <a:lnTo>
                      <a:pt x="165" y="325"/>
                    </a:lnTo>
                    <a:lnTo>
                      <a:pt x="165" y="323"/>
                    </a:lnTo>
                    <a:lnTo>
                      <a:pt x="163" y="323"/>
                    </a:lnTo>
                    <a:lnTo>
                      <a:pt x="163" y="321"/>
                    </a:lnTo>
                    <a:lnTo>
                      <a:pt x="163" y="323"/>
                    </a:lnTo>
                    <a:lnTo>
                      <a:pt x="163" y="321"/>
                    </a:lnTo>
                    <a:lnTo>
                      <a:pt x="161" y="321"/>
                    </a:lnTo>
                    <a:lnTo>
                      <a:pt x="159" y="321"/>
                    </a:lnTo>
                    <a:lnTo>
                      <a:pt x="159" y="323"/>
                    </a:lnTo>
                    <a:lnTo>
                      <a:pt x="157" y="323"/>
                    </a:lnTo>
                    <a:lnTo>
                      <a:pt x="157" y="321"/>
                    </a:lnTo>
                    <a:lnTo>
                      <a:pt x="155" y="321"/>
                    </a:lnTo>
                    <a:lnTo>
                      <a:pt x="153" y="321"/>
                    </a:lnTo>
                    <a:lnTo>
                      <a:pt x="153" y="320"/>
                    </a:lnTo>
                    <a:lnTo>
                      <a:pt x="151" y="320"/>
                    </a:lnTo>
                    <a:lnTo>
                      <a:pt x="151" y="318"/>
                    </a:lnTo>
                    <a:lnTo>
                      <a:pt x="150" y="318"/>
                    </a:lnTo>
                    <a:lnTo>
                      <a:pt x="150" y="316"/>
                    </a:lnTo>
                    <a:lnTo>
                      <a:pt x="148" y="316"/>
                    </a:lnTo>
                    <a:lnTo>
                      <a:pt x="146" y="316"/>
                    </a:lnTo>
                    <a:lnTo>
                      <a:pt x="144" y="316"/>
                    </a:lnTo>
                    <a:lnTo>
                      <a:pt x="142" y="316"/>
                    </a:lnTo>
                    <a:lnTo>
                      <a:pt x="142" y="318"/>
                    </a:lnTo>
                    <a:lnTo>
                      <a:pt x="140" y="316"/>
                    </a:lnTo>
                    <a:lnTo>
                      <a:pt x="138" y="316"/>
                    </a:lnTo>
                    <a:lnTo>
                      <a:pt x="136" y="314"/>
                    </a:lnTo>
                    <a:lnTo>
                      <a:pt x="134" y="314"/>
                    </a:lnTo>
                    <a:lnTo>
                      <a:pt x="134" y="312"/>
                    </a:lnTo>
                    <a:lnTo>
                      <a:pt x="134" y="310"/>
                    </a:lnTo>
                    <a:lnTo>
                      <a:pt x="132" y="310"/>
                    </a:lnTo>
                    <a:lnTo>
                      <a:pt x="134" y="310"/>
                    </a:lnTo>
                    <a:lnTo>
                      <a:pt x="136" y="308"/>
                    </a:lnTo>
                    <a:lnTo>
                      <a:pt x="138" y="308"/>
                    </a:lnTo>
                    <a:lnTo>
                      <a:pt x="140" y="306"/>
                    </a:lnTo>
                    <a:lnTo>
                      <a:pt x="142" y="306"/>
                    </a:lnTo>
                    <a:lnTo>
                      <a:pt x="142" y="304"/>
                    </a:lnTo>
                    <a:lnTo>
                      <a:pt x="144" y="304"/>
                    </a:lnTo>
                    <a:lnTo>
                      <a:pt x="142" y="304"/>
                    </a:lnTo>
                    <a:lnTo>
                      <a:pt x="144" y="304"/>
                    </a:lnTo>
                    <a:lnTo>
                      <a:pt x="146" y="302"/>
                    </a:lnTo>
                    <a:lnTo>
                      <a:pt x="148" y="302"/>
                    </a:lnTo>
                    <a:lnTo>
                      <a:pt x="150" y="302"/>
                    </a:lnTo>
                    <a:lnTo>
                      <a:pt x="151" y="302"/>
                    </a:lnTo>
                    <a:lnTo>
                      <a:pt x="153" y="302"/>
                    </a:lnTo>
                    <a:lnTo>
                      <a:pt x="155" y="302"/>
                    </a:lnTo>
                    <a:lnTo>
                      <a:pt x="157" y="300"/>
                    </a:lnTo>
                    <a:lnTo>
                      <a:pt x="159" y="300"/>
                    </a:lnTo>
                    <a:lnTo>
                      <a:pt x="161" y="300"/>
                    </a:lnTo>
                    <a:lnTo>
                      <a:pt x="161" y="298"/>
                    </a:lnTo>
                    <a:lnTo>
                      <a:pt x="163" y="298"/>
                    </a:lnTo>
                    <a:lnTo>
                      <a:pt x="165" y="298"/>
                    </a:lnTo>
                    <a:lnTo>
                      <a:pt x="165" y="296"/>
                    </a:lnTo>
                    <a:lnTo>
                      <a:pt x="167" y="298"/>
                    </a:lnTo>
                    <a:lnTo>
                      <a:pt x="167" y="296"/>
                    </a:lnTo>
                    <a:lnTo>
                      <a:pt x="165" y="296"/>
                    </a:lnTo>
                    <a:lnTo>
                      <a:pt x="165" y="298"/>
                    </a:lnTo>
                    <a:lnTo>
                      <a:pt x="163" y="298"/>
                    </a:lnTo>
                    <a:lnTo>
                      <a:pt x="163" y="296"/>
                    </a:lnTo>
                    <a:lnTo>
                      <a:pt x="165" y="296"/>
                    </a:lnTo>
                    <a:lnTo>
                      <a:pt x="163" y="296"/>
                    </a:lnTo>
                    <a:lnTo>
                      <a:pt x="165" y="296"/>
                    </a:lnTo>
                    <a:lnTo>
                      <a:pt x="167" y="296"/>
                    </a:lnTo>
                    <a:lnTo>
                      <a:pt x="169" y="296"/>
                    </a:lnTo>
                    <a:lnTo>
                      <a:pt x="169" y="295"/>
                    </a:lnTo>
                    <a:lnTo>
                      <a:pt x="167" y="295"/>
                    </a:lnTo>
                    <a:lnTo>
                      <a:pt x="167" y="296"/>
                    </a:lnTo>
                    <a:lnTo>
                      <a:pt x="167" y="295"/>
                    </a:lnTo>
                    <a:lnTo>
                      <a:pt x="169" y="295"/>
                    </a:lnTo>
                    <a:lnTo>
                      <a:pt x="167" y="295"/>
                    </a:lnTo>
                    <a:lnTo>
                      <a:pt x="167" y="293"/>
                    </a:lnTo>
                    <a:lnTo>
                      <a:pt x="169" y="293"/>
                    </a:lnTo>
                    <a:lnTo>
                      <a:pt x="171" y="293"/>
                    </a:lnTo>
                    <a:lnTo>
                      <a:pt x="169" y="293"/>
                    </a:lnTo>
                    <a:lnTo>
                      <a:pt x="171" y="293"/>
                    </a:lnTo>
                    <a:lnTo>
                      <a:pt x="171" y="291"/>
                    </a:lnTo>
                    <a:lnTo>
                      <a:pt x="173" y="291"/>
                    </a:lnTo>
                    <a:lnTo>
                      <a:pt x="175" y="291"/>
                    </a:lnTo>
                    <a:lnTo>
                      <a:pt x="176" y="291"/>
                    </a:lnTo>
                    <a:lnTo>
                      <a:pt x="178" y="291"/>
                    </a:lnTo>
                    <a:lnTo>
                      <a:pt x="176" y="291"/>
                    </a:lnTo>
                    <a:lnTo>
                      <a:pt x="178" y="291"/>
                    </a:lnTo>
                    <a:lnTo>
                      <a:pt x="176" y="291"/>
                    </a:lnTo>
                    <a:lnTo>
                      <a:pt x="178" y="293"/>
                    </a:lnTo>
                    <a:lnTo>
                      <a:pt x="176" y="293"/>
                    </a:lnTo>
                    <a:lnTo>
                      <a:pt x="178" y="293"/>
                    </a:lnTo>
                    <a:lnTo>
                      <a:pt x="178" y="291"/>
                    </a:lnTo>
                    <a:lnTo>
                      <a:pt x="176" y="291"/>
                    </a:lnTo>
                    <a:lnTo>
                      <a:pt x="178" y="291"/>
                    </a:lnTo>
                    <a:lnTo>
                      <a:pt x="180" y="291"/>
                    </a:lnTo>
                    <a:lnTo>
                      <a:pt x="182" y="291"/>
                    </a:lnTo>
                    <a:lnTo>
                      <a:pt x="184" y="291"/>
                    </a:lnTo>
                    <a:lnTo>
                      <a:pt x="182" y="291"/>
                    </a:lnTo>
                    <a:lnTo>
                      <a:pt x="184" y="291"/>
                    </a:lnTo>
                    <a:lnTo>
                      <a:pt x="186" y="291"/>
                    </a:lnTo>
                    <a:lnTo>
                      <a:pt x="188" y="291"/>
                    </a:lnTo>
                    <a:lnTo>
                      <a:pt x="190" y="291"/>
                    </a:lnTo>
                    <a:lnTo>
                      <a:pt x="192" y="291"/>
                    </a:lnTo>
                    <a:lnTo>
                      <a:pt x="192" y="289"/>
                    </a:lnTo>
                    <a:lnTo>
                      <a:pt x="194" y="289"/>
                    </a:lnTo>
                    <a:lnTo>
                      <a:pt x="196" y="289"/>
                    </a:lnTo>
                    <a:lnTo>
                      <a:pt x="198" y="289"/>
                    </a:lnTo>
                    <a:lnTo>
                      <a:pt x="200" y="289"/>
                    </a:lnTo>
                    <a:lnTo>
                      <a:pt x="198" y="289"/>
                    </a:lnTo>
                    <a:lnTo>
                      <a:pt x="200" y="289"/>
                    </a:lnTo>
                    <a:lnTo>
                      <a:pt x="201" y="289"/>
                    </a:lnTo>
                    <a:lnTo>
                      <a:pt x="203" y="289"/>
                    </a:lnTo>
                    <a:lnTo>
                      <a:pt x="205" y="289"/>
                    </a:lnTo>
                    <a:lnTo>
                      <a:pt x="207" y="289"/>
                    </a:lnTo>
                    <a:lnTo>
                      <a:pt x="209" y="289"/>
                    </a:lnTo>
                    <a:lnTo>
                      <a:pt x="211" y="289"/>
                    </a:lnTo>
                    <a:lnTo>
                      <a:pt x="213" y="289"/>
                    </a:lnTo>
                    <a:lnTo>
                      <a:pt x="215" y="289"/>
                    </a:lnTo>
                    <a:lnTo>
                      <a:pt x="217" y="289"/>
                    </a:lnTo>
                    <a:lnTo>
                      <a:pt x="219" y="289"/>
                    </a:lnTo>
                    <a:lnTo>
                      <a:pt x="217" y="289"/>
                    </a:lnTo>
                    <a:lnTo>
                      <a:pt x="219" y="289"/>
                    </a:lnTo>
                    <a:lnTo>
                      <a:pt x="221" y="287"/>
                    </a:lnTo>
                    <a:lnTo>
                      <a:pt x="223" y="287"/>
                    </a:lnTo>
                    <a:lnTo>
                      <a:pt x="223" y="289"/>
                    </a:lnTo>
                    <a:lnTo>
                      <a:pt x="221" y="289"/>
                    </a:lnTo>
                    <a:lnTo>
                      <a:pt x="223" y="289"/>
                    </a:lnTo>
                    <a:lnTo>
                      <a:pt x="223" y="287"/>
                    </a:lnTo>
                    <a:lnTo>
                      <a:pt x="224" y="287"/>
                    </a:lnTo>
                    <a:lnTo>
                      <a:pt x="226" y="287"/>
                    </a:lnTo>
                    <a:lnTo>
                      <a:pt x="226" y="285"/>
                    </a:lnTo>
                    <a:lnTo>
                      <a:pt x="228" y="285"/>
                    </a:lnTo>
                    <a:lnTo>
                      <a:pt x="230" y="285"/>
                    </a:lnTo>
                    <a:lnTo>
                      <a:pt x="232" y="285"/>
                    </a:lnTo>
                    <a:lnTo>
                      <a:pt x="234" y="285"/>
                    </a:lnTo>
                    <a:lnTo>
                      <a:pt x="238" y="285"/>
                    </a:lnTo>
                    <a:lnTo>
                      <a:pt x="238" y="283"/>
                    </a:lnTo>
                    <a:lnTo>
                      <a:pt x="240" y="283"/>
                    </a:lnTo>
                    <a:lnTo>
                      <a:pt x="242" y="283"/>
                    </a:lnTo>
                    <a:lnTo>
                      <a:pt x="244" y="283"/>
                    </a:lnTo>
                    <a:lnTo>
                      <a:pt x="246" y="285"/>
                    </a:lnTo>
                    <a:lnTo>
                      <a:pt x="248" y="285"/>
                    </a:lnTo>
                    <a:lnTo>
                      <a:pt x="249" y="285"/>
                    </a:lnTo>
                    <a:lnTo>
                      <a:pt x="249" y="287"/>
                    </a:lnTo>
                    <a:lnTo>
                      <a:pt x="248" y="287"/>
                    </a:lnTo>
                    <a:lnTo>
                      <a:pt x="246" y="285"/>
                    </a:lnTo>
                    <a:lnTo>
                      <a:pt x="246" y="287"/>
                    </a:lnTo>
                    <a:lnTo>
                      <a:pt x="244" y="287"/>
                    </a:lnTo>
                    <a:lnTo>
                      <a:pt x="246" y="287"/>
                    </a:lnTo>
                    <a:lnTo>
                      <a:pt x="246" y="285"/>
                    </a:lnTo>
                    <a:lnTo>
                      <a:pt x="246" y="287"/>
                    </a:lnTo>
                    <a:lnTo>
                      <a:pt x="248" y="287"/>
                    </a:lnTo>
                    <a:lnTo>
                      <a:pt x="249" y="287"/>
                    </a:lnTo>
                    <a:lnTo>
                      <a:pt x="248" y="287"/>
                    </a:lnTo>
                    <a:lnTo>
                      <a:pt x="246" y="287"/>
                    </a:lnTo>
                    <a:lnTo>
                      <a:pt x="246" y="289"/>
                    </a:lnTo>
                    <a:lnTo>
                      <a:pt x="246" y="287"/>
                    </a:lnTo>
                    <a:lnTo>
                      <a:pt x="246" y="289"/>
                    </a:lnTo>
                    <a:lnTo>
                      <a:pt x="246" y="287"/>
                    </a:lnTo>
                    <a:lnTo>
                      <a:pt x="248" y="289"/>
                    </a:lnTo>
                    <a:lnTo>
                      <a:pt x="248" y="287"/>
                    </a:lnTo>
                    <a:lnTo>
                      <a:pt x="248" y="289"/>
                    </a:lnTo>
                    <a:lnTo>
                      <a:pt x="248" y="287"/>
                    </a:lnTo>
                    <a:lnTo>
                      <a:pt x="248" y="289"/>
                    </a:lnTo>
                    <a:lnTo>
                      <a:pt x="246" y="289"/>
                    </a:lnTo>
                    <a:lnTo>
                      <a:pt x="246" y="287"/>
                    </a:lnTo>
                    <a:lnTo>
                      <a:pt x="246" y="289"/>
                    </a:lnTo>
                    <a:lnTo>
                      <a:pt x="244" y="289"/>
                    </a:lnTo>
                    <a:lnTo>
                      <a:pt x="242" y="289"/>
                    </a:lnTo>
                    <a:lnTo>
                      <a:pt x="240" y="289"/>
                    </a:lnTo>
                    <a:lnTo>
                      <a:pt x="240" y="291"/>
                    </a:lnTo>
                    <a:lnTo>
                      <a:pt x="238" y="291"/>
                    </a:lnTo>
                    <a:lnTo>
                      <a:pt x="238" y="293"/>
                    </a:lnTo>
                    <a:lnTo>
                      <a:pt x="238" y="295"/>
                    </a:lnTo>
                    <a:lnTo>
                      <a:pt x="240" y="295"/>
                    </a:lnTo>
                    <a:lnTo>
                      <a:pt x="238" y="295"/>
                    </a:lnTo>
                    <a:lnTo>
                      <a:pt x="238" y="296"/>
                    </a:lnTo>
                    <a:lnTo>
                      <a:pt x="236" y="296"/>
                    </a:lnTo>
                    <a:lnTo>
                      <a:pt x="238" y="296"/>
                    </a:lnTo>
                    <a:lnTo>
                      <a:pt x="238" y="295"/>
                    </a:lnTo>
                    <a:lnTo>
                      <a:pt x="240" y="295"/>
                    </a:lnTo>
                    <a:lnTo>
                      <a:pt x="240" y="296"/>
                    </a:lnTo>
                    <a:lnTo>
                      <a:pt x="238" y="296"/>
                    </a:lnTo>
                    <a:lnTo>
                      <a:pt x="238" y="298"/>
                    </a:lnTo>
                    <a:lnTo>
                      <a:pt x="240" y="298"/>
                    </a:lnTo>
                    <a:lnTo>
                      <a:pt x="238" y="298"/>
                    </a:lnTo>
                    <a:lnTo>
                      <a:pt x="240" y="298"/>
                    </a:lnTo>
                    <a:lnTo>
                      <a:pt x="238" y="298"/>
                    </a:lnTo>
                    <a:lnTo>
                      <a:pt x="240" y="300"/>
                    </a:lnTo>
                    <a:lnTo>
                      <a:pt x="240" y="302"/>
                    </a:lnTo>
                    <a:lnTo>
                      <a:pt x="242" y="302"/>
                    </a:lnTo>
                    <a:lnTo>
                      <a:pt x="242" y="304"/>
                    </a:lnTo>
                    <a:lnTo>
                      <a:pt x="244" y="304"/>
                    </a:lnTo>
                    <a:lnTo>
                      <a:pt x="246" y="304"/>
                    </a:lnTo>
                    <a:lnTo>
                      <a:pt x="244" y="304"/>
                    </a:lnTo>
                    <a:lnTo>
                      <a:pt x="246" y="304"/>
                    </a:lnTo>
                    <a:lnTo>
                      <a:pt x="248" y="304"/>
                    </a:lnTo>
                    <a:lnTo>
                      <a:pt x="249" y="304"/>
                    </a:lnTo>
                    <a:lnTo>
                      <a:pt x="251" y="304"/>
                    </a:lnTo>
                    <a:lnTo>
                      <a:pt x="253" y="304"/>
                    </a:lnTo>
                    <a:lnTo>
                      <a:pt x="255" y="304"/>
                    </a:lnTo>
                    <a:lnTo>
                      <a:pt x="255" y="306"/>
                    </a:lnTo>
                    <a:lnTo>
                      <a:pt x="255" y="304"/>
                    </a:lnTo>
                    <a:lnTo>
                      <a:pt x="257" y="306"/>
                    </a:lnTo>
                    <a:lnTo>
                      <a:pt x="259" y="306"/>
                    </a:lnTo>
                    <a:lnTo>
                      <a:pt x="259" y="304"/>
                    </a:lnTo>
                    <a:lnTo>
                      <a:pt x="259" y="306"/>
                    </a:lnTo>
                    <a:lnTo>
                      <a:pt x="259" y="304"/>
                    </a:lnTo>
                    <a:lnTo>
                      <a:pt x="259" y="306"/>
                    </a:lnTo>
                    <a:lnTo>
                      <a:pt x="261" y="306"/>
                    </a:lnTo>
                    <a:lnTo>
                      <a:pt x="263" y="306"/>
                    </a:lnTo>
                    <a:lnTo>
                      <a:pt x="265" y="306"/>
                    </a:lnTo>
                    <a:lnTo>
                      <a:pt x="265" y="304"/>
                    </a:lnTo>
                    <a:lnTo>
                      <a:pt x="265" y="306"/>
                    </a:lnTo>
                    <a:lnTo>
                      <a:pt x="267" y="306"/>
                    </a:lnTo>
                    <a:lnTo>
                      <a:pt x="265" y="304"/>
                    </a:lnTo>
                    <a:lnTo>
                      <a:pt x="267" y="304"/>
                    </a:lnTo>
                    <a:lnTo>
                      <a:pt x="267" y="306"/>
                    </a:lnTo>
                    <a:lnTo>
                      <a:pt x="269" y="306"/>
                    </a:lnTo>
                    <a:lnTo>
                      <a:pt x="271" y="306"/>
                    </a:lnTo>
                    <a:lnTo>
                      <a:pt x="271" y="308"/>
                    </a:lnTo>
                    <a:lnTo>
                      <a:pt x="273" y="308"/>
                    </a:lnTo>
                    <a:lnTo>
                      <a:pt x="274" y="308"/>
                    </a:lnTo>
                    <a:lnTo>
                      <a:pt x="276" y="310"/>
                    </a:lnTo>
                    <a:lnTo>
                      <a:pt x="274" y="310"/>
                    </a:lnTo>
                    <a:lnTo>
                      <a:pt x="276" y="312"/>
                    </a:lnTo>
                    <a:lnTo>
                      <a:pt x="274" y="312"/>
                    </a:lnTo>
                    <a:lnTo>
                      <a:pt x="276" y="312"/>
                    </a:lnTo>
                    <a:lnTo>
                      <a:pt x="276" y="314"/>
                    </a:lnTo>
                    <a:lnTo>
                      <a:pt x="276" y="316"/>
                    </a:lnTo>
                    <a:lnTo>
                      <a:pt x="274" y="316"/>
                    </a:lnTo>
                    <a:lnTo>
                      <a:pt x="274" y="318"/>
                    </a:lnTo>
                    <a:lnTo>
                      <a:pt x="274" y="316"/>
                    </a:lnTo>
                    <a:lnTo>
                      <a:pt x="274" y="318"/>
                    </a:lnTo>
                    <a:lnTo>
                      <a:pt x="273" y="318"/>
                    </a:lnTo>
                    <a:lnTo>
                      <a:pt x="271" y="318"/>
                    </a:lnTo>
                    <a:lnTo>
                      <a:pt x="271" y="320"/>
                    </a:lnTo>
                    <a:lnTo>
                      <a:pt x="269" y="320"/>
                    </a:lnTo>
                    <a:lnTo>
                      <a:pt x="269" y="321"/>
                    </a:lnTo>
                    <a:lnTo>
                      <a:pt x="271" y="321"/>
                    </a:lnTo>
                    <a:lnTo>
                      <a:pt x="269" y="323"/>
                    </a:lnTo>
                    <a:lnTo>
                      <a:pt x="271" y="323"/>
                    </a:lnTo>
                    <a:lnTo>
                      <a:pt x="271" y="325"/>
                    </a:lnTo>
                    <a:lnTo>
                      <a:pt x="273" y="325"/>
                    </a:lnTo>
                    <a:lnTo>
                      <a:pt x="273" y="327"/>
                    </a:lnTo>
                    <a:lnTo>
                      <a:pt x="271" y="327"/>
                    </a:lnTo>
                    <a:lnTo>
                      <a:pt x="271" y="329"/>
                    </a:lnTo>
                    <a:lnTo>
                      <a:pt x="273" y="329"/>
                    </a:lnTo>
                    <a:lnTo>
                      <a:pt x="273" y="331"/>
                    </a:lnTo>
                    <a:lnTo>
                      <a:pt x="274" y="331"/>
                    </a:lnTo>
                    <a:lnTo>
                      <a:pt x="276" y="331"/>
                    </a:lnTo>
                    <a:lnTo>
                      <a:pt x="276" y="333"/>
                    </a:lnTo>
                    <a:lnTo>
                      <a:pt x="274" y="333"/>
                    </a:lnTo>
                    <a:lnTo>
                      <a:pt x="274" y="335"/>
                    </a:lnTo>
                    <a:lnTo>
                      <a:pt x="276" y="337"/>
                    </a:lnTo>
                    <a:lnTo>
                      <a:pt x="276" y="339"/>
                    </a:lnTo>
                    <a:lnTo>
                      <a:pt x="278" y="339"/>
                    </a:lnTo>
                    <a:lnTo>
                      <a:pt x="276" y="339"/>
                    </a:lnTo>
                    <a:lnTo>
                      <a:pt x="278" y="341"/>
                    </a:lnTo>
                    <a:lnTo>
                      <a:pt x="276" y="341"/>
                    </a:lnTo>
                    <a:lnTo>
                      <a:pt x="278" y="341"/>
                    </a:lnTo>
                    <a:lnTo>
                      <a:pt x="278" y="339"/>
                    </a:lnTo>
                    <a:lnTo>
                      <a:pt x="276" y="339"/>
                    </a:lnTo>
                    <a:lnTo>
                      <a:pt x="276" y="337"/>
                    </a:lnTo>
                    <a:lnTo>
                      <a:pt x="274" y="335"/>
                    </a:lnTo>
                    <a:lnTo>
                      <a:pt x="274" y="333"/>
                    </a:lnTo>
                    <a:lnTo>
                      <a:pt x="276" y="333"/>
                    </a:lnTo>
                    <a:lnTo>
                      <a:pt x="276" y="331"/>
                    </a:lnTo>
                    <a:lnTo>
                      <a:pt x="274" y="331"/>
                    </a:lnTo>
                    <a:lnTo>
                      <a:pt x="273" y="331"/>
                    </a:lnTo>
                    <a:lnTo>
                      <a:pt x="273" y="329"/>
                    </a:lnTo>
                    <a:lnTo>
                      <a:pt x="271" y="329"/>
                    </a:lnTo>
                    <a:lnTo>
                      <a:pt x="271" y="327"/>
                    </a:lnTo>
                    <a:lnTo>
                      <a:pt x="273" y="327"/>
                    </a:lnTo>
                    <a:lnTo>
                      <a:pt x="273" y="325"/>
                    </a:lnTo>
                    <a:lnTo>
                      <a:pt x="271" y="325"/>
                    </a:lnTo>
                    <a:lnTo>
                      <a:pt x="271" y="323"/>
                    </a:lnTo>
                    <a:lnTo>
                      <a:pt x="269" y="323"/>
                    </a:lnTo>
                    <a:lnTo>
                      <a:pt x="271" y="323"/>
                    </a:lnTo>
                    <a:lnTo>
                      <a:pt x="271" y="321"/>
                    </a:lnTo>
                    <a:lnTo>
                      <a:pt x="269" y="321"/>
                    </a:lnTo>
                    <a:lnTo>
                      <a:pt x="271" y="320"/>
                    </a:lnTo>
                    <a:lnTo>
                      <a:pt x="271" y="318"/>
                    </a:lnTo>
                    <a:lnTo>
                      <a:pt x="273" y="318"/>
                    </a:lnTo>
                    <a:lnTo>
                      <a:pt x="274" y="316"/>
                    </a:lnTo>
                    <a:lnTo>
                      <a:pt x="276" y="316"/>
                    </a:lnTo>
                    <a:lnTo>
                      <a:pt x="276" y="318"/>
                    </a:lnTo>
                    <a:lnTo>
                      <a:pt x="276" y="316"/>
                    </a:lnTo>
                    <a:lnTo>
                      <a:pt x="276" y="314"/>
                    </a:lnTo>
                    <a:lnTo>
                      <a:pt x="276" y="312"/>
                    </a:lnTo>
                    <a:lnTo>
                      <a:pt x="276" y="310"/>
                    </a:lnTo>
                    <a:lnTo>
                      <a:pt x="278" y="310"/>
                    </a:lnTo>
                    <a:lnTo>
                      <a:pt x="276" y="310"/>
                    </a:lnTo>
                    <a:lnTo>
                      <a:pt x="278" y="310"/>
                    </a:lnTo>
                    <a:lnTo>
                      <a:pt x="280" y="310"/>
                    </a:lnTo>
                    <a:lnTo>
                      <a:pt x="280" y="308"/>
                    </a:lnTo>
                    <a:lnTo>
                      <a:pt x="282" y="308"/>
                    </a:lnTo>
                    <a:lnTo>
                      <a:pt x="284" y="308"/>
                    </a:lnTo>
                    <a:lnTo>
                      <a:pt x="286" y="308"/>
                    </a:lnTo>
                    <a:lnTo>
                      <a:pt x="288" y="308"/>
                    </a:lnTo>
                    <a:lnTo>
                      <a:pt x="286" y="308"/>
                    </a:lnTo>
                    <a:lnTo>
                      <a:pt x="288" y="308"/>
                    </a:lnTo>
                    <a:lnTo>
                      <a:pt x="290" y="308"/>
                    </a:lnTo>
                    <a:lnTo>
                      <a:pt x="292" y="308"/>
                    </a:lnTo>
                    <a:lnTo>
                      <a:pt x="294" y="308"/>
                    </a:lnTo>
                    <a:lnTo>
                      <a:pt x="296" y="308"/>
                    </a:lnTo>
                    <a:lnTo>
                      <a:pt x="296" y="310"/>
                    </a:lnTo>
                    <a:lnTo>
                      <a:pt x="296" y="308"/>
                    </a:lnTo>
                    <a:lnTo>
                      <a:pt x="296" y="310"/>
                    </a:lnTo>
                    <a:lnTo>
                      <a:pt x="296" y="308"/>
                    </a:lnTo>
                    <a:lnTo>
                      <a:pt x="297" y="308"/>
                    </a:lnTo>
                    <a:lnTo>
                      <a:pt x="299" y="310"/>
                    </a:lnTo>
                    <a:lnTo>
                      <a:pt x="297" y="310"/>
                    </a:lnTo>
                    <a:lnTo>
                      <a:pt x="297" y="308"/>
                    </a:lnTo>
                    <a:lnTo>
                      <a:pt x="299" y="308"/>
                    </a:lnTo>
                    <a:lnTo>
                      <a:pt x="299" y="310"/>
                    </a:lnTo>
                    <a:lnTo>
                      <a:pt x="301" y="310"/>
                    </a:lnTo>
                    <a:lnTo>
                      <a:pt x="303" y="310"/>
                    </a:lnTo>
                    <a:lnTo>
                      <a:pt x="305" y="312"/>
                    </a:lnTo>
                    <a:lnTo>
                      <a:pt x="305" y="310"/>
                    </a:lnTo>
                    <a:lnTo>
                      <a:pt x="307" y="310"/>
                    </a:lnTo>
                    <a:lnTo>
                      <a:pt x="309" y="308"/>
                    </a:lnTo>
                    <a:lnTo>
                      <a:pt x="311" y="308"/>
                    </a:lnTo>
                    <a:lnTo>
                      <a:pt x="313" y="308"/>
                    </a:lnTo>
                    <a:lnTo>
                      <a:pt x="315" y="308"/>
                    </a:lnTo>
                    <a:lnTo>
                      <a:pt x="317" y="310"/>
                    </a:lnTo>
                    <a:lnTo>
                      <a:pt x="319" y="310"/>
                    </a:lnTo>
                    <a:lnTo>
                      <a:pt x="319" y="312"/>
                    </a:lnTo>
                    <a:lnTo>
                      <a:pt x="321" y="312"/>
                    </a:lnTo>
                    <a:lnTo>
                      <a:pt x="322" y="314"/>
                    </a:lnTo>
                    <a:lnTo>
                      <a:pt x="322" y="316"/>
                    </a:lnTo>
                    <a:lnTo>
                      <a:pt x="324" y="316"/>
                    </a:lnTo>
                    <a:lnTo>
                      <a:pt x="326" y="316"/>
                    </a:lnTo>
                    <a:lnTo>
                      <a:pt x="328" y="318"/>
                    </a:lnTo>
                    <a:lnTo>
                      <a:pt x="326" y="316"/>
                    </a:lnTo>
                    <a:lnTo>
                      <a:pt x="328" y="316"/>
                    </a:lnTo>
                    <a:lnTo>
                      <a:pt x="326" y="316"/>
                    </a:lnTo>
                    <a:lnTo>
                      <a:pt x="328" y="316"/>
                    </a:lnTo>
                    <a:lnTo>
                      <a:pt x="328" y="318"/>
                    </a:lnTo>
                    <a:lnTo>
                      <a:pt x="330" y="318"/>
                    </a:lnTo>
                    <a:lnTo>
                      <a:pt x="332" y="318"/>
                    </a:lnTo>
                    <a:lnTo>
                      <a:pt x="334" y="318"/>
                    </a:lnTo>
                    <a:lnTo>
                      <a:pt x="336" y="320"/>
                    </a:lnTo>
                    <a:lnTo>
                      <a:pt x="338" y="321"/>
                    </a:lnTo>
                    <a:lnTo>
                      <a:pt x="340" y="321"/>
                    </a:lnTo>
                    <a:lnTo>
                      <a:pt x="342" y="321"/>
                    </a:lnTo>
                    <a:lnTo>
                      <a:pt x="344" y="323"/>
                    </a:lnTo>
                    <a:lnTo>
                      <a:pt x="346" y="323"/>
                    </a:lnTo>
                    <a:lnTo>
                      <a:pt x="346" y="325"/>
                    </a:lnTo>
                    <a:lnTo>
                      <a:pt x="347" y="325"/>
                    </a:lnTo>
                    <a:lnTo>
                      <a:pt x="349" y="325"/>
                    </a:lnTo>
                    <a:lnTo>
                      <a:pt x="351" y="325"/>
                    </a:lnTo>
                    <a:lnTo>
                      <a:pt x="353" y="325"/>
                    </a:lnTo>
                    <a:lnTo>
                      <a:pt x="355" y="325"/>
                    </a:lnTo>
                    <a:lnTo>
                      <a:pt x="355" y="327"/>
                    </a:lnTo>
                    <a:lnTo>
                      <a:pt x="357" y="327"/>
                    </a:lnTo>
                    <a:lnTo>
                      <a:pt x="359" y="329"/>
                    </a:lnTo>
                    <a:lnTo>
                      <a:pt x="361" y="329"/>
                    </a:lnTo>
                    <a:lnTo>
                      <a:pt x="363" y="329"/>
                    </a:lnTo>
                    <a:lnTo>
                      <a:pt x="365" y="329"/>
                    </a:lnTo>
                    <a:lnTo>
                      <a:pt x="365" y="331"/>
                    </a:lnTo>
                    <a:lnTo>
                      <a:pt x="367" y="331"/>
                    </a:lnTo>
                    <a:lnTo>
                      <a:pt x="369" y="331"/>
                    </a:lnTo>
                    <a:lnTo>
                      <a:pt x="369" y="333"/>
                    </a:lnTo>
                    <a:lnTo>
                      <a:pt x="370" y="333"/>
                    </a:lnTo>
                    <a:lnTo>
                      <a:pt x="370" y="331"/>
                    </a:lnTo>
                    <a:lnTo>
                      <a:pt x="370" y="333"/>
                    </a:lnTo>
                    <a:lnTo>
                      <a:pt x="370" y="335"/>
                    </a:lnTo>
                    <a:lnTo>
                      <a:pt x="370" y="337"/>
                    </a:lnTo>
                    <a:lnTo>
                      <a:pt x="370" y="339"/>
                    </a:lnTo>
                    <a:lnTo>
                      <a:pt x="370" y="341"/>
                    </a:lnTo>
                    <a:lnTo>
                      <a:pt x="369" y="341"/>
                    </a:lnTo>
                    <a:lnTo>
                      <a:pt x="369" y="343"/>
                    </a:lnTo>
                    <a:lnTo>
                      <a:pt x="370" y="343"/>
                    </a:lnTo>
                    <a:lnTo>
                      <a:pt x="369" y="341"/>
                    </a:lnTo>
                    <a:lnTo>
                      <a:pt x="370" y="341"/>
                    </a:lnTo>
                    <a:lnTo>
                      <a:pt x="370" y="343"/>
                    </a:lnTo>
                    <a:lnTo>
                      <a:pt x="372" y="343"/>
                    </a:lnTo>
                    <a:lnTo>
                      <a:pt x="372" y="345"/>
                    </a:lnTo>
                    <a:lnTo>
                      <a:pt x="374" y="346"/>
                    </a:lnTo>
                    <a:lnTo>
                      <a:pt x="372" y="346"/>
                    </a:lnTo>
                    <a:lnTo>
                      <a:pt x="372" y="348"/>
                    </a:lnTo>
                    <a:lnTo>
                      <a:pt x="370" y="348"/>
                    </a:lnTo>
                    <a:lnTo>
                      <a:pt x="369" y="348"/>
                    </a:lnTo>
                    <a:lnTo>
                      <a:pt x="370" y="348"/>
                    </a:lnTo>
                    <a:lnTo>
                      <a:pt x="369" y="348"/>
                    </a:lnTo>
                    <a:lnTo>
                      <a:pt x="367" y="348"/>
                    </a:lnTo>
                    <a:lnTo>
                      <a:pt x="365" y="348"/>
                    </a:lnTo>
                    <a:lnTo>
                      <a:pt x="367" y="350"/>
                    </a:lnTo>
                    <a:lnTo>
                      <a:pt x="365" y="350"/>
                    </a:lnTo>
                    <a:lnTo>
                      <a:pt x="367" y="350"/>
                    </a:lnTo>
                    <a:lnTo>
                      <a:pt x="365" y="352"/>
                    </a:lnTo>
                    <a:lnTo>
                      <a:pt x="365" y="350"/>
                    </a:lnTo>
                    <a:lnTo>
                      <a:pt x="363" y="350"/>
                    </a:lnTo>
                    <a:lnTo>
                      <a:pt x="363" y="352"/>
                    </a:lnTo>
                    <a:lnTo>
                      <a:pt x="361" y="352"/>
                    </a:lnTo>
                    <a:lnTo>
                      <a:pt x="363" y="352"/>
                    </a:lnTo>
                    <a:lnTo>
                      <a:pt x="363" y="350"/>
                    </a:lnTo>
                    <a:lnTo>
                      <a:pt x="365" y="350"/>
                    </a:lnTo>
                    <a:lnTo>
                      <a:pt x="365" y="352"/>
                    </a:lnTo>
                    <a:lnTo>
                      <a:pt x="367" y="352"/>
                    </a:lnTo>
                    <a:lnTo>
                      <a:pt x="367" y="350"/>
                    </a:lnTo>
                    <a:lnTo>
                      <a:pt x="365" y="348"/>
                    </a:lnTo>
                    <a:lnTo>
                      <a:pt x="367" y="348"/>
                    </a:lnTo>
                    <a:lnTo>
                      <a:pt x="369" y="348"/>
                    </a:lnTo>
                    <a:lnTo>
                      <a:pt x="370" y="348"/>
                    </a:lnTo>
                    <a:lnTo>
                      <a:pt x="372" y="348"/>
                    </a:lnTo>
                    <a:lnTo>
                      <a:pt x="372" y="346"/>
                    </a:lnTo>
                    <a:lnTo>
                      <a:pt x="374" y="346"/>
                    </a:lnTo>
                    <a:lnTo>
                      <a:pt x="376" y="346"/>
                    </a:lnTo>
                    <a:lnTo>
                      <a:pt x="376" y="348"/>
                    </a:lnTo>
                    <a:lnTo>
                      <a:pt x="376" y="350"/>
                    </a:lnTo>
                    <a:lnTo>
                      <a:pt x="374" y="350"/>
                    </a:lnTo>
                    <a:lnTo>
                      <a:pt x="374" y="352"/>
                    </a:lnTo>
                    <a:lnTo>
                      <a:pt x="372" y="352"/>
                    </a:lnTo>
                    <a:lnTo>
                      <a:pt x="374" y="352"/>
                    </a:lnTo>
                    <a:lnTo>
                      <a:pt x="372" y="352"/>
                    </a:lnTo>
                    <a:lnTo>
                      <a:pt x="374" y="354"/>
                    </a:lnTo>
                    <a:lnTo>
                      <a:pt x="372" y="356"/>
                    </a:lnTo>
                    <a:lnTo>
                      <a:pt x="370" y="358"/>
                    </a:lnTo>
                    <a:lnTo>
                      <a:pt x="370" y="360"/>
                    </a:lnTo>
                    <a:lnTo>
                      <a:pt x="369" y="362"/>
                    </a:lnTo>
                    <a:lnTo>
                      <a:pt x="367" y="362"/>
                    </a:lnTo>
                    <a:lnTo>
                      <a:pt x="365" y="362"/>
                    </a:lnTo>
                    <a:lnTo>
                      <a:pt x="365" y="364"/>
                    </a:lnTo>
                    <a:lnTo>
                      <a:pt x="365" y="366"/>
                    </a:lnTo>
                    <a:lnTo>
                      <a:pt x="363" y="366"/>
                    </a:lnTo>
                    <a:lnTo>
                      <a:pt x="363" y="368"/>
                    </a:lnTo>
                    <a:lnTo>
                      <a:pt x="363" y="370"/>
                    </a:lnTo>
                    <a:lnTo>
                      <a:pt x="361" y="370"/>
                    </a:lnTo>
                    <a:lnTo>
                      <a:pt x="361" y="371"/>
                    </a:lnTo>
                    <a:lnTo>
                      <a:pt x="361" y="373"/>
                    </a:lnTo>
                    <a:lnTo>
                      <a:pt x="361" y="375"/>
                    </a:lnTo>
                    <a:lnTo>
                      <a:pt x="359" y="375"/>
                    </a:lnTo>
                    <a:lnTo>
                      <a:pt x="359" y="377"/>
                    </a:lnTo>
                    <a:lnTo>
                      <a:pt x="357" y="379"/>
                    </a:lnTo>
                    <a:lnTo>
                      <a:pt x="357" y="381"/>
                    </a:lnTo>
                    <a:lnTo>
                      <a:pt x="359" y="381"/>
                    </a:lnTo>
                    <a:lnTo>
                      <a:pt x="357" y="381"/>
                    </a:lnTo>
                    <a:lnTo>
                      <a:pt x="359" y="381"/>
                    </a:lnTo>
                    <a:lnTo>
                      <a:pt x="359" y="383"/>
                    </a:lnTo>
                    <a:lnTo>
                      <a:pt x="361" y="383"/>
                    </a:lnTo>
                    <a:lnTo>
                      <a:pt x="359" y="383"/>
                    </a:lnTo>
                    <a:lnTo>
                      <a:pt x="359" y="385"/>
                    </a:lnTo>
                    <a:lnTo>
                      <a:pt x="357" y="385"/>
                    </a:lnTo>
                    <a:lnTo>
                      <a:pt x="357" y="387"/>
                    </a:lnTo>
                    <a:lnTo>
                      <a:pt x="357" y="389"/>
                    </a:lnTo>
                    <a:lnTo>
                      <a:pt x="359" y="389"/>
                    </a:lnTo>
                    <a:lnTo>
                      <a:pt x="359" y="391"/>
                    </a:lnTo>
                    <a:lnTo>
                      <a:pt x="357" y="389"/>
                    </a:lnTo>
                    <a:lnTo>
                      <a:pt x="357" y="391"/>
                    </a:lnTo>
                    <a:lnTo>
                      <a:pt x="359" y="391"/>
                    </a:lnTo>
                    <a:lnTo>
                      <a:pt x="359" y="393"/>
                    </a:lnTo>
                    <a:lnTo>
                      <a:pt x="359" y="395"/>
                    </a:lnTo>
                    <a:lnTo>
                      <a:pt x="357" y="396"/>
                    </a:lnTo>
                    <a:lnTo>
                      <a:pt x="357" y="398"/>
                    </a:lnTo>
                    <a:lnTo>
                      <a:pt x="357" y="400"/>
                    </a:lnTo>
                    <a:lnTo>
                      <a:pt x="359" y="402"/>
                    </a:lnTo>
                    <a:lnTo>
                      <a:pt x="359" y="404"/>
                    </a:lnTo>
                    <a:lnTo>
                      <a:pt x="359" y="406"/>
                    </a:lnTo>
                    <a:lnTo>
                      <a:pt x="359" y="408"/>
                    </a:lnTo>
                    <a:lnTo>
                      <a:pt x="359" y="410"/>
                    </a:lnTo>
                    <a:lnTo>
                      <a:pt x="359" y="412"/>
                    </a:lnTo>
                    <a:lnTo>
                      <a:pt x="359" y="414"/>
                    </a:lnTo>
                    <a:lnTo>
                      <a:pt x="361" y="414"/>
                    </a:lnTo>
                    <a:lnTo>
                      <a:pt x="363" y="414"/>
                    </a:lnTo>
                    <a:lnTo>
                      <a:pt x="361" y="414"/>
                    </a:lnTo>
                    <a:lnTo>
                      <a:pt x="363" y="414"/>
                    </a:lnTo>
                    <a:lnTo>
                      <a:pt x="365" y="414"/>
                    </a:lnTo>
                    <a:lnTo>
                      <a:pt x="367" y="414"/>
                    </a:lnTo>
                    <a:lnTo>
                      <a:pt x="367" y="416"/>
                    </a:lnTo>
                    <a:lnTo>
                      <a:pt x="367" y="418"/>
                    </a:lnTo>
                    <a:lnTo>
                      <a:pt x="367" y="420"/>
                    </a:lnTo>
                    <a:lnTo>
                      <a:pt x="365" y="420"/>
                    </a:lnTo>
                    <a:lnTo>
                      <a:pt x="363" y="421"/>
                    </a:lnTo>
                    <a:lnTo>
                      <a:pt x="361" y="421"/>
                    </a:lnTo>
                    <a:lnTo>
                      <a:pt x="363" y="421"/>
                    </a:lnTo>
                    <a:lnTo>
                      <a:pt x="361" y="421"/>
                    </a:lnTo>
                    <a:lnTo>
                      <a:pt x="361" y="423"/>
                    </a:lnTo>
                    <a:lnTo>
                      <a:pt x="359" y="423"/>
                    </a:lnTo>
                    <a:lnTo>
                      <a:pt x="359" y="425"/>
                    </a:lnTo>
                    <a:lnTo>
                      <a:pt x="357" y="427"/>
                    </a:lnTo>
                    <a:lnTo>
                      <a:pt x="355" y="427"/>
                    </a:lnTo>
                    <a:lnTo>
                      <a:pt x="353" y="427"/>
                    </a:lnTo>
                    <a:lnTo>
                      <a:pt x="351" y="427"/>
                    </a:lnTo>
                    <a:lnTo>
                      <a:pt x="349" y="427"/>
                    </a:lnTo>
                    <a:lnTo>
                      <a:pt x="347" y="427"/>
                    </a:lnTo>
                    <a:lnTo>
                      <a:pt x="346" y="427"/>
                    </a:lnTo>
                    <a:lnTo>
                      <a:pt x="346" y="429"/>
                    </a:lnTo>
                    <a:lnTo>
                      <a:pt x="344" y="429"/>
                    </a:lnTo>
                    <a:lnTo>
                      <a:pt x="344" y="427"/>
                    </a:lnTo>
                    <a:lnTo>
                      <a:pt x="344" y="429"/>
                    </a:lnTo>
                    <a:lnTo>
                      <a:pt x="342" y="431"/>
                    </a:lnTo>
                    <a:lnTo>
                      <a:pt x="340" y="431"/>
                    </a:lnTo>
                    <a:lnTo>
                      <a:pt x="340" y="433"/>
                    </a:lnTo>
                    <a:lnTo>
                      <a:pt x="338" y="433"/>
                    </a:lnTo>
                    <a:lnTo>
                      <a:pt x="336" y="433"/>
                    </a:lnTo>
                    <a:lnTo>
                      <a:pt x="334" y="433"/>
                    </a:lnTo>
                    <a:lnTo>
                      <a:pt x="334" y="435"/>
                    </a:lnTo>
                    <a:lnTo>
                      <a:pt x="332" y="435"/>
                    </a:lnTo>
                    <a:lnTo>
                      <a:pt x="330" y="435"/>
                    </a:lnTo>
                    <a:lnTo>
                      <a:pt x="328" y="435"/>
                    </a:lnTo>
                    <a:lnTo>
                      <a:pt x="328" y="437"/>
                    </a:lnTo>
                    <a:lnTo>
                      <a:pt x="326" y="437"/>
                    </a:lnTo>
                    <a:lnTo>
                      <a:pt x="324" y="437"/>
                    </a:lnTo>
                    <a:lnTo>
                      <a:pt x="322" y="437"/>
                    </a:lnTo>
                    <a:lnTo>
                      <a:pt x="324" y="437"/>
                    </a:lnTo>
                    <a:lnTo>
                      <a:pt x="322" y="437"/>
                    </a:lnTo>
                    <a:lnTo>
                      <a:pt x="321" y="437"/>
                    </a:lnTo>
                    <a:lnTo>
                      <a:pt x="321" y="439"/>
                    </a:lnTo>
                    <a:lnTo>
                      <a:pt x="319" y="439"/>
                    </a:lnTo>
                    <a:lnTo>
                      <a:pt x="317" y="439"/>
                    </a:lnTo>
                    <a:lnTo>
                      <a:pt x="317" y="437"/>
                    </a:lnTo>
                    <a:lnTo>
                      <a:pt x="315" y="437"/>
                    </a:lnTo>
                    <a:lnTo>
                      <a:pt x="313" y="437"/>
                    </a:lnTo>
                    <a:lnTo>
                      <a:pt x="311" y="439"/>
                    </a:lnTo>
                    <a:lnTo>
                      <a:pt x="313" y="439"/>
                    </a:lnTo>
                    <a:lnTo>
                      <a:pt x="315" y="439"/>
                    </a:lnTo>
                    <a:lnTo>
                      <a:pt x="317" y="439"/>
                    </a:lnTo>
                    <a:lnTo>
                      <a:pt x="319" y="439"/>
                    </a:lnTo>
                    <a:lnTo>
                      <a:pt x="321" y="439"/>
                    </a:lnTo>
                    <a:lnTo>
                      <a:pt x="322" y="439"/>
                    </a:lnTo>
                    <a:lnTo>
                      <a:pt x="322" y="437"/>
                    </a:lnTo>
                    <a:lnTo>
                      <a:pt x="324" y="437"/>
                    </a:lnTo>
                    <a:lnTo>
                      <a:pt x="328" y="437"/>
                    </a:lnTo>
                    <a:lnTo>
                      <a:pt x="330" y="435"/>
                    </a:lnTo>
                    <a:lnTo>
                      <a:pt x="332" y="435"/>
                    </a:lnTo>
                    <a:lnTo>
                      <a:pt x="334" y="435"/>
                    </a:lnTo>
                    <a:lnTo>
                      <a:pt x="332" y="435"/>
                    </a:lnTo>
                    <a:lnTo>
                      <a:pt x="334" y="435"/>
                    </a:lnTo>
                    <a:lnTo>
                      <a:pt x="334" y="433"/>
                    </a:lnTo>
                    <a:lnTo>
                      <a:pt x="336" y="433"/>
                    </a:lnTo>
                    <a:lnTo>
                      <a:pt x="338" y="433"/>
                    </a:lnTo>
                    <a:lnTo>
                      <a:pt x="340" y="433"/>
                    </a:lnTo>
                    <a:lnTo>
                      <a:pt x="340" y="431"/>
                    </a:lnTo>
                    <a:lnTo>
                      <a:pt x="342" y="431"/>
                    </a:lnTo>
                    <a:lnTo>
                      <a:pt x="342" y="429"/>
                    </a:lnTo>
                    <a:lnTo>
                      <a:pt x="344" y="429"/>
                    </a:lnTo>
                    <a:lnTo>
                      <a:pt x="346" y="429"/>
                    </a:lnTo>
                    <a:lnTo>
                      <a:pt x="349" y="427"/>
                    </a:lnTo>
                    <a:lnTo>
                      <a:pt x="351" y="427"/>
                    </a:lnTo>
                    <a:lnTo>
                      <a:pt x="353" y="427"/>
                    </a:lnTo>
                    <a:lnTo>
                      <a:pt x="355" y="427"/>
                    </a:lnTo>
                    <a:lnTo>
                      <a:pt x="357" y="427"/>
                    </a:lnTo>
                    <a:lnTo>
                      <a:pt x="359" y="427"/>
                    </a:lnTo>
                    <a:lnTo>
                      <a:pt x="357" y="427"/>
                    </a:lnTo>
                    <a:lnTo>
                      <a:pt x="359" y="427"/>
                    </a:lnTo>
                    <a:lnTo>
                      <a:pt x="359" y="425"/>
                    </a:lnTo>
                    <a:lnTo>
                      <a:pt x="359" y="423"/>
                    </a:lnTo>
                    <a:lnTo>
                      <a:pt x="361" y="423"/>
                    </a:lnTo>
                    <a:lnTo>
                      <a:pt x="361" y="421"/>
                    </a:lnTo>
                    <a:lnTo>
                      <a:pt x="363" y="421"/>
                    </a:lnTo>
                    <a:lnTo>
                      <a:pt x="365" y="421"/>
                    </a:lnTo>
                    <a:lnTo>
                      <a:pt x="365" y="420"/>
                    </a:lnTo>
                    <a:lnTo>
                      <a:pt x="367" y="420"/>
                    </a:lnTo>
                    <a:lnTo>
                      <a:pt x="367" y="418"/>
                    </a:lnTo>
                    <a:lnTo>
                      <a:pt x="369" y="416"/>
                    </a:lnTo>
                    <a:lnTo>
                      <a:pt x="367" y="414"/>
                    </a:lnTo>
                    <a:lnTo>
                      <a:pt x="365" y="414"/>
                    </a:lnTo>
                    <a:lnTo>
                      <a:pt x="363" y="414"/>
                    </a:lnTo>
                    <a:lnTo>
                      <a:pt x="361" y="414"/>
                    </a:lnTo>
                    <a:lnTo>
                      <a:pt x="361" y="412"/>
                    </a:lnTo>
                    <a:lnTo>
                      <a:pt x="359" y="412"/>
                    </a:lnTo>
                    <a:lnTo>
                      <a:pt x="359" y="410"/>
                    </a:lnTo>
                    <a:lnTo>
                      <a:pt x="359" y="408"/>
                    </a:lnTo>
                    <a:lnTo>
                      <a:pt x="359" y="406"/>
                    </a:lnTo>
                    <a:lnTo>
                      <a:pt x="359" y="404"/>
                    </a:lnTo>
                    <a:lnTo>
                      <a:pt x="361" y="402"/>
                    </a:lnTo>
                    <a:lnTo>
                      <a:pt x="359" y="402"/>
                    </a:lnTo>
                    <a:lnTo>
                      <a:pt x="359" y="400"/>
                    </a:lnTo>
                    <a:lnTo>
                      <a:pt x="357" y="400"/>
                    </a:lnTo>
                    <a:lnTo>
                      <a:pt x="357" y="398"/>
                    </a:lnTo>
                    <a:lnTo>
                      <a:pt x="357" y="396"/>
                    </a:lnTo>
                    <a:lnTo>
                      <a:pt x="359" y="395"/>
                    </a:lnTo>
                    <a:lnTo>
                      <a:pt x="359" y="393"/>
                    </a:lnTo>
                    <a:lnTo>
                      <a:pt x="359" y="391"/>
                    </a:lnTo>
                    <a:lnTo>
                      <a:pt x="359" y="389"/>
                    </a:lnTo>
                    <a:lnTo>
                      <a:pt x="357" y="389"/>
                    </a:lnTo>
                    <a:lnTo>
                      <a:pt x="357" y="387"/>
                    </a:lnTo>
                    <a:lnTo>
                      <a:pt x="359" y="383"/>
                    </a:lnTo>
                    <a:lnTo>
                      <a:pt x="361" y="383"/>
                    </a:lnTo>
                    <a:lnTo>
                      <a:pt x="359" y="383"/>
                    </a:lnTo>
                    <a:lnTo>
                      <a:pt x="359" y="381"/>
                    </a:lnTo>
                    <a:lnTo>
                      <a:pt x="359" y="383"/>
                    </a:lnTo>
                    <a:lnTo>
                      <a:pt x="359" y="381"/>
                    </a:lnTo>
                    <a:lnTo>
                      <a:pt x="357" y="381"/>
                    </a:lnTo>
                    <a:lnTo>
                      <a:pt x="357" y="379"/>
                    </a:lnTo>
                    <a:lnTo>
                      <a:pt x="357" y="377"/>
                    </a:lnTo>
                    <a:lnTo>
                      <a:pt x="359" y="377"/>
                    </a:lnTo>
                    <a:lnTo>
                      <a:pt x="359" y="375"/>
                    </a:lnTo>
                    <a:lnTo>
                      <a:pt x="361" y="375"/>
                    </a:lnTo>
                    <a:lnTo>
                      <a:pt x="361" y="373"/>
                    </a:lnTo>
                    <a:lnTo>
                      <a:pt x="361" y="371"/>
                    </a:lnTo>
                    <a:lnTo>
                      <a:pt x="363" y="370"/>
                    </a:lnTo>
                    <a:lnTo>
                      <a:pt x="363" y="368"/>
                    </a:lnTo>
                    <a:lnTo>
                      <a:pt x="365" y="366"/>
                    </a:lnTo>
                    <a:lnTo>
                      <a:pt x="365" y="364"/>
                    </a:lnTo>
                    <a:lnTo>
                      <a:pt x="367" y="364"/>
                    </a:lnTo>
                    <a:lnTo>
                      <a:pt x="367" y="362"/>
                    </a:lnTo>
                    <a:lnTo>
                      <a:pt x="369" y="362"/>
                    </a:lnTo>
                    <a:lnTo>
                      <a:pt x="370" y="360"/>
                    </a:lnTo>
                    <a:lnTo>
                      <a:pt x="370" y="358"/>
                    </a:lnTo>
                    <a:lnTo>
                      <a:pt x="372" y="356"/>
                    </a:lnTo>
                    <a:lnTo>
                      <a:pt x="374" y="356"/>
                    </a:lnTo>
                    <a:lnTo>
                      <a:pt x="374" y="354"/>
                    </a:lnTo>
                    <a:lnTo>
                      <a:pt x="374" y="352"/>
                    </a:lnTo>
                    <a:lnTo>
                      <a:pt x="374" y="350"/>
                    </a:lnTo>
                    <a:lnTo>
                      <a:pt x="376" y="350"/>
                    </a:lnTo>
                    <a:lnTo>
                      <a:pt x="376" y="348"/>
                    </a:lnTo>
                    <a:lnTo>
                      <a:pt x="376" y="346"/>
                    </a:lnTo>
                    <a:lnTo>
                      <a:pt x="374" y="346"/>
                    </a:lnTo>
                    <a:lnTo>
                      <a:pt x="374" y="345"/>
                    </a:lnTo>
                    <a:lnTo>
                      <a:pt x="374" y="346"/>
                    </a:lnTo>
                    <a:lnTo>
                      <a:pt x="372" y="345"/>
                    </a:lnTo>
                    <a:lnTo>
                      <a:pt x="372" y="343"/>
                    </a:lnTo>
                    <a:lnTo>
                      <a:pt x="370" y="343"/>
                    </a:lnTo>
                    <a:lnTo>
                      <a:pt x="370" y="341"/>
                    </a:lnTo>
                    <a:lnTo>
                      <a:pt x="369" y="341"/>
                    </a:lnTo>
                    <a:lnTo>
                      <a:pt x="370" y="341"/>
                    </a:lnTo>
                    <a:lnTo>
                      <a:pt x="370" y="339"/>
                    </a:lnTo>
                    <a:lnTo>
                      <a:pt x="370" y="341"/>
                    </a:lnTo>
                    <a:lnTo>
                      <a:pt x="369" y="341"/>
                    </a:lnTo>
                    <a:lnTo>
                      <a:pt x="370" y="341"/>
                    </a:lnTo>
                    <a:lnTo>
                      <a:pt x="370" y="339"/>
                    </a:lnTo>
                    <a:lnTo>
                      <a:pt x="370" y="337"/>
                    </a:lnTo>
                    <a:lnTo>
                      <a:pt x="370" y="335"/>
                    </a:lnTo>
                    <a:lnTo>
                      <a:pt x="370" y="333"/>
                    </a:lnTo>
                    <a:lnTo>
                      <a:pt x="372" y="333"/>
                    </a:lnTo>
                    <a:lnTo>
                      <a:pt x="370" y="333"/>
                    </a:lnTo>
                    <a:lnTo>
                      <a:pt x="372" y="333"/>
                    </a:lnTo>
                    <a:lnTo>
                      <a:pt x="370" y="331"/>
                    </a:lnTo>
                    <a:lnTo>
                      <a:pt x="369" y="331"/>
                    </a:lnTo>
                    <a:lnTo>
                      <a:pt x="367" y="331"/>
                    </a:lnTo>
                    <a:lnTo>
                      <a:pt x="367" y="329"/>
                    </a:lnTo>
                    <a:lnTo>
                      <a:pt x="365" y="329"/>
                    </a:lnTo>
                    <a:lnTo>
                      <a:pt x="363" y="329"/>
                    </a:lnTo>
                    <a:lnTo>
                      <a:pt x="361" y="329"/>
                    </a:lnTo>
                    <a:lnTo>
                      <a:pt x="359" y="327"/>
                    </a:lnTo>
                    <a:lnTo>
                      <a:pt x="357" y="325"/>
                    </a:lnTo>
                    <a:lnTo>
                      <a:pt x="355" y="325"/>
                    </a:lnTo>
                    <a:lnTo>
                      <a:pt x="355" y="323"/>
                    </a:lnTo>
                    <a:lnTo>
                      <a:pt x="353" y="323"/>
                    </a:lnTo>
                    <a:lnTo>
                      <a:pt x="351" y="325"/>
                    </a:lnTo>
                    <a:lnTo>
                      <a:pt x="349" y="325"/>
                    </a:lnTo>
                    <a:lnTo>
                      <a:pt x="347" y="325"/>
                    </a:lnTo>
                    <a:lnTo>
                      <a:pt x="347" y="323"/>
                    </a:lnTo>
                    <a:lnTo>
                      <a:pt x="346" y="323"/>
                    </a:lnTo>
                    <a:lnTo>
                      <a:pt x="344" y="323"/>
                    </a:lnTo>
                    <a:lnTo>
                      <a:pt x="344" y="321"/>
                    </a:lnTo>
                    <a:lnTo>
                      <a:pt x="342" y="321"/>
                    </a:lnTo>
                    <a:lnTo>
                      <a:pt x="340" y="321"/>
                    </a:lnTo>
                    <a:lnTo>
                      <a:pt x="338" y="321"/>
                    </a:lnTo>
                    <a:lnTo>
                      <a:pt x="338" y="320"/>
                    </a:lnTo>
                    <a:lnTo>
                      <a:pt x="336" y="320"/>
                    </a:lnTo>
                    <a:lnTo>
                      <a:pt x="336" y="318"/>
                    </a:lnTo>
                    <a:lnTo>
                      <a:pt x="334" y="318"/>
                    </a:lnTo>
                    <a:lnTo>
                      <a:pt x="332" y="318"/>
                    </a:lnTo>
                    <a:lnTo>
                      <a:pt x="330" y="316"/>
                    </a:lnTo>
                    <a:lnTo>
                      <a:pt x="328" y="316"/>
                    </a:lnTo>
                    <a:lnTo>
                      <a:pt x="326" y="316"/>
                    </a:lnTo>
                    <a:lnTo>
                      <a:pt x="324" y="316"/>
                    </a:lnTo>
                    <a:lnTo>
                      <a:pt x="324" y="314"/>
                    </a:lnTo>
                    <a:lnTo>
                      <a:pt x="322" y="314"/>
                    </a:lnTo>
                    <a:lnTo>
                      <a:pt x="324" y="314"/>
                    </a:lnTo>
                    <a:lnTo>
                      <a:pt x="322" y="312"/>
                    </a:lnTo>
                    <a:lnTo>
                      <a:pt x="321" y="312"/>
                    </a:lnTo>
                    <a:lnTo>
                      <a:pt x="321" y="310"/>
                    </a:lnTo>
                    <a:lnTo>
                      <a:pt x="319" y="310"/>
                    </a:lnTo>
                    <a:lnTo>
                      <a:pt x="317" y="308"/>
                    </a:lnTo>
                    <a:lnTo>
                      <a:pt x="315" y="308"/>
                    </a:lnTo>
                    <a:lnTo>
                      <a:pt x="315" y="306"/>
                    </a:lnTo>
                    <a:lnTo>
                      <a:pt x="313" y="306"/>
                    </a:lnTo>
                    <a:lnTo>
                      <a:pt x="311" y="306"/>
                    </a:lnTo>
                    <a:lnTo>
                      <a:pt x="311" y="308"/>
                    </a:lnTo>
                    <a:lnTo>
                      <a:pt x="309" y="308"/>
                    </a:lnTo>
                    <a:lnTo>
                      <a:pt x="307" y="308"/>
                    </a:lnTo>
                    <a:lnTo>
                      <a:pt x="307" y="310"/>
                    </a:lnTo>
                    <a:lnTo>
                      <a:pt x="305" y="310"/>
                    </a:lnTo>
                    <a:lnTo>
                      <a:pt x="303" y="310"/>
                    </a:lnTo>
                    <a:lnTo>
                      <a:pt x="301" y="310"/>
                    </a:lnTo>
                    <a:lnTo>
                      <a:pt x="301" y="308"/>
                    </a:lnTo>
                    <a:lnTo>
                      <a:pt x="299" y="308"/>
                    </a:lnTo>
                    <a:lnTo>
                      <a:pt x="297" y="308"/>
                    </a:lnTo>
                    <a:lnTo>
                      <a:pt x="297" y="306"/>
                    </a:lnTo>
                    <a:lnTo>
                      <a:pt x="296" y="306"/>
                    </a:lnTo>
                    <a:lnTo>
                      <a:pt x="294" y="306"/>
                    </a:lnTo>
                    <a:lnTo>
                      <a:pt x="294" y="308"/>
                    </a:lnTo>
                    <a:lnTo>
                      <a:pt x="292" y="308"/>
                    </a:lnTo>
                    <a:lnTo>
                      <a:pt x="290" y="308"/>
                    </a:lnTo>
                    <a:lnTo>
                      <a:pt x="288" y="308"/>
                    </a:lnTo>
                    <a:lnTo>
                      <a:pt x="286" y="308"/>
                    </a:lnTo>
                    <a:lnTo>
                      <a:pt x="284" y="308"/>
                    </a:lnTo>
                    <a:lnTo>
                      <a:pt x="282" y="308"/>
                    </a:lnTo>
                    <a:lnTo>
                      <a:pt x="280" y="308"/>
                    </a:lnTo>
                    <a:lnTo>
                      <a:pt x="278" y="308"/>
                    </a:lnTo>
                    <a:lnTo>
                      <a:pt x="276" y="308"/>
                    </a:lnTo>
                    <a:lnTo>
                      <a:pt x="274" y="308"/>
                    </a:lnTo>
                    <a:lnTo>
                      <a:pt x="273" y="306"/>
                    </a:lnTo>
                    <a:lnTo>
                      <a:pt x="274" y="304"/>
                    </a:lnTo>
                    <a:lnTo>
                      <a:pt x="276" y="304"/>
                    </a:lnTo>
                    <a:lnTo>
                      <a:pt x="278" y="304"/>
                    </a:lnTo>
                    <a:lnTo>
                      <a:pt x="280" y="304"/>
                    </a:lnTo>
                    <a:lnTo>
                      <a:pt x="282" y="304"/>
                    </a:lnTo>
                    <a:lnTo>
                      <a:pt x="284" y="304"/>
                    </a:lnTo>
                    <a:lnTo>
                      <a:pt x="286" y="304"/>
                    </a:lnTo>
                    <a:lnTo>
                      <a:pt x="288" y="304"/>
                    </a:lnTo>
                    <a:lnTo>
                      <a:pt x="288" y="302"/>
                    </a:lnTo>
                    <a:lnTo>
                      <a:pt x="290" y="302"/>
                    </a:lnTo>
                    <a:lnTo>
                      <a:pt x="292" y="302"/>
                    </a:lnTo>
                    <a:lnTo>
                      <a:pt x="294" y="302"/>
                    </a:lnTo>
                    <a:lnTo>
                      <a:pt x="296" y="302"/>
                    </a:lnTo>
                    <a:lnTo>
                      <a:pt x="296" y="304"/>
                    </a:lnTo>
                    <a:lnTo>
                      <a:pt x="296" y="302"/>
                    </a:lnTo>
                    <a:lnTo>
                      <a:pt x="296" y="304"/>
                    </a:lnTo>
                    <a:lnTo>
                      <a:pt x="296" y="302"/>
                    </a:lnTo>
                    <a:lnTo>
                      <a:pt x="297" y="302"/>
                    </a:lnTo>
                    <a:lnTo>
                      <a:pt x="299" y="302"/>
                    </a:lnTo>
                    <a:lnTo>
                      <a:pt x="301" y="302"/>
                    </a:lnTo>
                    <a:lnTo>
                      <a:pt x="303" y="302"/>
                    </a:lnTo>
                    <a:lnTo>
                      <a:pt x="305" y="300"/>
                    </a:lnTo>
                    <a:lnTo>
                      <a:pt x="307" y="300"/>
                    </a:lnTo>
                    <a:lnTo>
                      <a:pt x="307" y="298"/>
                    </a:lnTo>
                    <a:lnTo>
                      <a:pt x="309" y="298"/>
                    </a:lnTo>
                    <a:lnTo>
                      <a:pt x="311" y="298"/>
                    </a:lnTo>
                    <a:lnTo>
                      <a:pt x="313" y="296"/>
                    </a:lnTo>
                    <a:lnTo>
                      <a:pt x="315" y="298"/>
                    </a:lnTo>
                    <a:lnTo>
                      <a:pt x="317" y="298"/>
                    </a:lnTo>
                    <a:lnTo>
                      <a:pt x="317" y="296"/>
                    </a:lnTo>
                    <a:lnTo>
                      <a:pt x="317" y="298"/>
                    </a:lnTo>
                    <a:lnTo>
                      <a:pt x="319" y="298"/>
                    </a:lnTo>
                    <a:lnTo>
                      <a:pt x="321" y="298"/>
                    </a:lnTo>
                    <a:lnTo>
                      <a:pt x="322" y="298"/>
                    </a:lnTo>
                    <a:lnTo>
                      <a:pt x="324" y="298"/>
                    </a:lnTo>
                    <a:lnTo>
                      <a:pt x="326" y="298"/>
                    </a:lnTo>
                    <a:lnTo>
                      <a:pt x="328" y="298"/>
                    </a:lnTo>
                    <a:lnTo>
                      <a:pt x="330" y="298"/>
                    </a:lnTo>
                    <a:lnTo>
                      <a:pt x="332" y="298"/>
                    </a:lnTo>
                    <a:lnTo>
                      <a:pt x="334" y="298"/>
                    </a:lnTo>
                    <a:lnTo>
                      <a:pt x="336" y="298"/>
                    </a:lnTo>
                    <a:lnTo>
                      <a:pt x="338" y="298"/>
                    </a:lnTo>
                    <a:lnTo>
                      <a:pt x="340" y="298"/>
                    </a:lnTo>
                    <a:lnTo>
                      <a:pt x="342" y="298"/>
                    </a:lnTo>
                    <a:lnTo>
                      <a:pt x="344" y="298"/>
                    </a:lnTo>
                    <a:lnTo>
                      <a:pt x="346" y="298"/>
                    </a:lnTo>
                    <a:lnTo>
                      <a:pt x="347" y="298"/>
                    </a:lnTo>
                    <a:lnTo>
                      <a:pt x="349" y="298"/>
                    </a:lnTo>
                    <a:lnTo>
                      <a:pt x="351" y="298"/>
                    </a:lnTo>
                    <a:lnTo>
                      <a:pt x="353" y="298"/>
                    </a:lnTo>
                    <a:lnTo>
                      <a:pt x="355" y="298"/>
                    </a:lnTo>
                    <a:lnTo>
                      <a:pt x="355" y="300"/>
                    </a:lnTo>
                    <a:lnTo>
                      <a:pt x="357" y="300"/>
                    </a:lnTo>
                    <a:lnTo>
                      <a:pt x="357" y="298"/>
                    </a:lnTo>
                    <a:lnTo>
                      <a:pt x="359" y="298"/>
                    </a:lnTo>
                    <a:lnTo>
                      <a:pt x="361" y="296"/>
                    </a:lnTo>
                    <a:lnTo>
                      <a:pt x="359" y="298"/>
                    </a:lnTo>
                    <a:lnTo>
                      <a:pt x="357" y="298"/>
                    </a:lnTo>
                    <a:lnTo>
                      <a:pt x="357" y="300"/>
                    </a:lnTo>
                    <a:lnTo>
                      <a:pt x="355" y="300"/>
                    </a:lnTo>
                    <a:lnTo>
                      <a:pt x="355" y="298"/>
                    </a:lnTo>
                    <a:lnTo>
                      <a:pt x="357" y="298"/>
                    </a:lnTo>
                    <a:lnTo>
                      <a:pt x="357" y="296"/>
                    </a:lnTo>
                    <a:lnTo>
                      <a:pt x="359" y="296"/>
                    </a:lnTo>
                    <a:lnTo>
                      <a:pt x="361" y="296"/>
                    </a:lnTo>
                    <a:lnTo>
                      <a:pt x="361" y="295"/>
                    </a:lnTo>
                    <a:lnTo>
                      <a:pt x="363" y="295"/>
                    </a:lnTo>
                    <a:lnTo>
                      <a:pt x="365" y="295"/>
                    </a:lnTo>
                    <a:lnTo>
                      <a:pt x="367" y="295"/>
                    </a:lnTo>
                    <a:lnTo>
                      <a:pt x="369" y="295"/>
                    </a:lnTo>
                    <a:lnTo>
                      <a:pt x="367" y="295"/>
                    </a:lnTo>
                    <a:lnTo>
                      <a:pt x="369" y="295"/>
                    </a:lnTo>
                    <a:lnTo>
                      <a:pt x="370" y="295"/>
                    </a:lnTo>
                    <a:lnTo>
                      <a:pt x="370" y="296"/>
                    </a:lnTo>
                    <a:lnTo>
                      <a:pt x="372" y="296"/>
                    </a:lnTo>
                    <a:lnTo>
                      <a:pt x="374" y="296"/>
                    </a:lnTo>
                    <a:lnTo>
                      <a:pt x="376" y="296"/>
                    </a:lnTo>
                    <a:lnTo>
                      <a:pt x="378" y="296"/>
                    </a:lnTo>
                    <a:lnTo>
                      <a:pt x="380" y="296"/>
                    </a:lnTo>
                    <a:lnTo>
                      <a:pt x="382" y="296"/>
                    </a:lnTo>
                    <a:lnTo>
                      <a:pt x="384" y="296"/>
                    </a:lnTo>
                    <a:lnTo>
                      <a:pt x="386" y="296"/>
                    </a:lnTo>
                    <a:lnTo>
                      <a:pt x="386" y="298"/>
                    </a:lnTo>
                    <a:lnTo>
                      <a:pt x="386" y="296"/>
                    </a:lnTo>
                    <a:lnTo>
                      <a:pt x="386" y="298"/>
                    </a:lnTo>
                    <a:lnTo>
                      <a:pt x="386" y="296"/>
                    </a:lnTo>
                    <a:lnTo>
                      <a:pt x="388" y="296"/>
                    </a:lnTo>
                    <a:lnTo>
                      <a:pt x="390" y="296"/>
                    </a:lnTo>
                    <a:lnTo>
                      <a:pt x="390" y="298"/>
                    </a:lnTo>
                    <a:lnTo>
                      <a:pt x="390" y="296"/>
                    </a:lnTo>
                    <a:lnTo>
                      <a:pt x="390" y="298"/>
                    </a:lnTo>
                    <a:lnTo>
                      <a:pt x="390" y="296"/>
                    </a:lnTo>
                    <a:lnTo>
                      <a:pt x="390" y="298"/>
                    </a:lnTo>
                    <a:lnTo>
                      <a:pt x="390" y="296"/>
                    </a:lnTo>
                    <a:lnTo>
                      <a:pt x="390" y="298"/>
                    </a:lnTo>
                    <a:lnTo>
                      <a:pt x="392" y="296"/>
                    </a:lnTo>
                    <a:lnTo>
                      <a:pt x="392" y="298"/>
                    </a:lnTo>
                    <a:lnTo>
                      <a:pt x="392" y="296"/>
                    </a:lnTo>
                    <a:lnTo>
                      <a:pt x="392" y="298"/>
                    </a:lnTo>
                    <a:lnTo>
                      <a:pt x="394" y="298"/>
                    </a:lnTo>
                    <a:lnTo>
                      <a:pt x="395" y="298"/>
                    </a:lnTo>
                    <a:lnTo>
                      <a:pt x="395" y="300"/>
                    </a:lnTo>
                    <a:lnTo>
                      <a:pt x="395" y="298"/>
                    </a:lnTo>
                    <a:lnTo>
                      <a:pt x="397" y="300"/>
                    </a:lnTo>
                    <a:lnTo>
                      <a:pt x="395" y="300"/>
                    </a:lnTo>
                    <a:lnTo>
                      <a:pt x="397" y="300"/>
                    </a:lnTo>
                    <a:lnTo>
                      <a:pt x="399" y="302"/>
                    </a:lnTo>
                    <a:lnTo>
                      <a:pt x="401" y="302"/>
                    </a:lnTo>
                    <a:lnTo>
                      <a:pt x="401" y="300"/>
                    </a:lnTo>
                    <a:lnTo>
                      <a:pt x="401" y="302"/>
                    </a:lnTo>
                    <a:lnTo>
                      <a:pt x="403" y="302"/>
                    </a:lnTo>
                    <a:lnTo>
                      <a:pt x="405" y="302"/>
                    </a:lnTo>
                    <a:lnTo>
                      <a:pt x="405" y="304"/>
                    </a:lnTo>
                    <a:lnTo>
                      <a:pt x="405" y="302"/>
                    </a:lnTo>
                    <a:lnTo>
                      <a:pt x="407" y="302"/>
                    </a:lnTo>
                    <a:lnTo>
                      <a:pt x="407" y="304"/>
                    </a:lnTo>
                    <a:lnTo>
                      <a:pt x="409" y="304"/>
                    </a:lnTo>
                    <a:lnTo>
                      <a:pt x="411" y="304"/>
                    </a:lnTo>
                    <a:lnTo>
                      <a:pt x="411" y="306"/>
                    </a:lnTo>
                    <a:lnTo>
                      <a:pt x="413" y="306"/>
                    </a:lnTo>
                    <a:lnTo>
                      <a:pt x="411" y="306"/>
                    </a:lnTo>
                    <a:lnTo>
                      <a:pt x="411" y="304"/>
                    </a:lnTo>
                    <a:lnTo>
                      <a:pt x="409" y="304"/>
                    </a:lnTo>
                    <a:lnTo>
                      <a:pt x="411" y="304"/>
                    </a:lnTo>
                    <a:lnTo>
                      <a:pt x="413" y="304"/>
                    </a:lnTo>
                    <a:lnTo>
                      <a:pt x="415" y="304"/>
                    </a:lnTo>
                    <a:lnTo>
                      <a:pt x="417" y="304"/>
                    </a:lnTo>
                    <a:lnTo>
                      <a:pt x="419" y="306"/>
                    </a:lnTo>
                    <a:lnTo>
                      <a:pt x="419" y="308"/>
                    </a:lnTo>
                    <a:lnTo>
                      <a:pt x="419" y="310"/>
                    </a:lnTo>
                    <a:lnTo>
                      <a:pt x="419" y="308"/>
                    </a:lnTo>
                    <a:lnTo>
                      <a:pt x="420" y="308"/>
                    </a:lnTo>
                    <a:lnTo>
                      <a:pt x="420" y="310"/>
                    </a:lnTo>
                    <a:lnTo>
                      <a:pt x="422" y="310"/>
                    </a:lnTo>
                    <a:lnTo>
                      <a:pt x="424" y="310"/>
                    </a:lnTo>
                    <a:lnTo>
                      <a:pt x="426" y="310"/>
                    </a:lnTo>
                    <a:lnTo>
                      <a:pt x="426" y="312"/>
                    </a:lnTo>
                    <a:lnTo>
                      <a:pt x="428" y="312"/>
                    </a:lnTo>
                    <a:lnTo>
                      <a:pt x="430" y="312"/>
                    </a:lnTo>
                    <a:lnTo>
                      <a:pt x="428" y="312"/>
                    </a:lnTo>
                    <a:lnTo>
                      <a:pt x="426" y="312"/>
                    </a:lnTo>
                    <a:lnTo>
                      <a:pt x="426" y="310"/>
                    </a:lnTo>
                    <a:lnTo>
                      <a:pt x="428" y="310"/>
                    </a:lnTo>
                    <a:lnTo>
                      <a:pt x="428" y="312"/>
                    </a:lnTo>
                    <a:lnTo>
                      <a:pt x="428" y="310"/>
                    </a:lnTo>
                    <a:lnTo>
                      <a:pt x="430" y="312"/>
                    </a:lnTo>
                    <a:lnTo>
                      <a:pt x="432" y="312"/>
                    </a:lnTo>
                    <a:lnTo>
                      <a:pt x="434" y="312"/>
                    </a:lnTo>
                    <a:lnTo>
                      <a:pt x="436" y="314"/>
                    </a:lnTo>
                    <a:lnTo>
                      <a:pt x="438" y="314"/>
                    </a:lnTo>
                    <a:lnTo>
                      <a:pt x="436" y="314"/>
                    </a:lnTo>
                    <a:lnTo>
                      <a:pt x="436" y="316"/>
                    </a:lnTo>
                    <a:lnTo>
                      <a:pt x="438" y="316"/>
                    </a:lnTo>
                    <a:lnTo>
                      <a:pt x="436" y="314"/>
                    </a:lnTo>
                    <a:lnTo>
                      <a:pt x="438" y="314"/>
                    </a:lnTo>
                    <a:lnTo>
                      <a:pt x="438" y="316"/>
                    </a:lnTo>
                    <a:lnTo>
                      <a:pt x="440" y="316"/>
                    </a:lnTo>
                    <a:lnTo>
                      <a:pt x="442" y="316"/>
                    </a:lnTo>
                    <a:lnTo>
                      <a:pt x="443" y="318"/>
                    </a:lnTo>
                    <a:lnTo>
                      <a:pt x="445" y="318"/>
                    </a:lnTo>
                    <a:lnTo>
                      <a:pt x="445" y="320"/>
                    </a:lnTo>
                    <a:lnTo>
                      <a:pt x="447" y="320"/>
                    </a:lnTo>
                    <a:lnTo>
                      <a:pt x="447" y="321"/>
                    </a:lnTo>
                    <a:lnTo>
                      <a:pt x="447" y="323"/>
                    </a:lnTo>
                    <a:lnTo>
                      <a:pt x="449" y="323"/>
                    </a:lnTo>
                    <a:lnTo>
                      <a:pt x="449" y="325"/>
                    </a:lnTo>
                    <a:lnTo>
                      <a:pt x="451" y="327"/>
                    </a:lnTo>
                    <a:lnTo>
                      <a:pt x="451" y="329"/>
                    </a:lnTo>
                    <a:lnTo>
                      <a:pt x="453" y="329"/>
                    </a:lnTo>
                    <a:lnTo>
                      <a:pt x="453" y="331"/>
                    </a:lnTo>
                    <a:lnTo>
                      <a:pt x="455" y="333"/>
                    </a:lnTo>
                    <a:lnTo>
                      <a:pt x="455" y="335"/>
                    </a:lnTo>
                    <a:lnTo>
                      <a:pt x="457" y="337"/>
                    </a:lnTo>
                    <a:lnTo>
                      <a:pt x="457" y="339"/>
                    </a:lnTo>
                    <a:lnTo>
                      <a:pt x="457" y="341"/>
                    </a:lnTo>
                    <a:lnTo>
                      <a:pt x="457" y="343"/>
                    </a:lnTo>
                    <a:lnTo>
                      <a:pt x="457" y="345"/>
                    </a:lnTo>
                    <a:lnTo>
                      <a:pt x="459" y="346"/>
                    </a:lnTo>
                    <a:lnTo>
                      <a:pt x="461" y="350"/>
                    </a:lnTo>
                    <a:lnTo>
                      <a:pt x="461" y="352"/>
                    </a:lnTo>
                    <a:lnTo>
                      <a:pt x="463" y="354"/>
                    </a:lnTo>
                    <a:lnTo>
                      <a:pt x="463" y="356"/>
                    </a:lnTo>
                    <a:lnTo>
                      <a:pt x="465" y="356"/>
                    </a:lnTo>
                    <a:lnTo>
                      <a:pt x="467" y="358"/>
                    </a:lnTo>
                    <a:lnTo>
                      <a:pt x="468" y="358"/>
                    </a:lnTo>
                    <a:lnTo>
                      <a:pt x="470" y="358"/>
                    </a:lnTo>
                    <a:lnTo>
                      <a:pt x="470" y="360"/>
                    </a:lnTo>
                    <a:lnTo>
                      <a:pt x="470" y="362"/>
                    </a:lnTo>
                    <a:lnTo>
                      <a:pt x="470" y="364"/>
                    </a:lnTo>
                    <a:lnTo>
                      <a:pt x="470" y="366"/>
                    </a:lnTo>
                    <a:lnTo>
                      <a:pt x="470" y="368"/>
                    </a:lnTo>
                    <a:lnTo>
                      <a:pt x="470" y="370"/>
                    </a:lnTo>
                    <a:lnTo>
                      <a:pt x="470" y="371"/>
                    </a:lnTo>
                    <a:lnTo>
                      <a:pt x="468" y="373"/>
                    </a:lnTo>
                    <a:lnTo>
                      <a:pt x="470" y="373"/>
                    </a:lnTo>
                    <a:lnTo>
                      <a:pt x="468" y="373"/>
                    </a:lnTo>
                    <a:lnTo>
                      <a:pt x="468" y="375"/>
                    </a:lnTo>
                    <a:lnTo>
                      <a:pt x="468" y="373"/>
                    </a:lnTo>
                    <a:lnTo>
                      <a:pt x="470" y="373"/>
                    </a:lnTo>
                    <a:lnTo>
                      <a:pt x="468" y="373"/>
                    </a:lnTo>
                    <a:lnTo>
                      <a:pt x="470" y="373"/>
                    </a:lnTo>
                    <a:lnTo>
                      <a:pt x="468" y="371"/>
                    </a:lnTo>
                    <a:lnTo>
                      <a:pt x="470" y="371"/>
                    </a:lnTo>
                    <a:lnTo>
                      <a:pt x="470" y="370"/>
                    </a:lnTo>
                    <a:lnTo>
                      <a:pt x="472" y="370"/>
                    </a:lnTo>
                    <a:lnTo>
                      <a:pt x="474" y="370"/>
                    </a:lnTo>
                    <a:lnTo>
                      <a:pt x="476" y="371"/>
                    </a:lnTo>
                    <a:lnTo>
                      <a:pt x="476" y="373"/>
                    </a:lnTo>
                    <a:lnTo>
                      <a:pt x="474" y="373"/>
                    </a:lnTo>
                    <a:lnTo>
                      <a:pt x="474" y="375"/>
                    </a:lnTo>
                    <a:lnTo>
                      <a:pt x="472" y="375"/>
                    </a:lnTo>
                    <a:lnTo>
                      <a:pt x="472" y="377"/>
                    </a:lnTo>
                    <a:lnTo>
                      <a:pt x="470" y="379"/>
                    </a:lnTo>
                    <a:lnTo>
                      <a:pt x="470" y="383"/>
                    </a:lnTo>
                    <a:lnTo>
                      <a:pt x="470" y="385"/>
                    </a:lnTo>
                    <a:lnTo>
                      <a:pt x="470" y="383"/>
                    </a:lnTo>
                    <a:lnTo>
                      <a:pt x="468" y="385"/>
                    </a:lnTo>
                    <a:lnTo>
                      <a:pt x="468" y="387"/>
                    </a:lnTo>
                    <a:lnTo>
                      <a:pt x="468" y="389"/>
                    </a:lnTo>
                    <a:lnTo>
                      <a:pt x="467" y="391"/>
                    </a:lnTo>
                    <a:lnTo>
                      <a:pt x="465" y="391"/>
                    </a:lnTo>
                    <a:lnTo>
                      <a:pt x="465" y="393"/>
                    </a:lnTo>
                    <a:lnTo>
                      <a:pt x="463" y="393"/>
                    </a:lnTo>
                    <a:lnTo>
                      <a:pt x="465" y="393"/>
                    </a:lnTo>
                    <a:lnTo>
                      <a:pt x="463" y="393"/>
                    </a:lnTo>
                    <a:lnTo>
                      <a:pt x="461" y="393"/>
                    </a:lnTo>
                    <a:lnTo>
                      <a:pt x="459" y="393"/>
                    </a:lnTo>
                    <a:lnTo>
                      <a:pt x="457" y="393"/>
                    </a:lnTo>
                    <a:lnTo>
                      <a:pt x="453" y="395"/>
                    </a:lnTo>
                    <a:lnTo>
                      <a:pt x="451" y="395"/>
                    </a:lnTo>
                    <a:lnTo>
                      <a:pt x="451" y="396"/>
                    </a:lnTo>
                    <a:lnTo>
                      <a:pt x="449" y="396"/>
                    </a:lnTo>
                    <a:lnTo>
                      <a:pt x="447" y="398"/>
                    </a:lnTo>
                    <a:lnTo>
                      <a:pt x="445" y="398"/>
                    </a:lnTo>
                    <a:lnTo>
                      <a:pt x="443" y="400"/>
                    </a:lnTo>
                    <a:lnTo>
                      <a:pt x="443" y="402"/>
                    </a:lnTo>
                    <a:lnTo>
                      <a:pt x="442" y="404"/>
                    </a:lnTo>
                    <a:lnTo>
                      <a:pt x="443" y="404"/>
                    </a:lnTo>
                    <a:lnTo>
                      <a:pt x="442" y="404"/>
                    </a:lnTo>
                    <a:lnTo>
                      <a:pt x="442" y="406"/>
                    </a:lnTo>
                    <a:lnTo>
                      <a:pt x="442" y="408"/>
                    </a:lnTo>
                    <a:lnTo>
                      <a:pt x="443" y="408"/>
                    </a:lnTo>
                    <a:lnTo>
                      <a:pt x="443" y="410"/>
                    </a:lnTo>
                    <a:lnTo>
                      <a:pt x="445" y="410"/>
                    </a:lnTo>
                    <a:lnTo>
                      <a:pt x="447" y="410"/>
                    </a:lnTo>
                    <a:lnTo>
                      <a:pt x="445" y="410"/>
                    </a:lnTo>
                    <a:lnTo>
                      <a:pt x="447" y="410"/>
                    </a:lnTo>
                    <a:lnTo>
                      <a:pt x="447" y="412"/>
                    </a:lnTo>
                    <a:lnTo>
                      <a:pt x="445" y="412"/>
                    </a:lnTo>
                    <a:lnTo>
                      <a:pt x="447" y="412"/>
                    </a:lnTo>
                    <a:lnTo>
                      <a:pt x="447" y="410"/>
                    </a:lnTo>
                    <a:lnTo>
                      <a:pt x="447" y="412"/>
                    </a:lnTo>
                    <a:lnTo>
                      <a:pt x="449" y="412"/>
                    </a:lnTo>
                    <a:lnTo>
                      <a:pt x="451" y="414"/>
                    </a:lnTo>
                    <a:lnTo>
                      <a:pt x="451" y="416"/>
                    </a:lnTo>
                    <a:lnTo>
                      <a:pt x="451" y="418"/>
                    </a:lnTo>
                    <a:lnTo>
                      <a:pt x="451" y="420"/>
                    </a:lnTo>
                    <a:lnTo>
                      <a:pt x="451" y="421"/>
                    </a:lnTo>
                    <a:lnTo>
                      <a:pt x="449" y="421"/>
                    </a:lnTo>
                    <a:lnTo>
                      <a:pt x="449" y="423"/>
                    </a:lnTo>
                    <a:lnTo>
                      <a:pt x="447" y="425"/>
                    </a:lnTo>
                    <a:lnTo>
                      <a:pt x="445" y="429"/>
                    </a:lnTo>
                    <a:lnTo>
                      <a:pt x="443" y="431"/>
                    </a:lnTo>
                    <a:lnTo>
                      <a:pt x="442" y="433"/>
                    </a:lnTo>
                    <a:lnTo>
                      <a:pt x="440" y="433"/>
                    </a:lnTo>
                    <a:lnTo>
                      <a:pt x="438" y="433"/>
                    </a:lnTo>
                    <a:lnTo>
                      <a:pt x="438" y="435"/>
                    </a:lnTo>
                    <a:lnTo>
                      <a:pt x="436" y="435"/>
                    </a:lnTo>
                    <a:lnTo>
                      <a:pt x="436" y="437"/>
                    </a:lnTo>
                    <a:lnTo>
                      <a:pt x="436" y="439"/>
                    </a:lnTo>
                    <a:lnTo>
                      <a:pt x="436" y="441"/>
                    </a:lnTo>
                    <a:lnTo>
                      <a:pt x="434" y="441"/>
                    </a:lnTo>
                    <a:lnTo>
                      <a:pt x="434" y="443"/>
                    </a:lnTo>
                    <a:lnTo>
                      <a:pt x="436" y="443"/>
                    </a:lnTo>
                    <a:lnTo>
                      <a:pt x="434" y="443"/>
                    </a:lnTo>
                    <a:lnTo>
                      <a:pt x="432" y="443"/>
                    </a:lnTo>
                    <a:lnTo>
                      <a:pt x="432" y="445"/>
                    </a:lnTo>
                    <a:lnTo>
                      <a:pt x="430" y="445"/>
                    </a:lnTo>
                    <a:lnTo>
                      <a:pt x="432" y="445"/>
                    </a:lnTo>
                    <a:lnTo>
                      <a:pt x="432" y="446"/>
                    </a:lnTo>
                    <a:lnTo>
                      <a:pt x="430" y="446"/>
                    </a:lnTo>
                    <a:lnTo>
                      <a:pt x="430" y="448"/>
                    </a:lnTo>
                    <a:lnTo>
                      <a:pt x="428" y="448"/>
                    </a:lnTo>
                    <a:lnTo>
                      <a:pt x="428" y="450"/>
                    </a:lnTo>
                    <a:lnTo>
                      <a:pt x="428" y="452"/>
                    </a:lnTo>
                    <a:lnTo>
                      <a:pt x="428" y="454"/>
                    </a:lnTo>
                    <a:lnTo>
                      <a:pt x="428" y="456"/>
                    </a:lnTo>
                    <a:lnTo>
                      <a:pt x="430" y="454"/>
                    </a:lnTo>
                    <a:lnTo>
                      <a:pt x="432" y="454"/>
                    </a:lnTo>
                    <a:lnTo>
                      <a:pt x="432" y="456"/>
                    </a:lnTo>
                    <a:lnTo>
                      <a:pt x="430" y="456"/>
                    </a:lnTo>
                    <a:lnTo>
                      <a:pt x="432" y="456"/>
                    </a:lnTo>
                    <a:lnTo>
                      <a:pt x="432" y="454"/>
                    </a:lnTo>
                    <a:lnTo>
                      <a:pt x="430" y="454"/>
                    </a:lnTo>
                    <a:lnTo>
                      <a:pt x="428" y="454"/>
                    </a:lnTo>
                    <a:lnTo>
                      <a:pt x="428" y="456"/>
                    </a:lnTo>
                    <a:lnTo>
                      <a:pt x="428" y="454"/>
                    </a:lnTo>
                    <a:lnTo>
                      <a:pt x="428" y="452"/>
                    </a:lnTo>
                    <a:lnTo>
                      <a:pt x="428" y="450"/>
                    </a:lnTo>
                    <a:lnTo>
                      <a:pt x="430" y="448"/>
                    </a:lnTo>
                    <a:lnTo>
                      <a:pt x="430" y="446"/>
                    </a:lnTo>
                    <a:lnTo>
                      <a:pt x="432" y="446"/>
                    </a:lnTo>
                    <a:lnTo>
                      <a:pt x="432" y="445"/>
                    </a:lnTo>
                    <a:lnTo>
                      <a:pt x="432" y="443"/>
                    </a:lnTo>
                    <a:lnTo>
                      <a:pt x="434" y="445"/>
                    </a:lnTo>
                    <a:lnTo>
                      <a:pt x="436" y="443"/>
                    </a:lnTo>
                    <a:lnTo>
                      <a:pt x="436" y="445"/>
                    </a:lnTo>
                    <a:lnTo>
                      <a:pt x="436" y="443"/>
                    </a:lnTo>
                    <a:lnTo>
                      <a:pt x="434" y="443"/>
                    </a:lnTo>
                    <a:lnTo>
                      <a:pt x="436" y="441"/>
                    </a:lnTo>
                    <a:lnTo>
                      <a:pt x="436" y="443"/>
                    </a:lnTo>
                    <a:lnTo>
                      <a:pt x="436" y="445"/>
                    </a:lnTo>
                    <a:lnTo>
                      <a:pt x="438" y="446"/>
                    </a:lnTo>
                    <a:lnTo>
                      <a:pt x="438" y="448"/>
                    </a:lnTo>
                    <a:lnTo>
                      <a:pt x="438" y="450"/>
                    </a:lnTo>
                    <a:lnTo>
                      <a:pt x="438" y="452"/>
                    </a:lnTo>
                    <a:lnTo>
                      <a:pt x="438" y="454"/>
                    </a:lnTo>
                    <a:lnTo>
                      <a:pt x="436" y="454"/>
                    </a:lnTo>
                    <a:lnTo>
                      <a:pt x="436" y="456"/>
                    </a:lnTo>
                    <a:lnTo>
                      <a:pt x="434" y="458"/>
                    </a:lnTo>
                    <a:lnTo>
                      <a:pt x="436" y="458"/>
                    </a:lnTo>
                    <a:lnTo>
                      <a:pt x="434" y="460"/>
                    </a:lnTo>
                    <a:lnTo>
                      <a:pt x="432" y="460"/>
                    </a:lnTo>
                    <a:lnTo>
                      <a:pt x="432" y="462"/>
                    </a:lnTo>
                    <a:lnTo>
                      <a:pt x="430" y="462"/>
                    </a:lnTo>
                    <a:lnTo>
                      <a:pt x="428" y="462"/>
                    </a:lnTo>
                    <a:lnTo>
                      <a:pt x="426" y="462"/>
                    </a:lnTo>
                    <a:lnTo>
                      <a:pt x="424" y="462"/>
                    </a:lnTo>
                    <a:lnTo>
                      <a:pt x="422" y="462"/>
                    </a:lnTo>
                    <a:lnTo>
                      <a:pt x="424" y="462"/>
                    </a:lnTo>
                    <a:lnTo>
                      <a:pt x="422" y="460"/>
                    </a:lnTo>
                    <a:lnTo>
                      <a:pt x="420" y="460"/>
                    </a:lnTo>
                    <a:lnTo>
                      <a:pt x="420" y="458"/>
                    </a:lnTo>
                    <a:lnTo>
                      <a:pt x="420" y="460"/>
                    </a:lnTo>
                    <a:lnTo>
                      <a:pt x="420" y="458"/>
                    </a:lnTo>
                    <a:lnTo>
                      <a:pt x="419" y="458"/>
                    </a:lnTo>
                    <a:lnTo>
                      <a:pt x="417" y="458"/>
                    </a:lnTo>
                    <a:lnTo>
                      <a:pt x="415" y="458"/>
                    </a:lnTo>
                    <a:lnTo>
                      <a:pt x="417" y="458"/>
                    </a:lnTo>
                    <a:lnTo>
                      <a:pt x="419" y="458"/>
                    </a:lnTo>
                    <a:lnTo>
                      <a:pt x="420" y="458"/>
                    </a:lnTo>
                    <a:lnTo>
                      <a:pt x="420" y="460"/>
                    </a:lnTo>
                    <a:lnTo>
                      <a:pt x="422" y="460"/>
                    </a:lnTo>
                    <a:lnTo>
                      <a:pt x="422" y="462"/>
                    </a:lnTo>
                    <a:lnTo>
                      <a:pt x="424" y="462"/>
                    </a:lnTo>
                    <a:lnTo>
                      <a:pt x="422" y="462"/>
                    </a:lnTo>
                    <a:lnTo>
                      <a:pt x="424" y="462"/>
                    </a:lnTo>
                    <a:lnTo>
                      <a:pt x="426" y="462"/>
                    </a:lnTo>
                    <a:lnTo>
                      <a:pt x="428" y="462"/>
                    </a:lnTo>
                    <a:lnTo>
                      <a:pt x="428" y="464"/>
                    </a:lnTo>
                    <a:lnTo>
                      <a:pt x="426" y="464"/>
                    </a:lnTo>
                    <a:lnTo>
                      <a:pt x="426" y="466"/>
                    </a:lnTo>
                    <a:lnTo>
                      <a:pt x="428" y="466"/>
                    </a:lnTo>
                    <a:lnTo>
                      <a:pt x="426" y="466"/>
                    </a:lnTo>
                    <a:lnTo>
                      <a:pt x="426" y="468"/>
                    </a:lnTo>
                    <a:lnTo>
                      <a:pt x="424" y="466"/>
                    </a:lnTo>
                    <a:lnTo>
                      <a:pt x="424" y="468"/>
                    </a:lnTo>
                    <a:lnTo>
                      <a:pt x="426" y="468"/>
                    </a:lnTo>
                    <a:lnTo>
                      <a:pt x="426" y="470"/>
                    </a:lnTo>
                    <a:lnTo>
                      <a:pt x="424" y="470"/>
                    </a:lnTo>
                    <a:lnTo>
                      <a:pt x="424" y="468"/>
                    </a:lnTo>
                    <a:lnTo>
                      <a:pt x="424" y="470"/>
                    </a:lnTo>
                    <a:lnTo>
                      <a:pt x="424" y="471"/>
                    </a:lnTo>
                    <a:lnTo>
                      <a:pt x="424" y="470"/>
                    </a:lnTo>
                    <a:lnTo>
                      <a:pt x="424" y="471"/>
                    </a:lnTo>
                    <a:lnTo>
                      <a:pt x="426" y="471"/>
                    </a:lnTo>
                    <a:lnTo>
                      <a:pt x="424" y="471"/>
                    </a:lnTo>
                    <a:lnTo>
                      <a:pt x="426" y="471"/>
                    </a:lnTo>
                    <a:lnTo>
                      <a:pt x="424" y="473"/>
                    </a:lnTo>
                    <a:lnTo>
                      <a:pt x="426" y="473"/>
                    </a:lnTo>
                    <a:lnTo>
                      <a:pt x="424" y="473"/>
                    </a:lnTo>
                    <a:lnTo>
                      <a:pt x="424" y="475"/>
                    </a:lnTo>
                    <a:lnTo>
                      <a:pt x="422" y="475"/>
                    </a:lnTo>
                    <a:lnTo>
                      <a:pt x="424" y="475"/>
                    </a:lnTo>
                    <a:lnTo>
                      <a:pt x="424" y="477"/>
                    </a:lnTo>
                    <a:lnTo>
                      <a:pt x="424" y="479"/>
                    </a:lnTo>
                    <a:lnTo>
                      <a:pt x="424" y="477"/>
                    </a:lnTo>
                    <a:lnTo>
                      <a:pt x="424" y="475"/>
                    </a:lnTo>
                    <a:lnTo>
                      <a:pt x="422" y="475"/>
                    </a:lnTo>
                    <a:lnTo>
                      <a:pt x="424" y="475"/>
                    </a:lnTo>
                    <a:lnTo>
                      <a:pt x="424" y="473"/>
                    </a:lnTo>
                    <a:lnTo>
                      <a:pt x="426" y="473"/>
                    </a:lnTo>
                    <a:lnTo>
                      <a:pt x="424" y="473"/>
                    </a:lnTo>
                    <a:lnTo>
                      <a:pt x="426" y="471"/>
                    </a:lnTo>
                    <a:lnTo>
                      <a:pt x="424" y="471"/>
                    </a:lnTo>
                    <a:lnTo>
                      <a:pt x="426" y="471"/>
                    </a:lnTo>
                    <a:lnTo>
                      <a:pt x="424" y="471"/>
                    </a:lnTo>
                    <a:lnTo>
                      <a:pt x="424" y="470"/>
                    </a:lnTo>
                    <a:lnTo>
                      <a:pt x="424" y="471"/>
                    </a:lnTo>
                    <a:lnTo>
                      <a:pt x="424" y="470"/>
                    </a:lnTo>
                    <a:lnTo>
                      <a:pt x="424" y="468"/>
                    </a:lnTo>
                    <a:lnTo>
                      <a:pt x="424" y="470"/>
                    </a:lnTo>
                    <a:lnTo>
                      <a:pt x="426" y="470"/>
                    </a:lnTo>
                    <a:lnTo>
                      <a:pt x="426" y="468"/>
                    </a:lnTo>
                    <a:lnTo>
                      <a:pt x="424" y="468"/>
                    </a:lnTo>
                    <a:lnTo>
                      <a:pt x="426" y="468"/>
                    </a:lnTo>
                    <a:lnTo>
                      <a:pt x="426" y="466"/>
                    </a:lnTo>
                    <a:lnTo>
                      <a:pt x="428" y="466"/>
                    </a:lnTo>
                    <a:lnTo>
                      <a:pt x="426" y="466"/>
                    </a:lnTo>
                    <a:lnTo>
                      <a:pt x="426" y="468"/>
                    </a:lnTo>
                    <a:lnTo>
                      <a:pt x="428" y="468"/>
                    </a:lnTo>
                    <a:lnTo>
                      <a:pt x="428" y="466"/>
                    </a:lnTo>
                    <a:lnTo>
                      <a:pt x="430" y="466"/>
                    </a:lnTo>
                    <a:lnTo>
                      <a:pt x="430" y="464"/>
                    </a:lnTo>
                    <a:lnTo>
                      <a:pt x="432" y="464"/>
                    </a:lnTo>
                    <a:lnTo>
                      <a:pt x="432" y="462"/>
                    </a:lnTo>
                    <a:lnTo>
                      <a:pt x="432" y="460"/>
                    </a:lnTo>
                    <a:lnTo>
                      <a:pt x="434" y="460"/>
                    </a:lnTo>
                    <a:lnTo>
                      <a:pt x="434" y="462"/>
                    </a:lnTo>
                    <a:lnTo>
                      <a:pt x="434" y="464"/>
                    </a:lnTo>
                    <a:lnTo>
                      <a:pt x="436" y="464"/>
                    </a:lnTo>
                    <a:lnTo>
                      <a:pt x="436" y="468"/>
                    </a:lnTo>
                    <a:lnTo>
                      <a:pt x="434" y="470"/>
                    </a:lnTo>
                    <a:lnTo>
                      <a:pt x="436" y="470"/>
                    </a:lnTo>
                    <a:lnTo>
                      <a:pt x="436" y="471"/>
                    </a:lnTo>
                    <a:lnTo>
                      <a:pt x="436" y="470"/>
                    </a:lnTo>
                    <a:lnTo>
                      <a:pt x="434" y="470"/>
                    </a:lnTo>
                    <a:lnTo>
                      <a:pt x="436" y="468"/>
                    </a:lnTo>
                    <a:lnTo>
                      <a:pt x="436" y="470"/>
                    </a:lnTo>
                    <a:lnTo>
                      <a:pt x="436" y="471"/>
                    </a:lnTo>
                    <a:lnTo>
                      <a:pt x="436" y="473"/>
                    </a:lnTo>
                    <a:lnTo>
                      <a:pt x="436" y="475"/>
                    </a:lnTo>
                    <a:lnTo>
                      <a:pt x="434" y="477"/>
                    </a:lnTo>
                    <a:lnTo>
                      <a:pt x="434" y="479"/>
                    </a:lnTo>
                    <a:lnTo>
                      <a:pt x="432" y="481"/>
                    </a:lnTo>
                    <a:lnTo>
                      <a:pt x="432" y="483"/>
                    </a:lnTo>
                    <a:lnTo>
                      <a:pt x="430" y="483"/>
                    </a:lnTo>
                    <a:lnTo>
                      <a:pt x="430" y="485"/>
                    </a:lnTo>
                    <a:lnTo>
                      <a:pt x="428" y="485"/>
                    </a:lnTo>
                    <a:lnTo>
                      <a:pt x="428" y="487"/>
                    </a:lnTo>
                    <a:lnTo>
                      <a:pt x="428" y="491"/>
                    </a:lnTo>
                    <a:lnTo>
                      <a:pt x="428" y="493"/>
                    </a:lnTo>
                    <a:lnTo>
                      <a:pt x="426" y="493"/>
                    </a:lnTo>
                    <a:lnTo>
                      <a:pt x="426" y="494"/>
                    </a:lnTo>
                    <a:lnTo>
                      <a:pt x="426" y="493"/>
                    </a:lnTo>
                    <a:lnTo>
                      <a:pt x="426" y="494"/>
                    </a:lnTo>
                    <a:lnTo>
                      <a:pt x="426" y="496"/>
                    </a:lnTo>
                    <a:lnTo>
                      <a:pt x="426" y="494"/>
                    </a:lnTo>
                    <a:lnTo>
                      <a:pt x="426" y="496"/>
                    </a:lnTo>
                    <a:lnTo>
                      <a:pt x="428" y="496"/>
                    </a:lnTo>
                    <a:lnTo>
                      <a:pt x="428" y="498"/>
                    </a:lnTo>
                    <a:lnTo>
                      <a:pt x="428" y="500"/>
                    </a:lnTo>
                    <a:lnTo>
                      <a:pt x="428" y="502"/>
                    </a:lnTo>
                    <a:lnTo>
                      <a:pt x="428" y="504"/>
                    </a:lnTo>
                    <a:lnTo>
                      <a:pt x="426" y="506"/>
                    </a:lnTo>
                    <a:lnTo>
                      <a:pt x="428" y="504"/>
                    </a:lnTo>
                    <a:lnTo>
                      <a:pt x="428" y="506"/>
                    </a:lnTo>
                    <a:lnTo>
                      <a:pt x="430" y="506"/>
                    </a:lnTo>
                    <a:lnTo>
                      <a:pt x="430" y="508"/>
                    </a:lnTo>
                    <a:lnTo>
                      <a:pt x="428" y="510"/>
                    </a:lnTo>
                    <a:lnTo>
                      <a:pt x="430" y="512"/>
                    </a:lnTo>
                    <a:lnTo>
                      <a:pt x="430" y="514"/>
                    </a:lnTo>
                    <a:lnTo>
                      <a:pt x="430" y="516"/>
                    </a:lnTo>
                    <a:lnTo>
                      <a:pt x="430" y="518"/>
                    </a:lnTo>
                    <a:lnTo>
                      <a:pt x="430" y="519"/>
                    </a:lnTo>
                    <a:lnTo>
                      <a:pt x="430" y="521"/>
                    </a:lnTo>
                    <a:lnTo>
                      <a:pt x="432" y="521"/>
                    </a:lnTo>
                    <a:lnTo>
                      <a:pt x="432" y="523"/>
                    </a:lnTo>
                    <a:lnTo>
                      <a:pt x="432" y="525"/>
                    </a:lnTo>
                    <a:lnTo>
                      <a:pt x="432" y="527"/>
                    </a:lnTo>
                    <a:lnTo>
                      <a:pt x="432" y="525"/>
                    </a:lnTo>
                    <a:lnTo>
                      <a:pt x="432" y="523"/>
                    </a:lnTo>
                    <a:lnTo>
                      <a:pt x="432" y="525"/>
                    </a:lnTo>
                    <a:lnTo>
                      <a:pt x="432" y="527"/>
                    </a:lnTo>
                    <a:lnTo>
                      <a:pt x="432" y="529"/>
                    </a:lnTo>
                    <a:lnTo>
                      <a:pt x="432" y="531"/>
                    </a:lnTo>
                    <a:lnTo>
                      <a:pt x="432" y="533"/>
                    </a:lnTo>
                    <a:lnTo>
                      <a:pt x="432" y="531"/>
                    </a:lnTo>
                    <a:lnTo>
                      <a:pt x="434" y="533"/>
                    </a:lnTo>
                    <a:lnTo>
                      <a:pt x="432" y="535"/>
                    </a:lnTo>
                    <a:lnTo>
                      <a:pt x="432" y="537"/>
                    </a:lnTo>
                    <a:lnTo>
                      <a:pt x="432" y="539"/>
                    </a:lnTo>
                    <a:lnTo>
                      <a:pt x="432" y="541"/>
                    </a:lnTo>
                    <a:lnTo>
                      <a:pt x="432" y="543"/>
                    </a:lnTo>
                    <a:lnTo>
                      <a:pt x="430" y="544"/>
                    </a:lnTo>
                    <a:lnTo>
                      <a:pt x="428" y="544"/>
                    </a:lnTo>
                    <a:lnTo>
                      <a:pt x="430" y="544"/>
                    </a:lnTo>
                    <a:lnTo>
                      <a:pt x="430" y="543"/>
                    </a:lnTo>
                    <a:lnTo>
                      <a:pt x="432" y="543"/>
                    </a:lnTo>
                    <a:lnTo>
                      <a:pt x="432" y="544"/>
                    </a:lnTo>
                    <a:lnTo>
                      <a:pt x="430" y="544"/>
                    </a:lnTo>
                    <a:lnTo>
                      <a:pt x="430" y="546"/>
                    </a:lnTo>
                    <a:lnTo>
                      <a:pt x="430" y="544"/>
                    </a:lnTo>
                    <a:lnTo>
                      <a:pt x="430" y="546"/>
                    </a:lnTo>
                    <a:lnTo>
                      <a:pt x="428" y="546"/>
                    </a:lnTo>
                    <a:lnTo>
                      <a:pt x="428" y="548"/>
                    </a:lnTo>
                    <a:lnTo>
                      <a:pt x="428" y="550"/>
                    </a:lnTo>
                    <a:lnTo>
                      <a:pt x="426" y="550"/>
                    </a:lnTo>
                    <a:lnTo>
                      <a:pt x="424" y="550"/>
                    </a:lnTo>
                    <a:lnTo>
                      <a:pt x="424" y="548"/>
                    </a:lnTo>
                    <a:lnTo>
                      <a:pt x="426" y="548"/>
                    </a:lnTo>
                    <a:lnTo>
                      <a:pt x="428" y="546"/>
                    </a:lnTo>
                    <a:lnTo>
                      <a:pt x="428" y="544"/>
                    </a:lnTo>
                    <a:lnTo>
                      <a:pt x="428" y="546"/>
                    </a:lnTo>
                    <a:lnTo>
                      <a:pt x="426" y="546"/>
                    </a:lnTo>
                    <a:lnTo>
                      <a:pt x="426" y="548"/>
                    </a:lnTo>
                    <a:lnTo>
                      <a:pt x="426" y="546"/>
                    </a:lnTo>
                    <a:lnTo>
                      <a:pt x="426" y="548"/>
                    </a:lnTo>
                    <a:lnTo>
                      <a:pt x="424" y="548"/>
                    </a:lnTo>
                    <a:lnTo>
                      <a:pt x="424" y="550"/>
                    </a:lnTo>
                    <a:lnTo>
                      <a:pt x="424" y="552"/>
                    </a:lnTo>
                    <a:lnTo>
                      <a:pt x="424" y="554"/>
                    </a:lnTo>
                    <a:lnTo>
                      <a:pt x="422" y="554"/>
                    </a:lnTo>
                    <a:lnTo>
                      <a:pt x="424" y="554"/>
                    </a:lnTo>
                    <a:lnTo>
                      <a:pt x="424" y="556"/>
                    </a:lnTo>
                    <a:lnTo>
                      <a:pt x="422" y="556"/>
                    </a:lnTo>
                    <a:lnTo>
                      <a:pt x="422" y="558"/>
                    </a:lnTo>
                    <a:lnTo>
                      <a:pt x="422" y="560"/>
                    </a:lnTo>
                    <a:lnTo>
                      <a:pt x="420" y="560"/>
                    </a:lnTo>
                    <a:lnTo>
                      <a:pt x="419" y="560"/>
                    </a:lnTo>
                    <a:lnTo>
                      <a:pt x="419" y="558"/>
                    </a:lnTo>
                    <a:lnTo>
                      <a:pt x="417" y="558"/>
                    </a:lnTo>
                    <a:lnTo>
                      <a:pt x="417" y="560"/>
                    </a:lnTo>
                    <a:lnTo>
                      <a:pt x="415" y="560"/>
                    </a:lnTo>
                    <a:lnTo>
                      <a:pt x="417" y="558"/>
                    </a:lnTo>
                    <a:lnTo>
                      <a:pt x="415" y="558"/>
                    </a:lnTo>
                    <a:lnTo>
                      <a:pt x="415" y="560"/>
                    </a:lnTo>
                    <a:lnTo>
                      <a:pt x="413" y="558"/>
                    </a:lnTo>
                    <a:lnTo>
                      <a:pt x="415" y="558"/>
                    </a:lnTo>
                    <a:lnTo>
                      <a:pt x="413" y="558"/>
                    </a:lnTo>
                    <a:lnTo>
                      <a:pt x="413" y="556"/>
                    </a:lnTo>
                    <a:lnTo>
                      <a:pt x="411" y="556"/>
                    </a:lnTo>
                    <a:lnTo>
                      <a:pt x="413" y="556"/>
                    </a:lnTo>
                    <a:lnTo>
                      <a:pt x="413" y="558"/>
                    </a:lnTo>
                    <a:lnTo>
                      <a:pt x="415" y="558"/>
                    </a:lnTo>
                    <a:lnTo>
                      <a:pt x="413" y="558"/>
                    </a:lnTo>
                    <a:lnTo>
                      <a:pt x="413" y="560"/>
                    </a:lnTo>
                    <a:lnTo>
                      <a:pt x="415" y="560"/>
                    </a:lnTo>
                    <a:lnTo>
                      <a:pt x="415" y="558"/>
                    </a:lnTo>
                    <a:lnTo>
                      <a:pt x="417" y="558"/>
                    </a:lnTo>
                    <a:lnTo>
                      <a:pt x="415" y="560"/>
                    </a:lnTo>
                    <a:lnTo>
                      <a:pt x="417" y="560"/>
                    </a:lnTo>
                    <a:lnTo>
                      <a:pt x="417" y="558"/>
                    </a:lnTo>
                    <a:lnTo>
                      <a:pt x="417" y="560"/>
                    </a:lnTo>
                    <a:lnTo>
                      <a:pt x="417" y="558"/>
                    </a:lnTo>
                    <a:lnTo>
                      <a:pt x="419" y="558"/>
                    </a:lnTo>
                    <a:lnTo>
                      <a:pt x="419" y="560"/>
                    </a:lnTo>
                    <a:lnTo>
                      <a:pt x="420" y="560"/>
                    </a:lnTo>
                    <a:lnTo>
                      <a:pt x="420" y="562"/>
                    </a:lnTo>
                    <a:lnTo>
                      <a:pt x="419" y="562"/>
                    </a:lnTo>
                    <a:lnTo>
                      <a:pt x="419" y="564"/>
                    </a:lnTo>
                    <a:lnTo>
                      <a:pt x="420" y="564"/>
                    </a:lnTo>
                    <a:lnTo>
                      <a:pt x="422" y="564"/>
                    </a:lnTo>
                    <a:lnTo>
                      <a:pt x="422" y="566"/>
                    </a:lnTo>
                    <a:lnTo>
                      <a:pt x="420" y="566"/>
                    </a:lnTo>
                    <a:lnTo>
                      <a:pt x="420" y="564"/>
                    </a:lnTo>
                    <a:lnTo>
                      <a:pt x="419" y="564"/>
                    </a:lnTo>
                    <a:lnTo>
                      <a:pt x="419" y="566"/>
                    </a:lnTo>
                    <a:lnTo>
                      <a:pt x="420" y="566"/>
                    </a:lnTo>
                    <a:lnTo>
                      <a:pt x="420" y="568"/>
                    </a:lnTo>
                    <a:lnTo>
                      <a:pt x="422" y="568"/>
                    </a:lnTo>
                    <a:lnTo>
                      <a:pt x="420" y="568"/>
                    </a:lnTo>
                    <a:lnTo>
                      <a:pt x="419" y="568"/>
                    </a:lnTo>
                    <a:lnTo>
                      <a:pt x="419" y="569"/>
                    </a:lnTo>
                    <a:lnTo>
                      <a:pt x="419" y="568"/>
                    </a:lnTo>
                    <a:lnTo>
                      <a:pt x="417" y="566"/>
                    </a:lnTo>
                    <a:lnTo>
                      <a:pt x="415" y="568"/>
                    </a:lnTo>
                    <a:lnTo>
                      <a:pt x="415" y="566"/>
                    </a:lnTo>
                    <a:lnTo>
                      <a:pt x="413" y="566"/>
                    </a:lnTo>
                    <a:lnTo>
                      <a:pt x="415" y="566"/>
                    </a:lnTo>
                    <a:lnTo>
                      <a:pt x="413" y="566"/>
                    </a:lnTo>
                    <a:lnTo>
                      <a:pt x="413" y="564"/>
                    </a:lnTo>
                    <a:lnTo>
                      <a:pt x="411" y="564"/>
                    </a:lnTo>
                    <a:lnTo>
                      <a:pt x="411" y="566"/>
                    </a:lnTo>
                    <a:lnTo>
                      <a:pt x="409" y="566"/>
                    </a:lnTo>
                    <a:lnTo>
                      <a:pt x="407" y="566"/>
                    </a:lnTo>
                    <a:lnTo>
                      <a:pt x="405" y="566"/>
                    </a:lnTo>
                    <a:lnTo>
                      <a:pt x="403" y="564"/>
                    </a:lnTo>
                    <a:lnTo>
                      <a:pt x="401" y="564"/>
                    </a:lnTo>
                    <a:lnTo>
                      <a:pt x="399" y="564"/>
                    </a:lnTo>
                    <a:lnTo>
                      <a:pt x="397" y="564"/>
                    </a:lnTo>
                    <a:lnTo>
                      <a:pt x="397" y="566"/>
                    </a:lnTo>
                    <a:lnTo>
                      <a:pt x="395" y="566"/>
                    </a:lnTo>
                    <a:lnTo>
                      <a:pt x="395" y="564"/>
                    </a:lnTo>
                    <a:lnTo>
                      <a:pt x="394" y="564"/>
                    </a:lnTo>
                    <a:lnTo>
                      <a:pt x="394" y="566"/>
                    </a:lnTo>
                    <a:lnTo>
                      <a:pt x="394" y="568"/>
                    </a:lnTo>
                    <a:lnTo>
                      <a:pt x="395" y="569"/>
                    </a:lnTo>
                    <a:lnTo>
                      <a:pt x="394" y="569"/>
                    </a:lnTo>
                    <a:lnTo>
                      <a:pt x="392" y="568"/>
                    </a:lnTo>
                    <a:lnTo>
                      <a:pt x="392" y="569"/>
                    </a:lnTo>
                    <a:lnTo>
                      <a:pt x="390" y="569"/>
                    </a:lnTo>
                    <a:lnTo>
                      <a:pt x="388" y="569"/>
                    </a:lnTo>
                    <a:lnTo>
                      <a:pt x="386" y="569"/>
                    </a:lnTo>
                    <a:lnTo>
                      <a:pt x="384" y="569"/>
                    </a:lnTo>
                    <a:lnTo>
                      <a:pt x="386" y="569"/>
                    </a:lnTo>
                    <a:lnTo>
                      <a:pt x="386" y="568"/>
                    </a:lnTo>
                    <a:lnTo>
                      <a:pt x="386" y="566"/>
                    </a:lnTo>
                    <a:lnTo>
                      <a:pt x="384" y="566"/>
                    </a:lnTo>
                    <a:lnTo>
                      <a:pt x="384" y="568"/>
                    </a:lnTo>
                    <a:lnTo>
                      <a:pt x="382" y="568"/>
                    </a:lnTo>
                    <a:lnTo>
                      <a:pt x="380" y="568"/>
                    </a:lnTo>
                    <a:lnTo>
                      <a:pt x="380" y="566"/>
                    </a:lnTo>
                    <a:lnTo>
                      <a:pt x="380" y="564"/>
                    </a:lnTo>
                    <a:lnTo>
                      <a:pt x="378" y="564"/>
                    </a:lnTo>
                    <a:lnTo>
                      <a:pt x="378" y="566"/>
                    </a:lnTo>
                    <a:lnTo>
                      <a:pt x="378" y="568"/>
                    </a:lnTo>
                    <a:lnTo>
                      <a:pt x="378" y="569"/>
                    </a:lnTo>
                    <a:lnTo>
                      <a:pt x="376" y="569"/>
                    </a:lnTo>
                    <a:lnTo>
                      <a:pt x="376" y="568"/>
                    </a:lnTo>
                    <a:lnTo>
                      <a:pt x="374" y="566"/>
                    </a:lnTo>
                    <a:lnTo>
                      <a:pt x="376" y="566"/>
                    </a:lnTo>
                    <a:lnTo>
                      <a:pt x="374" y="564"/>
                    </a:lnTo>
                    <a:lnTo>
                      <a:pt x="372" y="566"/>
                    </a:lnTo>
                    <a:lnTo>
                      <a:pt x="374" y="568"/>
                    </a:lnTo>
                    <a:lnTo>
                      <a:pt x="372" y="568"/>
                    </a:lnTo>
                    <a:lnTo>
                      <a:pt x="370" y="568"/>
                    </a:lnTo>
                    <a:lnTo>
                      <a:pt x="370" y="569"/>
                    </a:lnTo>
                    <a:lnTo>
                      <a:pt x="372" y="569"/>
                    </a:lnTo>
                    <a:lnTo>
                      <a:pt x="370" y="571"/>
                    </a:lnTo>
                    <a:lnTo>
                      <a:pt x="369" y="571"/>
                    </a:lnTo>
                    <a:lnTo>
                      <a:pt x="367" y="571"/>
                    </a:lnTo>
                    <a:lnTo>
                      <a:pt x="367" y="573"/>
                    </a:lnTo>
                    <a:lnTo>
                      <a:pt x="369" y="573"/>
                    </a:lnTo>
                    <a:lnTo>
                      <a:pt x="370" y="573"/>
                    </a:lnTo>
                    <a:lnTo>
                      <a:pt x="369" y="573"/>
                    </a:lnTo>
                    <a:lnTo>
                      <a:pt x="369" y="575"/>
                    </a:lnTo>
                    <a:lnTo>
                      <a:pt x="369" y="577"/>
                    </a:lnTo>
                    <a:lnTo>
                      <a:pt x="367" y="577"/>
                    </a:lnTo>
                    <a:lnTo>
                      <a:pt x="367" y="579"/>
                    </a:lnTo>
                    <a:lnTo>
                      <a:pt x="367" y="581"/>
                    </a:lnTo>
                    <a:lnTo>
                      <a:pt x="365" y="581"/>
                    </a:lnTo>
                    <a:lnTo>
                      <a:pt x="363" y="581"/>
                    </a:lnTo>
                    <a:lnTo>
                      <a:pt x="365" y="581"/>
                    </a:lnTo>
                    <a:lnTo>
                      <a:pt x="365" y="583"/>
                    </a:lnTo>
                    <a:lnTo>
                      <a:pt x="367" y="581"/>
                    </a:lnTo>
                    <a:lnTo>
                      <a:pt x="367" y="579"/>
                    </a:lnTo>
                    <a:lnTo>
                      <a:pt x="367" y="577"/>
                    </a:lnTo>
                    <a:lnTo>
                      <a:pt x="369" y="577"/>
                    </a:lnTo>
                    <a:lnTo>
                      <a:pt x="369" y="575"/>
                    </a:lnTo>
                    <a:lnTo>
                      <a:pt x="369" y="573"/>
                    </a:lnTo>
                    <a:lnTo>
                      <a:pt x="370" y="573"/>
                    </a:lnTo>
                    <a:lnTo>
                      <a:pt x="369" y="573"/>
                    </a:lnTo>
                    <a:lnTo>
                      <a:pt x="367" y="573"/>
                    </a:lnTo>
                    <a:lnTo>
                      <a:pt x="367" y="571"/>
                    </a:lnTo>
                    <a:lnTo>
                      <a:pt x="369" y="571"/>
                    </a:lnTo>
                    <a:lnTo>
                      <a:pt x="370" y="571"/>
                    </a:lnTo>
                    <a:lnTo>
                      <a:pt x="372" y="569"/>
                    </a:lnTo>
                    <a:lnTo>
                      <a:pt x="370" y="569"/>
                    </a:lnTo>
                    <a:lnTo>
                      <a:pt x="370" y="568"/>
                    </a:lnTo>
                    <a:lnTo>
                      <a:pt x="372" y="568"/>
                    </a:lnTo>
                    <a:lnTo>
                      <a:pt x="374" y="568"/>
                    </a:lnTo>
                    <a:lnTo>
                      <a:pt x="372" y="566"/>
                    </a:lnTo>
                    <a:lnTo>
                      <a:pt x="374" y="564"/>
                    </a:lnTo>
                    <a:lnTo>
                      <a:pt x="374" y="566"/>
                    </a:lnTo>
                    <a:lnTo>
                      <a:pt x="376" y="568"/>
                    </a:lnTo>
                    <a:lnTo>
                      <a:pt x="376" y="569"/>
                    </a:lnTo>
                    <a:lnTo>
                      <a:pt x="378" y="569"/>
                    </a:lnTo>
                    <a:lnTo>
                      <a:pt x="378" y="568"/>
                    </a:lnTo>
                    <a:lnTo>
                      <a:pt x="378" y="566"/>
                    </a:lnTo>
                    <a:lnTo>
                      <a:pt x="378" y="564"/>
                    </a:lnTo>
                    <a:lnTo>
                      <a:pt x="380" y="564"/>
                    </a:lnTo>
                    <a:lnTo>
                      <a:pt x="380" y="566"/>
                    </a:lnTo>
                    <a:lnTo>
                      <a:pt x="380" y="568"/>
                    </a:lnTo>
                    <a:lnTo>
                      <a:pt x="382" y="568"/>
                    </a:lnTo>
                    <a:lnTo>
                      <a:pt x="382" y="569"/>
                    </a:lnTo>
                    <a:lnTo>
                      <a:pt x="382" y="568"/>
                    </a:lnTo>
                    <a:lnTo>
                      <a:pt x="384" y="568"/>
                    </a:lnTo>
                    <a:lnTo>
                      <a:pt x="386" y="566"/>
                    </a:lnTo>
                    <a:lnTo>
                      <a:pt x="386" y="568"/>
                    </a:lnTo>
                    <a:lnTo>
                      <a:pt x="386" y="569"/>
                    </a:lnTo>
                    <a:lnTo>
                      <a:pt x="384" y="569"/>
                    </a:lnTo>
                    <a:lnTo>
                      <a:pt x="386" y="569"/>
                    </a:lnTo>
                    <a:lnTo>
                      <a:pt x="388" y="569"/>
                    </a:lnTo>
                    <a:lnTo>
                      <a:pt x="390" y="569"/>
                    </a:lnTo>
                    <a:lnTo>
                      <a:pt x="392" y="568"/>
                    </a:lnTo>
                    <a:lnTo>
                      <a:pt x="394" y="569"/>
                    </a:lnTo>
                    <a:lnTo>
                      <a:pt x="395" y="569"/>
                    </a:lnTo>
                    <a:lnTo>
                      <a:pt x="395" y="568"/>
                    </a:lnTo>
                    <a:lnTo>
                      <a:pt x="394" y="568"/>
                    </a:lnTo>
                    <a:lnTo>
                      <a:pt x="395" y="568"/>
                    </a:lnTo>
                    <a:lnTo>
                      <a:pt x="394" y="568"/>
                    </a:lnTo>
                    <a:lnTo>
                      <a:pt x="394" y="566"/>
                    </a:lnTo>
                    <a:lnTo>
                      <a:pt x="394" y="564"/>
                    </a:lnTo>
                    <a:lnTo>
                      <a:pt x="395" y="564"/>
                    </a:lnTo>
                    <a:lnTo>
                      <a:pt x="395" y="566"/>
                    </a:lnTo>
                    <a:lnTo>
                      <a:pt x="397" y="566"/>
                    </a:lnTo>
                    <a:lnTo>
                      <a:pt x="395" y="566"/>
                    </a:lnTo>
                    <a:lnTo>
                      <a:pt x="397" y="566"/>
                    </a:lnTo>
                    <a:lnTo>
                      <a:pt x="397" y="564"/>
                    </a:lnTo>
                    <a:lnTo>
                      <a:pt x="399" y="564"/>
                    </a:lnTo>
                    <a:lnTo>
                      <a:pt x="401" y="564"/>
                    </a:lnTo>
                    <a:lnTo>
                      <a:pt x="403" y="564"/>
                    </a:lnTo>
                    <a:lnTo>
                      <a:pt x="403" y="566"/>
                    </a:lnTo>
                    <a:lnTo>
                      <a:pt x="405" y="566"/>
                    </a:lnTo>
                    <a:lnTo>
                      <a:pt x="407" y="566"/>
                    </a:lnTo>
                    <a:lnTo>
                      <a:pt x="409" y="566"/>
                    </a:lnTo>
                    <a:lnTo>
                      <a:pt x="411" y="566"/>
                    </a:lnTo>
                    <a:lnTo>
                      <a:pt x="413" y="566"/>
                    </a:lnTo>
                    <a:lnTo>
                      <a:pt x="411" y="566"/>
                    </a:lnTo>
                    <a:lnTo>
                      <a:pt x="413" y="566"/>
                    </a:lnTo>
                    <a:lnTo>
                      <a:pt x="411" y="566"/>
                    </a:lnTo>
                    <a:lnTo>
                      <a:pt x="413" y="566"/>
                    </a:lnTo>
                    <a:lnTo>
                      <a:pt x="411" y="566"/>
                    </a:lnTo>
                    <a:lnTo>
                      <a:pt x="413" y="564"/>
                    </a:lnTo>
                    <a:lnTo>
                      <a:pt x="413" y="566"/>
                    </a:lnTo>
                    <a:lnTo>
                      <a:pt x="411" y="566"/>
                    </a:lnTo>
                    <a:lnTo>
                      <a:pt x="413" y="566"/>
                    </a:lnTo>
                    <a:lnTo>
                      <a:pt x="415" y="566"/>
                    </a:lnTo>
                    <a:lnTo>
                      <a:pt x="415" y="568"/>
                    </a:lnTo>
                    <a:lnTo>
                      <a:pt x="413" y="568"/>
                    </a:lnTo>
                    <a:lnTo>
                      <a:pt x="415" y="568"/>
                    </a:lnTo>
                    <a:lnTo>
                      <a:pt x="415" y="566"/>
                    </a:lnTo>
                    <a:lnTo>
                      <a:pt x="415" y="568"/>
                    </a:lnTo>
                    <a:lnTo>
                      <a:pt x="417" y="568"/>
                    </a:lnTo>
                    <a:lnTo>
                      <a:pt x="417" y="566"/>
                    </a:lnTo>
                    <a:lnTo>
                      <a:pt x="417" y="568"/>
                    </a:lnTo>
                    <a:lnTo>
                      <a:pt x="419" y="568"/>
                    </a:lnTo>
                    <a:lnTo>
                      <a:pt x="417" y="569"/>
                    </a:lnTo>
                    <a:lnTo>
                      <a:pt x="419" y="569"/>
                    </a:lnTo>
                    <a:lnTo>
                      <a:pt x="420" y="569"/>
                    </a:lnTo>
                    <a:lnTo>
                      <a:pt x="419" y="569"/>
                    </a:lnTo>
                    <a:lnTo>
                      <a:pt x="419" y="571"/>
                    </a:lnTo>
                    <a:lnTo>
                      <a:pt x="419" y="569"/>
                    </a:lnTo>
                    <a:lnTo>
                      <a:pt x="420" y="569"/>
                    </a:lnTo>
                    <a:lnTo>
                      <a:pt x="420" y="571"/>
                    </a:lnTo>
                    <a:lnTo>
                      <a:pt x="419" y="571"/>
                    </a:lnTo>
                    <a:lnTo>
                      <a:pt x="420" y="571"/>
                    </a:lnTo>
                    <a:lnTo>
                      <a:pt x="419" y="573"/>
                    </a:lnTo>
                    <a:lnTo>
                      <a:pt x="420" y="571"/>
                    </a:lnTo>
                    <a:lnTo>
                      <a:pt x="419" y="571"/>
                    </a:lnTo>
                    <a:lnTo>
                      <a:pt x="420" y="571"/>
                    </a:lnTo>
                    <a:lnTo>
                      <a:pt x="420" y="569"/>
                    </a:lnTo>
                    <a:lnTo>
                      <a:pt x="419" y="569"/>
                    </a:lnTo>
                    <a:lnTo>
                      <a:pt x="419" y="571"/>
                    </a:lnTo>
                    <a:lnTo>
                      <a:pt x="419" y="569"/>
                    </a:lnTo>
                    <a:lnTo>
                      <a:pt x="420" y="569"/>
                    </a:lnTo>
                    <a:lnTo>
                      <a:pt x="419" y="569"/>
                    </a:lnTo>
                    <a:lnTo>
                      <a:pt x="419" y="568"/>
                    </a:lnTo>
                    <a:lnTo>
                      <a:pt x="420" y="568"/>
                    </a:lnTo>
                    <a:lnTo>
                      <a:pt x="420" y="569"/>
                    </a:lnTo>
                    <a:lnTo>
                      <a:pt x="422" y="569"/>
                    </a:lnTo>
                    <a:lnTo>
                      <a:pt x="424" y="569"/>
                    </a:lnTo>
                    <a:lnTo>
                      <a:pt x="422" y="568"/>
                    </a:lnTo>
                    <a:lnTo>
                      <a:pt x="424" y="568"/>
                    </a:lnTo>
                    <a:lnTo>
                      <a:pt x="424" y="569"/>
                    </a:lnTo>
                    <a:lnTo>
                      <a:pt x="424" y="571"/>
                    </a:lnTo>
                    <a:lnTo>
                      <a:pt x="424" y="573"/>
                    </a:lnTo>
                    <a:lnTo>
                      <a:pt x="422" y="575"/>
                    </a:lnTo>
                    <a:lnTo>
                      <a:pt x="424" y="577"/>
                    </a:lnTo>
                    <a:lnTo>
                      <a:pt x="424" y="579"/>
                    </a:lnTo>
                    <a:lnTo>
                      <a:pt x="424" y="581"/>
                    </a:lnTo>
                    <a:lnTo>
                      <a:pt x="426" y="581"/>
                    </a:lnTo>
                    <a:lnTo>
                      <a:pt x="426" y="583"/>
                    </a:lnTo>
                    <a:lnTo>
                      <a:pt x="424" y="583"/>
                    </a:lnTo>
                    <a:lnTo>
                      <a:pt x="426" y="585"/>
                    </a:lnTo>
                    <a:lnTo>
                      <a:pt x="426" y="587"/>
                    </a:lnTo>
                    <a:lnTo>
                      <a:pt x="424" y="587"/>
                    </a:lnTo>
                    <a:lnTo>
                      <a:pt x="424" y="589"/>
                    </a:lnTo>
                    <a:lnTo>
                      <a:pt x="426" y="589"/>
                    </a:lnTo>
                    <a:lnTo>
                      <a:pt x="426" y="587"/>
                    </a:lnTo>
                    <a:lnTo>
                      <a:pt x="426" y="589"/>
                    </a:lnTo>
                    <a:lnTo>
                      <a:pt x="426" y="591"/>
                    </a:lnTo>
                    <a:lnTo>
                      <a:pt x="428" y="593"/>
                    </a:lnTo>
                    <a:lnTo>
                      <a:pt x="426" y="593"/>
                    </a:lnTo>
                    <a:lnTo>
                      <a:pt x="428" y="593"/>
                    </a:lnTo>
                    <a:lnTo>
                      <a:pt x="428" y="594"/>
                    </a:lnTo>
                    <a:lnTo>
                      <a:pt x="426" y="593"/>
                    </a:lnTo>
                    <a:lnTo>
                      <a:pt x="426" y="594"/>
                    </a:lnTo>
                    <a:lnTo>
                      <a:pt x="428" y="594"/>
                    </a:lnTo>
                    <a:lnTo>
                      <a:pt x="428" y="593"/>
                    </a:lnTo>
                    <a:lnTo>
                      <a:pt x="428" y="594"/>
                    </a:lnTo>
                    <a:lnTo>
                      <a:pt x="428" y="593"/>
                    </a:lnTo>
                    <a:lnTo>
                      <a:pt x="430" y="593"/>
                    </a:lnTo>
                    <a:lnTo>
                      <a:pt x="430" y="594"/>
                    </a:lnTo>
                    <a:lnTo>
                      <a:pt x="432" y="594"/>
                    </a:lnTo>
                    <a:lnTo>
                      <a:pt x="430" y="596"/>
                    </a:lnTo>
                    <a:lnTo>
                      <a:pt x="432" y="598"/>
                    </a:lnTo>
                    <a:lnTo>
                      <a:pt x="432" y="600"/>
                    </a:lnTo>
                    <a:lnTo>
                      <a:pt x="432" y="598"/>
                    </a:lnTo>
                    <a:lnTo>
                      <a:pt x="430" y="598"/>
                    </a:lnTo>
                    <a:lnTo>
                      <a:pt x="432" y="598"/>
                    </a:lnTo>
                    <a:lnTo>
                      <a:pt x="432" y="600"/>
                    </a:lnTo>
                    <a:lnTo>
                      <a:pt x="434" y="600"/>
                    </a:lnTo>
                    <a:lnTo>
                      <a:pt x="436" y="602"/>
                    </a:lnTo>
                    <a:lnTo>
                      <a:pt x="436" y="604"/>
                    </a:lnTo>
                    <a:lnTo>
                      <a:pt x="438" y="604"/>
                    </a:lnTo>
                    <a:lnTo>
                      <a:pt x="438" y="606"/>
                    </a:lnTo>
                    <a:lnTo>
                      <a:pt x="436" y="608"/>
                    </a:lnTo>
                    <a:lnTo>
                      <a:pt x="436" y="606"/>
                    </a:lnTo>
                    <a:lnTo>
                      <a:pt x="436" y="608"/>
                    </a:lnTo>
                    <a:lnTo>
                      <a:pt x="438" y="606"/>
                    </a:lnTo>
                    <a:lnTo>
                      <a:pt x="438" y="604"/>
                    </a:lnTo>
                    <a:lnTo>
                      <a:pt x="438" y="606"/>
                    </a:lnTo>
                    <a:lnTo>
                      <a:pt x="440" y="606"/>
                    </a:lnTo>
                    <a:lnTo>
                      <a:pt x="440" y="608"/>
                    </a:lnTo>
                    <a:lnTo>
                      <a:pt x="442" y="610"/>
                    </a:lnTo>
                    <a:lnTo>
                      <a:pt x="442" y="612"/>
                    </a:lnTo>
                    <a:lnTo>
                      <a:pt x="442" y="614"/>
                    </a:lnTo>
                    <a:lnTo>
                      <a:pt x="443" y="614"/>
                    </a:lnTo>
                    <a:lnTo>
                      <a:pt x="443" y="616"/>
                    </a:lnTo>
                    <a:lnTo>
                      <a:pt x="443" y="618"/>
                    </a:lnTo>
                    <a:lnTo>
                      <a:pt x="445" y="618"/>
                    </a:lnTo>
                    <a:lnTo>
                      <a:pt x="447" y="618"/>
                    </a:lnTo>
                    <a:lnTo>
                      <a:pt x="447" y="619"/>
                    </a:lnTo>
                    <a:lnTo>
                      <a:pt x="447" y="621"/>
                    </a:lnTo>
                    <a:lnTo>
                      <a:pt x="447" y="623"/>
                    </a:lnTo>
                    <a:lnTo>
                      <a:pt x="447" y="625"/>
                    </a:lnTo>
                    <a:lnTo>
                      <a:pt x="449" y="627"/>
                    </a:lnTo>
                    <a:lnTo>
                      <a:pt x="451" y="629"/>
                    </a:lnTo>
                    <a:lnTo>
                      <a:pt x="451" y="631"/>
                    </a:lnTo>
                    <a:lnTo>
                      <a:pt x="449" y="631"/>
                    </a:lnTo>
                    <a:lnTo>
                      <a:pt x="451" y="631"/>
                    </a:lnTo>
                    <a:lnTo>
                      <a:pt x="449" y="631"/>
                    </a:lnTo>
                    <a:lnTo>
                      <a:pt x="451" y="631"/>
                    </a:lnTo>
                    <a:lnTo>
                      <a:pt x="449" y="631"/>
                    </a:lnTo>
                    <a:lnTo>
                      <a:pt x="451" y="631"/>
                    </a:lnTo>
                    <a:lnTo>
                      <a:pt x="449" y="631"/>
                    </a:lnTo>
                    <a:lnTo>
                      <a:pt x="451" y="631"/>
                    </a:lnTo>
                    <a:lnTo>
                      <a:pt x="449" y="631"/>
                    </a:lnTo>
                    <a:lnTo>
                      <a:pt x="451" y="631"/>
                    </a:lnTo>
                    <a:lnTo>
                      <a:pt x="451" y="633"/>
                    </a:lnTo>
                    <a:lnTo>
                      <a:pt x="453" y="633"/>
                    </a:lnTo>
                    <a:lnTo>
                      <a:pt x="453" y="635"/>
                    </a:lnTo>
                    <a:lnTo>
                      <a:pt x="455" y="635"/>
                    </a:lnTo>
                    <a:lnTo>
                      <a:pt x="455" y="637"/>
                    </a:lnTo>
                    <a:lnTo>
                      <a:pt x="455" y="639"/>
                    </a:lnTo>
                    <a:lnTo>
                      <a:pt x="457" y="639"/>
                    </a:lnTo>
                    <a:lnTo>
                      <a:pt x="457" y="641"/>
                    </a:lnTo>
                    <a:lnTo>
                      <a:pt x="457" y="643"/>
                    </a:lnTo>
                    <a:lnTo>
                      <a:pt x="457" y="644"/>
                    </a:lnTo>
                    <a:lnTo>
                      <a:pt x="459" y="646"/>
                    </a:lnTo>
                    <a:lnTo>
                      <a:pt x="459" y="648"/>
                    </a:lnTo>
                    <a:lnTo>
                      <a:pt x="459" y="650"/>
                    </a:lnTo>
                    <a:lnTo>
                      <a:pt x="459" y="652"/>
                    </a:lnTo>
                    <a:lnTo>
                      <a:pt x="461" y="652"/>
                    </a:lnTo>
                    <a:lnTo>
                      <a:pt x="461" y="654"/>
                    </a:lnTo>
                    <a:lnTo>
                      <a:pt x="463" y="654"/>
                    </a:lnTo>
                    <a:lnTo>
                      <a:pt x="461" y="654"/>
                    </a:lnTo>
                    <a:lnTo>
                      <a:pt x="459" y="652"/>
                    </a:lnTo>
                    <a:lnTo>
                      <a:pt x="459" y="650"/>
                    </a:lnTo>
                    <a:lnTo>
                      <a:pt x="459" y="648"/>
                    </a:lnTo>
                    <a:lnTo>
                      <a:pt x="459" y="646"/>
                    </a:lnTo>
                    <a:lnTo>
                      <a:pt x="457" y="644"/>
                    </a:lnTo>
                    <a:lnTo>
                      <a:pt x="459" y="644"/>
                    </a:lnTo>
                    <a:lnTo>
                      <a:pt x="461" y="646"/>
                    </a:lnTo>
                    <a:lnTo>
                      <a:pt x="459" y="646"/>
                    </a:lnTo>
                    <a:lnTo>
                      <a:pt x="459" y="648"/>
                    </a:lnTo>
                    <a:lnTo>
                      <a:pt x="461" y="648"/>
                    </a:lnTo>
                    <a:lnTo>
                      <a:pt x="463" y="648"/>
                    </a:lnTo>
                    <a:lnTo>
                      <a:pt x="463" y="650"/>
                    </a:lnTo>
                    <a:lnTo>
                      <a:pt x="465" y="650"/>
                    </a:lnTo>
                    <a:lnTo>
                      <a:pt x="465" y="652"/>
                    </a:lnTo>
                    <a:lnTo>
                      <a:pt x="463" y="650"/>
                    </a:lnTo>
                    <a:lnTo>
                      <a:pt x="463" y="652"/>
                    </a:lnTo>
                    <a:lnTo>
                      <a:pt x="465" y="652"/>
                    </a:lnTo>
                    <a:lnTo>
                      <a:pt x="465" y="654"/>
                    </a:lnTo>
                    <a:lnTo>
                      <a:pt x="467" y="654"/>
                    </a:lnTo>
                    <a:lnTo>
                      <a:pt x="467" y="656"/>
                    </a:lnTo>
                    <a:lnTo>
                      <a:pt x="465" y="654"/>
                    </a:lnTo>
                    <a:lnTo>
                      <a:pt x="467" y="656"/>
                    </a:lnTo>
                    <a:lnTo>
                      <a:pt x="467" y="658"/>
                    </a:lnTo>
                    <a:lnTo>
                      <a:pt x="468" y="658"/>
                    </a:lnTo>
                    <a:lnTo>
                      <a:pt x="468" y="660"/>
                    </a:lnTo>
                    <a:lnTo>
                      <a:pt x="468" y="662"/>
                    </a:lnTo>
                    <a:lnTo>
                      <a:pt x="470" y="664"/>
                    </a:lnTo>
                    <a:lnTo>
                      <a:pt x="470" y="666"/>
                    </a:lnTo>
                    <a:lnTo>
                      <a:pt x="470" y="668"/>
                    </a:lnTo>
                    <a:lnTo>
                      <a:pt x="470" y="669"/>
                    </a:lnTo>
                    <a:lnTo>
                      <a:pt x="468" y="669"/>
                    </a:lnTo>
                    <a:lnTo>
                      <a:pt x="470" y="669"/>
                    </a:lnTo>
                    <a:lnTo>
                      <a:pt x="468" y="669"/>
                    </a:lnTo>
                    <a:lnTo>
                      <a:pt x="470" y="669"/>
                    </a:lnTo>
                    <a:lnTo>
                      <a:pt x="468" y="669"/>
                    </a:lnTo>
                    <a:lnTo>
                      <a:pt x="470" y="669"/>
                    </a:lnTo>
                    <a:lnTo>
                      <a:pt x="468" y="669"/>
                    </a:lnTo>
                    <a:lnTo>
                      <a:pt x="470" y="669"/>
                    </a:lnTo>
                    <a:lnTo>
                      <a:pt x="470" y="668"/>
                    </a:lnTo>
                    <a:lnTo>
                      <a:pt x="470" y="666"/>
                    </a:lnTo>
                    <a:lnTo>
                      <a:pt x="472" y="666"/>
                    </a:lnTo>
                    <a:lnTo>
                      <a:pt x="472" y="668"/>
                    </a:lnTo>
                    <a:lnTo>
                      <a:pt x="472" y="669"/>
                    </a:lnTo>
                    <a:lnTo>
                      <a:pt x="472" y="671"/>
                    </a:lnTo>
                    <a:lnTo>
                      <a:pt x="470" y="671"/>
                    </a:lnTo>
                    <a:lnTo>
                      <a:pt x="470" y="673"/>
                    </a:lnTo>
                    <a:lnTo>
                      <a:pt x="472" y="675"/>
                    </a:lnTo>
                    <a:lnTo>
                      <a:pt x="472" y="677"/>
                    </a:lnTo>
                    <a:lnTo>
                      <a:pt x="472" y="675"/>
                    </a:lnTo>
                    <a:lnTo>
                      <a:pt x="470" y="673"/>
                    </a:lnTo>
                    <a:lnTo>
                      <a:pt x="472" y="673"/>
                    </a:lnTo>
                    <a:lnTo>
                      <a:pt x="470" y="673"/>
                    </a:lnTo>
                    <a:lnTo>
                      <a:pt x="472" y="671"/>
                    </a:lnTo>
                    <a:lnTo>
                      <a:pt x="472" y="673"/>
                    </a:lnTo>
                    <a:lnTo>
                      <a:pt x="472" y="671"/>
                    </a:lnTo>
                    <a:lnTo>
                      <a:pt x="472" y="669"/>
                    </a:lnTo>
                    <a:lnTo>
                      <a:pt x="472" y="668"/>
                    </a:lnTo>
                    <a:lnTo>
                      <a:pt x="474" y="668"/>
                    </a:lnTo>
                    <a:lnTo>
                      <a:pt x="474" y="669"/>
                    </a:lnTo>
                    <a:lnTo>
                      <a:pt x="476" y="669"/>
                    </a:lnTo>
                    <a:lnTo>
                      <a:pt x="476" y="671"/>
                    </a:lnTo>
                    <a:lnTo>
                      <a:pt x="476" y="673"/>
                    </a:lnTo>
                    <a:lnTo>
                      <a:pt x="478" y="675"/>
                    </a:lnTo>
                    <a:lnTo>
                      <a:pt x="478" y="677"/>
                    </a:lnTo>
                    <a:lnTo>
                      <a:pt x="480" y="677"/>
                    </a:lnTo>
                    <a:lnTo>
                      <a:pt x="480" y="679"/>
                    </a:lnTo>
                    <a:lnTo>
                      <a:pt x="482" y="679"/>
                    </a:lnTo>
                    <a:lnTo>
                      <a:pt x="480" y="679"/>
                    </a:lnTo>
                    <a:lnTo>
                      <a:pt x="482" y="681"/>
                    </a:lnTo>
                    <a:lnTo>
                      <a:pt x="482" y="683"/>
                    </a:lnTo>
                    <a:lnTo>
                      <a:pt x="484" y="683"/>
                    </a:lnTo>
                    <a:lnTo>
                      <a:pt x="482" y="683"/>
                    </a:lnTo>
                    <a:lnTo>
                      <a:pt x="482" y="681"/>
                    </a:lnTo>
                    <a:lnTo>
                      <a:pt x="482" y="679"/>
                    </a:lnTo>
                    <a:lnTo>
                      <a:pt x="482" y="677"/>
                    </a:lnTo>
                    <a:lnTo>
                      <a:pt x="484" y="677"/>
                    </a:lnTo>
                    <a:lnTo>
                      <a:pt x="484" y="679"/>
                    </a:lnTo>
                    <a:lnTo>
                      <a:pt x="486" y="681"/>
                    </a:lnTo>
                    <a:lnTo>
                      <a:pt x="488" y="681"/>
                    </a:lnTo>
                    <a:lnTo>
                      <a:pt x="488" y="683"/>
                    </a:lnTo>
                    <a:lnTo>
                      <a:pt x="488" y="685"/>
                    </a:lnTo>
                    <a:lnTo>
                      <a:pt x="488" y="687"/>
                    </a:lnTo>
                    <a:lnTo>
                      <a:pt x="490" y="687"/>
                    </a:lnTo>
                    <a:lnTo>
                      <a:pt x="490" y="689"/>
                    </a:lnTo>
                    <a:lnTo>
                      <a:pt x="490" y="691"/>
                    </a:lnTo>
                    <a:lnTo>
                      <a:pt x="492" y="693"/>
                    </a:lnTo>
                    <a:lnTo>
                      <a:pt x="492" y="694"/>
                    </a:lnTo>
                    <a:lnTo>
                      <a:pt x="492" y="696"/>
                    </a:lnTo>
                    <a:lnTo>
                      <a:pt x="492" y="698"/>
                    </a:lnTo>
                    <a:lnTo>
                      <a:pt x="492" y="700"/>
                    </a:lnTo>
                    <a:lnTo>
                      <a:pt x="492" y="702"/>
                    </a:lnTo>
                    <a:lnTo>
                      <a:pt x="493" y="704"/>
                    </a:lnTo>
                    <a:lnTo>
                      <a:pt x="493" y="706"/>
                    </a:lnTo>
                    <a:lnTo>
                      <a:pt x="493" y="708"/>
                    </a:lnTo>
                    <a:lnTo>
                      <a:pt x="495" y="708"/>
                    </a:lnTo>
                    <a:lnTo>
                      <a:pt x="495" y="710"/>
                    </a:lnTo>
                    <a:lnTo>
                      <a:pt x="495" y="712"/>
                    </a:lnTo>
                    <a:lnTo>
                      <a:pt x="495" y="714"/>
                    </a:lnTo>
                    <a:lnTo>
                      <a:pt x="495" y="716"/>
                    </a:lnTo>
                    <a:lnTo>
                      <a:pt x="497" y="714"/>
                    </a:lnTo>
                    <a:lnTo>
                      <a:pt x="499" y="714"/>
                    </a:lnTo>
                    <a:lnTo>
                      <a:pt x="499" y="716"/>
                    </a:lnTo>
                    <a:lnTo>
                      <a:pt x="501" y="718"/>
                    </a:lnTo>
                    <a:lnTo>
                      <a:pt x="501" y="716"/>
                    </a:lnTo>
                    <a:lnTo>
                      <a:pt x="501" y="718"/>
                    </a:lnTo>
                    <a:lnTo>
                      <a:pt x="501" y="719"/>
                    </a:lnTo>
                    <a:lnTo>
                      <a:pt x="503" y="719"/>
                    </a:lnTo>
                    <a:lnTo>
                      <a:pt x="503" y="721"/>
                    </a:lnTo>
                    <a:lnTo>
                      <a:pt x="505" y="721"/>
                    </a:lnTo>
                    <a:lnTo>
                      <a:pt x="503" y="721"/>
                    </a:lnTo>
                    <a:lnTo>
                      <a:pt x="503" y="719"/>
                    </a:lnTo>
                    <a:lnTo>
                      <a:pt x="505" y="721"/>
                    </a:lnTo>
                    <a:lnTo>
                      <a:pt x="505" y="723"/>
                    </a:lnTo>
                    <a:lnTo>
                      <a:pt x="507" y="723"/>
                    </a:lnTo>
                    <a:lnTo>
                      <a:pt x="507" y="725"/>
                    </a:lnTo>
                    <a:lnTo>
                      <a:pt x="509" y="725"/>
                    </a:lnTo>
                    <a:lnTo>
                      <a:pt x="511" y="725"/>
                    </a:lnTo>
                    <a:lnTo>
                      <a:pt x="511" y="727"/>
                    </a:lnTo>
                    <a:lnTo>
                      <a:pt x="511" y="729"/>
                    </a:lnTo>
                    <a:lnTo>
                      <a:pt x="511" y="727"/>
                    </a:lnTo>
                    <a:lnTo>
                      <a:pt x="511" y="729"/>
                    </a:lnTo>
                    <a:lnTo>
                      <a:pt x="513" y="729"/>
                    </a:lnTo>
                    <a:lnTo>
                      <a:pt x="515" y="729"/>
                    </a:lnTo>
                    <a:lnTo>
                      <a:pt x="515" y="731"/>
                    </a:lnTo>
                    <a:lnTo>
                      <a:pt x="516" y="733"/>
                    </a:lnTo>
                    <a:lnTo>
                      <a:pt x="516" y="735"/>
                    </a:lnTo>
                    <a:lnTo>
                      <a:pt x="516" y="737"/>
                    </a:lnTo>
                    <a:lnTo>
                      <a:pt x="516" y="735"/>
                    </a:lnTo>
                    <a:lnTo>
                      <a:pt x="518" y="735"/>
                    </a:lnTo>
                    <a:lnTo>
                      <a:pt x="518" y="737"/>
                    </a:lnTo>
                    <a:lnTo>
                      <a:pt x="520" y="737"/>
                    </a:lnTo>
                    <a:lnTo>
                      <a:pt x="518" y="737"/>
                    </a:lnTo>
                    <a:lnTo>
                      <a:pt x="520" y="737"/>
                    </a:lnTo>
                    <a:lnTo>
                      <a:pt x="522" y="735"/>
                    </a:lnTo>
                    <a:lnTo>
                      <a:pt x="520" y="735"/>
                    </a:lnTo>
                    <a:lnTo>
                      <a:pt x="522" y="735"/>
                    </a:lnTo>
                    <a:lnTo>
                      <a:pt x="524" y="737"/>
                    </a:lnTo>
                    <a:lnTo>
                      <a:pt x="524" y="739"/>
                    </a:lnTo>
                    <a:lnTo>
                      <a:pt x="522" y="739"/>
                    </a:lnTo>
                    <a:lnTo>
                      <a:pt x="522" y="741"/>
                    </a:lnTo>
                    <a:lnTo>
                      <a:pt x="524" y="741"/>
                    </a:lnTo>
                    <a:lnTo>
                      <a:pt x="524" y="742"/>
                    </a:lnTo>
                    <a:lnTo>
                      <a:pt x="526" y="742"/>
                    </a:lnTo>
                    <a:lnTo>
                      <a:pt x="526" y="744"/>
                    </a:lnTo>
                    <a:lnTo>
                      <a:pt x="526" y="742"/>
                    </a:lnTo>
                    <a:lnTo>
                      <a:pt x="524" y="742"/>
                    </a:lnTo>
                    <a:lnTo>
                      <a:pt x="524" y="741"/>
                    </a:lnTo>
                    <a:lnTo>
                      <a:pt x="522" y="741"/>
                    </a:lnTo>
                    <a:lnTo>
                      <a:pt x="522" y="739"/>
                    </a:lnTo>
                    <a:lnTo>
                      <a:pt x="524" y="739"/>
                    </a:lnTo>
                    <a:lnTo>
                      <a:pt x="524" y="737"/>
                    </a:lnTo>
                    <a:lnTo>
                      <a:pt x="526" y="739"/>
                    </a:lnTo>
                    <a:lnTo>
                      <a:pt x="528" y="741"/>
                    </a:lnTo>
                    <a:lnTo>
                      <a:pt x="528" y="742"/>
                    </a:lnTo>
                    <a:lnTo>
                      <a:pt x="528" y="744"/>
                    </a:lnTo>
                    <a:lnTo>
                      <a:pt x="530" y="744"/>
                    </a:lnTo>
                    <a:lnTo>
                      <a:pt x="532" y="744"/>
                    </a:lnTo>
                    <a:lnTo>
                      <a:pt x="532" y="746"/>
                    </a:lnTo>
                    <a:lnTo>
                      <a:pt x="534" y="746"/>
                    </a:lnTo>
                    <a:lnTo>
                      <a:pt x="534" y="748"/>
                    </a:lnTo>
                    <a:lnTo>
                      <a:pt x="536" y="748"/>
                    </a:lnTo>
                    <a:lnTo>
                      <a:pt x="538" y="748"/>
                    </a:lnTo>
                    <a:lnTo>
                      <a:pt x="538" y="750"/>
                    </a:lnTo>
                    <a:lnTo>
                      <a:pt x="538" y="748"/>
                    </a:lnTo>
                    <a:lnTo>
                      <a:pt x="540" y="748"/>
                    </a:lnTo>
                    <a:lnTo>
                      <a:pt x="538" y="748"/>
                    </a:lnTo>
                    <a:lnTo>
                      <a:pt x="540" y="748"/>
                    </a:lnTo>
                    <a:lnTo>
                      <a:pt x="540" y="750"/>
                    </a:lnTo>
                    <a:lnTo>
                      <a:pt x="538" y="750"/>
                    </a:lnTo>
                    <a:lnTo>
                      <a:pt x="540" y="750"/>
                    </a:lnTo>
                    <a:lnTo>
                      <a:pt x="540" y="748"/>
                    </a:lnTo>
                    <a:lnTo>
                      <a:pt x="541" y="750"/>
                    </a:lnTo>
                    <a:lnTo>
                      <a:pt x="543" y="750"/>
                    </a:lnTo>
                    <a:lnTo>
                      <a:pt x="543" y="752"/>
                    </a:lnTo>
                    <a:lnTo>
                      <a:pt x="543" y="750"/>
                    </a:lnTo>
                    <a:lnTo>
                      <a:pt x="541" y="750"/>
                    </a:lnTo>
                    <a:lnTo>
                      <a:pt x="543" y="750"/>
                    </a:lnTo>
                    <a:lnTo>
                      <a:pt x="543" y="752"/>
                    </a:lnTo>
                    <a:lnTo>
                      <a:pt x="545" y="752"/>
                    </a:lnTo>
                    <a:lnTo>
                      <a:pt x="545" y="754"/>
                    </a:lnTo>
                    <a:lnTo>
                      <a:pt x="547" y="752"/>
                    </a:lnTo>
                    <a:lnTo>
                      <a:pt x="547" y="754"/>
                    </a:lnTo>
                    <a:lnTo>
                      <a:pt x="547" y="752"/>
                    </a:lnTo>
                    <a:lnTo>
                      <a:pt x="545" y="752"/>
                    </a:lnTo>
                    <a:lnTo>
                      <a:pt x="543" y="752"/>
                    </a:lnTo>
                    <a:lnTo>
                      <a:pt x="543" y="750"/>
                    </a:lnTo>
                    <a:lnTo>
                      <a:pt x="545" y="750"/>
                    </a:lnTo>
                    <a:lnTo>
                      <a:pt x="543" y="750"/>
                    </a:lnTo>
                    <a:lnTo>
                      <a:pt x="541" y="750"/>
                    </a:lnTo>
                    <a:lnTo>
                      <a:pt x="540" y="750"/>
                    </a:lnTo>
                    <a:lnTo>
                      <a:pt x="541" y="748"/>
                    </a:lnTo>
                    <a:lnTo>
                      <a:pt x="540" y="748"/>
                    </a:lnTo>
                    <a:lnTo>
                      <a:pt x="541" y="748"/>
                    </a:lnTo>
                    <a:lnTo>
                      <a:pt x="541" y="746"/>
                    </a:lnTo>
                    <a:lnTo>
                      <a:pt x="543" y="746"/>
                    </a:lnTo>
                    <a:lnTo>
                      <a:pt x="545" y="746"/>
                    </a:lnTo>
                    <a:lnTo>
                      <a:pt x="543" y="746"/>
                    </a:lnTo>
                    <a:lnTo>
                      <a:pt x="545" y="746"/>
                    </a:lnTo>
                    <a:lnTo>
                      <a:pt x="545" y="744"/>
                    </a:lnTo>
                    <a:lnTo>
                      <a:pt x="547" y="744"/>
                    </a:lnTo>
                    <a:lnTo>
                      <a:pt x="547" y="746"/>
                    </a:lnTo>
                    <a:lnTo>
                      <a:pt x="549" y="746"/>
                    </a:lnTo>
                    <a:lnTo>
                      <a:pt x="551" y="746"/>
                    </a:lnTo>
                    <a:lnTo>
                      <a:pt x="551" y="748"/>
                    </a:lnTo>
                    <a:lnTo>
                      <a:pt x="551" y="746"/>
                    </a:lnTo>
                    <a:lnTo>
                      <a:pt x="553" y="746"/>
                    </a:lnTo>
                    <a:lnTo>
                      <a:pt x="553" y="748"/>
                    </a:lnTo>
                    <a:lnTo>
                      <a:pt x="555" y="750"/>
                    </a:lnTo>
                    <a:lnTo>
                      <a:pt x="557" y="750"/>
                    </a:lnTo>
                    <a:lnTo>
                      <a:pt x="555" y="750"/>
                    </a:lnTo>
                    <a:lnTo>
                      <a:pt x="557" y="750"/>
                    </a:lnTo>
                    <a:lnTo>
                      <a:pt x="559" y="750"/>
                    </a:lnTo>
                    <a:lnTo>
                      <a:pt x="561" y="752"/>
                    </a:lnTo>
                    <a:lnTo>
                      <a:pt x="563" y="752"/>
                    </a:lnTo>
                    <a:lnTo>
                      <a:pt x="565" y="752"/>
                    </a:lnTo>
                    <a:lnTo>
                      <a:pt x="565" y="750"/>
                    </a:lnTo>
                    <a:lnTo>
                      <a:pt x="566" y="750"/>
                    </a:lnTo>
                    <a:lnTo>
                      <a:pt x="565" y="750"/>
                    </a:lnTo>
                    <a:lnTo>
                      <a:pt x="566" y="750"/>
                    </a:lnTo>
                    <a:lnTo>
                      <a:pt x="568" y="748"/>
                    </a:lnTo>
                    <a:lnTo>
                      <a:pt x="570" y="750"/>
                    </a:lnTo>
                    <a:lnTo>
                      <a:pt x="572" y="750"/>
                    </a:lnTo>
                    <a:lnTo>
                      <a:pt x="572" y="752"/>
                    </a:lnTo>
                    <a:lnTo>
                      <a:pt x="572" y="754"/>
                    </a:lnTo>
                    <a:lnTo>
                      <a:pt x="574" y="756"/>
                    </a:lnTo>
                    <a:lnTo>
                      <a:pt x="574" y="758"/>
                    </a:lnTo>
                    <a:lnTo>
                      <a:pt x="574" y="760"/>
                    </a:lnTo>
                    <a:lnTo>
                      <a:pt x="574" y="762"/>
                    </a:lnTo>
                    <a:lnTo>
                      <a:pt x="576" y="762"/>
                    </a:lnTo>
                    <a:lnTo>
                      <a:pt x="574" y="762"/>
                    </a:lnTo>
                    <a:lnTo>
                      <a:pt x="574" y="764"/>
                    </a:lnTo>
                    <a:lnTo>
                      <a:pt x="574" y="762"/>
                    </a:lnTo>
                    <a:lnTo>
                      <a:pt x="574" y="764"/>
                    </a:lnTo>
                    <a:lnTo>
                      <a:pt x="574" y="766"/>
                    </a:lnTo>
                    <a:lnTo>
                      <a:pt x="574" y="767"/>
                    </a:lnTo>
                    <a:lnTo>
                      <a:pt x="572" y="767"/>
                    </a:lnTo>
                    <a:lnTo>
                      <a:pt x="572" y="769"/>
                    </a:lnTo>
                    <a:lnTo>
                      <a:pt x="572" y="771"/>
                    </a:lnTo>
                    <a:lnTo>
                      <a:pt x="570" y="771"/>
                    </a:lnTo>
                    <a:lnTo>
                      <a:pt x="572" y="771"/>
                    </a:lnTo>
                    <a:lnTo>
                      <a:pt x="570" y="771"/>
                    </a:lnTo>
                    <a:lnTo>
                      <a:pt x="570" y="773"/>
                    </a:lnTo>
                    <a:lnTo>
                      <a:pt x="570" y="775"/>
                    </a:lnTo>
                    <a:lnTo>
                      <a:pt x="570" y="773"/>
                    </a:lnTo>
                    <a:lnTo>
                      <a:pt x="570" y="775"/>
                    </a:lnTo>
                    <a:lnTo>
                      <a:pt x="570" y="777"/>
                    </a:lnTo>
                    <a:lnTo>
                      <a:pt x="568" y="777"/>
                    </a:lnTo>
                    <a:lnTo>
                      <a:pt x="568" y="779"/>
                    </a:lnTo>
                    <a:lnTo>
                      <a:pt x="568" y="781"/>
                    </a:lnTo>
                    <a:lnTo>
                      <a:pt x="566" y="781"/>
                    </a:lnTo>
                    <a:lnTo>
                      <a:pt x="566" y="783"/>
                    </a:lnTo>
                    <a:lnTo>
                      <a:pt x="565" y="783"/>
                    </a:lnTo>
                    <a:lnTo>
                      <a:pt x="563" y="785"/>
                    </a:lnTo>
                    <a:lnTo>
                      <a:pt x="561" y="785"/>
                    </a:lnTo>
                    <a:lnTo>
                      <a:pt x="561" y="787"/>
                    </a:lnTo>
                    <a:lnTo>
                      <a:pt x="559" y="787"/>
                    </a:lnTo>
                    <a:lnTo>
                      <a:pt x="557" y="787"/>
                    </a:lnTo>
                    <a:lnTo>
                      <a:pt x="555" y="787"/>
                    </a:lnTo>
                    <a:lnTo>
                      <a:pt x="555" y="789"/>
                    </a:lnTo>
                    <a:lnTo>
                      <a:pt x="555" y="791"/>
                    </a:lnTo>
                    <a:lnTo>
                      <a:pt x="553" y="791"/>
                    </a:lnTo>
                    <a:lnTo>
                      <a:pt x="551" y="791"/>
                    </a:lnTo>
                    <a:lnTo>
                      <a:pt x="549" y="791"/>
                    </a:lnTo>
                    <a:lnTo>
                      <a:pt x="549" y="792"/>
                    </a:lnTo>
                    <a:lnTo>
                      <a:pt x="547" y="791"/>
                    </a:lnTo>
                    <a:lnTo>
                      <a:pt x="545" y="791"/>
                    </a:lnTo>
                    <a:lnTo>
                      <a:pt x="543" y="791"/>
                    </a:lnTo>
                    <a:lnTo>
                      <a:pt x="543" y="789"/>
                    </a:lnTo>
                    <a:lnTo>
                      <a:pt x="541" y="791"/>
                    </a:lnTo>
                    <a:lnTo>
                      <a:pt x="540" y="791"/>
                    </a:lnTo>
                    <a:lnTo>
                      <a:pt x="540" y="789"/>
                    </a:lnTo>
                    <a:lnTo>
                      <a:pt x="538" y="789"/>
                    </a:lnTo>
                    <a:lnTo>
                      <a:pt x="536" y="789"/>
                    </a:lnTo>
                    <a:lnTo>
                      <a:pt x="536" y="791"/>
                    </a:lnTo>
                    <a:lnTo>
                      <a:pt x="534" y="791"/>
                    </a:lnTo>
                    <a:lnTo>
                      <a:pt x="534" y="789"/>
                    </a:lnTo>
                    <a:lnTo>
                      <a:pt x="534" y="787"/>
                    </a:lnTo>
                    <a:lnTo>
                      <a:pt x="534" y="789"/>
                    </a:lnTo>
                    <a:lnTo>
                      <a:pt x="534" y="787"/>
                    </a:lnTo>
                    <a:lnTo>
                      <a:pt x="536" y="787"/>
                    </a:lnTo>
                    <a:lnTo>
                      <a:pt x="538" y="787"/>
                    </a:lnTo>
                    <a:lnTo>
                      <a:pt x="540" y="789"/>
                    </a:lnTo>
                    <a:lnTo>
                      <a:pt x="538" y="787"/>
                    </a:lnTo>
                    <a:lnTo>
                      <a:pt x="536" y="787"/>
                    </a:lnTo>
                    <a:lnTo>
                      <a:pt x="534" y="787"/>
                    </a:lnTo>
                    <a:lnTo>
                      <a:pt x="532" y="787"/>
                    </a:lnTo>
                    <a:lnTo>
                      <a:pt x="530" y="787"/>
                    </a:lnTo>
                    <a:lnTo>
                      <a:pt x="532" y="787"/>
                    </a:lnTo>
                    <a:lnTo>
                      <a:pt x="532" y="789"/>
                    </a:lnTo>
                    <a:lnTo>
                      <a:pt x="530" y="789"/>
                    </a:lnTo>
                    <a:lnTo>
                      <a:pt x="528" y="789"/>
                    </a:lnTo>
                    <a:lnTo>
                      <a:pt x="526" y="789"/>
                    </a:lnTo>
                    <a:lnTo>
                      <a:pt x="524" y="789"/>
                    </a:lnTo>
                    <a:lnTo>
                      <a:pt x="524" y="787"/>
                    </a:lnTo>
                    <a:lnTo>
                      <a:pt x="522" y="789"/>
                    </a:lnTo>
                    <a:lnTo>
                      <a:pt x="524" y="789"/>
                    </a:lnTo>
                    <a:lnTo>
                      <a:pt x="522" y="789"/>
                    </a:lnTo>
                    <a:lnTo>
                      <a:pt x="524" y="789"/>
                    </a:lnTo>
                    <a:lnTo>
                      <a:pt x="522" y="789"/>
                    </a:lnTo>
                    <a:lnTo>
                      <a:pt x="520" y="789"/>
                    </a:lnTo>
                    <a:lnTo>
                      <a:pt x="518" y="791"/>
                    </a:lnTo>
                    <a:lnTo>
                      <a:pt x="516" y="791"/>
                    </a:lnTo>
                    <a:lnTo>
                      <a:pt x="515" y="791"/>
                    </a:lnTo>
                    <a:lnTo>
                      <a:pt x="515" y="792"/>
                    </a:lnTo>
                    <a:lnTo>
                      <a:pt x="515" y="791"/>
                    </a:lnTo>
                    <a:lnTo>
                      <a:pt x="515" y="792"/>
                    </a:lnTo>
                    <a:lnTo>
                      <a:pt x="515" y="791"/>
                    </a:lnTo>
                    <a:lnTo>
                      <a:pt x="515" y="792"/>
                    </a:lnTo>
                    <a:lnTo>
                      <a:pt x="513" y="792"/>
                    </a:lnTo>
                    <a:lnTo>
                      <a:pt x="513" y="791"/>
                    </a:lnTo>
                    <a:lnTo>
                      <a:pt x="511" y="789"/>
                    </a:lnTo>
                    <a:lnTo>
                      <a:pt x="511" y="791"/>
                    </a:lnTo>
                    <a:lnTo>
                      <a:pt x="509" y="791"/>
                    </a:lnTo>
                    <a:lnTo>
                      <a:pt x="507" y="791"/>
                    </a:lnTo>
                    <a:lnTo>
                      <a:pt x="505" y="792"/>
                    </a:lnTo>
                    <a:lnTo>
                      <a:pt x="505" y="794"/>
                    </a:lnTo>
                    <a:lnTo>
                      <a:pt x="503" y="794"/>
                    </a:lnTo>
                    <a:lnTo>
                      <a:pt x="503" y="796"/>
                    </a:lnTo>
                    <a:lnTo>
                      <a:pt x="501" y="796"/>
                    </a:lnTo>
                    <a:lnTo>
                      <a:pt x="501" y="798"/>
                    </a:lnTo>
                    <a:lnTo>
                      <a:pt x="501" y="800"/>
                    </a:lnTo>
                    <a:lnTo>
                      <a:pt x="499" y="800"/>
                    </a:lnTo>
                    <a:lnTo>
                      <a:pt x="501" y="800"/>
                    </a:lnTo>
                    <a:lnTo>
                      <a:pt x="499" y="800"/>
                    </a:lnTo>
                    <a:lnTo>
                      <a:pt x="497" y="800"/>
                    </a:lnTo>
                    <a:lnTo>
                      <a:pt x="497" y="802"/>
                    </a:lnTo>
                    <a:lnTo>
                      <a:pt x="497" y="804"/>
                    </a:lnTo>
                    <a:lnTo>
                      <a:pt x="497" y="806"/>
                    </a:lnTo>
                    <a:lnTo>
                      <a:pt x="495" y="806"/>
                    </a:lnTo>
                    <a:lnTo>
                      <a:pt x="493" y="806"/>
                    </a:lnTo>
                    <a:lnTo>
                      <a:pt x="493" y="808"/>
                    </a:lnTo>
                    <a:lnTo>
                      <a:pt x="492" y="806"/>
                    </a:lnTo>
                    <a:lnTo>
                      <a:pt x="490" y="806"/>
                    </a:lnTo>
                    <a:lnTo>
                      <a:pt x="488" y="806"/>
                    </a:lnTo>
                    <a:lnTo>
                      <a:pt x="486" y="806"/>
                    </a:lnTo>
                    <a:lnTo>
                      <a:pt x="486" y="808"/>
                    </a:lnTo>
                    <a:lnTo>
                      <a:pt x="484" y="810"/>
                    </a:lnTo>
                    <a:lnTo>
                      <a:pt x="482" y="810"/>
                    </a:lnTo>
                    <a:lnTo>
                      <a:pt x="480" y="810"/>
                    </a:lnTo>
                    <a:lnTo>
                      <a:pt x="478" y="812"/>
                    </a:lnTo>
                    <a:lnTo>
                      <a:pt x="476" y="812"/>
                    </a:lnTo>
                    <a:lnTo>
                      <a:pt x="476" y="814"/>
                    </a:lnTo>
                    <a:lnTo>
                      <a:pt x="474" y="814"/>
                    </a:lnTo>
                    <a:lnTo>
                      <a:pt x="474" y="816"/>
                    </a:lnTo>
                    <a:lnTo>
                      <a:pt x="474" y="814"/>
                    </a:lnTo>
                    <a:lnTo>
                      <a:pt x="472" y="814"/>
                    </a:lnTo>
                    <a:lnTo>
                      <a:pt x="470" y="814"/>
                    </a:lnTo>
                    <a:lnTo>
                      <a:pt x="470" y="816"/>
                    </a:lnTo>
                    <a:lnTo>
                      <a:pt x="468" y="816"/>
                    </a:lnTo>
                    <a:lnTo>
                      <a:pt x="470" y="816"/>
                    </a:lnTo>
                    <a:lnTo>
                      <a:pt x="472" y="814"/>
                    </a:lnTo>
                    <a:lnTo>
                      <a:pt x="472" y="816"/>
                    </a:lnTo>
                    <a:lnTo>
                      <a:pt x="474" y="816"/>
                    </a:lnTo>
                    <a:lnTo>
                      <a:pt x="476" y="814"/>
                    </a:lnTo>
                    <a:lnTo>
                      <a:pt x="476" y="816"/>
                    </a:lnTo>
                    <a:lnTo>
                      <a:pt x="476" y="814"/>
                    </a:lnTo>
                    <a:lnTo>
                      <a:pt x="478" y="812"/>
                    </a:lnTo>
                    <a:lnTo>
                      <a:pt x="480" y="812"/>
                    </a:lnTo>
                    <a:lnTo>
                      <a:pt x="482" y="810"/>
                    </a:lnTo>
                    <a:lnTo>
                      <a:pt x="482" y="812"/>
                    </a:lnTo>
                    <a:lnTo>
                      <a:pt x="482" y="810"/>
                    </a:lnTo>
                    <a:lnTo>
                      <a:pt x="484" y="810"/>
                    </a:lnTo>
                    <a:lnTo>
                      <a:pt x="486" y="810"/>
                    </a:lnTo>
                    <a:lnTo>
                      <a:pt x="486" y="808"/>
                    </a:lnTo>
                    <a:lnTo>
                      <a:pt x="488" y="808"/>
                    </a:lnTo>
                    <a:lnTo>
                      <a:pt x="488" y="806"/>
                    </a:lnTo>
                    <a:lnTo>
                      <a:pt x="490" y="806"/>
                    </a:lnTo>
                    <a:lnTo>
                      <a:pt x="490" y="808"/>
                    </a:lnTo>
                    <a:lnTo>
                      <a:pt x="492" y="808"/>
                    </a:lnTo>
                    <a:lnTo>
                      <a:pt x="493" y="808"/>
                    </a:lnTo>
                    <a:lnTo>
                      <a:pt x="495" y="808"/>
                    </a:lnTo>
                    <a:lnTo>
                      <a:pt x="495" y="806"/>
                    </a:lnTo>
                    <a:lnTo>
                      <a:pt x="497" y="806"/>
                    </a:lnTo>
                    <a:lnTo>
                      <a:pt x="495" y="806"/>
                    </a:lnTo>
                    <a:lnTo>
                      <a:pt x="497" y="806"/>
                    </a:lnTo>
                    <a:lnTo>
                      <a:pt x="497" y="804"/>
                    </a:lnTo>
                    <a:lnTo>
                      <a:pt x="497" y="802"/>
                    </a:lnTo>
                    <a:lnTo>
                      <a:pt x="497" y="800"/>
                    </a:lnTo>
                    <a:lnTo>
                      <a:pt x="499" y="800"/>
                    </a:lnTo>
                    <a:lnTo>
                      <a:pt x="499" y="802"/>
                    </a:lnTo>
                    <a:lnTo>
                      <a:pt x="501" y="800"/>
                    </a:lnTo>
                    <a:lnTo>
                      <a:pt x="501" y="798"/>
                    </a:lnTo>
                    <a:lnTo>
                      <a:pt x="503" y="796"/>
                    </a:lnTo>
                    <a:lnTo>
                      <a:pt x="505" y="794"/>
                    </a:lnTo>
                    <a:lnTo>
                      <a:pt x="505" y="792"/>
                    </a:lnTo>
                    <a:lnTo>
                      <a:pt x="507" y="791"/>
                    </a:lnTo>
                    <a:lnTo>
                      <a:pt x="509" y="791"/>
                    </a:lnTo>
                    <a:lnTo>
                      <a:pt x="507" y="791"/>
                    </a:lnTo>
                    <a:lnTo>
                      <a:pt x="509" y="791"/>
                    </a:lnTo>
                    <a:lnTo>
                      <a:pt x="511" y="791"/>
                    </a:lnTo>
                    <a:lnTo>
                      <a:pt x="513" y="791"/>
                    </a:lnTo>
                    <a:lnTo>
                      <a:pt x="511" y="791"/>
                    </a:lnTo>
                    <a:lnTo>
                      <a:pt x="513" y="791"/>
                    </a:lnTo>
                    <a:lnTo>
                      <a:pt x="513" y="792"/>
                    </a:lnTo>
                    <a:lnTo>
                      <a:pt x="515" y="792"/>
                    </a:lnTo>
                    <a:lnTo>
                      <a:pt x="516" y="791"/>
                    </a:lnTo>
                    <a:lnTo>
                      <a:pt x="515" y="792"/>
                    </a:lnTo>
                    <a:lnTo>
                      <a:pt x="515" y="791"/>
                    </a:lnTo>
                    <a:lnTo>
                      <a:pt x="516" y="791"/>
                    </a:lnTo>
                    <a:lnTo>
                      <a:pt x="518" y="791"/>
                    </a:lnTo>
                    <a:lnTo>
                      <a:pt x="520" y="791"/>
                    </a:lnTo>
                    <a:lnTo>
                      <a:pt x="520" y="789"/>
                    </a:lnTo>
                    <a:lnTo>
                      <a:pt x="520" y="791"/>
                    </a:lnTo>
                    <a:lnTo>
                      <a:pt x="522" y="789"/>
                    </a:lnTo>
                    <a:lnTo>
                      <a:pt x="524" y="789"/>
                    </a:lnTo>
                    <a:lnTo>
                      <a:pt x="524" y="791"/>
                    </a:lnTo>
                    <a:lnTo>
                      <a:pt x="526" y="791"/>
                    </a:lnTo>
                    <a:lnTo>
                      <a:pt x="526" y="789"/>
                    </a:lnTo>
                    <a:lnTo>
                      <a:pt x="526" y="791"/>
                    </a:lnTo>
                    <a:lnTo>
                      <a:pt x="528" y="791"/>
                    </a:lnTo>
                    <a:lnTo>
                      <a:pt x="526" y="791"/>
                    </a:lnTo>
                    <a:lnTo>
                      <a:pt x="528" y="791"/>
                    </a:lnTo>
                    <a:lnTo>
                      <a:pt x="528" y="789"/>
                    </a:lnTo>
                    <a:lnTo>
                      <a:pt x="530" y="789"/>
                    </a:lnTo>
                    <a:lnTo>
                      <a:pt x="530" y="791"/>
                    </a:lnTo>
                    <a:lnTo>
                      <a:pt x="528" y="792"/>
                    </a:lnTo>
                    <a:lnTo>
                      <a:pt x="530" y="792"/>
                    </a:lnTo>
                    <a:lnTo>
                      <a:pt x="530" y="791"/>
                    </a:lnTo>
                    <a:lnTo>
                      <a:pt x="530" y="789"/>
                    </a:lnTo>
                    <a:lnTo>
                      <a:pt x="532" y="787"/>
                    </a:lnTo>
                    <a:lnTo>
                      <a:pt x="534" y="787"/>
                    </a:lnTo>
                    <a:lnTo>
                      <a:pt x="534" y="789"/>
                    </a:lnTo>
                    <a:lnTo>
                      <a:pt x="534" y="791"/>
                    </a:lnTo>
                    <a:lnTo>
                      <a:pt x="532" y="789"/>
                    </a:lnTo>
                    <a:lnTo>
                      <a:pt x="534" y="791"/>
                    </a:lnTo>
                    <a:lnTo>
                      <a:pt x="536" y="791"/>
                    </a:lnTo>
                    <a:lnTo>
                      <a:pt x="536" y="789"/>
                    </a:lnTo>
                    <a:lnTo>
                      <a:pt x="538" y="789"/>
                    </a:lnTo>
                    <a:lnTo>
                      <a:pt x="540" y="789"/>
                    </a:lnTo>
                    <a:lnTo>
                      <a:pt x="540" y="791"/>
                    </a:lnTo>
                    <a:lnTo>
                      <a:pt x="540" y="789"/>
                    </a:lnTo>
                    <a:lnTo>
                      <a:pt x="540" y="791"/>
                    </a:lnTo>
                    <a:lnTo>
                      <a:pt x="541" y="791"/>
                    </a:lnTo>
                    <a:lnTo>
                      <a:pt x="543" y="791"/>
                    </a:lnTo>
                    <a:lnTo>
                      <a:pt x="545" y="791"/>
                    </a:lnTo>
                    <a:lnTo>
                      <a:pt x="547" y="791"/>
                    </a:lnTo>
                    <a:lnTo>
                      <a:pt x="547" y="792"/>
                    </a:lnTo>
                    <a:lnTo>
                      <a:pt x="549" y="792"/>
                    </a:lnTo>
                    <a:lnTo>
                      <a:pt x="551" y="791"/>
                    </a:lnTo>
                    <a:lnTo>
                      <a:pt x="553" y="791"/>
                    </a:lnTo>
                    <a:lnTo>
                      <a:pt x="555" y="791"/>
                    </a:lnTo>
                    <a:lnTo>
                      <a:pt x="555" y="789"/>
                    </a:lnTo>
                    <a:lnTo>
                      <a:pt x="557" y="789"/>
                    </a:lnTo>
                    <a:lnTo>
                      <a:pt x="557" y="787"/>
                    </a:lnTo>
                    <a:lnTo>
                      <a:pt x="559" y="787"/>
                    </a:lnTo>
                    <a:lnTo>
                      <a:pt x="561" y="785"/>
                    </a:lnTo>
                    <a:lnTo>
                      <a:pt x="563" y="785"/>
                    </a:lnTo>
                    <a:lnTo>
                      <a:pt x="565" y="785"/>
                    </a:lnTo>
                    <a:lnTo>
                      <a:pt x="565" y="783"/>
                    </a:lnTo>
                    <a:lnTo>
                      <a:pt x="566" y="783"/>
                    </a:lnTo>
                    <a:lnTo>
                      <a:pt x="566" y="781"/>
                    </a:lnTo>
                    <a:lnTo>
                      <a:pt x="568" y="781"/>
                    </a:lnTo>
                    <a:lnTo>
                      <a:pt x="568" y="779"/>
                    </a:lnTo>
                    <a:lnTo>
                      <a:pt x="568" y="781"/>
                    </a:lnTo>
                    <a:lnTo>
                      <a:pt x="568" y="779"/>
                    </a:lnTo>
                    <a:lnTo>
                      <a:pt x="568" y="777"/>
                    </a:lnTo>
                    <a:lnTo>
                      <a:pt x="570" y="777"/>
                    </a:lnTo>
                    <a:lnTo>
                      <a:pt x="570" y="775"/>
                    </a:lnTo>
                    <a:lnTo>
                      <a:pt x="570" y="777"/>
                    </a:lnTo>
                    <a:lnTo>
                      <a:pt x="570" y="775"/>
                    </a:lnTo>
                    <a:lnTo>
                      <a:pt x="570" y="773"/>
                    </a:lnTo>
                    <a:lnTo>
                      <a:pt x="570" y="771"/>
                    </a:lnTo>
                    <a:lnTo>
                      <a:pt x="570" y="773"/>
                    </a:lnTo>
                    <a:lnTo>
                      <a:pt x="572" y="771"/>
                    </a:lnTo>
                    <a:lnTo>
                      <a:pt x="572" y="769"/>
                    </a:lnTo>
                    <a:lnTo>
                      <a:pt x="572" y="767"/>
                    </a:lnTo>
                    <a:lnTo>
                      <a:pt x="574" y="767"/>
                    </a:lnTo>
                    <a:lnTo>
                      <a:pt x="574" y="766"/>
                    </a:lnTo>
                    <a:lnTo>
                      <a:pt x="574" y="764"/>
                    </a:lnTo>
                    <a:lnTo>
                      <a:pt x="576" y="762"/>
                    </a:lnTo>
                    <a:lnTo>
                      <a:pt x="576" y="760"/>
                    </a:lnTo>
                    <a:lnTo>
                      <a:pt x="574" y="760"/>
                    </a:lnTo>
                    <a:lnTo>
                      <a:pt x="576" y="760"/>
                    </a:lnTo>
                    <a:lnTo>
                      <a:pt x="574" y="758"/>
                    </a:lnTo>
                    <a:lnTo>
                      <a:pt x="576" y="758"/>
                    </a:lnTo>
                    <a:lnTo>
                      <a:pt x="574" y="758"/>
                    </a:lnTo>
                    <a:lnTo>
                      <a:pt x="574" y="756"/>
                    </a:lnTo>
                    <a:lnTo>
                      <a:pt x="574" y="754"/>
                    </a:lnTo>
                    <a:lnTo>
                      <a:pt x="572" y="754"/>
                    </a:lnTo>
                    <a:lnTo>
                      <a:pt x="572" y="752"/>
                    </a:lnTo>
                    <a:lnTo>
                      <a:pt x="574" y="752"/>
                    </a:lnTo>
                    <a:lnTo>
                      <a:pt x="574" y="754"/>
                    </a:lnTo>
                    <a:lnTo>
                      <a:pt x="576" y="754"/>
                    </a:lnTo>
                    <a:lnTo>
                      <a:pt x="576" y="756"/>
                    </a:lnTo>
                    <a:lnTo>
                      <a:pt x="578" y="756"/>
                    </a:lnTo>
                    <a:lnTo>
                      <a:pt x="578" y="758"/>
                    </a:lnTo>
                    <a:lnTo>
                      <a:pt x="576" y="758"/>
                    </a:lnTo>
                    <a:lnTo>
                      <a:pt x="578" y="758"/>
                    </a:lnTo>
                    <a:lnTo>
                      <a:pt x="578" y="756"/>
                    </a:lnTo>
                    <a:lnTo>
                      <a:pt x="576" y="756"/>
                    </a:lnTo>
                    <a:lnTo>
                      <a:pt x="578" y="756"/>
                    </a:lnTo>
                    <a:lnTo>
                      <a:pt x="580" y="756"/>
                    </a:lnTo>
                    <a:lnTo>
                      <a:pt x="580" y="758"/>
                    </a:lnTo>
                    <a:lnTo>
                      <a:pt x="582" y="760"/>
                    </a:lnTo>
                    <a:lnTo>
                      <a:pt x="584" y="760"/>
                    </a:lnTo>
                    <a:lnTo>
                      <a:pt x="584" y="762"/>
                    </a:lnTo>
                    <a:lnTo>
                      <a:pt x="586" y="762"/>
                    </a:lnTo>
                    <a:lnTo>
                      <a:pt x="586" y="764"/>
                    </a:lnTo>
                    <a:lnTo>
                      <a:pt x="586" y="762"/>
                    </a:lnTo>
                    <a:lnTo>
                      <a:pt x="584" y="762"/>
                    </a:lnTo>
                    <a:lnTo>
                      <a:pt x="584" y="760"/>
                    </a:lnTo>
                    <a:lnTo>
                      <a:pt x="586" y="762"/>
                    </a:lnTo>
                    <a:lnTo>
                      <a:pt x="588" y="762"/>
                    </a:lnTo>
                    <a:lnTo>
                      <a:pt x="588" y="764"/>
                    </a:lnTo>
                    <a:lnTo>
                      <a:pt x="589" y="764"/>
                    </a:lnTo>
                    <a:lnTo>
                      <a:pt x="591" y="764"/>
                    </a:lnTo>
                    <a:lnTo>
                      <a:pt x="591" y="766"/>
                    </a:lnTo>
                    <a:lnTo>
                      <a:pt x="593" y="766"/>
                    </a:lnTo>
                    <a:lnTo>
                      <a:pt x="593" y="767"/>
                    </a:lnTo>
                    <a:lnTo>
                      <a:pt x="593" y="766"/>
                    </a:lnTo>
                    <a:lnTo>
                      <a:pt x="593" y="767"/>
                    </a:lnTo>
                    <a:lnTo>
                      <a:pt x="595" y="767"/>
                    </a:lnTo>
                    <a:lnTo>
                      <a:pt x="593" y="767"/>
                    </a:lnTo>
                    <a:lnTo>
                      <a:pt x="595" y="767"/>
                    </a:lnTo>
                    <a:lnTo>
                      <a:pt x="595" y="769"/>
                    </a:lnTo>
                    <a:lnTo>
                      <a:pt x="597" y="769"/>
                    </a:lnTo>
                    <a:lnTo>
                      <a:pt x="597" y="771"/>
                    </a:lnTo>
                    <a:lnTo>
                      <a:pt x="597" y="773"/>
                    </a:lnTo>
                    <a:lnTo>
                      <a:pt x="599" y="773"/>
                    </a:lnTo>
                    <a:lnTo>
                      <a:pt x="599" y="775"/>
                    </a:lnTo>
                    <a:lnTo>
                      <a:pt x="601" y="775"/>
                    </a:lnTo>
                    <a:lnTo>
                      <a:pt x="601" y="777"/>
                    </a:lnTo>
                    <a:lnTo>
                      <a:pt x="601" y="779"/>
                    </a:lnTo>
                    <a:lnTo>
                      <a:pt x="601" y="777"/>
                    </a:lnTo>
                    <a:lnTo>
                      <a:pt x="601" y="775"/>
                    </a:lnTo>
                    <a:lnTo>
                      <a:pt x="599" y="773"/>
                    </a:lnTo>
                    <a:lnTo>
                      <a:pt x="597" y="771"/>
                    </a:lnTo>
                    <a:lnTo>
                      <a:pt x="597" y="769"/>
                    </a:lnTo>
                    <a:lnTo>
                      <a:pt x="595" y="769"/>
                    </a:lnTo>
                    <a:lnTo>
                      <a:pt x="597" y="769"/>
                    </a:lnTo>
                    <a:lnTo>
                      <a:pt x="599" y="769"/>
                    </a:lnTo>
                    <a:lnTo>
                      <a:pt x="597" y="769"/>
                    </a:lnTo>
                    <a:lnTo>
                      <a:pt x="595" y="769"/>
                    </a:lnTo>
                    <a:lnTo>
                      <a:pt x="595" y="767"/>
                    </a:lnTo>
                    <a:lnTo>
                      <a:pt x="597" y="767"/>
                    </a:lnTo>
                    <a:lnTo>
                      <a:pt x="599" y="767"/>
                    </a:lnTo>
                    <a:lnTo>
                      <a:pt x="601" y="767"/>
                    </a:lnTo>
                    <a:lnTo>
                      <a:pt x="601" y="769"/>
                    </a:lnTo>
                    <a:lnTo>
                      <a:pt x="603" y="769"/>
                    </a:lnTo>
                    <a:lnTo>
                      <a:pt x="605" y="771"/>
                    </a:lnTo>
                    <a:lnTo>
                      <a:pt x="607" y="771"/>
                    </a:lnTo>
                    <a:lnTo>
                      <a:pt x="609" y="773"/>
                    </a:lnTo>
                    <a:lnTo>
                      <a:pt x="609" y="775"/>
                    </a:lnTo>
                    <a:lnTo>
                      <a:pt x="609" y="773"/>
                    </a:lnTo>
                    <a:lnTo>
                      <a:pt x="611" y="775"/>
                    </a:lnTo>
                    <a:lnTo>
                      <a:pt x="613" y="775"/>
                    </a:lnTo>
                    <a:lnTo>
                      <a:pt x="614" y="775"/>
                    </a:lnTo>
                    <a:lnTo>
                      <a:pt x="616" y="775"/>
                    </a:lnTo>
                    <a:lnTo>
                      <a:pt x="616" y="777"/>
                    </a:lnTo>
                    <a:lnTo>
                      <a:pt x="618" y="777"/>
                    </a:lnTo>
                    <a:lnTo>
                      <a:pt x="620" y="777"/>
                    </a:lnTo>
                    <a:lnTo>
                      <a:pt x="622" y="777"/>
                    </a:lnTo>
                    <a:lnTo>
                      <a:pt x="624" y="777"/>
                    </a:lnTo>
                    <a:lnTo>
                      <a:pt x="622" y="777"/>
                    </a:lnTo>
                    <a:lnTo>
                      <a:pt x="624" y="777"/>
                    </a:lnTo>
                    <a:lnTo>
                      <a:pt x="626" y="777"/>
                    </a:lnTo>
                    <a:lnTo>
                      <a:pt x="626" y="779"/>
                    </a:lnTo>
                    <a:lnTo>
                      <a:pt x="628" y="779"/>
                    </a:lnTo>
                    <a:lnTo>
                      <a:pt x="626" y="777"/>
                    </a:lnTo>
                    <a:lnTo>
                      <a:pt x="624" y="777"/>
                    </a:lnTo>
                    <a:lnTo>
                      <a:pt x="624" y="775"/>
                    </a:lnTo>
                    <a:lnTo>
                      <a:pt x="626" y="775"/>
                    </a:lnTo>
                    <a:lnTo>
                      <a:pt x="626" y="777"/>
                    </a:lnTo>
                    <a:lnTo>
                      <a:pt x="626" y="773"/>
                    </a:lnTo>
                    <a:lnTo>
                      <a:pt x="624" y="773"/>
                    </a:lnTo>
                    <a:lnTo>
                      <a:pt x="622" y="773"/>
                    </a:lnTo>
                    <a:lnTo>
                      <a:pt x="620" y="773"/>
                    </a:lnTo>
                    <a:lnTo>
                      <a:pt x="618" y="771"/>
                    </a:lnTo>
                    <a:lnTo>
                      <a:pt x="618" y="769"/>
                    </a:lnTo>
                    <a:lnTo>
                      <a:pt x="618" y="771"/>
                    </a:lnTo>
                    <a:lnTo>
                      <a:pt x="618" y="769"/>
                    </a:lnTo>
                    <a:lnTo>
                      <a:pt x="616" y="769"/>
                    </a:lnTo>
                    <a:lnTo>
                      <a:pt x="616" y="767"/>
                    </a:lnTo>
                    <a:lnTo>
                      <a:pt x="614" y="769"/>
                    </a:lnTo>
                    <a:lnTo>
                      <a:pt x="613" y="769"/>
                    </a:lnTo>
                    <a:lnTo>
                      <a:pt x="611" y="769"/>
                    </a:lnTo>
                    <a:lnTo>
                      <a:pt x="609" y="769"/>
                    </a:lnTo>
                    <a:lnTo>
                      <a:pt x="609" y="767"/>
                    </a:lnTo>
                    <a:lnTo>
                      <a:pt x="607" y="767"/>
                    </a:lnTo>
                    <a:lnTo>
                      <a:pt x="607" y="766"/>
                    </a:lnTo>
                    <a:lnTo>
                      <a:pt x="605" y="766"/>
                    </a:lnTo>
                    <a:lnTo>
                      <a:pt x="603" y="766"/>
                    </a:lnTo>
                    <a:lnTo>
                      <a:pt x="603" y="764"/>
                    </a:lnTo>
                    <a:lnTo>
                      <a:pt x="601" y="764"/>
                    </a:lnTo>
                    <a:lnTo>
                      <a:pt x="599" y="764"/>
                    </a:lnTo>
                    <a:lnTo>
                      <a:pt x="599" y="762"/>
                    </a:lnTo>
                    <a:lnTo>
                      <a:pt x="599" y="764"/>
                    </a:lnTo>
                    <a:lnTo>
                      <a:pt x="601" y="764"/>
                    </a:lnTo>
                    <a:lnTo>
                      <a:pt x="599" y="764"/>
                    </a:lnTo>
                    <a:lnTo>
                      <a:pt x="597" y="764"/>
                    </a:lnTo>
                    <a:lnTo>
                      <a:pt x="595" y="762"/>
                    </a:lnTo>
                    <a:lnTo>
                      <a:pt x="595" y="760"/>
                    </a:lnTo>
                    <a:lnTo>
                      <a:pt x="593" y="760"/>
                    </a:lnTo>
                    <a:lnTo>
                      <a:pt x="595" y="760"/>
                    </a:lnTo>
                    <a:lnTo>
                      <a:pt x="595" y="762"/>
                    </a:lnTo>
                    <a:lnTo>
                      <a:pt x="595" y="760"/>
                    </a:lnTo>
                    <a:lnTo>
                      <a:pt x="595" y="762"/>
                    </a:lnTo>
                    <a:lnTo>
                      <a:pt x="595" y="760"/>
                    </a:lnTo>
                    <a:lnTo>
                      <a:pt x="597" y="762"/>
                    </a:lnTo>
                    <a:lnTo>
                      <a:pt x="599" y="762"/>
                    </a:lnTo>
                    <a:lnTo>
                      <a:pt x="597" y="762"/>
                    </a:lnTo>
                    <a:lnTo>
                      <a:pt x="597" y="760"/>
                    </a:lnTo>
                    <a:lnTo>
                      <a:pt x="597" y="762"/>
                    </a:lnTo>
                    <a:lnTo>
                      <a:pt x="597" y="760"/>
                    </a:lnTo>
                    <a:lnTo>
                      <a:pt x="595" y="760"/>
                    </a:lnTo>
                    <a:lnTo>
                      <a:pt x="593" y="760"/>
                    </a:lnTo>
                    <a:lnTo>
                      <a:pt x="593" y="758"/>
                    </a:lnTo>
                    <a:lnTo>
                      <a:pt x="593" y="760"/>
                    </a:lnTo>
                    <a:lnTo>
                      <a:pt x="593" y="758"/>
                    </a:lnTo>
                    <a:lnTo>
                      <a:pt x="591" y="760"/>
                    </a:lnTo>
                    <a:lnTo>
                      <a:pt x="591" y="758"/>
                    </a:lnTo>
                    <a:lnTo>
                      <a:pt x="589" y="760"/>
                    </a:lnTo>
                    <a:lnTo>
                      <a:pt x="589" y="758"/>
                    </a:lnTo>
                    <a:lnTo>
                      <a:pt x="588" y="756"/>
                    </a:lnTo>
                    <a:lnTo>
                      <a:pt x="586" y="756"/>
                    </a:lnTo>
                    <a:lnTo>
                      <a:pt x="586" y="754"/>
                    </a:lnTo>
                    <a:lnTo>
                      <a:pt x="586" y="756"/>
                    </a:lnTo>
                    <a:lnTo>
                      <a:pt x="588" y="756"/>
                    </a:lnTo>
                    <a:lnTo>
                      <a:pt x="586" y="756"/>
                    </a:lnTo>
                    <a:lnTo>
                      <a:pt x="586" y="754"/>
                    </a:lnTo>
                    <a:lnTo>
                      <a:pt x="584" y="754"/>
                    </a:lnTo>
                    <a:lnTo>
                      <a:pt x="582" y="754"/>
                    </a:lnTo>
                    <a:lnTo>
                      <a:pt x="580" y="752"/>
                    </a:lnTo>
                    <a:lnTo>
                      <a:pt x="578" y="752"/>
                    </a:lnTo>
                    <a:lnTo>
                      <a:pt x="576" y="750"/>
                    </a:lnTo>
                    <a:lnTo>
                      <a:pt x="574" y="750"/>
                    </a:lnTo>
                    <a:lnTo>
                      <a:pt x="572" y="748"/>
                    </a:lnTo>
                    <a:lnTo>
                      <a:pt x="570" y="748"/>
                    </a:lnTo>
                    <a:lnTo>
                      <a:pt x="568" y="748"/>
                    </a:lnTo>
                    <a:lnTo>
                      <a:pt x="568" y="746"/>
                    </a:lnTo>
                    <a:lnTo>
                      <a:pt x="566" y="746"/>
                    </a:lnTo>
                    <a:lnTo>
                      <a:pt x="565" y="746"/>
                    </a:lnTo>
                    <a:lnTo>
                      <a:pt x="563" y="746"/>
                    </a:lnTo>
                    <a:lnTo>
                      <a:pt x="561" y="746"/>
                    </a:lnTo>
                    <a:lnTo>
                      <a:pt x="561" y="744"/>
                    </a:lnTo>
                    <a:lnTo>
                      <a:pt x="559" y="744"/>
                    </a:lnTo>
                    <a:lnTo>
                      <a:pt x="557" y="744"/>
                    </a:lnTo>
                    <a:lnTo>
                      <a:pt x="559" y="744"/>
                    </a:lnTo>
                    <a:lnTo>
                      <a:pt x="561" y="744"/>
                    </a:lnTo>
                    <a:lnTo>
                      <a:pt x="559" y="744"/>
                    </a:lnTo>
                    <a:lnTo>
                      <a:pt x="561" y="744"/>
                    </a:lnTo>
                    <a:lnTo>
                      <a:pt x="559" y="742"/>
                    </a:lnTo>
                    <a:lnTo>
                      <a:pt x="557" y="742"/>
                    </a:lnTo>
                    <a:lnTo>
                      <a:pt x="555" y="742"/>
                    </a:lnTo>
                    <a:lnTo>
                      <a:pt x="553" y="742"/>
                    </a:lnTo>
                    <a:lnTo>
                      <a:pt x="551" y="742"/>
                    </a:lnTo>
                    <a:lnTo>
                      <a:pt x="549" y="742"/>
                    </a:lnTo>
                    <a:lnTo>
                      <a:pt x="549" y="744"/>
                    </a:lnTo>
                    <a:lnTo>
                      <a:pt x="549" y="742"/>
                    </a:lnTo>
                    <a:lnTo>
                      <a:pt x="549" y="744"/>
                    </a:lnTo>
                    <a:lnTo>
                      <a:pt x="547" y="744"/>
                    </a:lnTo>
                    <a:lnTo>
                      <a:pt x="547" y="742"/>
                    </a:lnTo>
                    <a:lnTo>
                      <a:pt x="547" y="744"/>
                    </a:lnTo>
                    <a:lnTo>
                      <a:pt x="547" y="742"/>
                    </a:lnTo>
                    <a:lnTo>
                      <a:pt x="547" y="744"/>
                    </a:lnTo>
                    <a:lnTo>
                      <a:pt x="547" y="742"/>
                    </a:lnTo>
                    <a:lnTo>
                      <a:pt x="547" y="744"/>
                    </a:lnTo>
                    <a:lnTo>
                      <a:pt x="547" y="742"/>
                    </a:lnTo>
                    <a:lnTo>
                      <a:pt x="547" y="744"/>
                    </a:lnTo>
                    <a:lnTo>
                      <a:pt x="545" y="744"/>
                    </a:lnTo>
                    <a:lnTo>
                      <a:pt x="545" y="742"/>
                    </a:lnTo>
                    <a:lnTo>
                      <a:pt x="543" y="742"/>
                    </a:lnTo>
                    <a:lnTo>
                      <a:pt x="545" y="742"/>
                    </a:lnTo>
                    <a:lnTo>
                      <a:pt x="543" y="742"/>
                    </a:lnTo>
                    <a:lnTo>
                      <a:pt x="543" y="741"/>
                    </a:lnTo>
                    <a:lnTo>
                      <a:pt x="543" y="739"/>
                    </a:lnTo>
                    <a:lnTo>
                      <a:pt x="545" y="741"/>
                    </a:lnTo>
                    <a:lnTo>
                      <a:pt x="543" y="741"/>
                    </a:lnTo>
                    <a:lnTo>
                      <a:pt x="545" y="741"/>
                    </a:lnTo>
                    <a:lnTo>
                      <a:pt x="543" y="741"/>
                    </a:lnTo>
                    <a:lnTo>
                      <a:pt x="543" y="739"/>
                    </a:lnTo>
                    <a:lnTo>
                      <a:pt x="545" y="739"/>
                    </a:lnTo>
                    <a:lnTo>
                      <a:pt x="545" y="741"/>
                    </a:lnTo>
                    <a:lnTo>
                      <a:pt x="545" y="742"/>
                    </a:lnTo>
                    <a:lnTo>
                      <a:pt x="547" y="742"/>
                    </a:lnTo>
                    <a:lnTo>
                      <a:pt x="545" y="742"/>
                    </a:lnTo>
                    <a:lnTo>
                      <a:pt x="547" y="742"/>
                    </a:lnTo>
                    <a:lnTo>
                      <a:pt x="547" y="741"/>
                    </a:lnTo>
                    <a:lnTo>
                      <a:pt x="547" y="742"/>
                    </a:lnTo>
                    <a:lnTo>
                      <a:pt x="547" y="741"/>
                    </a:lnTo>
                    <a:lnTo>
                      <a:pt x="545" y="741"/>
                    </a:lnTo>
                    <a:lnTo>
                      <a:pt x="545" y="739"/>
                    </a:lnTo>
                    <a:lnTo>
                      <a:pt x="545" y="737"/>
                    </a:lnTo>
                    <a:lnTo>
                      <a:pt x="545" y="739"/>
                    </a:lnTo>
                    <a:lnTo>
                      <a:pt x="545" y="737"/>
                    </a:lnTo>
                    <a:lnTo>
                      <a:pt x="545" y="735"/>
                    </a:lnTo>
                    <a:lnTo>
                      <a:pt x="543" y="735"/>
                    </a:lnTo>
                    <a:lnTo>
                      <a:pt x="543" y="733"/>
                    </a:lnTo>
                    <a:lnTo>
                      <a:pt x="541" y="733"/>
                    </a:lnTo>
                    <a:lnTo>
                      <a:pt x="540" y="733"/>
                    </a:lnTo>
                    <a:lnTo>
                      <a:pt x="538" y="733"/>
                    </a:lnTo>
                    <a:lnTo>
                      <a:pt x="538" y="731"/>
                    </a:lnTo>
                    <a:lnTo>
                      <a:pt x="536" y="731"/>
                    </a:lnTo>
                    <a:lnTo>
                      <a:pt x="536" y="729"/>
                    </a:lnTo>
                    <a:lnTo>
                      <a:pt x="534" y="729"/>
                    </a:lnTo>
                    <a:lnTo>
                      <a:pt x="532" y="729"/>
                    </a:lnTo>
                    <a:lnTo>
                      <a:pt x="530" y="729"/>
                    </a:lnTo>
                    <a:lnTo>
                      <a:pt x="528" y="729"/>
                    </a:lnTo>
                    <a:lnTo>
                      <a:pt x="528" y="727"/>
                    </a:lnTo>
                    <a:lnTo>
                      <a:pt x="528" y="729"/>
                    </a:lnTo>
                    <a:lnTo>
                      <a:pt x="526" y="727"/>
                    </a:lnTo>
                    <a:lnTo>
                      <a:pt x="528" y="727"/>
                    </a:lnTo>
                    <a:lnTo>
                      <a:pt x="526" y="727"/>
                    </a:lnTo>
                    <a:lnTo>
                      <a:pt x="526" y="725"/>
                    </a:lnTo>
                    <a:lnTo>
                      <a:pt x="524" y="725"/>
                    </a:lnTo>
                    <a:lnTo>
                      <a:pt x="522" y="725"/>
                    </a:lnTo>
                    <a:lnTo>
                      <a:pt x="524" y="725"/>
                    </a:lnTo>
                    <a:lnTo>
                      <a:pt x="524" y="723"/>
                    </a:lnTo>
                    <a:lnTo>
                      <a:pt x="524" y="725"/>
                    </a:lnTo>
                    <a:lnTo>
                      <a:pt x="524" y="723"/>
                    </a:lnTo>
                    <a:lnTo>
                      <a:pt x="524" y="725"/>
                    </a:lnTo>
                    <a:lnTo>
                      <a:pt x="526" y="725"/>
                    </a:lnTo>
                    <a:lnTo>
                      <a:pt x="526" y="723"/>
                    </a:lnTo>
                    <a:lnTo>
                      <a:pt x="524" y="723"/>
                    </a:lnTo>
                    <a:lnTo>
                      <a:pt x="524" y="721"/>
                    </a:lnTo>
                    <a:lnTo>
                      <a:pt x="524" y="723"/>
                    </a:lnTo>
                    <a:lnTo>
                      <a:pt x="526" y="723"/>
                    </a:lnTo>
                    <a:lnTo>
                      <a:pt x="526" y="721"/>
                    </a:lnTo>
                    <a:lnTo>
                      <a:pt x="528" y="721"/>
                    </a:lnTo>
                    <a:lnTo>
                      <a:pt x="528" y="719"/>
                    </a:lnTo>
                    <a:lnTo>
                      <a:pt x="530" y="719"/>
                    </a:lnTo>
                    <a:lnTo>
                      <a:pt x="530" y="718"/>
                    </a:lnTo>
                    <a:lnTo>
                      <a:pt x="530" y="719"/>
                    </a:lnTo>
                    <a:lnTo>
                      <a:pt x="532" y="719"/>
                    </a:lnTo>
                    <a:lnTo>
                      <a:pt x="530" y="719"/>
                    </a:lnTo>
                    <a:lnTo>
                      <a:pt x="532" y="719"/>
                    </a:lnTo>
                    <a:lnTo>
                      <a:pt x="534" y="719"/>
                    </a:lnTo>
                    <a:lnTo>
                      <a:pt x="534" y="718"/>
                    </a:lnTo>
                    <a:lnTo>
                      <a:pt x="536" y="716"/>
                    </a:lnTo>
                    <a:lnTo>
                      <a:pt x="534" y="716"/>
                    </a:lnTo>
                    <a:lnTo>
                      <a:pt x="534" y="714"/>
                    </a:lnTo>
                    <a:lnTo>
                      <a:pt x="536" y="714"/>
                    </a:lnTo>
                    <a:lnTo>
                      <a:pt x="536" y="712"/>
                    </a:lnTo>
                    <a:lnTo>
                      <a:pt x="536" y="710"/>
                    </a:lnTo>
                    <a:lnTo>
                      <a:pt x="538" y="710"/>
                    </a:lnTo>
                    <a:lnTo>
                      <a:pt x="538" y="708"/>
                    </a:lnTo>
                    <a:lnTo>
                      <a:pt x="540" y="708"/>
                    </a:lnTo>
                    <a:lnTo>
                      <a:pt x="540" y="706"/>
                    </a:lnTo>
                    <a:lnTo>
                      <a:pt x="541" y="706"/>
                    </a:lnTo>
                    <a:lnTo>
                      <a:pt x="541" y="704"/>
                    </a:lnTo>
                    <a:lnTo>
                      <a:pt x="543" y="704"/>
                    </a:lnTo>
                    <a:lnTo>
                      <a:pt x="543" y="702"/>
                    </a:lnTo>
                    <a:lnTo>
                      <a:pt x="545" y="702"/>
                    </a:lnTo>
                    <a:lnTo>
                      <a:pt x="545" y="700"/>
                    </a:lnTo>
                    <a:lnTo>
                      <a:pt x="545" y="698"/>
                    </a:lnTo>
                    <a:lnTo>
                      <a:pt x="545" y="700"/>
                    </a:lnTo>
                    <a:lnTo>
                      <a:pt x="547" y="700"/>
                    </a:lnTo>
                    <a:lnTo>
                      <a:pt x="547" y="698"/>
                    </a:lnTo>
                    <a:lnTo>
                      <a:pt x="545" y="698"/>
                    </a:lnTo>
                    <a:lnTo>
                      <a:pt x="545" y="700"/>
                    </a:lnTo>
                    <a:lnTo>
                      <a:pt x="545" y="702"/>
                    </a:lnTo>
                    <a:lnTo>
                      <a:pt x="543" y="702"/>
                    </a:lnTo>
                    <a:lnTo>
                      <a:pt x="543" y="704"/>
                    </a:lnTo>
                    <a:lnTo>
                      <a:pt x="541" y="704"/>
                    </a:lnTo>
                    <a:lnTo>
                      <a:pt x="541" y="706"/>
                    </a:lnTo>
                    <a:lnTo>
                      <a:pt x="540" y="706"/>
                    </a:lnTo>
                    <a:lnTo>
                      <a:pt x="540" y="708"/>
                    </a:lnTo>
                    <a:lnTo>
                      <a:pt x="538" y="708"/>
                    </a:lnTo>
                    <a:lnTo>
                      <a:pt x="538" y="710"/>
                    </a:lnTo>
                    <a:lnTo>
                      <a:pt x="536" y="710"/>
                    </a:lnTo>
                    <a:lnTo>
                      <a:pt x="536" y="712"/>
                    </a:lnTo>
                    <a:lnTo>
                      <a:pt x="536" y="714"/>
                    </a:lnTo>
                    <a:lnTo>
                      <a:pt x="534" y="714"/>
                    </a:lnTo>
                    <a:lnTo>
                      <a:pt x="534" y="716"/>
                    </a:lnTo>
                    <a:lnTo>
                      <a:pt x="536" y="716"/>
                    </a:lnTo>
                    <a:lnTo>
                      <a:pt x="534" y="716"/>
                    </a:lnTo>
                    <a:lnTo>
                      <a:pt x="536" y="716"/>
                    </a:lnTo>
                    <a:lnTo>
                      <a:pt x="534" y="716"/>
                    </a:lnTo>
                    <a:lnTo>
                      <a:pt x="536" y="716"/>
                    </a:lnTo>
                    <a:lnTo>
                      <a:pt x="534" y="716"/>
                    </a:lnTo>
                    <a:lnTo>
                      <a:pt x="534" y="718"/>
                    </a:lnTo>
                    <a:lnTo>
                      <a:pt x="534" y="719"/>
                    </a:lnTo>
                    <a:lnTo>
                      <a:pt x="532" y="719"/>
                    </a:lnTo>
                    <a:lnTo>
                      <a:pt x="532" y="718"/>
                    </a:lnTo>
                    <a:lnTo>
                      <a:pt x="530" y="719"/>
                    </a:lnTo>
                    <a:lnTo>
                      <a:pt x="530" y="718"/>
                    </a:lnTo>
                    <a:lnTo>
                      <a:pt x="530" y="719"/>
                    </a:lnTo>
                    <a:lnTo>
                      <a:pt x="528" y="719"/>
                    </a:lnTo>
                    <a:lnTo>
                      <a:pt x="530" y="719"/>
                    </a:lnTo>
                    <a:lnTo>
                      <a:pt x="528" y="719"/>
                    </a:lnTo>
                    <a:lnTo>
                      <a:pt x="528" y="721"/>
                    </a:lnTo>
                    <a:lnTo>
                      <a:pt x="526" y="721"/>
                    </a:lnTo>
                    <a:lnTo>
                      <a:pt x="526" y="723"/>
                    </a:lnTo>
                    <a:lnTo>
                      <a:pt x="524" y="723"/>
                    </a:lnTo>
                    <a:lnTo>
                      <a:pt x="524" y="721"/>
                    </a:lnTo>
                    <a:lnTo>
                      <a:pt x="524" y="723"/>
                    </a:lnTo>
                    <a:lnTo>
                      <a:pt x="526" y="723"/>
                    </a:lnTo>
                    <a:lnTo>
                      <a:pt x="526" y="725"/>
                    </a:lnTo>
                    <a:lnTo>
                      <a:pt x="524" y="725"/>
                    </a:lnTo>
                    <a:lnTo>
                      <a:pt x="524" y="723"/>
                    </a:lnTo>
                    <a:lnTo>
                      <a:pt x="524" y="725"/>
                    </a:lnTo>
                    <a:lnTo>
                      <a:pt x="522" y="725"/>
                    </a:lnTo>
                    <a:lnTo>
                      <a:pt x="520" y="725"/>
                    </a:lnTo>
                    <a:lnTo>
                      <a:pt x="520" y="723"/>
                    </a:lnTo>
                    <a:lnTo>
                      <a:pt x="518" y="723"/>
                    </a:lnTo>
                    <a:lnTo>
                      <a:pt x="518" y="721"/>
                    </a:lnTo>
                    <a:lnTo>
                      <a:pt x="516" y="721"/>
                    </a:lnTo>
                    <a:lnTo>
                      <a:pt x="516" y="719"/>
                    </a:lnTo>
                    <a:lnTo>
                      <a:pt x="515" y="719"/>
                    </a:lnTo>
                    <a:lnTo>
                      <a:pt x="513" y="718"/>
                    </a:lnTo>
                    <a:lnTo>
                      <a:pt x="511" y="718"/>
                    </a:lnTo>
                    <a:lnTo>
                      <a:pt x="509" y="716"/>
                    </a:lnTo>
                    <a:lnTo>
                      <a:pt x="509" y="714"/>
                    </a:lnTo>
                    <a:lnTo>
                      <a:pt x="507" y="714"/>
                    </a:lnTo>
                    <a:lnTo>
                      <a:pt x="507" y="712"/>
                    </a:lnTo>
                    <a:lnTo>
                      <a:pt x="507" y="710"/>
                    </a:lnTo>
                    <a:lnTo>
                      <a:pt x="505" y="708"/>
                    </a:lnTo>
                    <a:lnTo>
                      <a:pt x="503" y="708"/>
                    </a:lnTo>
                    <a:lnTo>
                      <a:pt x="505" y="708"/>
                    </a:lnTo>
                    <a:lnTo>
                      <a:pt x="503" y="708"/>
                    </a:lnTo>
                    <a:lnTo>
                      <a:pt x="503" y="706"/>
                    </a:lnTo>
                    <a:lnTo>
                      <a:pt x="505" y="706"/>
                    </a:lnTo>
                    <a:lnTo>
                      <a:pt x="505" y="708"/>
                    </a:lnTo>
                    <a:lnTo>
                      <a:pt x="505" y="706"/>
                    </a:lnTo>
                    <a:lnTo>
                      <a:pt x="505" y="708"/>
                    </a:lnTo>
                    <a:lnTo>
                      <a:pt x="505" y="706"/>
                    </a:lnTo>
                    <a:lnTo>
                      <a:pt x="505" y="708"/>
                    </a:lnTo>
                    <a:lnTo>
                      <a:pt x="505" y="706"/>
                    </a:lnTo>
                    <a:lnTo>
                      <a:pt x="505" y="704"/>
                    </a:lnTo>
                    <a:lnTo>
                      <a:pt x="503" y="704"/>
                    </a:lnTo>
                    <a:lnTo>
                      <a:pt x="503" y="702"/>
                    </a:lnTo>
                    <a:lnTo>
                      <a:pt x="501" y="702"/>
                    </a:lnTo>
                    <a:lnTo>
                      <a:pt x="501" y="700"/>
                    </a:lnTo>
                    <a:lnTo>
                      <a:pt x="499" y="700"/>
                    </a:lnTo>
                    <a:lnTo>
                      <a:pt x="499" y="698"/>
                    </a:lnTo>
                    <a:lnTo>
                      <a:pt x="499" y="696"/>
                    </a:lnTo>
                    <a:lnTo>
                      <a:pt x="499" y="694"/>
                    </a:lnTo>
                    <a:lnTo>
                      <a:pt x="497" y="694"/>
                    </a:lnTo>
                    <a:lnTo>
                      <a:pt x="497" y="693"/>
                    </a:lnTo>
                    <a:lnTo>
                      <a:pt x="497" y="691"/>
                    </a:lnTo>
                    <a:lnTo>
                      <a:pt x="495" y="689"/>
                    </a:lnTo>
                    <a:lnTo>
                      <a:pt x="495" y="687"/>
                    </a:lnTo>
                    <a:lnTo>
                      <a:pt x="493" y="687"/>
                    </a:lnTo>
                    <a:lnTo>
                      <a:pt x="495" y="687"/>
                    </a:lnTo>
                    <a:lnTo>
                      <a:pt x="493" y="687"/>
                    </a:lnTo>
                    <a:lnTo>
                      <a:pt x="493" y="685"/>
                    </a:lnTo>
                    <a:lnTo>
                      <a:pt x="493" y="683"/>
                    </a:lnTo>
                    <a:lnTo>
                      <a:pt x="492" y="683"/>
                    </a:lnTo>
                    <a:lnTo>
                      <a:pt x="492" y="681"/>
                    </a:lnTo>
                    <a:lnTo>
                      <a:pt x="490" y="681"/>
                    </a:lnTo>
                    <a:lnTo>
                      <a:pt x="490" y="679"/>
                    </a:lnTo>
                    <a:lnTo>
                      <a:pt x="488" y="679"/>
                    </a:lnTo>
                    <a:lnTo>
                      <a:pt x="488" y="677"/>
                    </a:lnTo>
                    <a:lnTo>
                      <a:pt x="488" y="675"/>
                    </a:lnTo>
                    <a:lnTo>
                      <a:pt x="488" y="673"/>
                    </a:lnTo>
                    <a:lnTo>
                      <a:pt x="486" y="673"/>
                    </a:lnTo>
                    <a:lnTo>
                      <a:pt x="486" y="671"/>
                    </a:lnTo>
                    <a:lnTo>
                      <a:pt x="484" y="671"/>
                    </a:lnTo>
                    <a:lnTo>
                      <a:pt x="486" y="671"/>
                    </a:lnTo>
                    <a:lnTo>
                      <a:pt x="484" y="669"/>
                    </a:lnTo>
                    <a:lnTo>
                      <a:pt x="482" y="669"/>
                    </a:lnTo>
                    <a:lnTo>
                      <a:pt x="482" y="668"/>
                    </a:lnTo>
                    <a:lnTo>
                      <a:pt x="482" y="666"/>
                    </a:lnTo>
                    <a:lnTo>
                      <a:pt x="480" y="666"/>
                    </a:lnTo>
                    <a:lnTo>
                      <a:pt x="480" y="664"/>
                    </a:lnTo>
                    <a:lnTo>
                      <a:pt x="478" y="664"/>
                    </a:lnTo>
                    <a:lnTo>
                      <a:pt x="478" y="662"/>
                    </a:lnTo>
                    <a:lnTo>
                      <a:pt x="478" y="664"/>
                    </a:lnTo>
                    <a:lnTo>
                      <a:pt x="478" y="662"/>
                    </a:lnTo>
                    <a:lnTo>
                      <a:pt x="476" y="660"/>
                    </a:lnTo>
                    <a:lnTo>
                      <a:pt x="476" y="658"/>
                    </a:lnTo>
                    <a:lnTo>
                      <a:pt x="474" y="658"/>
                    </a:lnTo>
                    <a:lnTo>
                      <a:pt x="476" y="658"/>
                    </a:lnTo>
                    <a:lnTo>
                      <a:pt x="474" y="658"/>
                    </a:lnTo>
                    <a:lnTo>
                      <a:pt x="476" y="658"/>
                    </a:lnTo>
                    <a:lnTo>
                      <a:pt x="478" y="658"/>
                    </a:lnTo>
                    <a:lnTo>
                      <a:pt x="478" y="656"/>
                    </a:lnTo>
                    <a:lnTo>
                      <a:pt x="478" y="658"/>
                    </a:lnTo>
                    <a:lnTo>
                      <a:pt x="478" y="656"/>
                    </a:lnTo>
                    <a:lnTo>
                      <a:pt x="480" y="656"/>
                    </a:lnTo>
                    <a:lnTo>
                      <a:pt x="480" y="658"/>
                    </a:lnTo>
                    <a:lnTo>
                      <a:pt x="482" y="656"/>
                    </a:lnTo>
                    <a:lnTo>
                      <a:pt x="480" y="656"/>
                    </a:lnTo>
                    <a:lnTo>
                      <a:pt x="480" y="654"/>
                    </a:lnTo>
                    <a:lnTo>
                      <a:pt x="482" y="654"/>
                    </a:lnTo>
                    <a:lnTo>
                      <a:pt x="482" y="656"/>
                    </a:lnTo>
                    <a:lnTo>
                      <a:pt x="482" y="654"/>
                    </a:lnTo>
                    <a:lnTo>
                      <a:pt x="484" y="656"/>
                    </a:lnTo>
                    <a:lnTo>
                      <a:pt x="486" y="656"/>
                    </a:lnTo>
                    <a:lnTo>
                      <a:pt x="484" y="656"/>
                    </a:lnTo>
                    <a:lnTo>
                      <a:pt x="484" y="658"/>
                    </a:lnTo>
                    <a:lnTo>
                      <a:pt x="486" y="658"/>
                    </a:lnTo>
                    <a:lnTo>
                      <a:pt x="486" y="656"/>
                    </a:lnTo>
                    <a:lnTo>
                      <a:pt x="488" y="658"/>
                    </a:lnTo>
                    <a:lnTo>
                      <a:pt x="490" y="658"/>
                    </a:lnTo>
                    <a:lnTo>
                      <a:pt x="492" y="658"/>
                    </a:lnTo>
                    <a:lnTo>
                      <a:pt x="493" y="658"/>
                    </a:lnTo>
                    <a:lnTo>
                      <a:pt x="495" y="658"/>
                    </a:lnTo>
                    <a:lnTo>
                      <a:pt x="497" y="658"/>
                    </a:lnTo>
                    <a:lnTo>
                      <a:pt x="497" y="660"/>
                    </a:lnTo>
                    <a:lnTo>
                      <a:pt x="499" y="660"/>
                    </a:lnTo>
                    <a:lnTo>
                      <a:pt x="499" y="662"/>
                    </a:lnTo>
                    <a:lnTo>
                      <a:pt x="497" y="662"/>
                    </a:lnTo>
                    <a:lnTo>
                      <a:pt x="499" y="662"/>
                    </a:lnTo>
                    <a:lnTo>
                      <a:pt x="499" y="664"/>
                    </a:lnTo>
                    <a:lnTo>
                      <a:pt x="499" y="666"/>
                    </a:lnTo>
                    <a:lnTo>
                      <a:pt x="501" y="666"/>
                    </a:lnTo>
                    <a:lnTo>
                      <a:pt x="499" y="666"/>
                    </a:lnTo>
                    <a:lnTo>
                      <a:pt x="499" y="668"/>
                    </a:lnTo>
                    <a:lnTo>
                      <a:pt x="501" y="668"/>
                    </a:lnTo>
                    <a:lnTo>
                      <a:pt x="501" y="666"/>
                    </a:lnTo>
                    <a:lnTo>
                      <a:pt x="501" y="668"/>
                    </a:lnTo>
                    <a:lnTo>
                      <a:pt x="503" y="668"/>
                    </a:lnTo>
                    <a:lnTo>
                      <a:pt x="503" y="669"/>
                    </a:lnTo>
                    <a:lnTo>
                      <a:pt x="501" y="669"/>
                    </a:lnTo>
                    <a:lnTo>
                      <a:pt x="503" y="669"/>
                    </a:lnTo>
                    <a:lnTo>
                      <a:pt x="503" y="671"/>
                    </a:lnTo>
                    <a:lnTo>
                      <a:pt x="505" y="671"/>
                    </a:lnTo>
                    <a:lnTo>
                      <a:pt x="507" y="671"/>
                    </a:lnTo>
                    <a:lnTo>
                      <a:pt x="507" y="669"/>
                    </a:lnTo>
                    <a:lnTo>
                      <a:pt x="509" y="669"/>
                    </a:lnTo>
                    <a:lnTo>
                      <a:pt x="511" y="669"/>
                    </a:lnTo>
                    <a:lnTo>
                      <a:pt x="513" y="669"/>
                    </a:lnTo>
                    <a:lnTo>
                      <a:pt x="515" y="668"/>
                    </a:lnTo>
                    <a:lnTo>
                      <a:pt x="516" y="668"/>
                    </a:lnTo>
                    <a:lnTo>
                      <a:pt x="518" y="668"/>
                    </a:lnTo>
                    <a:lnTo>
                      <a:pt x="518" y="666"/>
                    </a:lnTo>
                    <a:lnTo>
                      <a:pt x="520" y="666"/>
                    </a:lnTo>
                    <a:lnTo>
                      <a:pt x="520" y="668"/>
                    </a:lnTo>
                    <a:lnTo>
                      <a:pt x="518" y="668"/>
                    </a:lnTo>
                    <a:lnTo>
                      <a:pt x="520" y="668"/>
                    </a:lnTo>
                    <a:lnTo>
                      <a:pt x="522" y="666"/>
                    </a:lnTo>
                    <a:lnTo>
                      <a:pt x="522" y="668"/>
                    </a:lnTo>
                    <a:lnTo>
                      <a:pt x="522" y="666"/>
                    </a:lnTo>
                    <a:lnTo>
                      <a:pt x="522" y="668"/>
                    </a:lnTo>
                    <a:lnTo>
                      <a:pt x="524" y="666"/>
                    </a:lnTo>
                    <a:lnTo>
                      <a:pt x="526" y="666"/>
                    </a:lnTo>
                    <a:lnTo>
                      <a:pt x="524" y="666"/>
                    </a:lnTo>
                    <a:lnTo>
                      <a:pt x="524" y="664"/>
                    </a:lnTo>
                    <a:lnTo>
                      <a:pt x="524" y="666"/>
                    </a:lnTo>
                    <a:lnTo>
                      <a:pt x="524" y="664"/>
                    </a:lnTo>
                    <a:lnTo>
                      <a:pt x="526" y="664"/>
                    </a:lnTo>
                    <a:lnTo>
                      <a:pt x="528" y="666"/>
                    </a:lnTo>
                    <a:lnTo>
                      <a:pt x="528" y="664"/>
                    </a:lnTo>
                    <a:lnTo>
                      <a:pt x="530" y="664"/>
                    </a:lnTo>
                    <a:lnTo>
                      <a:pt x="528" y="664"/>
                    </a:lnTo>
                    <a:lnTo>
                      <a:pt x="530" y="662"/>
                    </a:lnTo>
                    <a:lnTo>
                      <a:pt x="530" y="664"/>
                    </a:lnTo>
                    <a:lnTo>
                      <a:pt x="532" y="662"/>
                    </a:lnTo>
                    <a:lnTo>
                      <a:pt x="534" y="662"/>
                    </a:lnTo>
                    <a:lnTo>
                      <a:pt x="534" y="660"/>
                    </a:lnTo>
                    <a:lnTo>
                      <a:pt x="534" y="658"/>
                    </a:lnTo>
                    <a:lnTo>
                      <a:pt x="534" y="656"/>
                    </a:lnTo>
                    <a:lnTo>
                      <a:pt x="536" y="656"/>
                    </a:lnTo>
                    <a:lnTo>
                      <a:pt x="534" y="656"/>
                    </a:lnTo>
                    <a:lnTo>
                      <a:pt x="536" y="656"/>
                    </a:lnTo>
                    <a:lnTo>
                      <a:pt x="536" y="654"/>
                    </a:lnTo>
                    <a:lnTo>
                      <a:pt x="538" y="654"/>
                    </a:lnTo>
                    <a:lnTo>
                      <a:pt x="538" y="652"/>
                    </a:lnTo>
                    <a:lnTo>
                      <a:pt x="536" y="652"/>
                    </a:lnTo>
                    <a:lnTo>
                      <a:pt x="538" y="652"/>
                    </a:lnTo>
                    <a:lnTo>
                      <a:pt x="538" y="650"/>
                    </a:lnTo>
                    <a:lnTo>
                      <a:pt x="540" y="650"/>
                    </a:lnTo>
                    <a:lnTo>
                      <a:pt x="541" y="650"/>
                    </a:lnTo>
                    <a:lnTo>
                      <a:pt x="541" y="648"/>
                    </a:lnTo>
                    <a:lnTo>
                      <a:pt x="541" y="646"/>
                    </a:lnTo>
                    <a:lnTo>
                      <a:pt x="541" y="644"/>
                    </a:lnTo>
                    <a:lnTo>
                      <a:pt x="543" y="644"/>
                    </a:lnTo>
                    <a:lnTo>
                      <a:pt x="541" y="646"/>
                    </a:lnTo>
                    <a:lnTo>
                      <a:pt x="541" y="648"/>
                    </a:lnTo>
                    <a:lnTo>
                      <a:pt x="541" y="650"/>
                    </a:lnTo>
                    <a:lnTo>
                      <a:pt x="540" y="650"/>
                    </a:lnTo>
                    <a:lnTo>
                      <a:pt x="538" y="650"/>
                    </a:lnTo>
                    <a:lnTo>
                      <a:pt x="538" y="652"/>
                    </a:lnTo>
                    <a:lnTo>
                      <a:pt x="536" y="652"/>
                    </a:lnTo>
                    <a:lnTo>
                      <a:pt x="538" y="652"/>
                    </a:lnTo>
                    <a:lnTo>
                      <a:pt x="538" y="654"/>
                    </a:lnTo>
                    <a:lnTo>
                      <a:pt x="536" y="654"/>
                    </a:lnTo>
                    <a:lnTo>
                      <a:pt x="536" y="656"/>
                    </a:lnTo>
                    <a:lnTo>
                      <a:pt x="534" y="656"/>
                    </a:lnTo>
                    <a:lnTo>
                      <a:pt x="534" y="658"/>
                    </a:lnTo>
                    <a:lnTo>
                      <a:pt x="534" y="660"/>
                    </a:lnTo>
                    <a:lnTo>
                      <a:pt x="534" y="662"/>
                    </a:lnTo>
                    <a:lnTo>
                      <a:pt x="532" y="662"/>
                    </a:lnTo>
                    <a:lnTo>
                      <a:pt x="530" y="664"/>
                    </a:lnTo>
                    <a:lnTo>
                      <a:pt x="530" y="662"/>
                    </a:lnTo>
                    <a:lnTo>
                      <a:pt x="528" y="664"/>
                    </a:lnTo>
                    <a:lnTo>
                      <a:pt x="530" y="664"/>
                    </a:lnTo>
                    <a:lnTo>
                      <a:pt x="528" y="664"/>
                    </a:lnTo>
                    <a:lnTo>
                      <a:pt x="528" y="666"/>
                    </a:lnTo>
                    <a:lnTo>
                      <a:pt x="528" y="664"/>
                    </a:lnTo>
                    <a:lnTo>
                      <a:pt x="526" y="664"/>
                    </a:lnTo>
                    <a:lnTo>
                      <a:pt x="524" y="664"/>
                    </a:lnTo>
                    <a:lnTo>
                      <a:pt x="524" y="666"/>
                    </a:lnTo>
                    <a:lnTo>
                      <a:pt x="524" y="664"/>
                    </a:lnTo>
                    <a:lnTo>
                      <a:pt x="524" y="666"/>
                    </a:lnTo>
                    <a:lnTo>
                      <a:pt x="522" y="666"/>
                    </a:lnTo>
                    <a:lnTo>
                      <a:pt x="522" y="668"/>
                    </a:lnTo>
                    <a:lnTo>
                      <a:pt x="522" y="666"/>
                    </a:lnTo>
                    <a:lnTo>
                      <a:pt x="520" y="668"/>
                    </a:lnTo>
                    <a:lnTo>
                      <a:pt x="518" y="668"/>
                    </a:lnTo>
                    <a:lnTo>
                      <a:pt x="520" y="668"/>
                    </a:lnTo>
                    <a:lnTo>
                      <a:pt x="520" y="666"/>
                    </a:lnTo>
                    <a:lnTo>
                      <a:pt x="518" y="666"/>
                    </a:lnTo>
                    <a:lnTo>
                      <a:pt x="518" y="668"/>
                    </a:lnTo>
                    <a:lnTo>
                      <a:pt x="516" y="668"/>
                    </a:lnTo>
                    <a:lnTo>
                      <a:pt x="515" y="668"/>
                    </a:lnTo>
                    <a:lnTo>
                      <a:pt x="513" y="669"/>
                    </a:lnTo>
                    <a:lnTo>
                      <a:pt x="511" y="669"/>
                    </a:lnTo>
                    <a:lnTo>
                      <a:pt x="509" y="669"/>
                    </a:lnTo>
                    <a:lnTo>
                      <a:pt x="507" y="669"/>
                    </a:lnTo>
                    <a:lnTo>
                      <a:pt x="507" y="671"/>
                    </a:lnTo>
                    <a:lnTo>
                      <a:pt x="505" y="671"/>
                    </a:lnTo>
                    <a:lnTo>
                      <a:pt x="503" y="671"/>
                    </a:lnTo>
                    <a:lnTo>
                      <a:pt x="503" y="669"/>
                    </a:lnTo>
                    <a:lnTo>
                      <a:pt x="505" y="669"/>
                    </a:lnTo>
                    <a:lnTo>
                      <a:pt x="503" y="669"/>
                    </a:lnTo>
                    <a:lnTo>
                      <a:pt x="501" y="669"/>
                    </a:lnTo>
                    <a:lnTo>
                      <a:pt x="503" y="669"/>
                    </a:lnTo>
                    <a:lnTo>
                      <a:pt x="503" y="668"/>
                    </a:lnTo>
                    <a:lnTo>
                      <a:pt x="501" y="668"/>
                    </a:lnTo>
                    <a:lnTo>
                      <a:pt x="501" y="666"/>
                    </a:lnTo>
                    <a:lnTo>
                      <a:pt x="501" y="668"/>
                    </a:lnTo>
                    <a:lnTo>
                      <a:pt x="499" y="668"/>
                    </a:lnTo>
                    <a:lnTo>
                      <a:pt x="499" y="666"/>
                    </a:lnTo>
                    <a:lnTo>
                      <a:pt x="501" y="666"/>
                    </a:lnTo>
                    <a:lnTo>
                      <a:pt x="499" y="666"/>
                    </a:lnTo>
                    <a:lnTo>
                      <a:pt x="499" y="664"/>
                    </a:lnTo>
                    <a:lnTo>
                      <a:pt x="499" y="662"/>
                    </a:lnTo>
                    <a:lnTo>
                      <a:pt x="497" y="662"/>
                    </a:lnTo>
                    <a:lnTo>
                      <a:pt x="499" y="662"/>
                    </a:lnTo>
                    <a:lnTo>
                      <a:pt x="499" y="660"/>
                    </a:lnTo>
                    <a:lnTo>
                      <a:pt x="497" y="660"/>
                    </a:lnTo>
                    <a:lnTo>
                      <a:pt x="497" y="658"/>
                    </a:lnTo>
                    <a:lnTo>
                      <a:pt x="495" y="658"/>
                    </a:lnTo>
                    <a:lnTo>
                      <a:pt x="493" y="658"/>
                    </a:lnTo>
                    <a:lnTo>
                      <a:pt x="493" y="656"/>
                    </a:lnTo>
                    <a:lnTo>
                      <a:pt x="493" y="658"/>
                    </a:lnTo>
                    <a:lnTo>
                      <a:pt x="492" y="658"/>
                    </a:lnTo>
                    <a:lnTo>
                      <a:pt x="492" y="656"/>
                    </a:lnTo>
                    <a:lnTo>
                      <a:pt x="492" y="658"/>
                    </a:lnTo>
                    <a:lnTo>
                      <a:pt x="490" y="658"/>
                    </a:lnTo>
                    <a:lnTo>
                      <a:pt x="490" y="656"/>
                    </a:lnTo>
                    <a:lnTo>
                      <a:pt x="490" y="658"/>
                    </a:lnTo>
                    <a:lnTo>
                      <a:pt x="488" y="658"/>
                    </a:lnTo>
                    <a:lnTo>
                      <a:pt x="488" y="656"/>
                    </a:lnTo>
                    <a:lnTo>
                      <a:pt x="486" y="656"/>
                    </a:lnTo>
                    <a:lnTo>
                      <a:pt x="486" y="658"/>
                    </a:lnTo>
                    <a:lnTo>
                      <a:pt x="484" y="658"/>
                    </a:lnTo>
                    <a:lnTo>
                      <a:pt x="484" y="656"/>
                    </a:lnTo>
                    <a:lnTo>
                      <a:pt x="486" y="656"/>
                    </a:lnTo>
                    <a:lnTo>
                      <a:pt x="484" y="656"/>
                    </a:lnTo>
                    <a:lnTo>
                      <a:pt x="482" y="654"/>
                    </a:lnTo>
                    <a:lnTo>
                      <a:pt x="480" y="654"/>
                    </a:lnTo>
                    <a:lnTo>
                      <a:pt x="480" y="656"/>
                    </a:lnTo>
                    <a:lnTo>
                      <a:pt x="482" y="656"/>
                    </a:lnTo>
                    <a:lnTo>
                      <a:pt x="480" y="656"/>
                    </a:lnTo>
                    <a:lnTo>
                      <a:pt x="478" y="656"/>
                    </a:lnTo>
                    <a:lnTo>
                      <a:pt x="478" y="658"/>
                    </a:lnTo>
                    <a:lnTo>
                      <a:pt x="476" y="658"/>
                    </a:lnTo>
                    <a:lnTo>
                      <a:pt x="476" y="656"/>
                    </a:lnTo>
                    <a:lnTo>
                      <a:pt x="474" y="656"/>
                    </a:lnTo>
                    <a:lnTo>
                      <a:pt x="474" y="658"/>
                    </a:lnTo>
                    <a:lnTo>
                      <a:pt x="474" y="656"/>
                    </a:lnTo>
                    <a:lnTo>
                      <a:pt x="472" y="656"/>
                    </a:lnTo>
                    <a:lnTo>
                      <a:pt x="472" y="654"/>
                    </a:lnTo>
                    <a:lnTo>
                      <a:pt x="474" y="654"/>
                    </a:lnTo>
                    <a:lnTo>
                      <a:pt x="474" y="652"/>
                    </a:lnTo>
                    <a:lnTo>
                      <a:pt x="474" y="654"/>
                    </a:lnTo>
                    <a:lnTo>
                      <a:pt x="474" y="652"/>
                    </a:lnTo>
                    <a:lnTo>
                      <a:pt x="472" y="654"/>
                    </a:lnTo>
                    <a:lnTo>
                      <a:pt x="472" y="652"/>
                    </a:lnTo>
                    <a:lnTo>
                      <a:pt x="472" y="654"/>
                    </a:lnTo>
                    <a:lnTo>
                      <a:pt x="472" y="652"/>
                    </a:lnTo>
                    <a:lnTo>
                      <a:pt x="470" y="652"/>
                    </a:lnTo>
                    <a:lnTo>
                      <a:pt x="468" y="650"/>
                    </a:lnTo>
                    <a:lnTo>
                      <a:pt x="470" y="650"/>
                    </a:lnTo>
                    <a:lnTo>
                      <a:pt x="470" y="652"/>
                    </a:lnTo>
                    <a:lnTo>
                      <a:pt x="470" y="650"/>
                    </a:lnTo>
                    <a:lnTo>
                      <a:pt x="468" y="648"/>
                    </a:lnTo>
                    <a:lnTo>
                      <a:pt x="467" y="646"/>
                    </a:lnTo>
                    <a:lnTo>
                      <a:pt x="465" y="644"/>
                    </a:lnTo>
                    <a:lnTo>
                      <a:pt x="463" y="643"/>
                    </a:lnTo>
                    <a:lnTo>
                      <a:pt x="463" y="641"/>
                    </a:lnTo>
                    <a:lnTo>
                      <a:pt x="463" y="639"/>
                    </a:lnTo>
                    <a:lnTo>
                      <a:pt x="463" y="641"/>
                    </a:lnTo>
                    <a:lnTo>
                      <a:pt x="463" y="639"/>
                    </a:lnTo>
                    <a:lnTo>
                      <a:pt x="461" y="639"/>
                    </a:lnTo>
                    <a:lnTo>
                      <a:pt x="461" y="637"/>
                    </a:lnTo>
                    <a:lnTo>
                      <a:pt x="461" y="635"/>
                    </a:lnTo>
                    <a:lnTo>
                      <a:pt x="459" y="635"/>
                    </a:lnTo>
                    <a:lnTo>
                      <a:pt x="459" y="633"/>
                    </a:lnTo>
                    <a:lnTo>
                      <a:pt x="461" y="635"/>
                    </a:lnTo>
                    <a:lnTo>
                      <a:pt x="461" y="633"/>
                    </a:lnTo>
                    <a:lnTo>
                      <a:pt x="459" y="633"/>
                    </a:lnTo>
                    <a:lnTo>
                      <a:pt x="459" y="631"/>
                    </a:lnTo>
                    <a:lnTo>
                      <a:pt x="457" y="631"/>
                    </a:lnTo>
                    <a:lnTo>
                      <a:pt x="457" y="629"/>
                    </a:lnTo>
                    <a:lnTo>
                      <a:pt x="459" y="629"/>
                    </a:lnTo>
                    <a:lnTo>
                      <a:pt x="459" y="627"/>
                    </a:lnTo>
                    <a:lnTo>
                      <a:pt x="461" y="627"/>
                    </a:lnTo>
                    <a:lnTo>
                      <a:pt x="459" y="627"/>
                    </a:lnTo>
                    <a:lnTo>
                      <a:pt x="461" y="627"/>
                    </a:lnTo>
                    <a:lnTo>
                      <a:pt x="461" y="625"/>
                    </a:lnTo>
                    <a:lnTo>
                      <a:pt x="461" y="627"/>
                    </a:lnTo>
                    <a:lnTo>
                      <a:pt x="461" y="625"/>
                    </a:lnTo>
                    <a:lnTo>
                      <a:pt x="461" y="627"/>
                    </a:lnTo>
                    <a:lnTo>
                      <a:pt x="463" y="627"/>
                    </a:lnTo>
                    <a:lnTo>
                      <a:pt x="463" y="629"/>
                    </a:lnTo>
                    <a:lnTo>
                      <a:pt x="465" y="629"/>
                    </a:lnTo>
                    <a:lnTo>
                      <a:pt x="467" y="629"/>
                    </a:lnTo>
                    <a:lnTo>
                      <a:pt x="465" y="629"/>
                    </a:lnTo>
                    <a:lnTo>
                      <a:pt x="465" y="631"/>
                    </a:lnTo>
                    <a:lnTo>
                      <a:pt x="467" y="631"/>
                    </a:lnTo>
                    <a:lnTo>
                      <a:pt x="467" y="629"/>
                    </a:lnTo>
                    <a:lnTo>
                      <a:pt x="467" y="631"/>
                    </a:lnTo>
                    <a:lnTo>
                      <a:pt x="467" y="629"/>
                    </a:lnTo>
                    <a:lnTo>
                      <a:pt x="467" y="631"/>
                    </a:lnTo>
                    <a:lnTo>
                      <a:pt x="465" y="631"/>
                    </a:lnTo>
                    <a:lnTo>
                      <a:pt x="465" y="629"/>
                    </a:lnTo>
                    <a:lnTo>
                      <a:pt x="467" y="629"/>
                    </a:lnTo>
                    <a:lnTo>
                      <a:pt x="465" y="629"/>
                    </a:lnTo>
                    <a:lnTo>
                      <a:pt x="463" y="629"/>
                    </a:lnTo>
                    <a:lnTo>
                      <a:pt x="463" y="627"/>
                    </a:lnTo>
                    <a:lnTo>
                      <a:pt x="461" y="627"/>
                    </a:lnTo>
                    <a:lnTo>
                      <a:pt x="461" y="625"/>
                    </a:lnTo>
                    <a:lnTo>
                      <a:pt x="461" y="627"/>
                    </a:lnTo>
                    <a:lnTo>
                      <a:pt x="461" y="625"/>
                    </a:lnTo>
                    <a:lnTo>
                      <a:pt x="461" y="627"/>
                    </a:lnTo>
                    <a:lnTo>
                      <a:pt x="459" y="627"/>
                    </a:lnTo>
                    <a:lnTo>
                      <a:pt x="461" y="627"/>
                    </a:lnTo>
                    <a:lnTo>
                      <a:pt x="459" y="627"/>
                    </a:lnTo>
                    <a:lnTo>
                      <a:pt x="459" y="625"/>
                    </a:lnTo>
                    <a:lnTo>
                      <a:pt x="457" y="625"/>
                    </a:lnTo>
                    <a:lnTo>
                      <a:pt x="455" y="623"/>
                    </a:lnTo>
                    <a:lnTo>
                      <a:pt x="455" y="625"/>
                    </a:lnTo>
                    <a:lnTo>
                      <a:pt x="453" y="623"/>
                    </a:lnTo>
                    <a:lnTo>
                      <a:pt x="455" y="623"/>
                    </a:lnTo>
                    <a:lnTo>
                      <a:pt x="457" y="621"/>
                    </a:lnTo>
                    <a:lnTo>
                      <a:pt x="455" y="621"/>
                    </a:lnTo>
                    <a:lnTo>
                      <a:pt x="455" y="619"/>
                    </a:lnTo>
                    <a:lnTo>
                      <a:pt x="453" y="619"/>
                    </a:lnTo>
                    <a:lnTo>
                      <a:pt x="455" y="618"/>
                    </a:lnTo>
                    <a:lnTo>
                      <a:pt x="453" y="618"/>
                    </a:lnTo>
                    <a:lnTo>
                      <a:pt x="453" y="616"/>
                    </a:lnTo>
                    <a:lnTo>
                      <a:pt x="451" y="616"/>
                    </a:lnTo>
                    <a:lnTo>
                      <a:pt x="451" y="614"/>
                    </a:lnTo>
                    <a:lnTo>
                      <a:pt x="453" y="614"/>
                    </a:lnTo>
                    <a:lnTo>
                      <a:pt x="455" y="614"/>
                    </a:lnTo>
                    <a:lnTo>
                      <a:pt x="455" y="616"/>
                    </a:lnTo>
                    <a:lnTo>
                      <a:pt x="457" y="616"/>
                    </a:lnTo>
                    <a:lnTo>
                      <a:pt x="455" y="616"/>
                    </a:lnTo>
                    <a:lnTo>
                      <a:pt x="455" y="614"/>
                    </a:lnTo>
                    <a:lnTo>
                      <a:pt x="453" y="614"/>
                    </a:lnTo>
                    <a:lnTo>
                      <a:pt x="451" y="612"/>
                    </a:lnTo>
                    <a:lnTo>
                      <a:pt x="451" y="614"/>
                    </a:lnTo>
                    <a:lnTo>
                      <a:pt x="451" y="612"/>
                    </a:lnTo>
                    <a:lnTo>
                      <a:pt x="451" y="610"/>
                    </a:lnTo>
                    <a:lnTo>
                      <a:pt x="449" y="610"/>
                    </a:lnTo>
                    <a:lnTo>
                      <a:pt x="451" y="610"/>
                    </a:lnTo>
                    <a:lnTo>
                      <a:pt x="449" y="610"/>
                    </a:lnTo>
                    <a:lnTo>
                      <a:pt x="447" y="610"/>
                    </a:lnTo>
                    <a:lnTo>
                      <a:pt x="447" y="608"/>
                    </a:lnTo>
                    <a:lnTo>
                      <a:pt x="445" y="608"/>
                    </a:lnTo>
                    <a:lnTo>
                      <a:pt x="447" y="608"/>
                    </a:lnTo>
                    <a:lnTo>
                      <a:pt x="447" y="606"/>
                    </a:lnTo>
                    <a:lnTo>
                      <a:pt x="445" y="604"/>
                    </a:lnTo>
                    <a:lnTo>
                      <a:pt x="445" y="602"/>
                    </a:lnTo>
                    <a:lnTo>
                      <a:pt x="447" y="602"/>
                    </a:lnTo>
                    <a:lnTo>
                      <a:pt x="445" y="602"/>
                    </a:lnTo>
                    <a:lnTo>
                      <a:pt x="445" y="604"/>
                    </a:lnTo>
                    <a:lnTo>
                      <a:pt x="447" y="604"/>
                    </a:lnTo>
                    <a:lnTo>
                      <a:pt x="447" y="602"/>
                    </a:lnTo>
                    <a:lnTo>
                      <a:pt x="447" y="604"/>
                    </a:lnTo>
                    <a:lnTo>
                      <a:pt x="449" y="604"/>
                    </a:lnTo>
                    <a:lnTo>
                      <a:pt x="449" y="602"/>
                    </a:lnTo>
                    <a:lnTo>
                      <a:pt x="451" y="602"/>
                    </a:lnTo>
                    <a:lnTo>
                      <a:pt x="449" y="602"/>
                    </a:lnTo>
                    <a:lnTo>
                      <a:pt x="451" y="602"/>
                    </a:lnTo>
                    <a:lnTo>
                      <a:pt x="451" y="600"/>
                    </a:lnTo>
                    <a:lnTo>
                      <a:pt x="451" y="602"/>
                    </a:lnTo>
                    <a:lnTo>
                      <a:pt x="451" y="600"/>
                    </a:lnTo>
                    <a:lnTo>
                      <a:pt x="451" y="602"/>
                    </a:lnTo>
                    <a:lnTo>
                      <a:pt x="451" y="600"/>
                    </a:lnTo>
                    <a:lnTo>
                      <a:pt x="453" y="600"/>
                    </a:lnTo>
                    <a:lnTo>
                      <a:pt x="453" y="602"/>
                    </a:lnTo>
                    <a:lnTo>
                      <a:pt x="455" y="600"/>
                    </a:lnTo>
                    <a:lnTo>
                      <a:pt x="457" y="600"/>
                    </a:lnTo>
                    <a:lnTo>
                      <a:pt x="457" y="598"/>
                    </a:lnTo>
                    <a:lnTo>
                      <a:pt x="457" y="600"/>
                    </a:lnTo>
                    <a:lnTo>
                      <a:pt x="459" y="602"/>
                    </a:lnTo>
                    <a:lnTo>
                      <a:pt x="457" y="602"/>
                    </a:lnTo>
                    <a:lnTo>
                      <a:pt x="459" y="602"/>
                    </a:lnTo>
                    <a:lnTo>
                      <a:pt x="459" y="600"/>
                    </a:lnTo>
                    <a:lnTo>
                      <a:pt x="461" y="600"/>
                    </a:lnTo>
                    <a:lnTo>
                      <a:pt x="461" y="602"/>
                    </a:lnTo>
                    <a:lnTo>
                      <a:pt x="461" y="600"/>
                    </a:lnTo>
                    <a:lnTo>
                      <a:pt x="463" y="600"/>
                    </a:lnTo>
                    <a:lnTo>
                      <a:pt x="465" y="602"/>
                    </a:lnTo>
                    <a:lnTo>
                      <a:pt x="467" y="602"/>
                    </a:lnTo>
                    <a:lnTo>
                      <a:pt x="467" y="600"/>
                    </a:lnTo>
                    <a:lnTo>
                      <a:pt x="468" y="600"/>
                    </a:lnTo>
                    <a:lnTo>
                      <a:pt x="470" y="600"/>
                    </a:lnTo>
                    <a:lnTo>
                      <a:pt x="472" y="600"/>
                    </a:lnTo>
                    <a:lnTo>
                      <a:pt x="474" y="600"/>
                    </a:lnTo>
                    <a:lnTo>
                      <a:pt x="474" y="598"/>
                    </a:lnTo>
                    <a:lnTo>
                      <a:pt x="476" y="598"/>
                    </a:lnTo>
                    <a:lnTo>
                      <a:pt x="474" y="598"/>
                    </a:lnTo>
                    <a:lnTo>
                      <a:pt x="474" y="600"/>
                    </a:lnTo>
                    <a:lnTo>
                      <a:pt x="472" y="600"/>
                    </a:lnTo>
                    <a:lnTo>
                      <a:pt x="470" y="600"/>
                    </a:lnTo>
                    <a:lnTo>
                      <a:pt x="468" y="600"/>
                    </a:lnTo>
                    <a:lnTo>
                      <a:pt x="467" y="600"/>
                    </a:lnTo>
                    <a:lnTo>
                      <a:pt x="467" y="602"/>
                    </a:lnTo>
                    <a:lnTo>
                      <a:pt x="465" y="602"/>
                    </a:lnTo>
                    <a:lnTo>
                      <a:pt x="463" y="600"/>
                    </a:lnTo>
                    <a:lnTo>
                      <a:pt x="461" y="600"/>
                    </a:lnTo>
                    <a:lnTo>
                      <a:pt x="461" y="602"/>
                    </a:lnTo>
                    <a:lnTo>
                      <a:pt x="461" y="600"/>
                    </a:lnTo>
                    <a:lnTo>
                      <a:pt x="459" y="600"/>
                    </a:lnTo>
                    <a:lnTo>
                      <a:pt x="459" y="602"/>
                    </a:lnTo>
                    <a:lnTo>
                      <a:pt x="457" y="600"/>
                    </a:lnTo>
                    <a:lnTo>
                      <a:pt x="459" y="598"/>
                    </a:lnTo>
                    <a:lnTo>
                      <a:pt x="459" y="600"/>
                    </a:lnTo>
                    <a:lnTo>
                      <a:pt x="459" y="598"/>
                    </a:lnTo>
                    <a:lnTo>
                      <a:pt x="461" y="598"/>
                    </a:lnTo>
                    <a:lnTo>
                      <a:pt x="463" y="598"/>
                    </a:lnTo>
                    <a:lnTo>
                      <a:pt x="463" y="596"/>
                    </a:lnTo>
                    <a:lnTo>
                      <a:pt x="465" y="596"/>
                    </a:lnTo>
                    <a:lnTo>
                      <a:pt x="467" y="596"/>
                    </a:lnTo>
                    <a:lnTo>
                      <a:pt x="467" y="594"/>
                    </a:lnTo>
                    <a:lnTo>
                      <a:pt x="468" y="594"/>
                    </a:lnTo>
                    <a:lnTo>
                      <a:pt x="468" y="593"/>
                    </a:lnTo>
                    <a:lnTo>
                      <a:pt x="468" y="591"/>
                    </a:lnTo>
                    <a:lnTo>
                      <a:pt x="470" y="591"/>
                    </a:lnTo>
                    <a:lnTo>
                      <a:pt x="470" y="589"/>
                    </a:lnTo>
                    <a:lnTo>
                      <a:pt x="470" y="587"/>
                    </a:lnTo>
                    <a:lnTo>
                      <a:pt x="472" y="587"/>
                    </a:lnTo>
                    <a:lnTo>
                      <a:pt x="474" y="587"/>
                    </a:lnTo>
                    <a:lnTo>
                      <a:pt x="474" y="585"/>
                    </a:lnTo>
                    <a:lnTo>
                      <a:pt x="474" y="583"/>
                    </a:lnTo>
                    <a:lnTo>
                      <a:pt x="476" y="583"/>
                    </a:lnTo>
                    <a:lnTo>
                      <a:pt x="476" y="581"/>
                    </a:lnTo>
                    <a:lnTo>
                      <a:pt x="476" y="583"/>
                    </a:lnTo>
                    <a:lnTo>
                      <a:pt x="474" y="583"/>
                    </a:lnTo>
                    <a:lnTo>
                      <a:pt x="474" y="585"/>
                    </a:lnTo>
                    <a:lnTo>
                      <a:pt x="474" y="587"/>
                    </a:lnTo>
                    <a:lnTo>
                      <a:pt x="472" y="587"/>
                    </a:lnTo>
                    <a:lnTo>
                      <a:pt x="470" y="587"/>
                    </a:lnTo>
                    <a:lnTo>
                      <a:pt x="470" y="589"/>
                    </a:lnTo>
                    <a:lnTo>
                      <a:pt x="470" y="591"/>
                    </a:lnTo>
                    <a:lnTo>
                      <a:pt x="470" y="589"/>
                    </a:lnTo>
                    <a:lnTo>
                      <a:pt x="470" y="591"/>
                    </a:lnTo>
                    <a:lnTo>
                      <a:pt x="468" y="591"/>
                    </a:lnTo>
                    <a:lnTo>
                      <a:pt x="468" y="593"/>
                    </a:lnTo>
                    <a:lnTo>
                      <a:pt x="468" y="594"/>
                    </a:lnTo>
                    <a:lnTo>
                      <a:pt x="467" y="594"/>
                    </a:lnTo>
                    <a:lnTo>
                      <a:pt x="467" y="596"/>
                    </a:lnTo>
                    <a:lnTo>
                      <a:pt x="465" y="596"/>
                    </a:lnTo>
                    <a:lnTo>
                      <a:pt x="463" y="596"/>
                    </a:lnTo>
                    <a:lnTo>
                      <a:pt x="463" y="598"/>
                    </a:lnTo>
                    <a:lnTo>
                      <a:pt x="461" y="598"/>
                    </a:lnTo>
                    <a:lnTo>
                      <a:pt x="459" y="598"/>
                    </a:lnTo>
                    <a:lnTo>
                      <a:pt x="459" y="600"/>
                    </a:lnTo>
                    <a:lnTo>
                      <a:pt x="459" y="598"/>
                    </a:lnTo>
                    <a:lnTo>
                      <a:pt x="457" y="598"/>
                    </a:lnTo>
                    <a:lnTo>
                      <a:pt x="457" y="600"/>
                    </a:lnTo>
                    <a:lnTo>
                      <a:pt x="457" y="598"/>
                    </a:lnTo>
                    <a:lnTo>
                      <a:pt x="457" y="600"/>
                    </a:lnTo>
                    <a:lnTo>
                      <a:pt x="457" y="598"/>
                    </a:lnTo>
                    <a:lnTo>
                      <a:pt x="455" y="598"/>
                    </a:lnTo>
                    <a:lnTo>
                      <a:pt x="455" y="600"/>
                    </a:lnTo>
                    <a:lnTo>
                      <a:pt x="453" y="600"/>
                    </a:lnTo>
                    <a:lnTo>
                      <a:pt x="455" y="600"/>
                    </a:lnTo>
                    <a:lnTo>
                      <a:pt x="453" y="600"/>
                    </a:lnTo>
                    <a:lnTo>
                      <a:pt x="453" y="602"/>
                    </a:lnTo>
                    <a:lnTo>
                      <a:pt x="453" y="600"/>
                    </a:lnTo>
                    <a:lnTo>
                      <a:pt x="451" y="600"/>
                    </a:lnTo>
                    <a:lnTo>
                      <a:pt x="449" y="600"/>
                    </a:lnTo>
                    <a:lnTo>
                      <a:pt x="449" y="602"/>
                    </a:lnTo>
                    <a:lnTo>
                      <a:pt x="451" y="602"/>
                    </a:lnTo>
                    <a:lnTo>
                      <a:pt x="449" y="602"/>
                    </a:lnTo>
                    <a:lnTo>
                      <a:pt x="449" y="604"/>
                    </a:lnTo>
                    <a:lnTo>
                      <a:pt x="447" y="602"/>
                    </a:lnTo>
                    <a:lnTo>
                      <a:pt x="447" y="604"/>
                    </a:lnTo>
                    <a:lnTo>
                      <a:pt x="445" y="604"/>
                    </a:lnTo>
                    <a:lnTo>
                      <a:pt x="445" y="602"/>
                    </a:lnTo>
                    <a:lnTo>
                      <a:pt x="447" y="602"/>
                    </a:lnTo>
                    <a:lnTo>
                      <a:pt x="445" y="602"/>
                    </a:lnTo>
                    <a:lnTo>
                      <a:pt x="445" y="604"/>
                    </a:lnTo>
                    <a:lnTo>
                      <a:pt x="443" y="604"/>
                    </a:lnTo>
                    <a:lnTo>
                      <a:pt x="443" y="602"/>
                    </a:lnTo>
                    <a:lnTo>
                      <a:pt x="442" y="602"/>
                    </a:lnTo>
                    <a:lnTo>
                      <a:pt x="442" y="600"/>
                    </a:lnTo>
                    <a:lnTo>
                      <a:pt x="440" y="600"/>
                    </a:lnTo>
                    <a:lnTo>
                      <a:pt x="440" y="598"/>
                    </a:lnTo>
                    <a:lnTo>
                      <a:pt x="440" y="600"/>
                    </a:lnTo>
                    <a:lnTo>
                      <a:pt x="438" y="600"/>
                    </a:lnTo>
                    <a:lnTo>
                      <a:pt x="436" y="598"/>
                    </a:lnTo>
                    <a:lnTo>
                      <a:pt x="434" y="596"/>
                    </a:lnTo>
                    <a:lnTo>
                      <a:pt x="436" y="594"/>
                    </a:lnTo>
                    <a:lnTo>
                      <a:pt x="434" y="594"/>
                    </a:lnTo>
                    <a:lnTo>
                      <a:pt x="434" y="593"/>
                    </a:lnTo>
                    <a:lnTo>
                      <a:pt x="434" y="591"/>
                    </a:lnTo>
                    <a:lnTo>
                      <a:pt x="436" y="591"/>
                    </a:lnTo>
                    <a:lnTo>
                      <a:pt x="436" y="589"/>
                    </a:lnTo>
                    <a:lnTo>
                      <a:pt x="434" y="589"/>
                    </a:lnTo>
                    <a:lnTo>
                      <a:pt x="434" y="587"/>
                    </a:lnTo>
                    <a:lnTo>
                      <a:pt x="432" y="585"/>
                    </a:lnTo>
                    <a:lnTo>
                      <a:pt x="430" y="585"/>
                    </a:lnTo>
                    <a:lnTo>
                      <a:pt x="432" y="583"/>
                    </a:lnTo>
                    <a:lnTo>
                      <a:pt x="432" y="585"/>
                    </a:lnTo>
                    <a:lnTo>
                      <a:pt x="432" y="583"/>
                    </a:lnTo>
                    <a:lnTo>
                      <a:pt x="430" y="583"/>
                    </a:lnTo>
                    <a:lnTo>
                      <a:pt x="430" y="581"/>
                    </a:lnTo>
                    <a:lnTo>
                      <a:pt x="430" y="579"/>
                    </a:lnTo>
                    <a:lnTo>
                      <a:pt x="428" y="579"/>
                    </a:lnTo>
                    <a:lnTo>
                      <a:pt x="428" y="577"/>
                    </a:lnTo>
                    <a:lnTo>
                      <a:pt x="428" y="575"/>
                    </a:lnTo>
                    <a:lnTo>
                      <a:pt x="428" y="573"/>
                    </a:lnTo>
                    <a:lnTo>
                      <a:pt x="428" y="571"/>
                    </a:lnTo>
                    <a:lnTo>
                      <a:pt x="426" y="569"/>
                    </a:lnTo>
                    <a:lnTo>
                      <a:pt x="426" y="568"/>
                    </a:lnTo>
                    <a:lnTo>
                      <a:pt x="426" y="566"/>
                    </a:lnTo>
                    <a:lnTo>
                      <a:pt x="426" y="564"/>
                    </a:lnTo>
                    <a:lnTo>
                      <a:pt x="426" y="562"/>
                    </a:lnTo>
                    <a:lnTo>
                      <a:pt x="426" y="560"/>
                    </a:lnTo>
                    <a:lnTo>
                      <a:pt x="424" y="562"/>
                    </a:lnTo>
                    <a:lnTo>
                      <a:pt x="426" y="560"/>
                    </a:lnTo>
                    <a:lnTo>
                      <a:pt x="428" y="560"/>
                    </a:lnTo>
                    <a:lnTo>
                      <a:pt x="430" y="560"/>
                    </a:lnTo>
                    <a:lnTo>
                      <a:pt x="428" y="560"/>
                    </a:lnTo>
                    <a:lnTo>
                      <a:pt x="428" y="558"/>
                    </a:lnTo>
                    <a:lnTo>
                      <a:pt x="430" y="558"/>
                    </a:lnTo>
                    <a:lnTo>
                      <a:pt x="432" y="558"/>
                    </a:lnTo>
                    <a:lnTo>
                      <a:pt x="434" y="556"/>
                    </a:lnTo>
                    <a:lnTo>
                      <a:pt x="436" y="556"/>
                    </a:lnTo>
                    <a:lnTo>
                      <a:pt x="436" y="554"/>
                    </a:lnTo>
                    <a:lnTo>
                      <a:pt x="438" y="554"/>
                    </a:lnTo>
                    <a:lnTo>
                      <a:pt x="438" y="556"/>
                    </a:lnTo>
                    <a:lnTo>
                      <a:pt x="436" y="558"/>
                    </a:lnTo>
                    <a:lnTo>
                      <a:pt x="438" y="558"/>
                    </a:lnTo>
                    <a:lnTo>
                      <a:pt x="440" y="558"/>
                    </a:lnTo>
                    <a:lnTo>
                      <a:pt x="440" y="560"/>
                    </a:lnTo>
                    <a:lnTo>
                      <a:pt x="440" y="562"/>
                    </a:lnTo>
                    <a:lnTo>
                      <a:pt x="438" y="562"/>
                    </a:lnTo>
                    <a:lnTo>
                      <a:pt x="438" y="564"/>
                    </a:lnTo>
                    <a:lnTo>
                      <a:pt x="440" y="564"/>
                    </a:lnTo>
                    <a:lnTo>
                      <a:pt x="440" y="566"/>
                    </a:lnTo>
                    <a:lnTo>
                      <a:pt x="440" y="568"/>
                    </a:lnTo>
                    <a:lnTo>
                      <a:pt x="442" y="566"/>
                    </a:lnTo>
                    <a:lnTo>
                      <a:pt x="442" y="568"/>
                    </a:lnTo>
                    <a:lnTo>
                      <a:pt x="443" y="569"/>
                    </a:lnTo>
                    <a:lnTo>
                      <a:pt x="445" y="569"/>
                    </a:lnTo>
                    <a:lnTo>
                      <a:pt x="445" y="571"/>
                    </a:lnTo>
                    <a:lnTo>
                      <a:pt x="447" y="571"/>
                    </a:lnTo>
                    <a:lnTo>
                      <a:pt x="449" y="571"/>
                    </a:lnTo>
                    <a:lnTo>
                      <a:pt x="449" y="573"/>
                    </a:lnTo>
                    <a:lnTo>
                      <a:pt x="447" y="573"/>
                    </a:lnTo>
                    <a:lnTo>
                      <a:pt x="449" y="573"/>
                    </a:lnTo>
                    <a:lnTo>
                      <a:pt x="451" y="573"/>
                    </a:lnTo>
                    <a:lnTo>
                      <a:pt x="453" y="573"/>
                    </a:lnTo>
                    <a:lnTo>
                      <a:pt x="453" y="575"/>
                    </a:lnTo>
                    <a:lnTo>
                      <a:pt x="455" y="575"/>
                    </a:lnTo>
                    <a:lnTo>
                      <a:pt x="457" y="575"/>
                    </a:lnTo>
                    <a:lnTo>
                      <a:pt x="459" y="573"/>
                    </a:lnTo>
                    <a:lnTo>
                      <a:pt x="461" y="573"/>
                    </a:lnTo>
                    <a:lnTo>
                      <a:pt x="461" y="575"/>
                    </a:lnTo>
                    <a:lnTo>
                      <a:pt x="463" y="575"/>
                    </a:lnTo>
                    <a:lnTo>
                      <a:pt x="463" y="573"/>
                    </a:lnTo>
                    <a:lnTo>
                      <a:pt x="465" y="573"/>
                    </a:lnTo>
                    <a:lnTo>
                      <a:pt x="465" y="571"/>
                    </a:lnTo>
                    <a:lnTo>
                      <a:pt x="465" y="569"/>
                    </a:lnTo>
                    <a:lnTo>
                      <a:pt x="465" y="568"/>
                    </a:lnTo>
                    <a:lnTo>
                      <a:pt x="465" y="566"/>
                    </a:lnTo>
                    <a:lnTo>
                      <a:pt x="467" y="566"/>
                    </a:lnTo>
                    <a:lnTo>
                      <a:pt x="467" y="564"/>
                    </a:lnTo>
                    <a:lnTo>
                      <a:pt x="465" y="564"/>
                    </a:lnTo>
                    <a:lnTo>
                      <a:pt x="465" y="562"/>
                    </a:lnTo>
                    <a:lnTo>
                      <a:pt x="465" y="560"/>
                    </a:lnTo>
                    <a:lnTo>
                      <a:pt x="467" y="560"/>
                    </a:lnTo>
                    <a:lnTo>
                      <a:pt x="467" y="558"/>
                    </a:lnTo>
                    <a:lnTo>
                      <a:pt x="468" y="558"/>
                    </a:lnTo>
                    <a:lnTo>
                      <a:pt x="468" y="556"/>
                    </a:lnTo>
                    <a:lnTo>
                      <a:pt x="468" y="554"/>
                    </a:lnTo>
                    <a:lnTo>
                      <a:pt x="470" y="554"/>
                    </a:lnTo>
                    <a:lnTo>
                      <a:pt x="470" y="556"/>
                    </a:lnTo>
                    <a:lnTo>
                      <a:pt x="472" y="556"/>
                    </a:lnTo>
                    <a:lnTo>
                      <a:pt x="472" y="554"/>
                    </a:lnTo>
                    <a:lnTo>
                      <a:pt x="474" y="554"/>
                    </a:lnTo>
                    <a:lnTo>
                      <a:pt x="476" y="554"/>
                    </a:lnTo>
                    <a:lnTo>
                      <a:pt x="478" y="554"/>
                    </a:lnTo>
                    <a:lnTo>
                      <a:pt x="480" y="554"/>
                    </a:lnTo>
                    <a:lnTo>
                      <a:pt x="480" y="552"/>
                    </a:lnTo>
                    <a:lnTo>
                      <a:pt x="480" y="554"/>
                    </a:lnTo>
                    <a:lnTo>
                      <a:pt x="482" y="554"/>
                    </a:lnTo>
                    <a:lnTo>
                      <a:pt x="484" y="554"/>
                    </a:lnTo>
                    <a:lnTo>
                      <a:pt x="486" y="554"/>
                    </a:lnTo>
                    <a:lnTo>
                      <a:pt x="486" y="552"/>
                    </a:lnTo>
                    <a:lnTo>
                      <a:pt x="488" y="552"/>
                    </a:lnTo>
                    <a:lnTo>
                      <a:pt x="488" y="550"/>
                    </a:lnTo>
                    <a:lnTo>
                      <a:pt x="490" y="550"/>
                    </a:lnTo>
                    <a:lnTo>
                      <a:pt x="492" y="550"/>
                    </a:lnTo>
                    <a:lnTo>
                      <a:pt x="492" y="548"/>
                    </a:lnTo>
                    <a:lnTo>
                      <a:pt x="490" y="548"/>
                    </a:lnTo>
                    <a:lnTo>
                      <a:pt x="492" y="548"/>
                    </a:lnTo>
                    <a:lnTo>
                      <a:pt x="490" y="546"/>
                    </a:lnTo>
                    <a:lnTo>
                      <a:pt x="492" y="546"/>
                    </a:lnTo>
                    <a:lnTo>
                      <a:pt x="492" y="544"/>
                    </a:lnTo>
                    <a:lnTo>
                      <a:pt x="492" y="543"/>
                    </a:lnTo>
                    <a:lnTo>
                      <a:pt x="492" y="544"/>
                    </a:lnTo>
                    <a:lnTo>
                      <a:pt x="492" y="546"/>
                    </a:lnTo>
                    <a:lnTo>
                      <a:pt x="490" y="546"/>
                    </a:lnTo>
                    <a:lnTo>
                      <a:pt x="490" y="548"/>
                    </a:lnTo>
                    <a:lnTo>
                      <a:pt x="492" y="548"/>
                    </a:lnTo>
                    <a:lnTo>
                      <a:pt x="490" y="548"/>
                    </a:lnTo>
                    <a:lnTo>
                      <a:pt x="492" y="550"/>
                    </a:lnTo>
                    <a:lnTo>
                      <a:pt x="490" y="550"/>
                    </a:lnTo>
                    <a:lnTo>
                      <a:pt x="488" y="550"/>
                    </a:lnTo>
                    <a:lnTo>
                      <a:pt x="488" y="552"/>
                    </a:lnTo>
                    <a:lnTo>
                      <a:pt x="486" y="552"/>
                    </a:lnTo>
                    <a:lnTo>
                      <a:pt x="486" y="554"/>
                    </a:lnTo>
                    <a:lnTo>
                      <a:pt x="484" y="554"/>
                    </a:lnTo>
                    <a:lnTo>
                      <a:pt x="482" y="554"/>
                    </a:lnTo>
                    <a:lnTo>
                      <a:pt x="480" y="554"/>
                    </a:lnTo>
                    <a:lnTo>
                      <a:pt x="480" y="552"/>
                    </a:lnTo>
                    <a:lnTo>
                      <a:pt x="480" y="554"/>
                    </a:lnTo>
                    <a:lnTo>
                      <a:pt x="478" y="554"/>
                    </a:lnTo>
                    <a:lnTo>
                      <a:pt x="476" y="554"/>
                    </a:lnTo>
                    <a:lnTo>
                      <a:pt x="474" y="554"/>
                    </a:lnTo>
                    <a:lnTo>
                      <a:pt x="472" y="554"/>
                    </a:lnTo>
                    <a:lnTo>
                      <a:pt x="472" y="556"/>
                    </a:lnTo>
                    <a:lnTo>
                      <a:pt x="470" y="556"/>
                    </a:lnTo>
                    <a:lnTo>
                      <a:pt x="470" y="554"/>
                    </a:lnTo>
                    <a:lnTo>
                      <a:pt x="468" y="554"/>
                    </a:lnTo>
                    <a:lnTo>
                      <a:pt x="468" y="556"/>
                    </a:lnTo>
                    <a:lnTo>
                      <a:pt x="467" y="556"/>
                    </a:lnTo>
                    <a:lnTo>
                      <a:pt x="467" y="558"/>
                    </a:lnTo>
                    <a:lnTo>
                      <a:pt x="467" y="560"/>
                    </a:lnTo>
                    <a:lnTo>
                      <a:pt x="465" y="560"/>
                    </a:lnTo>
                    <a:lnTo>
                      <a:pt x="465" y="562"/>
                    </a:lnTo>
                    <a:lnTo>
                      <a:pt x="465" y="564"/>
                    </a:lnTo>
                    <a:lnTo>
                      <a:pt x="467" y="564"/>
                    </a:lnTo>
                    <a:lnTo>
                      <a:pt x="467" y="566"/>
                    </a:lnTo>
                    <a:lnTo>
                      <a:pt x="465" y="566"/>
                    </a:lnTo>
                    <a:lnTo>
                      <a:pt x="467" y="566"/>
                    </a:lnTo>
                    <a:lnTo>
                      <a:pt x="465" y="568"/>
                    </a:lnTo>
                    <a:lnTo>
                      <a:pt x="463" y="568"/>
                    </a:lnTo>
                    <a:lnTo>
                      <a:pt x="463" y="569"/>
                    </a:lnTo>
                    <a:lnTo>
                      <a:pt x="465" y="569"/>
                    </a:lnTo>
                    <a:lnTo>
                      <a:pt x="463" y="569"/>
                    </a:lnTo>
                    <a:lnTo>
                      <a:pt x="465" y="569"/>
                    </a:lnTo>
                    <a:lnTo>
                      <a:pt x="465" y="571"/>
                    </a:lnTo>
                    <a:lnTo>
                      <a:pt x="463" y="573"/>
                    </a:lnTo>
                    <a:lnTo>
                      <a:pt x="463" y="575"/>
                    </a:lnTo>
                    <a:lnTo>
                      <a:pt x="461" y="575"/>
                    </a:lnTo>
                    <a:lnTo>
                      <a:pt x="461" y="573"/>
                    </a:lnTo>
                    <a:lnTo>
                      <a:pt x="459" y="573"/>
                    </a:lnTo>
                    <a:lnTo>
                      <a:pt x="457" y="573"/>
                    </a:lnTo>
                    <a:lnTo>
                      <a:pt x="457" y="575"/>
                    </a:lnTo>
                    <a:lnTo>
                      <a:pt x="455" y="575"/>
                    </a:lnTo>
                    <a:lnTo>
                      <a:pt x="453" y="575"/>
                    </a:lnTo>
                    <a:lnTo>
                      <a:pt x="453" y="573"/>
                    </a:lnTo>
                    <a:lnTo>
                      <a:pt x="451" y="573"/>
                    </a:lnTo>
                    <a:lnTo>
                      <a:pt x="451" y="571"/>
                    </a:lnTo>
                    <a:lnTo>
                      <a:pt x="451" y="573"/>
                    </a:lnTo>
                    <a:lnTo>
                      <a:pt x="449" y="573"/>
                    </a:lnTo>
                    <a:lnTo>
                      <a:pt x="447" y="573"/>
                    </a:lnTo>
                    <a:lnTo>
                      <a:pt x="449" y="573"/>
                    </a:lnTo>
                    <a:lnTo>
                      <a:pt x="449" y="571"/>
                    </a:lnTo>
                    <a:lnTo>
                      <a:pt x="447" y="571"/>
                    </a:lnTo>
                    <a:lnTo>
                      <a:pt x="445" y="571"/>
                    </a:lnTo>
                    <a:lnTo>
                      <a:pt x="445" y="569"/>
                    </a:lnTo>
                    <a:lnTo>
                      <a:pt x="443" y="569"/>
                    </a:lnTo>
                    <a:lnTo>
                      <a:pt x="443" y="568"/>
                    </a:lnTo>
                    <a:lnTo>
                      <a:pt x="442" y="568"/>
                    </a:lnTo>
                    <a:lnTo>
                      <a:pt x="442" y="566"/>
                    </a:lnTo>
                    <a:lnTo>
                      <a:pt x="440" y="566"/>
                    </a:lnTo>
                    <a:lnTo>
                      <a:pt x="442" y="566"/>
                    </a:lnTo>
                    <a:lnTo>
                      <a:pt x="442" y="564"/>
                    </a:lnTo>
                    <a:lnTo>
                      <a:pt x="440" y="564"/>
                    </a:lnTo>
                    <a:lnTo>
                      <a:pt x="438" y="562"/>
                    </a:lnTo>
                    <a:lnTo>
                      <a:pt x="440" y="562"/>
                    </a:lnTo>
                    <a:lnTo>
                      <a:pt x="440" y="560"/>
                    </a:lnTo>
                    <a:lnTo>
                      <a:pt x="440" y="558"/>
                    </a:lnTo>
                    <a:lnTo>
                      <a:pt x="438" y="558"/>
                    </a:lnTo>
                    <a:lnTo>
                      <a:pt x="438" y="556"/>
                    </a:lnTo>
                    <a:lnTo>
                      <a:pt x="438" y="554"/>
                    </a:lnTo>
                    <a:lnTo>
                      <a:pt x="436" y="554"/>
                    </a:lnTo>
                    <a:lnTo>
                      <a:pt x="434" y="556"/>
                    </a:lnTo>
                    <a:lnTo>
                      <a:pt x="434" y="554"/>
                    </a:lnTo>
                    <a:lnTo>
                      <a:pt x="436" y="554"/>
                    </a:lnTo>
                    <a:lnTo>
                      <a:pt x="434" y="554"/>
                    </a:lnTo>
                    <a:lnTo>
                      <a:pt x="434" y="556"/>
                    </a:lnTo>
                    <a:lnTo>
                      <a:pt x="432" y="556"/>
                    </a:lnTo>
                    <a:lnTo>
                      <a:pt x="432" y="558"/>
                    </a:lnTo>
                    <a:lnTo>
                      <a:pt x="430" y="558"/>
                    </a:lnTo>
                    <a:lnTo>
                      <a:pt x="428" y="558"/>
                    </a:lnTo>
                    <a:lnTo>
                      <a:pt x="428" y="560"/>
                    </a:lnTo>
                    <a:lnTo>
                      <a:pt x="428" y="558"/>
                    </a:lnTo>
                    <a:lnTo>
                      <a:pt x="426" y="556"/>
                    </a:lnTo>
                    <a:lnTo>
                      <a:pt x="426" y="554"/>
                    </a:lnTo>
                    <a:lnTo>
                      <a:pt x="428" y="554"/>
                    </a:lnTo>
                    <a:lnTo>
                      <a:pt x="430" y="552"/>
                    </a:lnTo>
                    <a:lnTo>
                      <a:pt x="430" y="550"/>
                    </a:lnTo>
                    <a:lnTo>
                      <a:pt x="432" y="548"/>
                    </a:lnTo>
                    <a:lnTo>
                      <a:pt x="434" y="548"/>
                    </a:lnTo>
                    <a:lnTo>
                      <a:pt x="434" y="546"/>
                    </a:lnTo>
                    <a:lnTo>
                      <a:pt x="434" y="544"/>
                    </a:lnTo>
                    <a:lnTo>
                      <a:pt x="434" y="543"/>
                    </a:lnTo>
                    <a:lnTo>
                      <a:pt x="434" y="541"/>
                    </a:lnTo>
                    <a:lnTo>
                      <a:pt x="434" y="539"/>
                    </a:lnTo>
                    <a:lnTo>
                      <a:pt x="434" y="537"/>
                    </a:lnTo>
                    <a:lnTo>
                      <a:pt x="436" y="537"/>
                    </a:lnTo>
                    <a:lnTo>
                      <a:pt x="436" y="535"/>
                    </a:lnTo>
                    <a:lnTo>
                      <a:pt x="436" y="533"/>
                    </a:lnTo>
                    <a:lnTo>
                      <a:pt x="438" y="533"/>
                    </a:lnTo>
                    <a:lnTo>
                      <a:pt x="438" y="535"/>
                    </a:lnTo>
                    <a:lnTo>
                      <a:pt x="438" y="533"/>
                    </a:lnTo>
                    <a:lnTo>
                      <a:pt x="438" y="535"/>
                    </a:lnTo>
                    <a:lnTo>
                      <a:pt x="438" y="533"/>
                    </a:lnTo>
                    <a:lnTo>
                      <a:pt x="438" y="535"/>
                    </a:lnTo>
                    <a:lnTo>
                      <a:pt x="438" y="533"/>
                    </a:lnTo>
                    <a:lnTo>
                      <a:pt x="438" y="531"/>
                    </a:lnTo>
                    <a:lnTo>
                      <a:pt x="438" y="533"/>
                    </a:lnTo>
                    <a:lnTo>
                      <a:pt x="438" y="531"/>
                    </a:lnTo>
                    <a:lnTo>
                      <a:pt x="438" y="533"/>
                    </a:lnTo>
                    <a:lnTo>
                      <a:pt x="436" y="533"/>
                    </a:lnTo>
                    <a:lnTo>
                      <a:pt x="436" y="531"/>
                    </a:lnTo>
                    <a:lnTo>
                      <a:pt x="434" y="531"/>
                    </a:lnTo>
                    <a:lnTo>
                      <a:pt x="434" y="529"/>
                    </a:lnTo>
                    <a:lnTo>
                      <a:pt x="434" y="527"/>
                    </a:lnTo>
                    <a:lnTo>
                      <a:pt x="434" y="525"/>
                    </a:lnTo>
                    <a:lnTo>
                      <a:pt x="434" y="523"/>
                    </a:lnTo>
                    <a:lnTo>
                      <a:pt x="434" y="521"/>
                    </a:lnTo>
                    <a:lnTo>
                      <a:pt x="434" y="519"/>
                    </a:lnTo>
                    <a:lnTo>
                      <a:pt x="432" y="519"/>
                    </a:lnTo>
                    <a:lnTo>
                      <a:pt x="432" y="518"/>
                    </a:lnTo>
                    <a:lnTo>
                      <a:pt x="432" y="516"/>
                    </a:lnTo>
                    <a:lnTo>
                      <a:pt x="432" y="514"/>
                    </a:lnTo>
                    <a:lnTo>
                      <a:pt x="434" y="514"/>
                    </a:lnTo>
                    <a:lnTo>
                      <a:pt x="434" y="512"/>
                    </a:lnTo>
                    <a:lnTo>
                      <a:pt x="432" y="512"/>
                    </a:lnTo>
                    <a:lnTo>
                      <a:pt x="432" y="510"/>
                    </a:lnTo>
                    <a:lnTo>
                      <a:pt x="434" y="510"/>
                    </a:lnTo>
                    <a:lnTo>
                      <a:pt x="434" y="508"/>
                    </a:lnTo>
                    <a:lnTo>
                      <a:pt x="432" y="508"/>
                    </a:lnTo>
                    <a:lnTo>
                      <a:pt x="434" y="506"/>
                    </a:lnTo>
                    <a:lnTo>
                      <a:pt x="432" y="506"/>
                    </a:lnTo>
                    <a:lnTo>
                      <a:pt x="432" y="504"/>
                    </a:lnTo>
                    <a:lnTo>
                      <a:pt x="434" y="504"/>
                    </a:lnTo>
                    <a:lnTo>
                      <a:pt x="434" y="502"/>
                    </a:lnTo>
                    <a:lnTo>
                      <a:pt x="436" y="502"/>
                    </a:lnTo>
                    <a:lnTo>
                      <a:pt x="436" y="500"/>
                    </a:lnTo>
                    <a:lnTo>
                      <a:pt x="438" y="500"/>
                    </a:lnTo>
                    <a:lnTo>
                      <a:pt x="440" y="500"/>
                    </a:lnTo>
                    <a:lnTo>
                      <a:pt x="440" y="498"/>
                    </a:lnTo>
                    <a:lnTo>
                      <a:pt x="442" y="498"/>
                    </a:lnTo>
                    <a:lnTo>
                      <a:pt x="440" y="498"/>
                    </a:lnTo>
                    <a:lnTo>
                      <a:pt x="440" y="496"/>
                    </a:lnTo>
                    <a:lnTo>
                      <a:pt x="442" y="496"/>
                    </a:lnTo>
                    <a:lnTo>
                      <a:pt x="442" y="494"/>
                    </a:lnTo>
                    <a:lnTo>
                      <a:pt x="443" y="494"/>
                    </a:lnTo>
                    <a:lnTo>
                      <a:pt x="442" y="494"/>
                    </a:lnTo>
                    <a:lnTo>
                      <a:pt x="440" y="494"/>
                    </a:lnTo>
                    <a:lnTo>
                      <a:pt x="440" y="493"/>
                    </a:lnTo>
                    <a:lnTo>
                      <a:pt x="442" y="493"/>
                    </a:lnTo>
                    <a:lnTo>
                      <a:pt x="442" y="491"/>
                    </a:lnTo>
                    <a:lnTo>
                      <a:pt x="442" y="489"/>
                    </a:lnTo>
                    <a:lnTo>
                      <a:pt x="440" y="489"/>
                    </a:lnTo>
                    <a:lnTo>
                      <a:pt x="442" y="489"/>
                    </a:lnTo>
                    <a:lnTo>
                      <a:pt x="442" y="487"/>
                    </a:lnTo>
                    <a:lnTo>
                      <a:pt x="440" y="487"/>
                    </a:lnTo>
                    <a:lnTo>
                      <a:pt x="442" y="487"/>
                    </a:lnTo>
                    <a:lnTo>
                      <a:pt x="443" y="487"/>
                    </a:lnTo>
                    <a:lnTo>
                      <a:pt x="445" y="487"/>
                    </a:lnTo>
                    <a:lnTo>
                      <a:pt x="445" y="489"/>
                    </a:lnTo>
                    <a:lnTo>
                      <a:pt x="447" y="489"/>
                    </a:lnTo>
                    <a:lnTo>
                      <a:pt x="449" y="489"/>
                    </a:lnTo>
                    <a:lnTo>
                      <a:pt x="449" y="491"/>
                    </a:lnTo>
                    <a:lnTo>
                      <a:pt x="451" y="491"/>
                    </a:lnTo>
                    <a:lnTo>
                      <a:pt x="451" y="493"/>
                    </a:lnTo>
                    <a:lnTo>
                      <a:pt x="453" y="493"/>
                    </a:lnTo>
                    <a:lnTo>
                      <a:pt x="455" y="493"/>
                    </a:lnTo>
                    <a:lnTo>
                      <a:pt x="457" y="493"/>
                    </a:lnTo>
                    <a:lnTo>
                      <a:pt x="459" y="493"/>
                    </a:lnTo>
                    <a:lnTo>
                      <a:pt x="461" y="493"/>
                    </a:lnTo>
                    <a:lnTo>
                      <a:pt x="461" y="494"/>
                    </a:lnTo>
                    <a:lnTo>
                      <a:pt x="461" y="493"/>
                    </a:lnTo>
                    <a:lnTo>
                      <a:pt x="463" y="493"/>
                    </a:lnTo>
                    <a:lnTo>
                      <a:pt x="463" y="494"/>
                    </a:lnTo>
                    <a:lnTo>
                      <a:pt x="463" y="496"/>
                    </a:lnTo>
                    <a:lnTo>
                      <a:pt x="465" y="494"/>
                    </a:lnTo>
                    <a:lnTo>
                      <a:pt x="467" y="494"/>
                    </a:lnTo>
                    <a:lnTo>
                      <a:pt x="467" y="496"/>
                    </a:lnTo>
                    <a:lnTo>
                      <a:pt x="468" y="496"/>
                    </a:lnTo>
                    <a:lnTo>
                      <a:pt x="470" y="496"/>
                    </a:lnTo>
                    <a:lnTo>
                      <a:pt x="472" y="496"/>
                    </a:lnTo>
                    <a:lnTo>
                      <a:pt x="474" y="496"/>
                    </a:lnTo>
                    <a:lnTo>
                      <a:pt x="474" y="498"/>
                    </a:lnTo>
                    <a:lnTo>
                      <a:pt x="476" y="498"/>
                    </a:lnTo>
                    <a:lnTo>
                      <a:pt x="476" y="496"/>
                    </a:lnTo>
                    <a:lnTo>
                      <a:pt x="478" y="496"/>
                    </a:lnTo>
                    <a:lnTo>
                      <a:pt x="480" y="496"/>
                    </a:lnTo>
                    <a:lnTo>
                      <a:pt x="478" y="496"/>
                    </a:lnTo>
                    <a:lnTo>
                      <a:pt x="478" y="494"/>
                    </a:lnTo>
                    <a:lnTo>
                      <a:pt x="480" y="494"/>
                    </a:lnTo>
                    <a:lnTo>
                      <a:pt x="482" y="496"/>
                    </a:lnTo>
                    <a:lnTo>
                      <a:pt x="482" y="494"/>
                    </a:lnTo>
                    <a:lnTo>
                      <a:pt x="482" y="496"/>
                    </a:lnTo>
                    <a:lnTo>
                      <a:pt x="482" y="494"/>
                    </a:lnTo>
                    <a:lnTo>
                      <a:pt x="484" y="494"/>
                    </a:lnTo>
                    <a:lnTo>
                      <a:pt x="486" y="494"/>
                    </a:lnTo>
                    <a:lnTo>
                      <a:pt x="486" y="496"/>
                    </a:lnTo>
                    <a:lnTo>
                      <a:pt x="488" y="496"/>
                    </a:lnTo>
                    <a:lnTo>
                      <a:pt x="490" y="496"/>
                    </a:lnTo>
                    <a:lnTo>
                      <a:pt x="490" y="494"/>
                    </a:lnTo>
                    <a:lnTo>
                      <a:pt x="492" y="494"/>
                    </a:lnTo>
                    <a:lnTo>
                      <a:pt x="492" y="496"/>
                    </a:lnTo>
                    <a:lnTo>
                      <a:pt x="493" y="496"/>
                    </a:lnTo>
                    <a:lnTo>
                      <a:pt x="493" y="494"/>
                    </a:lnTo>
                    <a:lnTo>
                      <a:pt x="495" y="494"/>
                    </a:lnTo>
                    <a:lnTo>
                      <a:pt x="495" y="493"/>
                    </a:lnTo>
                    <a:lnTo>
                      <a:pt x="497" y="493"/>
                    </a:lnTo>
                    <a:lnTo>
                      <a:pt x="497" y="491"/>
                    </a:lnTo>
                    <a:lnTo>
                      <a:pt x="499" y="491"/>
                    </a:lnTo>
                    <a:lnTo>
                      <a:pt x="501" y="489"/>
                    </a:lnTo>
                    <a:lnTo>
                      <a:pt x="503" y="489"/>
                    </a:lnTo>
                    <a:lnTo>
                      <a:pt x="505" y="489"/>
                    </a:lnTo>
                    <a:lnTo>
                      <a:pt x="505" y="487"/>
                    </a:lnTo>
                    <a:lnTo>
                      <a:pt x="505" y="489"/>
                    </a:lnTo>
                    <a:lnTo>
                      <a:pt x="505" y="487"/>
                    </a:lnTo>
                    <a:lnTo>
                      <a:pt x="505" y="485"/>
                    </a:lnTo>
                    <a:lnTo>
                      <a:pt x="507" y="485"/>
                    </a:lnTo>
                    <a:lnTo>
                      <a:pt x="507" y="487"/>
                    </a:lnTo>
                    <a:lnTo>
                      <a:pt x="507" y="485"/>
                    </a:lnTo>
                    <a:lnTo>
                      <a:pt x="509" y="485"/>
                    </a:lnTo>
                    <a:lnTo>
                      <a:pt x="511" y="485"/>
                    </a:lnTo>
                    <a:lnTo>
                      <a:pt x="513" y="483"/>
                    </a:lnTo>
                    <a:lnTo>
                      <a:pt x="515" y="483"/>
                    </a:lnTo>
                    <a:lnTo>
                      <a:pt x="516" y="483"/>
                    </a:lnTo>
                    <a:lnTo>
                      <a:pt x="516" y="481"/>
                    </a:lnTo>
                    <a:lnTo>
                      <a:pt x="516" y="483"/>
                    </a:lnTo>
                    <a:lnTo>
                      <a:pt x="516" y="481"/>
                    </a:lnTo>
                    <a:lnTo>
                      <a:pt x="518" y="481"/>
                    </a:lnTo>
                    <a:lnTo>
                      <a:pt x="518" y="483"/>
                    </a:lnTo>
                    <a:lnTo>
                      <a:pt x="520" y="483"/>
                    </a:lnTo>
                    <a:lnTo>
                      <a:pt x="518" y="481"/>
                    </a:lnTo>
                    <a:lnTo>
                      <a:pt x="518" y="483"/>
                    </a:lnTo>
                    <a:lnTo>
                      <a:pt x="518" y="481"/>
                    </a:lnTo>
                    <a:lnTo>
                      <a:pt x="520" y="481"/>
                    </a:lnTo>
                    <a:lnTo>
                      <a:pt x="518" y="481"/>
                    </a:lnTo>
                    <a:lnTo>
                      <a:pt x="516" y="481"/>
                    </a:lnTo>
                    <a:lnTo>
                      <a:pt x="518" y="481"/>
                    </a:lnTo>
                    <a:lnTo>
                      <a:pt x="516" y="481"/>
                    </a:lnTo>
                    <a:lnTo>
                      <a:pt x="515" y="481"/>
                    </a:lnTo>
                    <a:lnTo>
                      <a:pt x="515" y="483"/>
                    </a:lnTo>
                    <a:lnTo>
                      <a:pt x="513" y="483"/>
                    </a:lnTo>
                    <a:lnTo>
                      <a:pt x="511" y="483"/>
                    </a:lnTo>
                    <a:lnTo>
                      <a:pt x="511" y="485"/>
                    </a:lnTo>
                    <a:lnTo>
                      <a:pt x="509" y="485"/>
                    </a:lnTo>
                    <a:lnTo>
                      <a:pt x="507" y="485"/>
                    </a:lnTo>
                    <a:lnTo>
                      <a:pt x="505" y="485"/>
                    </a:lnTo>
                    <a:lnTo>
                      <a:pt x="505" y="487"/>
                    </a:lnTo>
                    <a:lnTo>
                      <a:pt x="505" y="489"/>
                    </a:lnTo>
                    <a:lnTo>
                      <a:pt x="503" y="487"/>
                    </a:lnTo>
                    <a:lnTo>
                      <a:pt x="503" y="489"/>
                    </a:lnTo>
                    <a:lnTo>
                      <a:pt x="503" y="487"/>
                    </a:lnTo>
                    <a:lnTo>
                      <a:pt x="503" y="489"/>
                    </a:lnTo>
                    <a:lnTo>
                      <a:pt x="503" y="487"/>
                    </a:lnTo>
                    <a:lnTo>
                      <a:pt x="503" y="489"/>
                    </a:lnTo>
                    <a:lnTo>
                      <a:pt x="503" y="487"/>
                    </a:lnTo>
                    <a:lnTo>
                      <a:pt x="503" y="489"/>
                    </a:lnTo>
                    <a:lnTo>
                      <a:pt x="501" y="489"/>
                    </a:lnTo>
                    <a:lnTo>
                      <a:pt x="499" y="489"/>
                    </a:lnTo>
                    <a:lnTo>
                      <a:pt x="499" y="491"/>
                    </a:lnTo>
                    <a:lnTo>
                      <a:pt x="497" y="491"/>
                    </a:lnTo>
                    <a:lnTo>
                      <a:pt x="497" y="493"/>
                    </a:lnTo>
                    <a:lnTo>
                      <a:pt x="497" y="491"/>
                    </a:lnTo>
                    <a:lnTo>
                      <a:pt x="497" y="493"/>
                    </a:lnTo>
                    <a:lnTo>
                      <a:pt x="495" y="493"/>
                    </a:lnTo>
                    <a:lnTo>
                      <a:pt x="497" y="493"/>
                    </a:lnTo>
                    <a:lnTo>
                      <a:pt x="495" y="493"/>
                    </a:lnTo>
                    <a:lnTo>
                      <a:pt x="495" y="494"/>
                    </a:lnTo>
                    <a:lnTo>
                      <a:pt x="493" y="494"/>
                    </a:lnTo>
                    <a:lnTo>
                      <a:pt x="493" y="496"/>
                    </a:lnTo>
                    <a:lnTo>
                      <a:pt x="492" y="496"/>
                    </a:lnTo>
                    <a:lnTo>
                      <a:pt x="492" y="494"/>
                    </a:lnTo>
                    <a:lnTo>
                      <a:pt x="490" y="494"/>
                    </a:lnTo>
                    <a:lnTo>
                      <a:pt x="490" y="496"/>
                    </a:lnTo>
                    <a:lnTo>
                      <a:pt x="488" y="496"/>
                    </a:lnTo>
                    <a:lnTo>
                      <a:pt x="486" y="496"/>
                    </a:lnTo>
                    <a:lnTo>
                      <a:pt x="486" y="494"/>
                    </a:lnTo>
                    <a:lnTo>
                      <a:pt x="484" y="494"/>
                    </a:lnTo>
                    <a:lnTo>
                      <a:pt x="486" y="494"/>
                    </a:lnTo>
                    <a:lnTo>
                      <a:pt x="484" y="494"/>
                    </a:lnTo>
                    <a:lnTo>
                      <a:pt x="482" y="494"/>
                    </a:lnTo>
                    <a:lnTo>
                      <a:pt x="484" y="494"/>
                    </a:lnTo>
                    <a:lnTo>
                      <a:pt x="482" y="494"/>
                    </a:lnTo>
                    <a:lnTo>
                      <a:pt x="482" y="496"/>
                    </a:lnTo>
                    <a:lnTo>
                      <a:pt x="482" y="494"/>
                    </a:lnTo>
                    <a:lnTo>
                      <a:pt x="480" y="494"/>
                    </a:lnTo>
                    <a:lnTo>
                      <a:pt x="478" y="494"/>
                    </a:lnTo>
                    <a:lnTo>
                      <a:pt x="478" y="496"/>
                    </a:lnTo>
                    <a:lnTo>
                      <a:pt x="480" y="496"/>
                    </a:lnTo>
                    <a:lnTo>
                      <a:pt x="478" y="496"/>
                    </a:lnTo>
                    <a:lnTo>
                      <a:pt x="476" y="496"/>
                    </a:lnTo>
                    <a:lnTo>
                      <a:pt x="476" y="498"/>
                    </a:lnTo>
                    <a:lnTo>
                      <a:pt x="474" y="498"/>
                    </a:lnTo>
                    <a:lnTo>
                      <a:pt x="474" y="496"/>
                    </a:lnTo>
                    <a:lnTo>
                      <a:pt x="472" y="496"/>
                    </a:lnTo>
                    <a:lnTo>
                      <a:pt x="470" y="496"/>
                    </a:lnTo>
                    <a:lnTo>
                      <a:pt x="468" y="496"/>
                    </a:lnTo>
                    <a:lnTo>
                      <a:pt x="467" y="496"/>
                    </a:lnTo>
                    <a:lnTo>
                      <a:pt x="467" y="494"/>
                    </a:lnTo>
                    <a:lnTo>
                      <a:pt x="465" y="494"/>
                    </a:lnTo>
                    <a:lnTo>
                      <a:pt x="467" y="494"/>
                    </a:lnTo>
                    <a:lnTo>
                      <a:pt x="465" y="494"/>
                    </a:lnTo>
                    <a:lnTo>
                      <a:pt x="463" y="494"/>
                    </a:lnTo>
                    <a:lnTo>
                      <a:pt x="463" y="493"/>
                    </a:lnTo>
                    <a:lnTo>
                      <a:pt x="461" y="493"/>
                    </a:lnTo>
                    <a:lnTo>
                      <a:pt x="459" y="493"/>
                    </a:lnTo>
                    <a:lnTo>
                      <a:pt x="457" y="493"/>
                    </a:lnTo>
                    <a:lnTo>
                      <a:pt x="457" y="491"/>
                    </a:lnTo>
                    <a:lnTo>
                      <a:pt x="455" y="493"/>
                    </a:lnTo>
                    <a:lnTo>
                      <a:pt x="455" y="491"/>
                    </a:lnTo>
                    <a:lnTo>
                      <a:pt x="455" y="493"/>
                    </a:lnTo>
                    <a:lnTo>
                      <a:pt x="455" y="491"/>
                    </a:lnTo>
                    <a:lnTo>
                      <a:pt x="455" y="493"/>
                    </a:lnTo>
                    <a:lnTo>
                      <a:pt x="453" y="491"/>
                    </a:lnTo>
                    <a:lnTo>
                      <a:pt x="453" y="493"/>
                    </a:lnTo>
                    <a:lnTo>
                      <a:pt x="451" y="493"/>
                    </a:lnTo>
                    <a:lnTo>
                      <a:pt x="451" y="491"/>
                    </a:lnTo>
                    <a:lnTo>
                      <a:pt x="449" y="489"/>
                    </a:lnTo>
                    <a:lnTo>
                      <a:pt x="449" y="491"/>
                    </a:lnTo>
                    <a:lnTo>
                      <a:pt x="449" y="489"/>
                    </a:lnTo>
                    <a:lnTo>
                      <a:pt x="447" y="489"/>
                    </a:lnTo>
                    <a:lnTo>
                      <a:pt x="445" y="489"/>
                    </a:lnTo>
                    <a:lnTo>
                      <a:pt x="445" y="487"/>
                    </a:lnTo>
                    <a:lnTo>
                      <a:pt x="443" y="487"/>
                    </a:lnTo>
                    <a:lnTo>
                      <a:pt x="442" y="487"/>
                    </a:lnTo>
                    <a:lnTo>
                      <a:pt x="440" y="487"/>
                    </a:lnTo>
                    <a:lnTo>
                      <a:pt x="442" y="487"/>
                    </a:lnTo>
                    <a:lnTo>
                      <a:pt x="442" y="489"/>
                    </a:lnTo>
                    <a:lnTo>
                      <a:pt x="440" y="489"/>
                    </a:lnTo>
                    <a:lnTo>
                      <a:pt x="442" y="491"/>
                    </a:lnTo>
                    <a:lnTo>
                      <a:pt x="442" y="493"/>
                    </a:lnTo>
                    <a:lnTo>
                      <a:pt x="440" y="493"/>
                    </a:lnTo>
                    <a:lnTo>
                      <a:pt x="440" y="494"/>
                    </a:lnTo>
                    <a:lnTo>
                      <a:pt x="442" y="494"/>
                    </a:lnTo>
                    <a:lnTo>
                      <a:pt x="443" y="494"/>
                    </a:lnTo>
                    <a:lnTo>
                      <a:pt x="442" y="494"/>
                    </a:lnTo>
                    <a:lnTo>
                      <a:pt x="442" y="496"/>
                    </a:lnTo>
                    <a:lnTo>
                      <a:pt x="440" y="496"/>
                    </a:lnTo>
                    <a:lnTo>
                      <a:pt x="440" y="498"/>
                    </a:lnTo>
                    <a:lnTo>
                      <a:pt x="442" y="498"/>
                    </a:lnTo>
                    <a:lnTo>
                      <a:pt x="440" y="498"/>
                    </a:lnTo>
                    <a:lnTo>
                      <a:pt x="440" y="500"/>
                    </a:lnTo>
                    <a:lnTo>
                      <a:pt x="438" y="500"/>
                    </a:lnTo>
                    <a:lnTo>
                      <a:pt x="438" y="498"/>
                    </a:lnTo>
                    <a:lnTo>
                      <a:pt x="436" y="498"/>
                    </a:lnTo>
                    <a:lnTo>
                      <a:pt x="436" y="500"/>
                    </a:lnTo>
                    <a:lnTo>
                      <a:pt x="436" y="502"/>
                    </a:lnTo>
                    <a:lnTo>
                      <a:pt x="434" y="502"/>
                    </a:lnTo>
                    <a:lnTo>
                      <a:pt x="434" y="504"/>
                    </a:lnTo>
                    <a:lnTo>
                      <a:pt x="432" y="504"/>
                    </a:lnTo>
                    <a:lnTo>
                      <a:pt x="432" y="506"/>
                    </a:lnTo>
                    <a:lnTo>
                      <a:pt x="434" y="506"/>
                    </a:lnTo>
                    <a:lnTo>
                      <a:pt x="432" y="506"/>
                    </a:lnTo>
                    <a:lnTo>
                      <a:pt x="432" y="508"/>
                    </a:lnTo>
                    <a:lnTo>
                      <a:pt x="434" y="508"/>
                    </a:lnTo>
                    <a:lnTo>
                      <a:pt x="434" y="510"/>
                    </a:lnTo>
                    <a:lnTo>
                      <a:pt x="432" y="510"/>
                    </a:lnTo>
                    <a:lnTo>
                      <a:pt x="432" y="512"/>
                    </a:lnTo>
                    <a:lnTo>
                      <a:pt x="430" y="508"/>
                    </a:lnTo>
                    <a:lnTo>
                      <a:pt x="430" y="506"/>
                    </a:lnTo>
                    <a:lnTo>
                      <a:pt x="430" y="504"/>
                    </a:lnTo>
                    <a:lnTo>
                      <a:pt x="430" y="502"/>
                    </a:lnTo>
                    <a:lnTo>
                      <a:pt x="428" y="500"/>
                    </a:lnTo>
                    <a:lnTo>
                      <a:pt x="428" y="498"/>
                    </a:lnTo>
                    <a:lnTo>
                      <a:pt x="428" y="496"/>
                    </a:lnTo>
                    <a:lnTo>
                      <a:pt x="428" y="494"/>
                    </a:lnTo>
                    <a:lnTo>
                      <a:pt x="428" y="493"/>
                    </a:lnTo>
                    <a:lnTo>
                      <a:pt x="430" y="491"/>
                    </a:lnTo>
                    <a:lnTo>
                      <a:pt x="430" y="489"/>
                    </a:lnTo>
                    <a:lnTo>
                      <a:pt x="430" y="487"/>
                    </a:lnTo>
                    <a:lnTo>
                      <a:pt x="430" y="485"/>
                    </a:lnTo>
                    <a:lnTo>
                      <a:pt x="432" y="485"/>
                    </a:lnTo>
                    <a:lnTo>
                      <a:pt x="432" y="483"/>
                    </a:lnTo>
                    <a:lnTo>
                      <a:pt x="434" y="483"/>
                    </a:lnTo>
                    <a:lnTo>
                      <a:pt x="434" y="481"/>
                    </a:lnTo>
                    <a:lnTo>
                      <a:pt x="436" y="479"/>
                    </a:lnTo>
                    <a:lnTo>
                      <a:pt x="436" y="477"/>
                    </a:lnTo>
                    <a:lnTo>
                      <a:pt x="436" y="475"/>
                    </a:lnTo>
                    <a:lnTo>
                      <a:pt x="438" y="475"/>
                    </a:lnTo>
                    <a:lnTo>
                      <a:pt x="436" y="473"/>
                    </a:lnTo>
                    <a:lnTo>
                      <a:pt x="438" y="473"/>
                    </a:lnTo>
                    <a:lnTo>
                      <a:pt x="436" y="471"/>
                    </a:lnTo>
                    <a:lnTo>
                      <a:pt x="438" y="470"/>
                    </a:lnTo>
                    <a:lnTo>
                      <a:pt x="440" y="468"/>
                    </a:lnTo>
                    <a:lnTo>
                      <a:pt x="440" y="466"/>
                    </a:lnTo>
                    <a:lnTo>
                      <a:pt x="438" y="464"/>
                    </a:lnTo>
                    <a:lnTo>
                      <a:pt x="438" y="462"/>
                    </a:lnTo>
                    <a:lnTo>
                      <a:pt x="438" y="460"/>
                    </a:lnTo>
                    <a:lnTo>
                      <a:pt x="438" y="458"/>
                    </a:lnTo>
                    <a:lnTo>
                      <a:pt x="440" y="456"/>
                    </a:lnTo>
                    <a:lnTo>
                      <a:pt x="440" y="454"/>
                    </a:lnTo>
                    <a:lnTo>
                      <a:pt x="440" y="452"/>
                    </a:lnTo>
                    <a:lnTo>
                      <a:pt x="440" y="450"/>
                    </a:lnTo>
                    <a:lnTo>
                      <a:pt x="440" y="448"/>
                    </a:lnTo>
                    <a:lnTo>
                      <a:pt x="440" y="446"/>
                    </a:lnTo>
                    <a:lnTo>
                      <a:pt x="440" y="445"/>
                    </a:lnTo>
                    <a:lnTo>
                      <a:pt x="442" y="445"/>
                    </a:lnTo>
                    <a:lnTo>
                      <a:pt x="443" y="445"/>
                    </a:lnTo>
                    <a:lnTo>
                      <a:pt x="443" y="443"/>
                    </a:lnTo>
                    <a:lnTo>
                      <a:pt x="443" y="445"/>
                    </a:lnTo>
                    <a:lnTo>
                      <a:pt x="445" y="445"/>
                    </a:lnTo>
                    <a:lnTo>
                      <a:pt x="445" y="443"/>
                    </a:lnTo>
                    <a:lnTo>
                      <a:pt x="445" y="445"/>
                    </a:lnTo>
                    <a:lnTo>
                      <a:pt x="447" y="445"/>
                    </a:lnTo>
                    <a:lnTo>
                      <a:pt x="449" y="445"/>
                    </a:lnTo>
                    <a:lnTo>
                      <a:pt x="451" y="445"/>
                    </a:lnTo>
                    <a:lnTo>
                      <a:pt x="451" y="443"/>
                    </a:lnTo>
                    <a:lnTo>
                      <a:pt x="451" y="445"/>
                    </a:lnTo>
                    <a:lnTo>
                      <a:pt x="453" y="445"/>
                    </a:lnTo>
                    <a:lnTo>
                      <a:pt x="453" y="446"/>
                    </a:lnTo>
                    <a:lnTo>
                      <a:pt x="453" y="445"/>
                    </a:lnTo>
                    <a:lnTo>
                      <a:pt x="453" y="446"/>
                    </a:lnTo>
                    <a:lnTo>
                      <a:pt x="455" y="446"/>
                    </a:lnTo>
                    <a:lnTo>
                      <a:pt x="453" y="446"/>
                    </a:lnTo>
                    <a:lnTo>
                      <a:pt x="455" y="448"/>
                    </a:lnTo>
                    <a:lnTo>
                      <a:pt x="453" y="448"/>
                    </a:lnTo>
                    <a:lnTo>
                      <a:pt x="455" y="448"/>
                    </a:lnTo>
                    <a:lnTo>
                      <a:pt x="455" y="450"/>
                    </a:lnTo>
                    <a:lnTo>
                      <a:pt x="457" y="450"/>
                    </a:lnTo>
                    <a:lnTo>
                      <a:pt x="457" y="452"/>
                    </a:lnTo>
                    <a:lnTo>
                      <a:pt x="455" y="452"/>
                    </a:lnTo>
                    <a:lnTo>
                      <a:pt x="457" y="452"/>
                    </a:lnTo>
                    <a:lnTo>
                      <a:pt x="455" y="452"/>
                    </a:lnTo>
                    <a:lnTo>
                      <a:pt x="457" y="452"/>
                    </a:lnTo>
                    <a:lnTo>
                      <a:pt x="457" y="454"/>
                    </a:lnTo>
                    <a:lnTo>
                      <a:pt x="457" y="456"/>
                    </a:lnTo>
                    <a:lnTo>
                      <a:pt x="455" y="456"/>
                    </a:lnTo>
                    <a:lnTo>
                      <a:pt x="455" y="458"/>
                    </a:lnTo>
                    <a:lnTo>
                      <a:pt x="453" y="458"/>
                    </a:lnTo>
                    <a:lnTo>
                      <a:pt x="453" y="460"/>
                    </a:lnTo>
                    <a:lnTo>
                      <a:pt x="453" y="462"/>
                    </a:lnTo>
                    <a:lnTo>
                      <a:pt x="453" y="464"/>
                    </a:lnTo>
                    <a:lnTo>
                      <a:pt x="451" y="464"/>
                    </a:lnTo>
                    <a:lnTo>
                      <a:pt x="451" y="466"/>
                    </a:lnTo>
                    <a:lnTo>
                      <a:pt x="451" y="468"/>
                    </a:lnTo>
                    <a:lnTo>
                      <a:pt x="451" y="466"/>
                    </a:lnTo>
                    <a:lnTo>
                      <a:pt x="453" y="468"/>
                    </a:lnTo>
                    <a:lnTo>
                      <a:pt x="451" y="468"/>
                    </a:lnTo>
                    <a:lnTo>
                      <a:pt x="451" y="470"/>
                    </a:lnTo>
                    <a:lnTo>
                      <a:pt x="451" y="471"/>
                    </a:lnTo>
                    <a:lnTo>
                      <a:pt x="449" y="471"/>
                    </a:lnTo>
                    <a:lnTo>
                      <a:pt x="451" y="471"/>
                    </a:lnTo>
                    <a:lnTo>
                      <a:pt x="451" y="473"/>
                    </a:lnTo>
                    <a:lnTo>
                      <a:pt x="449" y="471"/>
                    </a:lnTo>
                    <a:lnTo>
                      <a:pt x="449" y="473"/>
                    </a:lnTo>
                    <a:lnTo>
                      <a:pt x="449" y="475"/>
                    </a:lnTo>
                    <a:lnTo>
                      <a:pt x="449" y="477"/>
                    </a:lnTo>
                    <a:lnTo>
                      <a:pt x="451" y="475"/>
                    </a:lnTo>
                    <a:lnTo>
                      <a:pt x="451" y="477"/>
                    </a:lnTo>
                    <a:lnTo>
                      <a:pt x="453" y="477"/>
                    </a:lnTo>
                    <a:lnTo>
                      <a:pt x="455" y="479"/>
                    </a:lnTo>
                    <a:lnTo>
                      <a:pt x="455" y="477"/>
                    </a:lnTo>
                    <a:lnTo>
                      <a:pt x="455" y="479"/>
                    </a:lnTo>
                    <a:lnTo>
                      <a:pt x="457" y="479"/>
                    </a:lnTo>
                    <a:lnTo>
                      <a:pt x="459" y="479"/>
                    </a:lnTo>
                    <a:lnTo>
                      <a:pt x="461" y="479"/>
                    </a:lnTo>
                    <a:lnTo>
                      <a:pt x="459" y="479"/>
                    </a:lnTo>
                    <a:lnTo>
                      <a:pt x="457" y="479"/>
                    </a:lnTo>
                    <a:lnTo>
                      <a:pt x="455" y="479"/>
                    </a:lnTo>
                    <a:lnTo>
                      <a:pt x="455" y="477"/>
                    </a:lnTo>
                    <a:lnTo>
                      <a:pt x="453" y="477"/>
                    </a:lnTo>
                    <a:lnTo>
                      <a:pt x="455" y="477"/>
                    </a:lnTo>
                    <a:lnTo>
                      <a:pt x="453" y="477"/>
                    </a:lnTo>
                    <a:lnTo>
                      <a:pt x="455" y="477"/>
                    </a:lnTo>
                    <a:lnTo>
                      <a:pt x="453" y="477"/>
                    </a:lnTo>
                    <a:lnTo>
                      <a:pt x="451" y="477"/>
                    </a:lnTo>
                    <a:lnTo>
                      <a:pt x="451" y="475"/>
                    </a:lnTo>
                    <a:lnTo>
                      <a:pt x="449" y="477"/>
                    </a:lnTo>
                    <a:lnTo>
                      <a:pt x="449" y="475"/>
                    </a:lnTo>
                    <a:lnTo>
                      <a:pt x="449" y="473"/>
                    </a:lnTo>
                    <a:lnTo>
                      <a:pt x="449" y="471"/>
                    </a:lnTo>
                    <a:lnTo>
                      <a:pt x="449" y="473"/>
                    </a:lnTo>
                    <a:lnTo>
                      <a:pt x="451" y="473"/>
                    </a:lnTo>
                    <a:lnTo>
                      <a:pt x="451" y="471"/>
                    </a:lnTo>
                    <a:lnTo>
                      <a:pt x="451" y="470"/>
                    </a:lnTo>
                    <a:lnTo>
                      <a:pt x="451" y="468"/>
                    </a:lnTo>
                    <a:lnTo>
                      <a:pt x="453" y="468"/>
                    </a:lnTo>
                    <a:lnTo>
                      <a:pt x="451" y="466"/>
                    </a:lnTo>
                    <a:lnTo>
                      <a:pt x="451" y="464"/>
                    </a:lnTo>
                    <a:lnTo>
                      <a:pt x="451" y="466"/>
                    </a:lnTo>
                    <a:lnTo>
                      <a:pt x="451" y="464"/>
                    </a:lnTo>
                    <a:lnTo>
                      <a:pt x="453" y="464"/>
                    </a:lnTo>
                    <a:lnTo>
                      <a:pt x="453" y="462"/>
                    </a:lnTo>
                    <a:lnTo>
                      <a:pt x="453" y="460"/>
                    </a:lnTo>
                    <a:lnTo>
                      <a:pt x="453" y="462"/>
                    </a:lnTo>
                    <a:lnTo>
                      <a:pt x="453" y="460"/>
                    </a:lnTo>
                    <a:lnTo>
                      <a:pt x="455" y="460"/>
                    </a:lnTo>
                    <a:lnTo>
                      <a:pt x="453" y="460"/>
                    </a:lnTo>
                    <a:lnTo>
                      <a:pt x="453" y="458"/>
                    </a:lnTo>
                    <a:lnTo>
                      <a:pt x="455" y="458"/>
                    </a:lnTo>
                    <a:lnTo>
                      <a:pt x="455" y="456"/>
                    </a:lnTo>
                    <a:lnTo>
                      <a:pt x="457" y="456"/>
                    </a:lnTo>
                    <a:lnTo>
                      <a:pt x="457" y="454"/>
                    </a:lnTo>
                    <a:lnTo>
                      <a:pt x="459" y="454"/>
                    </a:lnTo>
                    <a:lnTo>
                      <a:pt x="457" y="454"/>
                    </a:lnTo>
                    <a:lnTo>
                      <a:pt x="457" y="452"/>
                    </a:lnTo>
                    <a:lnTo>
                      <a:pt x="455" y="452"/>
                    </a:lnTo>
                    <a:lnTo>
                      <a:pt x="457" y="452"/>
                    </a:lnTo>
                    <a:lnTo>
                      <a:pt x="455" y="452"/>
                    </a:lnTo>
                    <a:lnTo>
                      <a:pt x="457" y="452"/>
                    </a:lnTo>
                    <a:lnTo>
                      <a:pt x="457" y="450"/>
                    </a:lnTo>
                    <a:lnTo>
                      <a:pt x="455" y="450"/>
                    </a:lnTo>
                    <a:lnTo>
                      <a:pt x="455" y="448"/>
                    </a:lnTo>
                    <a:lnTo>
                      <a:pt x="453" y="448"/>
                    </a:lnTo>
                    <a:lnTo>
                      <a:pt x="455" y="448"/>
                    </a:lnTo>
                    <a:lnTo>
                      <a:pt x="455" y="446"/>
                    </a:lnTo>
                    <a:lnTo>
                      <a:pt x="453" y="446"/>
                    </a:lnTo>
                    <a:lnTo>
                      <a:pt x="453" y="445"/>
                    </a:lnTo>
                    <a:lnTo>
                      <a:pt x="455" y="445"/>
                    </a:lnTo>
                    <a:lnTo>
                      <a:pt x="453" y="445"/>
                    </a:lnTo>
                    <a:lnTo>
                      <a:pt x="451" y="445"/>
                    </a:lnTo>
                    <a:lnTo>
                      <a:pt x="453" y="445"/>
                    </a:lnTo>
                    <a:lnTo>
                      <a:pt x="451" y="445"/>
                    </a:lnTo>
                    <a:lnTo>
                      <a:pt x="451" y="443"/>
                    </a:lnTo>
                    <a:lnTo>
                      <a:pt x="449" y="445"/>
                    </a:lnTo>
                    <a:lnTo>
                      <a:pt x="447" y="445"/>
                    </a:lnTo>
                    <a:lnTo>
                      <a:pt x="445" y="445"/>
                    </a:lnTo>
                    <a:lnTo>
                      <a:pt x="445" y="443"/>
                    </a:lnTo>
                    <a:lnTo>
                      <a:pt x="445" y="445"/>
                    </a:lnTo>
                    <a:lnTo>
                      <a:pt x="443" y="445"/>
                    </a:lnTo>
                    <a:lnTo>
                      <a:pt x="443" y="443"/>
                    </a:lnTo>
                    <a:lnTo>
                      <a:pt x="443" y="445"/>
                    </a:lnTo>
                    <a:lnTo>
                      <a:pt x="442" y="445"/>
                    </a:lnTo>
                    <a:lnTo>
                      <a:pt x="440" y="445"/>
                    </a:lnTo>
                    <a:lnTo>
                      <a:pt x="440" y="446"/>
                    </a:lnTo>
                    <a:lnTo>
                      <a:pt x="440" y="445"/>
                    </a:lnTo>
                    <a:lnTo>
                      <a:pt x="438" y="445"/>
                    </a:lnTo>
                    <a:lnTo>
                      <a:pt x="440" y="445"/>
                    </a:lnTo>
                    <a:lnTo>
                      <a:pt x="440" y="446"/>
                    </a:lnTo>
                    <a:lnTo>
                      <a:pt x="438" y="445"/>
                    </a:lnTo>
                    <a:lnTo>
                      <a:pt x="438" y="443"/>
                    </a:lnTo>
                    <a:lnTo>
                      <a:pt x="438" y="441"/>
                    </a:lnTo>
                    <a:lnTo>
                      <a:pt x="438" y="439"/>
                    </a:lnTo>
                    <a:lnTo>
                      <a:pt x="440" y="439"/>
                    </a:lnTo>
                    <a:lnTo>
                      <a:pt x="442" y="439"/>
                    </a:lnTo>
                    <a:lnTo>
                      <a:pt x="440" y="441"/>
                    </a:lnTo>
                    <a:lnTo>
                      <a:pt x="442" y="439"/>
                    </a:lnTo>
                    <a:lnTo>
                      <a:pt x="440" y="441"/>
                    </a:lnTo>
                    <a:lnTo>
                      <a:pt x="442" y="441"/>
                    </a:lnTo>
                    <a:lnTo>
                      <a:pt x="440" y="441"/>
                    </a:lnTo>
                    <a:lnTo>
                      <a:pt x="442" y="441"/>
                    </a:lnTo>
                    <a:lnTo>
                      <a:pt x="440" y="441"/>
                    </a:lnTo>
                    <a:lnTo>
                      <a:pt x="442" y="443"/>
                    </a:lnTo>
                    <a:lnTo>
                      <a:pt x="440" y="443"/>
                    </a:lnTo>
                    <a:lnTo>
                      <a:pt x="442" y="443"/>
                    </a:lnTo>
                    <a:lnTo>
                      <a:pt x="443" y="443"/>
                    </a:lnTo>
                    <a:lnTo>
                      <a:pt x="443" y="441"/>
                    </a:lnTo>
                    <a:lnTo>
                      <a:pt x="442" y="441"/>
                    </a:lnTo>
                    <a:lnTo>
                      <a:pt x="442" y="443"/>
                    </a:lnTo>
                    <a:lnTo>
                      <a:pt x="440" y="443"/>
                    </a:lnTo>
                    <a:lnTo>
                      <a:pt x="442" y="443"/>
                    </a:lnTo>
                    <a:lnTo>
                      <a:pt x="440" y="441"/>
                    </a:lnTo>
                    <a:lnTo>
                      <a:pt x="442" y="441"/>
                    </a:lnTo>
                    <a:lnTo>
                      <a:pt x="440" y="441"/>
                    </a:lnTo>
                    <a:lnTo>
                      <a:pt x="442" y="439"/>
                    </a:lnTo>
                    <a:lnTo>
                      <a:pt x="440" y="439"/>
                    </a:lnTo>
                    <a:lnTo>
                      <a:pt x="442" y="439"/>
                    </a:lnTo>
                    <a:lnTo>
                      <a:pt x="440" y="439"/>
                    </a:lnTo>
                    <a:lnTo>
                      <a:pt x="440" y="437"/>
                    </a:lnTo>
                    <a:lnTo>
                      <a:pt x="440" y="439"/>
                    </a:lnTo>
                    <a:lnTo>
                      <a:pt x="442" y="439"/>
                    </a:lnTo>
                    <a:lnTo>
                      <a:pt x="442" y="437"/>
                    </a:lnTo>
                    <a:lnTo>
                      <a:pt x="440" y="437"/>
                    </a:lnTo>
                    <a:lnTo>
                      <a:pt x="442" y="437"/>
                    </a:lnTo>
                    <a:lnTo>
                      <a:pt x="443" y="437"/>
                    </a:lnTo>
                    <a:lnTo>
                      <a:pt x="443" y="435"/>
                    </a:lnTo>
                    <a:lnTo>
                      <a:pt x="445" y="435"/>
                    </a:lnTo>
                    <a:lnTo>
                      <a:pt x="445" y="433"/>
                    </a:lnTo>
                    <a:lnTo>
                      <a:pt x="447" y="433"/>
                    </a:lnTo>
                    <a:lnTo>
                      <a:pt x="447" y="431"/>
                    </a:lnTo>
                    <a:lnTo>
                      <a:pt x="449" y="431"/>
                    </a:lnTo>
                    <a:lnTo>
                      <a:pt x="449" y="429"/>
                    </a:lnTo>
                    <a:lnTo>
                      <a:pt x="449" y="427"/>
                    </a:lnTo>
                    <a:lnTo>
                      <a:pt x="451" y="427"/>
                    </a:lnTo>
                    <a:lnTo>
                      <a:pt x="451" y="425"/>
                    </a:lnTo>
                    <a:lnTo>
                      <a:pt x="453" y="425"/>
                    </a:lnTo>
                    <a:lnTo>
                      <a:pt x="453" y="423"/>
                    </a:lnTo>
                    <a:lnTo>
                      <a:pt x="455" y="423"/>
                    </a:lnTo>
                    <a:lnTo>
                      <a:pt x="455" y="421"/>
                    </a:lnTo>
                    <a:lnTo>
                      <a:pt x="455" y="420"/>
                    </a:lnTo>
                    <a:lnTo>
                      <a:pt x="455" y="418"/>
                    </a:lnTo>
                    <a:lnTo>
                      <a:pt x="457" y="418"/>
                    </a:lnTo>
                    <a:lnTo>
                      <a:pt x="455" y="418"/>
                    </a:lnTo>
                    <a:lnTo>
                      <a:pt x="453" y="416"/>
                    </a:lnTo>
                    <a:lnTo>
                      <a:pt x="455" y="416"/>
                    </a:lnTo>
                    <a:lnTo>
                      <a:pt x="453" y="416"/>
                    </a:lnTo>
                    <a:lnTo>
                      <a:pt x="455" y="416"/>
                    </a:lnTo>
                    <a:lnTo>
                      <a:pt x="453" y="416"/>
                    </a:lnTo>
                    <a:lnTo>
                      <a:pt x="455" y="416"/>
                    </a:lnTo>
                    <a:lnTo>
                      <a:pt x="455" y="414"/>
                    </a:lnTo>
                    <a:lnTo>
                      <a:pt x="453" y="414"/>
                    </a:lnTo>
                    <a:lnTo>
                      <a:pt x="455" y="414"/>
                    </a:lnTo>
                    <a:lnTo>
                      <a:pt x="455" y="412"/>
                    </a:lnTo>
                    <a:lnTo>
                      <a:pt x="455" y="410"/>
                    </a:lnTo>
                    <a:lnTo>
                      <a:pt x="453" y="410"/>
                    </a:lnTo>
                    <a:lnTo>
                      <a:pt x="453" y="408"/>
                    </a:lnTo>
                    <a:lnTo>
                      <a:pt x="451" y="408"/>
                    </a:lnTo>
                    <a:lnTo>
                      <a:pt x="451" y="410"/>
                    </a:lnTo>
                    <a:lnTo>
                      <a:pt x="449" y="410"/>
                    </a:lnTo>
                    <a:lnTo>
                      <a:pt x="447" y="410"/>
                    </a:lnTo>
                    <a:lnTo>
                      <a:pt x="447" y="408"/>
                    </a:lnTo>
                    <a:lnTo>
                      <a:pt x="447" y="406"/>
                    </a:lnTo>
                    <a:lnTo>
                      <a:pt x="449" y="404"/>
                    </a:lnTo>
                    <a:lnTo>
                      <a:pt x="451" y="404"/>
                    </a:lnTo>
                    <a:lnTo>
                      <a:pt x="449" y="404"/>
                    </a:lnTo>
                    <a:lnTo>
                      <a:pt x="451" y="404"/>
                    </a:lnTo>
                    <a:lnTo>
                      <a:pt x="451" y="402"/>
                    </a:lnTo>
                    <a:lnTo>
                      <a:pt x="451" y="404"/>
                    </a:lnTo>
                    <a:lnTo>
                      <a:pt x="451" y="402"/>
                    </a:lnTo>
                    <a:lnTo>
                      <a:pt x="453" y="402"/>
                    </a:lnTo>
                    <a:lnTo>
                      <a:pt x="455" y="402"/>
                    </a:lnTo>
                    <a:lnTo>
                      <a:pt x="457" y="402"/>
                    </a:lnTo>
                    <a:lnTo>
                      <a:pt x="459" y="402"/>
                    </a:lnTo>
                    <a:lnTo>
                      <a:pt x="459" y="404"/>
                    </a:lnTo>
                    <a:lnTo>
                      <a:pt x="461" y="404"/>
                    </a:lnTo>
                    <a:lnTo>
                      <a:pt x="463" y="404"/>
                    </a:lnTo>
                    <a:lnTo>
                      <a:pt x="463" y="406"/>
                    </a:lnTo>
                    <a:lnTo>
                      <a:pt x="463" y="404"/>
                    </a:lnTo>
                    <a:lnTo>
                      <a:pt x="465" y="404"/>
                    </a:lnTo>
                    <a:lnTo>
                      <a:pt x="463" y="404"/>
                    </a:lnTo>
                    <a:lnTo>
                      <a:pt x="463" y="406"/>
                    </a:lnTo>
                    <a:lnTo>
                      <a:pt x="463" y="404"/>
                    </a:lnTo>
                    <a:lnTo>
                      <a:pt x="461" y="404"/>
                    </a:lnTo>
                    <a:lnTo>
                      <a:pt x="459" y="404"/>
                    </a:lnTo>
                    <a:lnTo>
                      <a:pt x="459" y="402"/>
                    </a:lnTo>
                    <a:lnTo>
                      <a:pt x="457" y="402"/>
                    </a:lnTo>
                    <a:lnTo>
                      <a:pt x="459" y="402"/>
                    </a:lnTo>
                    <a:lnTo>
                      <a:pt x="457" y="402"/>
                    </a:lnTo>
                    <a:lnTo>
                      <a:pt x="455" y="402"/>
                    </a:lnTo>
                    <a:lnTo>
                      <a:pt x="457" y="402"/>
                    </a:lnTo>
                    <a:lnTo>
                      <a:pt x="455" y="402"/>
                    </a:lnTo>
                    <a:lnTo>
                      <a:pt x="453" y="402"/>
                    </a:lnTo>
                    <a:lnTo>
                      <a:pt x="451" y="402"/>
                    </a:lnTo>
                    <a:lnTo>
                      <a:pt x="449" y="404"/>
                    </a:lnTo>
                    <a:lnTo>
                      <a:pt x="447" y="404"/>
                    </a:lnTo>
                    <a:lnTo>
                      <a:pt x="447" y="406"/>
                    </a:lnTo>
                    <a:lnTo>
                      <a:pt x="447" y="408"/>
                    </a:lnTo>
                    <a:lnTo>
                      <a:pt x="445" y="408"/>
                    </a:lnTo>
                    <a:lnTo>
                      <a:pt x="443" y="406"/>
                    </a:lnTo>
                    <a:lnTo>
                      <a:pt x="445" y="406"/>
                    </a:lnTo>
                    <a:lnTo>
                      <a:pt x="443" y="406"/>
                    </a:lnTo>
                    <a:lnTo>
                      <a:pt x="443" y="404"/>
                    </a:lnTo>
                    <a:lnTo>
                      <a:pt x="443" y="402"/>
                    </a:lnTo>
                    <a:lnTo>
                      <a:pt x="443" y="404"/>
                    </a:lnTo>
                    <a:lnTo>
                      <a:pt x="443" y="402"/>
                    </a:lnTo>
                    <a:lnTo>
                      <a:pt x="443" y="404"/>
                    </a:lnTo>
                    <a:lnTo>
                      <a:pt x="443" y="402"/>
                    </a:lnTo>
                    <a:lnTo>
                      <a:pt x="445" y="402"/>
                    </a:lnTo>
                    <a:lnTo>
                      <a:pt x="445" y="400"/>
                    </a:lnTo>
                    <a:lnTo>
                      <a:pt x="447" y="398"/>
                    </a:lnTo>
                    <a:lnTo>
                      <a:pt x="449" y="398"/>
                    </a:lnTo>
                    <a:lnTo>
                      <a:pt x="451" y="398"/>
                    </a:lnTo>
                    <a:lnTo>
                      <a:pt x="451" y="396"/>
                    </a:lnTo>
                    <a:lnTo>
                      <a:pt x="453" y="396"/>
                    </a:lnTo>
                    <a:lnTo>
                      <a:pt x="453" y="398"/>
                    </a:lnTo>
                    <a:lnTo>
                      <a:pt x="451" y="398"/>
                    </a:lnTo>
                    <a:lnTo>
                      <a:pt x="453" y="398"/>
                    </a:lnTo>
                    <a:lnTo>
                      <a:pt x="451" y="398"/>
                    </a:lnTo>
                    <a:lnTo>
                      <a:pt x="453" y="398"/>
                    </a:lnTo>
                    <a:lnTo>
                      <a:pt x="453" y="396"/>
                    </a:lnTo>
                    <a:lnTo>
                      <a:pt x="455" y="396"/>
                    </a:lnTo>
                    <a:lnTo>
                      <a:pt x="457" y="396"/>
                    </a:lnTo>
                    <a:lnTo>
                      <a:pt x="459" y="396"/>
                    </a:lnTo>
                    <a:lnTo>
                      <a:pt x="459" y="395"/>
                    </a:lnTo>
                    <a:lnTo>
                      <a:pt x="461" y="395"/>
                    </a:lnTo>
                    <a:lnTo>
                      <a:pt x="463" y="395"/>
                    </a:lnTo>
                    <a:lnTo>
                      <a:pt x="465" y="395"/>
                    </a:lnTo>
                    <a:lnTo>
                      <a:pt x="467" y="395"/>
                    </a:lnTo>
                    <a:lnTo>
                      <a:pt x="467" y="393"/>
                    </a:lnTo>
                    <a:lnTo>
                      <a:pt x="468" y="393"/>
                    </a:lnTo>
                    <a:lnTo>
                      <a:pt x="468" y="391"/>
                    </a:lnTo>
                    <a:lnTo>
                      <a:pt x="470" y="391"/>
                    </a:lnTo>
                    <a:lnTo>
                      <a:pt x="470" y="389"/>
                    </a:lnTo>
                    <a:lnTo>
                      <a:pt x="470" y="387"/>
                    </a:lnTo>
                    <a:lnTo>
                      <a:pt x="472" y="387"/>
                    </a:lnTo>
                    <a:lnTo>
                      <a:pt x="470" y="387"/>
                    </a:lnTo>
                    <a:lnTo>
                      <a:pt x="470" y="385"/>
                    </a:lnTo>
                    <a:lnTo>
                      <a:pt x="470" y="383"/>
                    </a:lnTo>
                    <a:lnTo>
                      <a:pt x="472" y="383"/>
                    </a:lnTo>
                    <a:lnTo>
                      <a:pt x="472" y="381"/>
                    </a:lnTo>
                    <a:lnTo>
                      <a:pt x="472" y="379"/>
                    </a:lnTo>
                    <a:lnTo>
                      <a:pt x="472" y="377"/>
                    </a:lnTo>
                    <a:lnTo>
                      <a:pt x="474" y="379"/>
                    </a:lnTo>
                    <a:lnTo>
                      <a:pt x="474" y="377"/>
                    </a:lnTo>
                    <a:lnTo>
                      <a:pt x="472" y="377"/>
                    </a:lnTo>
                    <a:lnTo>
                      <a:pt x="474" y="377"/>
                    </a:lnTo>
                    <a:lnTo>
                      <a:pt x="474" y="375"/>
                    </a:lnTo>
                    <a:lnTo>
                      <a:pt x="476" y="375"/>
                    </a:lnTo>
                    <a:lnTo>
                      <a:pt x="476" y="373"/>
                    </a:lnTo>
                    <a:lnTo>
                      <a:pt x="478" y="371"/>
                    </a:lnTo>
                    <a:lnTo>
                      <a:pt x="476" y="370"/>
                    </a:lnTo>
                    <a:lnTo>
                      <a:pt x="474" y="370"/>
                    </a:lnTo>
                    <a:lnTo>
                      <a:pt x="472" y="368"/>
                    </a:lnTo>
                    <a:lnTo>
                      <a:pt x="472" y="366"/>
                    </a:lnTo>
                    <a:lnTo>
                      <a:pt x="472" y="364"/>
                    </a:lnTo>
                    <a:lnTo>
                      <a:pt x="472" y="362"/>
                    </a:lnTo>
                    <a:lnTo>
                      <a:pt x="472" y="360"/>
                    </a:lnTo>
                    <a:lnTo>
                      <a:pt x="472" y="358"/>
                    </a:lnTo>
                    <a:lnTo>
                      <a:pt x="470" y="358"/>
                    </a:lnTo>
                    <a:lnTo>
                      <a:pt x="468" y="358"/>
                    </a:lnTo>
                    <a:lnTo>
                      <a:pt x="467" y="356"/>
                    </a:lnTo>
                    <a:lnTo>
                      <a:pt x="465" y="356"/>
                    </a:lnTo>
                    <a:lnTo>
                      <a:pt x="465" y="354"/>
                    </a:lnTo>
                    <a:lnTo>
                      <a:pt x="463" y="352"/>
                    </a:lnTo>
                    <a:lnTo>
                      <a:pt x="463" y="350"/>
                    </a:lnTo>
                    <a:lnTo>
                      <a:pt x="461" y="350"/>
                    </a:lnTo>
                    <a:lnTo>
                      <a:pt x="461" y="346"/>
                    </a:lnTo>
                    <a:lnTo>
                      <a:pt x="459" y="345"/>
                    </a:lnTo>
                    <a:lnTo>
                      <a:pt x="459" y="343"/>
                    </a:lnTo>
                    <a:lnTo>
                      <a:pt x="459" y="341"/>
                    </a:lnTo>
                    <a:lnTo>
                      <a:pt x="459" y="339"/>
                    </a:lnTo>
                    <a:lnTo>
                      <a:pt x="459" y="337"/>
                    </a:lnTo>
                    <a:lnTo>
                      <a:pt x="457" y="335"/>
                    </a:lnTo>
                    <a:lnTo>
                      <a:pt x="457" y="333"/>
                    </a:lnTo>
                    <a:lnTo>
                      <a:pt x="455" y="331"/>
                    </a:lnTo>
                    <a:lnTo>
                      <a:pt x="453" y="329"/>
                    </a:lnTo>
                    <a:lnTo>
                      <a:pt x="453" y="327"/>
                    </a:lnTo>
                    <a:lnTo>
                      <a:pt x="453" y="325"/>
                    </a:lnTo>
                    <a:lnTo>
                      <a:pt x="453" y="323"/>
                    </a:lnTo>
                    <a:lnTo>
                      <a:pt x="453" y="321"/>
                    </a:lnTo>
                    <a:lnTo>
                      <a:pt x="453" y="323"/>
                    </a:lnTo>
                    <a:lnTo>
                      <a:pt x="451" y="323"/>
                    </a:lnTo>
                    <a:lnTo>
                      <a:pt x="451" y="325"/>
                    </a:lnTo>
                    <a:lnTo>
                      <a:pt x="451" y="323"/>
                    </a:lnTo>
                    <a:lnTo>
                      <a:pt x="449" y="323"/>
                    </a:lnTo>
                    <a:lnTo>
                      <a:pt x="449" y="321"/>
                    </a:lnTo>
                    <a:lnTo>
                      <a:pt x="449" y="320"/>
                    </a:lnTo>
                    <a:lnTo>
                      <a:pt x="449" y="318"/>
                    </a:lnTo>
                    <a:lnTo>
                      <a:pt x="449" y="316"/>
                    </a:lnTo>
                    <a:lnTo>
                      <a:pt x="451" y="316"/>
                    </a:lnTo>
                    <a:lnTo>
                      <a:pt x="453" y="316"/>
                    </a:lnTo>
                    <a:lnTo>
                      <a:pt x="455" y="316"/>
                    </a:lnTo>
                    <a:lnTo>
                      <a:pt x="455" y="318"/>
                    </a:lnTo>
                    <a:lnTo>
                      <a:pt x="455" y="320"/>
                    </a:lnTo>
                    <a:lnTo>
                      <a:pt x="457" y="320"/>
                    </a:lnTo>
                    <a:lnTo>
                      <a:pt x="455" y="320"/>
                    </a:lnTo>
                    <a:lnTo>
                      <a:pt x="457" y="318"/>
                    </a:lnTo>
                    <a:lnTo>
                      <a:pt x="455" y="318"/>
                    </a:lnTo>
                    <a:lnTo>
                      <a:pt x="455" y="316"/>
                    </a:lnTo>
                    <a:lnTo>
                      <a:pt x="453" y="316"/>
                    </a:lnTo>
                    <a:lnTo>
                      <a:pt x="451" y="316"/>
                    </a:lnTo>
                    <a:lnTo>
                      <a:pt x="451" y="314"/>
                    </a:lnTo>
                    <a:lnTo>
                      <a:pt x="451" y="316"/>
                    </a:lnTo>
                    <a:lnTo>
                      <a:pt x="449" y="316"/>
                    </a:lnTo>
                    <a:lnTo>
                      <a:pt x="449" y="314"/>
                    </a:lnTo>
                    <a:lnTo>
                      <a:pt x="447" y="314"/>
                    </a:lnTo>
                    <a:lnTo>
                      <a:pt x="445" y="312"/>
                    </a:lnTo>
                    <a:lnTo>
                      <a:pt x="443" y="312"/>
                    </a:lnTo>
                    <a:lnTo>
                      <a:pt x="442" y="312"/>
                    </a:lnTo>
                    <a:lnTo>
                      <a:pt x="440" y="310"/>
                    </a:lnTo>
                    <a:lnTo>
                      <a:pt x="440" y="308"/>
                    </a:lnTo>
                    <a:lnTo>
                      <a:pt x="438" y="306"/>
                    </a:lnTo>
                    <a:lnTo>
                      <a:pt x="438" y="304"/>
                    </a:lnTo>
                    <a:lnTo>
                      <a:pt x="438" y="302"/>
                    </a:lnTo>
                    <a:lnTo>
                      <a:pt x="436" y="302"/>
                    </a:lnTo>
                    <a:lnTo>
                      <a:pt x="436" y="300"/>
                    </a:lnTo>
                    <a:lnTo>
                      <a:pt x="436" y="298"/>
                    </a:lnTo>
                    <a:lnTo>
                      <a:pt x="434" y="298"/>
                    </a:lnTo>
                    <a:lnTo>
                      <a:pt x="434" y="296"/>
                    </a:lnTo>
                    <a:lnTo>
                      <a:pt x="432" y="296"/>
                    </a:lnTo>
                    <a:lnTo>
                      <a:pt x="430" y="295"/>
                    </a:lnTo>
                    <a:lnTo>
                      <a:pt x="428" y="295"/>
                    </a:lnTo>
                    <a:lnTo>
                      <a:pt x="430" y="293"/>
                    </a:lnTo>
                    <a:lnTo>
                      <a:pt x="432" y="293"/>
                    </a:lnTo>
                    <a:lnTo>
                      <a:pt x="432" y="291"/>
                    </a:lnTo>
                    <a:lnTo>
                      <a:pt x="434" y="291"/>
                    </a:lnTo>
                    <a:lnTo>
                      <a:pt x="436" y="291"/>
                    </a:lnTo>
                    <a:lnTo>
                      <a:pt x="436" y="293"/>
                    </a:lnTo>
                    <a:lnTo>
                      <a:pt x="436" y="291"/>
                    </a:lnTo>
                    <a:lnTo>
                      <a:pt x="436" y="293"/>
                    </a:lnTo>
                    <a:lnTo>
                      <a:pt x="434" y="293"/>
                    </a:lnTo>
                    <a:lnTo>
                      <a:pt x="436" y="293"/>
                    </a:lnTo>
                    <a:lnTo>
                      <a:pt x="436" y="291"/>
                    </a:lnTo>
                    <a:lnTo>
                      <a:pt x="438" y="291"/>
                    </a:lnTo>
                    <a:lnTo>
                      <a:pt x="440" y="291"/>
                    </a:lnTo>
                    <a:lnTo>
                      <a:pt x="442" y="289"/>
                    </a:lnTo>
                    <a:lnTo>
                      <a:pt x="442" y="291"/>
                    </a:lnTo>
                    <a:lnTo>
                      <a:pt x="443" y="291"/>
                    </a:lnTo>
                    <a:lnTo>
                      <a:pt x="445" y="291"/>
                    </a:lnTo>
                    <a:lnTo>
                      <a:pt x="447" y="291"/>
                    </a:lnTo>
                    <a:lnTo>
                      <a:pt x="447" y="289"/>
                    </a:lnTo>
                    <a:lnTo>
                      <a:pt x="449" y="289"/>
                    </a:lnTo>
                    <a:lnTo>
                      <a:pt x="451" y="291"/>
                    </a:lnTo>
                    <a:lnTo>
                      <a:pt x="453" y="291"/>
                    </a:lnTo>
                    <a:lnTo>
                      <a:pt x="455" y="293"/>
                    </a:lnTo>
                    <a:lnTo>
                      <a:pt x="453" y="293"/>
                    </a:lnTo>
                    <a:lnTo>
                      <a:pt x="453" y="295"/>
                    </a:lnTo>
                    <a:lnTo>
                      <a:pt x="455" y="295"/>
                    </a:lnTo>
                    <a:lnTo>
                      <a:pt x="457" y="293"/>
                    </a:lnTo>
                    <a:lnTo>
                      <a:pt x="457" y="295"/>
                    </a:lnTo>
                    <a:lnTo>
                      <a:pt x="459" y="295"/>
                    </a:lnTo>
                    <a:lnTo>
                      <a:pt x="461" y="295"/>
                    </a:lnTo>
                    <a:lnTo>
                      <a:pt x="463" y="296"/>
                    </a:lnTo>
                    <a:lnTo>
                      <a:pt x="465" y="296"/>
                    </a:lnTo>
                    <a:lnTo>
                      <a:pt x="467" y="296"/>
                    </a:lnTo>
                    <a:lnTo>
                      <a:pt x="468" y="298"/>
                    </a:lnTo>
                    <a:lnTo>
                      <a:pt x="470" y="298"/>
                    </a:lnTo>
                    <a:lnTo>
                      <a:pt x="472" y="298"/>
                    </a:lnTo>
                    <a:lnTo>
                      <a:pt x="472" y="300"/>
                    </a:lnTo>
                    <a:lnTo>
                      <a:pt x="474" y="300"/>
                    </a:lnTo>
                    <a:lnTo>
                      <a:pt x="474" y="302"/>
                    </a:lnTo>
                    <a:lnTo>
                      <a:pt x="474" y="304"/>
                    </a:lnTo>
                    <a:lnTo>
                      <a:pt x="476" y="304"/>
                    </a:lnTo>
                    <a:lnTo>
                      <a:pt x="476" y="306"/>
                    </a:lnTo>
                    <a:lnTo>
                      <a:pt x="478" y="306"/>
                    </a:lnTo>
                    <a:lnTo>
                      <a:pt x="480" y="306"/>
                    </a:lnTo>
                    <a:lnTo>
                      <a:pt x="480" y="308"/>
                    </a:lnTo>
                    <a:lnTo>
                      <a:pt x="480" y="310"/>
                    </a:lnTo>
                    <a:lnTo>
                      <a:pt x="482" y="310"/>
                    </a:lnTo>
                    <a:lnTo>
                      <a:pt x="482" y="312"/>
                    </a:lnTo>
                    <a:lnTo>
                      <a:pt x="484" y="312"/>
                    </a:lnTo>
                    <a:lnTo>
                      <a:pt x="486" y="312"/>
                    </a:lnTo>
                    <a:lnTo>
                      <a:pt x="488" y="312"/>
                    </a:lnTo>
                    <a:lnTo>
                      <a:pt x="490" y="312"/>
                    </a:lnTo>
                    <a:lnTo>
                      <a:pt x="488" y="312"/>
                    </a:lnTo>
                    <a:lnTo>
                      <a:pt x="490" y="312"/>
                    </a:lnTo>
                    <a:lnTo>
                      <a:pt x="490" y="310"/>
                    </a:lnTo>
                    <a:lnTo>
                      <a:pt x="492" y="310"/>
                    </a:lnTo>
                    <a:lnTo>
                      <a:pt x="492" y="308"/>
                    </a:lnTo>
                    <a:lnTo>
                      <a:pt x="493" y="306"/>
                    </a:lnTo>
                    <a:lnTo>
                      <a:pt x="493" y="304"/>
                    </a:lnTo>
                    <a:lnTo>
                      <a:pt x="492" y="304"/>
                    </a:lnTo>
                    <a:lnTo>
                      <a:pt x="490" y="302"/>
                    </a:lnTo>
                    <a:lnTo>
                      <a:pt x="490" y="300"/>
                    </a:lnTo>
                    <a:lnTo>
                      <a:pt x="488" y="300"/>
                    </a:lnTo>
                    <a:lnTo>
                      <a:pt x="488" y="298"/>
                    </a:lnTo>
                    <a:lnTo>
                      <a:pt x="486" y="298"/>
                    </a:lnTo>
                    <a:lnTo>
                      <a:pt x="486" y="296"/>
                    </a:lnTo>
                    <a:lnTo>
                      <a:pt x="488" y="298"/>
                    </a:lnTo>
                    <a:lnTo>
                      <a:pt x="490" y="298"/>
                    </a:lnTo>
                    <a:lnTo>
                      <a:pt x="490" y="300"/>
                    </a:lnTo>
                    <a:lnTo>
                      <a:pt x="492" y="300"/>
                    </a:lnTo>
                    <a:lnTo>
                      <a:pt x="493" y="302"/>
                    </a:lnTo>
                    <a:lnTo>
                      <a:pt x="495" y="302"/>
                    </a:lnTo>
                    <a:lnTo>
                      <a:pt x="493" y="304"/>
                    </a:lnTo>
                    <a:lnTo>
                      <a:pt x="495" y="304"/>
                    </a:lnTo>
                    <a:lnTo>
                      <a:pt x="495" y="306"/>
                    </a:lnTo>
                    <a:lnTo>
                      <a:pt x="497" y="306"/>
                    </a:lnTo>
                    <a:lnTo>
                      <a:pt x="499" y="306"/>
                    </a:lnTo>
                    <a:lnTo>
                      <a:pt x="499" y="308"/>
                    </a:lnTo>
                    <a:lnTo>
                      <a:pt x="501" y="308"/>
                    </a:lnTo>
                    <a:lnTo>
                      <a:pt x="499" y="308"/>
                    </a:lnTo>
                    <a:lnTo>
                      <a:pt x="497" y="308"/>
                    </a:lnTo>
                    <a:lnTo>
                      <a:pt x="495" y="308"/>
                    </a:lnTo>
                    <a:lnTo>
                      <a:pt x="495" y="310"/>
                    </a:lnTo>
                    <a:lnTo>
                      <a:pt x="493" y="310"/>
                    </a:lnTo>
                    <a:lnTo>
                      <a:pt x="493" y="312"/>
                    </a:lnTo>
                    <a:lnTo>
                      <a:pt x="492" y="312"/>
                    </a:lnTo>
                    <a:lnTo>
                      <a:pt x="490" y="312"/>
                    </a:lnTo>
                    <a:lnTo>
                      <a:pt x="490" y="314"/>
                    </a:lnTo>
                    <a:lnTo>
                      <a:pt x="488" y="314"/>
                    </a:lnTo>
                    <a:lnTo>
                      <a:pt x="490" y="314"/>
                    </a:lnTo>
                    <a:lnTo>
                      <a:pt x="488" y="314"/>
                    </a:lnTo>
                    <a:lnTo>
                      <a:pt x="488" y="316"/>
                    </a:lnTo>
                    <a:lnTo>
                      <a:pt x="488" y="318"/>
                    </a:lnTo>
                    <a:lnTo>
                      <a:pt x="490" y="318"/>
                    </a:lnTo>
                    <a:lnTo>
                      <a:pt x="490" y="320"/>
                    </a:lnTo>
                    <a:lnTo>
                      <a:pt x="492" y="320"/>
                    </a:lnTo>
                    <a:lnTo>
                      <a:pt x="492" y="318"/>
                    </a:lnTo>
                    <a:lnTo>
                      <a:pt x="493" y="318"/>
                    </a:lnTo>
                    <a:lnTo>
                      <a:pt x="495" y="318"/>
                    </a:lnTo>
                    <a:lnTo>
                      <a:pt x="495" y="316"/>
                    </a:lnTo>
                    <a:lnTo>
                      <a:pt x="497" y="318"/>
                    </a:lnTo>
                    <a:lnTo>
                      <a:pt x="499" y="318"/>
                    </a:lnTo>
                    <a:lnTo>
                      <a:pt x="499" y="320"/>
                    </a:lnTo>
                    <a:lnTo>
                      <a:pt x="499" y="321"/>
                    </a:lnTo>
                    <a:lnTo>
                      <a:pt x="501" y="321"/>
                    </a:lnTo>
                    <a:lnTo>
                      <a:pt x="499" y="321"/>
                    </a:lnTo>
                    <a:lnTo>
                      <a:pt x="499" y="323"/>
                    </a:lnTo>
                    <a:lnTo>
                      <a:pt x="501" y="323"/>
                    </a:lnTo>
                    <a:lnTo>
                      <a:pt x="499" y="323"/>
                    </a:lnTo>
                    <a:lnTo>
                      <a:pt x="501" y="323"/>
                    </a:lnTo>
                    <a:lnTo>
                      <a:pt x="503" y="323"/>
                    </a:lnTo>
                    <a:lnTo>
                      <a:pt x="503" y="325"/>
                    </a:lnTo>
                    <a:lnTo>
                      <a:pt x="503" y="327"/>
                    </a:lnTo>
                    <a:lnTo>
                      <a:pt x="505" y="327"/>
                    </a:lnTo>
                    <a:lnTo>
                      <a:pt x="505" y="329"/>
                    </a:lnTo>
                    <a:lnTo>
                      <a:pt x="507" y="329"/>
                    </a:lnTo>
                    <a:lnTo>
                      <a:pt x="507" y="331"/>
                    </a:lnTo>
                    <a:lnTo>
                      <a:pt x="507" y="333"/>
                    </a:lnTo>
                    <a:lnTo>
                      <a:pt x="509" y="333"/>
                    </a:lnTo>
                    <a:lnTo>
                      <a:pt x="509" y="331"/>
                    </a:lnTo>
                    <a:lnTo>
                      <a:pt x="511" y="331"/>
                    </a:lnTo>
                    <a:lnTo>
                      <a:pt x="513" y="331"/>
                    </a:lnTo>
                    <a:lnTo>
                      <a:pt x="511" y="331"/>
                    </a:lnTo>
                    <a:lnTo>
                      <a:pt x="513" y="331"/>
                    </a:lnTo>
                    <a:lnTo>
                      <a:pt x="515" y="333"/>
                    </a:lnTo>
                    <a:lnTo>
                      <a:pt x="516" y="335"/>
                    </a:lnTo>
                    <a:lnTo>
                      <a:pt x="516" y="337"/>
                    </a:lnTo>
                    <a:lnTo>
                      <a:pt x="518" y="337"/>
                    </a:lnTo>
                    <a:lnTo>
                      <a:pt x="518" y="339"/>
                    </a:lnTo>
                    <a:lnTo>
                      <a:pt x="518" y="337"/>
                    </a:lnTo>
                    <a:lnTo>
                      <a:pt x="516" y="337"/>
                    </a:lnTo>
                    <a:lnTo>
                      <a:pt x="518" y="339"/>
                    </a:lnTo>
                    <a:lnTo>
                      <a:pt x="516" y="339"/>
                    </a:lnTo>
                    <a:lnTo>
                      <a:pt x="518" y="339"/>
                    </a:lnTo>
                    <a:lnTo>
                      <a:pt x="518" y="341"/>
                    </a:lnTo>
                    <a:lnTo>
                      <a:pt x="516" y="341"/>
                    </a:lnTo>
                    <a:lnTo>
                      <a:pt x="518" y="341"/>
                    </a:lnTo>
                    <a:lnTo>
                      <a:pt x="520" y="341"/>
                    </a:lnTo>
                    <a:lnTo>
                      <a:pt x="520" y="339"/>
                    </a:lnTo>
                    <a:lnTo>
                      <a:pt x="520" y="341"/>
                    </a:lnTo>
                    <a:lnTo>
                      <a:pt x="522" y="341"/>
                    </a:lnTo>
                    <a:lnTo>
                      <a:pt x="522" y="343"/>
                    </a:lnTo>
                    <a:lnTo>
                      <a:pt x="522" y="341"/>
                    </a:lnTo>
                    <a:lnTo>
                      <a:pt x="522" y="343"/>
                    </a:lnTo>
                    <a:lnTo>
                      <a:pt x="522" y="341"/>
                    </a:lnTo>
                    <a:lnTo>
                      <a:pt x="520" y="339"/>
                    </a:lnTo>
                    <a:lnTo>
                      <a:pt x="522" y="339"/>
                    </a:lnTo>
                    <a:lnTo>
                      <a:pt x="522" y="341"/>
                    </a:lnTo>
                    <a:lnTo>
                      <a:pt x="522" y="339"/>
                    </a:lnTo>
                    <a:lnTo>
                      <a:pt x="522" y="341"/>
                    </a:lnTo>
                    <a:lnTo>
                      <a:pt x="522" y="339"/>
                    </a:lnTo>
                    <a:lnTo>
                      <a:pt x="522" y="341"/>
                    </a:lnTo>
                    <a:lnTo>
                      <a:pt x="524" y="341"/>
                    </a:lnTo>
                    <a:lnTo>
                      <a:pt x="524" y="343"/>
                    </a:lnTo>
                    <a:lnTo>
                      <a:pt x="522" y="343"/>
                    </a:lnTo>
                    <a:lnTo>
                      <a:pt x="522" y="345"/>
                    </a:lnTo>
                    <a:lnTo>
                      <a:pt x="522" y="346"/>
                    </a:lnTo>
                    <a:lnTo>
                      <a:pt x="522" y="348"/>
                    </a:lnTo>
                    <a:lnTo>
                      <a:pt x="520" y="348"/>
                    </a:lnTo>
                    <a:lnTo>
                      <a:pt x="520" y="350"/>
                    </a:lnTo>
                    <a:lnTo>
                      <a:pt x="520" y="352"/>
                    </a:lnTo>
                    <a:lnTo>
                      <a:pt x="520" y="354"/>
                    </a:lnTo>
                    <a:lnTo>
                      <a:pt x="520" y="356"/>
                    </a:lnTo>
                    <a:lnTo>
                      <a:pt x="520" y="354"/>
                    </a:lnTo>
                    <a:lnTo>
                      <a:pt x="520" y="356"/>
                    </a:lnTo>
                    <a:lnTo>
                      <a:pt x="520" y="358"/>
                    </a:lnTo>
                    <a:lnTo>
                      <a:pt x="520" y="360"/>
                    </a:lnTo>
                    <a:lnTo>
                      <a:pt x="520" y="358"/>
                    </a:lnTo>
                    <a:lnTo>
                      <a:pt x="520" y="360"/>
                    </a:lnTo>
                    <a:lnTo>
                      <a:pt x="520" y="362"/>
                    </a:lnTo>
                    <a:lnTo>
                      <a:pt x="520" y="360"/>
                    </a:lnTo>
                    <a:lnTo>
                      <a:pt x="520" y="358"/>
                    </a:lnTo>
                    <a:lnTo>
                      <a:pt x="520" y="356"/>
                    </a:lnTo>
                    <a:lnTo>
                      <a:pt x="520" y="354"/>
                    </a:lnTo>
                    <a:lnTo>
                      <a:pt x="520" y="352"/>
                    </a:lnTo>
                    <a:lnTo>
                      <a:pt x="520" y="350"/>
                    </a:lnTo>
                    <a:lnTo>
                      <a:pt x="522" y="350"/>
                    </a:lnTo>
                    <a:lnTo>
                      <a:pt x="520" y="350"/>
                    </a:lnTo>
                    <a:lnTo>
                      <a:pt x="522" y="350"/>
                    </a:lnTo>
                    <a:lnTo>
                      <a:pt x="520" y="350"/>
                    </a:lnTo>
                    <a:lnTo>
                      <a:pt x="520" y="348"/>
                    </a:lnTo>
                    <a:lnTo>
                      <a:pt x="522" y="350"/>
                    </a:lnTo>
                    <a:lnTo>
                      <a:pt x="522" y="348"/>
                    </a:lnTo>
                    <a:lnTo>
                      <a:pt x="520" y="348"/>
                    </a:lnTo>
                    <a:lnTo>
                      <a:pt x="522" y="348"/>
                    </a:lnTo>
                    <a:lnTo>
                      <a:pt x="522" y="346"/>
                    </a:lnTo>
                    <a:lnTo>
                      <a:pt x="522" y="348"/>
                    </a:lnTo>
                    <a:lnTo>
                      <a:pt x="522" y="346"/>
                    </a:lnTo>
                    <a:lnTo>
                      <a:pt x="522" y="345"/>
                    </a:lnTo>
                    <a:lnTo>
                      <a:pt x="522" y="343"/>
                    </a:lnTo>
                    <a:lnTo>
                      <a:pt x="524" y="343"/>
                    </a:lnTo>
                    <a:lnTo>
                      <a:pt x="524" y="341"/>
                    </a:lnTo>
                    <a:lnTo>
                      <a:pt x="524" y="343"/>
                    </a:lnTo>
                    <a:lnTo>
                      <a:pt x="524" y="341"/>
                    </a:lnTo>
                    <a:lnTo>
                      <a:pt x="524" y="339"/>
                    </a:lnTo>
                    <a:lnTo>
                      <a:pt x="526" y="339"/>
                    </a:lnTo>
                    <a:lnTo>
                      <a:pt x="526" y="337"/>
                    </a:lnTo>
                    <a:lnTo>
                      <a:pt x="526" y="339"/>
                    </a:lnTo>
                    <a:lnTo>
                      <a:pt x="528" y="339"/>
                    </a:lnTo>
                    <a:lnTo>
                      <a:pt x="528" y="341"/>
                    </a:lnTo>
                    <a:lnTo>
                      <a:pt x="530" y="341"/>
                    </a:lnTo>
                    <a:lnTo>
                      <a:pt x="530" y="343"/>
                    </a:lnTo>
                    <a:lnTo>
                      <a:pt x="532" y="343"/>
                    </a:lnTo>
                    <a:lnTo>
                      <a:pt x="532" y="345"/>
                    </a:lnTo>
                    <a:lnTo>
                      <a:pt x="534" y="345"/>
                    </a:lnTo>
                    <a:lnTo>
                      <a:pt x="536" y="345"/>
                    </a:lnTo>
                    <a:lnTo>
                      <a:pt x="538" y="345"/>
                    </a:lnTo>
                    <a:lnTo>
                      <a:pt x="538" y="343"/>
                    </a:lnTo>
                    <a:lnTo>
                      <a:pt x="540" y="345"/>
                    </a:lnTo>
                    <a:lnTo>
                      <a:pt x="541" y="345"/>
                    </a:lnTo>
                    <a:lnTo>
                      <a:pt x="543" y="345"/>
                    </a:lnTo>
                    <a:lnTo>
                      <a:pt x="541" y="345"/>
                    </a:lnTo>
                    <a:lnTo>
                      <a:pt x="543" y="345"/>
                    </a:lnTo>
                    <a:lnTo>
                      <a:pt x="543" y="343"/>
                    </a:lnTo>
                    <a:lnTo>
                      <a:pt x="545" y="343"/>
                    </a:lnTo>
                    <a:lnTo>
                      <a:pt x="545" y="341"/>
                    </a:lnTo>
                    <a:lnTo>
                      <a:pt x="543" y="341"/>
                    </a:lnTo>
                    <a:lnTo>
                      <a:pt x="543" y="339"/>
                    </a:lnTo>
                    <a:lnTo>
                      <a:pt x="543" y="337"/>
                    </a:lnTo>
                    <a:lnTo>
                      <a:pt x="543" y="339"/>
                    </a:lnTo>
                    <a:lnTo>
                      <a:pt x="545" y="339"/>
                    </a:lnTo>
                    <a:lnTo>
                      <a:pt x="545" y="341"/>
                    </a:lnTo>
                    <a:lnTo>
                      <a:pt x="545" y="343"/>
                    </a:lnTo>
                    <a:lnTo>
                      <a:pt x="547" y="343"/>
                    </a:lnTo>
                    <a:lnTo>
                      <a:pt x="547" y="345"/>
                    </a:lnTo>
                    <a:lnTo>
                      <a:pt x="549" y="345"/>
                    </a:lnTo>
                    <a:lnTo>
                      <a:pt x="549" y="346"/>
                    </a:lnTo>
                    <a:lnTo>
                      <a:pt x="549" y="348"/>
                    </a:lnTo>
                    <a:lnTo>
                      <a:pt x="551" y="348"/>
                    </a:lnTo>
                    <a:lnTo>
                      <a:pt x="553" y="348"/>
                    </a:lnTo>
                    <a:lnTo>
                      <a:pt x="555" y="348"/>
                    </a:lnTo>
                    <a:lnTo>
                      <a:pt x="553" y="348"/>
                    </a:lnTo>
                    <a:lnTo>
                      <a:pt x="555" y="348"/>
                    </a:lnTo>
                    <a:lnTo>
                      <a:pt x="557" y="348"/>
                    </a:lnTo>
                    <a:lnTo>
                      <a:pt x="557" y="346"/>
                    </a:lnTo>
                    <a:lnTo>
                      <a:pt x="559" y="346"/>
                    </a:lnTo>
                    <a:lnTo>
                      <a:pt x="559" y="345"/>
                    </a:lnTo>
                    <a:lnTo>
                      <a:pt x="561" y="345"/>
                    </a:lnTo>
                    <a:lnTo>
                      <a:pt x="561" y="346"/>
                    </a:lnTo>
                    <a:lnTo>
                      <a:pt x="559" y="346"/>
                    </a:lnTo>
                    <a:lnTo>
                      <a:pt x="559" y="348"/>
                    </a:lnTo>
                    <a:lnTo>
                      <a:pt x="561" y="348"/>
                    </a:lnTo>
                    <a:lnTo>
                      <a:pt x="559" y="348"/>
                    </a:lnTo>
                    <a:lnTo>
                      <a:pt x="561" y="346"/>
                    </a:lnTo>
                    <a:lnTo>
                      <a:pt x="559" y="346"/>
                    </a:lnTo>
                    <a:lnTo>
                      <a:pt x="561" y="346"/>
                    </a:lnTo>
                    <a:lnTo>
                      <a:pt x="561" y="348"/>
                    </a:lnTo>
                    <a:lnTo>
                      <a:pt x="561" y="346"/>
                    </a:lnTo>
                    <a:lnTo>
                      <a:pt x="563" y="346"/>
                    </a:lnTo>
                    <a:lnTo>
                      <a:pt x="563" y="345"/>
                    </a:lnTo>
                    <a:lnTo>
                      <a:pt x="563" y="346"/>
                    </a:lnTo>
                    <a:lnTo>
                      <a:pt x="561" y="346"/>
                    </a:lnTo>
                    <a:lnTo>
                      <a:pt x="561" y="345"/>
                    </a:lnTo>
                    <a:lnTo>
                      <a:pt x="559" y="345"/>
                    </a:lnTo>
                    <a:lnTo>
                      <a:pt x="559" y="343"/>
                    </a:lnTo>
                    <a:lnTo>
                      <a:pt x="561" y="343"/>
                    </a:lnTo>
                    <a:lnTo>
                      <a:pt x="561" y="341"/>
                    </a:lnTo>
                    <a:lnTo>
                      <a:pt x="561" y="339"/>
                    </a:lnTo>
                    <a:lnTo>
                      <a:pt x="563" y="339"/>
                    </a:lnTo>
                    <a:lnTo>
                      <a:pt x="565" y="339"/>
                    </a:lnTo>
                    <a:lnTo>
                      <a:pt x="563" y="339"/>
                    </a:lnTo>
                    <a:lnTo>
                      <a:pt x="565" y="339"/>
                    </a:lnTo>
                    <a:lnTo>
                      <a:pt x="563" y="339"/>
                    </a:lnTo>
                    <a:lnTo>
                      <a:pt x="565" y="339"/>
                    </a:lnTo>
                    <a:lnTo>
                      <a:pt x="563" y="339"/>
                    </a:lnTo>
                    <a:lnTo>
                      <a:pt x="561" y="339"/>
                    </a:lnTo>
                    <a:lnTo>
                      <a:pt x="561" y="341"/>
                    </a:lnTo>
                    <a:lnTo>
                      <a:pt x="561" y="339"/>
                    </a:lnTo>
                    <a:lnTo>
                      <a:pt x="561" y="337"/>
                    </a:lnTo>
                    <a:lnTo>
                      <a:pt x="563" y="337"/>
                    </a:lnTo>
                    <a:lnTo>
                      <a:pt x="561" y="337"/>
                    </a:lnTo>
                    <a:lnTo>
                      <a:pt x="563" y="337"/>
                    </a:lnTo>
                    <a:lnTo>
                      <a:pt x="561" y="337"/>
                    </a:lnTo>
                    <a:lnTo>
                      <a:pt x="563" y="337"/>
                    </a:lnTo>
                    <a:lnTo>
                      <a:pt x="563" y="335"/>
                    </a:lnTo>
                    <a:lnTo>
                      <a:pt x="563" y="337"/>
                    </a:lnTo>
                    <a:lnTo>
                      <a:pt x="563" y="335"/>
                    </a:lnTo>
                    <a:lnTo>
                      <a:pt x="563" y="333"/>
                    </a:lnTo>
                    <a:lnTo>
                      <a:pt x="563" y="331"/>
                    </a:lnTo>
                    <a:lnTo>
                      <a:pt x="563" y="333"/>
                    </a:lnTo>
                    <a:lnTo>
                      <a:pt x="563" y="331"/>
                    </a:lnTo>
                    <a:lnTo>
                      <a:pt x="563" y="329"/>
                    </a:lnTo>
                    <a:lnTo>
                      <a:pt x="563" y="327"/>
                    </a:lnTo>
                    <a:lnTo>
                      <a:pt x="563" y="325"/>
                    </a:lnTo>
                    <a:lnTo>
                      <a:pt x="563" y="323"/>
                    </a:lnTo>
                    <a:lnTo>
                      <a:pt x="561" y="323"/>
                    </a:lnTo>
                    <a:lnTo>
                      <a:pt x="561" y="321"/>
                    </a:lnTo>
                    <a:lnTo>
                      <a:pt x="563" y="321"/>
                    </a:lnTo>
                    <a:lnTo>
                      <a:pt x="561" y="321"/>
                    </a:lnTo>
                    <a:lnTo>
                      <a:pt x="561" y="320"/>
                    </a:lnTo>
                    <a:lnTo>
                      <a:pt x="563" y="320"/>
                    </a:lnTo>
                    <a:lnTo>
                      <a:pt x="563" y="321"/>
                    </a:lnTo>
                    <a:lnTo>
                      <a:pt x="563" y="320"/>
                    </a:lnTo>
                    <a:lnTo>
                      <a:pt x="565" y="320"/>
                    </a:lnTo>
                    <a:lnTo>
                      <a:pt x="566" y="320"/>
                    </a:lnTo>
                    <a:lnTo>
                      <a:pt x="566" y="321"/>
                    </a:lnTo>
                    <a:lnTo>
                      <a:pt x="568" y="321"/>
                    </a:lnTo>
                    <a:lnTo>
                      <a:pt x="568" y="320"/>
                    </a:lnTo>
                    <a:lnTo>
                      <a:pt x="568" y="318"/>
                    </a:lnTo>
                    <a:lnTo>
                      <a:pt x="570" y="318"/>
                    </a:lnTo>
                    <a:lnTo>
                      <a:pt x="572" y="318"/>
                    </a:lnTo>
                    <a:lnTo>
                      <a:pt x="574" y="318"/>
                    </a:lnTo>
                    <a:lnTo>
                      <a:pt x="572" y="318"/>
                    </a:lnTo>
                    <a:lnTo>
                      <a:pt x="572" y="316"/>
                    </a:lnTo>
                    <a:lnTo>
                      <a:pt x="572" y="318"/>
                    </a:lnTo>
                    <a:lnTo>
                      <a:pt x="570" y="318"/>
                    </a:lnTo>
                    <a:lnTo>
                      <a:pt x="568" y="318"/>
                    </a:lnTo>
                    <a:lnTo>
                      <a:pt x="566" y="318"/>
                    </a:lnTo>
                    <a:lnTo>
                      <a:pt x="568" y="318"/>
                    </a:lnTo>
                    <a:lnTo>
                      <a:pt x="568" y="316"/>
                    </a:lnTo>
                    <a:lnTo>
                      <a:pt x="566" y="316"/>
                    </a:lnTo>
                    <a:lnTo>
                      <a:pt x="566" y="318"/>
                    </a:lnTo>
                    <a:lnTo>
                      <a:pt x="565" y="318"/>
                    </a:lnTo>
                    <a:lnTo>
                      <a:pt x="563" y="318"/>
                    </a:lnTo>
                    <a:lnTo>
                      <a:pt x="561" y="318"/>
                    </a:lnTo>
                    <a:lnTo>
                      <a:pt x="561" y="320"/>
                    </a:lnTo>
                    <a:lnTo>
                      <a:pt x="561" y="318"/>
                    </a:lnTo>
                    <a:lnTo>
                      <a:pt x="561" y="316"/>
                    </a:lnTo>
                    <a:lnTo>
                      <a:pt x="563" y="316"/>
                    </a:lnTo>
                    <a:lnTo>
                      <a:pt x="563" y="314"/>
                    </a:lnTo>
                    <a:lnTo>
                      <a:pt x="565" y="314"/>
                    </a:lnTo>
                    <a:lnTo>
                      <a:pt x="563" y="314"/>
                    </a:lnTo>
                    <a:lnTo>
                      <a:pt x="563" y="316"/>
                    </a:lnTo>
                    <a:lnTo>
                      <a:pt x="563" y="314"/>
                    </a:lnTo>
                    <a:lnTo>
                      <a:pt x="565" y="314"/>
                    </a:lnTo>
                    <a:lnTo>
                      <a:pt x="566" y="314"/>
                    </a:lnTo>
                    <a:lnTo>
                      <a:pt x="568" y="314"/>
                    </a:lnTo>
                    <a:lnTo>
                      <a:pt x="570" y="314"/>
                    </a:lnTo>
                    <a:lnTo>
                      <a:pt x="572" y="314"/>
                    </a:lnTo>
                    <a:lnTo>
                      <a:pt x="574" y="314"/>
                    </a:lnTo>
                    <a:lnTo>
                      <a:pt x="574" y="316"/>
                    </a:lnTo>
                    <a:lnTo>
                      <a:pt x="576" y="314"/>
                    </a:lnTo>
                    <a:lnTo>
                      <a:pt x="576" y="316"/>
                    </a:lnTo>
                    <a:lnTo>
                      <a:pt x="574" y="316"/>
                    </a:lnTo>
                    <a:lnTo>
                      <a:pt x="576" y="316"/>
                    </a:lnTo>
                    <a:lnTo>
                      <a:pt x="578" y="316"/>
                    </a:lnTo>
                    <a:lnTo>
                      <a:pt x="580" y="316"/>
                    </a:lnTo>
                    <a:lnTo>
                      <a:pt x="582" y="318"/>
                    </a:lnTo>
                    <a:lnTo>
                      <a:pt x="584" y="318"/>
                    </a:lnTo>
                    <a:lnTo>
                      <a:pt x="582" y="320"/>
                    </a:lnTo>
                    <a:lnTo>
                      <a:pt x="584" y="320"/>
                    </a:lnTo>
                    <a:lnTo>
                      <a:pt x="586" y="320"/>
                    </a:lnTo>
                    <a:lnTo>
                      <a:pt x="584" y="321"/>
                    </a:lnTo>
                    <a:lnTo>
                      <a:pt x="586" y="321"/>
                    </a:lnTo>
                    <a:lnTo>
                      <a:pt x="588" y="321"/>
                    </a:lnTo>
                    <a:lnTo>
                      <a:pt x="588" y="320"/>
                    </a:lnTo>
                    <a:lnTo>
                      <a:pt x="588" y="321"/>
                    </a:lnTo>
                    <a:lnTo>
                      <a:pt x="589" y="321"/>
                    </a:lnTo>
                    <a:lnTo>
                      <a:pt x="589" y="320"/>
                    </a:lnTo>
                    <a:lnTo>
                      <a:pt x="589" y="321"/>
                    </a:lnTo>
                    <a:lnTo>
                      <a:pt x="589" y="323"/>
                    </a:lnTo>
                    <a:lnTo>
                      <a:pt x="591" y="323"/>
                    </a:lnTo>
                    <a:lnTo>
                      <a:pt x="591" y="321"/>
                    </a:lnTo>
                    <a:lnTo>
                      <a:pt x="593" y="321"/>
                    </a:lnTo>
                    <a:lnTo>
                      <a:pt x="595" y="321"/>
                    </a:lnTo>
                    <a:lnTo>
                      <a:pt x="593" y="321"/>
                    </a:lnTo>
                    <a:lnTo>
                      <a:pt x="593" y="323"/>
                    </a:lnTo>
                    <a:lnTo>
                      <a:pt x="595" y="323"/>
                    </a:lnTo>
                    <a:lnTo>
                      <a:pt x="595" y="321"/>
                    </a:lnTo>
                    <a:lnTo>
                      <a:pt x="597" y="321"/>
                    </a:lnTo>
                    <a:lnTo>
                      <a:pt x="597" y="323"/>
                    </a:lnTo>
                    <a:lnTo>
                      <a:pt x="599" y="323"/>
                    </a:lnTo>
                    <a:lnTo>
                      <a:pt x="599" y="325"/>
                    </a:lnTo>
                    <a:lnTo>
                      <a:pt x="601" y="323"/>
                    </a:lnTo>
                    <a:lnTo>
                      <a:pt x="599" y="323"/>
                    </a:lnTo>
                    <a:lnTo>
                      <a:pt x="599" y="321"/>
                    </a:lnTo>
                    <a:lnTo>
                      <a:pt x="601" y="321"/>
                    </a:lnTo>
                    <a:lnTo>
                      <a:pt x="603" y="321"/>
                    </a:lnTo>
                    <a:lnTo>
                      <a:pt x="603" y="323"/>
                    </a:lnTo>
                    <a:lnTo>
                      <a:pt x="603" y="325"/>
                    </a:lnTo>
                    <a:lnTo>
                      <a:pt x="605" y="325"/>
                    </a:lnTo>
                    <a:lnTo>
                      <a:pt x="605" y="327"/>
                    </a:lnTo>
                    <a:lnTo>
                      <a:pt x="603" y="329"/>
                    </a:lnTo>
                    <a:lnTo>
                      <a:pt x="605" y="329"/>
                    </a:lnTo>
                    <a:lnTo>
                      <a:pt x="605" y="331"/>
                    </a:lnTo>
                    <a:lnTo>
                      <a:pt x="607" y="331"/>
                    </a:lnTo>
                    <a:lnTo>
                      <a:pt x="605" y="333"/>
                    </a:lnTo>
                    <a:lnTo>
                      <a:pt x="607" y="333"/>
                    </a:lnTo>
                    <a:lnTo>
                      <a:pt x="607" y="335"/>
                    </a:lnTo>
                    <a:lnTo>
                      <a:pt x="605" y="335"/>
                    </a:lnTo>
                    <a:lnTo>
                      <a:pt x="603" y="335"/>
                    </a:lnTo>
                    <a:lnTo>
                      <a:pt x="603" y="337"/>
                    </a:lnTo>
                    <a:lnTo>
                      <a:pt x="601" y="339"/>
                    </a:lnTo>
                    <a:lnTo>
                      <a:pt x="603" y="339"/>
                    </a:lnTo>
                    <a:lnTo>
                      <a:pt x="603" y="341"/>
                    </a:lnTo>
                    <a:lnTo>
                      <a:pt x="603" y="343"/>
                    </a:lnTo>
                    <a:lnTo>
                      <a:pt x="601" y="343"/>
                    </a:lnTo>
                    <a:lnTo>
                      <a:pt x="603" y="345"/>
                    </a:lnTo>
                    <a:lnTo>
                      <a:pt x="601" y="345"/>
                    </a:lnTo>
                    <a:lnTo>
                      <a:pt x="601" y="346"/>
                    </a:lnTo>
                    <a:lnTo>
                      <a:pt x="601" y="345"/>
                    </a:lnTo>
                    <a:lnTo>
                      <a:pt x="601" y="346"/>
                    </a:lnTo>
                    <a:lnTo>
                      <a:pt x="599" y="346"/>
                    </a:lnTo>
                    <a:lnTo>
                      <a:pt x="601" y="346"/>
                    </a:lnTo>
                    <a:lnTo>
                      <a:pt x="599" y="346"/>
                    </a:lnTo>
                    <a:lnTo>
                      <a:pt x="599" y="348"/>
                    </a:lnTo>
                    <a:lnTo>
                      <a:pt x="599" y="346"/>
                    </a:lnTo>
                    <a:lnTo>
                      <a:pt x="599" y="348"/>
                    </a:lnTo>
                    <a:lnTo>
                      <a:pt x="599" y="346"/>
                    </a:lnTo>
                    <a:lnTo>
                      <a:pt x="601" y="346"/>
                    </a:lnTo>
                    <a:lnTo>
                      <a:pt x="601" y="348"/>
                    </a:lnTo>
                    <a:lnTo>
                      <a:pt x="601" y="350"/>
                    </a:lnTo>
                    <a:lnTo>
                      <a:pt x="601" y="348"/>
                    </a:lnTo>
                    <a:lnTo>
                      <a:pt x="601" y="350"/>
                    </a:lnTo>
                    <a:lnTo>
                      <a:pt x="603" y="350"/>
                    </a:lnTo>
                    <a:lnTo>
                      <a:pt x="601" y="350"/>
                    </a:lnTo>
                    <a:lnTo>
                      <a:pt x="603" y="350"/>
                    </a:lnTo>
                    <a:lnTo>
                      <a:pt x="601" y="352"/>
                    </a:lnTo>
                    <a:lnTo>
                      <a:pt x="603" y="352"/>
                    </a:lnTo>
                    <a:lnTo>
                      <a:pt x="603" y="354"/>
                    </a:lnTo>
                    <a:lnTo>
                      <a:pt x="605" y="354"/>
                    </a:lnTo>
                    <a:lnTo>
                      <a:pt x="603" y="354"/>
                    </a:lnTo>
                    <a:lnTo>
                      <a:pt x="605" y="354"/>
                    </a:lnTo>
                    <a:lnTo>
                      <a:pt x="603" y="354"/>
                    </a:lnTo>
                    <a:lnTo>
                      <a:pt x="603" y="356"/>
                    </a:lnTo>
                    <a:lnTo>
                      <a:pt x="605" y="356"/>
                    </a:lnTo>
                    <a:lnTo>
                      <a:pt x="603" y="356"/>
                    </a:lnTo>
                    <a:lnTo>
                      <a:pt x="603" y="358"/>
                    </a:lnTo>
                    <a:lnTo>
                      <a:pt x="605" y="356"/>
                    </a:lnTo>
                    <a:lnTo>
                      <a:pt x="605" y="358"/>
                    </a:lnTo>
                    <a:lnTo>
                      <a:pt x="603" y="358"/>
                    </a:lnTo>
                    <a:lnTo>
                      <a:pt x="603" y="360"/>
                    </a:lnTo>
                    <a:lnTo>
                      <a:pt x="605" y="360"/>
                    </a:lnTo>
                    <a:lnTo>
                      <a:pt x="603" y="360"/>
                    </a:lnTo>
                    <a:lnTo>
                      <a:pt x="605" y="360"/>
                    </a:lnTo>
                    <a:lnTo>
                      <a:pt x="605" y="362"/>
                    </a:lnTo>
                    <a:lnTo>
                      <a:pt x="605" y="364"/>
                    </a:lnTo>
                    <a:lnTo>
                      <a:pt x="605" y="366"/>
                    </a:lnTo>
                    <a:lnTo>
                      <a:pt x="605" y="368"/>
                    </a:lnTo>
                    <a:lnTo>
                      <a:pt x="605" y="366"/>
                    </a:lnTo>
                    <a:lnTo>
                      <a:pt x="603" y="366"/>
                    </a:lnTo>
                    <a:lnTo>
                      <a:pt x="605" y="366"/>
                    </a:lnTo>
                    <a:lnTo>
                      <a:pt x="603" y="366"/>
                    </a:lnTo>
                    <a:lnTo>
                      <a:pt x="605" y="366"/>
                    </a:lnTo>
                    <a:lnTo>
                      <a:pt x="603" y="368"/>
                    </a:lnTo>
                    <a:lnTo>
                      <a:pt x="605" y="368"/>
                    </a:lnTo>
                    <a:lnTo>
                      <a:pt x="603" y="368"/>
                    </a:lnTo>
                    <a:lnTo>
                      <a:pt x="603" y="370"/>
                    </a:lnTo>
                    <a:lnTo>
                      <a:pt x="601" y="370"/>
                    </a:lnTo>
                    <a:lnTo>
                      <a:pt x="601" y="371"/>
                    </a:lnTo>
                    <a:lnTo>
                      <a:pt x="601" y="373"/>
                    </a:lnTo>
                    <a:lnTo>
                      <a:pt x="601" y="375"/>
                    </a:lnTo>
                    <a:lnTo>
                      <a:pt x="601" y="377"/>
                    </a:lnTo>
                    <a:lnTo>
                      <a:pt x="601" y="379"/>
                    </a:lnTo>
                    <a:lnTo>
                      <a:pt x="601" y="381"/>
                    </a:lnTo>
                    <a:lnTo>
                      <a:pt x="603" y="381"/>
                    </a:lnTo>
                    <a:lnTo>
                      <a:pt x="603" y="383"/>
                    </a:lnTo>
                    <a:lnTo>
                      <a:pt x="603" y="385"/>
                    </a:lnTo>
                    <a:lnTo>
                      <a:pt x="603" y="387"/>
                    </a:lnTo>
                    <a:lnTo>
                      <a:pt x="603" y="389"/>
                    </a:lnTo>
                    <a:lnTo>
                      <a:pt x="603" y="387"/>
                    </a:lnTo>
                    <a:lnTo>
                      <a:pt x="603" y="385"/>
                    </a:lnTo>
                    <a:lnTo>
                      <a:pt x="603" y="383"/>
                    </a:lnTo>
                    <a:lnTo>
                      <a:pt x="603" y="381"/>
                    </a:lnTo>
                    <a:lnTo>
                      <a:pt x="601" y="381"/>
                    </a:lnTo>
                    <a:lnTo>
                      <a:pt x="601" y="379"/>
                    </a:lnTo>
                    <a:lnTo>
                      <a:pt x="603" y="379"/>
                    </a:lnTo>
                    <a:lnTo>
                      <a:pt x="601" y="379"/>
                    </a:lnTo>
                    <a:lnTo>
                      <a:pt x="601" y="377"/>
                    </a:lnTo>
                    <a:lnTo>
                      <a:pt x="601" y="375"/>
                    </a:lnTo>
                    <a:lnTo>
                      <a:pt x="601" y="373"/>
                    </a:lnTo>
                    <a:lnTo>
                      <a:pt x="601" y="371"/>
                    </a:lnTo>
                    <a:lnTo>
                      <a:pt x="603" y="370"/>
                    </a:lnTo>
                    <a:lnTo>
                      <a:pt x="601" y="370"/>
                    </a:lnTo>
                    <a:lnTo>
                      <a:pt x="603" y="370"/>
                    </a:lnTo>
                    <a:lnTo>
                      <a:pt x="601" y="370"/>
                    </a:lnTo>
                    <a:lnTo>
                      <a:pt x="603" y="370"/>
                    </a:lnTo>
                    <a:lnTo>
                      <a:pt x="603" y="368"/>
                    </a:lnTo>
                    <a:lnTo>
                      <a:pt x="605" y="368"/>
                    </a:lnTo>
                    <a:lnTo>
                      <a:pt x="605" y="366"/>
                    </a:lnTo>
                    <a:lnTo>
                      <a:pt x="605" y="364"/>
                    </a:lnTo>
                    <a:lnTo>
                      <a:pt x="605" y="362"/>
                    </a:lnTo>
                    <a:lnTo>
                      <a:pt x="605" y="364"/>
                    </a:lnTo>
                    <a:lnTo>
                      <a:pt x="605" y="362"/>
                    </a:lnTo>
                    <a:lnTo>
                      <a:pt x="605" y="360"/>
                    </a:lnTo>
                    <a:lnTo>
                      <a:pt x="603" y="360"/>
                    </a:lnTo>
                    <a:lnTo>
                      <a:pt x="603" y="358"/>
                    </a:lnTo>
                    <a:lnTo>
                      <a:pt x="605" y="358"/>
                    </a:lnTo>
                    <a:lnTo>
                      <a:pt x="605" y="356"/>
                    </a:lnTo>
                    <a:lnTo>
                      <a:pt x="603" y="356"/>
                    </a:lnTo>
                    <a:lnTo>
                      <a:pt x="603" y="354"/>
                    </a:lnTo>
                    <a:lnTo>
                      <a:pt x="605" y="354"/>
                    </a:lnTo>
                    <a:lnTo>
                      <a:pt x="603" y="354"/>
                    </a:lnTo>
                    <a:lnTo>
                      <a:pt x="605" y="354"/>
                    </a:lnTo>
                    <a:lnTo>
                      <a:pt x="603" y="354"/>
                    </a:lnTo>
                    <a:lnTo>
                      <a:pt x="605" y="352"/>
                    </a:lnTo>
                    <a:lnTo>
                      <a:pt x="603" y="352"/>
                    </a:lnTo>
                    <a:lnTo>
                      <a:pt x="603" y="350"/>
                    </a:lnTo>
                    <a:lnTo>
                      <a:pt x="603" y="348"/>
                    </a:lnTo>
                    <a:lnTo>
                      <a:pt x="603" y="350"/>
                    </a:lnTo>
                    <a:lnTo>
                      <a:pt x="601" y="348"/>
                    </a:lnTo>
                    <a:lnTo>
                      <a:pt x="603" y="348"/>
                    </a:lnTo>
                    <a:lnTo>
                      <a:pt x="601" y="348"/>
                    </a:lnTo>
                    <a:lnTo>
                      <a:pt x="601" y="346"/>
                    </a:lnTo>
                    <a:lnTo>
                      <a:pt x="601" y="345"/>
                    </a:lnTo>
                    <a:lnTo>
                      <a:pt x="603" y="345"/>
                    </a:lnTo>
                    <a:lnTo>
                      <a:pt x="603" y="343"/>
                    </a:lnTo>
                    <a:lnTo>
                      <a:pt x="603" y="341"/>
                    </a:lnTo>
                    <a:lnTo>
                      <a:pt x="603" y="339"/>
                    </a:lnTo>
                    <a:lnTo>
                      <a:pt x="601" y="339"/>
                    </a:lnTo>
                    <a:lnTo>
                      <a:pt x="603" y="339"/>
                    </a:lnTo>
                    <a:lnTo>
                      <a:pt x="603" y="337"/>
                    </a:lnTo>
                    <a:lnTo>
                      <a:pt x="603" y="335"/>
                    </a:lnTo>
                    <a:lnTo>
                      <a:pt x="605" y="335"/>
                    </a:lnTo>
                    <a:lnTo>
                      <a:pt x="607" y="335"/>
                    </a:lnTo>
                    <a:lnTo>
                      <a:pt x="607" y="333"/>
                    </a:lnTo>
                    <a:lnTo>
                      <a:pt x="605" y="333"/>
                    </a:lnTo>
                    <a:lnTo>
                      <a:pt x="607" y="331"/>
                    </a:lnTo>
                    <a:lnTo>
                      <a:pt x="605" y="331"/>
                    </a:lnTo>
                    <a:lnTo>
                      <a:pt x="605" y="329"/>
                    </a:lnTo>
                    <a:lnTo>
                      <a:pt x="603" y="329"/>
                    </a:lnTo>
                    <a:lnTo>
                      <a:pt x="605" y="329"/>
                    </a:lnTo>
                    <a:lnTo>
                      <a:pt x="605" y="327"/>
                    </a:lnTo>
                    <a:lnTo>
                      <a:pt x="607" y="327"/>
                    </a:lnTo>
                    <a:lnTo>
                      <a:pt x="605" y="327"/>
                    </a:lnTo>
                    <a:lnTo>
                      <a:pt x="605" y="325"/>
                    </a:lnTo>
                    <a:lnTo>
                      <a:pt x="603" y="325"/>
                    </a:lnTo>
                    <a:lnTo>
                      <a:pt x="603" y="323"/>
                    </a:lnTo>
                    <a:lnTo>
                      <a:pt x="603" y="321"/>
                    </a:lnTo>
                    <a:lnTo>
                      <a:pt x="601" y="321"/>
                    </a:lnTo>
                    <a:lnTo>
                      <a:pt x="599" y="321"/>
                    </a:lnTo>
                    <a:lnTo>
                      <a:pt x="599" y="323"/>
                    </a:lnTo>
                    <a:lnTo>
                      <a:pt x="601" y="323"/>
                    </a:lnTo>
                    <a:lnTo>
                      <a:pt x="599" y="325"/>
                    </a:lnTo>
                    <a:lnTo>
                      <a:pt x="599" y="323"/>
                    </a:lnTo>
                    <a:lnTo>
                      <a:pt x="599" y="325"/>
                    </a:lnTo>
                    <a:lnTo>
                      <a:pt x="599" y="323"/>
                    </a:lnTo>
                    <a:lnTo>
                      <a:pt x="597" y="323"/>
                    </a:lnTo>
                    <a:lnTo>
                      <a:pt x="597" y="321"/>
                    </a:lnTo>
                    <a:lnTo>
                      <a:pt x="595" y="321"/>
                    </a:lnTo>
                    <a:lnTo>
                      <a:pt x="595" y="323"/>
                    </a:lnTo>
                    <a:lnTo>
                      <a:pt x="593" y="323"/>
                    </a:lnTo>
                    <a:lnTo>
                      <a:pt x="593" y="321"/>
                    </a:lnTo>
                    <a:lnTo>
                      <a:pt x="595" y="321"/>
                    </a:lnTo>
                    <a:lnTo>
                      <a:pt x="593" y="321"/>
                    </a:lnTo>
                    <a:lnTo>
                      <a:pt x="591" y="321"/>
                    </a:lnTo>
                    <a:lnTo>
                      <a:pt x="591" y="323"/>
                    </a:lnTo>
                    <a:lnTo>
                      <a:pt x="589" y="321"/>
                    </a:lnTo>
                    <a:lnTo>
                      <a:pt x="591" y="321"/>
                    </a:lnTo>
                    <a:lnTo>
                      <a:pt x="589" y="321"/>
                    </a:lnTo>
                    <a:lnTo>
                      <a:pt x="589" y="320"/>
                    </a:lnTo>
                    <a:lnTo>
                      <a:pt x="589" y="321"/>
                    </a:lnTo>
                    <a:lnTo>
                      <a:pt x="588" y="321"/>
                    </a:lnTo>
                    <a:lnTo>
                      <a:pt x="588" y="320"/>
                    </a:lnTo>
                    <a:lnTo>
                      <a:pt x="588" y="321"/>
                    </a:lnTo>
                    <a:lnTo>
                      <a:pt x="586" y="321"/>
                    </a:lnTo>
                    <a:lnTo>
                      <a:pt x="584" y="321"/>
                    </a:lnTo>
                    <a:lnTo>
                      <a:pt x="586" y="320"/>
                    </a:lnTo>
                    <a:lnTo>
                      <a:pt x="584" y="320"/>
                    </a:lnTo>
                    <a:lnTo>
                      <a:pt x="584" y="318"/>
                    </a:lnTo>
                    <a:lnTo>
                      <a:pt x="582" y="318"/>
                    </a:lnTo>
                    <a:lnTo>
                      <a:pt x="580" y="316"/>
                    </a:lnTo>
                    <a:lnTo>
                      <a:pt x="582" y="316"/>
                    </a:lnTo>
                    <a:lnTo>
                      <a:pt x="580" y="316"/>
                    </a:lnTo>
                    <a:lnTo>
                      <a:pt x="580" y="314"/>
                    </a:lnTo>
                    <a:lnTo>
                      <a:pt x="578" y="314"/>
                    </a:lnTo>
                    <a:lnTo>
                      <a:pt x="576" y="316"/>
                    </a:lnTo>
                    <a:lnTo>
                      <a:pt x="574" y="316"/>
                    </a:lnTo>
                    <a:lnTo>
                      <a:pt x="576" y="316"/>
                    </a:lnTo>
                    <a:lnTo>
                      <a:pt x="576" y="314"/>
                    </a:lnTo>
                    <a:lnTo>
                      <a:pt x="574" y="314"/>
                    </a:lnTo>
                    <a:lnTo>
                      <a:pt x="574" y="316"/>
                    </a:lnTo>
                    <a:lnTo>
                      <a:pt x="574" y="314"/>
                    </a:lnTo>
                    <a:lnTo>
                      <a:pt x="572" y="314"/>
                    </a:lnTo>
                    <a:lnTo>
                      <a:pt x="570" y="314"/>
                    </a:lnTo>
                    <a:lnTo>
                      <a:pt x="568" y="314"/>
                    </a:lnTo>
                    <a:lnTo>
                      <a:pt x="566" y="314"/>
                    </a:lnTo>
                    <a:lnTo>
                      <a:pt x="566" y="312"/>
                    </a:lnTo>
                    <a:lnTo>
                      <a:pt x="568" y="312"/>
                    </a:lnTo>
                    <a:lnTo>
                      <a:pt x="568" y="314"/>
                    </a:lnTo>
                    <a:lnTo>
                      <a:pt x="568" y="312"/>
                    </a:lnTo>
                    <a:lnTo>
                      <a:pt x="568" y="314"/>
                    </a:lnTo>
                    <a:lnTo>
                      <a:pt x="568" y="312"/>
                    </a:lnTo>
                    <a:lnTo>
                      <a:pt x="566" y="312"/>
                    </a:lnTo>
                    <a:lnTo>
                      <a:pt x="565" y="312"/>
                    </a:lnTo>
                    <a:lnTo>
                      <a:pt x="565" y="314"/>
                    </a:lnTo>
                    <a:lnTo>
                      <a:pt x="565" y="312"/>
                    </a:lnTo>
                    <a:lnTo>
                      <a:pt x="563" y="312"/>
                    </a:lnTo>
                    <a:lnTo>
                      <a:pt x="563" y="314"/>
                    </a:lnTo>
                    <a:lnTo>
                      <a:pt x="561" y="314"/>
                    </a:lnTo>
                    <a:lnTo>
                      <a:pt x="561" y="312"/>
                    </a:lnTo>
                    <a:lnTo>
                      <a:pt x="563" y="312"/>
                    </a:lnTo>
                    <a:lnTo>
                      <a:pt x="563" y="310"/>
                    </a:lnTo>
                    <a:lnTo>
                      <a:pt x="563" y="312"/>
                    </a:lnTo>
                    <a:lnTo>
                      <a:pt x="561" y="312"/>
                    </a:lnTo>
                    <a:lnTo>
                      <a:pt x="563" y="312"/>
                    </a:lnTo>
                    <a:lnTo>
                      <a:pt x="561" y="312"/>
                    </a:lnTo>
                    <a:lnTo>
                      <a:pt x="563" y="312"/>
                    </a:lnTo>
                    <a:lnTo>
                      <a:pt x="563" y="310"/>
                    </a:lnTo>
                    <a:lnTo>
                      <a:pt x="561" y="310"/>
                    </a:lnTo>
                    <a:lnTo>
                      <a:pt x="561" y="308"/>
                    </a:lnTo>
                    <a:lnTo>
                      <a:pt x="561" y="306"/>
                    </a:lnTo>
                    <a:lnTo>
                      <a:pt x="561" y="304"/>
                    </a:lnTo>
                    <a:lnTo>
                      <a:pt x="561" y="302"/>
                    </a:lnTo>
                    <a:lnTo>
                      <a:pt x="561" y="300"/>
                    </a:lnTo>
                    <a:lnTo>
                      <a:pt x="561" y="298"/>
                    </a:lnTo>
                    <a:lnTo>
                      <a:pt x="561" y="296"/>
                    </a:lnTo>
                    <a:lnTo>
                      <a:pt x="561" y="295"/>
                    </a:lnTo>
                    <a:lnTo>
                      <a:pt x="559" y="291"/>
                    </a:lnTo>
                    <a:lnTo>
                      <a:pt x="559" y="289"/>
                    </a:lnTo>
                    <a:lnTo>
                      <a:pt x="559" y="287"/>
                    </a:lnTo>
                    <a:lnTo>
                      <a:pt x="561" y="285"/>
                    </a:lnTo>
                    <a:lnTo>
                      <a:pt x="561" y="281"/>
                    </a:lnTo>
                    <a:lnTo>
                      <a:pt x="561" y="277"/>
                    </a:lnTo>
                    <a:lnTo>
                      <a:pt x="561" y="275"/>
                    </a:lnTo>
                    <a:lnTo>
                      <a:pt x="563" y="273"/>
                    </a:lnTo>
                    <a:lnTo>
                      <a:pt x="563" y="271"/>
                    </a:lnTo>
                    <a:lnTo>
                      <a:pt x="563" y="270"/>
                    </a:lnTo>
                    <a:lnTo>
                      <a:pt x="565" y="270"/>
                    </a:lnTo>
                    <a:lnTo>
                      <a:pt x="566" y="270"/>
                    </a:lnTo>
                    <a:lnTo>
                      <a:pt x="566" y="268"/>
                    </a:lnTo>
                    <a:lnTo>
                      <a:pt x="568" y="268"/>
                    </a:lnTo>
                    <a:lnTo>
                      <a:pt x="570" y="266"/>
                    </a:lnTo>
                    <a:lnTo>
                      <a:pt x="572" y="266"/>
                    </a:lnTo>
                    <a:lnTo>
                      <a:pt x="572" y="268"/>
                    </a:lnTo>
                    <a:lnTo>
                      <a:pt x="574" y="268"/>
                    </a:lnTo>
                    <a:lnTo>
                      <a:pt x="576" y="268"/>
                    </a:lnTo>
                    <a:lnTo>
                      <a:pt x="578" y="270"/>
                    </a:lnTo>
                    <a:lnTo>
                      <a:pt x="578" y="271"/>
                    </a:lnTo>
                    <a:lnTo>
                      <a:pt x="578" y="270"/>
                    </a:lnTo>
                    <a:lnTo>
                      <a:pt x="576" y="270"/>
                    </a:lnTo>
                    <a:lnTo>
                      <a:pt x="576" y="268"/>
                    </a:lnTo>
                    <a:lnTo>
                      <a:pt x="574" y="268"/>
                    </a:lnTo>
                    <a:lnTo>
                      <a:pt x="572" y="268"/>
                    </a:lnTo>
                    <a:lnTo>
                      <a:pt x="570" y="268"/>
                    </a:lnTo>
                    <a:lnTo>
                      <a:pt x="568" y="268"/>
                    </a:lnTo>
                    <a:lnTo>
                      <a:pt x="568" y="270"/>
                    </a:lnTo>
                    <a:lnTo>
                      <a:pt x="566" y="270"/>
                    </a:lnTo>
                    <a:lnTo>
                      <a:pt x="566" y="271"/>
                    </a:lnTo>
                    <a:lnTo>
                      <a:pt x="568" y="271"/>
                    </a:lnTo>
                    <a:lnTo>
                      <a:pt x="566" y="271"/>
                    </a:lnTo>
                    <a:lnTo>
                      <a:pt x="565" y="271"/>
                    </a:lnTo>
                    <a:lnTo>
                      <a:pt x="566" y="273"/>
                    </a:lnTo>
                    <a:lnTo>
                      <a:pt x="566" y="275"/>
                    </a:lnTo>
                    <a:lnTo>
                      <a:pt x="568" y="275"/>
                    </a:lnTo>
                    <a:lnTo>
                      <a:pt x="566" y="275"/>
                    </a:lnTo>
                    <a:lnTo>
                      <a:pt x="566" y="277"/>
                    </a:lnTo>
                    <a:lnTo>
                      <a:pt x="566" y="279"/>
                    </a:lnTo>
                    <a:lnTo>
                      <a:pt x="568" y="279"/>
                    </a:lnTo>
                    <a:lnTo>
                      <a:pt x="570" y="279"/>
                    </a:lnTo>
                    <a:lnTo>
                      <a:pt x="572" y="279"/>
                    </a:lnTo>
                    <a:lnTo>
                      <a:pt x="574" y="279"/>
                    </a:lnTo>
                    <a:lnTo>
                      <a:pt x="574" y="281"/>
                    </a:lnTo>
                    <a:lnTo>
                      <a:pt x="576" y="281"/>
                    </a:lnTo>
                    <a:lnTo>
                      <a:pt x="576" y="283"/>
                    </a:lnTo>
                    <a:lnTo>
                      <a:pt x="578" y="283"/>
                    </a:lnTo>
                    <a:lnTo>
                      <a:pt x="578" y="285"/>
                    </a:lnTo>
                    <a:lnTo>
                      <a:pt x="580" y="285"/>
                    </a:lnTo>
                    <a:lnTo>
                      <a:pt x="584" y="287"/>
                    </a:lnTo>
                    <a:lnTo>
                      <a:pt x="586" y="287"/>
                    </a:lnTo>
                    <a:lnTo>
                      <a:pt x="588" y="287"/>
                    </a:lnTo>
                    <a:lnTo>
                      <a:pt x="589" y="289"/>
                    </a:lnTo>
                    <a:lnTo>
                      <a:pt x="593" y="289"/>
                    </a:lnTo>
                    <a:lnTo>
                      <a:pt x="591" y="289"/>
                    </a:lnTo>
                    <a:lnTo>
                      <a:pt x="591" y="291"/>
                    </a:lnTo>
                    <a:lnTo>
                      <a:pt x="593" y="291"/>
                    </a:lnTo>
                    <a:lnTo>
                      <a:pt x="591" y="291"/>
                    </a:lnTo>
                    <a:lnTo>
                      <a:pt x="591" y="289"/>
                    </a:lnTo>
                    <a:lnTo>
                      <a:pt x="593" y="289"/>
                    </a:lnTo>
                    <a:lnTo>
                      <a:pt x="597" y="289"/>
                    </a:lnTo>
                    <a:lnTo>
                      <a:pt x="601" y="289"/>
                    </a:lnTo>
                    <a:lnTo>
                      <a:pt x="603" y="289"/>
                    </a:lnTo>
                    <a:lnTo>
                      <a:pt x="603" y="287"/>
                    </a:lnTo>
                    <a:lnTo>
                      <a:pt x="603" y="289"/>
                    </a:lnTo>
                    <a:lnTo>
                      <a:pt x="603" y="287"/>
                    </a:lnTo>
                    <a:lnTo>
                      <a:pt x="605" y="287"/>
                    </a:lnTo>
                    <a:lnTo>
                      <a:pt x="607" y="287"/>
                    </a:lnTo>
                    <a:lnTo>
                      <a:pt x="609" y="287"/>
                    </a:lnTo>
                    <a:lnTo>
                      <a:pt x="611" y="287"/>
                    </a:lnTo>
                    <a:lnTo>
                      <a:pt x="611" y="285"/>
                    </a:lnTo>
                    <a:lnTo>
                      <a:pt x="613" y="285"/>
                    </a:lnTo>
                    <a:lnTo>
                      <a:pt x="614" y="283"/>
                    </a:lnTo>
                    <a:lnTo>
                      <a:pt x="614" y="281"/>
                    </a:lnTo>
                    <a:lnTo>
                      <a:pt x="616" y="281"/>
                    </a:lnTo>
                    <a:lnTo>
                      <a:pt x="618" y="281"/>
                    </a:lnTo>
                    <a:lnTo>
                      <a:pt x="620" y="281"/>
                    </a:lnTo>
                    <a:lnTo>
                      <a:pt x="620" y="283"/>
                    </a:lnTo>
                    <a:lnTo>
                      <a:pt x="620" y="285"/>
                    </a:lnTo>
                    <a:lnTo>
                      <a:pt x="618" y="285"/>
                    </a:lnTo>
                    <a:lnTo>
                      <a:pt x="620" y="285"/>
                    </a:lnTo>
                    <a:lnTo>
                      <a:pt x="620" y="287"/>
                    </a:lnTo>
                    <a:lnTo>
                      <a:pt x="620" y="289"/>
                    </a:lnTo>
                    <a:lnTo>
                      <a:pt x="620" y="287"/>
                    </a:lnTo>
                    <a:lnTo>
                      <a:pt x="620" y="289"/>
                    </a:lnTo>
                    <a:lnTo>
                      <a:pt x="620" y="287"/>
                    </a:lnTo>
                    <a:lnTo>
                      <a:pt x="622" y="287"/>
                    </a:lnTo>
                    <a:lnTo>
                      <a:pt x="624" y="287"/>
                    </a:lnTo>
                    <a:lnTo>
                      <a:pt x="622" y="287"/>
                    </a:lnTo>
                    <a:lnTo>
                      <a:pt x="620" y="287"/>
                    </a:lnTo>
                    <a:lnTo>
                      <a:pt x="620" y="285"/>
                    </a:lnTo>
                    <a:lnTo>
                      <a:pt x="620" y="283"/>
                    </a:lnTo>
                    <a:lnTo>
                      <a:pt x="622" y="283"/>
                    </a:lnTo>
                    <a:lnTo>
                      <a:pt x="622" y="285"/>
                    </a:lnTo>
                    <a:lnTo>
                      <a:pt x="622" y="283"/>
                    </a:lnTo>
                    <a:lnTo>
                      <a:pt x="622" y="285"/>
                    </a:lnTo>
                    <a:lnTo>
                      <a:pt x="622" y="283"/>
                    </a:lnTo>
                    <a:lnTo>
                      <a:pt x="622" y="285"/>
                    </a:lnTo>
                    <a:lnTo>
                      <a:pt x="624" y="283"/>
                    </a:lnTo>
                    <a:lnTo>
                      <a:pt x="624" y="285"/>
                    </a:lnTo>
                    <a:lnTo>
                      <a:pt x="626" y="285"/>
                    </a:lnTo>
                    <a:lnTo>
                      <a:pt x="626" y="283"/>
                    </a:lnTo>
                    <a:lnTo>
                      <a:pt x="628" y="285"/>
                    </a:lnTo>
                    <a:lnTo>
                      <a:pt x="628" y="283"/>
                    </a:lnTo>
                    <a:lnTo>
                      <a:pt x="630" y="283"/>
                    </a:lnTo>
                    <a:lnTo>
                      <a:pt x="628" y="283"/>
                    </a:lnTo>
                    <a:lnTo>
                      <a:pt x="630" y="283"/>
                    </a:lnTo>
                    <a:lnTo>
                      <a:pt x="632" y="283"/>
                    </a:lnTo>
                    <a:lnTo>
                      <a:pt x="632" y="285"/>
                    </a:lnTo>
                    <a:lnTo>
                      <a:pt x="632" y="283"/>
                    </a:lnTo>
                    <a:lnTo>
                      <a:pt x="634" y="283"/>
                    </a:lnTo>
                    <a:lnTo>
                      <a:pt x="634" y="285"/>
                    </a:lnTo>
                    <a:lnTo>
                      <a:pt x="632" y="285"/>
                    </a:lnTo>
                    <a:lnTo>
                      <a:pt x="634" y="285"/>
                    </a:lnTo>
                    <a:lnTo>
                      <a:pt x="634" y="283"/>
                    </a:lnTo>
                    <a:lnTo>
                      <a:pt x="632" y="283"/>
                    </a:lnTo>
                    <a:lnTo>
                      <a:pt x="632" y="285"/>
                    </a:lnTo>
                    <a:lnTo>
                      <a:pt x="632" y="283"/>
                    </a:lnTo>
                    <a:lnTo>
                      <a:pt x="634" y="283"/>
                    </a:lnTo>
                    <a:lnTo>
                      <a:pt x="636" y="283"/>
                    </a:lnTo>
                    <a:lnTo>
                      <a:pt x="638" y="283"/>
                    </a:lnTo>
                    <a:lnTo>
                      <a:pt x="636" y="283"/>
                    </a:lnTo>
                    <a:lnTo>
                      <a:pt x="634" y="283"/>
                    </a:lnTo>
                    <a:lnTo>
                      <a:pt x="632" y="283"/>
                    </a:lnTo>
                    <a:lnTo>
                      <a:pt x="630" y="283"/>
                    </a:lnTo>
                    <a:lnTo>
                      <a:pt x="632" y="283"/>
                    </a:lnTo>
                    <a:lnTo>
                      <a:pt x="630" y="283"/>
                    </a:lnTo>
                    <a:lnTo>
                      <a:pt x="628" y="283"/>
                    </a:lnTo>
                    <a:lnTo>
                      <a:pt x="630" y="283"/>
                    </a:lnTo>
                    <a:lnTo>
                      <a:pt x="628" y="283"/>
                    </a:lnTo>
                    <a:lnTo>
                      <a:pt x="626" y="283"/>
                    </a:lnTo>
                    <a:lnTo>
                      <a:pt x="626" y="285"/>
                    </a:lnTo>
                    <a:lnTo>
                      <a:pt x="624" y="285"/>
                    </a:lnTo>
                    <a:lnTo>
                      <a:pt x="624" y="283"/>
                    </a:lnTo>
                    <a:lnTo>
                      <a:pt x="622" y="285"/>
                    </a:lnTo>
                    <a:lnTo>
                      <a:pt x="622" y="283"/>
                    </a:lnTo>
                    <a:lnTo>
                      <a:pt x="622" y="285"/>
                    </a:lnTo>
                    <a:lnTo>
                      <a:pt x="622" y="283"/>
                    </a:lnTo>
                    <a:lnTo>
                      <a:pt x="620" y="283"/>
                    </a:lnTo>
                    <a:lnTo>
                      <a:pt x="620" y="285"/>
                    </a:lnTo>
                    <a:lnTo>
                      <a:pt x="620" y="283"/>
                    </a:lnTo>
                    <a:lnTo>
                      <a:pt x="620" y="281"/>
                    </a:lnTo>
                    <a:lnTo>
                      <a:pt x="618" y="281"/>
                    </a:lnTo>
                    <a:lnTo>
                      <a:pt x="618" y="279"/>
                    </a:lnTo>
                    <a:lnTo>
                      <a:pt x="616" y="279"/>
                    </a:lnTo>
                    <a:lnTo>
                      <a:pt x="618" y="279"/>
                    </a:lnTo>
                    <a:lnTo>
                      <a:pt x="620" y="279"/>
                    </a:lnTo>
                    <a:lnTo>
                      <a:pt x="622" y="279"/>
                    </a:lnTo>
                    <a:lnTo>
                      <a:pt x="624" y="279"/>
                    </a:lnTo>
                    <a:lnTo>
                      <a:pt x="624" y="281"/>
                    </a:lnTo>
                    <a:lnTo>
                      <a:pt x="626" y="281"/>
                    </a:lnTo>
                    <a:lnTo>
                      <a:pt x="628" y="281"/>
                    </a:lnTo>
                    <a:lnTo>
                      <a:pt x="626" y="281"/>
                    </a:lnTo>
                    <a:lnTo>
                      <a:pt x="624" y="281"/>
                    </a:lnTo>
                    <a:lnTo>
                      <a:pt x="626" y="279"/>
                    </a:lnTo>
                    <a:lnTo>
                      <a:pt x="624" y="279"/>
                    </a:lnTo>
                    <a:lnTo>
                      <a:pt x="626" y="279"/>
                    </a:lnTo>
                    <a:lnTo>
                      <a:pt x="626" y="277"/>
                    </a:lnTo>
                    <a:lnTo>
                      <a:pt x="626" y="279"/>
                    </a:lnTo>
                    <a:lnTo>
                      <a:pt x="628" y="277"/>
                    </a:lnTo>
                    <a:lnTo>
                      <a:pt x="628" y="279"/>
                    </a:lnTo>
                    <a:lnTo>
                      <a:pt x="630" y="279"/>
                    </a:lnTo>
                    <a:lnTo>
                      <a:pt x="630" y="277"/>
                    </a:lnTo>
                    <a:lnTo>
                      <a:pt x="632" y="277"/>
                    </a:lnTo>
                    <a:lnTo>
                      <a:pt x="632" y="275"/>
                    </a:lnTo>
                    <a:lnTo>
                      <a:pt x="632" y="277"/>
                    </a:lnTo>
                    <a:lnTo>
                      <a:pt x="634" y="277"/>
                    </a:lnTo>
                    <a:lnTo>
                      <a:pt x="634" y="275"/>
                    </a:lnTo>
                    <a:lnTo>
                      <a:pt x="636" y="275"/>
                    </a:lnTo>
                    <a:lnTo>
                      <a:pt x="638" y="275"/>
                    </a:lnTo>
                    <a:lnTo>
                      <a:pt x="639" y="275"/>
                    </a:lnTo>
                    <a:lnTo>
                      <a:pt x="639" y="277"/>
                    </a:lnTo>
                    <a:lnTo>
                      <a:pt x="638" y="277"/>
                    </a:lnTo>
                    <a:lnTo>
                      <a:pt x="638" y="279"/>
                    </a:lnTo>
                    <a:lnTo>
                      <a:pt x="639" y="279"/>
                    </a:lnTo>
                    <a:lnTo>
                      <a:pt x="639" y="277"/>
                    </a:lnTo>
                    <a:lnTo>
                      <a:pt x="639" y="279"/>
                    </a:lnTo>
                    <a:lnTo>
                      <a:pt x="641" y="279"/>
                    </a:lnTo>
                    <a:lnTo>
                      <a:pt x="639" y="279"/>
                    </a:lnTo>
                    <a:lnTo>
                      <a:pt x="641" y="279"/>
                    </a:lnTo>
                    <a:lnTo>
                      <a:pt x="639" y="279"/>
                    </a:lnTo>
                    <a:lnTo>
                      <a:pt x="641" y="279"/>
                    </a:lnTo>
                    <a:lnTo>
                      <a:pt x="641" y="277"/>
                    </a:lnTo>
                    <a:lnTo>
                      <a:pt x="643" y="277"/>
                    </a:lnTo>
                    <a:lnTo>
                      <a:pt x="643" y="275"/>
                    </a:lnTo>
                    <a:lnTo>
                      <a:pt x="643" y="277"/>
                    </a:lnTo>
                    <a:lnTo>
                      <a:pt x="645" y="277"/>
                    </a:lnTo>
                    <a:lnTo>
                      <a:pt x="645" y="279"/>
                    </a:lnTo>
                    <a:lnTo>
                      <a:pt x="645" y="281"/>
                    </a:lnTo>
                    <a:lnTo>
                      <a:pt x="647" y="281"/>
                    </a:lnTo>
                    <a:lnTo>
                      <a:pt x="647" y="283"/>
                    </a:lnTo>
                    <a:lnTo>
                      <a:pt x="647" y="281"/>
                    </a:lnTo>
                    <a:lnTo>
                      <a:pt x="649" y="281"/>
                    </a:lnTo>
                    <a:lnTo>
                      <a:pt x="649" y="283"/>
                    </a:lnTo>
                    <a:lnTo>
                      <a:pt x="647" y="283"/>
                    </a:lnTo>
                    <a:lnTo>
                      <a:pt x="649" y="283"/>
                    </a:lnTo>
                    <a:lnTo>
                      <a:pt x="647" y="283"/>
                    </a:lnTo>
                    <a:lnTo>
                      <a:pt x="649" y="283"/>
                    </a:lnTo>
                    <a:lnTo>
                      <a:pt x="649" y="285"/>
                    </a:lnTo>
                    <a:lnTo>
                      <a:pt x="647" y="285"/>
                    </a:lnTo>
                    <a:lnTo>
                      <a:pt x="645" y="285"/>
                    </a:lnTo>
                    <a:lnTo>
                      <a:pt x="647" y="285"/>
                    </a:lnTo>
                    <a:lnTo>
                      <a:pt x="649" y="285"/>
                    </a:lnTo>
                    <a:lnTo>
                      <a:pt x="649" y="283"/>
                    </a:lnTo>
                    <a:lnTo>
                      <a:pt x="649" y="285"/>
                    </a:lnTo>
                    <a:lnTo>
                      <a:pt x="651" y="285"/>
                    </a:lnTo>
                    <a:lnTo>
                      <a:pt x="653" y="285"/>
                    </a:lnTo>
                    <a:lnTo>
                      <a:pt x="655" y="285"/>
                    </a:lnTo>
                    <a:lnTo>
                      <a:pt x="657" y="285"/>
                    </a:lnTo>
                    <a:lnTo>
                      <a:pt x="657" y="287"/>
                    </a:lnTo>
                    <a:lnTo>
                      <a:pt x="657" y="289"/>
                    </a:lnTo>
                    <a:lnTo>
                      <a:pt x="659" y="289"/>
                    </a:lnTo>
                    <a:lnTo>
                      <a:pt x="661" y="289"/>
                    </a:lnTo>
                    <a:lnTo>
                      <a:pt x="663" y="289"/>
                    </a:lnTo>
                    <a:lnTo>
                      <a:pt x="664" y="291"/>
                    </a:lnTo>
                    <a:lnTo>
                      <a:pt x="663" y="291"/>
                    </a:lnTo>
                    <a:lnTo>
                      <a:pt x="663" y="293"/>
                    </a:lnTo>
                    <a:lnTo>
                      <a:pt x="661" y="293"/>
                    </a:lnTo>
                    <a:lnTo>
                      <a:pt x="661" y="295"/>
                    </a:lnTo>
                    <a:lnTo>
                      <a:pt x="661" y="296"/>
                    </a:lnTo>
                    <a:lnTo>
                      <a:pt x="661" y="298"/>
                    </a:lnTo>
                    <a:lnTo>
                      <a:pt x="663" y="300"/>
                    </a:lnTo>
                    <a:lnTo>
                      <a:pt x="661" y="300"/>
                    </a:lnTo>
                    <a:lnTo>
                      <a:pt x="659" y="300"/>
                    </a:lnTo>
                    <a:lnTo>
                      <a:pt x="659" y="302"/>
                    </a:lnTo>
                    <a:lnTo>
                      <a:pt x="659" y="300"/>
                    </a:lnTo>
                    <a:lnTo>
                      <a:pt x="659" y="302"/>
                    </a:lnTo>
                    <a:lnTo>
                      <a:pt x="661" y="302"/>
                    </a:lnTo>
                    <a:lnTo>
                      <a:pt x="661" y="304"/>
                    </a:lnTo>
                    <a:lnTo>
                      <a:pt x="659" y="304"/>
                    </a:lnTo>
                    <a:lnTo>
                      <a:pt x="659" y="306"/>
                    </a:lnTo>
                    <a:lnTo>
                      <a:pt x="659" y="304"/>
                    </a:lnTo>
                    <a:lnTo>
                      <a:pt x="661" y="304"/>
                    </a:lnTo>
                    <a:lnTo>
                      <a:pt x="659" y="304"/>
                    </a:lnTo>
                    <a:lnTo>
                      <a:pt x="659" y="306"/>
                    </a:lnTo>
                    <a:lnTo>
                      <a:pt x="657" y="308"/>
                    </a:lnTo>
                    <a:lnTo>
                      <a:pt x="657" y="306"/>
                    </a:lnTo>
                    <a:lnTo>
                      <a:pt x="655" y="306"/>
                    </a:lnTo>
                    <a:lnTo>
                      <a:pt x="655" y="308"/>
                    </a:lnTo>
                    <a:lnTo>
                      <a:pt x="653" y="308"/>
                    </a:lnTo>
                    <a:lnTo>
                      <a:pt x="651" y="308"/>
                    </a:lnTo>
                    <a:lnTo>
                      <a:pt x="649" y="308"/>
                    </a:lnTo>
                    <a:lnTo>
                      <a:pt x="651" y="308"/>
                    </a:lnTo>
                    <a:lnTo>
                      <a:pt x="649" y="308"/>
                    </a:lnTo>
                    <a:lnTo>
                      <a:pt x="649" y="310"/>
                    </a:lnTo>
                    <a:lnTo>
                      <a:pt x="647" y="310"/>
                    </a:lnTo>
                    <a:lnTo>
                      <a:pt x="645" y="310"/>
                    </a:lnTo>
                    <a:lnTo>
                      <a:pt x="645" y="312"/>
                    </a:lnTo>
                    <a:lnTo>
                      <a:pt x="645" y="314"/>
                    </a:lnTo>
                    <a:lnTo>
                      <a:pt x="645" y="316"/>
                    </a:lnTo>
                    <a:lnTo>
                      <a:pt x="643" y="316"/>
                    </a:lnTo>
                    <a:lnTo>
                      <a:pt x="643" y="318"/>
                    </a:lnTo>
                    <a:lnTo>
                      <a:pt x="641" y="318"/>
                    </a:lnTo>
                    <a:lnTo>
                      <a:pt x="643" y="318"/>
                    </a:lnTo>
                    <a:lnTo>
                      <a:pt x="643" y="320"/>
                    </a:lnTo>
                    <a:lnTo>
                      <a:pt x="641" y="320"/>
                    </a:lnTo>
                    <a:lnTo>
                      <a:pt x="641" y="321"/>
                    </a:lnTo>
                    <a:lnTo>
                      <a:pt x="639" y="323"/>
                    </a:lnTo>
                    <a:lnTo>
                      <a:pt x="638" y="323"/>
                    </a:lnTo>
                    <a:lnTo>
                      <a:pt x="636" y="323"/>
                    </a:lnTo>
                    <a:lnTo>
                      <a:pt x="636" y="325"/>
                    </a:lnTo>
                    <a:lnTo>
                      <a:pt x="638" y="325"/>
                    </a:lnTo>
                    <a:lnTo>
                      <a:pt x="639" y="325"/>
                    </a:lnTo>
                    <a:lnTo>
                      <a:pt x="639" y="327"/>
                    </a:lnTo>
                    <a:lnTo>
                      <a:pt x="641" y="327"/>
                    </a:lnTo>
                    <a:lnTo>
                      <a:pt x="641" y="329"/>
                    </a:lnTo>
                    <a:lnTo>
                      <a:pt x="639" y="329"/>
                    </a:lnTo>
                    <a:lnTo>
                      <a:pt x="639" y="331"/>
                    </a:lnTo>
                    <a:lnTo>
                      <a:pt x="641" y="331"/>
                    </a:lnTo>
                    <a:lnTo>
                      <a:pt x="643" y="333"/>
                    </a:lnTo>
                    <a:lnTo>
                      <a:pt x="645" y="335"/>
                    </a:lnTo>
                    <a:lnTo>
                      <a:pt x="647" y="335"/>
                    </a:lnTo>
                    <a:lnTo>
                      <a:pt x="649" y="335"/>
                    </a:lnTo>
                    <a:lnTo>
                      <a:pt x="649" y="333"/>
                    </a:lnTo>
                    <a:lnTo>
                      <a:pt x="649" y="331"/>
                    </a:lnTo>
                    <a:lnTo>
                      <a:pt x="651" y="331"/>
                    </a:lnTo>
                    <a:lnTo>
                      <a:pt x="651" y="333"/>
                    </a:lnTo>
                    <a:lnTo>
                      <a:pt x="651" y="335"/>
                    </a:lnTo>
                    <a:lnTo>
                      <a:pt x="651" y="333"/>
                    </a:lnTo>
                    <a:lnTo>
                      <a:pt x="651" y="335"/>
                    </a:lnTo>
                    <a:lnTo>
                      <a:pt x="653" y="335"/>
                    </a:lnTo>
                    <a:lnTo>
                      <a:pt x="651" y="335"/>
                    </a:lnTo>
                    <a:lnTo>
                      <a:pt x="651" y="337"/>
                    </a:lnTo>
                    <a:lnTo>
                      <a:pt x="651" y="339"/>
                    </a:lnTo>
                    <a:lnTo>
                      <a:pt x="649" y="341"/>
                    </a:lnTo>
                    <a:lnTo>
                      <a:pt x="651" y="343"/>
                    </a:lnTo>
                    <a:lnTo>
                      <a:pt x="651" y="341"/>
                    </a:lnTo>
                    <a:lnTo>
                      <a:pt x="651" y="343"/>
                    </a:lnTo>
                    <a:lnTo>
                      <a:pt x="653" y="343"/>
                    </a:lnTo>
                    <a:lnTo>
                      <a:pt x="655" y="343"/>
                    </a:lnTo>
                    <a:lnTo>
                      <a:pt x="657" y="343"/>
                    </a:lnTo>
                    <a:lnTo>
                      <a:pt x="655" y="343"/>
                    </a:lnTo>
                    <a:lnTo>
                      <a:pt x="657" y="343"/>
                    </a:lnTo>
                    <a:lnTo>
                      <a:pt x="659" y="343"/>
                    </a:lnTo>
                    <a:lnTo>
                      <a:pt x="661" y="343"/>
                    </a:lnTo>
                    <a:lnTo>
                      <a:pt x="661" y="345"/>
                    </a:lnTo>
                    <a:lnTo>
                      <a:pt x="661" y="346"/>
                    </a:lnTo>
                    <a:lnTo>
                      <a:pt x="659" y="346"/>
                    </a:lnTo>
                    <a:lnTo>
                      <a:pt x="659" y="348"/>
                    </a:lnTo>
                    <a:lnTo>
                      <a:pt x="661" y="348"/>
                    </a:lnTo>
                    <a:lnTo>
                      <a:pt x="663" y="348"/>
                    </a:lnTo>
                    <a:lnTo>
                      <a:pt x="663" y="346"/>
                    </a:lnTo>
                    <a:lnTo>
                      <a:pt x="664" y="346"/>
                    </a:lnTo>
                    <a:lnTo>
                      <a:pt x="666" y="346"/>
                    </a:lnTo>
                    <a:lnTo>
                      <a:pt x="666" y="348"/>
                    </a:lnTo>
                    <a:lnTo>
                      <a:pt x="666" y="350"/>
                    </a:lnTo>
                    <a:lnTo>
                      <a:pt x="666" y="352"/>
                    </a:lnTo>
                    <a:lnTo>
                      <a:pt x="666" y="350"/>
                    </a:lnTo>
                    <a:lnTo>
                      <a:pt x="666" y="352"/>
                    </a:lnTo>
                    <a:lnTo>
                      <a:pt x="668" y="352"/>
                    </a:lnTo>
                    <a:lnTo>
                      <a:pt x="666" y="354"/>
                    </a:lnTo>
                    <a:lnTo>
                      <a:pt x="664" y="354"/>
                    </a:lnTo>
                    <a:lnTo>
                      <a:pt x="663" y="354"/>
                    </a:lnTo>
                    <a:lnTo>
                      <a:pt x="663" y="356"/>
                    </a:lnTo>
                    <a:lnTo>
                      <a:pt x="663" y="358"/>
                    </a:lnTo>
                    <a:lnTo>
                      <a:pt x="661" y="358"/>
                    </a:lnTo>
                    <a:lnTo>
                      <a:pt x="661" y="360"/>
                    </a:lnTo>
                    <a:lnTo>
                      <a:pt x="663" y="360"/>
                    </a:lnTo>
                    <a:lnTo>
                      <a:pt x="663" y="362"/>
                    </a:lnTo>
                    <a:lnTo>
                      <a:pt x="663" y="364"/>
                    </a:lnTo>
                    <a:lnTo>
                      <a:pt x="663" y="366"/>
                    </a:lnTo>
                    <a:lnTo>
                      <a:pt x="661" y="366"/>
                    </a:lnTo>
                    <a:lnTo>
                      <a:pt x="661" y="368"/>
                    </a:lnTo>
                    <a:lnTo>
                      <a:pt x="661" y="370"/>
                    </a:lnTo>
                    <a:lnTo>
                      <a:pt x="661" y="371"/>
                    </a:lnTo>
                    <a:lnTo>
                      <a:pt x="661" y="373"/>
                    </a:lnTo>
                    <a:lnTo>
                      <a:pt x="661" y="375"/>
                    </a:lnTo>
                    <a:lnTo>
                      <a:pt x="663" y="375"/>
                    </a:lnTo>
                    <a:lnTo>
                      <a:pt x="663" y="377"/>
                    </a:lnTo>
                    <a:lnTo>
                      <a:pt x="661" y="377"/>
                    </a:lnTo>
                    <a:lnTo>
                      <a:pt x="663" y="377"/>
                    </a:lnTo>
                    <a:lnTo>
                      <a:pt x="661" y="377"/>
                    </a:lnTo>
                    <a:lnTo>
                      <a:pt x="661" y="379"/>
                    </a:lnTo>
                    <a:lnTo>
                      <a:pt x="661" y="381"/>
                    </a:lnTo>
                    <a:lnTo>
                      <a:pt x="661" y="383"/>
                    </a:lnTo>
                    <a:lnTo>
                      <a:pt x="659" y="383"/>
                    </a:lnTo>
                    <a:lnTo>
                      <a:pt x="659" y="385"/>
                    </a:lnTo>
                    <a:lnTo>
                      <a:pt x="661" y="385"/>
                    </a:lnTo>
                    <a:lnTo>
                      <a:pt x="661" y="387"/>
                    </a:lnTo>
                    <a:lnTo>
                      <a:pt x="659" y="387"/>
                    </a:lnTo>
                    <a:lnTo>
                      <a:pt x="661" y="387"/>
                    </a:lnTo>
                    <a:lnTo>
                      <a:pt x="661" y="389"/>
                    </a:lnTo>
                    <a:lnTo>
                      <a:pt x="661" y="391"/>
                    </a:lnTo>
                    <a:lnTo>
                      <a:pt x="659" y="391"/>
                    </a:lnTo>
                    <a:lnTo>
                      <a:pt x="659" y="389"/>
                    </a:lnTo>
                    <a:lnTo>
                      <a:pt x="659" y="391"/>
                    </a:lnTo>
                    <a:lnTo>
                      <a:pt x="661" y="391"/>
                    </a:lnTo>
                    <a:lnTo>
                      <a:pt x="659" y="391"/>
                    </a:lnTo>
                    <a:lnTo>
                      <a:pt x="661" y="391"/>
                    </a:lnTo>
                    <a:lnTo>
                      <a:pt x="661" y="393"/>
                    </a:lnTo>
                    <a:lnTo>
                      <a:pt x="659" y="393"/>
                    </a:lnTo>
                    <a:lnTo>
                      <a:pt x="659" y="391"/>
                    </a:lnTo>
                    <a:lnTo>
                      <a:pt x="659" y="393"/>
                    </a:lnTo>
                    <a:lnTo>
                      <a:pt x="659" y="395"/>
                    </a:lnTo>
                    <a:lnTo>
                      <a:pt x="659" y="396"/>
                    </a:lnTo>
                    <a:lnTo>
                      <a:pt x="659" y="398"/>
                    </a:lnTo>
                    <a:lnTo>
                      <a:pt x="661" y="398"/>
                    </a:lnTo>
                    <a:lnTo>
                      <a:pt x="661" y="400"/>
                    </a:lnTo>
                    <a:lnTo>
                      <a:pt x="661" y="402"/>
                    </a:lnTo>
                    <a:lnTo>
                      <a:pt x="663" y="404"/>
                    </a:lnTo>
                    <a:lnTo>
                      <a:pt x="661" y="404"/>
                    </a:lnTo>
                    <a:lnTo>
                      <a:pt x="663" y="404"/>
                    </a:lnTo>
                    <a:lnTo>
                      <a:pt x="661" y="404"/>
                    </a:lnTo>
                    <a:lnTo>
                      <a:pt x="663" y="404"/>
                    </a:lnTo>
                    <a:lnTo>
                      <a:pt x="661" y="404"/>
                    </a:lnTo>
                    <a:lnTo>
                      <a:pt x="663" y="404"/>
                    </a:lnTo>
                    <a:lnTo>
                      <a:pt x="661" y="404"/>
                    </a:lnTo>
                    <a:lnTo>
                      <a:pt x="663" y="404"/>
                    </a:lnTo>
                    <a:lnTo>
                      <a:pt x="661" y="404"/>
                    </a:lnTo>
                    <a:lnTo>
                      <a:pt x="661" y="406"/>
                    </a:lnTo>
                    <a:lnTo>
                      <a:pt x="661" y="404"/>
                    </a:lnTo>
                    <a:lnTo>
                      <a:pt x="663" y="404"/>
                    </a:lnTo>
                    <a:lnTo>
                      <a:pt x="663" y="406"/>
                    </a:lnTo>
                    <a:lnTo>
                      <a:pt x="663" y="408"/>
                    </a:lnTo>
                    <a:lnTo>
                      <a:pt x="664" y="410"/>
                    </a:lnTo>
                    <a:lnTo>
                      <a:pt x="666" y="410"/>
                    </a:lnTo>
                    <a:lnTo>
                      <a:pt x="666" y="412"/>
                    </a:lnTo>
                    <a:lnTo>
                      <a:pt x="666" y="414"/>
                    </a:lnTo>
                    <a:lnTo>
                      <a:pt x="666" y="416"/>
                    </a:lnTo>
                    <a:lnTo>
                      <a:pt x="666" y="418"/>
                    </a:lnTo>
                    <a:lnTo>
                      <a:pt x="666" y="420"/>
                    </a:lnTo>
                    <a:lnTo>
                      <a:pt x="666" y="418"/>
                    </a:lnTo>
                    <a:lnTo>
                      <a:pt x="666" y="420"/>
                    </a:lnTo>
                    <a:lnTo>
                      <a:pt x="668" y="420"/>
                    </a:lnTo>
                    <a:lnTo>
                      <a:pt x="668" y="421"/>
                    </a:lnTo>
                    <a:lnTo>
                      <a:pt x="666" y="421"/>
                    </a:lnTo>
                    <a:lnTo>
                      <a:pt x="668" y="423"/>
                    </a:lnTo>
                    <a:lnTo>
                      <a:pt x="670" y="423"/>
                    </a:lnTo>
                    <a:lnTo>
                      <a:pt x="670" y="425"/>
                    </a:lnTo>
                    <a:lnTo>
                      <a:pt x="668" y="425"/>
                    </a:lnTo>
                    <a:lnTo>
                      <a:pt x="668" y="427"/>
                    </a:lnTo>
                    <a:lnTo>
                      <a:pt x="670" y="427"/>
                    </a:lnTo>
                    <a:lnTo>
                      <a:pt x="668" y="429"/>
                    </a:lnTo>
                    <a:lnTo>
                      <a:pt x="670" y="429"/>
                    </a:lnTo>
                    <a:lnTo>
                      <a:pt x="668" y="431"/>
                    </a:lnTo>
                    <a:lnTo>
                      <a:pt x="666" y="431"/>
                    </a:lnTo>
                    <a:lnTo>
                      <a:pt x="668" y="431"/>
                    </a:lnTo>
                    <a:lnTo>
                      <a:pt x="668" y="433"/>
                    </a:lnTo>
                    <a:lnTo>
                      <a:pt x="666" y="433"/>
                    </a:lnTo>
                    <a:lnTo>
                      <a:pt x="664" y="433"/>
                    </a:lnTo>
                    <a:lnTo>
                      <a:pt x="666" y="433"/>
                    </a:lnTo>
                    <a:lnTo>
                      <a:pt x="664" y="435"/>
                    </a:lnTo>
                    <a:lnTo>
                      <a:pt x="666" y="435"/>
                    </a:lnTo>
                    <a:lnTo>
                      <a:pt x="664" y="435"/>
                    </a:lnTo>
                    <a:lnTo>
                      <a:pt x="664" y="437"/>
                    </a:lnTo>
                    <a:lnTo>
                      <a:pt x="664" y="439"/>
                    </a:lnTo>
                    <a:lnTo>
                      <a:pt x="664" y="437"/>
                    </a:lnTo>
                    <a:lnTo>
                      <a:pt x="664" y="439"/>
                    </a:lnTo>
                    <a:lnTo>
                      <a:pt x="663" y="439"/>
                    </a:lnTo>
                    <a:lnTo>
                      <a:pt x="661" y="439"/>
                    </a:lnTo>
                    <a:lnTo>
                      <a:pt x="663" y="439"/>
                    </a:lnTo>
                    <a:lnTo>
                      <a:pt x="663" y="441"/>
                    </a:lnTo>
                    <a:lnTo>
                      <a:pt x="661" y="441"/>
                    </a:lnTo>
                    <a:lnTo>
                      <a:pt x="663" y="441"/>
                    </a:lnTo>
                    <a:lnTo>
                      <a:pt x="661" y="441"/>
                    </a:lnTo>
                    <a:lnTo>
                      <a:pt x="659" y="441"/>
                    </a:lnTo>
                    <a:lnTo>
                      <a:pt x="657" y="441"/>
                    </a:lnTo>
                    <a:lnTo>
                      <a:pt x="657" y="439"/>
                    </a:lnTo>
                    <a:lnTo>
                      <a:pt x="657" y="441"/>
                    </a:lnTo>
                    <a:lnTo>
                      <a:pt x="657" y="439"/>
                    </a:lnTo>
                    <a:lnTo>
                      <a:pt x="657" y="441"/>
                    </a:lnTo>
                    <a:lnTo>
                      <a:pt x="655" y="441"/>
                    </a:lnTo>
                    <a:lnTo>
                      <a:pt x="657" y="441"/>
                    </a:lnTo>
                    <a:lnTo>
                      <a:pt x="655" y="441"/>
                    </a:lnTo>
                    <a:lnTo>
                      <a:pt x="655" y="439"/>
                    </a:lnTo>
                    <a:lnTo>
                      <a:pt x="653" y="439"/>
                    </a:lnTo>
                    <a:lnTo>
                      <a:pt x="653" y="437"/>
                    </a:lnTo>
                    <a:lnTo>
                      <a:pt x="653" y="439"/>
                    </a:lnTo>
                    <a:lnTo>
                      <a:pt x="651" y="439"/>
                    </a:lnTo>
                    <a:lnTo>
                      <a:pt x="651" y="437"/>
                    </a:lnTo>
                    <a:lnTo>
                      <a:pt x="653" y="437"/>
                    </a:lnTo>
                    <a:lnTo>
                      <a:pt x="651" y="437"/>
                    </a:lnTo>
                    <a:lnTo>
                      <a:pt x="649" y="437"/>
                    </a:lnTo>
                    <a:lnTo>
                      <a:pt x="647" y="437"/>
                    </a:lnTo>
                    <a:lnTo>
                      <a:pt x="649" y="437"/>
                    </a:lnTo>
                    <a:lnTo>
                      <a:pt x="649" y="439"/>
                    </a:lnTo>
                    <a:lnTo>
                      <a:pt x="647" y="439"/>
                    </a:lnTo>
                    <a:lnTo>
                      <a:pt x="645" y="439"/>
                    </a:lnTo>
                    <a:lnTo>
                      <a:pt x="647" y="439"/>
                    </a:lnTo>
                    <a:lnTo>
                      <a:pt x="645" y="439"/>
                    </a:lnTo>
                    <a:lnTo>
                      <a:pt x="645" y="441"/>
                    </a:lnTo>
                    <a:lnTo>
                      <a:pt x="645" y="439"/>
                    </a:lnTo>
                    <a:lnTo>
                      <a:pt x="647" y="439"/>
                    </a:lnTo>
                    <a:lnTo>
                      <a:pt x="647" y="441"/>
                    </a:lnTo>
                    <a:lnTo>
                      <a:pt x="645" y="441"/>
                    </a:lnTo>
                    <a:lnTo>
                      <a:pt x="643" y="441"/>
                    </a:lnTo>
                    <a:lnTo>
                      <a:pt x="645" y="441"/>
                    </a:lnTo>
                    <a:lnTo>
                      <a:pt x="643" y="441"/>
                    </a:lnTo>
                    <a:lnTo>
                      <a:pt x="643" y="443"/>
                    </a:lnTo>
                    <a:lnTo>
                      <a:pt x="641" y="443"/>
                    </a:lnTo>
                    <a:lnTo>
                      <a:pt x="639" y="443"/>
                    </a:lnTo>
                    <a:lnTo>
                      <a:pt x="641" y="445"/>
                    </a:lnTo>
                    <a:lnTo>
                      <a:pt x="639" y="445"/>
                    </a:lnTo>
                    <a:lnTo>
                      <a:pt x="638" y="445"/>
                    </a:lnTo>
                    <a:lnTo>
                      <a:pt x="639" y="445"/>
                    </a:lnTo>
                    <a:lnTo>
                      <a:pt x="638" y="445"/>
                    </a:lnTo>
                    <a:lnTo>
                      <a:pt x="638" y="446"/>
                    </a:lnTo>
                    <a:lnTo>
                      <a:pt x="638" y="448"/>
                    </a:lnTo>
                    <a:lnTo>
                      <a:pt x="638" y="450"/>
                    </a:lnTo>
                    <a:lnTo>
                      <a:pt x="638" y="452"/>
                    </a:lnTo>
                    <a:lnTo>
                      <a:pt x="638" y="450"/>
                    </a:lnTo>
                    <a:lnTo>
                      <a:pt x="638" y="452"/>
                    </a:lnTo>
                    <a:lnTo>
                      <a:pt x="636" y="452"/>
                    </a:lnTo>
                    <a:lnTo>
                      <a:pt x="638" y="452"/>
                    </a:lnTo>
                    <a:lnTo>
                      <a:pt x="636" y="454"/>
                    </a:lnTo>
                    <a:lnTo>
                      <a:pt x="636" y="456"/>
                    </a:lnTo>
                    <a:lnTo>
                      <a:pt x="636" y="454"/>
                    </a:lnTo>
                    <a:lnTo>
                      <a:pt x="638" y="454"/>
                    </a:lnTo>
                    <a:lnTo>
                      <a:pt x="636" y="454"/>
                    </a:lnTo>
                    <a:lnTo>
                      <a:pt x="638" y="454"/>
                    </a:lnTo>
                    <a:lnTo>
                      <a:pt x="638" y="452"/>
                    </a:lnTo>
                    <a:lnTo>
                      <a:pt x="638" y="450"/>
                    </a:lnTo>
                    <a:lnTo>
                      <a:pt x="638" y="448"/>
                    </a:lnTo>
                    <a:lnTo>
                      <a:pt x="638" y="450"/>
                    </a:lnTo>
                    <a:lnTo>
                      <a:pt x="638" y="448"/>
                    </a:lnTo>
                    <a:lnTo>
                      <a:pt x="638" y="446"/>
                    </a:lnTo>
                    <a:lnTo>
                      <a:pt x="638" y="448"/>
                    </a:lnTo>
                    <a:lnTo>
                      <a:pt x="638" y="446"/>
                    </a:lnTo>
                    <a:lnTo>
                      <a:pt x="639" y="446"/>
                    </a:lnTo>
                    <a:lnTo>
                      <a:pt x="638" y="446"/>
                    </a:lnTo>
                    <a:lnTo>
                      <a:pt x="638" y="445"/>
                    </a:lnTo>
                    <a:lnTo>
                      <a:pt x="639" y="445"/>
                    </a:lnTo>
                    <a:lnTo>
                      <a:pt x="641" y="445"/>
                    </a:lnTo>
                    <a:lnTo>
                      <a:pt x="641" y="443"/>
                    </a:lnTo>
                    <a:lnTo>
                      <a:pt x="643" y="443"/>
                    </a:lnTo>
                    <a:lnTo>
                      <a:pt x="643" y="441"/>
                    </a:lnTo>
                    <a:lnTo>
                      <a:pt x="645" y="441"/>
                    </a:lnTo>
                    <a:lnTo>
                      <a:pt x="647" y="441"/>
                    </a:lnTo>
                    <a:lnTo>
                      <a:pt x="647" y="439"/>
                    </a:lnTo>
                    <a:lnTo>
                      <a:pt x="647" y="441"/>
                    </a:lnTo>
                    <a:lnTo>
                      <a:pt x="647" y="439"/>
                    </a:lnTo>
                    <a:lnTo>
                      <a:pt x="649" y="437"/>
                    </a:lnTo>
                    <a:lnTo>
                      <a:pt x="651" y="437"/>
                    </a:lnTo>
                    <a:lnTo>
                      <a:pt x="653" y="437"/>
                    </a:lnTo>
                    <a:lnTo>
                      <a:pt x="651" y="437"/>
                    </a:lnTo>
                    <a:lnTo>
                      <a:pt x="651" y="439"/>
                    </a:lnTo>
                    <a:lnTo>
                      <a:pt x="653" y="439"/>
                    </a:lnTo>
                    <a:lnTo>
                      <a:pt x="653" y="437"/>
                    </a:lnTo>
                    <a:lnTo>
                      <a:pt x="653" y="439"/>
                    </a:lnTo>
                    <a:lnTo>
                      <a:pt x="655" y="439"/>
                    </a:lnTo>
                    <a:lnTo>
                      <a:pt x="655" y="441"/>
                    </a:lnTo>
                    <a:lnTo>
                      <a:pt x="657" y="441"/>
                    </a:lnTo>
                    <a:lnTo>
                      <a:pt x="659" y="441"/>
                    </a:lnTo>
                    <a:lnTo>
                      <a:pt x="657" y="441"/>
                    </a:lnTo>
                    <a:lnTo>
                      <a:pt x="659" y="441"/>
                    </a:lnTo>
                    <a:lnTo>
                      <a:pt x="659" y="443"/>
                    </a:lnTo>
                    <a:lnTo>
                      <a:pt x="659" y="441"/>
                    </a:lnTo>
                    <a:lnTo>
                      <a:pt x="661" y="441"/>
                    </a:lnTo>
                    <a:lnTo>
                      <a:pt x="659" y="441"/>
                    </a:lnTo>
                    <a:lnTo>
                      <a:pt x="661" y="441"/>
                    </a:lnTo>
                    <a:lnTo>
                      <a:pt x="663" y="441"/>
                    </a:lnTo>
                    <a:lnTo>
                      <a:pt x="663" y="439"/>
                    </a:lnTo>
                    <a:lnTo>
                      <a:pt x="664" y="439"/>
                    </a:lnTo>
                    <a:lnTo>
                      <a:pt x="664" y="437"/>
                    </a:lnTo>
                    <a:lnTo>
                      <a:pt x="664" y="435"/>
                    </a:lnTo>
                    <a:lnTo>
                      <a:pt x="666" y="435"/>
                    </a:lnTo>
                    <a:lnTo>
                      <a:pt x="664" y="435"/>
                    </a:lnTo>
                    <a:lnTo>
                      <a:pt x="666" y="435"/>
                    </a:lnTo>
                    <a:lnTo>
                      <a:pt x="666" y="433"/>
                    </a:lnTo>
                    <a:lnTo>
                      <a:pt x="668" y="433"/>
                    </a:lnTo>
                    <a:lnTo>
                      <a:pt x="668" y="431"/>
                    </a:lnTo>
                    <a:lnTo>
                      <a:pt x="670" y="431"/>
                    </a:lnTo>
                    <a:lnTo>
                      <a:pt x="670" y="429"/>
                    </a:lnTo>
                    <a:lnTo>
                      <a:pt x="668" y="429"/>
                    </a:lnTo>
                    <a:lnTo>
                      <a:pt x="670" y="429"/>
                    </a:lnTo>
                    <a:lnTo>
                      <a:pt x="670" y="427"/>
                    </a:lnTo>
                    <a:lnTo>
                      <a:pt x="668" y="427"/>
                    </a:lnTo>
                    <a:lnTo>
                      <a:pt x="668" y="425"/>
                    </a:lnTo>
                    <a:lnTo>
                      <a:pt x="670" y="425"/>
                    </a:lnTo>
                    <a:lnTo>
                      <a:pt x="668" y="425"/>
                    </a:lnTo>
                    <a:lnTo>
                      <a:pt x="670" y="425"/>
                    </a:lnTo>
                    <a:lnTo>
                      <a:pt x="670" y="423"/>
                    </a:lnTo>
                    <a:lnTo>
                      <a:pt x="670" y="425"/>
                    </a:lnTo>
                    <a:lnTo>
                      <a:pt x="670" y="423"/>
                    </a:lnTo>
                    <a:lnTo>
                      <a:pt x="672" y="425"/>
                    </a:lnTo>
                    <a:lnTo>
                      <a:pt x="670" y="423"/>
                    </a:lnTo>
                    <a:lnTo>
                      <a:pt x="672" y="423"/>
                    </a:lnTo>
                    <a:lnTo>
                      <a:pt x="672" y="425"/>
                    </a:lnTo>
                    <a:lnTo>
                      <a:pt x="674" y="425"/>
                    </a:lnTo>
                    <a:lnTo>
                      <a:pt x="674" y="427"/>
                    </a:lnTo>
                    <a:lnTo>
                      <a:pt x="674" y="429"/>
                    </a:lnTo>
                    <a:lnTo>
                      <a:pt x="676" y="429"/>
                    </a:lnTo>
                    <a:lnTo>
                      <a:pt x="676" y="427"/>
                    </a:lnTo>
                    <a:lnTo>
                      <a:pt x="674" y="429"/>
                    </a:lnTo>
                    <a:lnTo>
                      <a:pt x="674" y="427"/>
                    </a:lnTo>
                    <a:lnTo>
                      <a:pt x="676" y="427"/>
                    </a:lnTo>
                    <a:lnTo>
                      <a:pt x="674" y="427"/>
                    </a:lnTo>
                    <a:lnTo>
                      <a:pt x="674" y="425"/>
                    </a:lnTo>
                    <a:lnTo>
                      <a:pt x="674" y="427"/>
                    </a:lnTo>
                    <a:lnTo>
                      <a:pt x="676" y="427"/>
                    </a:lnTo>
                    <a:lnTo>
                      <a:pt x="676" y="429"/>
                    </a:lnTo>
                    <a:lnTo>
                      <a:pt x="678" y="429"/>
                    </a:lnTo>
                    <a:lnTo>
                      <a:pt x="678" y="431"/>
                    </a:lnTo>
                    <a:lnTo>
                      <a:pt x="678" y="429"/>
                    </a:lnTo>
                    <a:lnTo>
                      <a:pt x="678" y="431"/>
                    </a:lnTo>
                    <a:lnTo>
                      <a:pt x="680" y="431"/>
                    </a:lnTo>
                    <a:lnTo>
                      <a:pt x="678" y="431"/>
                    </a:lnTo>
                    <a:lnTo>
                      <a:pt x="680" y="431"/>
                    </a:lnTo>
                    <a:lnTo>
                      <a:pt x="678" y="431"/>
                    </a:lnTo>
                    <a:lnTo>
                      <a:pt x="678" y="433"/>
                    </a:lnTo>
                    <a:lnTo>
                      <a:pt x="680" y="433"/>
                    </a:lnTo>
                    <a:lnTo>
                      <a:pt x="682" y="433"/>
                    </a:lnTo>
                    <a:lnTo>
                      <a:pt x="680" y="435"/>
                    </a:lnTo>
                    <a:lnTo>
                      <a:pt x="682" y="435"/>
                    </a:lnTo>
                    <a:lnTo>
                      <a:pt x="680" y="435"/>
                    </a:lnTo>
                    <a:lnTo>
                      <a:pt x="682" y="433"/>
                    </a:lnTo>
                    <a:lnTo>
                      <a:pt x="682" y="435"/>
                    </a:lnTo>
                    <a:lnTo>
                      <a:pt x="682" y="437"/>
                    </a:lnTo>
                    <a:lnTo>
                      <a:pt x="684" y="437"/>
                    </a:lnTo>
                    <a:lnTo>
                      <a:pt x="684" y="439"/>
                    </a:lnTo>
                    <a:lnTo>
                      <a:pt x="686" y="439"/>
                    </a:lnTo>
                    <a:lnTo>
                      <a:pt x="686" y="437"/>
                    </a:lnTo>
                    <a:lnTo>
                      <a:pt x="686" y="439"/>
                    </a:lnTo>
                    <a:lnTo>
                      <a:pt x="687" y="439"/>
                    </a:lnTo>
                    <a:lnTo>
                      <a:pt x="686" y="439"/>
                    </a:lnTo>
                    <a:lnTo>
                      <a:pt x="687" y="439"/>
                    </a:lnTo>
                    <a:lnTo>
                      <a:pt x="689" y="439"/>
                    </a:lnTo>
                    <a:lnTo>
                      <a:pt x="689" y="441"/>
                    </a:lnTo>
                    <a:lnTo>
                      <a:pt x="687" y="441"/>
                    </a:lnTo>
                    <a:lnTo>
                      <a:pt x="687" y="443"/>
                    </a:lnTo>
                    <a:lnTo>
                      <a:pt x="687" y="441"/>
                    </a:lnTo>
                    <a:lnTo>
                      <a:pt x="689" y="443"/>
                    </a:lnTo>
                    <a:lnTo>
                      <a:pt x="687" y="443"/>
                    </a:lnTo>
                    <a:lnTo>
                      <a:pt x="689" y="443"/>
                    </a:lnTo>
                    <a:lnTo>
                      <a:pt x="687" y="443"/>
                    </a:lnTo>
                    <a:lnTo>
                      <a:pt x="689" y="445"/>
                    </a:lnTo>
                    <a:lnTo>
                      <a:pt x="689" y="446"/>
                    </a:lnTo>
                    <a:lnTo>
                      <a:pt x="689" y="448"/>
                    </a:lnTo>
                    <a:lnTo>
                      <a:pt x="691" y="448"/>
                    </a:lnTo>
                    <a:lnTo>
                      <a:pt x="689" y="448"/>
                    </a:lnTo>
                    <a:lnTo>
                      <a:pt x="689" y="450"/>
                    </a:lnTo>
                    <a:lnTo>
                      <a:pt x="691" y="450"/>
                    </a:lnTo>
                    <a:lnTo>
                      <a:pt x="689" y="450"/>
                    </a:lnTo>
                    <a:lnTo>
                      <a:pt x="691" y="450"/>
                    </a:lnTo>
                    <a:lnTo>
                      <a:pt x="691" y="452"/>
                    </a:lnTo>
                    <a:lnTo>
                      <a:pt x="689" y="452"/>
                    </a:lnTo>
                    <a:lnTo>
                      <a:pt x="689" y="454"/>
                    </a:lnTo>
                    <a:lnTo>
                      <a:pt x="691" y="454"/>
                    </a:lnTo>
                    <a:lnTo>
                      <a:pt x="691" y="456"/>
                    </a:lnTo>
                    <a:lnTo>
                      <a:pt x="689" y="456"/>
                    </a:lnTo>
                    <a:lnTo>
                      <a:pt x="689" y="458"/>
                    </a:lnTo>
                    <a:lnTo>
                      <a:pt x="691" y="458"/>
                    </a:lnTo>
                    <a:lnTo>
                      <a:pt x="691" y="460"/>
                    </a:lnTo>
                    <a:lnTo>
                      <a:pt x="693" y="460"/>
                    </a:lnTo>
                    <a:lnTo>
                      <a:pt x="693" y="462"/>
                    </a:lnTo>
                    <a:lnTo>
                      <a:pt x="695" y="462"/>
                    </a:lnTo>
                    <a:lnTo>
                      <a:pt x="693" y="462"/>
                    </a:lnTo>
                    <a:lnTo>
                      <a:pt x="693" y="464"/>
                    </a:lnTo>
                    <a:lnTo>
                      <a:pt x="695" y="464"/>
                    </a:lnTo>
                    <a:lnTo>
                      <a:pt x="695" y="466"/>
                    </a:lnTo>
                    <a:lnTo>
                      <a:pt x="695" y="468"/>
                    </a:lnTo>
                    <a:lnTo>
                      <a:pt x="697" y="468"/>
                    </a:lnTo>
                    <a:lnTo>
                      <a:pt x="697" y="470"/>
                    </a:lnTo>
                    <a:lnTo>
                      <a:pt x="697" y="471"/>
                    </a:lnTo>
                    <a:lnTo>
                      <a:pt x="697" y="473"/>
                    </a:lnTo>
                    <a:lnTo>
                      <a:pt x="699" y="473"/>
                    </a:lnTo>
                    <a:lnTo>
                      <a:pt x="697" y="473"/>
                    </a:lnTo>
                    <a:lnTo>
                      <a:pt x="699" y="473"/>
                    </a:lnTo>
                    <a:lnTo>
                      <a:pt x="699" y="475"/>
                    </a:lnTo>
                    <a:lnTo>
                      <a:pt x="697" y="475"/>
                    </a:lnTo>
                    <a:lnTo>
                      <a:pt x="699" y="475"/>
                    </a:lnTo>
                    <a:lnTo>
                      <a:pt x="699" y="477"/>
                    </a:lnTo>
                    <a:lnTo>
                      <a:pt x="699" y="479"/>
                    </a:lnTo>
                    <a:lnTo>
                      <a:pt x="699" y="477"/>
                    </a:lnTo>
                    <a:lnTo>
                      <a:pt x="697" y="477"/>
                    </a:lnTo>
                    <a:lnTo>
                      <a:pt x="697" y="479"/>
                    </a:lnTo>
                    <a:lnTo>
                      <a:pt x="699" y="479"/>
                    </a:lnTo>
                    <a:lnTo>
                      <a:pt x="697" y="479"/>
                    </a:lnTo>
                    <a:lnTo>
                      <a:pt x="697" y="477"/>
                    </a:lnTo>
                    <a:lnTo>
                      <a:pt x="699" y="477"/>
                    </a:lnTo>
                    <a:lnTo>
                      <a:pt x="699" y="479"/>
                    </a:lnTo>
                    <a:lnTo>
                      <a:pt x="699" y="477"/>
                    </a:lnTo>
                    <a:lnTo>
                      <a:pt x="701" y="477"/>
                    </a:lnTo>
                    <a:lnTo>
                      <a:pt x="699" y="477"/>
                    </a:lnTo>
                    <a:lnTo>
                      <a:pt x="699" y="475"/>
                    </a:lnTo>
                    <a:lnTo>
                      <a:pt x="699" y="473"/>
                    </a:lnTo>
                    <a:lnTo>
                      <a:pt x="697" y="473"/>
                    </a:lnTo>
                    <a:lnTo>
                      <a:pt x="699" y="473"/>
                    </a:lnTo>
                    <a:lnTo>
                      <a:pt x="697" y="473"/>
                    </a:lnTo>
                    <a:lnTo>
                      <a:pt x="697" y="471"/>
                    </a:lnTo>
                    <a:lnTo>
                      <a:pt x="697" y="470"/>
                    </a:lnTo>
                    <a:lnTo>
                      <a:pt x="697" y="468"/>
                    </a:lnTo>
                    <a:lnTo>
                      <a:pt x="695" y="468"/>
                    </a:lnTo>
                    <a:lnTo>
                      <a:pt x="695" y="466"/>
                    </a:lnTo>
                    <a:lnTo>
                      <a:pt x="695" y="464"/>
                    </a:lnTo>
                    <a:lnTo>
                      <a:pt x="693" y="464"/>
                    </a:lnTo>
                    <a:lnTo>
                      <a:pt x="693" y="462"/>
                    </a:lnTo>
                    <a:lnTo>
                      <a:pt x="695" y="462"/>
                    </a:lnTo>
                    <a:lnTo>
                      <a:pt x="693" y="462"/>
                    </a:lnTo>
                    <a:lnTo>
                      <a:pt x="693" y="460"/>
                    </a:lnTo>
                    <a:lnTo>
                      <a:pt x="691" y="460"/>
                    </a:lnTo>
                    <a:lnTo>
                      <a:pt x="691" y="458"/>
                    </a:lnTo>
                    <a:lnTo>
                      <a:pt x="689" y="458"/>
                    </a:lnTo>
                    <a:lnTo>
                      <a:pt x="689" y="456"/>
                    </a:lnTo>
                    <a:lnTo>
                      <a:pt x="691" y="456"/>
                    </a:lnTo>
                    <a:lnTo>
                      <a:pt x="691" y="454"/>
                    </a:lnTo>
                    <a:lnTo>
                      <a:pt x="689" y="454"/>
                    </a:lnTo>
                    <a:lnTo>
                      <a:pt x="689" y="452"/>
                    </a:lnTo>
                    <a:lnTo>
                      <a:pt x="691" y="452"/>
                    </a:lnTo>
                    <a:lnTo>
                      <a:pt x="691" y="450"/>
                    </a:lnTo>
                    <a:lnTo>
                      <a:pt x="691" y="452"/>
                    </a:lnTo>
                    <a:lnTo>
                      <a:pt x="693" y="452"/>
                    </a:lnTo>
                    <a:lnTo>
                      <a:pt x="691" y="452"/>
                    </a:lnTo>
                    <a:lnTo>
                      <a:pt x="691" y="450"/>
                    </a:lnTo>
                    <a:lnTo>
                      <a:pt x="693" y="450"/>
                    </a:lnTo>
                    <a:lnTo>
                      <a:pt x="693" y="452"/>
                    </a:lnTo>
                    <a:lnTo>
                      <a:pt x="695" y="452"/>
                    </a:lnTo>
                    <a:lnTo>
                      <a:pt x="695" y="454"/>
                    </a:lnTo>
                    <a:lnTo>
                      <a:pt x="693" y="454"/>
                    </a:lnTo>
                    <a:lnTo>
                      <a:pt x="695" y="454"/>
                    </a:lnTo>
                    <a:lnTo>
                      <a:pt x="695" y="452"/>
                    </a:lnTo>
                    <a:lnTo>
                      <a:pt x="693" y="452"/>
                    </a:lnTo>
                    <a:lnTo>
                      <a:pt x="693" y="450"/>
                    </a:lnTo>
                    <a:lnTo>
                      <a:pt x="691" y="450"/>
                    </a:lnTo>
                    <a:lnTo>
                      <a:pt x="689" y="450"/>
                    </a:lnTo>
                    <a:lnTo>
                      <a:pt x="689" y="448"/>
                    </a:lnTo>
                    <a:lnTo>
                      <a:pt x="691" y="448"/>
                    </a:lnTo>
                    <a:lnTo>
                      <a:pt x="691" y="450"/>
                    </a:lnTo>
                    <a:lnTo>
                      <a:pt x="691" y="448"/>
                    </a:lnTo>
                    <a:lnTo>
                      <a:pt x="691" y="446"/>
                    </a:lnTo>
                    <a:lnTo>
                      <a:pt x="689" y="446"/>
                    </a:lnTo>
                    <a:lnTo>
                      <a:pt x="689" y="445"/>
                    </a:lnTo>
                    <a:lnTo>
                      <a:pt x="689" y="443"/>
                    </a:lnTo>
                    <a:lnTo>
                      <a:pt x="689" y="441"/>
                    </a:lnTo>
                    <a:lnTo>
                      <a:pt x="689" y="443"/>
                    </a:lnTo>
                    <a:lnTo>
                      <a:pt x="689" y="441"/>
                    </a:lnTo>
                    <a:lnTo>
                      <a:pt x="691" y="441"/>
                    </a:lnTo>
                    <a:lnTo>
                      <a:pt x="691" y="439"/>
                    </a:lnTo>
                    <a:lnTo>
                      <a:pt x="689" y="439"/>
                    </a:lnTo>
                    <a:lnTo>
                      <a:pt x="691" y="439"/>
                    </a:lnTo>
                    <a:lnTo>
                      <a:pt x="689" y="439"/>
                    </a:lnTo>
                    <a:lnTo>
                      <a:pt x="687" y="439"/>
                    </a:lnTo>
                    <a:lnTo>
                      <a:pt x="687" y="437"/>
                    </a:lnTo>
                    <a:lnTo>
                      <a:pt x="687" y="439"/>
                    </a:lnTo>
                    <a:lnTo>
                      <a:pt x="687" y="437"/>
                    </a:lnTo>
                    <a:lnTo>
                      <a:pt x="686" y="437"/>
                    </a:lnTo>
                    <a:lnTo>
                      <a:pt x="687" y="437"/>
                    </a:lnTo>
                    <a:lnTo>
                      <a:pt x="686" y="437"/>
                    </a:lnTo>
                    <a:lnTo>
                      <a:pt x="686" y="439"/>
                    </a:lnTo>
                    <a:lnTo>
                      <a:pt x="684" y="439"/>
                    </a:lnTo>
                    <a:lnTo>
                      <a:pt x="684" y="437"/>
                    </a:lnTo>
                    <a:lnTo>
                      <a:pt x="686" y="437"/>
                    </a:lnTo>
                    <a:lnTo>
                      <a:pt x="684" y="437"/>
                    </a:lnTo>
                    <a:lnTo>
                      <a:pt x="686" y="437"/>
                    </a:lnTo>
                    <a:lnTo>
                      <a:pt x="684" y="437"/>
                    </a:lnTo>
                    <a:lnTo>
                      <a:pt x="684" y="435"/>
                    </a:lnTo>
                    <a:lnTo>
                      <a:pt x="682" y="435"/>
                    </a:lnTo>
                    <a:lnTo>
                      <a:pt x="682" y="433"/>
                    </a:lnTo>
                    <a:lnTo>
                      <a:pt x="680" y="431"/>
                    </a:lnTo>
                    <a:lnTo>
                      <a:pt x="680" y="433"/>
                    </a:lnTo>
                    <a:lnTo>
                      <a:pt x="680" y="431"/>
                    </a:lnTo>
                    <a:lnTo>
                      <a:pt x="680" y="429"/>
                    </a:lnTo>
                    <a:lnTo>
                      <a:pt x="678" y="429"/>
                    </a:lnTo>
                    <a:lnTo>
                      <a:pt x="676" y="429"/>
                    </a:lnTo>
                    <a:lnTo>
                      <a:pt x="678" y="429"/>
                    </a:lnTo>
                    <a:lnTo>
                      <a:pt x="676" y="429"/>
                    </a:lnTo>
                    <a:lnTo>
                      <a:pt x="678" y="429"/>
                    </a:lnTo>
                    <a:lnTo>
                      <a:pt x="678" y="427"/>
                    </a:lnTo>
                    <a:lnTo>
                      <a:pt x="676" y="427"/>
                    </a:lnTo>
                    <a:lnTo>
                      <a:pt x="678" y="427"/>
                    </a:lnTo>
                    <a:lnTo>
                      <a:pt x="676" y="425"/>
                    </a:lnTo>
                    <a:lnTo>
                      <a:pt x="674" y="425"/>
                    </a:lnTo>
                    <a:lnTo>
                      <a:pt x="674" y="423"/>
                    </a:lnTo>
                    <a:lnTo>
                      <a:pt x="672" y="423"/>
                    </a:lnTo>
                    <a:lnTo>
                      <a:pt x="670" y="423"/>
                    </a:lnTo>
                    <a:lnTo>
                      <a:pt x="668" y="423"/>
                    </a:lnTo>
                    <a:lnTo>
                      <a:pt x="668" y="421"/>
                    </a:lnTo>
                    <a:lnTo>
                      <a:pt x="668" y="423"/>
                    </a:lnTo>
                    <a:lnTo>
                      <a:pt x="668" y="421"/>
                    </a:lnTo>
                    <a:lnTo>
                      <a:pt x="668" y="420"/>
                    </a:lnTo>
                    <a:lnTo>
                      <a:pt x="668" y="418"/>
                    </a:lnTo>
                    <a:lnTo>
                      <a:pt x="668" y="420"/>
                    </a:lnTo>
                    <a:lnTo>
                      <a:pt x="668" y="418"/>
                    </a:lnTo>
                    <a:lnTo>
                      <a:pt x="666" y="418"/>
                    </a:lnTo>
                    <a:lnTo>
                      <a:pt x="668" y="418"/>
                    </a:lnTo>
                    <a:lnTo>
                      <a:pt x="666" y="416"/>
                    </a:lnTo>
                    <a:lnTo>
                      <a:pt x="668" y="416"/>
                    </a:lnTo>
                    <a:lnTo>
                      <a:pt x="666" y="416"/>
                    </a:lnTo>
                    <a:lnTo>
                      <a:pt x="668" y="416"/>
                    </a:lnTo>
                    <a:lnTo>
                      <a:pt x="666" y="414"/>
                    </a:lnTo>
                    <a:lnTo>
                      <a:pt x="666" y="412"/>
                    </a:lnTo>
                    <a:lnTo>
                      <a:pt x="666" y="410"/>
                    </a:lnTo>
                    <a:lnTo>
                      <a:pt x="664" y="410"/>
                    </a:lnTo>
                    <a:lnTo>
                      <a:pt x="664" y="408"/>
                    </a:lnTo>
                    <a:lnTo>
                      <a:pt x="664" y="406"/>
                    </a:lnTo>
                    <a:lnTo>
                      <a:pt x="664" y="404"/>
                    </a:lnTo>
                    <a:lnTo>
                      <a:pt x="663" y="404"/>
                    </a:lnTo>
                    <a:lnTo>
                      <a:pt x="664" y="404"/>
                    </a:lnTo>
                    <a:lnTo>
                      <a:pt x="663" y="404"/>
                    </a:lnTo>
                    <a:lnTo>
                      <a:pt x="663" y="402"/>
                    </a:lnTo>
                    <a:lnTo>
                      <a:pt x="663" y="400"/>
                    </a:lnTo>
                    <a:lnTo>
                      <a:pt x="663" y="398"/>
                    </a:lnTo>
                    <a:lnTo>
                      <a:pt x="661" y="398"/>
                    </a:lnTo>
                    <a:lnTo>
                      <a:pt x="661" y="396"/>
                    </a:lnTo>
                    <a:lnTo>
                      <a:pt x="659" y="396"/>
                    </a:lnTo>
                    <a:lnTo>
                      <a:pt x="661" y="396"/>
                    </a:lnTo>
                    <a:lnTo>
                      <a:pt x="661" y="395"/>
                    </a:lnTo>
                    <a:lnTo>
                      <a:pt x="661" y="396"/>
                    </a:lnTo>
                    <a:lnTo>
                      <a:pt x="661" y="395"/>
                    </a:lnTo>
                    <a:lnTo>
                      <a:pt x="659" y="395"/>
                    </a:lnTo>
                    <a:lnTo>
                      <a:pt x="659" y="393"/>
                    </a:lnTo>
                    <a:lnTo>
                      <a:pt x="661" y="393"/>
                    </a:lnTo>
                    <a:lnTo>
                      <a:pt x="661" y="391"/>
                    </a:lnTo>
                    <a:lnTo>
                      <a:pt x="661" y="389"/>
                    </a:lnTo>
                    <a:lnTo>
                      <a:pt x="661" y="387"/>
                    </a:lnTo>
                    <a:lnTo>
                      <a:pt x="661" y="385"/>
                    </a:lnTo>
                    <a:lnTo>
                      <a:pt x="661" y="383"/>
                    </a:lnTo>
                    <a:lnTo>
                      <a:pt x="661" y="381"/>
                    </a:lnTo>
                    <a:lnTo>
                      <a:pt x="661" y="379"/>
                    </a:lnTo>
                    <a:lnTo>
                      <a:pt x="663" y="379"/>
                    </a:lnTo>
                    <a:lnTo>
                      <a:pt x="663" y="377"/>
                    </a:lnTo>
                    <a:lnTo>
                      <a:pt x="663" y="375"/>
                    </a:lnTo>
                    <a:lnTo>
                      <a:pt x="663" y="373"/>
                    </a:lnTo>
                    <a:lnTo>
                      <a:pt x="663" y="371"/>
                    </a:lnTo>
                    <a:lnTo>
                      <a:pt x="663" y="370"/>
                    </a:lnTo>
                    <a:lnTo>
                      <a:pt x="664" y="370"/>
                    </a:lnTo>
                    <a:lnTo>
                      <a:pt x="664" y="368"/>
                    </a:lnTo>
                    <a:lnTo>
                      <a:pt x="663" y="368"/>
                    </a:lnTo>
                    <a:lnTo>
                      <a:pt x="661" y="368"/>
                    </a:lnTo>
                    <a:lnTo>
                      <a:pt x="663" y="366"/>
                    </a:lnTo>
                    <a:lnTo>
                      <a:pt x="664" y="364"/>
                    </a:lnTo>
                    <a:lnTo>
                      <a:pt x="664" y="362"/>
                    </a:lnTo>
                    <a:lnTo>
                      <a:pt x="664" y="364"/>
                    </a:lnTo>
                    <a:lnTo>
                      <a:pt x="664" y="362"/>
                    </a:lnTo>
                    <a:lnTo>
                      <a:pt x="663" y="362"/>
                    </a:lnTo>
                    <a:lnTo>
                      <a:pt x="663" y="360"/>
                    </a:lnTo>
                    <a:lnTo>
                      <a:pt x="663" y="358"/>
                    </a:lnTo>
                    <a:lnTo>
                      <a:pt x="663" y="360"/>
                    </a:lnTo>
                    <a:lnTo>
                      <a:pt x="663" y="358"/>
                    </a:lnTo>
                    <a:lnTo>
                      <a:pt x="663" y="356"/>
                    </a:lnTo>
                    <a:lnTo>
                      <a:pt x="663" y="354"/>
                    </a:lnTo>
                    <a:lnTo>
                      <a:pt x="664" y="354"/>
                    </a:lnTo>
                    <a:lnTo>
                      <a:pt x="664" y="356"/>
                    </a:lnTo>
                    <a:lnTo>
                      <a:pt x="664" y="354"/>
                    </a:lnTo>
                    <a:lnTo>
                      <a:pt x="666" y="354"/>
                    </a:lnTo>
                    <a:lnTo>
                      <a:pt x="668" y="354"/>
                    </a:lnTo>
                    <a:lnTo>
                      <a:pt x="668" y="352"/>
                    </a:lnTo>
                    <a:lnTo>
                      <a:pt x="666" y="352"/>
                    </a:lnTo>
                    <a:lnTo>
                      <a:pt x="666" y="350"/>
                    </a:lnTo>
                    <a:lnTo>
                      <a:pt x="666" y="348"/>
                    </a:lnTo>
                    <a:lnTo>
                      <a:pt x="668" y="348"/>
                    </a:lnTo>
                    <a:lnTo>
                      <a:pt x="668" y="350"/>
                    </a:lnTo>
                    <a:lnTo>
                      <a:pt x="666" y="350"/>
                    </a:lnTo>
                    <a:lnTo>
                      <a:pt x="668" y="350"/>
                    </a:lnTo>
                    <a:lnTo>
                      <a:pt x="668" y="348"/>
                    </a:lnTo>
                    <a:lnTo>
                      <a:pt x="668" y="346"/>
                    </a:lnTo>
                    <a:lnTo>
                      <a:pt x="666" y="346"/>
                    </a:lnTo>
                    <a:lnTo>
                      <a:pt x="668" y="346"/>
                    </a:lnTo>
                    <a:lnTo>
                      <a:pt x="666" y="346"/>
                    </a:lnTo>
                    <a:lnTo>
                      <a:pt x="664" y="346"/>
                    </a:lnTo>
                    <a:lnTo>
                      <a:pt x="663" y="346"/>
                    </a:lnTo>
                    <a:lnTo>
                      <a:pt x="663" y="348"/>
                    </a:lnTo>
                    <a:lnTo>
                      <a:pt x="661" y="348"/>
                    </a:lnTo>
                    <a:lnTo>
                      <a:pt x="661" y="346"/>
                    </a:lnTo>
                    <a:lnTo>
                      <a:pt x="661" y="345"/>
                    </a:lnTo>
                    <a:lnTo>
                      <a:pt x="661" y="343"/>
                    </a:lnTo>
                    <a:lnTo>
                      <a:pt x="659" y="343"/>
                    </a:lnTo>
                    <a:lnTo>
                      <a:pt x="657" y="343"/>
                    </a:lnTo>
                    <a:lnTo>
                      <a:pt x="655" y="343"/>
                    </a:lnTo>
                    <a:lnTo>
                      <a:pt x="653" y="343"/>
                    </a:lnTo>
                    <a:lnTo>
                      <a:pt x="651" y="343"/>
                    </a:lnTo>
                    <a:lnTo>
                      <a:pt x="651" y="341"/>
                    </a:lnTo>
                    <a:lnTo>
                      <a:pt x="649" y="341"/>
                    </a:lnTo>
                    <a:lnTo>
                      <a:pt x="651" y="339"/>
                    </a:lnTo>
                    <a:lnTo>
                      <a:pt x="653" y="339"/>
                    </a:lnTo>
                    <a:lnTo>
                      <a:pt x="651" y="337"/>
                    </a:lnTo>
                    <a:lnTo>
                      <a:pt x="653" y="335"/>
                    </a:lnTo>
                    <a:lnTo>
                      <a:pt x="651" y="333"/>
                    </a:lnTo>
                    <a:lnTo>
                      <a:pt x="651" y="331"/>
                    </a:lnTo>
                    <a:lnTo>
                      <a:pt x="649" y="331"/>
                    </a:lnTo>
                    <a:lnTo>
                      <a:pt x="649" y="333"/>
                    </a:lnTo>
                    <a:lnTo>
                      <a:pt x="649" y="335"/>
                    </a:lnTo>
                    <a:lnTo>
                      <a:pt x="647" y="335"/>
                    </a:lnTo>
                    <a:lnTo>
                      <a:pt x="645" y="335"/>
                    </a:lnTo>
                    <a:lnTo>
                      <a:pt x="645" y="333"/>
                    </a:lnTo>
                    <a:lnTo>
                      <a:pt x="643" y="333"/>
                    </a:lnTo>
                    <a:lnTo>
                      <a:pt x="643" y="331"/>
                    </a:lnTo>
                    <a:lnTo>
                      <a:pt x="641" y="331"/>
                    </a:lnTo>
                    <a:lnTo>
                      <a:pt x="639" y="331"/>
                    </a:lnTo>
                    <a:lnTo>
                      <a:pt x="639" y="329"/>
                    </a:lnTo>
                    <a:lnTo>
                      <a:pt x="641" y="329"/>
                    </a:lnTo>
                    <a:lnTo>
                      <a:pt x="641" y="327"/>
                    </a:lnTo>
                    <a:lnTo>
                      <a:pt x="641" y="325"/>
                    </a:lnTo>
                    <a:lnTo>
                      <a:pt x="639" y="325"/>
                    </a:lnTo>
                    <a:lnTo>
                      <a:pt x="638" y="325"/>
                    </a:lnTo>
                    <a:lnTo>
                      <a:pt x="636" y="323"/>
                    </a:lnTo>
                    <a:lnTo>
                      <a:pt x="638" y="323"/>
                    </a:lnTo>
                    <a:lnTo>
                      <a:pt x="639" y="323"/>
                    </a:lnTo>
                    <a:lnTo>
                      <a:pt x="641" y="323"/>
                    </a:lnTo>
                    <a:lnTo>
                      <a:pt x="641" y="321"/>
                    </a:lnTo>
                    <a:lnTo>
                      <a:pt x="643" y="321"/>
                    </a:lnTo>
                    <a:lnTo>
                      <a:pt x="643" y="320"/>
                    </a:lnTo>
                    <a:lnTo>
                      <a:pt x="643" y="318"/>
                    </a:lnTo>
                    <a:lnTo>
                      <a:pt x="643" y="316"/>
                    </a:lnTo>
                    <a:lnTo>
                      <a:pt x="645" y="316"/>
                    </a:lnTo>
                    <a:lnTo>
                      <a:pt x="645" y="314"/>
                    </a:lnTo>
                    <a:lnTo>
                      <a:pt x="645" y="312"/>
                    </a:lnTo>
                    <a:lnTo>
                      <a:pt x="647" y="312"/>
                    </a:lnTo>
                    <a:lnTo>
                      <a:pt x="645" y="312"/>
                    </a:lnTo>
                    <a:lnTo>
                      <a:pt x="645" y="314"/>
                    </a:lnTo>
                    <a:lnTo>
                      <a:pt x="645" y="312"/>
                    </a:lnTo>
                    <a:lnTo>
                      <a:pt x="647" y="312"/>
                    </a:lnTo>
                    <a:lnTo>
                      <a:pt x="645" y="312"/>
                    </a:lnTo>
                    <a:lnTo>
                      <a:pt x="645" y="310"/>
                    </a:lnTo>
                    <a:lnTo>
                      <a:pt x="647" y="310"/>
                    </a:lnTo>
                    <a:lnTo>
                      <a:pt x="647" y="312"/>
                    </a:lnTo>
                    <a:lnTo>
                      <a:pt x="649" y="312"/>
                    </a:lnTo>
                    <a:lnTo>
                      <a:pt x="649" y="314"/>
                    </a:lnTo>
                    <a:lnTo>
                      <a:pt x="649" y="312"/>
                    </a:lnTo>
                    <a:lnTo>
                      <a:pt x="651" y="312"/>
                    </a:lnTo>
                    <a:lnTo>
                      <a:pt x="653" y="312"/>
                    </a:lnTo>
                    <a:lnTo>
                      <a:pt x="655" y="312"/>
                    </a:lnTo>
                    <a:lnTo>
                      <a:pt x="655" y="310"/>
                    </a:lnTo>
                    <a:lnTo>
                      <a:pt x="653" y="310"/>
                    </a:lnTo>
                    <a:lnTo>
                      <a:pt x="655" y="308"/>
                    </a:lnTo>
                    <a:lnTo>
                      <a:pt x="657" y="306"/>
                    </a:lnTo>
                    <a:lnTo>
                      <a:pt x="657" y="308"/>
                    </a:lnTo>
                    <a:lnTo>
                      <a:pt x="655" y="308"/>
                    </a:lnTo>
                    <a:lnTo>
                      <a:pt x="657" y="308"/>
                    </a:lnTo>
                    <a:lnTo>
                      <a:pt x="659" y="308"/>
                    </a:lnTo>
                    <a:lnTo>
                      <a:pt x="659" y="306"/>
                    </a:lnTo>
                    <a:lnTo>
                      <a:pt x="661" y="306"/>
                    </a:lnTo>
                    <a:lnTo>
                      <a:pt x="661" y="304"/>
                    </a:lnTo>
                    <a:lnTo>
                      <a:pt x="661" y="302"/>
                    </a:lnTo>
                    <a:lnTo>
                      <a:pt x="659" y="302"/>
                    </a:lnTo>
                    <a:lnTo>
                      <a:pt x="659" y="300"/>
                    </a:lnTo>
                    <a:lnTo>
                      <a:pt x="661" y="300"/>
                    </a:lnTo>
                    <a:lnTo>
                      <a:pt x="663" y="300"/>
                    </a:lnTo>
                    <a:lnTo>
                      <a:pt x="663" y="302"/>
                    </a:lnTo>
                    <a:lnTo>
                      <a:pt x="663" y="300"/>
                    </a:lnTo>
                    <a:lnTo>
                      <a:pt x="663" y="298"/>
                    </a:lnTo>
                    <a:lnTo>
                      <a:pt x="664" y="298"/>
                    </a:lnTo>
                    <a:lnTo>
                      <a:pt x="666" y="298"/>
                    </a:lnTo>
                    <a:lnTo>
                      <a:pt x="666" y="296"/>
                    </a:lnTo>
                    <a:lnTo>
                      <a:pt x="664" y="296"/>
                    </a:lnTo>
                    <a:lnTo>
                      <a:pt x="666" y="296"/>
                    </a:lnTo>
                    <a:lnTo>
                      <a:pt x="668" y="296"/>
                    </a:lnTo>
                    <a:lnTo>
                      <a:pt x="668" y="295"/>
                    </a:lnTo>
                    <a:lnTo>
                      <a:pt x="670" y="295"/>
                    </a:lnTo>
                    <a:lnTo>
                      <a:pt x="670" y="293"/>
                    </a:lnTo>
                    <a:lnTo>
                      <a:pt x="672" y="293"/>
                    </a:lnTo>
                    <a:lnTo>
                      <a:pt x="672" y="295"/>
                    </a:lnTo>
                    <a:lnTo>
                      <a:pt x="672" y="293"/>
                    </a:lnTo>
                    <a:lnTo>
                      <a:pt x="674" y="293"/>
                    </a:lnTo>
                    <a:lnTo>
                      <a:pt x="674" y="291"/>
                    </a:lnTo>
                    <a:lnTo>
                      <a:pt x="674" y="293"/>
                    </a:lnTo>
                    <a:lnTo>
                      <a:pt x="674" y="291"/>
                    </a:lnTo>
                    <a:lnTo>
                      <a:pt x="676" y="291"/>
                    </a:lnTo>
                    <a:lnTo>
                      <a:pt x="674" y="291"/>
                    </a:lnTo>
                    <a:lnTo>
                      <a:pt x="676" y="291"/>
                    </a:lnTo>
                    <a:lnTo>
                      <a:pt x="676" y="289"/>
                    </a:lnTo>
                    <a:lnTo>
                      <a:pt x="674" y="289"/>
                    </a:lnTo>
                    <a:lnTo>
                      <a:pt x="676" y="289"/>
                    </a:lnTo>
                    <a:lnTo>
                      <a:pt x="678" y="289"/>
                    </a:lnTo>
                    <a:lnTo>
                      <a:pt x="678" y="287"/>
                    </a:lnTo>
                    <a:lnTo>
                      <a:pt x="680" y="289"/>
                    </a:lnTo>
                    <a:lnTo>
                      <a:pt x="680" y="287"/>
                    </a:lnTo>
                    <a:lnTo>
                      <a:pt x="678" y="287"/>
                    </a:lnTo>
                    <a:lnTo>
                      <a:pt x="678" y="289"/>
                    </a:lnTo>
                    <a:lnTo>
                      <a:pt x="676" y="289"/>
                    </a:lnTo>
                    <a:lnTo>
                      <a:pt x="674" y="289"/>
                    </a:lnTo>
                    <a:lnTo>
                      <a:pt x="676" y="289"/>
                    </a:lnTo>
                    <a:lnTo>
                      <a:pt x="674" y="289"/>
                    </a:lnTo>
                    <a:lnTo>
                      <a:pt x="674" y="291"/>
                    </a:lnTo>
                    <a:lnTo>
                      <a:pt x="676" y="291"/>
                    </a:lnTo>
                    <a:lnTo>
                      <a:pt x="674" y="291"/>
                    </a:lnTo>
                    <a:lnTo>
                      <a:pt x="674" y="293"/>
                    </a:lnTo>
                    <a:lnTo>
                      <a:pt x="674" y="291"/>
                    </a:lnTo>
                    <a:lnTo>
                      <a:pt x="672" y="291"/>
                    </a:lnTo>
                    <a:lnTo>
                      <a:pt x="674" y="293"/>
                    </a:lnTo>
                    <a:lnTo>
                      <a:pt x="672" y="293"/>
                    </a:lnTo>
                    <a:lnTo>
                      <a:pt x="672" y="295"/>
                    </a:lnTo>
                    <a:lnTo>
                      <a:pt x="672" y="293"/>
                    </a:lnTo>
                    <a:lnTo>
                      <a:pt x="670" y="293"/>
                    </a:lnTo>
                    <a:lnTo>
                      <a:pt x="670" y="295"/>
                    </a:lnTo>
                    <a:lnTo>
                      <a:pt x="668" y="295"/>
                    </a:lnTo>
                    <a:lnTo>
                      <a:pt x="670" y="295"/>
                    </a:lnTo>
                    <a:lnTo>
                      <a:pt x="668" y="295"/>
                    </a:lnTo>
                    <a:lnTo>
                      <a:pt x="668" y="296"/>
                    </a:lnTo>
                    <a:lnTo>
                      <a:pt x="666" y="296"/>
                    </a:lnTo>
                    <a:lnTo>
                      <a:pt x="664" y="296"/>
                    </a:lnTo>
                    <a:lnTo>
                      <a:pt x="666" y="296"/>
                    </a:lnTo>
                    <a:lnTo>
                      <a:pt x="666" y="298"/>
                    </a:lnTo>
                    <a:lnTo>
                      <a:pt x="664" y="298"/>
                    </a:lnTo>
                    <a:lnTo>
                      <a:pt x="663" y="298"/>
                    </a:lnTo>
                    <a:lnTo>
                      <a:pt x="661" y="296"/>
                    </a:lnTo>
                    <a:lnTo>
                      <a:pt x="663" y="298"/>
                    </a:lnTo>
                    <a:lnTo>
                      <a:pt x="661" y="298"/>
                    </a:lnTo>
                    <a:lnTo>
                      <a:pt x="661" y="296"/>
                    </a:lnTo>
                    <a:lnTo>
                      <a:pt x="661" y="295"/>
                    </a:lnTo>
                    <a:lnTo>
                      <a:pt x="661" y="293"/>
                    </a:lnTo>
                    <a:lnTo>
                      <a:pt x="663" y="293"/>
                    </a:lnTo>
                    <a:lnTo>
                      <a:pt x="664" y="291"/>
                    </a:lnTo>
                    <a:lnTo>
                      <a:pt x="664" y="289"/>
                    </a:lnTo>
                    <a:lnTo>
                      <a:pt x="663" y="289"/>
                    </a:lnTo>
                    <a:lnTo>
                      <a:pt x="664" y="289"/>
                    </a:lnTo>
                    <a:lnTo>
                      <a:pt x="663" y="289"/>
                    </a:lnTo>
                    <a:lnTo>
                      <a:pt x="664" y="289"/>
                    </a:lnTo>
                    <a:lnTo>
                      <a:pt x="664" y="287"/>
                    </a:lnTo>
                    <a:lnTo>
                      <a:pt x="664" y="285"/>
                    </a:lnTo>
                    <a:lnTo>
                      <a:pt x="666" y="285"/>
                    </a:lnTo>
                    <a:lnTo>
                      <a:pt x="666" y="283"/>
                    </a:lnTo>
                    <a:lnTo>
                      <a:pt x="666" y="281"/>
                    </a:lnTo>
                    <a:lnTo>
                      <a:pt x="666" y="283"/>
                    </a:lnTo>
                    <a:lnTo>
                      <a:pt x="666" y="281"/>
                    </a:lnTo>
                    <a:lnTo>
                      <a:pt x="668" y="281"/>
                    </a:lnTo>
                    <a:lnTo>
                      <a:pt x="666" y="281"/>
                    </a:lnTo>
                    <a:lnTo>
                      <a:pt x="668" y="281"/>
                    </a:lnTo>
                    <a:lnTo>
                      <a:pt x="666" y="281"/>
                    </a:lnTo>
                    <a:lnTo>
                      <a:pt x="668" y="281"/>
                    </a:lnTo>
                    <a:lnTo>
                      <a:pt x="666" y="281"/>
                    </a:lnTo>
                    <a:lnTo>
                      <a:pt x="666" y="279"/>
                    </a:lnTo>
                    <a:lnTo>
                      <a:pt x="668" y="279"/>
                    </a:lnTo>
                    <a:lnTo>
                      <a:pt x="668" y="277"/>
                    </a:lnTo>
                    <a:lnTo>
                      <a:pt x="670" y="277"/>
                    </a:lnTo>
                    <a:lnTo>
                      <a:pt x="670" y="275"/>
                    </a:lnTo>
                    <a:lnTo>
                      <a:pt x="668" y="275"/>
                    </a:lnTo>
                    <a:lnTo>
                      <a:pt x="670" y="273"/>
                    </a:lnTo>
                    <a:lnTo>
                      <a:pt x="670" y="275"/>
                    </a:lnTo>
                    <a:lnTo>
                      <a:pt x="670" y="273"/>
                    </a:lnTo>
                    <a:lnTo>
                      <a:pt x="672" y="273"/>
                    </a:lnTo>
                    <a:lnTo>
                      <a:pt x="670" y="273"/>
                    </a:lnTo>
                    <a:lnTo>
                      <a:pt x="672" y="273"/>
                    </a:lnTo>
                    <a:lnTo>
                      <a:pt x="672" y="271"/>
                    </a:lnTo>
                    <a:lnTo>
                      <a:pt x="672" y="270"/>
                    </a:lnTo>
                    <a:lnTo>
                      <a:pt x="672" y="271"/>
                    </a:lnTo>
                    <a:lnTo>
                      <a:pt x="672" y="273"/>
                    </a:lnTo>
                    <a:lnTo>
                      <a:pt x="670" y="273"/>
                    </a:lnTo>
                    <a:lnTo>
                      <a:pt x="672" y="273"/>
                    </a:lnTo>
                    <a:lnTo>
                      <a:pt x="670" y="273"/>
                    </a:lnTo>
                    <a:lnTo>
                      <a:pt x="668" y="275"/>
                    </a:lnTo>
                    <a:lnTo>
                      <a:pt x="670" y="275"/>
                    </a:lnTo>
                    <a:lnTo>
                      <a:pt x="670" y="277"/>
                    </a:lnTo>
                    <a:lnTo>
                      <a:pt x="668" y="277"/>
                    </a:lnTo>
                    <a:lnTo>
                      <a:pt x="668" y="279"/>
                    </a:lnTo>
                    <a:lnTo>
                      <a:pt x="666" y="279"/>
                    </a:lnTo>
                    <a:lnTo>
                      <a:pt x="666" y="281"/>
                    </a:lnTo>
                    <a:lnTo>
                      <a:pt x="666" y="283"/>
                    </a:lnTo>
                    <a:lnTo>
                      <a:pt x="666" y="281"/>
                    </a:lnTo>
                    <a:lnTo>
                      <a:pt x="666" y="283"/>
                    </a:lnTo>
                    <a:lnTo>
                      <a:pt x="666" y="285"/>
                    </a:lnTo>
                    <a:lnTo>
                      <a:pt x="664" y="285"/>
                    </a:lnTo>
                    <a:lnTo>
                      <a:pt x="664" y="287"/>
                    </a:lnTo>
                    <a:lnTo>
                      <a:pt x="664" y="289"/>
                    </a:lnTo>
                    <a:lnTo>
                      <a:pt x="663" y="289"/>
                    </a:lnTo>
                    <a:lnTo>
                      <a:pt x="661" y="289"/>
                    </a:lnTo>
                    <a:lnTo>
                      <a:pt x="659" y="289"/>
                    </a:lnTo>
                    <a:lnTo>
                      <a:pt x="659" y="287"/>
                    </a:lnTo>
                    <a:lnTo>
                      <a:pt x="657" y="287"/>
                    </a:lnTo>
                    <a:lnTo>
                      <a:pt x="657" y="285"/>
                    </a:lnTo>
                    <a:lnTo>
                      <a:pt x="655" y="285"/>
                    </a:lnTo>
                    <a:lnTo>
                      <a:pt x="657" y="285"/>
                    </a:lnTo>
                    <a:lnTo>
                      <a:pt x="657" y="283"/>
                    </a:lnTo>
                    <a:lnTo>
                      <a:pt x="659" y="283"/>
                    </a:lnTo>
                    <a:lnTo>
                      <a:pt x="659" y="281"/>
                    </a:lnTo>
                    <a:lnTo>
                      <a:pt x="659" y="279"/>
                    </a:lnTo>
                    <a:lnTo>
                      <a:pt x="659" y="277"/>
                    </a:lnTo>
                    <a:lnTo>
                      <a:pt x="659" y="279"/>
                    </a:lnTo>
                    <a:lnTo>
                      <a:pt x="657" y="279"/>
                    </a:lnTo>
                    <a:lnTo>
                      <a:pt x="657" y="277"/>
                    </a:lnTo>
                    <a:lnTo>
                      <a:pt x="659" y="277"/>
                    </a:lnTo>
                    <a:lnTo>
                      <a:pt x="657" y="277"/>
                    </a:lnTo>
                    <a:lnTo>
                      <a:pt x="659" y="277"/>
                    </a:lnTo>
                    <a:lnTo>
                      <a:pt x="659" y="275"/>
                    </a:lnTo>
                    <a:lnTo>
                      <a:pt x="659" y="273"/>
                    </a:lnTo>
                    <a:lnTo>
                      <a:pt x="659" y="275"/>
                    </a:lnTo>
                    <a:lnTo>
                      <a:pt x="657" y="273"/>
                    </a:lnTo>
                    <a:lnTo>
                      <a:pt x="659" y="273"/>
                    </a:lnTo>
                    <a:lnTo>
                      <a:pt x="657" y="273"/>
                    </a:lnTo>
                    <a:lnTo>
                      <a:pt x="657" y="275"/>
                    </a:lnTo>
                    <a:lnTo>
                      <a:pt x="659" y="275"/>
                    </a:lnTo>
                    <a:lnTo>
                      <a:pt x="659" y="277"/>
                    </a:lnTo>
                    <a:lnTo>
                      <a:pt x="657" y="277"/>
                    </a:lnTo>
                    <a:lnTo>
                      <a:pt x="657" y="279"/>
                    </a:lnTo>
                    <a:lnTo>
                      <a:pt x="659" y="279"/>
                    </a:lnTo>
                    <a:lnTo>
                      <a:pt x="659" y="277"/>
                    </a:lnTo>
                    <a:lnTo>
                      <a:pt x="659" y="279"/>
                    </a:lnTo>
                    <a:lnTo>
                      <a:pt x="659" y="281"/>
                    </a:lnTo>
                    <a:lnTo>
                      <a:pt x="659" y="283"/>
                    </a:lnTo>
                    <a:lnTo>
                      <a:pt x="657" y="283"/>
                    </a:lnTo>
                    <a:lnTo>
                      <a:pt x="657" y="285"/>
                    </a:lnTo>
                    <a:lnTo>
                      <a:pt x="655" y="285"/>
                    </a:lnTo>
                    <a:lnTo>
                      <a:pt x="657" y="285"/>
                    </a:lnTo>
                    <a:lnTo>
                      <a:pt x="655" y="285"/>
                    </a:lnTo>
                    <a:lnTo>
                      <a:pt x="653" y="285"/>
                    </a:lnTo>
                    <a:lnTo>
                      <a:pt x="651" y="285"/>
                    </a:lnTo>
                    <a:lnTo>
                      <a:pt x="649" y="285"/>
                    </a:lnTo>
                    <a:lnTo>
                      <a:pt x="651" y="285"/>
                    </a:lnTo>
                    <a:lnTo>
                      <a:pt x="649" y="285"/>
                    </a:lnTo>
                    <a:lnTo>
                      <a:pt x="649" y="283"/>
                    </a:lnTo>
                    <a:lnTo>
                      <a:pt x="649" y="281"/>
                    </a:lnTo>
                    <a:lnTo>
                      <a:pt x="651" y="281"/>
                    </a:lnTo>
                    <a:lnTo>
                      <a:pt x="653" y="281"/>
                    </a:lnTo>
                    <a:lnTo>
                      <a:pt x="651" y="281"/>
                    </a:lnTo>
                    <a:lnTo>
                      <a:pt x="651" y="279"/>
                    </a:lnTo>
                    <a:lnTo>
                      <a:pt x="651" y="277"/>
                    </a:lnTo>
                    <a:lnTo>
                      <a:pt x="649" y="277"/>
                    </a:lnTo>
                    <a:lnTo>
                      <a:pt x="651" y="275"/>
                    </a:lnTo>
                    <a:lnTo>
                      <a:pt x="649" y="275"/>
                    </a:lnTo>
                    <a:lnTo>
                      <a:pt x="647" y="273"/>
                    </a:lnTo>
                    <a:lnTo>
                      <a:pt x="645" y="275"/>
                    </a:lnTo>
                    <a:lnTo>
                      <a:pt x="645" y="273"/>
                    </a:lnTo>
                    <a:lnTo>
                      <a:pt x="647" y="273"/>
                    </a:lnTo>
                    <a:lnTo>
                      <a:pt x="647" y="271"/>
                    </a:lnTo>
                    <a:lnTo>
                      <a:pt x="649" y="271"/>
                    </a:lnTo>
                    <a:lnTo>
                      <a:pt x="649" y="270"/>
                    </a:lnTo>
                    <a:lnTo>
                      <a:pt x="649" y="268"/>
                    </a:lnTo>
                    <a:lnTo>
                      <a:pt x="647" y="268"/>
                    </a:lnTo>
                    <a:lnTo>
                      <a:pt x="647" y="270"/>
                    </a:lnTo>
                    <a:lnTo>
                      <a:pt x="645" y="268"/>
                    </a:lnTo>
                    <a:lnTo>
                      <a:pt x="647" y="268"/>
                    </a:lnTo>
                    <a:lnTo>
                      <a:pt x="647" y="266"/>
                    </a:lnTo>
                    <a:lnTo>
                      <a:pt x="645" y="266"/>
                    </a:lnTo>
                    <a:lnTo>
                      <a:pt x="647" y="266"/>
                    </a:lnTo>
                    <a:lnTo>
                      <a:pt x="647" y="264"/>
                    </a:lnTo>
                    <a:lnTo>
                      <a:pt x="649" y="264"/>
                    </a:lnTo>
                    <a:lnTo>
                      <a:pt x="647" y="264"/>
                    </a:lnTo>
                    <a:lnTo>
                      <a:pt x="649" y="262"/>
                    </a:lnTo>
                    <a:lnTo>
                      <a:pt x="651" y="262"/>
                    </a:lnTo>
                    <a:lnTo>
                      <a:pt x="651" y="260"/>
                    </a:lnTo>
                    <a:lnTo>
                      <a:pt x="653" y="258"/>
                    </a:lnTo>
                    <a:lnTo>
                      <a:pt x="653" y="260"/>
                    </a:lnTo>
                    <a:lnTo>
                      <a:pt x="655" y="260"/>
                    </a:lnTo>
                    <a:lnTo>
                      <a:pt x="655" y="262"/>
                    </a:lnTo>
                    <a:lnTo>
                      <a:pt x="655" y="264"/>
                    </a:lnTo>
                    <a:lnTo>
                      <a:pt x="653" y="264"/>
                    </a:lnTo>
                    <a:lnTo>
                      <a:pt x="653" y="266"/>
                    </a:lnTo>
                    <a:lnTo>
                      <a:pt x="655" y="266"/>
                    </a:lnTo>
                    <a:lnTo>
                      <a:pt x="653" y="266"/>
                    </a:lnTo>
                    <a:lnTo>
                      <a:pt x="653" y="268"/>
                    </a:lnTo>
                    <a:lnTo>
                      <a:pt x="655" y="268"/>
                    </a:lnTo>
                    <a:lnTo>
                      <a:pt x="653" y="268"/>
                    </a:lnTo>
                    <a:lnTo>
                      <a:pt x="655" y="270"/>
                    </a:lnTo>
                    <a:lnTo>
                      <a:pt x="653" y="270"/>
                    </a:lnTo>
                    <a:lnTo>
                      <a:pt x="655" y="270"/>
                    </a:lnTo>
                    <a:lnTo>
                      <a:pt x="653" y="271"/>
                    </a:lnTo>
                    <a:lnTo>
                      <a:pt x="655" y="271"/>
                    </a:lnTo>
                    <a:lnTo>
                      <a:pt x="653" y="271"/>
                    </a:lnTo>
                    <a:lnTo>
                      <a:pt x="655" y="271"/>
                    </a:lnTo>
                    <a:lnTo>
                      <a:pt x="653" y="271"/>
                    </a:lnTo>
                    <a:lnTo>
                      <a:pt x="655" y="270"/>
                    </a:lnTo>
                    <a:lnTo>
                      <a:pt x="653" y="270"/>
                    </a:lnTo>
                    <a:lnTo>
                      <a:pt x="655" y="270"/>
                    </a:lnTo>
                    <a:lnTo>
                      <a:pt x="653" y="268"/>
                    </a:lnTo>
                    <a:lnTo>
                      <a:pt x="655" y="268"/>
                    </a:lnTo>
                    <a:lnTo>
                      <a:pt x="655" y="266"/>
                    </a:lnTo>
                    <a:lnTo>
                      <a:pt x="653" y="268"/>
                    </a:lnTo>
                    <a:lnTo>
                      <a:pt x="653" y="266"/>
                    </a:lnTo>
                    <a:lnTo>
                      <a:pt x="655" y="266"/>
                    </a:lnTo>
                    <a:lnTo>
                      <a:pt x="653" y="266"/>
                    </a:lnTo>
                    <a:lnTo>
                      <a:pt x="655" y="264"/>
                    </a:lnTo>
                    <a:lnTo>
                      <a:pt x="655" y="262"/>
                    </a:lnTo>
                    <a:lnTo>
                      <a:pt x="655" y="260"/>
                    </a:lnTo>
                    <a:lnTo>
                      <a:pt x="655" y="262"/>
                    </a:lnTo>
                    <a:lnTo>
                      <a:pt x="657" y="262"/>
                    </a:lnTo>
                    <a:lnTo>
                      <a:pt x="657" y="264"/>
                    </a:lnTo>
                    <a:lnTo>
                      <a:pt x="655" y="264"/>
                    </a:lnTo>
                    <a:lnTo>
                      <a:pt x="657" y="264"/>
                    </a:lnTo>
                    <a:lnTo>
                      <a:pt x="657" y="266"/>
                    </a:lnTo>
                    <a:lnTo>
                      <a:pt x="657" y="264"/>
                    </a:lnTo>
                    <a:lnTo>
                      <a:pt x="657" y="262"/>
                    </a:lnTo>
                    <a:lnTo>
                      <a:pt x="659" y="262"/>
                    </a:lnTo>
                    <a:lnTo>
                      <a:pt x="659" y="264"/>
                    </a:lnTo>
                    <a:lnTo>
                      <a:pt x="659" y="266"/>
                    </a:lnTo>
                    <a:lnTo>
                      <a:pt x="661" y="266"/>
                    </a:lnTo>
                    <a:lnTo>
                      <a:pt x="659" y="266"/>
                    </a:lnTo>
                    <a:lnTo>
                      <a:pt x="661" y="268"/>
                    </a:lnTo>
                    <a:lnTo>
                      <a:pt x="661" y="266"/>
                    </a:lnTo>
                    <a:lnTo>
                      <a:pt x="661" y="268"/>
                    </a:lnTo>
                    <a:lnTo>
                      <a:pt x="663" y="268"/>
                    </a:lnTo>
                    <a:lnTo>
                      <a:pt x="661" y="268"/>
                    </a:lnTo>
                    <a:lnTo>
                      <a:pt x="661" y="270"/>
                    </a:lnTo>
                    <a:lnTo>
                      <a:pt x="663" y="270"/>
                    </a:lnTo>
                    <a:lnTo>
                      <a:pt x="663" y="271"/>
                    </a:lnTo>
                    <a:lnTo>
                      <a:pt x="663" y="270"/>
                    </a:lnTo>
                    <a:lnTo>
                      <a:pt x="661" y="270"/>
                    </a:lnTo>
                    <a:lnTo>
                      <a:pt x="661" y="268"/>
                    </a:lnTo>
                    <a:lnTo>
                      <a:pt x="663" y="268"/>
                    </a:lnTo>
                    <a:lnTo>
                      <a:pt x="661" y="268"/>
                    </a:lnTo>
                    <a:lnTo>
                      <a:pt x="661" y="266"/>
                    </a:lnTo>
                    <a:lnTo>
                      <a:pt x="659" y="266"/>
                    </a:lnTo>
                    <a:lnTo>
                      <a:pt x="659" y="264"/>
                    </a:lnTo>
                    <a:lnTo>
                      <a:pt x="659" y="266"/>
                    </a:lnTo>
                    <a:lnTo>
                      <a:pt x="659" y="264"/>
                    </a:lnTo>
                    <a:lnTo>
                      <a:pt x="659" y="262"/>
                    </a:lnTo>
                    <a:lnTo>
                      <a:pt x="659" y="264"/>
                    </a:lnTo>
                    <a:lnTo>
                      <a:pt x="661" y="264"/>
                    </a:lnTo>
                    <a:lnTo>
                      <a:pt x="659" y="262"/>
                    </a:lnTo>
                    <a:lnTo>
                      <a:pt x="657" y="262"/>
                    </a:lnTo>
                    <a:lnTo>
                      <a:pt x="655" y="262"/>
                    </a:lnTo>
                    <a:lnTo>
                      <a:pt x="655" y="260"/>
                    </a:lnTo>
                    <a:lnTo>
                      <a:pt x="657" y="260"/>
                    </a:lnTo>
                    <a:lnTo>
                      <a:pt x="655" y="260"/>
                    </a:lnTo>
                    <a:lnTo>
                      <a:pt x="655" y="258"/>
                    </a:lnTo>
                    <a:lnTo>
                      <a:pt x="655" y="260"/>
                    </a:lnTo>
                    <a:lnTo>
                      <a:pt x="655" y="258"/>
                    </a:lnTo>
                    <a:lnTo>
                      <a:pt x="655" y="256"/>
                    </a:lnTo>
                    <a:lnTo>
                      <a:pt x="657" y="256"/>
                    </a:lnTo>
                    <a:lnTo>
                      <a:pt x="657" y="254"/>
                    </a:lnTo>
                    <a:lnTo>
                      <a:pt x="657" y="256"/>
                    </a:lnTo>
                    <a:lnTo>
                      <a:pt x="657" y="254"/>
                    </a:lnTo>
                    <a:lnTo>
                      <a:pt x="659" y="254"/>
                    </a:lnTo>
                    <a:lnTo>
                      <a:pt x="661" y="256"/>
                    </a:lnTo>
                    <a:lnTo>
                      <a:pt x="659" y="256"/>
                    </a:lnTo>
                    <a:lnTo>
                      <a:pt x="661" y="256"/>
                    </a:lnTo>
                    <a:lnTo>
                      <a:pt x="663" y="256"/>
                    </a:lnTo>
                    <a:lnTo>
                      <a:pt x="664" y="256"/>
                    </a:lnTo>
                    <a:lnTo>
                      <a:pt x="664" y="258"/>
                    </a:lnTo>
                    <a:lnTo>
                      <a:pt x="666" y="258"/>
                    </a:lnTo>
                    <a:lnTo>
                      <a:pt x="668" y="258"/>
                    </a:lnTo>
                    <a:lnTo>
                      <a:pt x="668" y="256"/>
                    </a:lnTo>
                    <a:lnTo>
                      <a:pt x="668" y="258"/>
                    </a:lnTo>
                    <a:lnTo>
                      <a:pt x="670" y="258"/>
                    </a:lnTo>
                    <a:lnTo>
                      <a:pt x="670" y="256"/>
                    </a:lnTo>
                    <a:lnTo>
                      <a:pt x="672" y="256"/>
                    </a:lnTo>
                    <a:lnTo>
                      <a:pt x="672" y="258"/>
                    </a:lnTo>
                    <a:lnTo>
                      <a:pt x="672" y="260"/>
                    </a:lnTo>
                    <a:lnTo>
                      <a:pt x="672" y="258"/>
                    </a:lnTo>
                    <a:lnTo>
                      <a:pt x="674" y="258"/>
                    </a:lnTo>
                    <a:lnTo>
                      <a:pt x="672" y="258"/>
                    </a:lnTo>
                    <a:lnTo>
                      <a:pt x="672" y="256"/>
                    </a:lnTo>
                    <a:lnTo>
                      <a:pt x="674" y="256"/>
                    </a:lnTo>
                    <a:lnTo>
                      <a:pt x="674" y="258"/>
                    </a:lnTo>
                    <a:lnTo>
                      <a:pt x="674" y="256"/>
                    </a:lnTo>
                    <a:lnTo>
                      <a:pt x="676" y="256"/>
                    </a:lnTo>
                    <a:lnTo>
                      <a:pt x="676" y="258"/>
                    </a:lnTo>
                    <a:lnTo>
                      <a:pt x="674" y="258"/>
                    </a:lnTo>
                    <a:lnTo>
                      <a:pt x="674" y="256"/>
                    </a:lnTo>
                    <a:lnTo>
                      <a:pt x="674" y="258"/>
                    </a:lnTo>
                    <a:lnTo>
                      <a:pt x="676" y="258"/>
                    </a:lnTo>
                    <a:lnTo>
                      <a:pt x="674" y="258"/>
                    </a:lnTo>
                    <a:lnTo>
                      <a:pt x="674" y="260"/>
                    </a:lnTo>
                    <a:lnTo>
                      <a:pt x="674" y="258"/>
                    </a:lnTo>
                    <a:lnTo>
                      <a:pt x="676" y="258"/>
                    </a:lnTo>
                    <a:lnTo>
                      <a:pt x="676" y="256"/>
                    </a:lnTo>
                    <a:lnTo>
                      <a:pt x="676" y="258"/>
                    </a:lnTo>
                    <a:lnTo>
                      <a:pt x="676" y="256"/>
                    </a:lnTo>
                    <a:lnTo>
                      <a:pt x="676" y="258"/>
                    </a:lnTo>
                    <a:lnTo>
                      <a:pt x="676" y="256"/>
                    </a:lnTo>
                    <a:lnTo>
                      <a:pt x="678" y="256"/>
                    </a:lnTo>
                    <a:lnTo>
                      <a:pt x="678" y="258"/>
                    </a:lnTo>
                    <a:lnTo>
                      <a:pt x="678" y="260"/>
                    </a:lnTo>
                    <a:lnTo>
                      <a:pt x="678" y="258"/>
                    </a:lnTo>
                    <a:lnTo>
                      <a:pt x="678" y="260"/>
                    </a:lnTo>
                    <a:lnTo>
                      <a:pt x="678" y="262"/>
                    </a:lnTo>
                    <a:lnTo>
                      <a:pt x="680" y="262"/>
                    </a:lnTo>
                    <a:lnTo>
                      <a:pt x="678" y="262"/>
                    </a:lnTo>
                    <a:lnTo>
                      <a:pt x="680" y="262"/>
                    </a:lnTo>
                    <a:lnTo>
                      <a:pt x="680" y="260"/>
                    </a:lnTo>
                    <a:lnTo>
                      <a:pt x="680" y="262"/>
                    </a:lnTo>
                    <a:lnTo>
                      <a:pt x="680" y="264"/>
                    </a:lnTo>
                    <a:lnTo>
                      <a:pt x="678" y="264"/>
                    </a:lnTo>
                    <a:lnTo>
                      <a:pt x="680" y="264"/>
                    </a:lnTo>
                    <a:lnTo>
                      <a:pt x="678" y="264"/>
                    </a:lnTo>
                    <a:lnTo>
                      <a:pt x="680" y="264"/>
                    </a:lnTo>
                    <a:lnTo>
                      <a:pt x="678" y="266"/>
                    </a:lnTo>
                    <a:lnTo>
                      <a:pt x="680" y="266"/>
                    </a:lnTo>
                    <a:lnTo>
                      <a:pt x="678" y="266"/>
                    </a:lnTo>
                    <a:lnTo>
                      <a:pt x="680" y="266"/>
                    </a:lnTo>
                    <a:lnTo>
                      <a:pt x="680" y="264"/>
                    </a:lnTo>
                    <a:lnTo>
                      <a:pt x="678" y="264"/>
                    </a:lnTo>
                    <a:lnTo>
                      <a:pt x="680" y="264"/>
                    </a:lnTo>
                    <a:lnTo>
                      <a:pt x="680" y="262"/>
                    </a:lnTo>
                    <a:lnTo>
                      <a:pt x="682" y="262"/>
                    </a:lnTo>
                    <a:lnTo>
                      <a:pt x="680" y="262"/>
                    </a:lnTo>
                    <a:lnTo>
                      <a:pt x="682" y="262"/>
                    </a:lnTo>
                    <a:lnTo>
                      <a:pt x="682" y="260"/>
                    </a:lnTo>
                    <a:lnTo>
                      <a:pt x="682" y="262"/>
                    </a:lnTo>
                    <a:lnTo>
                      <a:pt x="680" y="262"/>
                    </a:lnTo>
                    <a:lnTo>
                      <a:pt x="682" y="262"/>
                    </a:lnTo>
                    <a:lnTo>
                      <a:pt x="682" y="260"/>
                    </a:lnTo>
                    <a:lnTo>
                      <a:pt x="682" y="258"/>
                    </a:lnTo>
                    <a:lnTo>
                      <a:pt x="682" y="260"/>
                    </a:lnTo>
                    <a:lnTo>
                      <a:pt x="682" y="258"/>
                    </a:lnTo>
                    <a:lnTo>
                      <a:pt x="684" y="258"/>
                    </a:lnTo>
                    <a:lnTo>
                      <a:pt x="684" y="260"/>
                    </a:lnTo>
                    <a:lnTo>
                      <a:pt x="684" y="262"/>
                    </a:lnTo>
                    <a:lnTo>
                      <a:pt x="684" y="264"/>
                    </a:lnTo>
                    <a:lnTo>
                      <a:pt x="682" y="266"/>
                    </a:lnTo>
                    <a:lnTo>
                      <a:pt x="682" y="268"/>
                    </a:lnTo>
                    <a:lnTo>
                      <a:pt x="680" y="268"/>
                    </a:lnTo>
                    <a:lnTo>
                      <a:pt x="682" y="268"/>
                    </a:lnTo>
                    <a:lnTo>
                      <a:pt x="682" y="266"/>
                    </a:lnTo>
                    <a:lnTo>
                      <a:pt x="684" y="266"/>
                    </a:lnTo>
                    <a:lnTo>
                      <a:pt x="682" y="266"/>
                    </a:lnTo>
                    <a:lnTo>
                      <a:pt x="684" y="266"/>
                    </a:lnTo>
                    <a:lnTo>
                      <a:pt x="684" y="264"/>
                    </a:lnTo>
                    <a:lnTo>
                      <a:pt x="686" y="264"/>
                    </a:lnTo>
                    <a:lnTo>
                      <a:pt x="684" y="264"/>
                    </a:lnTo>
                    <a:lnTo>
                      <a:pt x="686" y="262"/>
                    </a:lnTo>
                    <a:lnTo>
                      <a:pt x="686" y="264"/>
                    </a:lnTo>
                    <a:lnTo>
                      <a:pt x="687" y="264"/>
                    </a:lnTo>
                    <a:lnTo>
                      <a:pt x="687" y="266"/>
                    </a:lnTo>
                    <a:lnTo>
                      <a:pt x="687" y="264"/>
                    </a:lnTo>
                    <a:lnTo>
                      <a:pt x="687" y="266"/>
                    </a:lnTo>
                    <a:lnTo>
                      <a:pt x="689" y="266"/>
                    </a:lnTo>
                    <a:lnTo>
                      <a:pt x="689" y="268"/>
                    </a:lnTo>
                    <a:lnTo>
                      <a:pt x="689" y="266"/>
                    </a:lnTo>
                    <a:lnTo>
                      <a:pt x="691" y="266"/>
                    </a:lnTo>
                    <a:lnTo>
                      <a:pt x="689" y="266"/>
                    </a:lnTo>
                    <a:lnTo>
                      <a:pt x="689" y="264"/>
                    </a:lnTo>
                    <a:lnTo>
                      <a:pt x="691" y="264"/>
                    </a:lnTo>
                    <a:lnTo>
                      <a:pt x="689" y="264"/>
                    </a:lnTo>
                    <a:lnTo>
                      <a:pt x="691" y="264"/>
                    </a:lnTo>
                    <a:lnTo>
                      <a:pt x="693" y="264"/>
                    </a:lnTo>
                    <a:lnTo>
                      <a:pt x="691" y="264"/>
                    </a:lnTo>
                    <a:lnTo>
                      <a:pt x="691" y="266"/>
                    </a:lnTo>
                    <a:lnTo>
                      <a:pt x="693" y="266"/>
                    </a:lnTo>
                    <a:lnTo>
                      <a:pt x="693" y="264"/>
                    </a:lnTo>
                    <a:lnTo>
                      <a:pt x="693" y="266"/>
                    </a:lnTo>
                    <a:lnTo>
                      <a:pt x="693" y="264"/>
                    </a:lnTo>
                    <a:lnTo>
                      <a:pt x="693" y="266"/>
                    </a:lnTo>
                    <a:lnTo>
                      <a:pt x="693" y="264"/>
                    </a:lnTo>
                    <a:lnTo>
                      <a:pt x="693" y="266"/>
                    </a:lnTo>
                    <a:lnTo>
                      <a:pt x="693" y="264"/>
                    </a:lnTo>
                    <a:lnTo>
                      <a:pt x="693" y="266"/>
                    </a:lnTo>
                    <a:lnTo>
                      <a:pt x="695" y="266"/>
                    </a:lnTo>
                    <a:lnTo>
                      <a:pt x="697" y="266"/>
                    </a:lnTo>
                    <a:lnTo>
                      <a:pt x="697" y="264"/>
                    </a:lnTo>
                    <a:lnTo>
                      <a:pt x="699" y="264"/>
                    </a:lnTo>
                    <a:lnTo>
                      <a:pt x="699" y="266"/>
                    </a:lnTo>
                    <a:lnTo>
                      <a:pt x="699" y="268"/>
                    </a:lnTo>
                    <a:lnTo>
                      <a:pt x="697" y="268"/>
                    </a:lnTo>
                    <a:lnTo>
                      <a:pt x="699" y="268"/>
                    </a:lnTo>
                    <a:lnTo>
                      <a:pt x="699" y="266"/>
                    </a:lnTo>
                    <a:lnTo>
                      <a:pt x="699" y="264"/>
                    </a:lnTo>
                    <a:lnTo>
                      <a:pt x="699" y="266"/>
                    </a:lnTo>
                    <a:lnTo>
                      <a:pt x="699" y="264"/>
                    </a:lnTo>
                    <a:lnTo>
                      <a:pt x="697" y="264"/>
                    </a:lnTo>
                    <a:lnTo>
                      <a:pt x="697" y="266"/>
                    </a:lnTo>
                    <a:lnTo>
                      <a:pt x="695" y="266"/>
                    </a:lnTo>
                    <a:lnTo>
                      <a:pt x="693" y="264"/>
                    </a:lnTo>
                    <a:lnTo>
                      <a:pt x="695" y="264"/>
                    </a:lnTo>
                    <a:lnTo>
                      <a:pt x="693" y="264"/>
                    </a:lnTo>
                    <a:lnTo>
                      <a:pt x="695" y="264"/>
                    </a:lnTo>
                    <a:lnTo>
                      <a:pt x="695" y="262"/>
                    </a:lnTo>
                    <a:lnTo>
                      <a:pt x="693" y="262"/>
                    </a:lnTo>
                    <a:lnTo>
                      <a:pt x="693" y="260"/>
                    </a:lnTo>
                    <a:lnTo>
                      <a:pt x="691" y="260"/>
                    </a:lnTo>
                    <a:lnTo>
                      <a:pt x="691" y="262"/>
                    </a:lnTo>
                    <a:lnTo>
                      <a:pt x="691" y="260"/>
                    </a:lnTo>
                    <a:lnTo>
                      <a:pt x="689" y="260"/>
                    </a:lnTo>
                    <a:lnTo>
                      <a:pt x="691" y="262"/>
                    </a:lnTo>
                    <a:lnTo>
                      <a:pt x="689" y="262"/>
                    </a:lnTo>
                    <a:lnTo>
                      <a:pt x="689" y="260"/>
                    </a:lnTo>
                    <a:lnTo>
                      <a:pt x="689" y="262"/>
                    </a:lnTo>
                    <a:lnTo>
                      <a:pt x="687" y="262"/>
                    </a:lnTo>
                    <a:lnTo>
                      <a:pt x="687" y="264"/>
                    </a:lnTo>
                    <a:lnTo>
                      <a:pt x="687" y="262"/>
                    </a:lnTo>
                    <a:lnTo>
                      <a:pt x="686" y="262"/>
                    </a:lnTo>
                    <a:lnTo>
                      <a:pt x="686" y="260"/>
                    </a:lnTo>
                    <a:lnTo>
                      <a:pt x="686" y="258"/>
                    </a:lnTo>
                    <a:lnTo>
                      <a:pt x="687" y="258"/>
                    </a:lnTo>
                    <a:lnTo>
                      <a:pt x="687" y="260"/>
                    </a:lnTo>
                    <a:lnTo>
                      <a:pt x="689" y="260"/>
                    </a:lnTo>
                    <a:lnTo>
                      <a:pt x="691" y="260"/>
                    </a:lnTo>
                    <a:lnTo>
                      <a:pt x="691" y="258"/>
                    </a:lnTo>
                    <a:lnTo>
                      <a:pt x="693" y="258"/>
                    </a:lnTo>
                    <a:lnTo>
                      <a:pt x="691" y="258"/>
                    </a:lnTo>
                    <a:lnTo>
                      <a:pt x="693" y="258"/>
                    </a:lnTo>
                    <a:lnTo>
                      <a:pt x="691" y="258"/>
                    </a:lnTo>
                    <a:lnTo>
                      <a:pt x="691" y="256"/>
                    </a:lnTo>
                    <a:lnTo>
                      <a:pt x="693" y="256"/>
                    </a:lnTo>
                    <a:lnTo>
                      <a:pt x="693" y="258"/>
                    </a:lnTo>
                    <a:lnTo>
                      <a:pt x="695" y="258"/>
                    </a:lnTo>
                    <a:lnTo>
                      <a:pt x="693" y="258"/>
                    </a:lnTo>
                    <a:lnTo>
                      <a:pt x="693" y="260"/>
                    </a:lnTo>
                    <a:lnTo>
                      <a:pt x="693" y="262"/>
                    </a:lnTo>
                    <a:lnTo>
                      <a:pt x="693" y="260"/>
                    </a:lnTo>
                    <a:lnTo>
                      <a:pt x="695" y="260"/>
                    </a:lnTo>
                    <a:lnTo>
                      <a:pt x="695" y="258"/>
                    </a:lnTo>
                    <a:lnTo>
                      <a:pt x="697" y="258"/>
                    </a:lnTo>
                    <a:lnTo>
                      <a:pt x="699" y="258"/>
                    </a:lnTo>
                    <a:lnTo>
                      <a:pt x="697" y="258"/>
                    </a:lnTo>
                    <a:lnTo>
                      <a:pt x="695" y="258"/>
                    </a:lnTo>
                    <a:lnTo>
                      <a:pt x="697" y="258"/>
                    </a:lnTo>
                    <a:lnTo>
                      <a:pt x="697" y="256"/>
                    </a:lnTo>
                    <a:lnTo>
                      <a:pt x="697" y="258"/>
                    </a:lnTo>
                    <a:lnTo>
                      <a:pt x="695" y="258"/>
                    </a:lnTo>
                    <a:lnTo>
                      <a:pt x="695" y="260"/>
                    </a:lnTo>
                    <a:lnTo>
                      <a:pt x="693" y="260"/>
                    </a:lnTo>
                    <a:lnTo>
                      <a:pt x="693" y="258"/>
                    </a:lnTo>
                    <a:lnTo>
                      <a:pt x="695" y="258"/>
                    </a:lnTo>
                    <a:lnTo>
                      <a:pt x="693" y="258"/>
                    </a:lnTo>
                    <a:lnTo>
                      <a:pt x="691" y="256"/>
                    </a:lnTo>
                    <a:lnTo>
                      <a:pt x="693" y="256"/>
                    </a:lnTo>
                    <a:lnTo>
                      <a:pt x="695" y="256"/>
                    </a:lnTo>
                    <a:lnTo>
                      <a:pt x="695" y="254"/>
                    </a:lnTo>
                    <a:lnTo>
                      <a:pt x="697" y="254"/>
                    </a:lnTo>
                    <a:lnTo>
                      <a:pt x="695" y="254"/>
                    </a:lnTo>
                    <a:lnTo>
                      <a:pt x="695" y="252"/>
                    </a:lnTo>
                    <a:lnTo>
                      <a:pt x="693" y="254"/>
                    </a:lnTo>
                    <a:lnTo>
                      <a:pt x="695" y="254"/>
                    </a:lnTo>
                    <a:lnTo>
                      <a:pt x="693" y="254"/>
                    </a:lnTo>
                    <a:lnTo>
                      <a:pt x="691" y="254"/>
                    </a:lnTo>
                    <a:lnTo>
                      <a:pt x="691" y="256"/>
                    </a:lnTo>
                    <a:lnTo>
                      <a:pt x="689" y="256"/>
                    </a:lnTo>
                    <a:lnTo>
                      <a:pt x="687" y="256"/>
                    </a:lnTo>
                    <a:lnTo>
                      <a:pt x="687" y="254"/>
                    </a:lnTo>
                    <a:lnTo>
                      <a:pt x="689" y="254"/>
                    </a:lnTo>
                    <a:lnTo>
                      <a:pt x="689" y="252"/>
                    </a:lnTo>
                    <a:lnTo>
                      <a:pt x="691" y="252"/>
                    </a:lnTo>
                    <a:lnTo>
                      <a:pt x="693" y="250"/>
                    </a:lnTo>
                    <a:lnTo>
                      <a:pt x="695" y="250"/>
                    </a:lnTo>
                    <a:lnTo>
                      <a:pt x="697" y="250"/>
                    </a:lnTo>
                    <a:lnTo>
                      <a:pt x="695" y="250"/>
                    </a:lnTo>
                    <a:lnTo>
                      <a:pt x="693" y="250"/>
                    </a:lnTo>
                    <a:lnTo>
                      <a:pt x="691" y="252"/>
                    </a:lnTo>
                    <a:lnTo>
                      <a:pt x="689" y="252"/>
                    </a:lnTo>
                    <a:lnTo>
                      <a:pt x="687" y="252"/>
                    </a:lnTo>
                    <a:lnTo>
                      <a:pt x="689" y="252"/>
                    </a:lnTo>
                    <a:lnTo>
                      <a:pt x="689" y="254"/>
                    </a:lnTo>
                    <a:lnTo>
                      <a:pt x="687" y="254"/>
                    </a:lnTo>
                    <a:lnTo>
                      <a:pt x="687" y="252"/>
                    </a:lnTo>
                    <a:lnTo>
                      <a:pt x="686" y="252"/>
                    </a:lnTo>
                    <a:lnTo>
                      <a:pt x="687" y="252"/>
                    </a:lnTo>
                    <a:lnTo>
                      <a:pt x="686" y="250"/>
                    </a:lnTo>
                    <a:lnTo>
                      <a:pt x="686" y="252"/>
                    </a:lnTo>
                    <a:lnTo>
                      <a:pt x="686" y="254"/>
                    </a:lnTo>
                    <a:lnTo>
                      <a:pt x="684" y="254"/>
                    </a:lnTo>
                    <a:lnTo>
                      <a:pt x="684" y="252"/>
                    </a:lnTo>
                    <a:lnTo>
                      <a:pt x="686" y="252"/>
                    </a:lnTo>
                    <a:lnTo>
                      <a:pt x="684" y="252"/>
                    </a:lnTo>
                    <a:lnTo>
                      <a:pt x="682" y="252"/>
                    </a:lnTo>
                    <a:lnTo>
                      <a:pt x="684" y="252"/>
                    </a:lnTo>
                    <a:lnTo>
                      <a:pt x="684" y="250"/>
                    </a:lnTo>
                    <a:lnTo>
                      <a:pt x="686" y="250"/>
                    </a:lnTo>
                    <a:lnTo>
                      <a:pt x="684" y="250"/>
                    </a:lnTo>
                    <a:lnTo>
                      <a:pt x="686" y="248"/>
                    </a:lnTo>
                    <a:lnTo>
                      <a:pt x="684" y="248"/>
                    </a:lnTo>
                    <a:lnTo>
                      <a:pt x="686" y="248"/>
                    </a:lnTo>
                    <a:lnTo>
                      <a:pt x="686" y="246"/>
                    </a:lnTo>
                    <a:lnTo>
                      <a:pt x="686" y="245"/>
                    </a:lnTo>
                    <a:lnTo>
                      <a:pt x="684" y="245"/>
                    </a:lnTo>
                    <a:lnTo>
                      <a:pt x="686" y="245"/>
                    </a:lnTo>
                    <a:lnTo>
                      <a:pt x="684" y="243"/>
                    </a:lnTo>
                    <a:lnTo>
                      <a:pt x="684" y="241"/>
                    </a:lnTo>
                    <a:lnTo>
                      <a:pt x="684" y="243"/>
                    </a:lnTo>
                    <a:lnTo>
                      <a:pt x="684" y="241"/>
                    </a:lnTo>
                    <a:lnTo>
                      <a:pt x="684" y="239"/>
                    </a:lnTo>
                    <a:lnTo>
                      <a:pt x="684" y="237"/>
                    </a:lnTo>
                    <a:lnTo>
                      <a:pt x="686" y="235"/>
                    </a:lnTo>
                    <a:lnTo>
                      <a:pt x="687" y="235"/>
                    </a:lnTo>
                    <a:lnTo>
                      <a:pt x="689" y="235"/>
                    </a:lnTo>
                    <a:lnTo>
                      <a:pt x="689" y="233"/>
                    </a:lnTo>
                    <a:lnTo>
                      <a:pt x="691" y="233"/>
                    </a:lnTo>
                    <a:lnTo>
                      <a:pt x="693" y="233"/>
                    </a:lnTo>
                    <a:lnTo>
                      <a:pt x="695" y="233"/>
                    </a:lnTo>
                    <a:lnTo>
                      <a:pt x="695" y="231"/>
                    </a:lnTo>
                    <a:lnTo>
                      <a:pt x="695" y="229"/>
                    </a:lnTo>
                    <a:lnTo>
                      <a:pt x="697" y="227"/>
                    </a:lnTo>
                    <a:lnTo>
                      <a:pt x="697" y="229"/>
                    </a:lnTo>
                    <a:lnTo>
                      <a:pt x="695" y="229"/>
                    </a:lnTo>
                    <a:lnTo>
                      <a:pt x="697" y="229"/>
                    </a:lnTo>
                    <a:lnTo>
                      <a:pt x="697" y="227"/>
                    </a:lnTo>
                    <a:lnTo>
                      <a:pt x="699" y="225"/>
                    </a:lnTo>
                    <a:lnTo>
                      <a:pt x="699" y="227"/>
                    </a:lnTo>
                    <a:lnTo>
                      <a:pt x="701" y="227"/>
                    </a:lnTo>
                    <a:lnTo>
                      <a:pt x="701" y="229"/>
                    </a:lnTo>
                    <a:lnTo>
                      <a:pt x="703" y="229"/>
                    </a:lnTo>
                    <a:lnTo>
                      <a:pt x="705" y="229"/>
                    </a:lnTo>
                    <a:lnTo>
                      <a:pt x="705" y="231"/>
                    </a:lnTo>
                    <a:lnTo>
                      <a:pt x="707" y="233"/>
                    </a:lnTo>
                    <a:lnTo>
                      <a:pt x="707" y="235"/>
                    </a:lnTo>
                    <a:lnTo>
                      <a:pt x="707" y="233"/>
                    </a:lnTo>
                    <a:lnTo>
                      <a:pt x="707" y="235"/>
                    </a:lnTo>
                    <a:lnTo>
                      <a:pt x="707" y="237"/>
                    </a:lnTo>
                    <a:lnTo>
                      <a:pt x="707" y="235"/>
                    </a:lnTo>
                    <a:lnTo>
                      <a:pt x="709" y="235"/>
                    </a:lnTo>
                    <a:lnTo>
                      <a:pt x="709" y="237"/>
                    </a:lnTo>
                    <a:lnTo>
                      <a:pt x="711" y="239"/>
                    </a:lnTo>
                    <a:lnTo>
                      <a:pt x="711" y="237"/>
                    </a:lnTo>
                    <a:lnTo>
                      <a:pt x="712" y="237"/>
                    </a:lnTo>
                    <a:lnTo>
                      <a:pt x="712" y="235"/>
                    </a:lnTo>
                    <a:lnTo>
                      <a:pt x="712" y="233"/>
                    </a:lnTo>
                    <a:lnTo>
                      <a:pt x="712" y="231"/>
                    </a:lnTo>
                    <a:lnTo>
                      <a:pt x="712" y="233"/>
                    </a:lnTo>
                    <a:lnTo>
                      <a:pt x="712" y="231"/>
                    </a:lnTo>
                    <a:lnTo>
                      <a:pt x="714" y="231"/>
                    </a:lnTo>
                    <a:lnTo>
                      <a:pt x="716" y="229"/>
                    </a:lnTo>
                    <a:lnTo>
                      <a:pt x="718" y="229"/>
                    </a:lnTo>
                    <a:lnTo>
                      <a:pt x="718" y="227"/>
                    </a:lnTo>
                    <a:lnTo>
                      <a:pt x="720" y="227"/>
                    </a:lnTo>
                    <a:lnTo>
                      <a:pt x="720" y="225"/>
                    </a:lnTo>
                    <a:lnTo>
                      <a:pt x="722" y="225"/>
                    </a:lnTo>
                    <a:lnTo>
                      <a:pt x="722" y="227"/>
                    </a:lnTo>
                    <a:lnTo>
                      <a:pt x="724" y="227"/>
                    </a:lnTo>
                    <a:lnTo>
                      <a:pt x="722" y="229"/>
                    </a:lnTo>
                    <a:lnTo>
                      <a:pt x="724" y="229"/>
                    </a:lnTo>
                    <a:lnTo>
                      <a:pt x="722" y="229"/>
                    </a:lnTo>
                    <a:lnTo>
                      <a:pt x="724" y="229"/>
                    </a:lnTo>
                    <a:lnTo>
                      <a:pt x="724" y="227"/>
                    </a:lnTo>
                    <a:lnTo>
                      <a:pt x="724" y="225"/>
                    </a:lnTo>
                    <a:lnTo>
                      <a:pt x="724" y="227"/>
                    </a:lnTo>
                    <a:lnTo>
                      <a:pt x="726" y="227"/>
                    </a:lnTo>
                    <a:lnTo>
                      <a:pt x="728" y="227"/>
                    </a:lnTo>
                    <a:lnTo>
                      <a:pt x="726" y="227"/>
                    </a:lnTo>
                    <a:lnTo>
                      <a:pt x="724" y="227"/>
                    </a:lnTo>
                    <a:lnTo>
                      <a:pt x="726" y="227"/>
                    </a:lnTo>
                    <a:lnTo>
                      <a:pt x="726" y="225"/>
                    </a:lnTo>
                    <a:lnTo>
                      <a:pt x="726" y="227"/>
                    </a:lnTo>
                    <a:lnTo>
                      <a:pt x="728" y="227"/>
                    </a:lnTo>
                    <a:lnTo>
                      <a:pt x="728" y="229"/>
                    </a:lnTo>
                    <a:lnTo>
                      <a:pt x="726" y="229"/>
                    </a:lnTo>
                    <a:lnTo>
                      <a:pt x="726" y="231"/>
                    </a:lnTo>
                    <a:lnTo>
                      <a:pt x="728" y="231"/>
                    </a:lnTo>
                    <a:lnTo>
                      <a:pt x="726" y="231"/>
                    </a:lnTo>
                    <a:lnTo>
                      <a:pt x="726" y="233"/>
                    </a:lnTo>
                    <a:lnTo>
                      <a:pt x="728" y="233"/>
                    </a:lnTo>
                    <a:lnTo>
                      <a:pt x="726" y="233"/>
                    </a:lnTo>
                    <a:lnTo>
                      <a:pt x="726" y="231"/>
                    </a:lnTo>
                    <a:lnTo>
                      <a:pt x="728" y="231"/>
                    </a:lnTo>
                    <a:lnTo>
                      <a:pt x="726" y="231"/>
                    </a:lnTo>
                    <a:lnTo>
                      <a:pt x="726" y="229"/>
                    </a:lnTo>
                    <a:lnTo>
                      <a:pt x="728" y="229"/>
                    </a:lnTo>
                    <a:lnTo>
                      <a:pt x="726" y="229"/>
                    </a:lnTo>
                    <a:lnTo>
                      <a:pt x="728" y="229"/>
                    </a:lnTo>
                    <a:lnTo>
                      <a:pt x="728" y="227"/>
                    </a:lnTo>
                    <a:lnTo>
                      <a:pt x="726" y="225"/>
                    </a:lnTo>
                    <a:lnTo>
                      <a:pt x="728" y="225"/>
                    </a:lnTo>
                    <a:lnTo>
                      <a:pt x="730" y="225"/>
                    </a:lnTo>
                    <a:lnTo>
                      <a:pt x="728" y="225"/>
                    </a:lnTo>
                    <a:lnTo>
                      <a:pt x="726" y="225"/>
                    </a:lnTo>
                    <a:lnTo>
                      <a:pt x="724" y="225"/>
                    </a:lnTo>
                    <a:lnTo>
                      <a:pt x="724" y="227"/>
                    </a:lnTo>
                    <a:lnTo>
                      <a:pt x="724" y="225"/>
                    </a:lnTo>
                    <a:lnTo>
                      <a:pt x="722" y="225"/>
                    </a:lnTo>
                    <a:lnTo>
                      <a:pt x="720" y="225"/>
                    </a:lnTo>
                    <a:lnTo>
                      <a:pt x="722" y="225"/>
                    </a:lnTo>
                    <a:lnTo>
                      <a:pt x="720" y="225"/>
                    </a:lnTo>
                    <a:lnTo>
                      <a:pt x="720" y="223"/>
                    </a:lnTo>
                    <a:lnTo>
                      <a:pt x="720" y="225"/>
                    </a:lnTo>
                    <a:lnTo>
                      <a:pt x="720" y="223"/>
                    </a:lnTo>
                    <a:lnTo>
                      <a:pt x="718" y="223"/>
                    </a:lnTo>
                    <a:lnTo>
                      <a:pt x="718" y="222"/>
                    </a:lnTo>
                    <a:lnTo>
                      <a:pt x="716" y="222"/>
                    </a:lnTo>
                    <a:lnTo>
                      <a:pt x="716" y="220"/>
                    </a:lnTo>
                    <a:lnTo>
                      <a:pt x="716" y="222"/>
                    </a:lnTo>
                    <a:lnTo>
                      <a:pt x="716" y="220"/>
                    </a:lnTo>
                    <a:lnTo>
                      <a:pt x="716" y="222"/>
                    </a:lnTo>
                    <a:lnTo>
                      <a:pt x="716" y="220"/>
                    </a:lnTo>
                    <a:lnTo>
                      <a:pt x="714" y="220"/>
                    </a:lnTo>
                    <a:lnTo>
                      <a:pt x="716" y="220"/>
                    </a:lnTo>
                    <a:lnTo>
                      <a:pt x="714" y="220"/>
                    </a:lnTo>
                    <a:lnTo>
                      <a:pt x="716" y="220"/>
                    </a:lnTo>
                    <a:lnTo>
                      <a:pt x="714" y="220"/>
                    </a:lnTo>
                    <a:lnTo>
                      <a:pt x="714" y="218"/>
                    </a:lnTo>
                    <a:lnTo>
                      <a:pt x="712" y="216"/>
                    </a:lnTo>
                    <a:lnTo>
                      <a:pt x="714" y="216"/>
                    </a:lnTo>
                    <a:lnTo>
                      <a:pt x="712" y="216"/>
                    </a:lnTo>
                    <a:lnTo>
                      <a:pt x="712" y="214"/>
                    </a:lnTo>
                    <a:lnTo>
                      <a:pt x="711" y="214"/>
                    </a:lnTo>
                    <a:lnTo>
                      <a:pt x="712" y="214"/>
                    </a:lnTo>
                    <a:lnTo>
                      <a:pt x="711" y="214"/>
                    </a:lnTo>
                    <a:lnTo>
                      <a:pt x="711" y="212"/>
                    </a:lnTo>
                    <a:lnTo>
                      <a:pt x="711" y="214"/>
                    </a:lnTo>
                    <a:lnTo>
                      <a:pt x="711" y="212"/>
                    </a:lnTo>
                    <a:lnTo>
                      <a:pt x="709" y="212"/>
                    </a:lnTo>
                    <a:lnTo>
                      <a:pt x="711" y="212"/>
                    </a:lnTo>
                    <a:lnTo>
                      <a:pt x="711" y="210"/>
                    </a:lnTo>
                    <a:lnTo>
                      <a:pt x="712" y="210"/>
                    </a:lnTo>
                    <a:lnTo>
                      <a:pt x="711" y="210"/>
                    </a:lnTo>
                    <a:lnTo>
                      <a:pt x="712" y="210"/>
                    </a:lnTo>
                    <a:lnTo>
                      <a:pt x="712" y="208"/>
                    </a:lnTo>
                    <a:lnTo>
                      <a:pt x="714" y="208"/>
                    </a:lnTo>
                    <a:lnTo>
                      <a:pt x="712" y="208"/>
                    </a:lnTo>
                    <a:lnTo>
                      <a:pt x="712" y="210"/>
                    </a:lnTo>
                    <a:lnTo>
                      <a:pt x="711" y="210"/>
                    </a:lnTo>
                    <a:lnTo>
                      <a:pt x="709" y="212"/>
                    </a:lnTo>
                    <a:lnTo>
                      <a:pt x="709" y="210"/>
                    </a:lnTo>
                    <a:lnTo>
                      <a:pt x="707" y="208"/>
                    </a:lnTo>
                    <a:lnTo>
                      <a:pt x="705" y="208"/>
                    </a:lnTo>
                    <a:lnTo>
                      <a:pt x="703" y="208"/>
                    </a:lnTo>
                    <a:lnTo>
                      <a:pt x="701" y="208"/>
                    </a:lnTo>
                    <a:lnTo>
                      <a:pt x="701" y="210"/>
                    </a:lnTo>
                    <a:lnTo>
                      <a:pt x="701" y="212"/>
                    </a:lnTo>
                    <a:lnTo>
                      <a:pt x="701" y="210"/>
                    </a:lnTo>
                    <a:lnTo>
                      <a:pt x="699" y="210"/>
                    </a:lnTo>
                    <a:lnTo>
                      <a:pt x="699" y="208"/>
                    </a:lnTo>
                    <a:lnTo>
                      <a:pt x="699" y="206"/>
                    </a:lnTo>
                    <a:lnTo>
                      <a:pt x="699" y="204"/>
                    </a:lnTo>
                    <a:lnTo>
                      <a:pt x="701" y="204"/>
                    </a:lnTo>
                    <a:lnTo>
                      <a:pt x="701" y="202"/>
                    </a:lnTo>
                    <a:lnTo>
                      <a:pt x="701" y="204"/>
                    </a:lnTo>
                    <a:lnTo>
                      <a:pt x="701" y="206"/>
                    </a:lnTo>
                    <a:lnTo>
                      <a:pt x="701" y="208"/>
                    </a:lnTo>
                    <a:lnTo>
                      <a:pt x="703" y="208"/>
                    </a:lnTo>
                    <a:lnTo>
                      <a:pt x="705" y="208"/>
                    </a:lnTo>
                    <a:lnTo>
                      <a:pt x="705" y="206"/>
                    </a:lnTo>
                    <a:lnTo>
                      <a:pt x="707" y="206"/>
                    </a:lnTo>
                    <a:lnTo>
                      <a:pt x="705" y="206"/>
                    </a:lnTo>
                    <a:lnTo>
                      <a:pt x="707" y="206"/>
                    </a:lnTo>
                    <a:lnTo>
                      <a:pt x="705" y="206"/>
                    </a:lnTo>
                    <a:lnTo>
                      <a:pt x="705" y="204"/>
                    </a:lnTo>
                    <a:lnTo>
                      <a:pt x="707" y="204"/>
                    </a:lnTo>
                    <a:lnTo>
                      <a:pt x="705" y="204"/>
                    </a:lnTo>
                    <a:lnTo>
                      <a:pt x="705" y="202"/>
                    </a:lnTo>
                    <a:lnTo>
                      <a:pt x="705" y="200"/>
                    </a:lnTo>
                    <a:lnTo>
                      <a:pt x="705" y="198"/>
                    </a:lnTo>
                    <a:lnTo>
                      <a:pt x="705" y="197"/>
                    </a:lnTo>
                    <a:lnTo>
                      <a:pt x="707" y="197"/>
                    </a:lnTo>
                    <a:lnTo>
                      <a:pt x="705" y="197"/>
                    </a:lnTo>
                    <a:lnTo>
                      <a:pt x="707" y="195"/>
                    </a:lnTo>
                    <a:lnTo>
                      <a:pt x="707" y="193"/>
                    </a:lnTo>
                    <a:lnTo>
                      <a:pt x="707" y="191"/>
                    </a:lnTo>
                    <a:lnTo>
                      <a:pt x="709" y="191"/>
                    </a:lnTo>
                    <a:lnTo>
                      <a:pt x="707" y="191"/>
                    </a:lnTo>
                    <a:lnTo>
                      <a:pt x="709" y="191"/>
                    </a:lnTo>
                    <a:lnTo>
                      <a:pt x="711" y="191"/>
                    </a:lnTo>
                    <a:lnTo>
                      <a:pt x="709" y="193"/>
                    </a:lnTo>
                    <a:lnTo>
                      <a:pt x="711" y="193"/>
                    </a:lnTo>
                    <a:lnTo>
                      <a:pt x="712" y="193"/>
                    </a:lnTo>
                    <a:lnTo>
                      <a:pt x="712" y="191"/>
                    </a:lnTo>
                    <a:lnTo>
                      <a:pt x="712" y="189"/>
                    </a:lnTo>
                    <a:lnTo>
                      <a:pt x="714" y="189"/>
                    </a:lnTo>
                    <a:lnTo>
                      <a:pt x="714" y="187"/>
                    </a:lnTo>
                    <a:lnTo>
                      <a:pt x="714" y="189"/>
                    </a:lnTo>
                    <a:lnTo>
                      <a:pt x="712" y="189"/>
                    </a:lnTo>
                    <a:lnTo>
                      <a:pt x="711" y="189"/>
                    </a:lnTo>
                    <a:lnTo>
                      <a:pt x="709" y="189"/>
                    </a:lnTo>
                    <a:lnTo>
                      <a:pt x="707" y="189"/>
                    </a:lnTo>
                    <a:lnTo>
                      <a:pt x="707" y="187"/>
                    </a:lnTo>
                    <a:lnTo>
                      <a:pt x="707" y="189"/>
                    </a:lnTo>
                    <a:lnTo>
                      <a:pt x="707" y="191"/>
                    </a:lnTo>
                    <a:lnTo>
                      <a:pt x="705" y="191"/>
                    </a:lnTo>
                    <a:lnTo>
                      <a:pt x="703" y="191"/>
                    </a:lnTo>
                    <a:lnTo>
                      <a:pt x="703" y="193"/>
                    </a:lnTo>
                    <a:lnTo>
                      <a:pt x="701" y="193"/>
                    </a:lnTo>
                    <a:lnTo>
                      <a:pt x="699" y="193"/>
                    </a:lnTo>
                    <a:lnTo>
                      <a:pt x="699" y="195"/>
                    </a:lnTo>
                    <a:lnTo>
                      <a:pt x="697" y="195"/>
                    </a:lnTo>
                    <a:lnTo>
                      <a:pt x="697" y="197"/>
                    </a:lnTo>
                    <a:lnTo>
                      <a:pt x="697" y="198"/>
                    </a:lnTo>
                    <a:lnTo>
                      <a:pt x="699" y="197"/>
                    </a:lnTo>
                    <a:lnTo>
                      <a:pt x="699" y="198"/>
                    </a:lnTo>
                    <a:lnTo>
                      <a:pt x="697" y="198"/>
                    </a:lnTo>
                    <a:lnTo>
                      <a:pt x="695" y="200"/>
                    </a:lnTo>
                    <a:lnTo>
                      <a:pt x="693" y="198"/>
                    </a:lnTo>
                    <a:lnTo>
                      <a:pt x="693" y="200"/>
                    </a:lnTo>
                    <a:lnTo>
                      <a:pt x="695" y="200"/>
                    </a:lnTo>
                    <a:lnTo>
                      <a:pt x="697" y="200"/>
                    </a:lnTo>
                    <a:lnTo>
                      <a:pt x="695" y="200"/>
                    </a:lnTo>
                    <a:lnTo>
                      <a:pt x="693" y="200"/>
                    </a:lnTo>
                    <a:lnTo>
                      <a:pt x="691" y="200"/>
                    </a:lnTo>
                    <a:lnTo>
                      <a:pt x="689" y="200"/>
                    </a:lnTo>
                    <a:lnTo>
                      <a:pt x="689" y="198"/>
                    </a:lnTo>
                    <a:lnTo>
                      <a:pt x="689" y="197"/>
                    </a:lnTo>
                    <a:lnTo>
                      <a:pt x="687" y="197"/>
                    </a:lnTo>
                    <a:lnTo>
                      <a:pt x="687" y="195"/>
                    </a:lnTo>
                    <a:lnTo>
                      <a:pt x="687" y="193"/>
                    </a:lnTo>
                    <a:lnTo>
                      <a:pt x="687" y="191"/>
                    </a:lnTo>
                    <a:lnTo>
                      <a:pt x="689" y="189"/>
                    </a:lnTo>
                    <a:lnTo>
                      <a:pt x="689" y="187"/>
                    </a:lnTo>
                    <a:lnTo>
                      <a:pt x="691" y="187"/>
                    </a:lnTo>
                    <a:lnTo>
                      <a:pt x="693" y="187"/>
                    </a:lnTo>
                    <a:lnTo>
                      <a:pt x="695" y="187"/>
                    </a:lnTo>
                    <a:lnTo>
                      <a:pt x="695" y="185"/>
                    </a:lnTo>
                    <a:lnTo>
                      <a:pt x="697" y="185"/>
                    </a:lnTo>
                    <a:lnTo>
                      <a:pt x="699" y="185"/>
                    </a:lnTo>
                    <a:lnTo>
                      <a:pt x="701" y="185"/>
                    </a:lnTo>
                    <a:lnTo>
                      <a:pt x="701" y="183"/>
                    </a:lnTo>
                    <a:lnTo>
                      <a:pt x="703" y="183"/>
                    </a:lnTo>
                    <a:lnTo>
                      <a:pt x="705" y="183"/>
                    </a:lnTo>
                    <a:lnTo>
                      <a:pt x="703" y="183"/>
                    </a:lnTo>
                    <a:lnTo>
                      <a:pt x="701" y="183"/>
                    </a:lnTo>
                    <a:lnTo>
                      <a:pt x="701" y="185"/>
                    </a:lnTo>
                    <a:lnTo>
                      <a:pt x="699" y="185"/>
                    </a:lnTo>
                    <a:lnTo>
                      <a:pt x="697" y="185"/>
                    </a:lnTo>
                    <a:lnTo>
                      <a:pt x="695" y="185"/>
                    </a:lnTo>
                    <a:lnTo>
                      <a:pt x="695" y="187"/>
                    </a:lnTo>
                    <a:lnTo>
                      <a:pt x="693" y="187"/>
                    </a:lnTo>
                    <a:lnTo>
                      <a:pt x="691" y="187"/>
                    </a:lnTo>
                    <a:lnTo>
                      <a:pt x="689" y="187"/>
                    </a:lnTo>
                    <a:lnTo>
                      <a:pt x="689" y="185"/>
                    </a:lnTo>
                    <a:lnTo>
                      <a:pt x="691" y="183"/>
                    </a:lnTo>
                    <a:lnTo>
                      <a:pt x="691" y="181"/>
                    </a:lnTo>
                    <a:lnTo>
                      <a:pt x="691" y="179"/>
                    </a:lnTo>
                    <a:lnTo>
                      <a:pt x="693" y="179"/>
                    </a:lnTo>
                    <a:lnTo>
                      <a:pt x="691" y="179"/>
                    </a:lnTo>
                    <a:lnTo>
                      <a:pt x="693" y="179"/>
                    </a:lnTo>
                    <a:lnTo>
                      <a:pt x="693" y="177"/>
                    </a:lnTo>
                    <a:lnTo>
                      <a:pt x="693" y="175"/>
                    </a:lnTo>
                    <a:lnTo>
                      <a:pt x="695" y="173"/>
                    </a:lnTo>
                    <a:lnTo>
                      <a:pt x="695" y="172"/>
                    </a:lnTo>
                    <a:lnTo>
                      <a:pt x="697" y="172"/>
                    </a:lnTo>
                    <a:lnTo>
                      <a:pt x="697" y="170"/>
                    </a:lnTo>
                    <a:lnTo>
                      <a:pt x="699" y="170"/>
                    </a:lnTo>
                    <a:lnTo>
                      <a:pt x="701" y="170"/>
                    </a:lnTo>
                    <a:lnTo>
                      <a:pt x="703" y="170"/>
                    </a:lnTo>
                    <a:lnTo>
                      <a:pt x="701" y="170"/>
                    </a:lnTo>
                    <a:lnTo>
                      <a:pt x="703" y="170"/>
                    </a:lnTo>
                    <a:lnTo>
                      <a:pt x="701" y="170"/>
                    </a:lnTo>
                    <a:lnTo>
                      <a:pt x="699" y="170"/>
                    </a:lnTo>
                    <a:lnTo>
                      <a:pt x="701" y="170"/>
                    </a:lnTo>
                    <a:lnTo>
                      <a:pt x="703" y="170"/>
                    </a:lnTo>
                    <a:lnTo>
                      <a:pt x="705" y="170"/>
                    </a:lnTo>
                    <a:lnTo>
                      <a:pt x="705" y="172"/>
                    </a:lnTo>
                    <a:lnTo>
                      <a:pt x="705" y="170"/>
                    </a:lnTo>
                    <a:lnTo>
                      <a:pt x="705" y="172"/>
                    </a:lnTo>
                    <a:lnTo>
                      <a:pt x="705" y="170"/>
                    </a:lnTo>
                    <a:lnTo>
                      <a:pt x="707" y="170"/>
                    </a:lnTo>
                    <a:lnTo>
                      <a:pt x="705" y="170"/>
                    </a:lnTo>
                    <a:lnTo>
                      <a:pt x="705" y="172"/>
                    </a:lnTo>
                    <a:lnTo>
                      <a:pt x="707" y="172"/>
                    </a:lnTo>
                    <a:lnTo>
                      <a:pt x="705" y="172"/>
                    </a:lnTo>
                    <a:lnTo>
                      <a:pt x="705" y="173"/>
                    </a:lnTo>
                    <a:lnTo>
                      <a:pt x="707" y="173"/>
                    </a:lnTo>
                    <a:lnTo>
                      <a:pt x="705" y="175"/>
                    </a:lnTo>
                    <a:lnTo>
                      <a:pt x="707" y="175"/>
                    </a:lnTo>
                    <a:lnTo>
                      <a:pt x="707" y="173"/>
                    </a:lnTo>
                    <a:lnTo>
                      <a:pt x="709" y="173"/>
                    </a:lnTo>
                    <a:lnTo>
                      <a:pt x="711" y="173"/>
                    </a:lnTo>
                    <a:lnTo>
                      <a:pt x="711" y="172"/>
                    </a:lnTo>
                    <a:lnTo>
                      <a:pt x="711" y="173"/>
                    </a:lnTo>
                    <a:lnTo>
                      <a:pt x="709" y="173"/>
                    </a:lnTo>
                    <a:lnTo>
                      <a:pt x="711" y="173"/>
                    </a:lnTo>
                    <a:lnTo>
                      <a:pt x="711" y="172"/>
                    </a:lnTo>
                    <a:lnTo>
                      <a:pt x="711" y="173"/>
                    </a:lnTo>
                    <a:lnTo>
                      <a:pt x="711" y="172"/>
                    </a:lnTo>
                    <a:lnTo>
                      <a:pt x="712" y="172"/>
                    </a:lnTo>
                    <a:lnTo>
                      <a:pt x="711" y="172"/>
                    </a:lnTo>
                    <a:lnTo>
                      <a:pt x="712" y="172"/>
                    </a:lnTo>
                    <a:lnTo>
                      <a:pt x="712" y="170"/>
                    </a:lnTo>
                    <a:lnTo>
                      <a:pt x="712" y="168"/>
                    </a:lnTo>
                    <a:lnTo>
                      <a:pt x="712" y="166"/>
                    </a:lnTo>
                    <a:lnTo>
                      <a:pt x="714" y="166"/>
                    </a:lnTo>
                    <a:lnTo>
                      <a:pt x="714" y="164"/>
                    </a:lnTo>
                    <a:lnTo>
                      <a:pt x="714" y="166"/>
                    </a:lnTo>
                    <a:lnTo>
                      <a:pt x="714" y="164"/>
                    </a:lnTo>
                    <a:lnTo>
                      <a:pt x="714" y="166"/>
                    </a:lnTo>
                    <a:lnTo>
                      <a:pt x="714" y="164"/>
                    </a:lnTo>
                    <a:lnTo>
                      <a:pt x="716" y="164"/>
                    </a:lnTo>
                    <a:lnTo>
                      <a:pt x="718" y="164"/>
                    </a:lnTo>
                    <a:lnTo>
                      <a:pt x="718" y="162"/>
                    </a:lnTo>
                    <a:lnTo>
                      <a:pt x="718" y="164"/>
                    </a:lnTo>
                    <a:lnTo>
                      <a:pt x="716" y="164"/>
                    </a:lnTo>
                    <a:lnTo>
                      <a:pt x="718" y="164"/>
                    </a:lnTo>
                    <a:lnTo>
                      <a:pt x="716" y="164"/>
                    </a:lnTo>
                    <a:lnTo>
                      <a:pt x="716" y="162"/>
                    </a:lnTo>
                    <a:lnTo>
                      <a:pt x="718" y="162"/>
                    </a:lnTo>
                    <a:lnTo>
                      <a:pt x="716" y="162"/>
                    </a:lnTo>
                    <a:lnTo>
                      <a:pt x="716" y="164"/>
                    </a:lnTo>
                    <a:lnTo>
                      <a:pt x="716" y="162"/>
                    </a:lnTo>
                    <a:lnTo>
                      <a:pt x="716" y="164"/>
                    </a:lnTo>
                    <a:lnTo>
                      <a:pt x="716" y="162"/>
                    </a:lnTo>
                    <a:lnTo>
                      <a:pt x="714" y="162"/>
                    </a:lnTo>
                    <a:lnTo>
                      <a:pt x="716" y="162"/>
                    </a:lnTo>
                    <a:lnTo>
                      <a:pt x="714" y="162"/>
                    </a:lnTo>
                    <a:lnTo>
                      <a:pt x="716" y="162"/>
                    </a:lnTo>
                    <a:lnTo>
                      <a:pt x="716" y="164"/>
                    </a:lnTo>
                    <a:lnTo>
                      <a:pt x="714" y="164"/>
                    </a:lnTo>
                    <a:lnTo>
                      <a:pt x="716" y="164"/>
                    </a:lnTo>
                    <a:lnTo>
                      <a:pt x="714" y="164"/>
                    </a:lnTo>
                    <a:lnTo>
                      <a:pt x="714" y="162"/>
                    </a:lnTo>
                    <a:lnTo>
                      <a:pt x="714" y="160"/>
                    </a:lnTo>
                    <a:lnTo>
                      <a:pt x="714" y="158"/>
                    </a:lnTo>
                    <a:lnTo>
                      <a:pt x="716" y="158"/>
                    </a:lnTo>
                    <a:lnTo>
                      <a:pt x="714" y="158"/>
                    </a:lnTo>
                    <a:lnTo>
                      <a:pt x="716" y="158"/>
                    </a:lnTo>
                    <a:lnTo>
                      <a:pt x="716" y="156"/>
                    </a:lnTo>
                    <a:lnTo>
                      <a:pt x="716" y="158"/>
                    </a:lnTo>
                    <a:lnTo>
                      <a:pt x="718" y="158"/>
                    </a:lnTo>
                    <a:lnTo>
                      <a:pt x="718" y="160"/>
                    </a:lnTo>
                    <a:lnTo>
                      <a:pt x="720" y="160"/>
                    </a:lnTo>
                    <a:lnTo>
                      <a:pt x="720" y="158"/>
                    </a:lnTo>
                    <a:lnTo>
                      <a:pt x="718" y="160"/>
                    </a:lnTo>
                    <a:lnTo>
                      <a:pt x="720" y="158"/>
                    </a:lnTo>
                    <a:lnTo>
                      <a:pt x="718" y="158"/>
                    </a:lnTo>
                    <a:lnTo>
                      <a:pt x="720" y="158"/>
                    </a:lnTo>
                    <a:lnTo>
                      <a:pt x="718" y="158"/>
                    </a:lnTo>
                    <a:lnTo>
                      <a:pt x="716" y="158"/>
                    </a:lnTo>
                    <a:lnTo>
                      <a:pt x="716" y="156"/>
                    </a:lnTo>
                    <a:lnTo>
                      <a:pt x="716" y="158"/>
                    </a:lnTo>
                    <a:lnTo>
                      <a:pt x="716" y="156"/>
                    </a:lnTo>
                    <a:lnTo>
                      <a:pt x="716" y="158"/>
                    </a:lnTo>
                    <a:lnTo>
                      <a:pt x="714" y="158"/>
                    </a:lnTo>
                    <a:lnTo>
                      <a:pt x="716" y="158"/>
                    </a:lnTo>
                    <a:lnTo>
                      <a:pt x="714" y="158"/>
                    </a:lnTo>
                    <a:lnTo>
                      <a:pt x="714" y="156"/>
                    </a:lnTo>
                    <a:lnTo>
                      <a:pt x="712" y="156"/>
                    </a:lnTo>
                    <a:lnTo>
                      <a:pt x="711" y="156"/>
                    </a:lnTo>
                    <a:lnTo>
                      <a:pt x="711" y="154"/>
                    </a:lnTo>
                    <a:lnTo>
                      <a:pt x="709" y="154"/>
                    </a:lnTo>
                    <a:lnTo>
                      <a:pt x="707" y="154"/>
                    </a:lnTo>
                    <a:lnTo>
                      <a:pt x="707" y="152"/>
                    </a:lnTo>
                    <a:lnTo>
                      <a:pt x="705" y="152"/>
                    </a:lnTo>
                    <a:lnTo>
                      <a:pt x="705" y="150"/>
                    </a:lnTo>
                    <a:lnTo>
                      <a:pt x="707" y="150"/>
                    </a:lnTo>
                    <a:lnTo>
                      <a:pt x="709" y="148"/>
                    </a:lnTo>
                    <a:lnTo>
                      <a:pt x="711" y="148"/>
                    </a:lnTo>
                    <a:lnTo>
                      <a:pt x="712" y="148"/>
                    </a:lnTo>
                    <a:lnTo>
                      <a:pt x="714" y="148"/>
                    </a:lnTo>
                    <a:lnTo>
                      <a:pt x="714" y="147"/>
                    </a:lnTo>
                    <a:lnTo>
                      <a:pt x="716" y="147"/>
                    </a:lnTo>
                    <a:lnTo>
                      <a:pt x="718" y="147"/>
                    </a:lnTo>
                    <a:lnTo>
                      <a:pt x="720" y="147"/>
                    </a:lnTo>
                    <a:lnTo>
                      <a:pt x="722" y="147"/>
                    </a:lnTo>
                    <a:lnTo>
                      <a:pt x="722" y="148"/>
                    </a:lnTo>
                    <a:lnTo>
                      <a:pt x="724" y="147"/>
                    </a:lnTo>
                    <a:lnTo>
                      <a:pt x="724" y="148"/>
                    </a:lnTo>
                    <a:lnTo>
                      <a:pt x="726" y="148"/>
                    </a:lnTo>
                    <a:lnTo>
                      <a:pt x="726" y="147"/>
                    </a:lnTo>
                    <a:lnTo>
                      <a:pt x="728" y="147"/>
                    </a:lnTo>
                    <a:lnTo>
                      <a:pt x="730" y="147"/>
                    </a:lnTo>
                    <a:lnTo>
                      <a:pt x="734" y="147"/>
                    </a:lnTo>
                    <a:lnTo>
                      <a:pt x="736" y="145"/>
                    </a:lnTo>
                    <a:lnTo>
                      <a:pt x="737" y="145"/>
                    </a:lnTo>
                    <a:lnTo>
                      <a:pt x="739" y="145"/>
                    </a:lnTo>
                    <a:lnTo>
                      <a:pt x="741" y="143"/>
                    </a:lnTo>
                    <a:lnTo>
                      <a:pt x="743" y="143"/>
                    </a:lnTo>
                    <a:lnTo>
                      <a:pt x="743" y="141"/>
                    </a:lnTo>
                    <a:lnTo>
                      <a:pt x="745" y="141"/>
                    </a:lnTo>
                    <a:lnTo>
                      <a:pt x="747" y="141"/>
                    </a:lnTo>
                    <a:lnTo>
                      <a:pt x="749" y="139"/>
                    </a:lnTo>
                    <a:lnTo>
                      <a:pt x="751" y="139"/>
                    </a:lnTo>
                    <a:lnTo>
                      <a:pt x="751" y="137"/>
                    </a:lnTo>
                    <a:lnTo>
                      <a:pt x="753" y="137"/>
                    </a:lnTo>
                    <a:lnTo>
                      <a:pt x="757" y="135"/>
                    </a:lnTo>
                    <a:lnTo>
                      <a:pt x="759" y="135"/>
                    </a:lnTo>
                    <a:lnTo>
                      <a:pt x="759" y="133"/>
                    </a:lnTo>
                    <a:lnTo>
                      <a:pt x="760" y="133"/>
                    </a:lnTo>
                    <a:lnTo>
                      <a:pt x="762" y="133"/>
                    </a:lnTo>
                    <a:lnTo>
                      <a:pt x="762" y="131"/>
                    </a:lnTo>
                    <a:lnTo>
                      <a:pt x="764" y="131"/>
                    </a:lnTo>
                    <a:lnTo>
                      <a:pt x="766" y="131"/>
                    </a:lnTo>
                    <a:lnTo>
                      <a:pt x="768" y="131"/>
                    </a:lnTo>
                    <a:lnTo>
                      <a:pt x="770" y="129"/>
                    </a:lnTo>
                    <a:lnTo>
                      <a:pt x="772" y="129"/>
                    </a:lnTo>
                    <a:lnTo>
                      <a:pt x="774" y="127"/>
                    </a:lnTo>
                    <a:lnTo>
                      <a:pt x="776" y="127"/>
                    </a:lnTo>
                    <a:lnTo>
                      <a:pt x="774" y="127"/>
                    </a:lnTo>
                    <a:lnTo>
                      <a:pt x="776" y="127"/>
                    </a:lnTo>
                    <a:lnTo>
                      <a:pt x="774" y="127"/>
                    </a:lnTo>
                    <a:lnTo>
                      <a:pt x="776" y="127"/>
                    </a:lnTo>
                    <a:lnTo>
                      <a:pt x="778" y="127"/>
                    </a:lnTo>
                    <a:lnTo>
                      <a:pt x="778" y="125"/>
                    </a:lnTo>
                    <a:lnTo>
                      <a:pt x="780" y="125"/>
                    </a:lnTo>
                    <a:lnTo>
                      <a:pt x="782" y="125"/>
                    </a:lnTo>
                    <a:lnTo>
                      <a:pt x="784" y="123"/>
                    </a:lnTo>
                    <a:lnTo>
                      <a:pt x="784" y="125"/>
                    </a:lnTo>
                    <a:lnTo>
                      <a:pt x="784" y="123"/>
                    </a:lnTo>
                    <a:lnTo>
                      <a:pt x="784" y="125"/>
                    </a:lnTo>
                    <a:lnTo>
                      <a:pt x="784" y="123"/>
                    </a:lnTo>
                    <a:lnTo>
                      <a:pt x="785" y="123"/>
                    </a:lnTo>
                    <a:lnTo>
                      <a:pt x="784" y="123"/>
                    </a:lnTo>
                    <a:lnTo>
                      <a:pt x="785" y="123"/>
                    </a:lnTo>
                    <a:lnTo>
                      <a:pt x="787" y="123"/>
                    </a:lnTo>
                    <a:lnTo>
                      <a:pt x="789" y="123"/>
                    </a:lnTo>
                    <a:lnTo>
                      <a:pt x="787" y="123"/>
                    </a:lnTo>
                    <a:lnTo>
                      <a:pt x="789" y="123"/>
                    </a:lnTo>
                    <a:lnTo>
                      <a:pt x="789" y="122"/>
                    </a:lnTo>
                    <a:lnTo>
                      <a:pt x="789" y="123"/>
                    </a:lnTo>
                    <a:lnTo>
                      <a:pt x="791" y="123"/>
                    </a:lnTo>
                    <a:lnTo>
                      <a:pt x="791" y="122"/>
                    </a:lnTo>
                    <a:lnTo>
                      <a:pt x="791" y="123"/>
                    </a:lnTo>
                    <a:lnTo>
                      <a:pt x="791" y="122"/>
                    </a:lnTo>
                    <a:lnTo>
                      <a:pt x="793" y="122"/>
                    </a:lnTo>
                    <a:lnTo>
                      <a:pt x="791" y="122"/>
                    </a:lnTo>
                    <a:lnTo>
                      <a:pt x="793" y="122"/>
                    </a:lnTo>
                    <a:lnTo>
                      <a:pt x="795" y="122"/>
                    </a:lnTo>
                    <a:lnTo>
                      <a:pt x="797" y="122"/>
                    </a:lnTo>
                    <a:lnTo>
                      <a:pt x="797" y="120"/>
                    </a:lnTo>
                    <a:lnTo>
                      <a:pt x="797" y="122"/>
                    </a:lnTo>
                    <a:lnTo>
                      <a:pt x="797" y="120"/>
                    </a:lnTo>
                    <a:lnTo>
                      <a:pt x="799" y="120"/>
                    </a:lnTo>
                    <a:lnTo>
                      <a:pt x="801" y="120"/>
                    </a:lnTo>
                    <a:lnTo>
                      <a:pt x="803" y="120"/>
                    </a:lnTo>
                    <a:lnTo>
                      <a:pt x="803" y="118"/>
                    </a:lnTo>
                    <a:lnTo>
                      <a:pt x="805" y="118"/>
                    </a:lnTo>
                    <a:lnTo>
                      <a:pt x="807" y="118"/>
                    </a:lnTo>
                    <a:lnTo>
                      <a:pt x="809" y="118"/>
                    </a:lnTo>
                    <a:lnTo>
                      <a:pt x="807" y="118"/>
                    </a:lnTo>
                    <a:lnTo>
                      <a:pt x="809" y="118"/>
                    </a:lnTo>
                    <a:lnTo>
                      <a:pt x="809" y="116"/>
                    </a:lnTo>
                    <a:lnTo>
                      <a:pt x="809" y="118"/>
                    </a:lnTo>
                    <a:lnTo>
                      <a:pt x="809" y="116"/>
                    </a:lnTo>
                    <a:lnTo>
                      <a:pt x="810" y="116"/>
                    </a:lnTo>
                    <a:lnTo>
                      <a:pt x="810" y="118"/>
                    </a:lnTo>
                    <a:lnTo>
                      <a:pt x="809" y="116"/>
                    </a:lnTo>
                    <a:lnTo>
                      <a:pt x="809" y="118"/>
                    </a:lnTo>
                    <a:lnTo>
                      <a:pt x="810" y="118"/>
                    </a:lnTo>
                    <a:lnTo>
                      <a:pt x="810" y="116"/>
                    </a:lnTo>
                    <a:lnTo>
                      <a:pt x="810" y="118"/>
                    </a:lnTo>
                    <a:lnTo>
                      <a:pt x="810" y="116"/>
                    </a:lnTo>
                    <a:lnTo>
                      <a:pt x="812" y="116"/>
                    </a:lnTo>
                    <a:lnTo>
                      <a:pt x="814" y="116"/>
                    </a:lnTo>
                    <a:lnTo>
                      <a:pt x="816" y="116"/>
                    </a:lnTo>
                    <a:lnTo>
                      <a:pt x="816" y="114"/>
                    </a:lnTo>
                    <a:lnTo>
                      <a:pt x="816" y="116"/>
                    </a:lnTo>
                    <a:lnTo>
                      <a:pt x="818" y="116"/>
                    </a:lnTo>
                    <a:lnTo>
                      <a:pt x="818" y="114"/>
                    </a:lnTo>
                    <a:lnTo>
                      <a:pt x="820" y="114"/>
                    </a:lnTo>
                    <a:lnTo>
                      <a:pt x="818" y="114"/>
                    </a:lnTo>
                    <a:lnTo>
                      <a:pt x="820" y="114"/>
                    </a:lnTo>
                    <a:lnTo>
                      <a:pt x="822" y="114"/>
                    </a:lnTo>
                    <a:lnTo>
                      <a:pt x="824" y="114"/>
                    </a:lnTo>
                    <a:lnTo>
                      <a:pt x="826" y="114"/>
                    </a:lnTo>
                    <a:lnTo>
                      <a:pt x="828" y="114"/>
                    </a:lnTo>
                    <a:lnTo>
                      <a:pt x="830" y="114"/>
                    </a:lnTo>
                    <a:lnTo>
                      <a:pt x="830" y="112"/>
                    </a:lnTo>
                    <a:lnTo>
                      <a:pt x="830" y="114"/>
                    </a:lnTo>
                    <a:lnTo>
                      <a:pt x="830" y="112"/>
                    </a:lnTo>
                    <a:lnTo>
                      <a:pt x="830" y="114"/>
                    </a:lnTo>
                    <a:lnTo>
                      <a:pt x="830" y="112"/>
                    </a:lnTo>
                    <a:lnTo>
                      <a:pt x="830" y="114"/>
                    </a:lnTo>
                    <a:lnTo>
                      <a:pt x="830" y="112"/>
                    </a:lnTo>
                    <a:lnTo>
                      <a:pt x="832" y="112"/>
                    </a:lnTo>
                    <a:lnTo>
                      <a:pt x="833" y="112"/>
                    </a:lnTo>
                    <a:lnTo>
                      <a:pt x="835" y="112"/>
                    </a:lnTo>
                    <a:lnTo>
                      <a:pt x="837" y="110"/>
                    </a:lnTo>
                    <a:lnTo>
                      <a:pt x="837" y="112"/>
                    </a:lnTo>
                    <a:lnTo>
                      <a:pt x="837" y="110"/>
                    </a:lnTo>
                    <a:lnTo>
                      <a:pt x="837" y="112"/>
                    </a:lnTo>
                    <a:lnTo>
                      <a:pt x="837" y="110"/>
                    </a:lnTo>
                    <a:lnTo>
                      <a:pt x="837" y="112"/>
                    </a:lnTo>
                    <a:lnTo>
                      <a:pt x="837" y="110"/>
                    </a:lnTo>
                    <a:lnTo>
                      <a:pt x="837" y="112"/>
                    </a:lnTo>
                    <a:lnTo>
                      <a:pt x="839" y="112"/>
                    </a:lnTo>
                    <a:lnTo>
                      <a:pt x="837" y="112"/>
                    </a:lnTo>
                    <a:lnTo>
                      <a:pt x="833" y="114"/>
                    </a:lnTo>
                    <a:lnTo>
                      <a:pt x="832" y="114"/>
                    </a:lnTo>
                    <a:lnTo>
                      <a:pt x="832" y="116"/>
                    </a:lnTo>
                    <a:lnTo>
                      <a:pt x="828" y="118"/>
                    </a:lnTo>
                    <a:lnTo>
                      <a:pt x="826" y="118"/>
                    </a:lnTo>
                    <a:lnTo>
                      <a:pt x="828" y="118"/>
                    </a:lnTo>
                    <a:lnTo>
                      <a:pt x="826" y="118"/>
                    </a:lnTo>
                    <a:lnTo>
                      <a:pt x="824" y="120"/>
                    </a:lnTo>
                    <a:lnTo>
                      <a:pt x="822" y="122"/>
                    </a:lnTo>
                    <a:lnTo>
                      <a:pt x="820" y="122"/>
                    </a:lnTo>
                    <a:lnTo>
                      <a:pt x="818" y="123"/>
                    </a:lnTo>
                    <a:lnTo>
                      <a:pt x="816" y="123"/>
                    </a:lnTo>
                    <a:lnTo>
                      <a:pt x="816" y="125"/>
                    </a:lnTo>
                    <a:lnTo>
                      <a:pt x="814" y="125"/>
                    </a:lnTo>
                    <a:lnTo>
                      <a:pt x="812" y="125"/>
                    </a:lnTo>
                    <a:lnTo>
                      <a:pt x="810" y="125"/>
                    </a:lnTo>
                    <a:lnTo>
                      <a:pt x="810" y="127"/>
                    </a:lnTo>
                    <a:lnTo>
                      <a:pt x="809" y="127"/>
                    </a:lnTo>
                    <a:lnTo>
                      <a:pt x="807" y="125"/>
                    </a:lnTo>
                    <a:lnTo>
                      <a:pt x="805" y="125"/>
                    </a:lnTo>
                    <a:lnTo>
                      <a:pt x="805" y="123"/>
                    </a:lnTo>
                    <a:lnTo>
                      <a:pt x="803" y="123"/>
                    </a:lnTo>
                    <a:lnTo>
                      <a:pt x="805" y="123"/>
                    </a:lnTo>
                    <a:lnTo>
                      <a:pt x="805" y="125"/>
                    </a:lnTo>
                    <a:lnTo>
                      <a:pt x="803" y="127"/>
                    </a:lnTo>
                    <a:lnTo>
                      <a:pt x="803" y="129"/>
                    </a:lnTo>
                    <a:lnTo>
                      <a:pt x="803" y="127"/>
                    </a:lnTo>
                    <a:lnTo>
                      <a:pt x="801" y="127"/>
                    </a:lnTo>
                    <a:lnTo>
                      <a:pt x="799" y="127"/>
                    </a:lnTo>
                    <a:lnTo>
                      <a:pt x="799" y="129"/>
                    </a:lnTo>
                    <a:lnTo>
                      <a:pt x="797" y="131"/>
                    </a:lnTo>
                    <a:lnTo>
                      <a:pt x="795" y="133"/>
                    </a:lnTo>
                    <a:lnTo>
                      <a:pt x="795" y="131"/>
                    </a:lnTo>
                    <a:lnTo>
                      <a:pt x="795" y="133"/>
                    </a:lnTo>
                    <a:lnTo>
                      <a:pt x="795" y="131"/>
                    </a:lnTo>
                    <a:lnTo>
                      <a:pt x="795" y="133"/>
                    </a:lnTo>
                    <a:lnTo>
                      <a:pt x="797" y="133"/>
                    </a:lnTo>
                    <a:lnTo>
                      <a:pt x="795" y="133"/>
                    </a:lnTo>
                    <a:lnTo>
                      <a:pt x="795" y="135"/>
                    </a:lnTo>
                    <a:lnTo>
                      <a:pt x="795" y="137"/>
                    </a:lnTo>
                    <a:lnTo>
                      <a:pt x="795" y="139"/>
                    </a:lnTo>
                    <a:lnTo>
                      <a:pt x="795" y="141"/>
                    </a:lnTo>
                    <a:lnTo>
                      <a:pt x="795" y="143"/>
                    </a:lnTo>
                    <a:lnTo>
                      <a:pt x="793" y="143"/>
                    </a:lnTo>
                    <a:lnTo>
                      <a:pt x="791" y="143"/>
                    </a:lnTo>
                    <a:lnTo>
                      <a:pt x="789" y="143"/>
                    </a:lnTo>
                    <a:lnTo>
                      <a:pt x="789" y="145"/>
                    </a:lnTo>
                    <a:lnTo>
                      <a:pt x="787" y="145"/>
                    </a:lnTo>
                    <a:lnTo>
                      <a:pt x="787" y="147"/>
                    </a:lnTo>
                    <a:lnTo>
                      <a:pt x="785" y="147"/>
                    </a:lnTo>
                    <a:lnTo>
                      <a:pt x="787" y="147"/>
                    </a:lnTo>
                    <a:lnTo>
                      <a:pt x="785" y="147"/>
                    </a:lnTo>
                    <a:lnTo>
                      <a:pt x="785" y="148"/>
                    </a:lnTo>
                    <a:lnTo>
                      <a:pt x="785" y="147"/>
                    </a:lnTo>
                    <a:lnTo>
                      <a:pt x="787" y="147"/>
                    </a:lnTo>
                    <a:lnTo>
                      <a:pt x="787" y="148"/>
                    </a:lnTo>
                    <a:lnTo>
                      <a:pt x="785" y="148"/>
                    </a:lnTo>
                    <a:lnTo>
                      <a:pt x="787" y="148"/>
                    </a:lnTo>
                    <a:lnTo>
                      <a:pt x="787" y="147"/>
                    </a:lnTo>
                    <a:lnTo>
                      <a:pt x="785" y="147"/>
                    </a:lnTo>
                    <a:lnTo>
                      <a:pt x="787" y="147"/>
                    </a:lnTo>
                    <a:lnTo>
                      <a:pt x="785" y="147"/>
                    </a:lnTo>
                    <a:lnTo>
                      <a:pt x="787" y="147"/>
                    </a:lnTo>
                    <a:lnTo>
                      <a:pt x="787" y="145"/>
                    </a:lnTo>
                    <a:lnTo>
                      <a:pt x="789" y="145"/>
                    </a:lnTo>
                    <a:lnTo>
                      <a:pt x="791" y="145"/>
                    </a:lnTo>
                    <a:lnTo>
                      <a:pt x="789" y="147"/>
                    </a:lnTo>
                    <a:lnTo>
                      <a:pt x="789" y="148"/>
                    </a:lnTo>
                    <a:lnTo>
                      <a:pt x="791" y="148"/>
                    </a:lnTo>
                    <a:lnTo>
                      <a:pt x="789" y="148"/>
                    </a:lnTo>
                    <a:lnTo>
                      <a:pt x="789" y="150"/>
                    </a:lnTo>
                    <a:lnTo>
                      <a:pt x="789" y="148"/>
                    </a:lnTo>
                    <a:lnTo>
                      <a:pt x="787" y="148"/>
                    </a:lnTo>
                    <a:lnTo>
                      <a:pt x="787" y="150"/>
                    </a:lnTo>
                    <a:lnTo>
                      <a:pt x="785" y="150"/>
                    </a:lnTo>
                    <a:lnTo>
                      <a:pt x="787" y="150"/>
                    </a:lnTo>
                    <a:lnTo>
                      <a:pt x="785" y="150"/>
                    </a:lnTo>
                    <a:lnTo>
                      <a:pt x="787" y="150"/>
                    </a:lnTo>
                    <a:lnTo>
                      <a:pt x="789" y="150"/>
                    </a:lnTo>
                    <a:lnTo>
                      <a:pt x="787" y="150"/>
                    </a:lnTo>
                    <a:lnTo>
                      <a:pt x="787" y="148"/>
                    </a:lnTo>
                    <a:lnTo>
                      <a:pt x="789" y="148"/>
                    </a:lnTo>
                    <a:lnTo>
                      <a:pt x="789" y="150"/>
                    </a:lnTo>
                    <a:lnTo>
                      <a:pt x="789" y="148"/>
                    </a:lnTo>
                    <a:lnTo>
                      <a:pt x="791" y="148"/>
                    </a:lnTo>
                    <a:lnTo>
                      <a:pt x="791" y="147"/>
                    </a:lnTo>
                    <a:lnTo>
                      <a:pt x="789" y="147"/>
                    </a:lnTo>
                    <a:lnTo>
                      <a:pt x="791" y="147"/>
                    </a:lnTo>
                    <a:lnTo>
                      <a:pt x="793" y="147"/>
                    </a:lnTo>
                    <a:lnTo>
                      <a:pt x="795" y="147"/>
                    </a:lnTo>
                    <a:lnTo>
                      <a:pt x="797" y="147"/>
                    </a:lnTo>
                    <a:lnTo>
                      <a:pt x="799" y="147"/>
                    </a:lnTo>
                    <a:lnTo>
                      <a:pt x="799" y="145"/>
                    </a:lnTo>
                    <a:lnTo>
                      <a:pt x="801" y="143"/>
                    </a:lnTo>
                    <a:lnTo>
                      <a:pt x="801" y="141"/>
                    </a:lnTo>
                    <a:lnTo>
                      <a:pt x="801" y="143"/>
                    </a:lnTo>
                    <a:lnTo>
                      <a:pt x="801" y="141"/>
                    </a:lnTo>
                    <a:lnTo>
                      <a:pt x="803" y="139"/>
                    </a:lnTo>
                    <a:lnTo>
                      <a:pt x="803" y="141"/>
                    </a:lnTo>
                    <a:lnTo>
                      <a:pt x="803" y="139"/>
                    </a:lnTo>
                    <a:lnTo>
                      <a:pt x="805" y="137"/>
                    </a:lnTo>
                    <a:lnTo>
                      <a:pt x="807" y="135"/>
                    </a:lnTo>
                    <a:lnTo>
                      <a:pt x="809" y="135"/>
                    </a:lnTo>
                    <a:lnTo>
                      <a:pt x="809" y="133"/>
                    </a:lnTo>
                    <a:lnTo>
                      <a:pt x="810" y="133"/>
                    </a:lnTo>
                    <a:lnTo>
                      <a:pt x="810" y="131"/>
                    </a:lnTo>
                    <a:lnTo>
                      <a:pt x="812" y="131"/>
                    </a:lnTo>
                    <a:lnTo>
                      <a:pt x="814" y="129"/>
                    </a:lnTo>
                    <a:lnTo>
                      <a:pt x="816" y="129"/>
                    </a:lnTo>
                    <a:lnTo>
                      <a:pt x="816" y="127"/>
                    </a:lnTo>
                    <a:lnTo>
                      <a:pt x="818" y="127"/>
                    </a:lnTo>
                    <a:lnTo>
                      <a:pt x="820" y="125"/>
                    </a:lnTo>
                    <a:lnTo>
                      <a:pt x="824" y="123"/>
                    </a:lnTo>
                    <a:lnTo>
                      <a:pt x="826" y="122"/>
                    </a:lnTo>
                    <a:lnTo>
                      <a:pt x="828" y="120"/>
                    </a:lnTo>
                    <a:lnTo>
                      <a:pt x="830" y="120"/>
                    </a:lnTo>
                    <a:lnTo>
                      <a:pt x="832" y="118"/>
                    </a:lnTo>
                    <a:lnTo>
                      <a:pt x="833" y="116"/>
                    </a:lnTo>
                    <a:lnTo>
                      <a:pt x="835" y="116"/>
                    </a:lnTo>
                    <a:lnTo>
                      <a:pt x="835" y="114"/>
                    </a:lnTo>
                    <a:lnTo>
                      <a:pt x="837" y="114"/>
                    </a:lnTo>
                    <a:lnTo>
                      <a:pt x="839" y="114"/>
                    </a:lnTo>
                    <a:lnTo>
                      <a:pt x="839" y="112"/>
                    </a:lnTo>
                    <a:lnTo>
                      <a:pt x="841" y="112"/>
                    </a:lnTo>
                    <a:lnTo>
                      <a:pt x="841" y="114"/>
                    </a:lnTo>
                    <a:lnTo>
                      <a:pt x="841" y="116"/>
                    </a:lnTo>
                    <a:lnTo>
                      <a:pt x="839" y="118"/>
                    </a:lnTo>
                    <a:lnTo>
                      <a:pt x="839" y="120"/>
                    </a:lnTo>
                    <a:lnTo>
                      <a:pt x="839" y="122"/>
                    </a:lnTo>
                    <a:lnTo>
                      <a:pt x="839" y="123"/>
                    </a:lnTo>
                    <a:lnTo>
                      <a:pt x="839" y="125"/>
                    </a:lnTo>
                    <a:lnTo>
                      <a:pt x="839" y="127"/>
                    </a:lnTo>
                    <a:lnTo>
                      <a:pt x="839" y="129"/>
                    </a:lnTo>
                    <a:lnTo>
                      <a:pt x="837" y="131"/>
                    </a:lnTo>
                    <a:lnTo>
                      <a:pt x="837" y="133"/>
                    </a:lnTo>
                    <a:lnTo>
                      <a:pt x="835" y="133"/>
                    </a:lnTo>
                    <a:lnTo>
                      <a:pt x="837" y="133"/>
                    </a:lnTo>
                    <a:lnTo>
                      <a:pt x="837" y="135"/>
                    </a:lnTo>
                    <a:lnTo>
                      <a:pt x="835" y="137"/>
                    </a:lnTo>
                    <a:lnTo>
                      <a:pt x="835" y="139"/>
                    </a:lnTo>
                    <a:lnTo>
                      <a:pt x="835" y="141"/>
                    </a:lnTo>
                    <a:lnTo>
                      <a:pt x="833" y="143"/>
                    </a:lnTo>
                    <a:lnTo>
                      <a:pt x="833" y="145"/>
                    </a:lnTo>
                    <a:lnTo>
                      <a:pt x="833" y="143"/>
                    </a:lnTo>
                    <a:lnTo>
                      <a:pt x="833" y="141"/>
                    </a:lnTo>
                    <a:lnTo>
                      <a:pt x="832" y="141"/>
                    </a:lnTo>
                    <a:lnTo>
                      <a:pt x="832" y="139"/>
                    </a:lnTo>
                    <a:lnTo>
                      <a:pt x="830" y="137"/>
                    </a:lnTo>
                    <a:lnTo>
                      <a:pt x="830" y="135"/>
                    </a:lnTo>
                    <a:lnTo>
                      <a:pt x="832" y="135"/>
                    </a:lnTo>
                    <a:lnTo>
                      <a:pt x="832" y="137"/>
                    </a:lnTo>
                    <a:lnTo>
                      <a:pt x="832" y="135"/>
                    </a:lnTo>
                    <a:lnTo>
                      <a:pt x="832" y="133"/>
                    </a:lnTo>
                    <a:lnTo>
                      <a:pt x="832" y="131"/>
                    </a:lnTo>
                    <a:lnTo>
                      <a:pt x="833" y="131"/>
                    </a:lnTo>
                    <a:lnTo>
                      <a:pt x="833" y="129"/>
                    </a:lnTo>
                    <a:lnTo>
                      <a:pt x="833" y="127"/>
                    </a:lnTo>
                    <a:lnTo>
                      <a:pt x="833" y="129"/>
                    </a:lnTo>
                    <a:lnTo>
                      <a:pt x="833" y="127"/>
                    </a:lnTo>
                    <a:lnTo>
                      <a:pt x="832" y="127"/>
                    </a:lnTo>
                    <a:lnTo>
                      <a:pt x="832" y="129"/>
                    </a:lnTo>
                    <a:lnTo>
                      <a:pt x="832" y="127"/>
                    </a:lnTo>
                    <a:lnTo>
                      <a:pt x="830" y="127"/>
                    </a:lnTo>
                    <a:lnTo>
                      <a:pt x="830" y="129"/>
                    </a:lnTo>
                    <a:lnTo>
                      <a:pt x="828" y="129"/>
                    </a:lnTo>
                    <a:lnTo>
                      <a:pt x="828" y="131"/>
                    </a:lnTo>
                    <a:lnTo>
                      <a:pt x="830" y="131"/>
                    </a:lnTo>
                    <a:lnTo>
                      <a:pt x="830" y="129"/>
                    </a:lnTo>
                    <a:lnTo>
                      <a:pt x="830" y="131"/>
                    </a:lnTo>
                    <a:lnTo>
                      <a:pt x="828" y="131"/>
                    </a:lnTo>
                    <a:lnTo>
                      <a:pt x="828" y="133"/>
                    </a:lnTo>
                    <a:lnTo>
                      <a:pt x="828" y="131"/>
                    </a:lnTo>
                    <a:lnTo>
                      <a:pt x="828" y="133"/>
                    </a:lnTo>
                    <a:lnTo>
                      <a:pt x="830" y="133"/>
                    </a:lnTo>
                    <a:lnTo>
                      <a:pt x="830" y="135"/>
                    </a:lnTo>
                    <a:lnTo>
                      <a:pt x="828" y="133"/>
                    </a:lnTo>
                    <a:lnTo>
                      <a:pt x="828" y="129"/>
                    </a:lnTo>
                    <a:lnTo>
                      <a:pt x="828" y="127"/>
                    </a:lnTo>
                    <a:lnTo>
                      <a:pt x="826" y="127"/>
                    </a:lnTo>
                    <a:lnTo>
                      <a:pt x="826" y="129"/>
                    </a:lnTo>
                    <a:lnTo>
                      <a:pt x="826" y="131"/>
                    </a:lnTo>
                    <a:lnTo>
                      <a:pt x="824" y="131"/>
                    </a:lnTo>
                    <a:lnTo>
                      <a:pt x="824" y="129"/>
                    </a:lnTo>
                    <a:lnTo>
                      <a:pt x="822" y="129"/>
                    </a:lnTo>
                    <a:lnTo>
                      <a:pt x="824" y="129"/>
                    </a:lnTo>
                    <a:lnTo>
                      <a:pt x="822" y="127"/>
                    </a:lnTo>
                    <a:lnTo>
                      <a:pt x="822" y="129"/>
                    </a:lnTo>
                    <a:lnTo>
                      <a:pt x="822" y="127"/>
                    </a:lnTo>
                    <a:lnTo>
                      <a:pt x="822" y="129"/>
                    </a:lnTo>
                    <a:lnTo>
                      <a:pt x="820" y="127"/>
                    </a:lnTo>
                    <a:lnTo>
                      <a:pt x="820" y="129"/>
                    </a:lnTo>
                    <a:lnTo>
                      <a:pt x="820" y="127"/>
                    </a:lnTo>
                    <a:lnTo>
                      <a:pt x="818" y="127"/>
                    </a:lnTo>
                    <a:lnTo>
                      <a:pt x="818" y="129"/>
                    </a:lnTo>
                    <a:lnTo>
                      <a:pt x="816" y="129"/>
                    </a:lnTo>
                    <a:lnTo>
                      <a:pt x="816" y="131"/>
                    </a:lnTo>
                    <a:lnTo>
                      <a:pt x="816" y="129"/>
                    </a:lnTo>
                    <a:lnTo>
                      <a:pt x="816" y="131"/>
                    </a:lnTo>
                    <a:lnTo>
                      <a:pt x="814" y="131"/>
                    </a:lnTo>
                    <a:lnTo>
                      <a:pt x="816" y="131"/>
                    </a:lnTo>
                    <a:lnTo>
                      <a:pt x="814" y="131"/>
                    </a:lnTo>
                    <a:lnTo>
                      <a:pt x="816" y="131"/>
                    </a:lnTo>
                    <a:lnTo>
                      <a:pt x="814" y="131"/>
                    </a:lnTo>
                    <a:lnTo>
                      <a:pt x="816" y="131"/>
                    </a:lnTo>
                    <a:lnTo>
                      <a:pt x="816" y="129"/>
                    </a:lnTo>
                    <a:lnTo>
                      <a:pt x="818" y="129"/>
                    </a:lnTo>
                    <a:lnTo>
                      <a:pt x="818" y="131"/>
                    </a:lnTo>
                    <a:lnTo>
                      <a:pt x="818" y="129"/>
                    </a:lnTo>
                    <a:lnTo>
                      <a:pt x="818" y="131"/>
                    </a:lnTo>
                    <a:lnTo>
                      <a:pt x="820" y="131"/>
                    </a:lnTo>
                    <a:lnTo>
                      <a:pt x="820" y="129"/>
                    </a:lnTo>
                    <a:lnTo>
                      <a:pt x="822" y="129"/>
                    </a:lnTo>
                    <a:lnTo>
                      <a:pt x="822" y="131"/>
                    </a:lnTo>
                    <a:lnTo>
                      <a:pt x="822" y="133"/>
                    </a:lnTo>
                    <a:lnTo>
                      <a:pt x="820" y="133"/>
                    </a:lnTo>
                    <a:lnTo>
                      <a:pt x="822" y="133"/>
                    </a:lnTo>
                    <a:lnTo>
                      <a:pt x="820" y="135"/>
                    </a:lnTo>
                    <a:lnTo>
                      <a:pt x="822" y="135"/>
                    </a:lnTo>
                    <a:lnTo>
                      <a:pt x="822" y="137"/>
                    </a:lnTo>
                    <a:lnTo>
                      <a:pt x="820" y="137"/>
                    </a:lnTo>
                    <a:lnTo>
                      <a:pt x="822" y="137"/>
                    </a:lnTo>
                    <a:lnTo>
                      <a:pt x="822" y="139"/>
                    </a:lnTo>
                    <a:lnTo>
                      <a:pt x="824" y="139"/>
                    </a:lnTo>
                    <a:lnTo>
                      <a:pt x="824" y="141"/>
                    </a:lnTo>
                    <a:lnTo>
                      <a:pt x="824" y="139"/>
                    </a:lnTo>
                    <a:lnTo>
                      <a:pt x="826" y="139"/>
                    </a:lnTo>
                    <a:lnTo>
                      <a:pt x="828" y="139"/>
                    </a:lnTo>
                    <a:lnTo>
                      <a:pt x="828" y="141"/>
                    </a:lnTo>
                    <a:lnTo>
                      <a:pt x="830" y="141"/>
                    </a:lnTo>
                    <a:lnTo>
                      <a:pt x="830" y="143"/>
                    </a:lnTo>
                    <a:lnTo>
                      <a:pt x="830" y="145"/>
                    </a:lnTo>
                    <a:lnTo>
                      <a:pt x="828" y="145"/>
                    </a:lnTo>
                    <a:lnTo>
                      <a:pt x="826" y="145"/>
                    </a:lnTo>
                    <a:lnTo>
                      <a:pt x="826" y="147"/>
                    </a:lnTo>
                    <a:lnTo>
                      <a:pt x="824" y="147"/>
                    </a:lnTo>
                    <a:lnTo>
                      <a:pt x="824" y="148"/>
                    </a:lnTo>
                    <a:lnTo>
                      <a:pt x="822" y="148"/>
                    </a:lnTo>
                    <a:lnTo>
                      <a:pt x="822" y="150"/>
                    </a:lnTo>
                    <a:lnTo>
                      <a:pt x="820" y="150"/>
                    </a:lnTo>
                    <a:lnTo>
                      <a:pt x="818" y="150"/>
                    </a:lnTo>
                    <a:lnTo>
                      <a:pt x="816" y="150"/>
                    </a:lnTo>
                    <a:lnTo>
                      <a:pt x="814" y="150"/>
                    </a:lnTo>
                    <a:lnTo>
                      <a:pt x="812" y="150"/>
                    </a:lnTo>
                    <a:lnTo>
                      <a:pt x="812" y="148"/>
                    </a:lnTo>
                    <a:lnTo>
                      <a:pt x="810" y="148"/>
                    </a:lnTo>
                    <a:lnTo>
                      <a:pt x="812" y="148"/>
                    </a:lnTo>
                    <a:lnTo>
                      <a:pt x="812" y="150"/>
                    </a:lnTo>
                    <a:lnTo>
                      <a:pt x="814" y="150"/>
                    </a:lnTo>
                    <a:lnTo>
                      <a:pt x="812" y="150"/>
                    </a:lnTo>
                    <a:lnTo>
                      <a:pt x="814" y="150"/>
                    </a:lnTo>
                    <a:lnTo>
                      <a:pt x="814" y="152"/>
                    </a:lnTo>
                    <a:lnTo>
                      <a:pt x="816" y="152"/>
                    </a:lnTo>
                    <a:lnTo>
                      <a:pt x="816" y="154"/>
                    </a:lnTo>
                    <a:lnTo>
                      <a:pt x="818" y="154"/>
                    </a:lnTo>
                    <a:lnTo>
                      <a:pt x="818" y="152"/>
                    </a:lnTo>
                    <a:lnTo>
                      <a:pt x="820" y="152"/>
                    </a:lnTo>
                    <a:lnTo>
                      <a:pt x="820" y="154"/>
                    </a:lnTo>
                    <a:lnTo>
                      <a:pt x="820" y="156"/>
                    </a:lnTo>
                    <a:lnTo>
                      <a:pt x="818" y="156"/>
                    </a:lnTo>
                    <a:lnTo>
                      <a:pt x="818" y="158"/>
                    </a:lnTo>
                    <a:lnTo>
                      <a:pt x="818" y="160"/>
                    </a:lnTo>
                    <a:lnTo>
                      <a:pt x="816" y="160"/>
                    </a:lnTo>
                    <a:lnTo>
                      <a:pt x="816" y="162"/>
                    </a:lnTo>
                    <a:lnTo>
                      <a:pt x="818" y="162"/>
                    </a:lnTo>
                    <a:lnTo>
                      <a:pt x="818" y="164"/>
                    </a:lnTo>
                    <a:lnTo>
                      <a:pt x="820" y="166"/>
                    </a:lnTo>
                    <a:lnTo>
                      <a:pt x="818" y="168"/>
                    </a:lnTo>
                    <a:lnTo>
                      <a:pt x="818" y="166"/>
                    </a:lnTo>
                    <a:lnTo>
                      <a:pt x="816" y="166"/>
                    </a:lnTo>
                    <a:lnTo>
                      <a:pt x="816" y="168"/>
                    </a:lnTo>
                    <a:lnTo>
                      <a:pt x="816" y="166"/>
                    </a:lnTo>
                    <a:lnTo>
                      <a:pt x="818" y="166"/>
                    </a:lnTo>
                    <a:lnTo>
                      <a:pt x="818" y="168"/>
                    </a:lnTo>
                    <a:lnTo>
                      <a:pt x="816" y="166"/>
                    </a:lnTo>
                    <a:lnTo>
                      <a:pt x="816" y="168"/>
                    </a:lnTo>
                    <a:lnTo>
                      <a:pt x="816" y="170"/>
                    </a:lnTo>
                    <a:lnTo>
                      <a:pt x="816" y="168"/>
                    </a:lnTo>
                    <a:lnTo>
                      <a:pt x="818" y="168"/>
                    </a:lnTo>
                    <a:lnTo>
                      <a:pt x="816" y="168"/>
                    </a:lnTo>
                    <a:lnTo>
                      <a:pt x="816" y="170"/>
                    </a:lnTo>
                    <a:lnTo>
                      <a:pt x="818" y="170"/>
                    </a:lnTo>
                    <a:lnTo>
                      <a:pt x="818" y="172"/>
                    </a:lnTo>
                    <a:lnTo>
                      <a:pt x="818" y="170"/>
                    </a:lnTo>
                    <a:lnTo>
                      <a:pt x="816" y="170"/>
                    </a:lnTo>
                    <a:lnTo>
                      <a:pt x="816" y="172"/>
                    </a:lnTo>
                    <a:lnTo>
                      <a:pt x="816" y="170"/>
                    </a:lnTo>
                    <a:lnTo>
                      <a:pt x="814" y="172"/>
                    </a:lnTo>
                    <a:lnTo>
                      <a:pt x="816" y="172"/>
                    </a:lnTo>
                    <a:lnTo>
                      <a:pt x="814" y="172"/>
                    </a:lnTo>
                    <a:lnTo>
                      <a:pt x="816" y="172"/>
                    </a:lnTo>
                    <a:lnTo>
                      <a:pt x="816" y="173"/>
                    </a:lnTo>
                    <a:lnTo>
                      <a:pt x="814" y="173"/>
                    </a:lnTo>
                    <a:lnTo>
                      <a:pt x="816" y="173"/>
                    </a:lnTo>
                    <a:lnTo>
                      <a:pt x="816" y="175"/>
                    </a:lnTo>
                    <a:lnTo>
                      <a:pt x="818" y="173"/>
                    </a:lnTo>
                    <a:lnTo>
                      <a:pt x="818" y="175"/>
                    </a:lnTo>
                    <a:lnTo>
                      <a:pt x="816" y="175"/>
                    </a:lnTo>
                    <a:lnTo>
                      <a:pt x="818" y="175"/>
                    </a:lnTo>
                    <a:lnTo>
                      <a:pt x="818" y="177"/>
                    </a:lnTo>
                    <a:lnTo>
                      <a:pt x="816" y="179"/>
                    </a:lnTo>
                    <a:lnTo>
                      <a:pt x="818" y="179"/>
                    </a:lnTo>
                    <a:lnTo>
                      <a:pt x="818" y="181"/>
                    </a:lnTo>
                    <a:lnTo>
                      <a:pt x="820" y="179"/>
                    </a:lnTo>
                    <a:lnTo>
                      <a:pt x="820" y="181"/>
                    </a:lnTo>
                    <a:lnTo>
                      <a:pt x="818" y="181"/>
                    </a:lnTo>
                    <a:lnTo>
                      <a:pt x="816" y="181"/>
                    </a:lnTo>
                    <a:lnTo>
                      <a:pt x="816" y="183"/>
                    </a:lnTo>
                    <a:lnTo>
                      <a:pt x="818" y="183"/>
                    </a:lnTo>
                    <a:lnTo>
                      <a:pt x="816" y="183"/>
                    </a:lnTo>
                    <a:lnTo>
                      <a:pt x="818" y="183"/>
                    </a:lnTo>
                    <a:lnTo>
                      <a:pt x="818" y="185"/>
                    </a:lnTo>
                    <a:lnTo>
                      <a:pt x="816" y="185"/>
                    </a:lnTo>
                    <a:lnTo>
                      <a:pt x="818" y="185"/>
                    </a:lnTo>
                    <a:lnTo>
                      <a:pt x="818" y="187"/>
                    </a:lnTo>
                    <a:lnTo>
                      <a:pt x="816" y="187"/>
                    </a:lnTo>
                    <a:lnTo>
                      <a:pt x="818" y="187"/>
                    </a:lnTo>
                    <a:lnTo>
                      <a:pt x="818" y="189"/>
                    </a:lnTo>
                    <a:lnTo>
                      <a:pt x="820" y="189"/>
                    </a:lnTo>
                    <a:lnTo>
                      <a:pt x="818" y="189"/>
                    </a:lnTo>
                    <a:lnTo>
                      <a:pt x="820" y="189"/>
                    </a:lnTo>
                    <a:lnTo>
                      <a:pt x="822" y="189"/>
                    </a:lnTo>
                    <a:lnTo>
                      <a:pt x="820" y="189"/>
                    </a:lnTo>
                    <a:lnTo>
                      <a:pt x="820" y="191"/>
                    </a:lnTo>
                    <a:lnTo>
                      <a:pt x="822" y="191"/>
                    </a:lnTo>
                    <a:lnTo>
                      <a:pt x="820" y="191"/>
                    </a:lnTo>
                    <a:lnTo>
                      <a:pt x="820" y="193"/>
                    </a:lnTo>
                    <a:lnTo>
                      <a:pt x="818" y="193"/>
                    </a:lnTo>
                    <a:lnTo>
                      <a:pt x="820" y="193"/>
                    </a:lnTo>
                    <a:lnTo>
                      <a:pt x="820" y="195"/>
                    </a:lnTo>
                    <a:lnTo>
                      <a:pt x="820" y="193"/>
                    </a:lnTo>
                    <a:lnTo>
                      <a:pt x="822" y="195"/>
                    </a:lnTo>
                    <a:lnTo>
                      <a:pt x="824" y="195"/>
                    </a:lnTo>
                    <a:lnTo>
                      <a:pt x="822" y="195"/>
                    </a:lnTo>
                    <a:lnTo>
                      <a:pt x="822" y="197"/>
                    </a:lnTo>
                    <a:lnTo>
                      <a:pt x="824" y="197"/>
                    </a:lnTo>
                    <a:lnTo>
                      <a:pt x="824" y="195"/>
                    </a:lnTo>
                    <a:lnTo>
                      <a:pt x="824" y="197"/>
                    </a:lnTo>
                    <a:lnTo>
                      <a:pt x="826" y="197"/>
                    </a:lnTo>
                    <a:lnTo>
                      <a:pt x="828" y="197"/>
                    </a:lnTo>
                    <a:lnTo>
                      <a:pt x="826" y="197"/>
                    </a:lnTo>
                    <a:lnTo>
                      <a:pt x="828" y="197"/>
                    </a:lnTo>
                    <a:lnTo>
                      <a:pt x="826" y="197"/>
                    </a:lnTo>
                    <a:lnTo>
                      <a:pt x="826" y="198"/>
                    </a:lnTo>
                    <a:lnTo>
                      <a:pt x="828" y="198"/>
                    </a:lnTo>
                    <a:lnTo>
                      <a:pt x="826" y="198"/>
                    </a:lnTo>
                    <a:lnTo>
                      <a:pt x="826" y="200"/>
                    </a:lnTo>
                    <a:lnTo>
                      <a:pt x="826" y="198"/>
                    </a:lnTo>
                    <a:lnTo>
                      <a:pt x="824" y="198"/>
                    </a:lnTo>
                    <a:lnTo>
                      <a:pt x="826" y="198"/>
                    </a:lnTo>
                    <a:lnTo>
                      <a:pt x="826" y="200"/>
                    </a:lnTo>
                    <a:lnTo>
                      <a:pt x="826" y="198"/>
                    </a:lnTo>
                    <a:lnTo>
                      <a:pt x="828" y="198"/>
                    </a:lnTo>
                    <a:lnTo>
                      <a:pt x="826" y="198"/>
                    </a:lnTo>
                    <a:lnTo>
                      <a:pt x="826" y="197"/>
                    </a:lnTo>
                    <a:lnTo>
                      <a:pt x="828" y="197"/>
                    </a:lnTo>
                    <a:lnTo>
                      <a:pt x="826" y="197"/>
                    </a:lnTo>
                    <a:lnTo>
                      <a:pt x="828" y="197"/>
                    </a:lnTo>
                    <a:lnTo>
                      <a:pt x="826" y="197"/>
                    </a:lnTo>
                    <a:lnTo>
                      <a:pt x="824" y="197"/>
                    </a:lnTo>
                    <a:lnTo>
                      <a:pt x="824" y="195"/>
                    </a:lnTo>
                    <a:lnTo>
                      <a:pt x="824" y="197"/>
                    </a:lnTo>
                    <a:lnTo>
                      <a:pt x="822" y="197"/>
                    </a:lnTo>
                    <a:lnTo>
                      <a:pt x="824" y="195"/>
                    </a:lnTo>
                    <a:lnTo>
                      <a:pt x="822" y="195"/>
                    </a:lnTo>
                    <a:lnTo>
                      <a:pt x="820" y="195"/>
                    </a:lnTo>
                    <a:lnTo>
                      <a:pt x="820" y="193"/>
                    </a:lnTo>
                    <a:lnTo>
                      <a:pt x="820" y="195"/>
                    </a:lnTo>
                    <a:lnTo>
                      <a:pt x="820" y="193"/>
                    </a:lnTo>
                    <a:lnTo>
                      <a:pt x="820" y="191"/>
                    </a:lnTo>
                    <a:lnTo>
                      <a:pt x="822" y="191"/>
                    </a:lnTo>
                    <a:lnTo>
                      <a:pt x="820" y="191"/>
                    </a:lnTo>
                    <a:lnTo>
                      <a:pt x="820" y="189"/>
                    </a:lnTo>
                    <a:lnTo>
                      <a:pt x="822" y="189"/>
                    </a:lnTo>
                    <a:lnTo>
                      <a:pt x="820" y="189"/>
                    </a:lnTo>
                    <a:lnTo>
                      <a:pt x="818" y="189"/>
                    </a:lnTo>
                    <a:lnTo>
                      <a:pt x="820" y="189"/>
                    </a:lnTo>
                    <a:lnTo>
                      <a:pt x="818" y="189"/>
                    </a:lnTo>
                    <a:lnTo>
                      <a:pt x="818" y="187"/>
                    </a:lnTo>
                    <a:lnTo>
                      <a:pt x="816" y="187"/>
                    </a:lnTo>
                    <a:lnTo>
                      <a:pt x="818" y="187"/>
                    </a:lnTo>
                    <a:lnTo>
                      <a:pt x="818" y="185"/>
                    </a:lnTo>
                    <a:lnTo>
                      <a:pt x="816" y="185"/>
                    </a:lnTo>
                    <a:lnTo>
                      <a:pt x="818" y="185"/>
                    </a:lnTo>
                    <a:lnTo>
                      <a:pt x="818" y="183"/>
                    </a:lnTo>
                    <a:lnTo>
                      <a:pt x="816" y="183"/>
                    </a:lnTo>
                    <a:lnTo>
                      <a:pt x="818" y="183"/>
                    </a:lnTo>
                    <a:lnTo>
                      <a:pt x="816" y="183"/>
                    </a:lnTo>
                    <a:lnTo>
                      <a:pt x="816" y="181"/>
                    </a:lnTo>
                    <a:lnTo>
                      <a:pt x="818" y="181"/>
                    </a:lnTo>
                    <a:lnTo>
                      <a:pt x="820" y="181"/>
                    </a:lnTo>
                    <a:lnTo>
                      <a:pt x="820" y="179"/>
                    </a:lnTo>
                    <a:lnTo>
                      <a:pt x="818" y="181"/>
                    </a:lnTo>
                    <a:lnTo>
                      <a:pt x="818" y="179"/>
                    </a:lnTo>
                    <a:lnTo>
                      <a:pt x="820" y="179"/>
                    </a:lnTo>
                    <a:lnTo>
                      <a:pt x="818" y="179"/>
                    </a:lnTo>
                    <a:lnTo>
                      <a:pt x="816" y="179"/>
                    </a:lnTo>
                    <a:lnTo>
                      <a:pt x="818" y="179"/>
                    </a:lnTo>
                    <a:lnTo>
                      <a:pt x="818" y="177"/>
                    </a:lnTo>
                    <a:lnTo>
                      <a:pt x="818" y="175"/>
                    </a:lnTo>
                    <a:lnTo>
                      <a:pt x="816" y="175"/>
                    </a:lnTo>
                    <a:lnTo>
                      <a:pt x="818" y="175"/>
                    </a:lnTo>
                    <a:lnTo>
                      <a:pt x="818" y="173"/>
                    </a:lnTo>
                    <a:lnTo>
                      <a:pt x="816" y="173"/>
                    </a:lnTo>
                    <a:lnTo>
                      <a:pt x="816" y="175"/>
                    </a:lnTo>
                    <a:lnTo>
                      <a:pt x="816" y="173"/>
                    </a:lnTo>
                    <a:lnTo>
                      <a:pt x="814" y="173"/>
                    </a:lnTo>
                    <a:lnTo>
                      <a:pt x="816" y="173"/>
                    </a:lnTo>
                    <a:lnTo>
                      <a:pt x="816" y="172"/>
                    </a:lnTo>
                    <a:lnTo>
                      <a:pt x="814" y="172"/>
                    </a:lnTo>
                    <a:lnTo>
                      <a:pt x="816" y="172"/>
                    </a:lnTo>
                    <a:lnTo>
                      <a:pt x="816" y="170"/>
                    </a:lnTo>
                    <a:lnTo>
                      <a:pt x="816" y="172"/>
                    </a:lnTo>
                    <a:lnTo>
                      <a:pt x="818" y="170"/>
                    </a:lnTo>
                    <a:lnTo>
                      <a:pt x="818" y="172"/>
                    </a:lnTo>
                    <a:lnTo>
                      <a:pt x="818" y="170"/>
                    </a:lnTo>
                    <a:lnTo>
                      <a:pt x="816" y="170"/>
                    </a:lnTo>
                    <a:lnTo>
                      <a:pt x="816" y="168"/>
                    </a:lnTo>
                    <a:lnTo>
                      <a:pt x="818" y="168"/>
                    </a:lnTo>
                    <a:lnTo>
                      <a:pt x="820" y="168"/>
                    </a:lnTo>
                    <a:lnTo>
                      <a:pt x="820" y="166"/>
                    </a:lnTo>
                    <a:lnTo>
                      <a:pt x="820" y="164"/>
                    </a:lnTo>
                    <a:lnTo>
                      <a:pt x="820" y="162"/>
                    </a:lnTo>
                    <a:lnTo>
                      <a:pt x="820" y="164"/>
                    </a:lnTo>
                    <a:lnTo>
                      <a:pt x="822" y="164"/>
                    </a:lnTo>
                    <a:lnTo>
                      <a:pt x="822" y="166"/>
                    </a:lnTo>
                    <a:lnTo>
                      <a:pt x="822" y="164"/>
                    </a:lnTo>
                    <a:lnTo>
                      <a:pt x="822" y="162"/>
                    </a:lnTo>
                    <a:lnTo>
                      <a:pt x="824" y="162"/>
                    </a:lnTo>
                    <a:lnTo>
                      <a:pt x="826" y="162"/>
                    </a:lnTo>
                    <a:lnTo>
                      <a:pt x="826" y="160"/>
                    </a:lnTo>
                    <a:lnTo>
                      <a:pt x="828" y="162"/>
                    </a:lnTo>
                    <a:lnTo>
                      <a:pt x="830" y="162"/>
                    </a:lnTo>
                    <a:lnTo>
                      <a:pt x="830" y="164"/>
                    </a:lnTo>
                    <a:lnTo>
                      <a:pt x="830" y="166"/>
                    </a:lnTo>
                    <a:lnTo>
                      <a:pt x="830" y="168"/>
                    </a:lnTo>
                    <a:lnTo>
                      <a:pt x="830" y="170"/>
                    </a:lnTo>
                    <a:lnTo>
                      <a:pt x="830" y="172"/>
                    </a:lnTo>
                    <a:lnTo>
                      <a:pt x="832" y="172"/>
                    </a:lnTo>
                    <a:lnTo>
                      <a:pt x="830" y="172"/>
                    </a:lnTo>
                    <a:lnTo>
                      <a:pt x="830" y="173"/>
                    </a:lnTo>
                    <a:lnTo>
                      <a:pt x="832" y="173"/>
                    </a:lnTo>
                    <a:lnTo>
                      <a:pt x="833" y="173"/>
                    </a:lnTo>
                    <a:lnTo>
                      <a:pt x="833" y="175"/>
                    </a:lnTo>
                    <a:lnTo>
                      <a:pt x="832" y="175"/>
                    </a:lnTo>
                    <a:lnTo>
                      <a:pt x="833" y="175"/>
                    </a:lnTo>
                    <a:lnTo>
                      <a:pt x="835" y="175"/>
                    </a:lnTo>
                    <a:lnTo>
                      <a:pt x="833" y="175"/>
                    </a:lnTo>
                    <a:lnTo>
                      <a:pt x="832" y="175"/>
                    </a:lnTo>
                    <a:lnTo>
                      <a:pt x="833" y="175"/>
                    </a:lnTo>
                    <a:lnTo>
                      <a:pt x="833" y="173"/>
                    </a:lnTo>
                    <a:lnTo>
                      <a:pt x="832" y="173"/>
                    </a:lnTo>
                    <a:lnTo>
                      <a:pt x="830" y="173"/>
                    </a:lnTo>
                    <a:lnTo>
                      <a:pt x="830" y="172"/>
                    </a:lnTo>
                    <a:lnTo>
                      <a:pt x="832" y="172"/>
                    </a:lnTo>
                    <a:lnTo>
                      <a:pt x="830" y="172"/>
                    </a:lnTo>
                    <a:lnTo>
                      <a:pt x="830" y="170"/>
                    </a:lnTo>
                    <a:lnTo>
                      <a:pt x="830" y="168"/>
                    </a:lnTo>
                    <a:lnTo>
                      <a:pt x="830" y="166"/>
                    </a:lnTo>
                    <a:lnTo>
                      <a:pt x="830" y="164"/>
                    </a:lnTo>
                    <a:lnTo>
                      <a:pt x="830" y="162"/>
                    </a:lnTo>
                    <a:lnTo>
                      <a:pt x="828" y="162"/>
                    </a:lnTo>
                    <a:lnTo>
                      <a:pt x="828" y="160"/>
                    </a:lnTo>
                    <a:lnTo>
                      <a:pt x="830" y="160"/>
                    </a:lnTo>
                    <a:lnTo>
                      <a:pt x="830" y="158"/>
                    </a:lnTo>
                    <a:lnTo>
                      <a:pt x="830" y="156"/>
                    </a:lnTo>
                    <a:lnTo>
                      <a:pt x="832" y="156"/>
                    </a:lnTo>
                    <a:lnTo>
                      <a:pt x="832" y="154"/>
                    </a:lnTo>
                    <a:lnTo>
                      <a:pt x="833" y="154"/>
                    </a:lnTo>
                    <a:lnTo>
                      <a:pt x="835" y="154"/>
                    </a:lnTo>
                    <a:lnTo>
                      <a:pt x="835" y="152"/>
                    </a:lnTo>
                    <a:lnTo>
                      <a:pt x="835" y="150"/>
                    </a:lnTo>
                    <a:lnTo>
                      <a:pt x="837" y="150"/>
                    </a:lnTo>
                    <a:lnTo>
                      <a:pt x="837" y="148"/>
                    </a:lnTo>
                    <a:lnTo>
                      <a:pt x="839" y="147"/>
                    </a:lnTo>
                    <a:lnTo>
                      <a:pt x="839" y="145"/>
                    </a:lnTo>
                    <a:lnTo>
                      <a:pt x="839" y="143"/>
                    </a:lnTo>
                    <a:lnTo>
                      <a:pt x="839" y="141"/>
                    </a:lnTo>
                    <a:lnTo>
                      <a:pt x="841" y="141"/>
                    </a:lnTo>
                    <a:lnTo>
                      <a:pt x="841" y="139"/>
                    </a:lnTo>
                    <a:lnTo>
                      <a:pt x="841" y="141"/>
                    </a:lnTo>
                    <a:lnTo>
                      <a:pt x="841" y="139"/>
                    </a:lnTo>
                    <a:lnTo>
                      <a:pt x="841" y="141"/>
                    </a:lnTo>
                    <a:lnTo>
                      <a:pt x="839" y="141"/>
                    </a:lnTo>
                    <a:lnTo>
                      <a:pt x="839" y="139"/>
                    </a:lnTo>
                    <a:lnTo>
                      <a:pt x="841" y="137"/>
                    </a:lnTo>
                    <a:lnTo>
                      <a:pt x="841" y="139"/>
                    </a:lnTo>
                    <a:lnTo>
                      <a:pt x="841" y="137"/>
                    </a:lnTo>
                    <a:lnTo>
                      <a:pt x="843" y="137"/>
                    </a:lnTo>
                    <a:lnTo>
                      <a:pt x="841" y="137"/>
                    </a:lnTo>
                    <a:lnTo>
                      <a:pt x="843" y="137"/>
                    </a:lnTo>
                    <a:lnTo>
                      <a:pt x="841" y="137"/>
                    </a:lnTo>
                    <a:lnTo>
                      <a:pt x="839" y="137"/>
                    </a:lnTo>
                    <a:lnTo>
                      <a:pt x="841" y="135"/>
                    </a:lnTo>
                    <a:lnTo>
                      <a:pt x="841" y="133"/>
                    </a:lnTo>
                    <a:lnTo>
                      <a:pt x="841" y="131"/>
                    </a:lnTo>
                    <a:lnTo>
                      <a:pt x="841" y="127"/>
                    </a:lnTo>
                    <a:lnTo>
                      <a:pt x="841" y="125"/>
                    </a:lnTo>
                    <a:lnTo>
                      <a:pt x="843" y="125"/>
                    </a:lnTo>
                    <a:lnTo>
                      <a:pt x="843" y="123"/>
                    </a:lnTo>
                    <a:lnTo>
                      <a:pt x="843" y="122"/>
                    </a:lnTo>
                    <a:lnTo>
                      <a:pt x="841" y="122"/>
                    </a:lnTo>
                    <a:lnTo>
                      <a:pt x="841" y="120"/>
                    </a:lnTo>
                    <a:lnTo>
                      <a:pt x="843" y="118"/>
                    </a:lnTo>
                    <a:lnTo>
                      <a:pt x="843" y="116"/>
                    </a:lnTo>
                    <a:lnTo>
                      <a:pt x="843" y="114"/>
                    </a:lnTo>
                    <a:lnTo>
                      <a:pt x="845" y="114"/>
                    </a:lnTo>
                    <a:lnTo>
                      <a:pt x="845" y="112"/>
                    </a:lnTo>
                    <a:lnTo>
                      <a:pt x="845" y="110"/>
                    </a:lnTo>
                    <a:lnTo>
                      <a:pt x="847" y="108"/>
                    </a:lnTo>
                    <a:lnTo>
                      <a:pt x="849" y="106"/>
                    </a:lnTo>
                    <a:lnTo>
                      <a:pt x="851" y="106"/>
                    </a:lnTo>
                    <a:lnTo>
                      <a:pt x="851" y="104"/>
                    </a:lnTo>
                    <a:lnTo>
                      <a:pt x="853" y="104"/>
                    </a:lnTo>
                    <a:lnTo>
                      <a:pt x="855" y="102"/>
                    </a:lnTo>
                    <a:lnTo>
                      <a:pt x="857" y="102"/>
                    </a:lnTo>
                    <a:lnTo>
                      <a:pt x="858" y="102"/>
                    </a:lnTo>
                    <a:lnTo>
                      <a:pt x="858" y="100"/>
                    </a:lnTo>
                    <a:lnTo>
                      <a:pt x="860" y="100"/>
                    </a:lnTo>
                    <a:lnTo>
                      <a:pt x="862" y="98"/>
                    </a:lnTo>
                    <a:lnTo>
                      <a:pt x="864" y="97"/>
                    </a:lnTo>
                    <a:lnTo>
                      <a:pt x="866" y="97"/>
                    </a:lnTo>
                    <a:lnTo>
                      <a:pt x="868" y="95"/>
                    </a:lnTo>
                    <a:lnTo>
                      <a:pt x="870" y="95"/>
                    </a:lnTo>
                    <a:lnTo>
                      <a:pt x="872" y="95"/>
                    </a:lnTo>
                    <a:lnTo>
                      <a:pt x="874" y="95"/>
                    </a:lnTo>
                    <a:lnTo>
                      <a:pt x="876" y="93"/>
                    </a:lnTo>
                    <a:lnTo>
                      <a:pt x="878" y="93"/>
                    </a:lnTo>
                    <a:lnTo>
                      <a:pt x="880" y="93"/>
                    </a:lnTo>
                    <a:lnTo>
                      <a:pt x="882" y="93"/>
                    </a:lnTo>
                    <a:lnTo>
                      <a:pt x="882" y="91"/>
                    </a:lnTo>
                    <a:lnTo>
                      <a:pt x="882" y="93"/>
                    </a:lnTo>
                    <a:lnTo>
                      <a:pt x="882" y="91"/>
                    </a:lnTo>
                    <a:lnTo>
                      <a:pt x="883" y="91"/>
                    </a:lnTo>
                    <a:lnTo>
                      <a:pt x="885" y="91"/>
                    </a:lnTo>
                    <a:lnTo>
                      <a:pt x="887" y="91"/>
                    </a:lnTo>
                    <a:lnTo>
                      <a:pt x="889" y="91"/>
                    </a:lnTo>
                    <a:lnTo>
                      <a:pt x="889" y="89"/>
                    </a:lnTo>
                    <a:lnTo>
                      <a:pt x="891" y="89"/>
                    </a:lnTo>
                    <a:lnTo>
                      <a:pt x="893" y="89"/>
                    </a:lnTo>
                    <a:lnTo>
                      <a:pt x="895" y="89"/>
                    </a:lnTo>
                    <a:lnTo>
                      <a:pt x="897" y="89"/>
                    </a:lnTo>
                    <a:lnTo>
                      <a:pt x="895" y="89"/>
                    </a:lnTo>
                    <a:lnTo>
                      <a:pt x="897" y="89"/>
                    </a:lnTo>
                    <a:lnTo>
                      <a:pt x="899" y="89"/>
                    </a:lnTo>
                    <a:lnTo>
                      <a:pt x="903" y="91"/>
                    </a:lnTo>
                    <a:lnTo>
                      <a:pt x="905" y="91"/>
                    </a:lnTo>
                    <a:lnTo>
                      <a:pt x="906" y="91"/>
                    </a:lnTo>
                    <a:lnTo>
                      <a:pt x="908" y="91"/>
                    </a:lnTo>
                    <a:lnTo>
                      <a:pt x="908" y="93"/>
                    </a:lnTo>
                    <a:lnTo>
                      <a:pt x="910" y="93"/>
                    </a:lnTo>
                    <a:lnTo>
                      <a:pt x="912" y="93"/>
                    </a:lnTo>
                    <a:lnTo>
                      <a:pt x="912" y="95"/>
                    </a:lnTo>
                    <a:lnTo>
                      <a:pt x="912" y="93"/>
                    </a:lnTo>
                    <a:lnTo>
                      <a:pt x="912" y="95"/>
                    </a:lnTo>
                    <a:lnTo>
                      <a:pt x="914" y="95"/>
                    </a:lnTo>
                    <a:lnTo>
                      <a:pt x="914" y="97"/>
                    </a:lnTo>
                    <a:lnTo>
                      <a:pt x="914" y="98"/>
                    </a:lnTo>
                    <a:lnTo>
                      <a:pt x="914" y="100"/>
                    </a:lnTo>
                    <a:lnTo>
                      <a:pt x="912" y="100"/>
                    </a:lnTo>
                    <a:lnTo>
                      <a:pt x="912" y="102"/>
                    </a:lnTo>
                    <a:lnTo>
                      <a:pt x="910" y="104"/>
                    </a:lnTo>
                    <a:lnTo>
                      <a:pt x="910" y="106"/>
                    </a:lnTo>
                    <a:lnTo>
                      <a:pt x="908" y="106"/>
                    </a:lnTo>
                    <a:lnTo>
                      <a:pt x="906" y="104"/>
                    </a:lnTo>
                    <a:lnTo>
                      <a:pt x="906" y="106"/>
                    </a:lnTo>
                    <a:lnTo>
                      <a:pt x="906" y="104"/>
                    </a:lnTo>
                    <a:lnTo>
                      <a:pt x="905" y="104"/>
                    </a:lnTo>
                    <a:lnTo>
                      <a:pt x="903" y="102"/>
                    </a:lnTo>
                    <a:lnTo>
                      <a:pt x="901" y="102"/>
                    </a:lnTo>
                    <a:lnTo>
                      <a:pt x="901" y="104"/>
                    </a:lnTo>
                    <a:lnTo>
                      <a:pt x="901" y="106"/>
                    </a:lnTo>
                    <a:lnTo>
                      <a:pt x="899" y="106"/>
                    </a:lnTo>
                    <a:lnTo>
                      <a:pt x="899" y="108"/>
                    </a:lnTo>
                    <a:lnTo>
                      <a:pt x="899" y="110"/>
                    </a:lnTo>
                    <a:lnTo>
                      <a:pt x="899" y="112"/>
                    </a:lnTo>
                    <a:lnTo>
                      <a:pt x="897" y="112"/>
                    </a:lnTo>
                    <a:lnTo>
                      <a:pt x="897" y="114"/>
                    </a:lnTo>
                    <a:lnTo>
                      <a:pt x="895" y="114"/>
                    </a:lnTo>
                    <a:lnTo>
                      <a:pt x="893" y="114"/>
                    </a:lnTo>
                    <a:lnTo>
                      <a:pt x="891" y="112"/>
                    </a:lnTo>
                    <a:lnTo>
                      <a:pt x="889" y="112"/>
                    </a:lnTo>
                    <a:lnTo>
                      <a:pt x="889" y="114"/>
                    </a:lnTo>
                    <a:lnTo>
                      <a:pt x="889" y="116"/>
                    </a:lnTo>
                    <a:lnTo>
                      <a:pt x="891" y="116"/>
                    </a:lnTo>
                    <a:lnTo>
                      <a:pt x="891" y="118"/>
                    </a:lnTo>
                    <a:lnTo>
                      <a:pt x="893" y="118"/>
                    </a:lnTo>
                    <a:lnTo>
                      <a:pt x="893" y="120"/>
                    </a:lnTo>
                    <a:lnTo>
                      <a:pt x="891" y="120"/>
                    </a:lnTo>
                    <a:lnTo>
                      <a:pt x="893" y="120"/>
                    </a:lnTo>
                    <a:lnTo>
                      <a:pt x="893" y="118"/>
                    </a:lnTo>
                    <a:lnTo>
                      <a:pt x="891" y="118"/>
                    </a:lnTo>
                    <a:lnTo>
                      <a:pt x="891" y="116"/>
                    </a:lnTo>
                    <a:lnTo>
                      <a:pt x="889" y="114"/>
                    </a:lnTo>
                    <a:lnTo>
                      <a:pt x="889" y="112"/>
                    </a:lnTo>
                    <a:lnTo>
                      <a:pt x="891" y="112"/>
                    </a:lnTo>
                    <a:lnTo>
                      <a:pt x="891" y="114"/>
                    </a:lnTo>
                    <a:lnTo>
                      <a:pt x="893" y="114"/>
                    </a:lnTo>
                    <a:lnTo>
                      <a:pt x="895" y="114"/>
                    </a:lnTo>
                    <a:lnTo>
                      <a:pt x="897" y="114"/>
                    </a:lnTo>
                    <a:lnTo>
                      <a:pt x="897" y="116"/>
                    </a:lnTo>
                    <a:lnTo>
                      <a:pt x="899" y="118"/>
                    </a:lnTo>
                    <a:lnTo>
                      <a:pt x="897" y="118"/>
                    </a:lnTo>
                    <a:lnTo>
                      <a:pt x="895" y="118"/>
                    </a:lnTo>
                    <a:lnTo>
                      <a:pt x="895" y="120"/>
                    </a:lnTo>
                    <a:lnTo>
                      <a:pt x="895" y="122"/>
                    </a:lnTo>
                    <a:lnTo>
                      <a:pt x="895" y="123"/>
                    </a:lnTo>
                    <a:lnTo>
                      <a:pt x="897" y="125"/>
                    </a:lnTo>
                    <a:lnTo>
                      <a:pt x="895" y="125"/>
                    </a:lnTo>
                    <a:lnTo>
                      <a:pt x="895" y="127"/>
                    </a:lnTo>
                    <a:lnTo>
                      <a:pt x="895" y="129"/>
                    </a:lnTo>
                    <a:lnTo>
                      <a:pt x="897" y="129"/>
                    </a:lnTo>
                    <a:lnTo>
                      <a:pt x="897" y="131"/>
                    </a:lnTo>
                    <a:lnTo>
                      <a:pt x="897" y="133"/>
                    </a:lnTo>
                    <a:lnTo>
                      <a:pt x="899" y="133"/>
                    </a:lnTo>
                    <a:lnTo>
                      <a:pt x="899" y="135"/>
                    </a:lnTo>
                    <a:lnTo>
                      <a:pt x="897" y="135"/>
                    </a:lnTo>
                    <a:lnTo>
                      <a:pt x="895" y="135"/>
                    </a:lnTo>
                    <a:lnTo>
                      <a:pt x="895" y="133"/>
                    </a:lnTo>
                    <a:lnTo>
                      <a:pt x="897" y="133"/>
                    </a:lnTo>
                    <a:lnTo>
                      <a:pt x="895" y="133"/>
                    </a:lnTo>
                    <a:lnTo>
                      <a:pt x="895" y="135"/>
                    </a:lnTo>
                    <a:lnTo>
                      <a:pt x="897" y="135"/>
                    </a:lnTo>
                    <a:lnTo>
                      <a:pt x="899" y="135"/>
                    </a:lnTo>
                    <a:lnTo>
                      <a:pt x="899" y="133"/>
                    </a:lnTo>
                    <a:lnTo>
                      <a:pt x="897" y="131"/>
                    </a:lnTo>
                    <a:lnTo>
                      <a:pt x="897" y="129"/>
                    </a:lnTo>
                    <a:lnTo>
                      <a:pt x="895" y="129"/>
                    </a:lnTo>
                    <a:lnTo>
                      <a:pt x="895" y="127"/>
                    </a:lnTo>
                    <a:lnTo>
                      <a:pt x="895" y="125"/>
                    </a:lnTo>
                    <a:lnTo>
                      <a:pt x="897" y="125"/>
                    </a:lnTo>
                    <a:lnTo>
                      <a:pt x="897" y="123"/>
                    </a:lnTo>
                    <a:lnTo>
                      <a:pt x="895" y="122"/>
                    </a:lnTo>
                    <a:lnTo>
                      <a:pt x="895" y="120"/>
                    </a:lnTo>
                    <a:lnTo>
                      <a:pt x="897" y="120"/>
                    </a:lnTo>
                    <a:lnTo>
                      <a:pt x="897" y="118"/>
                    </a:lnTo>
                    <a:lnTo>
                      <a:pt x="897" y="120"/>
                    </a:lnTo>
                    <a:lnTo>
                      <a:pt x="899" y="120"/>
                    </a:lnTo>
                    <a:lnTo>
                      <a:pt x="899" y="118"/>
                    </a:lnTo>
                    <a:lnTo>
                      <a:pt x="899" y="120"/>
                    </a:lnTo>
                    <a:lnTo>
                      <a:pt x="901" y="120"/>
                    </a:lnTo>
                    <a:lnTo>
                      <a:pt x="903" y="120"/>
                    </a:lnTo>
                    <a:lnTo>
                      <a:pt x="905" y="122"/>
                    </a:lnTo>
                    <a:lnTo>
                      <a:pt x="905" y="123"/>
                    </a:lnTo>
                    <a:lnTo>
                      <a:pt x="906" y="123"/>
                    </a:lnTo>
                    <a:lnTo>
                      <a:pt x="908" y="123"/>
                    </a:lnTo>
                    <a:lnTo>
                      <a:pt x="906" y="125"/>
                    </a:lnTo>
                    <a:lnTo>
                      <a:pt x="908" y="125"/>
                    </a:lnTo>
                    <a:lnTo>
                      <a:pt x="908" y="127"/>
                    </a:lnTo>
                    <a:lnTo>
                      <a:pt x="910" y="127"/>
                    </a:lnTo>
                    <a:lnTo>
                      <a:pt x="912" y="129"/>
                    </a:lnTo>
                    <a:lnTo>
                      <a:pt x="910" y="127"/>
                    </a:lnTo>
                    <a:lnTo>
                      <a:pt x="908" y="125"/>
                    </a:lnTo>
                    <a:lnTo>
                      <a:pt x="906" y="125"/>
                    </a:lnTo>
                    <a:lnTo>
                      <a:pt x="908" y="123"/>
                    </a:lnTo>
                    <a:lnTo>
                      <a:pt x="906" y="123"/>
                    </a:lnTo>
                    <a:lnTo>
                      <a:pt x="905" y="123"/>
                    </a:lnTo>
                    <a:lnTo>
                      <a:pt x="905" y="122"/>
                    </a:lnTo>
                    <a:lnTo>
                      <a:pt x="903" y="120"/>
                    </a:lnTo>
                    <a:lnTo>
                      <a:pt x="901" y="120"/>
                    </a:lnTo>
                    <a:lnTo>
                      <a:pt x="899" y="118"/>
                    </a:lnTo>
                    <a:lnTo>
                      <a:pt x="899" y="120"/>
                    </a:lnTo>
                    <a:lnTo>
                      <a:pt x="899" y="118"/>
                    </a:lnTo>
                    <a:lnTo>
                      <a:pt x="901" y="118"/>
                    </a:lnTo>
                    <a:lnTo>
                      <a:pt x="901" y="116"/>
                    </a:lnTo>
                    <a:lnTo>
                      <a:pt x="903" y="116"/>
                    </a:lnTo>
                    <a:lnTo>
                      <a:pt x="905" y="114"/>
                    </a:lnTo>
                    <a:lnTo>
                      <a:pt x="906" y="114"/>
                    </a:lnTo>
                    <a:lnTo>
                      <a:pt x="908" y="114"/>
                    </a:lnTo>
                    <a:lnTo>
                      <a:pt x="910" y="114"/>
                    </a:lnTo>
                    <a:lnTo>
                      <a:pt x="910" y="112"/>
                    </a:lnTo>
                    <a:lnTo>
                      <a:pt x="912" y="112"/>
                    </a:lnTo>
                    <a:lnTo>
                      <a:pt x="912" y="110"/>
                    </a:lnTo>
                    <a:lnTo>
                      <a:pt x="914" y="110"/>
                    </a:lnTo>
                    <a:lnTo>
                      <a:pt x="914" y="112"/>
                    </a:lnTo>
                    <a:lnTo>
                      <a:pt x="916" y="112"/>
                    </a:lnTo>
                    <a:lnTo>
                      <a:pt x="918" y="112"/>
                    </a:lnTo>
                    <a:lnTo>
                      <a:pt x="918" y="114"/>
                    </a:lnTo>
                    <a:lnTo>
                      <a:pt x="920" y="114"/>
                    </a:lnTo>
                    <a:lnTo>
                      <a:pt x="920" y="116"/>
                    </a:lnTo>
                    <a:lnTo>
                      <a:pt x="922" y="118"/>
                    </a:lnTo>
                    <a:lnTo>
                      <a:pt x="920" y="120"/>
                    </a:lnTo>
                    <a:lnTo>
                      <a:pt x="920" y="122"/>
                    </a:lnTo>
                    <a:lnTo>
                      <a:pt x="920" y="123"/>
                    </a:lnTo>
                    <a:lnTo>
                      <a:pt x="918" y="123"/>
                    </a:lnTo>
                    <a:lnTo>
                      <a:pt x="918" y="125"/>
                    </a:lnTo>
                    <a:lnTo>
                      <a:pt x="918" y="127"/>
                    </a:lnTo>
                    <a:lnTo>
                      <a:pt x="916" y="127"/>
                    </a:lnTo>
                    <a:lnTo>
                      <a:pt x="916" y="129"/>
                    </a:lnTo>
                    <a:lnTo>
                      <a:pt x="918" y="129"/>
                    </a:lnTo>
                    <a:lnTo>
                      <a:pt x="916" y="129"/>
                    </a:lnTo>
                    <a:lnTo>
                      <a:pt x="918" y="129"/>
                    </a:lnTo>
                    <a:lnTo>
                      <a:pt x="920" y="129"/>
                    </a:lnTo>
                    <a:lnTo>
                      <a:pt x="918" y="129"/>
                    </a:lnTo>
                    <a:lnTo>
                      <a:pt x="920" y="129"/>
                    </a:lnTo>
                    <a:lnTo>
                      <a:pt x="920" y="131"/>
                    </a:lnTo>
                    <a:lnTo>
                      <a:pt x="920" y="133"/>
                    </a:lnTo>
                    <a:lnTo>
                      <a:pt x="920" y="131"/>
                    </a:lnTo>
                    <a:lnTo>
                      <a:pt x="920" y="133"/>
                    </a:lnTo>
                    <a:lnTo>
                      <a:pt x="922" y="135"/>
                    </a:lnTo>
                    <a:lnTo>
                      <a:pt x="920" y="137"/>
                    </a:lnTo>
                    <a:lnTo>
                      <a:pt x="920" y="139"/>
                    </a:lnTo>
                    <a:lnTo>
                      <a:pt x="920" y="137"/>
                    </a:lnTo>
                    <a:lnTo>
                      <a:pt x="920" y="139"/>
                    </a:lnTo>
                    <a:lnTo>
                      <a:pt x="922" y="139"/>
                    </a:lnTo>
                    <a:lnTo>
                      <a:pt x="920" y="141"/>
                    </a:lnTo>
                    <a:lnTo>
                      <a:pt x="920" y="143"/>
                    </a:lnTo>
                    <a:lnTo>
                      <a:pt x="920" y="141"/>
                    </a:lnTo>
                    <a:lnTo>
                      <a:pt x="922" y="143"/>
                    </a:lnTo>
                    <a:lnTo>
                      <a:pt x="920" y="145"/>
                    </a:lnTo>
                    <a:lnTo>
                      <a:pt x="920" y="147"/>
                    </a:lnTo>
                    <a:lnTo>
                      <a:pt x="920" y="148"/>
                    </a:lnTo>
                    <a:lnTo>
                      <a:pt x="918" y="148"/>
                    </a:lnTo>
                    <a:lnTo>
                      <a:pt x="920" y="148"/>
                    </a:lnTo>
                    <a:lnTo>
                      <a:pt x="920" y="150"/>
                    </a:lnTo>
                    <a:lnTo>
                      <a:pt x="920" y="148"/>
                    </a:lnTo>
                    <a:lnTo>
                      <a:pt x="920" y="150"/>
                    </a:lnTo>
                    <a:lnTo>
                      <a:pt x="918" y="152"/>
                    </a:lnTo>
                    <a:lnTo>
                      <a:pt x="916" y="152"/>
                    </a:lnTo>
                    <a:lnTo>
                      <a:pt x="916" y="154"/>
                    </a:lnTo>
                    <a:lnTo>
                      <a:pt x="918" y="154"/>
                    </a:lnTo>
                    <a:lnTo>
                      <a:pt x="918" y="152"/>
                    </a:lnTo>
                    <a:lnTo>
                      <a:pt x="918" y="154"/>
                    </a:lnTo>
                    <a:lnTo>
                      <a:pt x="916" y="154"/>
                    </a:lnTo>
                    <a:lnTo>
                      <a:pt x="916" y="156"/>
                    </a:lnTo>
                    <a:lnTo>
                      <a:pt x="918" y="156"/>
                    </a:lnTo>
                    <a:lnTo>
                      <a:pt x="916" y="156"/>
                    </a:lnTo>
                    <a:lnTo>
                      <a:pt x="916" y="158"/>
                    </a:lnTo>
                    <a:lnTo>
                      <a:pt x="914" y="158"/>
                    </a:lnTo>
                    <a:lnTo>
                      <a:pt x="912" y="158"/>
                    </a:lnTo>
                    <a:lnTo>
                      <a:pt x="912" y="160"/>
                    </a:lnTo>
                    <a:lnTo>
                      <a:pt x="914" y="160"/>
                    </a:lnTo>
                    <a:lnTo>
                      <a:pt x="912" y="160"/>
                    </a:lnTo>
                    <a:lnTo>
                      <a:pt x="912" y="162"/>
                    </a:lnTo>
                    <a:lnTo>
                      <a:pt x="912" y="164"/>
                    </a:lnTo>
                    <a:lnTo>
                      <a:pt x="912" y="162"/>
                    </a:lnTo>
                    <a:lnTo>
                      <a:pt x="912" y="164"/>
                    </a:lnTo>
                    <a:lnTo>
                      <a:pt x="914" y="164"/>
                    </a:lnTo>
                    <a:lnTo>
                      <a:pt x="912" y="164"/>
                    </a:lnTo>
                    <a:lnTo>
                      <a:pt x="914" y="164"/>
                    </a:lnTo>
                    <a:lnTo>
                      <a:pt x="914" y="166"/>
                    </a:lnTo>
                    <a:lnTo>
                      <a:pt x="912" y="166"/>
                    </a:lnTo>
                    <a:lnTo>
                      <a:pt x="912" y="164"/>
                    </a:lnTo>
                    <a:lnTo>
                      <a:pt x="912" y="166"/>
                    </a:lnTo>
                    <a:lnTo>
                      <a:pt x="910" y="166"/>
                    </a:lnTo>
                    <a:lnTo>
                      <a:pt x="912" y="166"/>
                    </a:lnTo>
                    <a:lnTo>
                      <a:pt x="912" y="164"/>
                    </a:lnTo>
                    <a:lnTo>
                      <a:pt x="912" y="166"/>
                    </a:lnTo>
                    <a:lnTo>
                      <a:pt x="910" y="166"/>
                    </a:lnTo>
                    <a:lnTo>
                      <a:pt x="912" y="166"/>
                    </a:lnTo>
                    <a:lnTo>
                      <a:pt x="910" y="168"/>
                    </a:lnTo>
                    <a:lnTo>
                      <a:pt x="910" y="170"/>
                    </a:lnTo>
                    <a:lnTo>
                      <a:pt x="908" y="170"/>
                    </a:lnTo>
                    <a:lnTo>
                      <a:pt x="910" y="170"/>
                    </a:lnTo>
                    <a:lnTo>
                      <a:pt x="910" y="172"/>
                    </a:lnTo>
                    <a:lnTo>
                      <a:pt x="910" y="173"/>
                    </a:lnTo>
                    <a:lnTo>
                      <a:pt x="908" y="173"/>
                    </a:lnTo>
                    <a:lnTo>
                      <a:pt x="908" y="172"/>
                    </a:lnTo>
                    <a:lnTo>
                      <a:pt x="908" y="173"/>
                    </a:lnTo>
                    <a:lnTo>
                      <a:pt x="908" y="175"/>
                    </a:lnTo>
                    <a:lnTo>
                      <a:pt x="906" y="175"/>
                    </a:lnTo>
                    <a:lnTo>
                      <a:pt x="905" y="175"/>
                    </a:lnTo>
                    <a:lnTo>
                      <a:pt x="905" y="177"/>
                    </a:lnTo>
                    <a:lnTo>
                      <a:pt x="903" y="177"/>
                    </a:lnTo>
                    <a:lnTo>
                      <a:pt x="903" y="175"/>
                    </a:lnTo>
                    <a:lnTo>
                      <a:pt x="901" y="175"/>
                    </a:lnTo>
                    <a:lnTo>
                      <a:pt x="901" y="177"/>
                    </a:lnTo>
                    <a:lnTo>
                      <a:pt x="901" y="175"/>
                    </a:lnTo>
                    <a:lnTo>
                      <a:pt x="901" y="177"/>
                    </a:lnTo>
                    <a:lnTo>
                      <a:pt x="901" y="175"/>
                    </a:lnTo>
                    <a:lnTo>
                      <a:pt x="901" y="177"/>
                    </a:lnTo>
                    <a:lnTo>
                      <a:pt x="899" y="175"/>
                    </a:lnTo>
                    <a:lnTo>
                      <a:pt x="899" y="177"/>
                    </a:lnTo>
                    <a:lnTo>
                      <a:pt x="899" y="175"/>
                    </a:lnTo>
                    <a:lnTo>
                      <a:pt x="899" y="177"/>
                    </a:lnTo>
                    <a:lnTo>
                      <a:pt x="897" y="177"/>
                    </a:lnTo>
                    <a:lnTo>
                      <a:pt x="899" y="177"/>
                    </a:lnTo>
                    <a:lnTo>
                      <a:pt x="897" y="177"/>
                    </a:lnTo>
                    <a:lnTo>
                      <a:pt x="897" y="175"/>
                    </a:lnTo>
                    <a:lnTo>
                      <a:pt x="899" y="175"/>
                    </a:lnTo>
                    <a:lnTo>
                      <a:pt x="897" y="175"/>
                    </a:lnTo>
                    <a:lnTo>
                      <a:pt x="899" y="175"/>
                    </a:lnTo>
                    <a:lnTo>
                      <a:pt x="897" y="175"/>
                    </a:lnTo>
                    <a:lnTo>
                      <a:pt x="897" y="177"/>
                    </a:lnTo>
                    <a:lnTo>
                      <a:pt x="897" y="175"/>
                    </a:lnTo>
                    <a:lnTo>
                      <a:pt x="897" y="177"/>
                    </a:lnTo>
                    <a:lnTo>
                      <a:pt x="895" y="177"/>
                    </a:lnTo>
                    <a:lnTo>
                      <a:pt x="895" y="175"/>
                    </a:lnTo>
                    <a:lnTo>
                      <a:pt x="895" y="177"/>
                    </a:lnTo>
                    <a:lnTo>
                      <a:pt x="893" y="177"/>
                    </a:lnTo>
                    <a:lnTo>
                      <a:pt x="895" y="177"/>
                    </a:lnTo>
                    <a:lnTo>
                      <a:pt x="895" y="175"/>
                    </a:lnTo>
                    <a:lnTo>
                      <a:pt x="895" y="177"/>
                    </a:lnTo>
                    <a:lnTo>
                      <a:pt x="897" y="177"/>
                    </a:lnTo>
                    <a:lnTo>
                      <a:pt x="899" y="177"/>
                    </a:lnTo>
                    <a:lnTo>
                      <a:pt x="899" y="175"/>
                    </a:lnTo>
                    <a:lnTo>
                      <a:pt x="899" y="177"/>
                    </a:lnTo>
                    <a:lnTo>
                      <a:pt x="899" y="175"/>
                    </a:lnTo>
                    <a:lnTo>
                      <a:pt x="901" y="177"/>
                    </a:lnTo>
                    <a:lnTo>
                      <a:pt x="901" y="175"/>
                    </a:lnTo>
                    <a:lnTo>
                      <a:pt x="901" y="177"/>
                    </a:lnTo>
                    <a:lnTo>
                      <a:pt x="901" y="175"/>
                    </a:lnTo>
                    <a:lnTo>
                      <a:pt x="901" y="177"/>
                    </a:lnTo>
                    <a:lnTo>
                      <a:pt x="901" y="175"/>
                    </a:lnTo>
                    <a:lnTo>
                      <a:pt x="903" y="175"/>
                    </a:lnTo>
                    <a:lnTo>
                      <a:pt x="903" y="177"/>
                    </a:lnTo>
                    <a:lnTo>
                      <a:pt x="905" y="177"/>
                    </a:lnTo>
                    <a:lnTo>
                      <a:pt x="905" y="175"/>
                    </a:lnTo>
                    <a:lnTo>
                      <a:pt x="905" y="177"/>
                    </a:lnTo>
                    <a:lnTo>
                      <a:pt x="906" y="175"/>
                    </a:lnTo>
                    <a:lnTo>
                      <a:pt x="908" y="175"/>
                    </a:lnTo>
                    <a:lnTo>
                      <a:pt x="910" y="175"/>
                    </a:lnTo>
                    <a:lnTo>
                      <a:pt x="908" y="175"/>
                    </a:lnTo>
                    <a:lnTo>
                      <a:pt x="910" y="175"/>
                    </a:lnTo>
                    <a:lnTo>
                      <a:pt x="910" y="177"/>
                    </a:lnTo>
                    <a:lnTo>
                      <a:pt x="912" y="179"/>
                    </a:lnTo>
                    <a:lnTo>
                      <a:pt x="910" y="179"/>
                    </a:lnTo>
                    <a:lnTo>
                      <a:pt x="908" y="179"/>
                    </a:lnTo>
                    <a:lnTo>
                      <a:pt x="908" y="181"/>
                    </a:lnTo>
                    <a:lnTo>
                      <a:pt x="906" y="183"/>
                    </a:lnTo>
                    <a:lnTo>
                      <a:pt x="905" y="183"/>
                    </a:lnTo>
                    <a:lnTo>
                      <a:pt x="906" y="183"/>
                    </a:lnTo>
                    <a:lnTo>
                      <a:pt x="906" y="185"/>
                    </a:lnTo>
                    <a:lnTo>
                      <a:pt x="908" y="185"/>
                    </a:lnTo>
                    <a:lnTo>
                      <a:pt x="906" y="185"/>
                    </a:lnTo>
                    <a:lnTo>
                      <a:pt x="905" y="185"/>
                    </a:lnTo>
                    <a:lnTo>
                      <a:pt x="905" y="187"/>
                    </a:lnTo>
                    <a:lnTo>
                      <a:pt x="905" y="189"/>
                    </a:lnTo>
                    <a:lnTo>
                      <a:pt x="903" y="189"/>
                    </a:lnTo>
                    <a:lnTo>
                      <a:pt x="901" y="189"/>
                    </a:lnTo>
                    <a:lnTo>
                      <a:pt x="903" y="189"/>
                    </a:lnTo>
                    <a:lnTo>
                      <a:pt x="901" y="191"/>
                    </a:lnTo>
                    <a:lnTo>
                      <a:pt x="901" y="189"/>
                    </a:lnTo>
                    <a:lnTo>
                      <a:pt x="901" y="191"/>
                    </a:lnTo>
                    <a:lnTo>
                      <a:pt x="899" y="191"/>
                    </a:lnTo>
                    <a:lnTo>
                      <a:pt x="901" y="193"/>
                    </a:lnTo>
                    <a:lnTo>
                      <a:pt x="899" y="193"/>
                    </a:lnTo>
                    <a:lnTo>
                      <a:pt x="901" y="193"/>
                    </a:lnTo>
                    <a:lnTo>
                      <a:pt x="899" y="193"/>
                    </a:lnTo>
                    <a:lnTo>
                      <a:pt x="899" y="195"/>
                    </a:lnTo>
                    <a:lnTo>
                      <a:pt x="899" y="193"/>
                    </a:lnTo>
                    <a:lnTo>
                      <a:pt x="901" y="193"/>
                    </a:lnTo>
                    <a:lnTo>
                      <a:pt x="899" y="193"/>
                    </a:lnTo>
                    <a:lnTo>
                      <a:pt x="901" y="193"/>
                    </a:lnTo>
                    <a:lnTo>
                      <a:pt x="899" y="191"/>
                    </a:lnTo>
                    <a:lnTo>
                      <a:pt x="901" y="191"/>
                    </a:lnTo>
                    <a:lnTo>
                      <a:pt x="903" y="191"/>
                    </a:lnTo>
                    <a:lnTo>
                      <a:pt x="905" y="191"/>
                    </a:lnTo>
                    <a:lnTo>
                      <a:pt x="905" y="193"/>
                    </a:lnTo>
                    <a:lnTo>
                      <a:pt x="903" y="193"/>
                    </a:lnTo>
                    <a:lnTo>
                      <a:pt x="901" y="193"/>
                    </a:lnTo>
                    <a:lnTo>
                      <a:pt x="903" y="195"/>
                    </a:lnTo>
                    <a:lnTo>
                      <a:pt x="901" y="195"/>
                    </a:lnTo>
                    <a:lnTo>
                      <a:pt x="899" y="197"/>
                    </a:lnTo>
                    <a:lnTo>
                      <a:pt x="901" y="197"/>
                    </a:lnTo>
                    <a:lnTo>
                      <a:pt x="899" y="197"/>
                    </a:lnTo>
                    <a:lnTo>
                      <a:pt x="899" y="198"/>
                    </a:lnTo>
                    <a:lnTo>
                      <a:pt x="901" y="198"/>
                    </a:lnTo>
                    <a:lnTo>
                      <a:pt x="899" y="198"/>
                    </a:lnTo>
                    <a:lnTo>
                      <a:pt x="899" y="200"/>
                    </a:lnTo>
                    <a:lnTo>
                      <a:pt x="897" y="200"/>
                    </a:lnTo>
                    <a:lnTo>
                      <a:pt x="895" y="200"/>
                    </a:lnTo>
                    <a:lnTo>
                      <a:pt x="895" y="202"/>
                    </a:lnTo>
                    <a:lnTo>
                      <a:pt x="895" y="204"/>
                    </a:lnTo>
                    <a:lnTo>
                      <a:pt x="895" y="206"/>
                    </a:lnTo>
                    <a:lnTo>
                      <a:pt x="895" y="208"/>
                    </a:lnTo>
                    <a:lnTo>
                      <a:pt x="895" y="206"/>
                    </a:lnTo>
                    <a:lnTo>
                      <a:pt x="897" y="206"/>
                    </a:lnTo>
                    <a:lnTo>
                      <a:pt x="897" y="208"/>
                    </a:lnTo>
                    <a:lnTo>
                      <a:pt x="895" y="208"/>
                    </a:lnTo>
                    <a:lnTo>
                      <a:pt x="895" y="210"/>
                    </a:lnTo>
                    <a:lnTo>
                      <a:pt x="895" y="212"/>
                    </a:lnTo>
                    <a:lnTo>
                      <a:pt x="895" y="214"/>
                    </a:lnTo>
                    <a:lnTo>
                      <a:pt x="895" y="216"/>
                    </a:lnTo>
                    <a:lnTo>
                      <a:pt x="895" y="214"/>
                    </a:lnTo>
                    <a:lnTo>
                      <a:pt x="895" y="216"/>
                    </a:lnTo>
                    <a:lnTo>
                      <a:pt x="895" y="214"/>
                    </a:lnTo>
                    <a:lnTo>
                      <a:pt x="897" y="214"/>
                    </a:lnTo>
                    <a:lnTo>
                      <a:pt x="895" y="214"/>
                    </a:lnTo>
                    <a:lnTo>
                      <a:pt x="897" y="214"/>
                    </a:lnTo>
                    <a:lnTo>
                      <a:pt x="897" y="216"/>
                    </a:lnTo>
                    <a:lnTo>
                      <a:pt x="895" y="216"/>
                    </a:lnTo>
                    <a:lnTo>
                      <a:pt x="897" y="216"/>
                    </a:lnTo>
                    <a:lnTo>
                      <a:pt x="895" y="216"/>
                    </a:lnTo>
                    <a:lnTo>
                      <a:pt x="897" y="216"/>
                    </a:lnTo>
                    <a:lnTo>
                      <a:pt x="895" y="216"/>
                    </a:lnTo>
                    <a:lnTo>
                      <a:pt x="895" y="218"/>
                    </a:lnTo>
                    <a:lnTo>
                      <a:pt x="895" y="216"/>
                    </a:lnTo>
                    <a:lnTo>
                      <a:pt x="895" y="218"/>
                    </a:lnTo>
                    <a:lnTo>
                      <a:pt x="897" y="218"/>
                    </a:lnTo>
                    <a:lnTo>
                      <a:pt x="895" y="218"/>
                    </a:lnTo>
                    <a:lnTo>
                      <a:pt x="895" y="220"/>
                    </a:lnTo>
                    <a:lnTo>
                      <a:pt x="895" y="218"/>
                    </a:lnTo>
                    <a:lnTo>
                      <a:pt x="897" y="218"/>
                    </a:lnTo>
                    <a:lnTo>
                      <a:pt x="895" y="218"/>
                    </a:lnTo>
                    <a:lnTo>
                      <a:pt x="895" y="216"/>
                    </a:lnTo>
                    <a:lnTo>
                      <a:pt x="895" y="218"/>
                    </a:lnTo>
                    <a:lnTo>
                      <a:pt x="895" y="216"/>
                    </a:lnTo>
                    <a:lnTo>
                      <a:pt x="897" y="216"/>
                    </a:lnTo>
                    <a:lnTo>
                      <a:pt x="895" y="216"/>
                    </a:lnTo>
                    <a:lnTo>
                      <a:pt x="897" y="216"/>
                    </a:lnTo>
                    <a:lnTo>
                      <a:pt x="897" y="214"/>
                    </a:lnTo>
                    <a:lnTo>
                      <a:pt x="895" y="214"/>
                    </a:lnTo>
                    <a:lnTo>
                      <a:pt x="897" y="214"/>
                    </a:lnTo>
                    <a:lnTo>
                      <a:pt x="895" y="214"/>
                    </a:lnTo>
                    <a:lnTo>
                      <a:pt x="895" y="212"/>
                    </a:lnTo>
                    <a:lnTo>
                      <a:pt x="895" y="210"/>
                    </a:lnTo>
                    <a:lnTo>
                      <a:pt x="895" y="208"/>
                    </a:lnTo>
                    <a:lnTo>
                      <a:pt x="897" y="208"/>
                    </a:lnTo>
                    <a:lnTo>
                      <a:pt x="897" y="206"/>
                    </a:lnTo>
                    <a:lnTo>
                      <a:pt x="895" y="206"/>
                    </a:lnTo>
                    <a:lnTo>
                      <a:pt x="895" y="204"/>
                    </a:lnTo>
                    <a:lnTo>
                      <a:pt x="895" y="206"/>
                    </a:lnTo>
                    <a:lnTo>
                      <a:pt x="895" y="204"/>
                    </a:lnTo>
                    <a:lnTo>
                      <a:pt x="895" y="202"/>
                    </a:lnTo>
                    <a:lnTo>
                      <a:pt x="895" y="200"/>
                    </a:lnTo>
                    <a:lnTo>
                      <a:pt x="897" y="200"/>
                    </a:lnTo>
                    <a:lnTo>
                      <a:pt x="899" y="200"/>
                    </a:lnTo>
                    <a:lnTo>
                      <a:pt x="901" y="200"/>
                    </a:lnTo>
                    <a:lnTo>
                      <a:pt x="901" y="198"/>
                    </a:lnTo>
                    <a:lnTo>
                      <a:pt x="901" y="200"/>
                    </a:lnTo>
                    <a:lnTo>
                      <a:pt x="901" y="198"/>
                    </a:lnTo>
                    <a:lnTo>
                      <a:pt x="901" y="200"/>
                    </a:lnTo>
                    <a:lnTo>
                      <a:pt x="903" y="200"/>
                    </a:lnTo>
                    <a:lnTo>
                      <a:pt x="903" y="202"/>
                    </a:lnTo>
                    <a:lnTo>
                      <a:pt x="903" y="200"/>
                    </a:lnTo>
                    <a:lnTo>
                      <a:pt x="905" y="200"/>
                    </a:lnTo>
                    <a:lnTo>
                      <a:pt x="903" y="200"/>
                    </a:lnTo>
                    <a:lnTo>
                      <a:pt x="901" y="200"/>
                    </a:lnTo>
                    <a:lnTo>
                      <a:pt x="901" y="198"/>
                    </a:lnTo>
                    <a:lnTo>
                      <a:pt x="901" y="200"/>
                    </a:lnTo>
                    <a:lnTo>
                      <a:pt x="901" y="198"/>
                    </a:lnTo>
                    <a:lnTo>
                      <a:pt x="899" y="198"/>
                    </a:lnTo>
                    <a:lnTo>
                      <a:pt x="901" y="198"/>
                    </a:lnTo>
                    <a:lnTo>
                      <a:pt x="899" y="198"/>
                    </a:lnTo>
                    <a:lnTo>
                      <a:pt x="899" y="197"/>
                    </a:lnTo>
                    <a:lnTo>
                      <a:pt x="901" y="197"/>
                    </a:lnTo>
                    <a:lnTo>
                      <a:pt x="901" y="195"/>
                    </a:lnTo>
                    <a:lnTo>
                      <a:pt x="903" y="195"/>
                    </a:lnTo>
                    <a:lnTo>
                      <a:pt x="903" y="197"/>
                    </a:lnTo>
                    <a:lnTo>
                      <a:pt x="903" y="198"/>
                    </a:lnTo>
                    <a:lnTo>
                      <a:pt x="905" y="198"/>
                    </a:lnTo>
                    <a:lnTo>
                      <a:pt x="905" y="200"/>
                    </a:lnTo>
                    <a:lnTo>
                      <a:pt x="905" y="202"/>
                    </a:lnTo>
                    <a:lnTo>
                      <a:pt x="906" y="202"/>
                    </a:lnTo>
                    <a:lnTo>
                      <a:pt x="906" y="204"/>
                    </a:lnTo>
                    <a:lnTo>
                      <a:pt x="908" y="204"/>
                    </a:lnTo>
                    <a:lnTo>
                      <a:pt x="908" y="206"/>
                    </a:lnTo>
                    <a:lnTo>
                      <a:pt x="908" y="208"/>
                    </a:lnTo>
                    <a:lnTo>
                      <a:pt x="906" y="208"/>
                    </a:lnTo>
                    <a:lnTo>
                      <a:pt x="906" y="210"/>
                    </a:lnTo>
                    <a:lnTo>
                      <a:pt x="908" y="210"/>
                    </a:lnTo>
                    <a:lnTo>
                      <a:pt x="910" y="210"/>
                    </a:lnTo>
                    <a:lnTo>
                      <a:pt x="912" y="210"/>
                    </a:lnTo>
                    <a:lnTo>
                      <a:pt x="912" y="212"/>
                    </a:lnTo>
                    <a:lnTo>
                      <a:pt x="912" y="214"/>
                    </a:lnTo>
                    <a:lnTo>
                      <a:pt x="910" y="214"/>
                    </a:lnTo>
                    <a:lnTo>
                      <a:pt x="908" y="214"/>
                    </a:lnTo>
                    <a:lnTo>
                      <a:pt x="908" y="216"/>
                    </a:lnTo>
                    <a:lnTo>
                      <a:pt x="910" y="216"/>
                    </a:lnTo>
                    <a:lnTo>
                      <a:pt x="912" y="214"/>
                    </a:lnTo>
                    <a:lnTo>
                      <a:pt x="912" y="216"/>
                    </a:lnTo>
                    <a:lnTo>
                      <a:pt x="912" y="218"/>
                    </a:lnTo>
                    <a:lnTo>
                      <a:pt x="914" y="218"/>
                    </a:lnTo>
                    <a:lnTo>
                      <a:pt x="916" y="216"/>
                    </a:lnTo>
                    <a:lnTo>
                      <a:pt x="918" y="216"/>
                    </a:lnTo>
                    <a:lnTo>
                      <a:pt x="918" y="218"/>
                    </a:lnTo>
                    <a:lnTo>
                      <a:pt x="920" y="218"/>
                    </a:lnTo>
                    <a:lnTo>
                      <a:pt x="920" y="220"/>
                    </a:lnTo>
                    <a:lnTo>
                      <a:pt x="920" y="222"/>
                    </a:lnTo>
                    <a:lnTo>
                      <a:pt x="922" y="223"/>
                    </a:lnTo>
                    <a:lnTo>
                      <a:pt x="922" y="225"/>
                    </a:lnTo>
                    <a:lnTo>
                      <a:pt x="922" y="227"/>
                    </a:lnTo>
                    <a:lnTo>
                      <a:pt x="924" y="229"/>
                    </a:lnTo>
                    <a:lnTo>
                      <a:pt x="924" y="231"/>
                    </a:lnTo>
                    <a:lnTo>
                      <a:pt x="926" y="231"/>
                    </a:lnTo>
                    <a:lnTo>
                      <a:pt x="926" y="233"/>
                    </a:lnTo>
                    <a:lnTo>
                      <a:pt x="926" y="235"/>
                    </a:lnTo>
                    <a:lnTo>
                      <a:pt x="926" y="237"/>
                    </a:lnTo>
                    <a:lnTo>
                      <a:pt x="928" y="237"/>
                    </a:lnTo>
                    <a:lnTo>
                      <a:pt x="928" y="239"/>
                    </a:lnTo>
                    <a:lnTo>
                      <a:pt x="930" y="241"/>
                    </a:lnTo>
                    <a:lnTo>
                      <a:pt x="931" y="239"/>
                    </a:lnTo>
                    <a:lnTo>
                      <a:pt x="931" y="237"/>
                    </a:lnTo>
                    <a:lnTo>
                      <a:pt x="931" y="239"/>
                    </a:lnTo>
                    <a:lnTo>
                      <a:pt x="931" y="241"/>
                    </a:lnTo>
                    <a:lnTo>
                      <a:pt x="933" y="241"/>
                    </a:lnTo>
                    <a:lnTo>
                      <a:pt x="935" y="241"/>
                    </a:lnTo>
                    <a:lnTo>
                      <a:pt x="935" y="243"/>
                    </a:lnTo>
                    <a:lnTo>
                      <a:pt x="935" y="241"/>
                    </a:lnTo>
                    <a:lnTo>
                      <a:pt x="935" y="243"/>
                    </a:lnTo>
                    <a:lnTo>
                      <a:pt x="935" y="245"/>
                    </a:lnTo>
                    <a:lnTo>
                      <a:pt x="937" y="245"/>
                    </a:lnTo>
                    <a:lnTo>
                      <a:pt x="939" y="245"/>
                    </a:lnTo>
                    <a:lnTo>
                      <a:pt x="939" y="246"/>
                    </a:lnTo>
                    <a:lnTo>
                      <a:pt x="937" y="246"/>
                    </a:lnTo>
                    <a:lnTo>
                      <a:pt x="937" y="248"/>
                    </a:lnTo>
                    <a:lnTo>
                      <a:pt x="935" y="248"/>
                    </a:lnTo>
                    <a:lnTo>
                      <a:pt x="935" y="250"/>
                    </a:lnTo>
                    <a:lnTo>
                      <a:pt x="935" y="252"/>
                    </a:lnTo>
                    <a:lnTo>
                      <a:pt x="935" y="254"/>
                    </a:lnTo>
                    <a:lnTo>
                      <a:pt x="933" y="252"/>
                    </a:lnTo>
                    <a:lnTo>
                      <a:pt x="935" y="252"/>
                    </a:lnTo>
                    <a:lnTo>
                      <a:pt x="933" y="252"/>
                    </a:lnTo>
                    <a:lnTo>
                      <a:pt x="935" y="254"/>
                    </a:lnTo>
                    <a:lnTo>
                      <a:pt x="935" y="256"/>
                    </a:lnTo>
                    <a:lnTo>
                      <a:pt x="937" y="256"/>
                    </a:lnTo>
                    <a:lnTo>
                      <a:pt x="937" y="258"/>
                    </a:lnTo>
                    <a:lnTo>
                      <a:pt x="937" y="260"/>
                    </a:lnTo>
                    <a:lnTo>
                      <a:pt x="937" y="262"/>
                    </a:lnTo>
                    <a:lnTo>
                      <a:pt x="939" y="262"/>
                    </a:lnTo>
                    <a:lnTo>
                      <a:pt x="939" y="264"/>
                    </a:lnTo>
                    <a:lnTo>
                      <a:pt x="939" y="262"/>
                    </a:lnTo>
                    <a:lnTo>
                      <a:pt x="941" y="262"/>
                    </a:lnTo>
                    <a:lnTo>
                      <a:pt x="939" y="262"/>
                    </a:lnTo>
                    <a:lnTo>
                      <a:pt x="939" y="264"/>
                    </a:lnTo>
                    <a:lnTo>
                      <a:pt x="939" y="262"/>
                    </a:lnTo>
                    <a:lnTo>
                      <a:pt x="937" y="262"/>
                    </a:lnTo>
                    <a:lnTo>
                      <a:pt x="937" y="260"/>
                    </a:lnTo>
                    <a:lnTo>
                      <a:pt x="937" y="258"/>
                    </a:lnTo>
                    <a:lnTo>
                      <a:pt x="937" y="256"/>
                    </a:lnTo>
                    <a:lnTo>
                      <a:pt x="939" y="256"/>
                    </a:lnTo>
                    <a:lnTo>
                      <a:pt x="941" y="256"/>
                    </a:lnTo>
                    <a:lnTo>
                      <a:pt x="941" y="258"/>
                    </a:lnTo>
                    <a:lnTo>
                      <a:pt x="941" y="256"/>
                    </a:lnTo>
                    <a:lnTo>
                      <a:pt x="939" y="256"/>
                    </a:lnTo>
                    <a:lnTo>
                      <a:pt x="941" y="258"/>
                    </a:lnTo>
                    <a:lnTo>
                      <a:pt x="941" y="260"/>
                    </a:lnTo>
                    <a:lnTo>
                      <a:pt x="943" y="260"/>
                    </a:lnTo>
                    <a:lnTo>
                      <a:pt x="945" y="260"/>
                    </a:lnTo>
                    <a:lnTo>
                      <a:pt x="943" y="260"/>
                    </a:lnTo>
                    <a:lnTo>
                      <a:pt x="943" y="262"/>
                    </a:lnTo>
                    <a:lnTo>
                      <a:pt x="941" y="262"/>
                    </a:lnTo>
                    <a:lnTo>
                      <a:pt x="943" y="262"/>
                    </a:lnTo>
                    <a:lnTo>
                      <a:pt x="943" y="264"/>
                    </a:lnTo>
                    <a:lnTo>
                      <a:pt x="945" y="264"/>
                    </a:lnTo>
                    <a:lnTo>
                      <a:pt x="945" y="266"/>
                    </a:lnTo>
                    <a:lnTo>
                      <a:pt x="945" y="268"/>
                    </a:lnTo>
                    <a:lnTo>
                      <a:pt x="945" y="270"/>
                    </a:lnTo>
                    <a:lnTo>
                      <a:pt x="947" y="270"/>
                    </a:lnTo>
                    <a:lnTo>
                      <a:pt x="945" y="270"/>
                    </a:lnTo>
                    <a:lnTo>
                      <a:pt x="947" y="270"/>
                    </a:lnTo>
                    <a:lnTo>
                      <a:pt x="947" y="271"/>
                    </a:lnTo>
                    <a:lnTo>
                      <a:pt x="949" y="271"/>
                    </a:lnTo>
                    <a:lnTo>
                      <a:pt x="951" y="271"/>
                    </a:lnTo>
                    <a:lnTo>
                      <a:pt x="953" y="271"/>
                    </a:lnTo>
                    <a:lnTo>
                      <a:pt x="953" y="273"/>
                    </a:lnTo>
                    <a:lnTo>
                      <a:pt x="953" y="275"/>
                    </a:lnTo>
                    <a:lnTo>
                      <a:pt x="951" y="275"/>
                    </a:lnTo>
                    <a:lnTo>
                      <a:pt x="949" y="273"/>
                    </a:lnTo>
                    <a:lnTo>
                      <a:pt x="947" y="273"/>
                    </a:lnTo>
                    <a:lnTo>
                      <a:pt x="947" y="275"/>
                    </a:lnTo>
                    <a:lnTo>
                      <a:pt x="947" y="277"/>
                    </a:lnTo>
                    <a:lnTo>
                      <a:pt x="949" y="277"/>
                    </a:lnTo>
                    <a:lnTo>
                      <a:pt x="951" y="277"/>
                    </a:lnTo>
                    <a:lnTo>
                      <a:pt x="951" y="279"/>
                    </a:lnTo>
                    <a:lnTo>
                      <a:pt x="949" y="281"/>
                    </a:lnTo>
                    <a:lnTo>
                      <a:pt x="947" y="281"/>
                    </a:lnTo>
                    <a:lnTo>
                      <a:pt x="945" y="281"/>
                    </a:lnTo>
                    <a:lnTo>
                      <a:pt x="947" y="281"/>
                    </a:lnTo>
                    <a:lnTo>
                      <a:pt x="947" y="283"/>
                    </a:lnTo>
                    <a:lnTo>
                      <a:pt x="945" y="285"/>
                    </a:lnTo>
                    <a:lnTo>
                      <a:pt x="945" y="287"/>
                    </a:lnTo>
                    <a:lnTo>
                      <a:pt x="947" y="287"/>
                    </a:lnTo>
                    <a:lnTo>
                      <a:pt x="945" y="287"/>
                    </a:lnTo>
                    <a:lnTo>
                      <a:pt x="947" y="287"/>
                    </a:lnTo>
                    <a:lnTo>
                      <a:pt x="947" y="289"/>
                    </a:lnTo>
                    <a:lnTo>
                      <a:pt x="947" y="291"/>
                    </a:lnTo>
                    <a:lnTo>
                      <a:pt x="947" y="293"/>
                    </a:lnTo>
                    <a:lnTo>
                      <a:pt x="949" y="293"/>
                    </a:lnTo>
                    <a:lnTo>
                      <a:pt x="951" y="293"/>
                    </a:lnTo>
                    <a:lnTo>
                      <a:pt x="951" y="295"/>
                    </a:lnTo>
                    <a:lnTo>
                      <a:pt x="951" y="296"/>
                    </a:lnTo>
                    <a:lnTo>
                      <a:pt x="953" y="298"/>
                    </a:lnTo>
                    <a:lnTo>
                      <a:pt x="951" y="298"/>
                    </a:lnTo>
                    <a:lnTo>
                      <a:pt x="949" y="298"/>
                    </a:lnTo>
                    <a:lnTo>
                      <a:pt x="947" y="298"/>
                    </a:lnTo>
                    <a:lnTo>
                      <a:pt x="947" y="300"/>
                    </a:lnTo>
                    <a:lnTo>
                      <a:pt x="945" y="300"/>
                    </a:lnTo>
                    <a:lnTo>
                      <a:pt x="945" y="298"/>
                    </a:lnTo>
                    <a:lnTo>
                      <a:pt x="945" y="300"/>
                    </a:lnTo>
                    <a:lnTo>
                      <a:pt x="943" y="300"/>
                    </a:lnTo>
                    <a:lnTo>
                      <a:pt x="943" y="302"/>
                    </a:lnTo>
                    <a:lnTo>
                      <a:pt x="943" y="304"/>
                    </a:lnTo>
                    <a:lnTo>
                      <a:pt x="941" y="304"/>
                    </a:lnTo>
                    <a:lnTo>
                      <a:pt x="939" y="304"/>
                    </a:lnTo>
                    <a:lnTo>
                      <a:pt x="937" y="304"/>
                    </a:lnTo>
                    <a:lnTo>
                      <a:pt x="935" y="304"/>
                    </a:lnTo>
                    <a:lnTo>
                      <a:pt x="933" y="304"/>
                    </a:lnTo>
                    <a:lnTo>
                      <a:pt x="933" y="306"/>
                    </a:lnTo>
                    <a:lnTo>
                      <a:pt x="933" y="308"/>
                    </a:lnTo>
                    <a:lnTo>
                      <a:pt x="931" y="310"/>
                    </a:lnTo>
                    <a:lnTo>
                      <a:pt x="930" y="312"/>
                    </a:lnTo>
                    <a:lnTo>
                      <a:pt x="930" y="314"/>
                    </a:lnTo>
                    <a:lnTo>
                      <a:pt x="931" y="314"/>
                    </a:lnTo>
                    <a:lnTo>
                      <a:pt x="931" y="316"/>
                    </a:lnTo>
                    <a:lnTo>
                      <a:pt x="931" y="318"/>
                    </a:lnTo>
                    <a:lnTo>
                      <a:pt x="930" y="318"/>
                    </a:lnTo>
                    <a:lnTo>
                      <a:pt x="930" y="320"/>
                    </a:lnTo>
                    <a:lnTo>
                      <a:pt x="930" y="321"/>
                    </a:lnTo>
                    <a:lnTo>
                      <a:pt x="928" y="321"/>
                    </a:lnTo>
                    <a:lnTo>
                      <a:pt x="930" y="321"/>
                    </a:lnTo>
                    <a:lnTo>
                      <a:pt x="930" y="320"/>
                    </a:lnTo>
                    <a:lnTo>
                      <a:pt x="928" y="320"/>
                    </a:lnTo>
                    <a:lnTo>
                      <a:pt x="926" y="320"/>
                    </a:lnTo>
                    <a:lnTo>
                      <a:pt x="926" y="318"/>
                    </a:lnTo>
                    <a:lnTo>
                      <a:pt x="924" y="318"/>
                    </a:lnTo>
                    <a:lnTo>
                      <a:pt x="926" y="318"/>
                    </a:lnTo>
                    <a:lnTo>
                      <a:pt x="926" y="320"/>
                    </a:lnTo>
                    <a:lnTo>
                      <a:pt x="924" y="320"/>
                    </a:lnTo>
                    <a:lnTo>
                      <a:pt x="924" y="318"/>
                    </a:lnTo>
                    <a:lnTo>
                      <a:pt x="924" y="320"/>
                    </a:lnTo>
                    <a:lnTo>
                      <a:pt x="922" y="320"/>
                    </a:lnTo>
                    <a:lnTo>
                      <a:pt x="922" y="318"/>
                    </a:lnTo>
                    <a:lnTo>
                      <a:pt x="922" y="320"/>
                    </a:lnTo>
                    <a:lnTo>
                      <a:pt x="922" y="318"/>
                    </a:lnTo>
                    <a:lnTo>
                      <a:pt x="920" y="318"/>
                    </a:lnTo>
                    <a:lnTo>
                      <a:pt x="920" y="320"/>
                    </a:lnTo>
                    <a:lnTo>
                      <a:pt x="920" y="318"/>
                    </a:lnTo>
                    <a:lnTo>
                      <a:pt x="918" y="318"/>
                    </a:lnTo>
                    <a:lnTo>
                      <a:pt x="918" y="320"/>
                    </a:lnTo>
                    <a:lnTo>
                      <a:pt x="918" y="318"/>
                    </a:lnTo>
                    <a:lnTo>
                      <a:pt x="918" y="316"/>
                    </a:lnTo>
                    <a:lnTo>
                      <a:pt x="916" y="318"/>
                    </a:lnTo>
                    <a:lnTo>
                      <a:pt x="916" y="320"/>
                    </a:lnTo>
                    <a:lnTo>
                      <a:pt x="916" y="318"/>
                    </a:lnTo>
                    <a:lnTo>
                      <a:pt x="914" y="318"/>
                    </a:lnTo>
                    <a:lnTo>
                      <a:pt x="914" y="316"/>
                    </a:lnTo>
                    <a:lnTo>
                      <a:pt x="914" y="318"/>
                    </a:lnTo>
                    <a:lnTo>
                      <a:pt x="914" y="316"/>
                    </a:lnTo>
                    <a:lnTo>
                      <a:pt x="912" y="318"/>
                    </a:lnTo>
                    <a:lnTo>
                      <a:pt x="912" y="316"/>
                    </a:lnTo>
                    <a:lnTo>
                      <a:pt x="910" y="316"/>
                    </a:lnTo>
                    <a:lnTo>
                      <a:pt x="910" y="318"/>
                    </a:lnTo>
                    <a:lnTo>
                      <a:pt x="908" y="316"/>
                    </a:lnTo>
                    <a:lnTo>
                      <a:pt x="908" y="318"/>
                    </a:lnTo>
                    <a:lnTo>
                      <a:pt x="906" y="318"/>
                    </a:lnTo>
                    <a:lnTo>
                      <a:pt x="905" y="318"/>
                    </a:lnTo>
                    <a:lnTo>
                      <a:pt x="905" y="316"/>
                    </a:lnTo>
                    <a:lnTo>
                      <a:pt x="905" y="318"/>
                    </a:lnTo>
                    <a:lnTo>
                      <a:pt x="905" y="320"/>
                    </a:lnTo>
                    <a:lnTo>
                      <a:pt x="903" y="320"/>
                    </a:lnTo>
                    <a:lnTo>
                      <a:pt x="905" y="320"/>
                    </a:lnTo>
                    <a:lnTo>
                      <a:pt x="905" y="321"/>
                    </a:lnTo>
                    <a:lnTo>
                      <a:pt x="903" y="321"/>
                    </a:lnTo>
                    <a:lnTo>
                      <a:pt x="905" y="321"/>
                    </a:lnTo>
                    <a:lnTo>
                      <a:pt x="905" y="323"/>
                    </a:lnTo>
                    <a:lnTo>
                      <a:pt x="903" y="323"/>
                    </a:lnTo>
                    <a:lnTo>
                      <a:pt x="905" y="323"/>
                    </a:lnTo>
                    <a:lnTo>
                      <a:pt x="905" y="325"/>
                    </a:lnTo>
                    <a:lnTo>
                      <a:pt x="903" y="325"/>
                    </a:lnTo>
                    <a:lnTo>
                      <a:pt x="901" y="325"/>
                    </a:lnTo>
                    <a:lnTo>
                      <a:pt x="901" y="327"/>
                    </a:lnTo>
                    <a:lnTo>
                      <a:pt x="899" y="327"/>
                    </a:lnTo>
                    <a:lnTo>
                      <a:pt x="899" y="329"/>
                    </a:lnTo>
                    <a:lnTo>
                      <a:pt x="897" y="329"/>
                    </a:lnTo>
                    <a:lnTo>
                      <a:pt x="897" y="331"/>
                    </a:lnTo>
                    <a:lnTo>
                      <a:pt x="899" y="331"/>
                    </a:lnTo>
                    <a:lnTo>
                      <a:pt x="899" y="333"/>
                    </a:lnTo>
                    <a:lnTo>
                      <a:pt x="899" y="335"/>
                    </a:lnTo>
                    <a:lnTo>
                      <a:pt x="897" y="335"/>
                    </a:lnTo>
                    <a:lnTo>
                      <a:pt x="897" y="333"/>
                    </a:lnTo>
                    <a:lnTo>
                      <a:pt x="897" y="331"/>
                    </a:lnTo>
                    <a:lnTo>
                      <a:pt x="897" y="333"/>
                    </a:lnTo>
                    <a:lnTo>
                      <a:pt x="895" y="331"/>
                    </a:lnTo>
                    <a:lnTo>
                      <a:pt x="893" y="331"/>
                    </a:lnTo>
                    <a:lnTo>
                      <a:pt x="895" y="331"/>
                    </a:lnTo>
                    <a:lnTo>
                      <a:pt x="895" y="333"/>
                    </a:lnTo>
                    <a:lnTo>
                      <a:pt x="893" y="333"/>
                    </a:lnTo>
                    <a:lnTo>
                      <a:pt x="893" y="335"/>
                    </a:lnTo>
                    <a:lnTo>
                      <a:pt x="895" y="335"/>
                    </a:lnTo>
                    <a:lnTo>
                      <a:pt x="893" y="335"/>
                    </a:lnTo>
                    <a:lnTo>
                      <a:pt x="895" y="335"/>
                    </a:lnTo>
                    <a:lnTo>
                      <a:pt x="893" y="337"/>
                    </a:lnTo>
                    <a:lnTo>
                      <a:pt x="893" y="335"/>
                    </a:lnTo>
                    <a:lnTo>
                      <a:pt x="893" y="333"/>
                    </a:lnTo>
                    <a:lnTo>
                      <a:pt x="891" y="333"/>
                    </a:lnTo>
                    <a:lnTo>
                      <a:pt x="891" y="335"/>
                    </a:lnTo>
                    <a:lnTo>
                      <a:pt x="889" y="335"/>
                    </a:lnTo>
                    <a:lnTo>
                      <a:pt x="889" y="337"/>
                    </a:lnTo>
                    <a:lnTo>
                      <a:pt x="889" y="335"/>
                    </a:lnTo>
                    <a:lnTo>
                      <a:pt x="887" y="335"/>
                    </a:lnTo>
                    <a:lnTo>
                      <a:pt x="885" y="335"/>
                    </a:lnTo>
                    <a:lnTo>
                      <a:pt x="887" y="335"/>
                    </a:lnTo>
                    <a:lnTo>
                      <a:pt x="885" y="337"/>
                    </a:lnTo>
                    <a:lnTo>
                      <a:pt x="887" y="337"/>
                    </a:lnTo>
                    <a:lnTo>
                      <a:pt x="885" y="337"/>
                    </a:lnTo>
                    <a:lnTo>
                      <a:pt x="885" y="339"/>
                    </a:lnTo>
                    <a:lnTo>
                      <a:pt x="885" y="337"/>
                    </a:lnTo>
                    <a:lnTo>
                      <a:pt x="887" y="337"/>
                    </a:lnTo>
                    <a:lnTo>
                      <a:pt x="887" y="339"/>
                    </a:lnTo>
                    <a:lnTo>
                      <a:pt x="885" y="339"/>
                    </a:lnTo>
                    <a:lnTo>
                      <a:pt x="887" y="339"/>
                    </a:lnTo>
                    <a:lnTo>
                      <a:pt x="887" y="341"/>
                    </a:lnTo>
                    <a:lnTo>
                      <a:pt x="885" y="341"/>
                    </a:lnTo>
                    <a:lnTo>
                      <a:pt x="887" y="339"/>
                    </a:lnTo>
                    <a:lnTo>
                      <a:pt x="885" y="339"/>
                    </a:lnTo>
                    <a:lnTo>
                      <a:pt x="885" y="341"/>
                    </a:lnTo>
                    <a:lnTo>
                      <a:pt x="885" y="339"/>
                    </a:lnTo>
                    <a:lnTo>
                      <a:pt x="885" y="341"/>
                    </a:lnTo>
                    <a:lnTo>
                      <a:pt x="885" y="343"/>
                    </a:lnTo>
                    <a:lnTo>
                      <a:pt x="883" y="343"/>
                    </a:lnTo>
                    <a:lnTo>
                      <a:pt x="882" y="343"/>
                    </a:lnTo>
                    <a:lnTo>
                      <a:pt x="883" y="343"/>
                    </a:lnTo>
                    <a:lnTo>
                      <a:pt x="882" y="345"/>
                    </a:lnTo>
                    <a:lnTo>
                      <a:pt x="882" y="343"/>
                    </a:lnTo>
                    <a:lnTo>
                      <a:pt x="882" y="345"/>
                    </a:lnTo>
                    <a:lnTo>
                      <a:pt x="880" y="345"/>
                    </a:lnTo>
                    <a:lnTo>
                      <a:pt x="878" y="345"/>
                    </a:lnTo>
                    <a:lnTo>
                      <a:pt x="876" y="346"/>
                    </a:lnTo>
                    <a:lnTo>
                      <a:pt x="878" y="346"/>
                    </a:lnTo>
                    <a:lnTo>
                      <a:pt x="878" y="348"/>
                    </a:lnTo>
                    <a:lnTo>
                      <a:pt x="876" y="348"/>
                    </a:lnTo>
                    <a:lnTo>
                      <a:pt x="874" y="348"/>
                    </a:lnTo>
                    <a:lnTo>
                      <a:pt x="874" y="350"/>
                    </a:lnTo>
                    <a:lnTo>
                      <a:pt x="874" y="348"/>
                    </a:lnTo>
                    <a:lnTo>
                      <a:pt x="872" y="348"/>
                    </a:lnTo>
                    <a:lnTo>
                      <a:pt x="872" y="350"/>
                    </a:lnTo>
                    <a:lnTo>
                      <a:pt x="870" y="352"/>
                    </a:lnTo>
                    <a:lnTo>
                      <a:pt x="870" y="350"/>
                    </a:lnTo>
                    <a:lnTo>
                      <a:pt x="870" y="352"/>
                    </a:lnTo>
                    <a:lnTo>
                      <a:pt x="868" y="352"/>
                    </a:lnTo>
                    <a:lnTo>
                      <a:pt x="870" y="352"/>
                    </a:lnTo>
                    <a:lnTo>
                      <a:pt x="868" y="352"/>
                    </a:lnTo>
                    <a:lnTo>
                      <a:pt x="868" y="350"/>
                    </a:lnTo>
                    <a:lnTo>
                      <a:pt x="868" y="352"/>
                    </a:lnTo>
                    <a:lnTo>
                      <a:pt x="866" y="352"/>
                    </a:lnTo>
                    <a:lnTo>
                      <a:pt x="868" y="350"/>
                    </a:lnTo>
                    <a:lnTo>
                      <a:pt x="866" y="350"/>
                    </a:lnTo>
                    <a:lnTo>
                      <a:pt x="864" y="350"/>
                    </a:lnTo>
                    <a:lnTo>
                      <a:pt x="864" y="352"/>
                    </a:lnTo>
                    <a:lnTo>
                      <a:pt x="864" y="350"/>
                    </a:lnTo>
                    <a:lnTo>
                      <a:pt x="864" y="352"/>
                    </a:lnTo>
                    <a:lnTo>
                      <a:pt x="864" y="350"/>
                    </a:lnTo>
                    <a:lnTo>
                      <a:pt x="864" y="352"/>
                    </a:lnTo>
                    <a:lnTo>
                      <a:pt x="862" y="352"/>
                    </a:lnTo>
                    <a:lnTo>
                      <a:pt x="864" y="352"/>
                    </a:lnTo>
                    <a:lnTo>
                      <a:pt x="864" y="350"/>
                    </a:lnTo>
                    <a:lnTo>
                      <a:pt x="866" y="350"/>
                    </a:lnTo>
                    <a:lnTo>
                      <a:pt x="868" y="350"/>
                    </a:lnTo>
                    <a:lnTo>
                      <a:pt x="866" y="350"/>
                    </a:lnTo>
                    <a:lnTo>
                      <a:pt x="868" y="350"/>
                    </a:lnTo>
                    <a:lnTo>
                      <a:pt x="866" y="350"/>
                    </a:lnTo>
                    <a:lnTo>
                      <a:pt x="866" y="352"/>
                    </a:lnTo>
                    <a:lnTo>
                      <a:pt x="868" y="352"/>
                    </a:lnTo>
                    <a:lnTo>
                      <a:pt x="868" y="350"/>
                    </a:lnTo>
                    <a:lnTo>
                      <a:pt x="868" y="352"/>
                    </a:lnTo>
                    <a:lnTo>
                      <a:pt x="870" y="352"/>
                    </a:lnTo>
                    <a:lnTo>
                      <a:pt x="870" y="350"/>
                    </a:lnTo>
                    <a:lnTo>
                      <a:pt x="870" y="352"/>
                    </a:lnTo>
                    <a:lnTo>
                      <a:pt x="872" y="350"/>
                    </a:lnTo>
                    <a:lnTo>
                      <a:pt x="872" y="348"/>
                    </a:lnTo>
                    <a:lnTo>
                      <a:pt x="874" y="348"/>
                    </a:lnTo>
                    <a:lnTo>
                      <a:pt x="874" y="350"/>
                    </a:lnTo>
                    <a:lnTo>
                      <a:pt x="874" y="348"/>
                    </a:lnTo>
                    <a:lnTo>
                      <a:pt x="876" y="348"/>
                    </a:lnTo>
                    <a:lnTo>
                      <a:pt x="878" y="348"/>
                    </a:lnTo>
                    <a:lnTo>
                      <a:pt x="878" y="346"/>
                    </a:lnTo>
                    <a:lnTo>
                      <a:pt x="876" y="346"/>
                    </a:lnTo>
                    <a:lnTo>
                      <a:pt x="878" y="346"/>
                    </a:lnTo>
                    <a:lnTo>
                      <a:pt x="878" y="345"/>
                    </a:lnTo>
                    <a:lnTo>
                      <a:pt x="880" y="345"/>
                    </a:lnTo>
                    <a:lnTo>
                      <a:pt x="882" y="345"/>
                    </a:lnTo>
                    <a:lnTo>
                      <a:pt x="882" y="343"/>
                    </a:lnTo>
                    <a:lnTo>
                      <a:pt x="882" y="345"/>
                    </a:lnTo>
                    <a:lnTo>
                      <a:pt x="883" y="343"/>
                    </a:lnTo>
                    <a:lnTo>
                      <a:pt x="885" y="343"/>
                    </a:lnTo>
                    <a:lnTo>
                      <a:pt x="885" y="341"/>
                    </a:lnTo>
                    <a:lnTo>
                      <a:pt x="885" y="339"/>
                    </a:lnTo>
                    <a:lnTo>
                      <a:pt x="885" y="341"/>
                    </a:lnTo>
                    <a:lnTo>
                      <a:pt x="885" y="339"/>
                    </a:lnTo>
                    <a:lnTo>
                      <a:pt x="887" y="339"/>
                    </a:lnTo>
                    <a:lnTo>
                      <a:pt x="885" y="341"/>
                    </a:lnTo>
                    <a:lnTo>
                      <a:pt x="887" y="341"/>
                    </a:lnTo>
                    <a:lnTo>
                      <a:pt x="887" y="339"/>
                    </a:lnTo>
                    <a:lnTo>
                      <a:pt x="885" y="339"/>
                    </a:lnTo>
                    <a:lnTo>
                      <a:pt x="887" y="339"/>
                    </a:lnTo>
                    <a:lnTo>
                      <a:pt x="887" y="337"/>
                    </a:lnTo>
                    <a:lnTo>
                      <a:pt x="885" y="337"/>
                    </a:lnTo>
                    <a:lnTo>
                      <a:pt x="885" y="339"/>
                    </a:lnTo>
                    <a:lnTo>
                      <a:pt x="885" y="337"/>
                    </a:lnTo>
                    <a:lnTo>
                      <a:pt x="887" y="337"/>
                    </a:lnTo>
                    <a:lnTo>
                      <a:pt x="885" y="337"/>
                    </a:lnTo>
                    <a:lnTo>
                      <a:pt x="887" y="335"/>
                    </a:lnTo>
                    <a:lnTo>
                      <a:pt x="889" y="335"/>
                    </a:lnTo>
                    <a:lnTo>
                      <a:pt x="889" y="337"/>
                    </a:lnTo>
                    <a:lnTo>
                      <a:pt x="889" y="335"/>
                    </a:lnTo>
                    <a:lnTo>
                      <a:pt x="891" y="335"/>
                    </a:lnTo>
                    <a:lnTo>
                      <a:pt x="891" y="333"/>
                    </a:lnTo>
                    <a:lnTo>
                      <a:pt x="893" y="333"/>
                    </a:lnTo>
                    <a:lnTo>
                      <a:pt x="893" y="335"/>
                    </a:lnTo>
                    <a:lnTo>
                      <a:pt x="893" y="337"/>
                    </a:lnTo>
                    <a:lnTo>
                      <a:pt x="895" y="337"/>
                    </a:lnTo>
                    <a:lnTo>
                      <a:pt x="895" y="335"/>
                    </a:lnTo>
                    <a:lnTo>
                      <a:pt x="893" y="335"/>
                    </a:lnTo>
                    <a:lnTo>
                      <a:pt x="893" y="333"/>
                    </a:lnTo>
                    <a:lnTo>
                      <a:pt x="895" y="333"/>
                    </a:lnTo>
                    <a:lnTo>
                      <a:pt x="895" y="331"/>
                    </a:lnTo>
                    <a:lnTo>
                      <a:pt x="893" y="331"/>
                    </a:lnTo>
                    <a:lnTo>
                      <a:pt x="895" y="331"/>
                    </a:lnTo>
                    <a:lnTo>
                      <a:pt x="895" y="333"/>
                    </a:lnTo>
                    <a:lnTo>
                      <a:pt x="897" y="333"/>
                    </a:lnTo>
                    <a:lnTo>
                      <a:pt x="897" y="331"/>
                    </a:lnTo>
                    <a:lnTo>
                      <a:pt x="897" y="333"/>
                    </a:lnTo>
                    <a:lnTo>
                      <a:pt x="897" y="335"/>
                    </a:lnTo>
                    <a:lnTo>
                      <a:pt x="899" y="335"/>
                    </a:lnTo>
                    <a:lnTo>
                      <a:pt x="899" y="333"/>
                    </a:lnTo>
                    <a:lnTo>
                      <a:pt x="899" y="331"/>
                    </a:lnTo>
                    <a:lnTo>
                      <a:pt x="897" y="331"/>
                    </a:lnTo>
                    <a:lnTo>
                      <a:pt x="897" y="329"/>
                    </a:lnTo>
                    <a:lnTo>
                      <a:pt x="899" y="329"/>
                    </a:lnTo>
                    <a:lnTo>
                      <a:pt x="899" y="327"/>
                    </a:lnTo>
                    <a:lnTo>
                      <a:pt x="901" y="327"/>
                    </a:lnTo>
                    <a:lnTo>
                      <a:pt x="901" y="329"/>
                    </a:lnTo>
                    <a:lnTo>
                      <a:pt x="901" y="327"/>
                    </a:lnTo>
                    <a:lnTo>
                      <a:pt x="903" y="327"/>
                    </a:lnTo>
                    <a:lnTo>
                      <a:pt x="903" y="329"/>
                    </a:lnTo>
                    <a:lnTo>
                      <a:pt x="901" y="329"/>
                    </a:lnTo>
                    <a:lnTo>
                      <a:pt x="901" y="327"/>
                    </a:lnTo>
                    <a:lnTo>
                      <a:pt x="901" y="329"/>
                    </a:lnTo>
                    <a:lnTo>
                      <a:pt x="903" y="329"/>
                    </a:lnTo>
                    <a:lnTo>
                      <a:pt x="903" y="327"/>
                    </a:lnTo>
                    <a:lnTo>
                      <a:pt x="901" y="327"/>
                    </a:lnTo>
                    <a:lnTo>
                      <a:pt x="901" y="325"/>
                    </a:lnTo>
                    <a:lnTo>
                      <a:pt x="903" y="325"/>
                    </a:lnTo>
                    <a:lnTo>
                      <a:pt x="905" y="325"/>
                    </a:lnTo>
                    <a:lnTo>
                      <a:pt x="905" y="323"/>
                    </a:lnTo>
                    <a:lnTo>
                      <a:pt x="903" y="323"/>
                    </a:lnTo>
                    <a:lnTo>
                      <a:pt x="905" y="323"/>
                    </a:lnTo>
                    <a:lnTo>
                      <a:pt x="905" y="321"/>
                    </a:lnTo>
                    <a:lnTo>
                      <a:pt x="903" y="321"/>
                    </a:lnTo>
                    <a:lnTo>
                      <a:pt x="905" y="321"/>
                    </a:lnTo>
                    <a:lnTo>
                      <a:pt x="905" y="320"/>
                    </a:lnTo>
                    <a:lnTo>
                      <a:pt x="903" y="320"/>
                    </a:lnTo>
                    <a:lnTo>
                      <a:pt x="905" y="320"/>
                    </a:lnTo>
                    <a:lnTo>
                      <a:pt x="905" y="318"/>
                    </a:lnTo>
                    <a:lnTo>
                      <a:pt x="905" y="316"/>
                    </a:lnTo>
                    <a:lnTo>
                      <a:pt x="905" y="318"/>
                    </a:lnTo>
                    <a:lnTo>
                      <a:pt x="906" y="318"/>
                    </a:lnTo>
                    <a:lnTo>
                      <a:pt x="908" y="318"/>
                    </a:lnTo>
                    <a:lnTo>
                      <a:pt x="908" y="316"/>
                    </a:lnTo>
                    <a:lnTo>
                      <a:pt x="908" y="318"/>
                    </a:lnTo>
                    <a:lnTo>
                      <a:pt x="910" y="318"/>
                    </a:lnTo>
                    <a:lnTo>
                      <a:pt x="910" y="316"/>
                    </a:lnTo>
                    <a:lnTo>
                      <a:pt x="912" y="316"/>
                    </a:lnTo>
                    <a:lnTo>
                      <a:pt x="912" y="318"/>
                    </a:lnTo>
                    <a:lnTo>
                      <a:pt x="914" y="318"/>
                    </a:lnTo>
                    <a:lnTo>
                      <a:pt x="914" y="316"/>
                    </a:lnTo>
                    <a:lnTo>
                      <a:pt x="914" y="318"/>
                    </a:lnTo>
                    <a:lnTo>
                      <a:pt x="916" y="318"/>
                    </a:lnTo>
                    <a:lnTo>
                      <a:pt x="916" y="320"/>
                    </a:lnTo>
                    <a:lnTo>
                      <a:pt x="916" y="318"/>
                    </a:lnTo>
                    <a:lnTo>
                      <a:pt x="918" y="318"/>
                    </a:lnTo>
                    <a:lnTo>
                      <a:pt x="918" y="316"/>
                    </a:lnTo>
                    <a:lnTo>
                      <a:pt x="918" y="318"/>
                    </a:lnTo>
                    <a:lnTo>
                      <a:pt x="918" y="320"/>
                    </a:lnTo>
                    <a:lnTo>
                      <a:pt x="918" y="318"/>
                    </a:lnTo>
                    <a:lnTo>
                      <a:pt x="920" y="318"/>
                    </a:lnTo>
                    <a:lnTo>
                      <a:pt x="920" y="320"/>
                    </a:lnTo>
                    <a:lnTo>
                      <a:pt x="922" y="318"/>
                    </a:lnTo>
                    <a:lnTo>
                      <a:pt x="922" y="320"/>
                    </a:lnTo>
                    <a:lnTo>
                      <a:pt x="922" y="318"/>
                    </a:lnTo>
                    <a:lnTo>
                      <a:pt x="922" y="320"/>
                    </a:lnTo>
                    <a:lnTo>
                      <a:pt x="924" y="320"/>
                    </a:lnTo>
                    <a:lnTo>
                      <a:pt x="926" y="320"/>
                    </a:lnTo>
                    <a:lnTo>
                      <a:pt x="926" y="318"/>
                    </a:lnTo>
                    <a:lnTo>
                      <a:pt x="926" y="320"/>
                    </a:lnTo>
                    <a:lnTo>
                      <a:pt x="928" y="320"/>
                    </a:lnTo>
                    <a:lnTo>
                      <a:pt x="930" y="320"/>
                    </a:lnTo>
                    <a:lnTo>
                      <a:pt x="930" y="321"/>
                    </a:lnTo>
                    <a:lnTo>
                      <a:pt x="928" y="321"/>
                    </a:lnTo>
                    <a:lnTo>
                      <a:pt x="930" y="321"/>
                    </a:lnTo>
                    <a:lnTo>
                      <a:pt x="930" y="320"/>
                    </a:lnTo>
                    <a:lnTo>
                      <a:pt x="931" y="320"/>
                    </a:lnTo>
                    <a:lnTo>
                      <a:pt x="931" y="321"/>
                    </a:lnTo>
                    <a:lnTo>
                      <a:pt x="933" y="321"/>
                    </a:lnTo>
                    <a:lnTo>
                      <a:pt x="933" y="320"/>
                    </a:lnTo>
                    <a:lnTo>
                      <a:pt x="935" y="320"/>
                    </a:lnTo>
                    <a:lnTo>
                      <a:pt x="937" y="321"/>
                    </a:lnTo>
                    <a:lnTo>
                      <a:pt x="937" y="323"/>
                    </a:lnTo>
                    <a:lnTo>
                      <a:pt x="935" y="323"/>
                    </a:lnTo>
                    <a:lnTo>
                      <a:pt x="933" y="323"/>
                    </a:lnTo>
                    <a:lnTo>
                      <a:pt x="935" y="323"/>
                    </a:lnTo>
                    <a:lnTo>
                      <a:pt x="933" y="323"/>
                    </a:lnTo>
                    <a:lnTo>
                      <a:pt x="931" y="323"/>
                    </a:lnTo>
                    <a:lnTo>
                      <a:pt x="931" y="325"/>
                    </a:lnTo>
                    <a:lnTo>
                      <a:pt x="931" y="327"/>
                    </a:lnTo>
                    <a:lnTo>
                      <a:pt x="933" y="325"/>
                    </a:lnTo>
                    <a:lnTo>
                      <a:pt x="935" y="325"/>
                    </a:lnTo>
                    <a:lnTo>
                      <a:pt x="933" y="325"/>
                    </a:lnTo>
                    <a:lnTo>
                      <a:pt x="935" y="325"/>
                    </a:lnTo>
                    <a:lnTo>
                      <a:pt x="935" y="327"/>
                    </a:lnTo>
                    <a:lnTo>
                      <a:pt x="933" y="327"/>
                    </a:lnTo>
                    <a:lnTo>
                      <a:pt x="931" y="327"/>
                    </a:lnTo>
                    <a:lnTo>
                      <a:pt x="930" y="329"/>
                    </a:lnTo>
                    <a:lnTo>
                      <a:pt x="930" y="331"/>
                    </a:lnTo>
                    <a:lnTo>
                      <a:pt x="931" y="331"/>
                    </a:lnTo>
                    <a:lnTo>
                      <a:pt x="933" y="331"/>
                    </a:lnTo>
                    <a:lnTo>
                      <a:pt x="933" y="333"/>
                    </a:lnTo>
                    <a:lnTo>
                      <a:pt x="931" y="333"/>
                    </a:lnTo>
                    <a:lnTo>
                      <a:pt x="930" y="335"/>
                    </a:lnTo>
                    <a:lnTo>
                      <a:pt x="928" y="335"/>
                    </a:lnTo>
                    <a:lnTo>
                      <a:pt x="926" y="335"/>
                    </a:lnTo>
                    <a:lnTo>
                      <a:pt x="926" y="337"/>
                    </a:lnTo>
                    <a:lnTo>
                      <a:pt x="926" y="339"/>
                    </a:lnTo>
                    <a:lnTo>
                      <a:pt x="928" y="339"/>
                    </a:lnTo>
                    <a:lnTo>
                      <a:pt x="928" y="341"/>
                    </a:lnTo>
                    <a:lnTo>
                      <a:pt x="926" y="341"/>
                    </a:lnTo>
                    <a:lnTo>
                      <a:pt x="926" y="343"/>
                    </a:lnTo>
                    <a:lnTo>
                      <a:pt x="926" y="345"/>
                    </a:lnTo>
                    <a:lnTo>
                      <a:pt x="924" y="346"/>
                    </a:lnTo>
                    <a:lnTo>
                      <a:pt x="924" y="348"/>
                    </a:lnTo>
                    <a:lnTo>
                      <a:pt x="926" y="348"/>
                    </a:lnTo>
                    <a:lnTo>
                      <a:pt x="926" y="346"/>
                    </a:lnTo>
                    <a:lnTo>
                      <a:pt x="928" y="346"/>
                    </a:lnTo>
                    <a:lnTo>
                      <a:pt x="928" y="348"/>
                    </a:lnTo>
                    <a:lnTo>
                      <a:pt x="928" y="346"/>
                    </a:lnTo>
                    <a:lnTo>
                      <a:pt x="930" y="348"/>
                    </a:lnTo>
                    <a:lnTo>
                      <a:pt x="930" y="350"/>
                    </a:lnTo>
                    <a:lnTo>
                      <a:pt x="928" y="350"/>
                    </a:lnTo>
                    <a:lnTo>
                      <a:pt x="926" y="350"/>
                    </a:lnTo>
                    <a:lnTo>
                      <a:pt x="924" y="350"/>
                    </a:lnTo>
                    <a:lnTo>
                      <a:pt x="924" y="352"/>
                    </a:lnTo>
                    <a:lnTo>
                      <a:pt x="926" y="352"/>
                    </a:lnTo>
                    <a:lnTo>
                      <a:pt x="928" y="352"/>
                    </a:lnTo>
                    <a:lnTo>
                      <a:pt x="928" y="354"/>
                    </a:lnTo>
                    <a:lnTo>
                      <a:pt x="928" y="352"/>
                    </a:lnTo>
                    <a:lnTo>
                      <a:pt x="930" y="352"/>
                    </a:lnTo>
                    <a:lnTo>
                      <a:pt x="930" y="354"/>
                    </a:lnTo>
                    <a:lnTo>
                      <a:pt x="928" y="354"/>
                    </a:lnTo>
                    <a:lnTo>
                      <a:pt x="930" y="354"/>
                    </a:lnTo>
                    <a:lnTo>
                      <a:pt x="930" y="356"/>
                    </a:lnTo>
                    <a:lnTo>
                      <a:pt x="930" y="358"/>
                    </a:lnTo>
                    <a:lnTo>
                      <a:pt x="928" y="358"/>
                    </a:lnTo>
                    <a:lnTo>
                      <a:pt x="928" y="360"/>
                    </a:lnTo>
                    <a:lnTo>
                      <a:pt x="926" y="360"/>
                    </a:lnTo>
                    <a:lnTo>
                      <a:pt x="928" y="358"/>
                    </a:lnTo>
                    <a:lnTo>
                      <a:pt x="926" y="358"/>
                    </a:lnTo>
                    <a:lnTo>
                      <a:pt x="924" y="358"/>
                    </a:lnTo>
                    <a:lnTo>
                      <a:pt x="924" y="360"/>
                    </a:lnTo>
                    <a:lnTo>
                      <a:pt x="924" y="362"/>
                    </a:lnTo>
                    <a:lnTo>
                      <a:pt x="922" y="362"/>
                    </a:lnTo>
                    <a:lnTo>
                      <a:pt x="922" y="360"/>
                    </a:lnTo>
                    <a:lnTo>
                      <a:pt x="922" y="362"/>
                    </a:lnTo>
                    <a:lnTo>
                      <a:pt x="922" y="360"/>
                    </a:lnTo>
                    <a:lnTo>
                      <a:pt x="922" y="358"/>
                    </a:lnTo>
                    <a:lnTo>
                      <a:pt x="922" y="360"/>
                    </a:lnTo>
                    <a:lnTo>
                      <a:pt x="922" y="358"/>
                    </a:lnTo>
                    <a:lnTo>
                      <a:pt x="920" y="358"/>
                    </a:lnTo>
                    <a:lnTo>
                      <a:pt x="920" y="360"/>
                    </a:lnTo>
                    <a:lnTo>
                      <a:pt x="918" y="360"/>
                    </a:lnTo>
                    <a:lnTo>
                      <a:pt x="918" y="358"/>
                    </a:lnTo>
                    <a:lnTo>
                      <a:pt x="916" y="358"/>
                    </a:lnTo>
                    <a:lnTo>
                      <a:pt x="916" y="360"/>
                    </a:lnTo>
                    <a:lnTo>
                      <a:pt x="916" y="358"/>
                    </a:lnTo>
                    <a:lnTo>
                      <a:pt x="914" y="360"/>
                    </a:lnTo>
                    <a:lnTo>
                      <a:pt x="914" y="358"/>
                    </a:lnTo>
                    <a:lnTo>
                      <a:pt x="916" y="358"/>
                    </a:lnTo>
                    <a:lnTo>
                      <a:pt x="914" y="358"/>
                    </a:lnTo>
                    <a:lnTo>
                      <a:pt x="916" y="358"/>
                    </a:lnTo>
                    <a:lnTo>
                      <a:pt x="916" y="356"/>
                    </a:lnTo>
                    <a:lnTo>
                      <a:pt x="914" y="358"/>
                    </a:lnTo>
                    <a:lnTo>
                      <a:pt x="914" y="360"/>
                    </a:lnTo>
                    <a:lnTo>
                      <a:pt x="912" y="360"/>
                    </a:lnTo>
                    <a:lnTo>
                      <a:pt x="910" y="360"/>
                    </a:lnTo>
                    <a:lnTo>
                      <a:pt x="912" y="362"/>
                    </a:lnTo>
                    <a:lnTo>
                      <a:pt x="910" y="362"/>
                    </a:lnTo>
                    <a:lnTo>
                      <a:pt x="910" y="364"/>
                    </a:lnTo>
                    <a:lnTo>
                      <a:pt x="910" y="366"/>
                    </a:lnTo>
                    <a:lnTo>
                      <a:pt x="908" y="366"/>
                    </a:lnTo>
                    <a:lnTo>
                      <a:pt x="908" y="364"/>
                    </a:lnTo>
                    <a:lnTo>
                      <a:pt x="910" y="364"/>
                    </a:lnTo>
                    <a:lnTo>
                      <a:pt x="908" y="364"/>
                    </a:lnTo>
                    <a:lnTo>
                      <a:pt x="906" y="366"/>
                    </a:lnTo>
                    <a:lnTo>
                      <a:pt x="905" y="366"/>
                    </a:lnTo>
                    <a:lnTo>
                      <a:pt x="903" y="366"/>
                    </a:lnTo>
                    <a:lnTo>
                      <a:pt x="903" y="368"/>
                    </a:lnTo>
                    <a:lnTo>
                      <a:pt x="901" y="368"/>
                    </a:lnTo>
                    <a:lnTo>
                      <a:pt x="901" y="370"/>
                    </a:lnTo>
                    <a:lnTo>
                      <a:pt x="899" y="370"/>
                    </a:lnTo>
                    <a:lnTo>
                      <a:pt x="899" y="368"/>
                    </a:lnTo>
                    <a:lnTo>
                      <a:pt x="899" y="370"/>
                    </a:lnTo>
                    <a:lnTo>
                      <a:pt x="897" y="368"/>
                    </a:lnTo>
                    <a:lnTo>
                      <a:pt x="897" y="370"/>
                    </a:lnTo>
                    <a:lnTo>
                      <a:pt x="895" y="370"/>
                    </a:lnTo>
                    <a:lnTo>
                      <a:pt x="895" y="371"/>
                    </a:lnTo>
                    <a:lnTo>
                      <a:pt x="895" y="370"/>
                    </a:lnTo>
                    <a:lnTo>
                      <a:pt x="893" y="370"/>
                    </a:lnTo>
                    <a:lnTo>
                      <a:pt x="891" y="370"/>
                    </a:lnTo>
                    <a:lnTo>
                      <a:pt x="891" y="371"/>
                    </a:lnTo>
                    <a:lnTo>
                      <a:pt x="891" y="370"/>
                    </a:lnTo>
                    <a:lnTo>
                      <a:pt x="889" y="370"/>
                    </a:lnTo>
                    <a:lnTo>
                      <a:pt x="887" y="370"/>
                    </a:lnTo>
                    <a:lnTo>
                      <a:pt x="887" y="371"/>
                    </a:lnTo>
                    <a:lnTo>
                      <a:pt x="887" y="370"/>
                    </a:lnTo>
                    <a:lnTo>
                      <a:pt x="887" y="371"/>
                    </a:lnTo>
                    <a:lnTo>
                      <a:pt x="887" y="373"/>
                    </a:lnTo>
                    <a:lnTo>
                      <a:pt x="885" y="373"/>
                    </a:lnTo>
                    <a:lnTo>
                      <a:pt x="887" y="373"/>
                    </a:lnTo>
                    <a:lnTo>
                      <a:pt x="885" y="373"/>
                    </a:lnTo>
                    <a:lnTo>
                      <a:pt x="883" y="373"/>
                    </a:lnTo>
                    <a:lnTo>
                      <a:pt x="883" y="371"/>
                    </a:lnTo>
                    <a:lnTo>
                      <a:pt x="882" y="371"/>
                    </a:lnTo>
                    <a:lnTo>
                      <a:pt x="883" y="371"/>
                    </a:lnTo>
                    <a:lnTo>
                      <a:pt x="883" y="373"/>
                    </a:lnTo>
                    <a:lnTo>
                      <a:pt x="882" y="373"/>
                    </a:lnTo>
                    <a:lnTo>
                      <a:pt x="880" y="373"/>
                    </a:lnTo>
                    <a:lnTo>
                      <a:pt x="880" y="375"/>
                    </a:lnTo>
                    <a:lnTo>
                      <a:pt x="880" y="373"/>
                    </a:lnTo>
                    <a:lnTo>
                      <a:pt x="882" y="373"/>
                    </a:lnTo>
                    <a:lnTo>
                      <a:pt x="883" y="373"/>
                    </a:lnTo>
                    <a:lnTo>
                      <a:pt x="883" y="371"/>
                    </a:lnTo>
                    <a:lnTo>
                      <a:pt x="883" y="373"/>
                    </a:lnTo>
                    <a:lnTo>
                      <a:pt x="885" y="373"/>
                    </a:lnTo>
                    <a:lnTo>
                      <a:pt x="887" y="373"/>
                    </a:lnTo>
                    <a:lnTo>
                      <a:pt x="887" y="371"/>
                    </a:lnTo>
                    <a:lnTo>
                      <a:pt x="887" y="370"/>
                    </a:lnTo>
                    <a:lnTo>
                      <a:pt x="889" y="370"/>
                    </a:lnTo>
                    <a:lnTo>
                      <a:pt x="891" y="370"/>
                    </a:lnTo>
                    <a:lnTo>
                      <a:pt x="889" y="371"/>
                    </a:lnTo>
                    <a:lnTo>
                      <a:pt x="891" y="371"/>
                    </a:lnTo>
                    <a:lnTo>
                      <a:pt x="891" y="370"/>
                    </a:lnTo>
                    <a:lnTo>
                      <a:pt x="893" y="370"/>
                    </a:lnTo>
                    <a:lnTo>
                      <a:pt x="895" y="371"/>
                    </a:lnTo>
                    <a:lnTo>
                      <a:pt x="895" y="370"/>
                    </a:lnTo>
                    <a:lnTo>
                      <a:pt x="897" y="370"/>
                    </a:lnTo>
                    <a:lnTo>
                      <a:pt x="897" y="368"/>
                    </a:lnTo>
                    <a:lnTo>
                      <a:pt x="897" y="370"/>
                    </a:lnTo>
                    <a:lnTo>
                      <a:pt x="899" y="370"/>
                    </a:lnTo>
                    <a:lnTo>
                      <a:pt x="899" y="368"/>
                    </a:lnTo>
                    <a:lnTo>
                      <a:pt x="899" y="370"/>
                    </a:lnTo>
                    <a:lnTo>
                      <a:pt x="901" y="370"/>
                    </a:lnTo>
                    <a:lnTo>
                      <a:pt x="901" y="368"/>
                    </a:lnTo>
                    <a:lnTo>
                      <a:pt x="903" y="368"/>
                    </a:lnTo>
                    <a:lnTo>
                      <a:pt x="903" y="366"/>
                    </a:lnTo>
                    <a:lnTo>
                      <a:pt x="905" y="366"/>
                    </a:lnTo>
                    <a:lnTo>
                      <a:pt x="906" y="366"/>
                    </a:lnTo>
                    <a:lnTo>
                      <a:pt x="908" y="366"/>
                    </a:lnTo>
                    <a:lnTo>
                      <a:pt x="908" y="364"/>
                    </a:lnTo>
                    <a:lnTo>
                      <a:pt x="908" y="366"/>
                    </a:lnTo>
                    <a:lnTo>
                      <a:pt x="908" y="364"/>
                    </a:lnTo>
                    <a:lnTo>
                      <a:pt x="908" y="366"/>
                    </a:lnTo>
                    <a:lnTo>
                      <a:pt x="910" y="366"/>
                    </a:lnTo>
                    <a:lnTo>
                      <a:pt x="910" y="364"/>
                    </a:lnTo>
                    <a:lnTo>
                      <a:pt x="910" y="362"/>
                    </a:lnTo>
                    <a:lnTo>
                      <a:pt x="910" y="364"/>
                    </a:lnTo>
                    <a:lnTo>
                      <a:pt x="910" y="362"/>
                    </a:lnTo>
                    <a:lnTo>
                      <a:pt x="912" y="364"/>
                    </a:lnTo>
                    <a:lnTo>
                      <a:pt x="912" y="362"/>
                    </a:lnTo>
                    <a:lnTo>
                      <a:pt x="912" y="360"/>
                    </a:lnTo>
                    <a:lnTo>
                      <a:pt x="910" y="360"/>
                    </a:lnTo>
                    <a:lnTo>
                      <a:pt x="912" y="360"/>
                    </a:lnTo>
                    <a:lnTo>
                      <a:pt x="912" y="362"/>
                    </a:lnTo>
                    <a:lnTo>
                      <a:pt x="912" y="360"/>
                    </a:lnTo>
                    <a:lnTo>
                      <a:pt x="914" y="360"/>
                    </a:lnTo>
                    <a:lnTo>
                      <a:pt x="914" y="358"/>
                    </a:lnTo>
                    <a:lnTo>
                      <a:pt x="916" y="358"/>
                    </a:lnTo>
                    <a:lnTo>
                      <a:pt x="914" y="358"/>
                    </a:lnTo>
                    <a:lnTo>
                      <a:pt x="914" y="360"/>
                    </a:lnTo>
                    <a:lnTo>
                      <a:pt x="916" y="358"/>
                    </a:lnTo>
                    <a:lnTo>
                      <a:pt x="916" y="360"/>
                    </a:lnTo>
                    <a:lnTo>
                      <a:pt x="916" y="358"/>
                    </a:lnTo>
                    <a:lnTo>
                      <a:pt x="918" y="360"/>
                    </a:lnTo>
                    <a:lnTo>
                      <a:pt x="920" y="360"/>
                    </a:lnTo>
                    <a:lnTo>
                      <a:pt x="920" y="358"/>
                    </a:lnTo>
                    <a:lnTo>
                      <a:pt x="922" y="358"/>
                    </a:lnTo>
                    <a:lnTo>
                      <a:pt x="922" y="360"/>
                    </a:lnTo>
                    <a:lnTo>
                      <a:pt x="920" y="360"/>
                    </a:lnTo>
                    <a:lnTo>
                      <a:pt x="920" y="362"/>
                    </a:lnTo>
                    <a:lnTo>
                      <a:pt x="922" y="362"/>
                    </a:lnTo>
                    <a:lnTo>
                      <a:pt x="922" y="360"/>
                    </a:lnTo>
                    <a:lnTo>
                      <a:pt x="922" y="362"/>
                    </a:lnTo>
                    <a:lnTo>
                      <a:pt x="924" y="362"/>
                    </a:lnTo>
                    <a:lnTo>
                      <a:pt x="924" y="360"/>
                    </a:lnTo>
                    <a:lnTo>
                      <a:pt x="926" y="360"/>
                    </a:lnTo>
                    <a:lnTo>
                      <a:pt x="924" y="360"/>
                    </a:lnTo>
                    <a:lnTo>
                      <a:pt x="926" y="360"/>
                    </a:lnTo>
                    <a:lnTo>
                      <a:pt x="924" y="360"/>
                    </a:lnTo>
                    <a:lnTo>
                      <a:pt x="924" y="358"/>
                    </a:lnTo>
                    <a:lnTo>
                      <a:pt x="926" y="358"/>
                    </a:lnTo>
                    <a:lnTo>
                      <a:pt x="926" y="360"/>
                    </a:lnTo>
                    <a:lnTo>
                      <a:pt x="926" y="362"/>
                    </a:lnTo>
                    <a:lnTo>
                      <a:pt x="924" y="362"/>
                    </a:lnTo>
                    <a:lnTo>
                      <a:pt x="924" y="364"/>
                    </a:lnTo>
                    <a:lnTo>
                      <a:pt x="924" y="366"/>
                    </a:lnTo>
                    <a:lnTo>
                      <a:pt x="922" y="366"/>
                    </a:lnTo>
                    <a:lnTo>
                      <a:pt x="920" y="366"/>
                    </a:lnTo>
                    <a:lnTo>
                      <a:pt x="918" y="368"/>
                    </a:lnTo>
                    <a:lnTo>
                      <a:pt x="920" y="368"/>
                    </a:lnTo>
                    <a:lnTo>
                      <a:pt x="918" y="368"/>
                    </a:lnTo>
                    <a:lnTo>
                      <a:pt x="920" y="370"/>
                    </a:lnTo>
                    <a:lnTo>
                      <a:pt x="920" y="368"/>
                    </a:lnTo>
                    <a:lnTo>
                      <a:pt x="922" y="368"/>
                    </a:lnTo>
                    <a:lnTo>
                      <a:pt x="922" y="370"/>
                    </a:lnTo>
                    <a:lnTo>
                      <a:pt x="920" y="370"/>
                    </a:lnTo>
                    <a:lnTo>
                      <a:pt x="922" y="370"/>
                    </a:lnTo>
                    <a:lnTo>
                      <a:pt x="922" y="371"/>
                    </a:lnTo>
                    <a:lnTo>
                      <a:pt x="924" y="371"/>
                    </a:lnTo>
                    <a:lnTo>
                      <a:pt x="924" y="370"/>
                    </a:lnTo>
                    <a:lnTo>
                      <a:pt x="926" y="370"/>
                    </a:lnTo>
                    <a:lnTo>
                      <a:pt x="928" y="370"/>
                    </a:lnTo>
                    <a:lnTo>
                      <a:pt x="928" y="371"/>
                    </a:lnTo>
                    <a:lnTo>
                      <a:pt x="930" y="371"/>
                    </a:lnTo>
                    <a:lnTo>
                      <a:pt x="930" y="373"/>
                    </a:lnTo>
                    <a:lnTo>
                      <a:pt x="928" y="373"/>
                    </a:lnTo>
                    <a:lnTo>
                      <a:pt x="928" y="375"/>
                    </a:lnTo>
                    <a:lnTo>
                      <a:pt x="926" y="375"/>
                    </a:lnTo>
                    <a:lnTo>
                      <a:pt x="926" y="377"/>
                    </a:lnTo>
                    <a:lnTo>
                      <a:pt x="924" y="377"/>
                    </a:lnTo>
                    <a:lnTo>
                      <a:pt x="924" y="375"/>
                    </a:lnTo>
                    <a:lnTo>
                      <a:pt x="922" y="375"/>
                    </a:lnTo>
                    <a:lnTo>
                      <a:pt x="924" y="375"/>
                    </a:lnTo>
                    <a:lnTo>
                      <a:pt x="922" y="375"/>
                    </a:lnTo>
                    <a:lnTo>
                      <a:pt x="924" y="375"/>
                    </a:lnTo>
                    <a:lnTo>
                      <a:pt x="924" y="377"/>
                    </a:lnTo>
                    <a:lnTo>
                      <a:pt x="922" y="377"/>
                    </a:lnTo>
                    <a:lnTo>
                      <a:pt x="922" y="375"/>
                    </a:lnTo>
                    <a:lnTo>
                      <a:pt x="922" y="377"/>
                    </a:lnTo>
                    <a:lnTo>
                      <a:pt x="922" y="375"/>
                    </a:lnTo>
                    <a:lnTo>
                      <a:pt x="922" y="377"/>
                    </a:lnTo>
                    <a:lnTo>
                      <a:pt x="920" y="377"/>
                    </a:lnTo>
                    <a:lnTo>
                      <a:pt x="920" y="379"/>
                    </a:lnTo>
                    <a:lnTo>
                      <a:pt x="918" y="379"/>
                    </a:lnTo>
                    <a:lnTo>
                      <a:pt x="918" y="381"/>
                    </a:lnTo>
                    <a:lnTo>
                      <a:pt x="918" y="379"/>
                    </a:lnTo>
                    <a:lnTo>
                      <a:pt x="918" y="381"/>
                    </a:lnTo>
                    <a:lnTo>
                      <a:pt x="918" y="379"/>
                    </a:lnTo>
                    <a:lnTo>
                      <a:pt x="918" y="381"/>
                    </a:lnTo>
                    <a:lnTo>
                      <a:pt x="916" y="381"/>
                    </a:lnTo>
                    <a:lnTo>
                      <a:pt x="914" y="381"/>
                    </a:lnTo>
                    <a:lnTo>
                      <a:pt x="916" y="381"/>
                    </a:lnTo>
                    <a:lnTo>
                      <a:pt x="914" y="383"/>
                    </a:lnTo>
                    <a:lnTo>
                      <a:pt x="916" y="383"/>
                    </a:lnTo>
                    <a:lnTo>
                      <a:pt x="914" y="383"/>
                    </a:lnTo>
                    <a:lnTo>
                      <a:pt x="912" y="383"/>
                    </a:lnTo>
                    <a:lnTo>
                      <a:pt x="912" y="385"/>
                    </a:lnTo>
                    <a:lnTo>
                      <a:pt x="914" y="385"/>
                    </a:lnTo>
                    <a:lnTo>
                      <a:pt x="912" y="385"/>
                    </a:lnTo>
                    <a:lnTo>
                      <a:pt x="910" y="385"/>
                    </a:lnTo>
                    <a:lnTo>
                      <a:pt x="910" y="387"/>
                    </a:lnTo>
                    <a:lnTo>
                      <a:pt x="908" y="387"/>
                    </a:lnTo>
                    <a:lnTo>
                      <a:pt x="908" y="385"/>
                    </a:lnTo>
                    <a:lnTo>
                      <a:pt x="906" y="385"/>
                    </a:lnTo>
                    <a:lnTo>
                      <a:pt x="908" y="387"/>
                    </a:lnTo>
                    <a:lnTo>
                      <a:pt x="906" y="387"/>
                    </a:lnTo>
                    <a:lnTo>
                      <a:pt x="905" y="387"/>
                    </a:lnTo>
                    <a:lnTo>
                      <a:pt x="906" y="387"/>
                    </a:lnTo>
                    <a:lnTo>
                      <a:pt x="905" y="387"/>
                    </a:lnTo>
                    <a:lnTo>
                      <a:pt x="906" y="387"/>
                    </a:lnTo>
                    <a:lnTo>
                      <a:pt x="905" y="387"/>
                    </a:lnTo>
                    <a:lnTo>
                      <a:pt x="903" y="387"/>
                    </a:lnTo>
                    <a:lnTo>
                      <a:pt x="901" y="389"/>
                    </a:lnTo>
                    <a:lnTo>
                      <a:pt x="901" y="391"/>
                    </a:lnTo>
                    <a:lnTo>
                      <a:pt x="899" y="391"/>
                    </a:lnTo>
                    <a:lnTo>
                      <a:pt x="901" y="391"/>
                    </a:lnTo>
                    <a:lnTo>
                      <a:pt x="899" y="391"/>
                    </a:lnTo>
                    <a:lnTo>
                      <a:pt x="899" y="393"/>
                    </a:lnTo>
                    <a:lnTo>
                      <a:pt x="897" y="393"/>
                    </a:lnTo>
                    <a:lnTo>
                      <a:pt x="897" y="395"/>
                    </a:lnTo>
                    <a:lnTo>
                      <a:pt x="895" y="395"/>
                    </a:lnTo>
                    <a:lnTo>
                      <a:pt x="895" y="396"/>
                    </a:lnTo>
                    <a:lnTo>
                      <a:pt x="895" y="398"/>
                    </a:lnTo>
                    <a:lnTo>
                      <a:pt x="893" y="398"/>
                    </a:lnTo>
                    <a:lnTo>
                      <a:pt x="895" y="398"/>
                    </a:lnTo>
                    <a:lnTo>
                      <a:pt x="893" y="398"/>
                    </a:lnTo>
                    <a:lnTo>
                      <a:pt x="895" y="400"/>
                    </a:lnTo>
                    <a:lnTo>
                      <a:pt x="893" y="400"/>
                    </a:lnTo>
                    <a:lnTo>
                      <a:pt x="893" y="402"/>
                    </a:lnTo>
                    <a:lnTo>
                      <a:pt x="891" y="402"/>
                    </a:lnTo>
                    <a:lnTo>
                      <a:pt x="891" y="404"/>
                    </a:lnTo>
                    <a:lnTo>
                      <a:pt x="891" y="406"/>
                    </a:lnTo>
                    <a:lnTo>
                      <a:pt x="891" y="408"/>
                    </a:lnTo>
                    <a:lnTo>
                      <a:pt x="889" y="408"/>
                    </a:lnTo>
                    <a:lnTo>
                      <a:pt x="887" y="408"/>
                    </a:lnTo>
                    <a:lnTo>
                      <a:pt x="885" y="410"/>
                    </a:lnTo>
                    <a:lnTo>
                      <a:pt x="887" y="410"/>
                    </a:lnTo>
                    <a:lnTo>
                      <a:pt x="889" y="410"/>
                    </a:lnTo>
                    <a:lnTo>
                      <a:pt x="889" y="412"/>
                    </a:lnTo>
                    <a:lnTo>
                      <a:pt x="891" y="412"/>
                    </a:lnTo>
                    <a:lnTo>
                      <a:pt x="891" y="414"/>
                    </a:lnTo>
                    <a:lnTo>
                      <a:pt x="889" y="414"/>
                    </a:lnTo>
                    <a:lnTo>
                      <a:pt x="887" y="414"/>
                    </a:lnTo>
                    <a:lnTo>
                      <a:pt x="887" y="416"/>
                    </a:lnTo>
                    <a:lnTo>
                      <a:pt x="889" y="416"/>
                    </a:lnTo>
                    <a:lnTo>
                      <a:pt x="889" y="418"/>
                    </a:lnTo>
                    <a:lnTo>
                      <a:pt x="887" y="416"/>
                    </a:lnTo>
                    <a:lnTo>
                      <a:pt x="889" y="418"/>
                    </a:lnTo>
                    <a:lnTo>
                      <a:pt x="889" y="416"/>
                    </a:lnTo>
                    <a:lnTo>
                      <a:pt x="891" y="416"/>
                    </a:lnTo>
                    <a:lnTo>
                      <a:pt x="891" y="414"/>
                    </a:lnTo>
                    <a:lnTo>
                      <a:pt x="891" y="416"/>
                    </a:lnTo>
                    <a:lnTo>
                      <a:pt x="891" y="418"/>
                    </a:lnTo>
                    <a:lnTo>
                      <a:pt x="891" y="420"/>
                    </a:lnTo>
                    <a:lnTo>
                      <a:pt x="891" y="418"/>
                    </a:lnTo>
                    <a:lnTo>
                      <a:pt x="893" y="420"/>
                    </a:lnTo>
                    <a:lnTo>
                      <a:pt x="891" y="420"/>
                    </a:lnTo>
                    <a:lnTo>
                      <a:pt x="891" y="421"/>
                    </a:lnTo>
                    <a:lnTo>
                      <a:pt x="893" y="421"/>
                    </a:lnTo>
                    <a:lnTo>
                      <a:pt x="893" y="423"/>
                    </a:lnTo>
                    <a:lnTo>
                      <a:pt x="895" y="423"/>
                    </a:lnTo>
                    <a:lnTo>
                      <a:pt x="895" y="425"/>
                    </a:lnTo>
                    <a:lnTo>
                      <a:pt x="895" y="423"/>
                    </a:lnTo>
                    <a:lnTo>
                      <a:pt x="897" y="423"/>
                    </a:lnTo>
                    <a:lnTo>
                      <a:pt x="895" y="423"/>
                    </a:lnTo>
                    <a:lnTo>
                      <a:pt x="897" y="423"/>
                    </a:lnTo>
                    <a:lnTo>
                      <a:pt x="897" y="425"/>
                    </a:lnTo>
                    <a:lnTo>
                      <a:pt x="895" y="425"/>
                    </a:lnTo>
                    <a:lnTo>
                      <a:pt x="897" y="425"/>
                    </a:lnTo>
                    <a:lnTo>
                      <a:pt x="897" y="427"/>
                    </a:lnTo>
                    <a:lnTo>
                      <a:pt x="897" y="429"/>
                    </a:lnTo>
                    <a:lnTo>
                      <a:pt x="899" y="429"/>
                    </a:lnTo>
                    <a:lnTo>
                      <a:pt x="899" y="431"/>
                    </a:lnTo>
                    <a:lnTo>
                      <a:pt x="901" y="433"/>
                    </a:lnTo>
                    <a:lnTo>
                      <a:pt x="903" y="433"/>
                    </a:lnTo>
                    <a:lnTo>
                      <a:pt x="903" y="435"/>
                    </a:lnTo>
                    <a:lnTo>
                      <a:pt x="903" y="437"/>
                    </a:lnTo>
                    <a:lnTo>
                      <a:pt x="905" y="437"/>
                    </a:lnTo>
                    <a:lnTo>
                      <a:pt x="903" y="437"/>
                    </a:lnTo>
                    <a:lnTo>
                      <a:pt x="905" y="437"/>
                    </a:lnTo>
                    <a:lnTo>
                      <a:pt x="903" y="437"/>
                    </a:lnTo>
                    <a:lnTo>
                      <a:pt x="903" y="435"/>
                    </a:lnTo>
                    <a:lnTo>
                      <a:pt x="905" y="435"/>
                    </a:lnTo>
                    <a:lnTo>
                      <a:pt x="905" y="437"/>
                    </a:lnTo>
                    <a:lnTo>
                      <a:pt x="906" y="437"/>
                    </a:lnTo>
                    <a:lnTo>
                      <a:pt x="905" y="437"/>
                    </a:lnTo>
                    <a:lnTo>
                      <a:pt x="906" y="437"/>
                    </a:lnTo>
                    <a:lnTo>
                      <a:pt x="906" y="439"/>
                    </a:lnTo>
                    <a:lnTo>
                      <a:pt x="906" y="441"/>
                    </a:lnTo>
                    <a:lnTo>
                      <a:pt x="908" y="441"/>
                    </a:lnTo>
                    <a:lnTo>
                      <a:pt x="906" y="441"/>
                    </a:lnTo>
                    <a:lnTo>
                      <a:pt x="908" y="441"/>
                    </a:lnTo>
                    <a:lnTo>
                      <a:pt x="908" y="443"/>
                    </a:lnTo>
                    <a:lnTo>
                      <a:pt x="908" y="441"/>
                    </a:lnTo>
                    <a:lnTo>
                      <a:pt x="908" y="443"/>
                    </a:lnTo>
                    <a:lnTo>
                      <a:pt x="910" y="443"/>
                    </a:lnTo>
                    <a:lnTo>
                      <a:pt x="910" y="445"/>
                    </a:lnTo>
                    <a:lnTo>
                      <a:pt x="912" y="445"/>
                    </a:lnTo>
                    <a:lnTo>
                      <a:pt x="912" y="446"/>
                    </a:lnTo>
                    <a:lnTo>
                      <a:pt x="912" y="445"/>
                    </a:lnTo>
                    <a:lnTo>
                      <a:pt x="912" y="446"/>
                    </a:lnTo>
                    <a:lnTo>
                      <a:pt x="914" y="446"/>
                    </a:lnTo>
                    <a:lnTo>
                      <a:pt x="912" y="446"/>
                    </a:lnTo>
                    <a:lnTo>
                      <a:pt x="914" y="446"/>
                    </a:lnTo>
                    <a:lnTo>
                      <a:pt x="914" y="448"/>
                    </a:lnTo>
                    <a:lnTo>
                      <a:pt x="916" y="448"/>
                    </a:lnTo>
                    <a:lnTo>
                      <a:pt x="916" y="450"/>
                    </a:lnTo>
                    <a:lnTo>
                      <a:pt x="918" y="450"/>
                    </a:lnTo>
                    <a:lnTo>
                      <a:pt x="920" y="450"/>
                    </a:lnTo>
                    <a:lnTo>
                      <a:pt x="922" y="450"/>
                    </a:lnTo>
                    <a:lnTo>
                      <a:pt x="922" y="452"/>
                    </a:lnTo>
                    <a:lnTo>
                      <a:pt x="924" y="452"/>
                    </a:lnTo>
                    <a:lnTo>
                      <a:pt x="924" y="454"/>
                    </a:lnTo>
                    <a:lnTo>
                      <a:pt x="922" y="452"/>
                    </a:lnTo>
                    <a:lnTo>
                      <a:pt x="922" y="454"/>
                    </a:lnTo>
                    <a:lnTo>
                      <a:pt x="922" y="452"/>
                    </a:lnTo>
                    <a:lnTo>
                      <a:pt x="924" y="454"/>
                    </a:lnTo>
                    <a:lnTo>
                      <a:pt x="924" y="452"/>
                    </a:lnTo>
                    <a:lnTo>
                      <a:pt x="924" y="454"/>
                    </a:lnTo>
                    <a:lnTo>
                      <a:pt x="926" y="454"/>
                    </a:lnTo>
                    <a:lnTo>
                      <a:pt x="926" y="456"/>
                    </a:lnTo>
                    <a:lnTo>
                      <a:pt x="926" y="454"/>
                    </a:lnTo>
                    <a:lnTo>
                      <a:pt x="926" y="456"/>
                    </a:lnTo>
                    <a:lnTo>
                      <a:pt x="928" y="456"/>
                    </a:lnTo>
                    <a:lnTo>
                      <a:pt x="926" y="456"/>
                    </a:lnTo>
                    <a:lnTo>
                      <a:pt x="928" y="456"/>
                    </a:lnTo>
                    <a:lnTo>
                      <a:pt x="928" y="454"/>
                    </a:lnTo>
                    <a:lnTo>
                      <a:pt x="928" y="456"/>
                    </a:lnTo>
                    <a:lnTo>
                      <a:pt x="930" y="456"/>
                    </a:lnTo>
                    <a:lnTo>
                      <a:pt x="930" y="458"/>
                    </a:lnTo>
                    <a:lnTo>
                      <a:pt x="928" y="458"/>
                    </a:lnTo>
                    <a:lnTo>
                      <a:pt x="930" y="458"/>
                    </a:lnTo>
                    <a:lnTo>
                      <a:pt x="928" y="458"/>
                    </a:lnTo>
                    <a:lnTo>
                      <a:pt x="930" y="458"/>
                    </a:lnTo>
                    <a:lnTo>
                      <a:pt x="930" y="460"/>
                    </a:lnTo>
                    <a:lnTo>
                      <a:pt x="931" y="460"/>
                    </a:lnTo>
                    <a:lnTo>
                      <a:pt x="933" y="460"/>
                    </a:lnTo>
                    <a:lnTo>
                      <a:pt x="933" y="462"/>
                    </a:lnTo>
                    <a:lnTo>
                      <a:pt x="933" y="464"/>
                    </a:lnTo>
                    <a:lnTo>
                      <a:pt x="935" y="464"/>
                    </a:lnTo>
                    <a:lnTo>
                      <a:pt x="935" y="466"/>
                    </a:lnTo>
                    <a:lnTo>
                      <a:pt x="937" y="466"/>
                    </a:lnTo>
                    <a:lnTo>
                      <a:pt x="937" y="468"/>
                    </a:lnTo>
                    <a:lnTo>
                      <a:pt x="937" y="470"/>
                    </a:lnTo>
                    <a:lnTo>
                      <a:pt x="939" y="470"/>
                    </a:lnTo>
                    <a:lnTo>
                      <a:pt x="939" y="471"/>
                    </a:lnTo>
                    <a:lnTo>
                      <a:pt x="937" y="471"/>
                    </a:lnTo>
                    <a:lnTo>
                      <a:pt x="937" y="473"/>
                    </a:lnTo>
                    <a:lnTo>
                      <a:pt x="939" y="473"/>
                    </a:lnTo>
                    <a:lnTo>
                      <a:pt x="939" y="475"/>
                    </a:lnTo>
                    <a:lnTo>
                      <a:pt x="939" y="477"/>
                    </a:lnTo>
                    <a:lnTo>
                      <a:pt x="941" y="477"/>
                    </a:lnTo>
                    <a:lnTo>
                      <a:pt x="941" y="479"/>
                    </a:lnTo>
                    <a:lnTo>
                      <a:pt x="941" y="481"/>
                    </a:lnTo>
                    <a:lnTo>
                      <a:pt x="943" y="481"/>
                    </a:lnTo>
                    <a:lnTo>
                      <a:pt x="943" y="483"/>
                    </a:lnTo>
                    <a:lnTo>
                      <a:pt x="941" y="483"/>
                    </a:lnTo>
                    <a:lnTo>
                      <a:pt x="941" y="485"/>
                    </a:lnTo>
                    <a:lnTo>
                      <a:pt x="943" y="485"/>
                    </a:lnTo>
                    <a:lnTo>
                      <a:pt x="941" y="485"/>
                    </a:lnTo>
                    <a:lnTo>
                      <a:pt x="941" y="487"/>
                    </a:lnTo>
                    <a:lnTo>
                      <a:pt x="943" y="487"/>
                    </a:lnTo>
                    <a:lnTo>
                      <a:pt x="943" y="489"/>
                    </a:lnTo>
                    <a:lnTo>
                      <a:pt x="941" y="489"/>
                    </a:lnTo>
                    <a:lnTo>
                      <a:pt x="941" y="491"/>
                    </a:lnTo>
                    <a:lnTo>
                      <a:pt x="943" y="491"/>
                    </a:lnTo>
                    <a:lnTo>
                      <a:pt x="943" y="493"/>
                    </a:lnTo>
                    <a:lnTo>
                      <a:pt x="941" y="493"/>
                    </a:lnTo>
                    <a:lnTo>
                      <a:pt x="941" y="494"/>
                    </a:lnTo>
                    <a:lnTo>
                      <a:pt x="941" y="496"/>
                    </a:lnTo>
                    <a:lnTo>
                      <a:pt x="941" y="498"/>
                    </a:lnTo>
                    <a:lnTo>
                      <a:pt x="939" y="498"/>
                    </a:lnTo>
                    <a:lnTo>
                      <a:pt x="941" y="498"/>
                    </a:lnTo>
                    <a:lnTo>
                      <a:pt x="939" y="500"/>
                    </a:lnTo>
                    <a:lnTo>
                      <a:pt x="941" y="502"/>
                    </a:lnTo>
                    <a:lnTo>
                      <a:pt x="939" y="502"/>
                    </a:lnTo>
                    <a:lnTo>
                      <a:pt x="939" y="504"/>
                    </a:lnTo>
                    <a:lnTo>
                      <a:pt x="939" y="506"/>
                    </a:lnTo>
                    <a:lnTo>
                      <a:pt x="941" y="506"/>
                    </a:lnTo>
                    <a:lnTo>
                      <a:pt x="941" y="508"/>
                    </a:lnTo>
                    <a:lnTo>
                      <a:pt x="941" y="510"/>
                    </a:lnTo>
                    <a:lnTo>
                      <a:pt x="941" y="512"/>
                    </a:lnTo>
                    <a:lnTo>
                      <a:pt x="943" y="512"/>
                    </a:lnTo>
                    <a:lnTo>
                      <a:pt x="943" y="514"/>
                    </a:lnTo>
                    <a:lnTo>
                      <a:pt x="941" y="514"/>
                    </a:lnTo>
                    <a:lnTo>
                      <a:pt x="943" y="514"/>
                    </a:lnTo>
                    <a:lnTo>
                      <a:pt x="943" y="516"/>
                    </a:lnTo>
                    <a:lnTo>
                      <a:pt x="945" y="516"/>
                    </a:lnTo>
                    <a:lnTo>
                      <a:pt x="945" y="518"/>
                    </a:lnTo>
                    <a:lnTo>
                      <a:pt x="947" y="519"/>
                    </a:lnTo>
                    <a:lnTo>
                      <a:pt x="949" y="518"/>
                    </a:lnTo>
                    <a:lnTo>
                      <a:pt x="949" y="519"/>
                    </a:lnTo>
                    <a:lnTo>
                      <a:pt x="951" y="519"/>
                    </a:lnTo>
                    <a:lnTo>
                      <a:pt x="953" y="519"/>
                    </a:lnTo>
                    <a:lnTo>
                      <a:pt x="953" y="518"/>
                    </a:lnTo>
                    <a:lnTo>
                      <a:pt x="955" y="518"/>
                    </a:lnTo>
                    <a:lnTo>
                      <a:pt x="956" y="518"/>
                    </a:lnTo>
                    <a:lnTo>
                      <a:pt x="958" y="518"/>
                    </a:lnTo>
                    <a:lnTo>
                      <a:pt x="960" y="518"/>
                    </a:lnTo>
                    <a:lnTo>
                      <a:pt x="960" y="516"/>
                    </a:lnTo>
                    <a:lnTo>
                      <a:pt x="962" y="516"/>
                    </a:lnTo>
                    <a:lnTo>
                      <a:pt x="962" y="514"/>
                    </a:lnTo>
                    <a:lnTo>
                      <a:pt x="964" y="516"/>
                    </a:lnTo>
                    <a:lnTo>
                      <a:pt x="964" y="518"/>
                    </a:lnTo>
                    <a:lnTo>
                      <a:pt x="962" y="519"/>
                    </a:lnTo>
                    <a:lnTo>
                      <a:pt x="962" y="521"/>
                    </a:lnTo>
                    <a:lnTo>
                      <a:pt x="964" y="521"/>
                    </a:lnTo>
                    <a:lnTo>
                      <a:pt x="964" y="523"/>
                    </a:lnTo>
                    <a:lnTo>
                      <a:pt x="966" y="523"/>
                    </a:lnTo>
                    <a:lnTo>
                      <a:pt x="966" y="525"/>
                    </a:lnTo>
                    <a:lnTo>
                      <a:pt x="966" y="527"/>
                    </a:lnTo>
                    <a:lnTo>
                      <a:pt x="966" y="529"/>
                    </a:lnTo>
                    <a:lnTo>
                      <a:pt x="968" y="529"/>
                    </a:lnTo>
                    <a:lnTo>
                      <a:pt x="966" y="529"/>
                    </a:lnTo>
                    <a:lnTo>
                      <a:pt x="968" y="529"/>
                    </a:lnTo>
                    <a:lnTo>
                      <a:pt x="968" y="531"/>
                    </a:lnTo>
                    <a:lnTo>
                      <a:pt x="966" y="531"/>
                    </a:lnTo>
                    <a:lnTo>
                      <a:pt x="966" y="529"/>
                    </a:lnTo>
                    <a:lnTo>
                      <a:pt x="966" y="531"/>
                    </a:lnTo>
                    <a:lnTo>
                      <a:pt x="966" y="533"/>
                    </a:lnTo>
                    <a:lnTo>
                      <a:pt x="968" y="533"/>
                    </a:lnTo>
                    <a:lnTo>
                      <a:pt x="968" y="535"/>
                    </a:lnTo>
                    <a:lnTo>
                      <a:pt x="968" y="533"/>
                    </a:lnTo>
                    <a:lnTo>
                      <a:pt x="970" y="533"/>
                    </a:lnTo>
                    <a:lnTo>
                      <a:pt x="970" y="535"/>
                    </a:lnTo>
                    <a:lnTo>
                      <a:pt x="972" y="535"/>
                    </a:lnTo>
                    <a:lnTo>
                      <a:pt x="974" y="535"/>
                    </a:lnTo>
                    <a:lnTo>
                      <a:pt x="974" y="537"/>
                    </a:lnTo>
                    <a:lnTo>
                      <a:pt x="976" y="537"/>
                    </a:lnTo>
                    <a:lnTo>
                      <a:pt x="976" y="539"/>
                    </a:lnTo>
                    <a:lnTo>
                      <a:pt x="978" y="539"/>
                    </a:lnTo>
                    <a:lnTo>
                      <a:pt x="978" y="541"/>
                    </a:lnTo>
                    <a:lnTo>
                      <a:pt x="976" y="541"/>
                    </a:lnTo>
                    <a:lnTo>
                      <a:pt x="978" y="541"/>
                    </a:lnTo>
                    <a:lnTo>
                      <a:pt x="979" y="541"/>
                    </a:lnTo>
                    <a:lnTo>
                      <a:pt x="979" y="543"/>
                    </a:lnTo>
                    <a:lnTo>
                      <a:pt x="981" y="544"/>
                    </a:lnTo>
                    <a:lnTo>
                      <a:pt x="981" y="543"/>
                    </a:lnTo>
                    <a:lnTo>
                      <a:pt x="983" y="543"/>
                    </a:lnTo>
                    <a:lnTo>
                      <a:pt x="983" y="544"/>
                    </a:lnTo>
                    <a:lnTo>
                      <a:pt x="981" y="544"/>
                    </a:lnTo>
                    <a:lnTo>
                      <a:pt x="981" y="546"/>
                    </a:lnTo>
                    <a:lnTo>
                      <a:pt x="981" y="548"/>
                    </a:lnTo>
                    <a:lnTo>
                      <a:pt x="983" y="548"/>
                    </a:lnTo>
                    <a:lnTo>
                      <a:pt x="983" y="550"/>
                    </a:lnTo>
                    <a:lnTo>
                      <a:pt x="985" y="550"/>
                    </a:lnTo>
                    <a:lnTo>
                      <a:pt x="985" y="552"/>
                    </a:lnTo>
                    <a:lnTo>
                      <a:pt x="983" y="552"/>
                    </a:lnTo>
                    <a:lnTo>
                      <a:pt x="983" y="554"/>
                    </a:lnTo>
                    <a:lnTo>
                      <a:pt x="985" y="554"/>
                    </a:lnTo>
                    <a:lnTo>
                      <a:pt x="985" y="556"/>
                    </a:lnTo>
                    <a:lnTo>
                      <a:pt x="985" y="558"/>
                    </a:lnTo>
                    <a:lnTo>
                      <a:pt x="985" y="560"/>
                    </a:lnTo>
                    <a:lnTo>
                      <a:pt x="983" y="560"/>
                    </a:lnTo>
                    <a:lnTo>
                      <a:pt x="983" y="562"/>
                    </a:lnTo>
                    <a:lnTo>
                      <a:pt x="983" y="564"/>
                    </a:lnTo>
                    <a:lnTo>
                      <a:pt x="981" y="564"/>
                    </a:lnTo>
                    <a:lnTo>
                      <a:pt x="981" y="566"/>
                    </a:lnTo>
                    <a:lnTo>
                      <a:pt x="981" y="564"/>
                    </a:lnTo>
                    <a:lnTo>
                      <a:pt x="979" y="566"/>
                    </a:lnTo>
                    <a:lnTo>
                      <a:pt x="981" y="566"/>
                    </a:lnTo>
                    <a:lnTo>
                      <a:pt x="979" y="566"/>
                    </a:lnTo>
                    <a:lnTo>
                      <a:pt x="979" y="568"/>
                    </a:lnTo>
                    <a:lnTo>
                      <a:pt x="979" y="569"/>
                    </a:lnTo>
                    <a:lnTo>
                      <a:pt x="979" y="568"/>
                    </a:lnTo>
                    <a:lnTo>
                      <a:pt x="979" y="569"/>
                    </a:lnTo>
                    <a:lnTo>
                      <a:pt x="978" y="569"/>
                    </a:lnTo>
                    <a:lnTo>
                      <a:pt x="978" y="571"/>
                    </a:lnTo>
                    <a:lnTo>
                      <a:pt x="979" y="571"/>
                    </a:lnTo>
                    <a:lnTo>
                      <a:pt x="979" y="573"/>
                    </a:lnTo>
                    <a:lnTo>
                      <a:pt x="979" y="575"/>
                    </a:lnTo>
                    <a:lnTo>
                      <a:pt x="981" y="575"/>
                    </a:lnTo>
                    <a:lnTo>
                      <a:pt x="979" y="575"/>
                    </a:lnTo>
                    <a:lnTo>
                      <a:pt x="981" y="575"/>
                    </a:lnTo>
                    <a:lnTo>
                      <a:pt x="981" y="577"/>
                    </a:lnTo>
                    <a:lnTo>
                      <a:pt x="981" y="579"/>
                    </a:lnTo>
                    <a:lnTo>
                      <a:pt x="981" y="577"/>
                    </a:lnTo>
                    <a:lnTo>
                      <a:pt x="983" y="579"/>
                    </a:lnTo>
                    <a:lnTo>
                      <a:pt x="981" y="579"/>
                    </a:lnTo>
                    <a:lnTo>
                      <a:pt x="983" y="579"/>
                    </a:lnTo>
                    <a:lnTo>
                      <a:pt x="983" y="577"/>
                    </a:lnTo>
                    <a:lnTo>
                      <a:pt x="981" y="577"/>
                    </a:lnTo>
                    <a:lnTo>
                      <a:pt x="981" y="575"/>
                    </a:lnTo>
                    <a:lnTo>
                      <a:pt x="979" y="575"/>
                    </a:lnTo>
                    <a:lnTo>
                      <a:pt x="981" y="575"/>
                    </a:lnTo>
                    <a:lnTo>
                      <a:pt x="979" y="573"/>
                    </a:lnTo>
                    <a:lnTo>
                      <a:pt x="979" y="575"/>
                    </a:lnTo>
                    <a:lnTo>
                      <a:pt x="979" y="573"/>
                    </a:lnTo>
                    <a:lnTo>
                      <a:pt x="979" y="571"/>
                    </a:lnTo>
                    <a:lnTo>
                      <a:pt x="979" y="573"/>
                    </a:lnTo>
                    <a:lnTo>
                      <a:pt x="979" y="571"/>
                    </a:lnTo>
                    <a:lnTo>
                      <a:pt x="978" y="571"/>
                    </a:lnTo>
                    <a:lnTo>
                      <a:pt x="978" y="569"/>
                    </a:lnTo>
                    <a:lnTo>
                      <a:pt x="979" y="569"/>
                    </a:lnTo>
                    <a:lnTo>
                      <a:pt x="979" y="571"/>
                    </a:lnTo>
                    <a:lnTo>
                      <a:pt x="979" y="569"/>
                    </a:lnTo>
                    <a:lnTo>
                      <a:pt x="979" y="571"/>
                    </a:lnTo>
                    <a:lnTo>
                      <a:pt x="979" y="569"/>
                    </a:lnTo>
                    <a:lnTo>
                      <a:pt x="979" y="568"/>
                    </a:lnTo>
                    <a:lnTo>
                      <a:pt x="981" y="566"/>
                    </a:lnTo>
                    <a:lnTo>
                      <a:pt x="981" y="564"/>
                    </a:lnTo>
                    <a:lnTo>
                      <a:pt x="983" y="564"/>
                    </a:lnTo>
                    <a:lnTo>
                      <a:pt x="983" y="562"/>
                    </a:lnTo>
                    <a:lnTo>
                      <a:pt x="983" y="560"/>
                    </a:lnTo>
                    <a:lnTo>
                      <a:pt x="985" y="560"/>
                    </a:lnTo>
                    <a:lnTo>
                      <a:pt x="985" y="558"/>
                    </a:lnTo>
                    <a:lnTo>
                      <a:pt x="987" y="558"/>
                    </a:lnTo>
                    <a:lnTo>
                      <a:pt x="989" y="558"/>
                    </a:lnTo>
                    <a:lnTo>
                      <a:pt x="991" y="558"/>
                    </a:lnTo>
                    <a:lnTo>
                      <a:pt x="993" y="558"/>
                    </a:lnTo>
                    <a:lnTo>
                      <a:pt x="991" y="558"/>
                    </a:lnTo>
                    <a:lnTo>
                      <a:pt x="993" y="556"/>
                    </a:lnTo>
                    <a:lnTo>
                      <a:pt x="993" y="558"/>
                    </a:lnTo>
                    <a:lnTo>
                      <a:pt x="993" y="556"/>
                    </a:lnTo>
                    <a:lnTo>
                      <a:pt x="995" y="556"/>
                    </a:lnTo>
                    <a:lnTo>
                      <a:pt x="997" y="556"/>
                    </a:lnTo>
                    <a:lnTo>
                      <a:pt x="999" y="556"/>
                    </a:lnTo>
                    <a:lnTo>
                      <a:pt x="1001" y="556"/>
                    </a:lnTo>
                    <a:lnTo>
                      <a:pt x="1003" y="556"/>
                    </a:lnTo>
                    <a:lnTo>
                      <a:pt x="1004" y="556"/>
                    </a:lnTo>
                    <a:lnTo>
                      <a:pt x="1004" y="558"/>
                    </a:lnTo>
                    <a:lnTo>
                      <a:pt x="1006" y="556"/>
                    </a:lnTo>
                    <a:lnTo>
                      <a:pt x="1006" y="558"/>
                    </a:lnTo>
                    <a:lnTo>
                      <a:pt x="1006" y="556"/>
                    </a:lnTo>
                    <a:lnTo>
                      <a:pt x="1008" y="556"/>
                    </a:lnTo>
                    <a:lnTo>
                      <a:pt x="1006" y="556"/>
                    </a:lnTo>
                    <a:lnTo>
                      <a:pt x="1008" y="556"/>
                    </a:lnTo>
                    <a:lnTo>
                      <a:pt x="1006" y="556"/>
                    </a:lnTo>
                    <a:lnTo>
                      <a:pt x="1006" y="558"/>
                    </a:lnTo>
                    <a:lnTo>
                      <a:pt x="1006" y="556"/>
                    </a:lnTo>
                    <a:lnTo>
                      <a:pt x="1004" y="558"/>
                    </a:lnTo>
                    <a:lnTo>
                      <a:pt x="1004" y="556"/>
                    </a:lnTo>
                    <a:lnTo>
                      <a:pt x="1003" y="556"/>
                    </a:lnTo>
                    <a:lnTo>
                      <a:pt x="1001" y="556"/>
                    </a:lnTo>
                    <a:lnTo>
                      <a:pt x="999" y="556"/>
                    </a:lnTo>
                    <a:lnTo>
                      <a:pt x="997" y="556"/>
                    </a:lnTo>
                    <a:lnTo>
                      <a:pt x="995" y="556"/>
                    </a:lnTo>
                    <a:lnTo>
                      <a:pt x="993" y="556"/>
                    </a:lnTo>
                    <a:lnTo>
                      <a:pt x="993" y="558"/>
                    </a:lnTo>
                    <a:lnTo>
                      <a:pt x="991" y="558"/>
                    </a:lnTo>
                    <a:lnTo>
                      <a:pt x="989" y="558"/>
                    </a:lnTo>
                    <a:lnTo>
                      <a:pt x="987" y="558"/>
                    </a:lnTo>
                    <a:lnTo>
                      <a:pt x="985" y="558"/>
                    </a:lnTo>
                    <a:lnTo>
                      <a:pt x="985" y="556"/>
                    </a:lnTo>
                    <a:lnTo>
                      <a:pt x="985" y="554"/>
                    </a:lnTo>
                    <a:lnTo>
                      <a:pt x="983" y="554"/>
                    </a:lnTo>
                    <a:lnTo>
                      <a:pt x="983" y="552"/>
                    </a:lnTo>
                    <a:lnTo>
                      <a:pt x="985" y="552"/>
                    </a:lnTo>
                    <a:lnTo>
                      <a:pt x="985" y="550"/>
                    </a:lnTo>
                    <a:lnTo>
                      <a:pt x="983" y="550"/>
                    </a:lnTo>
                    <a:lnTo>
                      <a:pt x="983" y="548"/>
                    </a:lnTo>
                    <a:lnTo>
                      <a:pt x="981" y="548"/>
                    </a:lnTo>
                    <a:lnTo>
                      <a:pt x="981" y="546"/>
                    </a:lnTo>
                    <a:lnTo>
                      <a:pt x="981" y="544"/>
                    </a:lnTo>
                    <a:lnTo>
                      <a:pt x="983" y="544"/>
                    </a:lnTo>
                    <a:lnTo>
                      <a:pt x="981" y="544"/>
                    </a:lnTo>
                    <a:lnTo>
                      <a:pt x="983" y="544"/>
                    </a:lnTo>
                    <a:lnTo>
                      <a:pt x="983" y="543"/>
                    </a:lnTo>
                    <a:lnTo>
                      <a:pt x="981" y="543"/>
                    </a:lnTo>
                    <a:lnTo>
                      <a:pt x="981" y="544"/>
                    </a:lnTo>
                    <a:lnTo>
                      <a:pt x="981" y="543"/>
                    </a:lnTo>
                    <a:lnTo>
                      <a:pt x="979" y="543"/>
                    </a:lnTo>
                    <a:lnTo>
                      <a:pt x="979" y="541"/>
                    </a:lnTo>
                    <a:lnTo>
                      <a:pt x="978" y="541"/>
                    </a:lnTo>
                    <a:lnTo>
                      <a:pt x="976" y="541"/>
                    </a:lnTo>
                    <a:lnTo>
                      <a:pt x="978" y="541"/>
                    </a:lnTo>
                    <a:lnTo>
                      <a:pt x="978" y="539"/>
                    </a:lnTo>
                    <a:lnTo>
                      <a:pt x="976" y="539"/>
                    </a:lnTo>
                    <a:lnTo>
                      <a:pt x="976" y="537"/>
                    </a:lnTo>
                    <a:lnTo>
                      <a:pt x="974" y="537"/>
                    </a:lnTo>
                    <a:lnTo>
                      <a:pt x="974" y="535"/>
                    </a:lnTo>
                    <a:lnTo>
                      <a:pt x="972" y="535"/>
                    </a:lnTo>
                    <a:lnTo>
                      <a:pt x="970" y="535"/>
                    </a:lnTo>
                    <a:lnTo>
                      <a:pt x="970" y="533"/>
                    </a:lnTo>
                    <a:lnTo>
                      <a:pt x="968" y="533"/>
                    </a:lnTo>
                    <a:lnTo>
                      <a:pt x="968" y="535"/>
                    </a:lnTo>
                    <a:lnTo>
                      <a:pt x="968" y="533"/>
                    </a:lnTo>
                    <a:lnTo>
                      <a:pt x="966" y="533"/>
                    </a:lnTo>
                    <a:lnTo>
                      <a:pt x="966" y="531"/>
                    </a:lnTo>
                    <a:lnTo>
                      <a:pt x="968" y="531"/>
                    </a:lnTo>
                    <a:lnTo>
                      <a:pt x="968" y="529"/>
                    </a:lnTo>
                    <a:lnTo>
                      <a:pt x="966" y="529"/>
                    </a:lnTo>
                    <a:lnTo>
                      <a:pt x="966" y="527"/>
                    </a:lnTo>
                    <a:lnTo>
                      <a:pt x="966" y="525"/>
                    </a:lnTo>
                    <a:lnTo>
                      <a:pt x="966" y="527"/>
                    </a:lnTo>
                    <a:lnTo>
                      <a:pt x="966" y="525"/>
                    </a:lnTo>
                    <a:lnTo>
                      <a:pt x="966" y="527"/>
                    </a:lnTo>
                    <a:lnTo>
                      <a:pt x="966" y="525"/>
                    </a:lnTo>
                    <a:lnTo>
                      <a:pt x="966" y="523"/>
                    </a:lnTo>
                    <a:lnTo>
                      <a:pt x="964" y="523"/>
                    </a:lnTo>
                    <a:lnTo>
                      <a:pt x="964" y="521"/>
                    </a:lnTo>
                    <a:lnTo>
                      <a:pt x="962" y="521"/>
                    </a:lnTo>
                    <a:lnTo>
                      <a:pt x="962" y="519"/>
                    </a:lnTo>
                    <a:lnTo>
                      <a:pt x="964" y="518"/>
                    </a:lnTo>
                    <a:lnTo>
                      <a:pt x="964" y="516"/>
                    </a:lnTo>
                    <a:lnTo>
                      <a:pt x="964" y="514"/>
                    </a:lnTo>
                    <a:lnTo>
                      <a:pt x="962" y="514"/>
                    </a:lnTo>
                    <a:lnTo>
                      <a:pt x="962" y="516"/>
                    </a:lnTo>
                    <a:lnTo>
                      <a:pt x="960" y="516"/>
                    </a:lnTo>
                    <a:lnTo>
                      <a:pt x="960" y="514"/>
                    </a:lnTo>
                    <a:lnTo>
                      <a:pt x="960" y="516"/>
                    </a:lnTo>
                    <a:lnTo>
                      <a:pt x="958" y="518"/>
                    </a:lnTo>
                    <a:lnTo>
                      <a:pt x="958" y="516"/>
                    </a:lnTo>
                    <a:lnTo>
                      <a:pt x="958" y="518"/>
                    </a:lnTo>
                    <a:lnTo>
                      <a:pt x="956" y="518"/>
                    </a:lnTo>
                    <a:lnTo>
                      <a:pt x="955" y="518"/>
                    </a:lnTo>
                    <a:lnTo>
                      <a:pt x="953" y="518"/>
                    </a:lnTo>
                    <a:lnTo>
                      <a:pt x="953" y="519"/>
                    </a:lnTo>
                    <a:lnTo>
                      <a:pt x="951" y="519"/>
                    </a:lnTo>
                    <a:lnTo>
                      <a:pt x="951" y="518"/>
                    </a:lnTo>
                    <a:lnTo>
                      <a:pt x="949" y="518"/>
                    </a:lnTo>
                    <a:lnTo>
                      <a:pt x="947" y="519"/>
                    </a:lnTo>
                    <a:lnTo>
                      <a:pt x="945" y="518"/>
                    </a:lnTo>
                    <a:lnTo>
                      <a:pt x="945" y="516"/>
                    </a:lnTo>
                    <a:lnTo>
                      <a:pt x="943" y="516"/>
                    </a:lnTo>
                    <a:lnTo>
                      <a:pt x="943" y="514"/>
                    </a:lnTo>
                    <a:lnTo>
                      <a:pt x="941" y="514"/>
                    </a:lnTo>
                    <a:lnTo>
                      <a:pt x="943" y="514"/>
                    </a:lnTo>
                    <a:lnTo>
                      <a:pt x="943" y="512"/>
                    </a:lnTo>
                    <a:lnTo>
                      <a:pt x="941" y="512"/>
                    </a:lnTo>
                    <a:lnTo>
                      <a:pt x="941" y="510"/>
                    </a:lnTo>
                    <a:lnTo>
                      <a:pt x="941" y="508"/>
                    </a:lnTo>
                    <a:lnTo>
                      <a:pt x="941" y="506"/>
                    </a:lnTo>
                    <a:lnTo>
                      <a:pt x="939" y="506"/>
                    </a:lnTo>
                    <a:lnTo>
                      <a:pt x="939" y="504"/>
                    </a:lnTo>
                    <a:lnTo>
                      <a:pt x="939" y="502"/>
                    </a:lnTo>
                    <a:lnTo>
                      <a:pt x="941" y="502"/>
                    </a:lnTo>
                    <a:lnTo>
                      <a:pt x="941" y="500"/>
                    </a:lnTo>
                    <a:lnTo>
                      <a:pt x="939" y="500"/>
                    </a:lnTo>
                    <a:lnTo>
                      <a:pt x="941" y="498"/>
                    </a:lnTo>
                    <a:lnTo>
                      <a:pt x="939" y="498"/>
                    </a:lnTo>
                    <a:lnTo>
                      <a:pt x="941" y="498"/>
                    </a:lnTo>
                    <a:lnTo>
                      <a:pt x="941" y="496"/>
                    </a:lnTo>
                    <a:lnTo>
                      <a:pt x="941" y="494"/>
                    </a:lnTo>
                    <a:lnTo>
                      <a:pt x="941" y="493"/>
                    </a:lnTo>
                    <a:lnTo>
                      <a:pt x="943" y="493"/>
                    </a:lnTo>
                    <a:lnTo>
                      <a:pt x="943" y="491"/>
                    </a:lnTo>
                    <a:lnTo>
                      <a:pt x="943" y="489"/>
                    </a:lnTo>
                    <a:lnTo>
                      <a:pt x="943" y="487"/>
                    </a:lnTo>
                    <a:lnTo>
                      <a:pt x="941" y="487"/>
                    </a:lnTo>
                    <a:lnTo>
                      <a:pt x="943" y="485"/>
                    </a:lnTo>
                    <a:lnTo>
                      <a:pt x="941" y="485"/>
                    </a:lnTo>
                    <a:lnTo>
                      <a:pt x="941" y="483"/>
                    </a:lnTo>
                    <a:lnTo>
                      <a:pt x="943" y="483"/>
                    </a:lnTo>
                    <a:lnTo>
                      <a:pt x="943" y="481"/>
                    </a:lnTo>
                    <a:lnTo>
                      <a:pt x="941" y="479"/>
                    </a:lnTo>
                    <a:lnTo>
                      <a:pt x="941" y="477"/>
                    </a:lnTo>
                    <a:lnTo>
                      <a:pt x="941" y="475"/>
                    </a:lnTo>
                    <a:lnTo>
                      <a:pt x="939" y="475"/>
                    </a:lnTo>
                    <a:lnTo>
                      <a:pt x="939" y="473"/>
                    </a:lnTo>
                    <a:lnTo>
                      <a:pt x="939" y="471"/>
                    </a:lnTo>
                    <a:lnTo>
                      <a:pt x="939" y="470"/>
                    </a:lnTo>
                    <a:lnTo>
                      <a:pt x="937" y="470"/>
                    </a:lnTo>
                    <a:lnTo>
                      <a:pt x="937" y="468"/>
                    </a:lnTo>
                    <a:lnTo>
                      <a:pt x="939" y="468"/>
                    </a:lnTo>
                    <a:lnTo>
                      <a:pt x="939" y="470"/>
                    </a:lnTo>
                    <a:lnTo>
                      <a:pt x="939" y="468"/>
                    </a:lnTo>
                    <a:lnTo>
                      <a:pt x="937" y="468"/>
                    </a:lnTo>
                    <a:lnTo>
                      <a:pt x="937" y="466"/>
                    </a:lnTo>
                    <a:lnTo>
                      <a:pt x="935" y="466"/>
                    </a:lnTo>
                    <a:lnTo>
                      <a:pt x="935" y="464"/>
                    </a:lnTo>
                    <a:lnTo>
                      <a:pt x="935" y="466"/>
                    </a:lnTo>
                    <a:lnTo>
                      <a:pt x="935" y="464"/>
                    </a:lnTo>
                    <a:lnTo>
                      <a:pt x="937" y="464"/>
                    </a:lnTo>
                    <a:lnTo>
                      <a:pt x="935" y="464"/>
                    </a:lnTo>
                    <a:lnTo>
                      <a:pt x="937" y="464"/>
                    </a:lnTo>
                    <a:lnTo>
                      <a:pt x="935" y="464"/>
                    </a:lnTo>
                    <a:lnTo>
                      <a:pt x="933" y="464"/>
                    </a:lnTo>
                    <a:lnTo>
                      <a:pt x="933" y="462"/>
                    </a:lnTo>
                    <a:lnTo>
                      <a:pt x="933" y="460"/>
                    </a:lnTo>
                    <a:lnTo>
                      <a:pt x="933" y="462"/>
                    </a:lnTo>
                    <a:lnTo>
                      <a:pt x="935" y="462"/>
                    </a:lnTo>
                    <a:lnTo>
                      <a:pt x="933" y="460"/>
                    </a:lnTo>
                    <a:lnTo>
                      <a:pt x="931" y="460"/>
                    </a:lnTo>
                    <a:lnTo>
                      <a:pt x="930" y="460"/>
                    </a:lnTo>
                    <a:lnTo>
                      <a:pt x="930" y="458"/>
                    </a:lnTo>
                    <a:lnTo>
                      <a:pt x="930" y="456"/>
                    </a:lnTo>
                    <a:lnTo>
                      <a:pt x="930" y="458"/>
                    </a:lnTo>
                    <a:lnTo>
                      <a:pt x="931" y="458"/>
                    </a:lnTo>
                    <a:lnTo>
                      <a:pt x="931" y="456"/>
                    </a:lnTo>
                    <a:lnTo>
                      <a:pt x="931" y="458"/>
                    </a:lnTo>
                    <a:lnTo>
                      <a:pt x="933" y="458"/>
                    </a:lnTo>
                    <a:lnTo>
                      <a:pt x="933" y="460"/>
                    </a:lnTo>
                    <a:lnTo>
                      <a:pt x="935" y="460"/>
                    </a:lnTo>
                    <a:lnTo>
                      <a:pt x="937" y="460"/>
                    </a:lnTo>
                    <a:lnTo>
                      <a:pt x="937" y="462"/>
                    </a:lnTo>
                    <a:lnTo>
                      <a:pt x="937" y="460"/>
                    </a:lnTo>
                    <a:lnTo>
                      <a:pt x="937" y="462"/>
                    </a:lnTo>
                    <a:lnTo>
                      <a:pt x="939" y="462"/>
                    </a:lnTo>
                    <a:lnTo>
                      <a:pt x="937" y="462"/>
                    </a:lnTo>
                    <a:lnTo>
                      <a:pt x="937" y="460"/>
                    </a:lnTo>
                    <a:lnTo>
                      <a:pt x="937" y="462"/>
                    </a:lnTo>
                    <a:lnTo>
                      <a:pt x="937" y="460"/>
                    </a:lnTo>
                    <a:lnTo>
                      <a:pt x="935" y="460"/>
                    </a:lnTo>
                    <a:lnTo>
                      <a:pt x="933" y="460"/>
                    </a:lnTo>
                    <a:lnTo>
                      <a:pt x="933" y="458"/>
                    </a:lnTo>
                    <a:lnTo>
                      <a:pt x="931" y="458"/>
                    </a:lnTo>
                    <a:lnTo>
                      <a:pt x="933" y="458"/>
                    </a:lnTo>
                    <a:lnTo>
                      <a:pt x="931" y="458"/>
                    </a:lnTo>
                    <a:lnTo>
                      <a:pt x="931" y="456"/>
                    </a:lnTo>
                    <a:lnTo>
                      <a:pt x="931" y="458"/>
                    </a:lnTo>
                    <a:lnTo>
                      <a:pt x="930" y="458"/>
                    </a:lnTo>
                    <a:lnTo>
                      <a:pt x="930" y="456"/>
                    </a:lnTo>
                    <a:lnTo>
                      <a:pt x="928" y="456"/>
                    </a:lnTo>
                    <a:lnTo>
                      <a:pt x="930" y="456"/>
                    </a:lnTo>
                    <a:lnTo>
                      <a:pt x="928" y="456"/>
                    </a:lnTo>
                    <a:lnTo>
                      <a:pt x="928" y="454"/>
                    </a:lnTo>
                    <a:lnTo>
                      <a:pt x="928" y="456"/>
                    </a:lnTo>
                    <a:lnTo>
                      <a:pt x="928" y="454"/>
                    </a:lnTo>
                    <a:lnTo>
                      <a:pt x="926" y="454"/>
                    </a:lnTo>
                    <a:lnTo>
                      <a:pt x="924" y="454"/>
                    </a:lnTo>
                    <a:lnTo>
                      <a:pt x="924" y="452"/>
                    </a:lnTo>
                    <a:lnTo>
                      <a:pt x="926" y="452"/>
                    </a:lnTo>
                    <a:lnTo>
                      <a:pt x="924" y="452"/>
                    </a:lnTo>
                    <a:lnTo>
                      <a:pt x="922" y="450"/>
                    </a:lnTo>
                    <a:lnTo>
                      <a:pt x="920" y="450"/>
                    </a:lnTo>
                    <a:lnTo>
                      <a:pt x="922" y="450"/>
                    </a:lnTo>
                    <a:lnTo>
                      <a:pt x="920" y="450"/>
                    </a:lnTo>
                    <a:lnTo>
                      <a:pt x="918" y="450"/>
                    </a:lnTo>
                    <a:lnTo>
                      <a:pt x="916" y="450"/>
                    </a:lnTo>
                    <a:lnTo>
                      <a:pt x="916" y="448"/>
                    </a:lnTo>
                    <a:lnTo>
                      <a:pt x="914" y="448"/>
                    </a:lnTo>
                    <a:lnTo>
                      <a:pt x="914" y="446"/>
                    </a:lnTo>
                    <a:lnTo>
                      <a:pt x="914" y="448"/>
                    </a:lnTo>
                    <a:lnTo>
                      <a:pt x="914" y="446"/>
                    </a:lnTo>
                    <a:lnTo>
                      <a:pt x="912" y="446"/>
                    </a:lnTo>
                    <a:lnTo>
                      <a:pt x="914" y="446"/>
                    </a:lnTo>
                    <a:lnTo>
                      <a:pt x="912" y="446"/>
                    </a:lnTo>
                    <a:lnTo>
                      <a:pt x="912" y="445"/>
                    </a:lnTo>
                    <a:lnTo>
                      <a:pt x="910" y="445"/>
                    </a:lnTo>
                    <a:lnTo>
                      <a:pt x="910" y="443"/>
                    </a:lnTo>
                    <a:lnTo>
                      <a:pt x="910" y="441"/>
                    </a:lnTo>
                    <a:lnTo>
                      <a:pt x="908" y="441"/>
                    </a:lnTo>
                    <a:lnTo>
                      <a:pt x="908" y="439"/>
                    </a:lnTo>
                    <a:lnTo>
                      <a:pt x="906" y="439"/>
                    </a:lnTo>
                    <a:lnTo>
                      <a:pt x="908" y="439"/>
                    </a:lnTo>
                    <a:lnTo>
                      <a:pt x="906" y="439"/>
                    </a:lnTo>
                    <a:lnTo>
                      <a:pt x="908" y="439"/>
                    </a:lnTo>
                    <a:lnTo>
                      <a:pt x="906" y="439"/>
                    </a:lnTo>
                    <a:lnTo>
                      <a:pt x="906" y="437"/>
                    </a:lnTo>
                    <a:lnTo>
                      <a:pt x="905" y="437"/>
                    </a:lnTo>
                    <a:lnTo>
                      <a:pt x="905" y="435"/>
                    </a:lnTo>
                    <a:lnTo>
                      <a:pt x="903" y="435"/>
                    </a:lnTo>
                    <a:lnTo>
                      <a:pt x="905" y="435"/>
                    </a:lnTo>
                    <a:lnTo>
                      <a:pt x="903" y="435"/>
                    </a:lnTo>
                    <a:lnTo>
                      <a:pt x="903" y="433"/>
                    </a:lnTo>
                    <a:lnTo>
                      <a:pt x="903" y="435"/>
                    </a:lnTo>
                    <a:lnTo>
                      <a:pt x="903" y="433"/>
                    </a:lnTo>
                    <a:lnTo>
                      <a:pt x="903" y="435"/>
                    </a:lnTo>
                    <a:lnTo>
                      <a:pt x="905" y="435"/>
                    </a:lnTo>
                    <a:lnTo>
                      <a:pt x="903" y="435"/>
                    </a:lnTo>
                    <a:lnTo>
                      <a:pt x="905" y="435"/>
                    </a:lnTo>
                    <a:lnTo>
                      <a:pt x="903" y="435"/>
                    </a:lnTo>
                    <a:lnTo>
                      <a:pt x="903" y="433"/>
                    </a:lnTo>
                    <a:lnTo>
                      <a:pt x="901" y="431"/>
                    </a:lnTo>
                    <a:lnTo>
                      <a:pt x="901" y="433"/>
                    </a:lnTo>
                    <a:lnTo>
                      <a:pt x="901" y="431"/>
                    </a:lnTo>
                    <a:lnTo>
                      <a:pt x="899" y="431"/>
                    </a:lnTo>
                    <a:lnTo>
                      <a:pt x="901" y="431"/>
                    </a:lnTo>
                    <a:lnTo>
                      <a:pt x="899" y="431"/>
                    </a:lnTo>
                    <a:lnTo>
                      <a:pt x="899" y="429"/>
                    </a:lnTo>
                    <a:lnTo>
                      <a:pt x="899" y="431"/>
                    </a:lnTo>
                    <a:lnTo>
                      <a:pt x="901" y="431"/>
                    </a:lnTo>
                    <a:lnTo>
                      <a:pt x="899" y="431"/>
                    </a:lnTo>
                    <a:lnTo>
                      <a:pt x="899" y="429"/>
                    </a:lnTo>
                    <a:lnTo>
                      <a:pt x="897" y="427"/>
                    </a:lnTo>
                    <a:lnTo>
                      <a:pt x="899" y="427"/>
                    </a:lnTo>
                    <a:lnTo>
                      <a:pt x="899" y="429"/>
                    </a:lnTo>
                    <a:lnTo>
                      <a:pt x="899" y="427"/>
                    </a:lnTo>
                    <a:lnTo>
                      <a:pt x="897" y="427"/>
                    </a:lnTo>
                    <a:lnTo>
                      <a:pt x="897" y="425"/>
                    </a:lnTo>
                    <a:lnTo>
                      <a:pt x="897" y="423"/>
                    </a:lnTo>
                    <a:lnTo>
                      <a:pt x="895" y="423"/>
                    </a:lnTo>
                    <a:lnTo>
                      <a:pt x="893" y="423"/>
                    </a:lnTo>
                    <a:lnTo>
                      <a:pt x="893" y="421"/>
                    </a:lnTo>
                    <a:lnTo>
                      <a:pt x="893" y="420"/>
                    </a:lnTo>
                    <a:lnTo>
                      <a:pt x="893" y="418"/>
                    </a:lnTo>
                    <a:lnTo>
                      <a:pt x="893" y="420"/>
                    </a:lnTo>
                    <a:lnTo>
                      <a:pt x="893" y="418"/>
                    </a:lnTo>
                    <a:lnTo>
                      <a:pt x="893" y="420"/>
                    </a:lnTo>
                    <a:lnTo>
                      <a:pt x="893" y="421"/>
                    </a:lnTo>
                    <a:lnTo>
                      <a:pt x="893" y="420"/>
                    </a:lnTo>
                    <a:lnTo>
                      <a:pt x="893" y="421"/>
                    </a:lnTo>
                    <a:lnTo>
                      <a:pt x="893" y="420"/>
                    </a:lnTo>
                    <a:lnTo>
                      <a:pt x="891" y="420"/>
                    </a:lnTo>
                    <a:lnTo>
                      <a:pt x="893" y="420"/>
                    </a:lnTo>
                    <a:lnTo>
                      <a:pt x="891" y="418"/>
                    </a:lnTo>
                    <a:lnTo>
                      <a:pt x="893" y="418"/>
                    </a:lnTo>
                    <a:lnTo>
                      <a:pt x="893" y="420"/>
                    </a:lnTo>
                    <a:lnTo>
                      <a:pt x="893" y="418"/>
                    </a:lnTo>
                    <a:lnTo>
                      <a:pt x="891" y="418"/>
                    </a:lnTo>
                    <a:lnTo>
                      <a:pt x="891" y="416"/>
                    </a:lnTo>
                    <a:lnTo>
                      <a:pt x="893" y="416"/>
                    </a:lnTo>
                    <a:lnTo>
                      <a:pt x="891" y="416"/>
                    </a:lnTo>
                    <a:lnTo>
                      <a:pt x="891" y="414"/>
                    </a:lnTo>
                    <a:lnTo>
                      <a:pt x="889" y="416"/>
                    </a:lnTo>
                    <a:lnTo>
                      <a:pt x="889" y="418"/>
                    </a:lnTo>
                    <a:lnTo>
                      <a:pt x="889" y="416"/>
                    </a:lnTo>
                    <a:lnTo>
                      <a:pt x="887" y="416"/>
                    </a:lnTo>
                    <a:lnTo>
                      <a:pt x="887" y="414"/>
                    </a:lnTo>
                    <a:lnTo>
                      <a:pt x="889" y="414"/>
                    </a:lnTo>
                    <a:lnTo>
                      <a:pt x="891" y="414"/>
                    </a:lnTo>
                    <a:lnTo>
                      <a:pt x="891" y="412"/>
                    </a:lnTo>
                    <a:lnTo>
                      <a:pt x="889" y="412"/>
                    </a:lnTo>
                    <a:lnTo>
                      <a:pt x="889" y="410"/>
                    </a:lnTo>
                    <a:lnTo>
                      <a:pt x="887" y="410"/>
                    </a:lnTo>
                    <a:lnTo>
                      <a:pt x="887" y="408"/>
                    </a:lnTo>
                    <a:lnTo>
                      <a:pt x="889" y="408"/>
                    </a:lnTo>
                    <a:lnTo>
                      <a:pt x="891" y="408"/>
                    </a:lnTo>
                    <a:lnTo>
                      <a:pt x="891" y="406"/>
                    </a:lnTo>
                    <a:lnTo>
                      <a:pt x="891" y="404"/>
                    </a:lnTo>
                    <a:lnTo>
                      <a:pt x="891" y="402"/>
                    </a:lnTo>
                    <a:lnTo>
                      <a:pt x="893" y="402"/>
                    </a:lnTo>
                    <a:lnTo>
                      <a:pt x="893" y="400"/>
                    </a:lnTo>
                    <a:lnTo>
                      <a:pt x="895" y="400"/>
                    </a:lnTo>
                    <a:lnTo>
                      <a:pt x="895" y="398"/>
                    </a:lnTo>
                    <a:lnTo>
                      <a:pt x="895" y="400"/>
                    </a:lnTo>
                    <a:lnTo>
                      <a:pt x="895" y="398"/>
                    </a:lnTo>
                    <a:lnTo>
                      <a:pt x="895" y="396"/>
                    </a:lnTo>
                    <a:lnTo>
                      <a:pt x="895" y="395"/>
                    </a:lnTo>
                    <a:lnTo>
                      <a:pt x="897" y="395"/>
                    </a:lnTo>
                    <a:lnTo>
                      <a:pt x="899" y="393"/>
                    </a:lnTo>
                    <a:lnTo>
                      <a:pt x="899" y="391"/>
                    </a:lnTo>
                    <a:lnTo>
                      <a:pt x="899" y="393"/>
                    </a:lnTo>
                    <a:lnTo>
                      <a:pt x="899" y="391"/>
                    </a:lnTo>
                    <a:lnTo>
                      <a:pt x="901" y="391"/>
                    </a:lnTo>
                    <a:lnTo>
                      <a:pt x="901" y="389"/>
                    </a:lnTo>
                    <a:lnTo>
                      <a:pt x="903" y="389"/>
                    </a:lnTo>
                    <a:lnTo>
                      <a:pt x="903" y="387"/>
                    </a:lnTo>
                    <a:lnTo>
                      <a:pt x="905" y="387"/>
                    </a:lnTo>
                    <a:lnTo>
                      <a:pt x="906" y="387"/>
                    </a:lnTo>
                    <a:lnTo>
                      <a:pt x="905" y="387"/>
                    </a:lnTo>
                    <a:lnTo>
                      <a:pt x="906" y="387"/>
                    </a:lnTo>
                    <a:lnTo>
                      <a:pt x="908" y="387"/>
                    </a:lnTo>
                    <a:lnTo>
                      <a:pt x="910" y="387"/>
                    </a:lnTo>
                    <a:lnTo>
                      <a:pt x="908" y="387"/>
                    </a:lnTo>
                    <a:lnTo>
                      <a:pt x="910" y="387"/>
                    </a:lnTo>
                    <a:lnTo>
                      <a:pt x="912" y="387"/>
                    </a:lnTo>
                    <a:lnTo>
                      <a:pt x="912" y="385"/>
                    </a:lnTo>
                    <a:lnTo>
                      <a:pt x="914" y="385"/>
                    </a:lnTo>
                    <a:lnTo>
                      <a:pt x="914" y="383"/>
                    </a:lnTo>
                    <a:lnTo>
                      <a:pt x="916" y="383"/>
                    </a:lnTo>
                    <a:lnTo>
                      <a:pt x="914" y="383"/>
                    </a:lnTo>
                    <a:lnTo>
                      <a:pt x="916" y="383"/>
                    </a:lnTo>
                    <a:lnTo>
                      <a:pt x="916" y="385"/>
                    </a:lnTo>
                    <a:lnTo>
                      <a:pt x="916" y="383"/>
                    </a:lnTo>
                    <a:lnTo>
                      <a:pt x="916" y="381"/>
                    </a:lnTo>
                    <a:lnTo>
                      <a:pt x="918" y="381"/>
                    </a:lnTo>
                    <a:lnTo>
                      <a:pt x="916" y="381"/>
                    </a:lnTo>
                    <a:lnTo>
                      <a:pt x="918" y="381"/>
                    </a:lnTo>
                    <a:lnTo>
                      <a:pt x="920" y="381"/>
                    </a:lnTo>
                    <a:lnTo>
                      <a:pt x="920" y="379"/>
                    </a:lnTo>
                    <a:lnTo>
                      <a:pt x="922" y="379"/>
                    </a:lnTo>
                    <a:lnTo>
                      <a:pt x="922" y="377"/>
                    </a:lnTo>
                    <a:lnTo>
                      <a:pt x="924" y="377"/>
                    </a:lnTo>
                    <a:lnTo>
                      <a:pt x="924" y="379"/>
                    </a:lnTo>
                    <a:lnTo>
                      <a:pt x="922" y="379"/>
                    </a:lnTo>
                    <a:lnTo>
                      <a:pt x="924" y="379"/>
                    </a:lnTo>
                    <a:lnTo>
                      <a:pt x="924" y="377"/>
                    </a:lnTo>
                    <a:lnTo>
                      <a:pt x="926" y="377"/>
                    </a:lnTo>
                    <a:lnTo>
                      <a:pt x="926" y="375"/>
                    </a:lnTo>
                    <a:lnTo>
                      <a:pt x="928" y="375"/>
                    </a:lnTo>
                    <a:lnTo>
                      <a:pt x="926" y="375"/>
                    </a:lnTo>
                    <a:lnTo>
                      <a:pt x="928" y="375"/>
                    </a:lnTo>
                    <a:lnTo>
                      <a:pt x="928" y="373"/>
                    </a:lnTo>
                    <a:lnTo>
                      <a:pt x="928" y="375"/>
                    </a:lnTo>
                    <a:lnTo>
                      <a:pt x="926" y="375"/>
                    </a:lnTo>
                    <a:lnTo>
                      <a:pt x="928" y="375"/>
                    </a:lnTo>
                    <a:lnTo>
                      <a:pt x="926" y="375"/>
                    </a:lnTo>
                    <a:lnTo>
                      <a:pt x="928" y="377"/>
                    </a:lnTo>
                    <a:lnTo>
                      <a:pt x="926" y="377"/>
                    </a:lnTo>
                    <a:lnTo>
                      <a:pt x="926" y="375"/>
                    </a:lnTo>
                    <a:lnTo>
                      <a:pt x="926" y="377"/>
                    </a:lnTo>
                    <a:lnTo>
                      <a:pt x="928" y="375"/>
                    </a:lnTo>
                    <a:lnTo>
                      <a:pt x="930" y="375"/>
                    </a:lnTo>
                    <a:lnTo>
                      <a:pt x="928" y="375"/>
                    </a:lnTo>
                    <a:lnTo>
                      <a:pt x="930" y="373"/>
                    </a:lnTo>
                    <a:lnTo>
                      <a:pt x="930" y="371"/>
                    </a:lnTo>
                    <a:lnTo>
                      <a:pt x="928" y="371"/>
                    </a:lnTo>
                    <a:lnTo>
                      <a:pt x="928" y="370"/>
                    </a:lnTo>
                    <a:lnTo>
                      <a:pt x="926" y="370"/>
                    </a:lnTo>
                    <a:lnTo>
                      <a:pt x="924" y="370"/>
                    </a:lnTo>
                    <a:lnTo>
                      <a:pt x="922" y="371"/>
                    </a:lnTo>
                    <a:lnTo>
                      <a:pt x="922" y="370"/>
                    </a:lnTo>
                    <a:lnTo>
                      <a:pt x="922" y="368"/>
                    </a:lnTo>
                    <a:lnTo>
                      <a:pt x="920" y="368"/>
                    </a:lnTo>
                    <a:lnTo>
                      <a:pt x="920" y="366"/>
                    </a:lnTo>
                    <a:lnTo>
                      <a:pt x="922" y="368"/>
                    </a:lnTo>
                    <a:lnTo>
                      <a:pt x="922" y="366"/>
                    </a:lnTo>
                    <a:lnTo>
                      <a:pt x="924" y="366"/>
                    </a:lnTo>
                    <a:lnTo>
                      <a:pt x="924" y="364"/>
                    </a:lnTo>
                    <a:lnTo>
                      <a:pt x="926" y="364"/>
                    </a:lnTo>
                    <a:lnTo>
                      <a:pt x="924" y="364"/>
                    </a:lnTo>
                    <a:lnTo>
                      <a:pt x="926" y="362"/>
                    </a:lnTo>
                    <a:lnTo>
                      <a:pt x="926" y="364"/>
                    </a:lnTo>
                    <a:lnTo>
                      <a:pt x="926" y="362"/>
                    </a:lnTo>
                    <a:lnTo>
                      <a:pt x="926" y="360"/>
                    </a:lnTo>
                    <a:lnTo>
                      <a:pt x="928" y="360"/>
                    </a:lnTo>
                    <a:lnTo>
                      <a:pt x="928" y="362"/>
                    </a:lnTo>
                    <a:lnTo>
                      <a:pt x="928" y="360"/>
                    </a:lnTo>
                    <a:lnTo>
                      <a:pt x="930" y="360"/>
                    </a:lnTo>
                    <a:lnTo>
                      <a:pt x="930" y="358"/>
                    </a:lnTo>
                    <a:lnTo>
                      <a:pt x="930" y="356"/>
                    </a:lnTo>
                    <a:lnTo>
                      <a:pt x="930" y="354"/>
                    </a:lnTo>
                    <a:lnTo>
                      <a:pt x="930" y="352"/>
                    </a:lnTo>
                    <a:lnTo>
                      <a:pt x="928" y="352"/>
                    </a:lnTo>
                    <a:lnTo>
                      <a:pt x="926" y="352"/>
                    </a:lnTo>
                    <a:lnTo>
                      <a:pt x="924" y="352"/>
                    </a:lnTo>
                    <a:lnTo>
                      <a:pt x="924" y="350"/>
                    </a:lnTo>
                    <a:lnTo>
                      <a:pt x="926" y="350"/>
                    </a:lnTo>
                    <a:lnTo>
                      <a:pt x="928" y="350"/>
                    </a:lnTo>
                    <a:lnTo>
                      <a:pt x="930" y="350"/>
                    </a:lnTo>
                    <a:lnTo>
                      <a:pt x="930" y="348"/>
                    </a:lnTo>
                    <a:lnTo>
                      <a:pt x="928" y="346"/>
                    </a:lnTo>
                    <a:lnTo>
                      <a:pt x="930" y="346"/>
                    </a:lnTo>
                    <a:lnTo>
                      <a:pt x="931" y="346"/>
                    </a:lnTo>
                    <a:lnTo>
                      <a:pt x="931" y="345"/>
                    </a:lnTo>
                    <a:lnTo>
                      <a:pt x="930" y="345"/>
                    </a:lnTo>
                    <a:lnTo>
                      <a:pt x="928" y="345"/>
                    </a:lnTo>
                    <a:lnTo>
                      <a:pt x="926" y="345"/>
                    </a:lnTo>
                    <a:lnTo>
                      <a:pt x="926" y="343"/>
                    </a:lnTo>
                    <a:lnTo>
                      <a:pt x="928" y="343"/>
                    </a:lnTo>
                    <a:lnTo>
                      <a:pt x="928" y="341"/>
                    </a:lnTo>
                    <a:lnTo>
                      <a:pt x="930" y="341"/>
                    </a:lnTo>
                    <a:lnTo>
                      <a:pt x="930" y="339"/>
                    </a:lnTo>
                    <a:lnTo>
                      <a:pt x="928" y="339"/>
                    </a:lnTo>
                    <a:lnTo>
                      <a:pt x="926" y="339"/>
                    </a:lnTo>
                    <a:lnTo>
                      <a:pt x="926" y="337"/>
                    </a:lnTo>
                    <a:lnTo>
                      <a:pt x="926" y="335"/>
                    </a:lnTo>
                    <a:lnTo>
                      <a:pt x="928" y="335"/>
                    </a:lnTo>
                    <a:lnTo>
                      <a:pt x="930" y="335"/>
                    </a:lnTo>
                    <a:lnTo>
                      <a:pt x="931" y="335"/>
                    </a:lnTo>
                    <a:lnTo>
                      <a:pt x="931" y="333"/>
                    </a:lnTo>
                    <a:lnTo>
                      <a:pt x="933" y="333"/>
                    </a:lnTo>
                    <a:lnTo>
                      <a:pt x="935" y="333"/>
                    </a:lnTo>
                    <a:lnTo>
                      <a:pt x="933" y="331"/>
                    </a:lnTo>
                    <a:lnTo>
                      <a:pt x="930" y="331"/>
                    </a:lnTo>
                    <a:lnTo>
                      <a:pt x="930" y="329"/>
                    </a:lnTo>
                    <a:lnTo>
                      <a:pt x="931" y="329"/>
                    </a:lnTo>
                    <a:lnTo>
                      <a:pt x="933" y="329"/>
                    </a:lnTo>
                    <a:lnTo>
                      <a:pt x="935" y="329"/>
                    </a:lnTo>
                    <a:lnTo>
                      <a:pt x="935" y="327"/>
                    </a:lnTo>
                    <a:lnTo>
                      <a:pt x="935" y="325"/>
                    </a:lnTo>
                    <a:lnTo>
                      <a:pt x="933" y="325"/>
                    </a:lnTo>
                    <a:lnTo>
                      <a:pt x="931" y="325"/>
                    </a:lnTo>
                    <a:lnTo>
                      <a:pt x="933" y="323"/>
                    </a:lnTo>
                    <a:lnTo>
                      <a:pt x="935" y="323"/>
                    </a:lnTo>
                    <a:lnTo>
                      <a:pt x="937" y="323"/>
                    </a:lnTo>
                    <a:lnTo>
                      <a:pt x="935" y="323"/>
                    </a:lnTo>
                    <a:lnTo>
                      <a:pt x="937" y="323"/>
                    </a:lnTo>
                    <a:lnTo>
                      <a:pt x="939" y="323"/>
                    </a:lnTo>
                    <a:lnTo>
                      <a:pt x="941" y="323"/>
                    </a:lnTo>
                    <a:lnTo>
                      <a:pt x="939" y="323"/>
                    </a:lnTo>
                    <a:lnTo>
                      <a:pt x="937" y="321"/>
                    </a:lnTo>
                    <a:lnTo>
                      <a:pt x="937" y="320"/>
                    </a:lnTo>
                    <a:lnTo>
                      <a:pt x="935" y="320"/>
                    </a:lnTo>
                    <a:lnTo>
                      <a:pt x="937" y="320"/>
                    </a:lnTo>
                    <a:lnTo>
                      <a:pt x="937" y="321"/>
                    </a:lnTo>
                    <a:lnTo>
                      <a:pt x="937" y="320"/>
                    </a:lnTo>
                    <a:lnTo>
                      <a:pt x="939" y="320"/>
                    </a:lnTo>
                    <a:lnTo>
                      <a:pt x="941" y="320"/>
                    </a:lnTo>
                    <a:lnTo>
                      <a:pt x="939" y="320"/>
                    </a:lnTo>
                    <a:lnTo>
                      <a:pt x="941" y="320"/>
                    </a:lnTo>
                    <a:lnTo>
                      <a:pt x="941" y="318"/>
                    </a:lnTo>
                    <a:lnTo>
                      <a:pt x="941" y="320"/>
                    </a:lnTo>
                    <a:lnTo>
                      <a:pt x="941" y="318"/>
                    </a:lnTo>
                    <a:lnTo>
                      <a:pt x="941" y="316"/>
                    </a:lnTo>
                    <a:lnTo>
                      <a:pt x="941" y="318"/>
                    </a:lnTo>
                    <a:lnTo>
                      <a:pt x="941" y="316"/>
                    </a:lnTo>
                    <a:lnTo>
                      <a:pt x="941" y="318"/>
                    </a:lnTo>
                    <a:lnTo>
                      <a:pt x="941" y="316"/>
                    </a:lnTo>
                    <a:lnTo>
                      <a:pt x="943" y="316"/>
                    </a:lnTo>
                    <a:lnTo>
                      <a:pt x="943" y="318"/>
                    </a:lnTo>
                    <a:lnTo>
                      <a:pt x="943" y="316"/>
                    </a:lnTo>
                    <a:lnTo>
                      <a:pt x="943" y="318"/>
                    </a:lnTo>
                    <a:lnTo>
                      <a:pt x="943" y="316"/>
                    </a:lnTo>
                    <a:lnTo>
                      <a:pt x="941" y="316"/>
                    </a:lnTo>
                    <a:lnTo>
                      <a:pt x="941" y="318"/>
                    </a:lnTo>
                    <a:lnTo>
                      <a:pt x="941" y="316"/>
                    </a:lnTo>
                    <a:lnTo>
                      <a:pt x="941" y="318"/>
                    </a:lnTo>
                    <a:lnTo>
                      <a:pt x="941" y="316"/>
                    </a:lnTo>
                    <a:lnTo>
                      <a:pt x="941" y="318"/>
                    </a:lnTo>
                    <a:lnTo>
                      <a:pt x="941" y="320"/>
                    </a:lnTo>
                    <a:lnTo>
                      <a:pt x="941" y="318"/>
                    </a:lnTo>
                    <a:lnTo>
                      <a:pt x="941" y="320"/>
                    </a:lnTo>
                    <a:lnTo>
                      <a:pt x="939" y="320"/>
                    </a:lnTo>
                    <a:lnTo>
                      <a:pt x="941" y="320"/>
                    </a:lnTo>
                    <a:lnTo>
                      <a:pt x="939" y="320"/>
                    </a:lnTo>
                    <a:lnTo>
                      <a:pt x="937" y="320"/>
                    </a:lnTo>
                    <a:lnTo>
                      <a:pt x="937" y="321"/>
                    </a:lnTo>
                    <a:lnTo>
                      <a:pt x="937" y="320"/>
                    </a:lnTo>
                    <a:lnTo>
                      <a:pt x="935" y="320"/>
                    </a:lnTo>
                    <a:lnTo>
                      <a:pt x="933" y="320"/>
                    </a:lnTo>
                    <a:lnTo>
                      <a:pt x="931" y="320"/>
                    </a:lnTo>
                    <a:lnTo>
                      <a:pt x="931" y="318"/>
                    </a:lnTo>
                    <a:lnTo>
                      <a:pt x="931" y="316"/>
                    </a:lnTo>
                    <a:lnTo>
                      <a:pt x="931" y="314"/>
                    </a:lnTo>
                    <a:lnTo>
                      <a:pt x="931" y="312"/>
                    </a:lnTo>
                    <a:lnTo>
                      <a:pt x="931" y="310"/>
                    </a:lnTo>
                    <a:lnTo>
                      <a:pt x="933" y="310"/>
                    </a:lnTo>
                    <a:lnTo>
                      <a:pt x="933" y="308"/>
                    </a:lnTo>
                    <a:lnTo>
                      <a:pt x="933" y="310"/>
                    </a:lnTo>
                    <a:lnTo>
                      <a:pt x="935" y="308"/>
                    </a:lnTo>
                    <a:lnTo>
                      <a:pt x="933" y="308"/>
                    </a:lnTo>
                    <a:lnTo>
                      <a:pt x="933" y="306"/>
                    </a:lnTo>
                    <a:lnTo>
                      <a:pt x="935" y="306"/>
                    </a:lnTo>
                    <a:lnTo>
                      <a:pt x="937" y="306"/>
                    </a:lnTo>
                    <a:lnTo>
                      <a:pt x="937" y="304"/>
                    </a:lnTo>
                    <a:lnTo>
                      <a:pt x="939" y="304"/>
                    </a:lnTo>
                    <a:lnTo>
                      <a:pt x="941" y="304"/>
                    </a:lnTo>
                    <a:lnTo>
                      <a:pt x="943" y="304"/>
                    </a:lnTo>
                    <a:lnTo>
                      <a:pt x="943" y="302"/>
                    </a:lnTo>
                    <a:lnTo>
                      <a:pt x="945" y="302"/>
                    </a:lnTo>
                    <a:lnTo>
                      <a:pt x="945" y="300"/>
                    </a:lnTo>
                    <a:lnTo>
                      <a:pt x="947" y="300"/>
                    </a:lnTo>
                    <a:lnTo>
                      <a:pt x="949" y="300"/>
                    </a:lnTo>
                    <a:lnTo>
                      <a:pt x="951" y="300"/>
                    </a:lnTo>
                    <a:lnTo>
                      <a:pt x="951" y="298"/>
                    </a:lnTo>
                    <a:lnTo>
                      <a:pt x="951" y="300"/>
                    </a:lnTo>
                    <a:lnTo>
                      <a:pt x="951" y="298"/>
                    </a:lnTo>
                    <a:lnTo>
                      <a:pt x="953" y="298"/>
                    </a:lnTo>
                    <a:lnTo>
                      <a:pt x="953" y="296"/>
                    </a:lnTo>
                    <a:lnTo>
                      <a:pt x="951" y="296"/>
                    </a:lnTo>
                    <a:lnTo>
                      <a:pt x="951" y="295"/>
                    </a:lnTo>
                    <a:lnTo>
                      <a:pt x="951" y="296"/>
                    </a:lnTo>
                    <a:lnTo>
                      <a:pt x="951" y="295"/>
                    </a:lnTo>
                    <a:lnTo>
                      <a:pt x="951" y="293"/>
                    </a:lnTo>
                    <a:lnTo>
                      <a:pt x="951" y="295"/>
                    </a:lnTo>
                    <a:lnTo>
                      <a:pt x="953" y="295"/>
                    </a:lnTo>
                    <a:lnTo>
                      <a:pt x="951" y="293"/>
                    </a:lnTo>
                    <a:lnTo>
                      <a:pt x="949" y="293"/>
                    </a:lnTo>
                    <a:lnTo>
                      <a:pt x="947" y="293"/>
                    </a:lnTo>
                    <a:lnTo>
                      <a:pt x="947" y="291"/>
                    </a:lnTo>
                    <a:lnTo>
                      <a:pt x="947" y="289"/>
                    </a:lnTo>
                    <a:lnTo>
                      <a:pt x="949" y="289"/>
                    </a:lnTo>
                    <a:lnTo>
                      <a:pt x="949" y="287"/>
                    </a:lnTo>
                    <a:lnTo>
                      <a:pt x="947" y="287"/>
                    </a:lnTo>
                    <a:lnTo>
                      <a:pt x="947" y="285"/>
                    </a:lnTo>
                    <a:lnTo>
                      <a:pt x="945" y="285"/>
                    </a:lnTo>
                    <a:lnTo>
                      <a:pt x="947" y="283"/>
                    </a:lnTo>
                    <a:lnTo>
                      <a:pt x="947" y="281"/>
                    </a:lnTo>
                    <a:lnTo>
                      <a:pt x="949" y="281"/>
                    </a:lnTo>
                    <a:lnTo>
                      <a:pt x="951" y="281"/>
                    </a:lnTo>
                    <a:lnTo>
                      <a:pt x="951" y="279"/>
                    </a:lnTo>
                    <a:lnTo>
                      <a:pt x="951" y="277"/>
                    </a:lnTo>
                    <a:lnTo>
                      <a:pt x="949" y="277"/>
                    </a:lnTo>
                    <a:lnTo>
                      <a:pt x="947" y="275"/>
                    </a:lnTo>
                    <a:lnTo>
                      <a:pt x="947" y="273"/>
                    </a:lnTo>
                    <a:lnTo>
                      <a:pt x="949" y="273"/>
                    </a:lnTo>
                    <a:lnTo>
                      <a:pt x="951" y="273"/>
                    </a:lnTo>
                    <a:lnTo>
                      <a:pt x="951" y="275"/>
                    </a:lnTo>
                    <a:lnTo>
                      <a:pt x="949" y="273"/>
                    </a:lnTo>
                    <a:lnTo>
                      <a:pt x="951" y="275"/>
                    </a:lnTo>
                    <a:lnTo>
                      <a:pt x="953" y="275"/>
                    </a:lnTo>
                    <a:lnTo>
                      <a:pt x="953" y="273"/>
                    </a:lnTo>
                    <a:lnTo>
                      <a:pt x="953" y="271"/>
                    </a:lnTo>
                    <a:lnTo>
                      <a:pt x="951" y="271"/>
                    </a:lnTo>
                    <a:lnTo>
                      <a:pt x="949" y="271"/>
                    </a:lnTo>
                    <a:lnTo>
                      <a:pt x="949" y="270"/>
                    </a:lnTo>
                    <a:lnTo>
                      <a:pt x="947" y="270"/>
                    </a:lnTo>
                    <a:lnTo>
                      <a:pt x="945" y="268"/>
                    </a:lnTo>
                    <a:lnTo>
                      <a:pt x="945" y="266"/>
                    </a:lnTo>
                    <a:lnTo>
                      <a:pt x="947" y="266"/>
                    </a:lnTo>
                    <a:lnTo>
                      <a:pt x="947" y="264"/>
                    </a:lnTo>
                    <a:lnTo>
                      <a:pt x="945" y="264"/>
                    </a:lnTo>
                    <a:lnTo>
                      <a:pt x="943" y="264"/>
                    </a:lnTo>
                    <a:lnTo>
                      <a:pt x="943" y="262"/>
                    </a:lnTo>
                    <a:lnTo>
                      <a:pt x="945" y="260"/>
                    </a:lnTo>
                    <a:lnTo>
                      <a:pt x="945" y="262"/>
                    </a:lnTo>
                    <a:lnTo>
                      <a:pt x="945" y="260"/>
                    </a:lnTo>
                    <a:lnTo>
                      <a:pt x="945" y="262"/>
                    </a:lnTo>
                    <a:lnTo>
                      <a:pt x="947" y="262"/>
                    </a:lnTo>
                    <a:lnTo>
                      <a:pt x="945" y="262"/>
                    </a:lnTo>
                    <a:lnTo>
                      <a:pt x="945" y="260"/>
                    </a:lnTo>
                    <a:lnTo>
                      <a:pt x="945" y="258"/>
                    </a:lnTo>
                    <a:lnTo>
                      <a:pt x="943" y="258"/>
                    </a:lnTo>
                    <a:lnTo>
                      <a:pt x="943" y="256"/>
                    </a:lnTo>
                    <a:lnTo>
                      <a:pt x="943" y="258"/>
                    </a:lnTo>
                    <a:lnTo>
                      <a:pt x="941" y="258"/>
                    </a:lnTo>
                    <a:lnTo>
                      <a:pt x="941" y="256"/>
                    </a:lnTo>
                    <a:lnTo>
                      <a:pt x="939" y="256"/>
                    </a:lnTo>
                    <a:lnTo>
                      <a:pt x="937" y="256"/>
                    </a:lnTo>
                    <a:lnTo>
                      <a:pt x="939" y="256"/>
                    </a:lnTo>
                    <a:lnTo>
                      <a:pt x="937" y="256"/>
                    </a:lnTo>
                    <a:lnTo>
                      <a:pt x="937" y="254"/>
                    </a:lnTo>
                    <a:lnTo>
                      <a:pt x="935" y="254"/>
                    </a:lnTo>
                    <a:lnTo>
                      <a:pt x="935" y="252"/>
                    </a:lnTo>
                    <a:lnTo>
                      <a:pt x="935" y="250"/>
                    </a:lnTo>
                    <a:lnTo>
                      <a:pt x="937" y="250"/>
                    </a:lnTo>
                    <a:lnTo>
                      <a:pt x="937" y="248"/>
                    </a:lnTo>
                    <a:lnTo>
                      <a:pt x="939" y="248"/>
                    </a:lnTo>
                    <a:lnTo>
                      <a:pt x="939" y="246"/>
                    </a:lnTo>
                    <a:lnTo>
                      <a:pt x="941" y="246"/>
                    </a:lnTo>
                    <a:lnTo>
                      <a:pt x="939" y="246"/>
                    </a:lnTo>
                    <a:lnTo>
                      <a:pt x="939" y="245"/>
                    </a:lnTo>
                    <a:lnTo>
                      <a:pt x="937" y="245"/>
                    </a:lnTo>
                    <a:lnTo>
                      <a:pt x="935" y="245"/>
                    </a:lnTo>
                    <a:lnTo>
                      <a:pt x="935" y="243"/>
                    </a:lnTo>
                    <a:lnTo>
                      <a:pt x="935" y="245"/>
                    </a:lnTo>
                    <a:lnTo>
                      <a:pt x="935" y="243"/>
                    </a:lnTo>
                    <a:lnTo>
                      <a:pt x="937" y="243"/>
                    </a:lnTo>
                    <a:lnTo>
                      <a:pt x="935" y="241"/>
                    </a:lnTo>
                    <a:lnTo>
                      <a:pt x="933" y="241"/>
                    </a:lnTo>
                    <a:lnTo>
                      <a:pt x="933" y="239"/>
                    </a:lnTo>
                    <a:lnTo>
                      <a:pt x="933" y="237"/>
                    </a:lnTo>
                    <a:lnTo>
                      <a:pt x="935" y="237"/>
                    </a:lnTo>
                    <a:lnTo>
                      <a:pt x="933" y="237"/>
                    </a:lnTo>
                    <a:lnTo>
                      <a:pt x="935" y="237"/>
                    </a:lnTo>
                    <a:lnTo>
                      <a:pt x="935" y="239"/>
                    </a:lnTo>
                    <a:lnTo>
                      <a:pt x="937" y="239"/>
                    </a:lnTo>
                    <a:lnTo>
                      <a:pt x="937" y="237"/>
                    </a:lnTo>
                    <a:lnTo>
                      <a:pt x="939" y="237"/>
                    </a:lnTo>
                    <a:lnTo>
                      <a:pt x="937" y="237"/>
                    </a:lnTo>
                    <a:lnTo>
                      <a:pt x="939" y="237"/>
                    </a:lnTo>
                    <a:lnTo>
                      <a:pt x="939" y="235"/>
                    </a:lnTo>
                    <a:lnTo>
                      <a:pt x="939" y="233"/>
                    </a:lnTo>
                    <a:lnTo>
                      <a:pt x="939" y="235"/>
                    </a:lnTo>
                    <a:lnTo>
                      <a:pt x="939" y="237"/>
                    </a:lnTo>
                    <a:lnTo>
                      <a:pt x="937" y="237"/>
                    </a:lnTo>
                    <a:lnTo>
                      <a:pt x="939" y="237"/>
                    </a:lnTo>
                    <a:lnTo>
                      <a:pt x="937" y="237"/>
                    </a:lnTo>
                    <a:lnTo>
                      <a:pt x="939" y="237"/>
                    </a:lnTo>
                    <a:lnTo>
                      <a:pt x="937" y="237"/>
                    </a:lnTo>
                    <a:lnTo>
                      <a:pt x="935" y="237"/>
                    </a:lnTo>
                    <a:lnTo>
                      <a:pt x="935" y="235"/>
                    </a:lnTo>
                    <a:lnTo>
                      <a:pt x="935" y="237"/>
                    </a:lnTo>
                    <a:lnTo>
                      <a:pt x="933" y="237"/>
                    </a:lnTo>
                    <a:lnTo>
                      <a:pt x="933" y="235"/>
                    </a:lnTo>
                    <a:lnTo>
                      <a:pt x="933" y="237"/>
                    </a:lnTo>
                    <a:lnTo>
                      <a:pt x="931" y="237"/>
                    </a:lnTo>
                    <a:lnTo>
                      <a:pt x="930" y="239"/>
                    </a:lnTo>
                    <a:lnTo>
                      <a:pt x="931" y="239"/>
                    </a:lnTo>
                    <a:lnTo>
                      <a:pt x="930" y="239"/>
                    </a:lnTo>
                    <a:lnTo>
                      <a:pt x="928" y="239"/>
                    </a:lnTo>
                    <a:lnTo>
                      <a:pt x="930" y="239"/>
                    </a:lnTo>
                    <a:lnTo>
                      <a:pt x="928" y="239"/>
                    </a:lnTo>
                    <a:lnTo>
                      <a:pt x="928" y="237"/>
                    </a:lnTo>
                    <a:lnTo>
                      <a:pt x="926" y="237"/>
                    </a:lnTo>
                    <a:lnTo>
                      <a:pt x="926" y="235"/>
                    </a:lnTo>
                    <a:lnTo>
                      <a:pt x="926" y="233"/>
                    </a:lnTo>
                    <a:lnTo>
                      <a:pt x="928" y="233"/>
                    </a:lnTo>
                    <a:lnTo>
                      <a:pt x="926" y="233"/>
                    </a:lnTo>
                    <a:lnTo>
                      <a:pt x="926" y="231"/>
                    </a:lnTo>
                    <a:lnTo>
                      <a:pt x="924" y="231"/>
                    </a:lnTo>
                    <a:lnTo>
                      <a:pt x="924" y="229"/>
                    </a:lnTo>
                    <a:lnTo>
                      <a:pt x="924" y="231"/>
                    </a:lnTo>
                    <a:lnTo>
                      <a:pt x="924" y="229"/>
                    </a:lnTo>
                    <a:lnTo>
                      <a:pt x="924" y="227"/>
                    </a:lnTo>
                    <a:lnTo>
                      <a:pt x="924" y="229"/>
                    </a:lnTo>
                    <a:lnTo>
                      <a:pt x="924" y="227"/>
                    </a:lnTo>
                    <a:lnTo>
                      <a:pt x="922" y="227"/>
                    </a:lnTo>
                    <a:lnTo>
                      <a:pt x="922" y="225"/>
                    </a:lnTo>
                    <a:lnTo>
                      <a:pt x="922" y="223"/>
                    </a:lnTo>
                    <a:lnTo>
                      <a:pt x="920" y="222"/>
                    </a:lnTo>
                    <a:lnTo>
                      <a:pt x="920" y="220"/>
                    </a:lnTo>
                    <a:lnTo>
                      <a:pt x="920" y="218"/>
                    </a:lnTo>
                    <a:lnTo>
                      <a:pt x="920" y="216"/>
                    </a:lnTo>
                    <a:lnTo>
                      <a:pt x="918" y="216"/>
                    </a:lnTo>
                    <a:lnTo>
                      <a:pt x="916" y="216"/>
                    </a:lnTo>
                    <a:lnTo>
                      <a:pt x="916" y="218"/>
                    </a:lnTo>
                    <a:lnTo>
                      <a:pt x="914" y="218"/>
                    </a:lnTo>
                    <a:lnTo>
                      <a:pt x="912" y="216"/>
                    </a:lnTo>
                    <a:lnTo>
                      <a:pt x="914" y="216"/>
                    </a:lnTo>
                    <a:lnTo>
                      <a:pt x="912" y="216"/>
                    </a:lnTo>
                    <a:lnTo>
                      <a:pt x="914" y="216"/>
                    </a:lnTo>
                    <a:lnTo>
                      <a:pt x="912" y="216"/>
                    </a:lnTo>
                    <a:lnTo>
                      <a:pt x="912" y="214"/>
                    </a:lnTo>
                    <a:lnTo>
                      <a:pt x="912" y="212"/>
                    </a:lnTo>
                    <a:lnTo>
                      <a:pt x="914" y="212"/>
                    </a:lnTo>
                    <a:lnTo>
                      <a:pt x="912" y="212"/>
                    </a:lnTo>
                    <a:lnTo>
                      <a:pt x="912" y="210"/>
                    </a:lnTo>
                    <a:lnTo>
                      <a:pt x="910" y="208"/>
                    </a:lnTo>
                    <a:lnTo>
                      <a:pt x="912" y="208"/>
                    </a:lnTo>
                    <a:lnTo>
                      <a:pt x="910" y="208"/>
                    </a:lnTo>
                    <a:lnTo>
                      <a:pt x="912" y="208"/>
                    </a:lnTo>
                    <a:lnTo>
                      <a:pt x="910" y="208"/>
                    </a:lnTo>
                    <a:lnTo>
                      <a:pt x="908" y="208"/>
                    </a:lnTo>
                    <a:lnTo>
                      <a:pt x="908" y="210"/>
                    </a:lnTo>
                    <a:lnTo>
                      <a:pt x="906" y="210"/>
                    </a:lnTo>
                    <a:lnTo>
                      <a:pt x="906" y="208"/>
                    </a:lnTo>
                    <a:lnTo>
                      <a:pt x="908" y="208"/>
                    </a:lnTo>
                    <a:lnTo>
                      <a:pt x="908" y="206"/>
                    </a:lnTo>
                    <a:lnTo>
                      <a:pt x="910" y="206"/>
                    </a:lnTo>
                    <a:lnTo>
                      <a:pt x="908" y="206"/>
                    </a:lnTo>
                    <a:lnTo>
                      <a:pt x="910" y="206"/>
                    </a:lnTo>
                    <a:lnTo>
                      <a:pt x="910" y="204"/>
                    </a:lnTo>
                    <a:lnTo>
                      <a:pt x="908" y="204"/>
                    </a:lnTo>
                    <a:lnTo>
                      <a:pt x="908" y="202"/>
                    </a:lnTo>
                    <a:lnTo>
                      <a:pt x="906" y="202"/>
                    </a:lnTo>
                    <a:lnTo>
                      <a:pt x="906" y="200"/>
                    </a:lnTo>
                    <a:lnTo>
                      <a:pt x="908" y="200"/>
                    </a:lnTo>
                    <a:lnTo>
                      <a:pt x="910" y="200"/>
                    </a:lnTo>
                    <a:lnTo>
                      <a:pt x="908" y="200"/>
                    </a:lnTo>
                    <a:lnTo>
                      <a:pt x="908" y="198"/>
                    </a:lnTo>
                    <a:lnTo>
                      <a:pt x="906" y="198"/>
                    </a:lnTo>
                    <a:lnTo>
                      <a:pt x="906" y="197"/>
                    </a:lnTo>
                    <a:lnTo>
                      <a:pt x="906" y="195"/>
                    </a:lnTo>
                    <a:lnTo>
                      <a:pt x="906" y="193"/>
                    </a:lnTo>
                    <a:lnTo>
                      <a:pt x="908" y="193"/>
                    </a:lnTo>
                    <a:lnTo>
                      <a:pt x="908" y="191"/>
                    </a:lnTo>
                    <a:lnTo>
                      <a:pt x="906" y="191"/>
                    </a:lnTo>
                    <a:lnTo>
                      <a:pt x="906" y="189"/>
                    </a:lnTo>
                    <a:lnTo>
                      <a:pt x="908" y="189"/>
                    </a:lnTo>
                    <a:lnTo>
                      <a:pt x="910" y="187"/>
                    </a:lnTo>
                    <a:lnTo>
                      <a:pt x="910" y="185"/>
                    </a:lnTo>
                    <a:lnTo>
                      <a:pt x="908" y="185"/>
                    </a:lnTo>
                    <a:lnTo>
                      <a:pt x="906" y="183"/>
                    </a:lnTo>
                    <a:lnTo>
                      <a:pt x="908" y="183"/>
                    </a:lnTo>
                    <a:lnTo>
                      <a:pt x="906" y="183"/>
                    </a:lnTo>
                    <a:lnTo>
                      <a:pt x="908" y="183"/>
                    </a:lnTo>
                    <a:lnTo>
                      <a:pt x="908" y="181"/>
                    </a:lnTo>
                    <a:lnTo>
                      <a:pt x="910" y="181"/>
                    </a:lnTo>
                    <a:lnTo>
                      <a:pt x="910" y="179"/>
                    </a:lnTo>
                    <a:lnTo>
                      <a:pt x="910" y="181"/>
                    </a:lnTo>
                    <a:lnTo>
                      <a:pt x="912" y="181"/>
                    </a:lnTo>
                    <a:lnTo>
                      <a:pt x="910" y="181"/>
                    </a:lnTo>
                    <a:lnTo>
                      <a:pt x="910" y="183"/>
                    </a:lnTo>
                    <a:lnTo>
                      <a:pt x="912" y="183"/>
                    </a:lnTo>
                    <a:lnTo>
                      <a:pt x="910" y="183"/>
                    </a:lnTo>
                    <a:lnTo>
                      <a:pt x="912" y="183"/>
                    </a:lnTo>
                    <a:lnTo>
                      <a:pt x="912" y="185"/>
                    </a:lnTo>
                    <a:lnTo>
                      <a:pt x="910" y="185"/>
                    </a:lnTo>
                    <a:lnTo>
                      <a:pt x="912" y="185"/>
                    </a:lnTo>
                    <a:lnTo>
                      <a:pt x="910" y="185"/>
                    </a:lnTo>
                    <a:lnTo>
                      <a:pt x="912" y="185"/>
                    </a:lnTo>
                    <a:lnTo>
                      <a:pt x="912" y="183"/>
                    </a:lnTo>
                    <a:lnTo>
                      <a:pt x="910" y="183"/>
                    </a:lnTo>
                    <a:lnTo>
                      <a:pt x="912" y="181"/>
                    </a:lnTo>
                    <a:lnTo>
                      <a:pt x="910" y="181"/>
                    </a:lnTo>
                    <a:lnTo>
                      <a:pt x="912" y="181"/>
                    </a:lnTo>
                    <a:lnTo>
                      <a:pt x="910" y="181"/>
                    </a:lnTo>
                    <a:lnTo>
                      <a:pt x="910" y="179"/>
                    </a:lnTo>
                    <a:lnTo>
                      <a:pt x="912" y="179"/>
                    </a:lnTo>
                    <a:lnTo>
                      <a:pt x="914" y="179"/>
                    </a:lnTo>
                    <a:lnTo>
                      <a:pt x="916" y="179"/>
                    </a:lnTo>
                    <a:lnTo>
                      <a:pt x="916" y="177"/>
                    </a:lnTo>
                    <a:lnTo>
                      <a:pt x="916" y="175"/>
                    </a:lnTo>
                    <a:lnTo>
                      <a:pt x="918" y="175"/>
                    </a:lnTo>
                    <a:lnTo>
                      <a:pt x="920" y="173"/>
                    </a:lnTo>
                    <a:lnTo>
                      <a:pt x="922" y="172"/>
                    </a:lnTo>
                    <a:lnTo>
                      <a:pt x="924" y="172"/>
                    </a:lnTo>
                    <a:lnTo>
                      <a:pt x="924" y="170"/>
                    </a:lnTo>
                    <a:lnTo>
                      <a:pt x="922" y="168"/>
                    </a:lnTo>
                    <a:lnTo>
                      <a:pt x="922" y="166"/>
                    </a:lnTo>
                    <a:lnTo>
                      <a:pt x="920" y="166"/>
                    </a:lnTo>
                    <a:lnTo>
                      <a:pt x="920" y="164"/>
                    </a:lnTo>
                    <a:lnTo>
                      <a:pt x="920" y="162"/>
                    </a:lnTo>
                    <a:lnTo>
                      <a:pt x="922" y="160"/>
                    </a:lnTo>
                    <a:lnTo>
                      <a:pt x="924" y="160"/>
                    </a:lnTo>
                    <a:lnTo>
                      <a:pt x="926" y="160"/>
                    </a:lnTo>
                    <a:lnTo>
                      <a:pt x="926" y="158"/>
                    </a:lnTo>
                    <a:lnTo>
                      <a:pt x="926" y="156"/>
                    </a:lnTo>
                    <a:lnTo>
                      <a:pt x="926" y="154"/>
                    </a:lnTo>
                    <a:lnTo>
                      <a:pt x="928" y="154"/>
                    </a:lnTo>
                    <a:lnTo>
                      <a:pt x="928" y="152"/>
                    </a:lnTo>
                    <a:lnTo>
                      <a:pt x="930" y="152"/>
                    </a:lnTo>
                    <a:lnTo>
                      <a:pt x="931" y="152"/>
                    </a:lnTo>
                    <a:lnTo>
                      <a:pt x="931" y="150"/>
                    </a:lnTo>
                    <a:lnTo>
                      <a:pt x="933" y="150"/>
                    </a:lnTo>
                    <a:lnTo>
                      <a:pt x="933" y="148"/>
                    </a:lnTo>
                    <a:lnTo>
                      <a:pt x="931" y="147"/>
                    </a:lnTo>
                    <a:lnTo>
                      <a:pt x="933" y="147"/>
                    </a:lnTo>
                    <a:lnTo>
                      <a:pt x="935" y="147"/>
                    </a:lnTo>
                    <a:lnTo>
                      <a:pt x="933" y="147"/>
                    </a:lnTo>
                    <a:lnTo>
                      <a:pt x="935" y="147"/>
                    </a:lnTo>
                    <a:lnTo>
                      <a:pt x="937" y="145"/>
                    </a:lnTo>
                    <a:lnTo>
                      <a:pt x="939" y="145"/>
                    </a:lnTo>
                    <a:lnTo>
                      <a:pt x="941" y="145"/>
                    </a:lnTo>
                    <a:lnTo>
                      <a:pt x="939" y="145"/>
                    </a:lnTo>
                    <a:lnTo>
                      <a:pt x="941" y="145"/>
                    </a:lnTo>
                    <a:lnTo>
                      <a:pt x="939" y="145"/>
                    </a:lnTo>
                    <a:lnTo>
                      <a:pt x="941" y="145"/>
                    </a:lnTo>
                    <a:lnTo>
                      <a:pt x="939" y="143"/>
                    </a:lnTo>
                    <a:lnTo>
                      <a:pt x="941" y="143"/>
                    </a:lnTo>
                    <a:lnTo>
                      <a:pt x="941" y="141"/>
                    </a:lnTo>
                    <a:lnTo>
                      <a:pt x="943" y="143"/>
                    </a:lnTo>
                    <a:lnTo>
                      <a:pt x="943" y="141"/>
                    </a:lnTo>
                    <a:lnTo>
                      <a:pt x="945" y="141"/>
                    </a:lnTo>
                    <a:lnTo>
                      <a:pt x="945" y="143"/>
                    </a:lnTo>
                    <a:lnTo>
                      <a:pt x="945" y="141"/>
                    </a:lnTo>
                    <a:lnTo>
                      <a:pt x="945" y="139"/>
                    </a:lnTo>
                    <a:lnTo>
                      <a:pt x="947" y="139"/>
                    </a:lnTo>
                    <a:lnTo>
                      <a:pt x="947" y="137"/>
                    </a:lnTo>
                    <a:lnTo>
                      <a:pt x="949" y="137"/>
                    </a:lnTo>
                    <a:lnTo>
                      <a:pt x="951" y="137"/>
                    </a:lnTo>
                    <a:lnTo>
                      <a:pt x="951" y="135"/>
                    </a:lnTo>
                    <a:lnTo>
                      <a:pt x="953" y="135"/>
                    </a:lnTo>
                    <a:lnTo>
                      <a:pt x="953" y="133"/>
                    </a:lnTo>
                    <a:lnTo>
                      <a:pt x="955" y="133"/>
                    </a:lnTo>
                    <a:lnTo>
                      <a:pt x="956" y="131"/>
                    </a:lnTo>
                    <a:lnTo>
                      <a:pt x="956" y="133"/>
                    </a:lnTo>
                    <a:lnTo>
                      <a:pt x="956" y="131"/>
                    </a:lnTo>
                    <a:lnTo>
                      <a:pt x="955" y="133"/>
                    </a:lnTo>
                    <a:lnTo>
                      <a:pt x="953" y="133"/>
                    </a:lnTo>
                    <a:lnTo>
                      <a:pt x="953" y="135"/>
                    </a:lnTo>
                    <a:lnTo>
                      <a:pt x="951" y="135"/>
                    </a:lnTo>
                    <a:lnTo>
                      <a:pt x="949" y="137"/>
                    </a:lnTo>
                    <a:lnTo>
                      <a:pt x="947" y="137"/>
                    </a:lnTo>
                    <a:lnTo>
                      <a:pt x="947" y="139"/>
                    </a:lnTo>
                    <a:lnTo>
                      <a:pt x="945" y="139"/>
                    </a:lnTo>
                    <a:lnTo>
                      <a:pt x="945" y="141"/>
                    </a:lnTo>
                    <a:lnTo>
                      <a:pt x="943" y="141"/>
                    </a:lnTo>
                    <a:lnTo>
                      <a:pt x="943" y="139"/>
                    </a:lnTo>
                    <a:lnTo>
                      <a:pt x="943" y="137"/>
                    </a:lnTo>
                    <a:lnTo>
                      <a:pt x="943" y="135"/>
                    </a:lnTo>
                    <a:lnTo>
                      <a:pt x="945" y="133"/>
                    </a:lnTo>
                    <a:lnTo>
                      <a:pt x="945" y="135"/>
                    </a:lnTo>
                    <a:lnTo>
                      <a:pt x="947" y="133"/>
                    </a:lnTo>
                    <a:lnTo>
                      <a:pt x="945" y="133"/>
                    </a:lnTo>
                    <a:lnTo>
                      <a:pt x="947" y="133"/>
                    </a:lnTo>
                    <a:lnTo>
                      <a:pt x="947" y="131"/>
                    </a:lnTo>
                    <a:lnTo>
                      <a:pt x="945" y="131"/>
                    </a:lnTo>
                    <a:lnTo>
                      <a:pt x="947" y="131"/>
                    </a:lnTo>
                    <a:lnTo>
                      <a:pt x="949" y="129"/>
                    </a:lnTo>
                    <a:lnTo>
                      <a:pt x="947" y="129"/>
                    </a:lnTo>
                    <a:lnTo>
                      <a:pt x="945" y="129"/>
                    </a:lnTo>
                    <a:lnTo>
                      <a:pt x="945" y="127"/>
                    </a:lnTo>
                    <a:lnTo>
                      <a:pt x="945" y="125"/>
                    </a:lnTo>
                    <a:lnTo>
                      <a:pt x="945" y="123"/>
                    </a:lnTo>
                    <a:lnTo>
                      <a:pt x="943" y="123"/>
                    </a:lnTo>
                    <a:lnTo>
                      <a:pt x="943" y="122"/>
                    </a:lnTo>
                    <a:lnTo>
                      <a:pt x="941" y="120"/>
                    </a:lnTo>
                    <a:lnTo>
                      <a:pt x="943" y="120"/>
                    </a:lnTo>
                    <a:lnTo>
                      <a:pt x="943" y="118"/>
                    </a:lnTo>
                    <a:lnTo>
                      <a:pt x="943" y="116"/>
                    </a:lnTo>
                    <a:lnTo>
                      <a:pt x="943" y="118"/>
                    </a:lnTo>
                    <a:lnTo>
                      <a:pt x="941" y="118"/>
                    </a:lnTo>
                    <a:lnTo>
                      <a:pt x="941" y="116"/>
                    </a:lnTo>
                    <a:lnTo>
                      <a:pt x="943" y="116"/>
                    </a:lnTo>
                    <a:lnTo>
                      <a:pt x="943" y="114"/>
                    </a:lnTo>
                    <a:lnTo>
                      <a:pt x="943" y="112"/>
                    </a:lnTo>
                    <a:lnTo>
                      <a:pt x="943" y="110"/>
                    </a:lnTo>
                    <a:lnTo>
                      <a:pt x="945" y="110"/>
                    </a:lnTo>
                    <a:lnTo>
                      <a:pt x="945" y="108"/>
                    </a:lnTo>
                    <a:lnTo>
                      <a:pt x="947" y="108"/>
                    </a:lnTo>
                    <a:lnTo>
                      <a:pt x="947" y="106"/>
                    </a:lnTo>
                    <a:lnTo>
                      <a:pt x="949" y="106"/>
                    </a:lnTo>
                    <a:lnTo>
                      <a:pt x="951" y="106"/>
                    </a:lnTo>
                    <a:lnTo>
                      <a:pt x="953" y="106"/>
                    </a:lnTo>
                    <a:lnTo>
                      <a:pt x="955" y="106"/>
                    </a:lnTo>
                    <a:lnTo>
                      <a:pt x="955" y="104"/>
                    </a:lnTo>
                    <a:lnTo>
                      <a:pt x="956" y="104"/>
                    </a:lnTo>
                    <a:lnTo>
                      <a:pt x="958" y="104"/>
                    </a:lnTo>
                    <a:lnTo>
                      <a:pt x="960" y="104"/>
                    </a:lnTo>
                    <a:lnTo>
                      <a:pt x="958" y="104"/>
                    </a:lnTo>
                    <a:lnTo>
                      <a:pt x="960" y="104"/>
                    </a:lnTo>
                    <a:lnTo>
                      <a:pt x="962" y="104"/>
                    </a:lnTo>
                    <a:lnTo>
                      <a:pt x="962" y="106"/>
                    </a:lnTo>
                    <a:lnTo>
                      <a:pt x="964" y="106"/>
                    </a:lnTo>
                    <a:lnTo>
                      <a:pt x="962" y="106"/>
                    </a:lnTo>
                    <a:lnTo>
                      <a:pt x="962" y="104"/>
                    </a:lnTo>
                    <a:lnTo>
                      <a:pt x="964" y="104"/>
                    </a:lnTo>
                    <a:lnTo>
                      <a:pt x="964" y="106"/>
                    </a:lnTo>
                    <a:lnTo>
                      <a:pt x="964" y="104"/>
                    </a:lnTo>
                    <a:lnTo>
                      <a:pt x="962" y="104"/>
                    </a:lnTo>
                    <a:lnTo>
                      <a:pt x="964" y="104"/>
                    </a:lnTo>
                    <a:lnTo>
                      <a:pt x="962" y="104"/>
                    </a:lnTo>
                    <a:lnTo>
                      <a:pt x="964" y="104"/>
                    </a:lnTo>
                    <a:lnTo>
                      <a:pt x="966" y="104"/>
                    </a:lnTo>
                    <a:lnTo>
                      <a:pt x="966" y="106"/>
                    </a:lnTo>
                    <a:lnTo>
                      <a:pt x="964" y="106"/>
                    </a:lnTo>
                    <a:lnTo>
                      <a:pt x="966" y="106"/>
                    </a:lnTo>
                    <a:lnTo>
                      <a:pt x="968" y="106"/>
                    </a:lnTo>
                    <a:lnTo>
                      <a:pt x="970" y="106"/>
                    </a:lnTo>
                    <a:lnTo>
                      <a:pt x="970" y="108"/>
                    </a:lnTo>
                    <a:lnTo>
                      <a:pt x="968" y="108"/>
                    </a:lnTo>
                    <a:lnTo>
                      <a:pt x="966" y="106"/>
                    </a:lnTo>
                    <a:lnTo>
                      <a:pt x="964" y="106"/>
                    </a:lnTo>
                    <a:lnTo>
                      <a:pt x="966" y="106"/>
                    </a:lnTo>
                    <a:lnTo>
                      <a:pt x="964" y="106"/>
                    </a:lnTo>
                    <a:lnTo>
                      <a:pt x="966" y="106"/>
                    </a:lnTo>
                    <a:lnTo>
                      <a:pt x="966" y="108"/>
                    </a:lnTo>
                    <a:lnTo>
                      <a:pt x="968" y="108"/>
                    </a:lnTo>
                    <a:lnTo>
                      <a:pt x="970" y="108"/>
                    </a:lnTo>
                    <a:lnTo>
                      <a:pt x="972" y="108"/>
                    </a:lnTo>
                    <a:lnTo>
                      <a:pt x="972" y="110"/>
                    </a:lnTo>
                    <a:lnTo>
                      <a:pt x="974" y="110"/>
                    </a:lnTo>
                    <a:lnTo>
                      <a:pt x="974" y="112"/>
                    </a:lnTo>
                    <a:lnTo>
                      <a:pt x="972" y="112"/>
                    </a:lnTo>
                    <a:lnTo>
                      <a:pt x="970" y="112"/>
                    </a:lnTo>
                    <a:lnTo>
                      <a:pt x="970" y="114"/>
                    </a:lnTo>
                    <a:lnTo>
                      <a:pt x="968" y="116"/>
                    </a:lnTo>
                    <a:lnTo>
                      <a:pt x="966" y="116"/>
                    </a:lnTo>
                    <a:lnTo>
                      <a:pt x="964" y="116"/>
                    </a:lnTo>
                    <a:lnTo>
                      <a:pt x="966" y="116"/>
                    </a:lnTo>
                    <a:lnTo>
                      <a:pt x="964" y="116"/>
                    </a:lnTo>
                    <a:lnTo>
                      <a:pt x="962" y="116"/>
                    </a:lnTo>
                    <a:lnTo>
                      <a:pt x="964" y="116"/>
                    </a:lnTo>
                    <a:lnTo>
                      <a:pt x="962" y="118"/>
                    </a:lnTo>
                    <a:lnTo>
                      <a:pt x="964" y="116"/>
                    </a:lnTo>
                    <a:lnTo>
                      <a:pt x="966" y="116"/>
                    </a:lnTo>
                    <a:lnTo>
                      <a:pt x="968" y="116"/>
                    </a:lnTo>
                    <a:lnTo>
                      <a:pt x="970" y="116"/>
                    </a:lnTo>
                    <a:lnTo>
                      <a:pt x="968" y="116"/>
                    </a:lnTo>
                    <a:lnTo>
                      <a:pt x="970" y="116"/>
                    </a:lnTo>
                    <a:lnTo>
                      <a:pt x="970" y="114"/>
                    </a:lnTo>
                    <a:lnTo>
                      <a:pt x="972" y="112"/>
                    </a:lnTo>
                    <a:lnTo>
                      <a:pt x="974" y="112"/>
                    </a:lnTo>
                    <a:lnTo>
                      <a:pt x="974" y="110"/>
                    </a:lnTo>
                    <a:lnTo>
                      <a:pt x="976" y="110"/>
                    </a:lnTo>
                    <a:lnTo>
                      <a:pt x="976" y="112"/>
                    </a:lnTo>
                    <a:lnTo>
                      <a:pt x="978" y="112"/>
                    </a:lnTo>
                    <a:lnTo>
                      <a:pt x="979" y="112"/>
                    </a:lnTo>
                    <a:lnTo>
                      <a:pt x="979" y="114"/>
                    </a:lnTo>
                    <a:lnTo>
                      <a:pt x="978" y="114"/>
                    </a:lnTo>
                    <a:lnTo>
                      <a:pt x="979" y="114"/>
                    </a:lnTo>
                    <a:lnTo>
                      <a:pt x="978" y="114"/>
                    </a:lnTo>
                    <a:lnTo>
                      <a:pt x="979" y="114"/>
                    </a:lnTo>
                    <a:lnTo>
                      <a:pt x="978" y="114"/>
                    </a:lnTo>
                    <a:lnTo>
                      <a:pt x="978" y="116"/>
                    </a:lnTo>
                    <a:lnTo>
                      <a:pt x="976" y="116"/>
                    </a:lnTo>
                    <a:lnTo>
                      <a:pt x="974" y="116"/>
                    </a:lnTo>
                    <a:lnTo>
                      <a:pt x="974" y="118"/>
                    </a:lnTo>
                    <a:lnTo>
                      <a:pt x="972" y="118"/>
                    </a:lnTo>
                    <a:lnTo>
                      <a:pt x="970" y="118"/>
                    </a:lnTo>
                    <a:lnTo>
                      <a:pt x="970" y="120"/>
                    </a:lnTo>
                    <a:lnTo>
                      <a:pt x="970" y="118"/>
                    </a:lnTo>
                    <a:lnTo>
                      <a:pt x="970" y="120"/>
                    </a:lnTo>
                    <a:lnTo>
                      <a:pt x="968" y="120"/>
                    </a:lnTo>
                    <a:lnTo>
                      <a:pt x="968" y="122"/>
                    </a:lnTo>
                    <a:lnTo>
                      <a:pt x="966" y="122"/>
                    </a:lnTo>
                    <a:lnTo>
                      <a:pt x="966" y="123"/>
                    </a:lnTo>
                    <a:lnTo>
                      <a:pt x="964" y="123"/>
                    </a:lnTo>
                    <a:lnTo>
                      <a:pt x="962" y="125"/>
                    </a:lnTo>
                    <a:lnTo>
                      <a:pt x="960" y="125"/>
                    </a:lnTo>
                    <a:lnTo>
                      <a:pt x="960" y="127"/>
                    </a:lnTo>
                    <a:lnTo>
                      <a:pt x="960" y="129"/>
                    </a:lnTo>
                    <a:lnTo>
                      <a:pt x="958" y="131"/>
                    </a:lnTo>
                    <a:lnTo>
                      <a:pt x="956" y="131"/>
                    </a:lnTo>
                    <a:lnTo>
                      <a:pt x="958" y="131"/>
                    </a:lnTo>
                    <a:lnTo>
                      <a:pt x="960" y="131"/>
                    </a:lnTo>
                    <a:lnTo>
                      <a:pt x="960" y="129"/>
                    </a:lnTo>
                    <a:lnTo>
                      <a:pt x="960" y="131"/>
                    </a:lnTo>
                    <a:lnTo>
                      <a:pt x="962" y="131"/>
                    </a:lnTo>
                    <a:lnTo>
                      <a:pt x="962" y="133"/>
                    </a:lnTo>
                    <a:lnTo>
                      <a:pt x="964" y="133"/>
                    </a:lnTo>
                    <a:lnTo>
                      <a:pt x="964" y="135"/>
                    </a:lnTo>
                    <a:lnTo>
                      <a:pt x="966" y="135"/>
                    </a:lnTo>
                    <a:lnTo>
                      <a:pt x="964" y="135"/>
                    </a:lnTo>
                    <a:lnTo>
                      <a:pt x="964" y="133"/>
                    </a:lnTo>
                    <a:lnTo>
                      <a:pt x="962" y="133"/>
                    </a:lnTo>
                    <a:lnTo>
                      <a:pt x="962" y="131"/>
                    </a:lnTo>
                    <a:lnTo>
                      <a:pt x="960" y="131"/>
                    </a:lnTo>
                    <a:lnTo>
                      <a:pt x="960" y="129"/>
                    </a:lnTo>
                    <a:lnTo>
                      <a:pt x="960" y="127"/>
                    </a:lnTo>
                    <a:lnTo>
                      <a:pt x="962" y="127"/>
                    </a:lnTo>
                    <a:lnTo>
                      <a:pt x="962" y="125"/>
                    </a:lnTo>
                    <a:lnTo>
                      <a:pt x="964" y="123"/>
                    </a:lnTo>
                    <a:lnTo>
                      <a:pt x="964" y="125"/>
                    </a:lnTo>
                    <a:lnTo>
                      <a:pt x="964" y="123"/>
                    </a:lnTo>
                    <a:lnTo>
                      <a:pt x="966" y="123"/>
                    </a:lnTo>
                    <a:lnTo>
                      <a:pt x="966" y="122"/>
                    </a:lnTo>
                    <a:lnTo>
                      <a:pt x="968" y="122"/>
                    </a:lnTo>
                    <a:lnTo>
                      <a:pt x="970" y="122"/>
                    </a:lnTo>
                    <a:lnTo>
                      <a:pt x="970" y="120"/>
                    </a:lnTo>
                    <a:lnTo>
                      <a:pt x="972" y="120"/>
                    </a:lnTo>
                    <a:lnTo>
                      <a:pt x="974" y="120"/>
                    </a:lnTo>
                    <a:lnTo>
                      <a:pt x="976" y="118"/>
                    </a:lnTo>
                    <a:lnTo>
                      <a:pt x="978" y="118"/>
                    </a:lnTo>
                    <a:lnTo>
                      <a:pt x="978" y="116"/>
                    </a:lnTo>
                    <a:lnTo>
                      <a:pt x="979" y="116"/>
                    </a:lnTo>
                    <a:lnTo>
                      <a:pt x="981" y="116"/>
                    </a:lnTo>
                    <a:lnTo>
                      <a:pt x="981" y="118"/>
                    </a:lnTo>
                    <a:lnTo>
                      <a:pt x="983" y="118"/>
                    </a:lnTo>
                    <a:lnTo>
                      <a:pt x="985" y="118"/>
                    </a:lnTo>
                    <a:lnTo>
                      <a:pt x="985" y="116"/>
                    </a:lnTo>
                    <a:lnTo>
                      <a:pt x="985" y="118"/>
                    </a:lnTo>
                    <a:lnTo>
                      <a:pt x="985" y="116"/>
                    </a:lnTo>
                    <a:lnTo>
                      <a:pt x="987" y="116"/>
                    </a:lnTo>
                    <a:lnTo>
                      <a:pt x="989" y="116"/>
                    </a:lnTo>
                    <a:lnTo>
                      <a:pt x="989" y="118"/>
                    </a:lnTo>
                    <a:lnTo>
                      <a:pt x="989" y="116"/>
                    </a:lnTo>
                    <a:lnTo>
                      <a:pt x="991" y="116"/>
                    </a:lnTo>
                    <a:lnTo>
                      <a:pt x="993" y="116"/>
                    </a:lnTo>
                    <a:lnTo>
                      <a:pt x="993" y="118"/>
                    </a:lnTo>
                    <a:lnTo>
                      <a:pt x="995" y="118"/>
                    </a:lnTo>
                    <a:lnTo>
                      <a:pt x="995" y="120"/>
                    </a:lnTo>
                    <a:lnTo>
                      <a:pt x="993" y="120"/>
                    </a:lnTo>
                    <a:lnTo>
                      <a:pt x="995" y="120"/>
                    </a:lnTo>
                    <a:lnTo>
                      <a:pt x="997" y="120"/>
                    </a:lnTo>
                    <a:lnTo>
                      <a:pt x="995" y="120"/>
                    </a:lnTo>
                    <a:lnTo>
                      <a:pt x="995" y="122"/>
                    </a:lnTo>
                    <a:lnTo>
                      <a:pt x="997" y="122"/>
                    </a:lnTo>
                    <a:lnTo>
                      <a:pt x="995" y="122"/>
                    </a:lnTo>
                    <a:lnTo>
                      <a:pt x="995" y="123"/>
                    </a:lnTo>
                    <a:lnTo>
                      <a:pt x="995" y="122"/>
                    </a:lnTo>
                    <a:lnTo>
                      <a:pt x="997" y="122"/>
                    </a:lnTo>
                    <a:lnTo>
                      <a:pt x="995" y="123"/>
                    </a:lnTo>
                    <a:lnTo>
                      <a:pt x="997" y="123"/>
                    </a:lnTo>
                    <a:lnTo>
                      <a:pt x="999" y="123"/>
                    </a:lnTo>
                    <a:lnTo>
                      <a:pt x="997" y="122"/>
                    </a:lnTo>
                    <a:lnTo>
                      <a:pt x="997" y="123"/>
                    </a:lnTo>
                    <a:lnTo>
                      <a:pt x="995" y="123"/>
                    </a:lnTo>
                    <a:lnTo>
                      <a:pt x="997" y="122"/>
                    </a:lnTo>
                    <a:lnTo>
                      <a:pt x="995" y="122"/>
                    </a:lnTo>
                    <a:lnTo>
                      <a:pt x="997" y="122"/>
                    </a:lnTo>
                    <a:lnTo>
                      <a:pt x="995" y="122"/>
                    </a:lnTo>
                    <a:lnTo>
                      <a:pt x="995" y="120"/>
                    </a:lnTo>
                    <a:lnTo>
                      <a:pt x="997" y="120"/>
                    </a:lnTo>
                    <a:lnTo>
                      <a:pt x="995" y="120"/>
                    </a:lnTo>
                    <a:lnTo>
                      <a:pt x="993" y="120"/>
                    </a:lnTo>
                    <a:lnTo>
                      <a:pt x="995" y="120"/>
                    </a:lnTo>
                    <a:lnTo>
                      <a:pt x="995" y="118"/>
                    </a:lnTo>
                    <a:lnTo>
                      <a:pt x="995" y="116"/>
                    </a:lnTo>
                    <a:lnTo>
                      <a:pt x="993" y="116"/>
                    </a:lnTo>
                    <a:lnTo>
                      <a:pt x="993" y="114"/>
                    </a:lnTo>
                    <a:lnTo>
                      <a:pt x="995" y="114"/>
                    </a:lnTo>
                    <a:lnTo>
                      <a:pt x="997" y="114"/>
                    </a:lnTo>
                    <a:lnTo>
                      <a:pt x="997" y="112"/>
                    </a:lnTo>
                    <a:lnTo>
                      <a:pt x="999" y="112"/>
                    </a:lnTo>
                    <a:lnTo>
                      <a:pt x="999" y="110"/>
                    </a:lnTo>
                    <a:lnTo>
                      <a:pt x="1001" y="110"/>
                    </a:lnTo>
                    <a:lnTo>
                      <a:pt x="999" y="110"/>
                    </a:lnTo>
                    <a:lnTo>
                      <a:pt x="1001" y="110"/>
                    </a:lnTo>
                    <a:lnTo>
                      <a:pt x="1001" y="108"/>
                    </a:lnTo>
                    <a:lnTo>
                      <a:pt x="1001" y="110"/>
                    </a:lnTo>
                    <a:lnTo>
                      <a:pt x="1003" y="108"/>
                    </a:lnTo>
                    <a:lnTo>
                      <a:pt x="1004" y="108"/>
                    </a:lnTo>
                    <a:lnTo>
                      <a:pt x="1004" y="106"/>
                    </a:lnTo>
                    <a:lnTo>
                      <a:pt x="1004" y="108"/>
                    </a:lnTo>
                    <a:lnTo>
                      <a:pt x="1006" y="108"/>
                    </a:lnTo>
                    <a:lnTo>
                      <a:pt x="1008" y="108"/>
                    </a:lnTo>
                    <a:lnTo>
                      <a:pt x="1008" y="110"/>
                    </a:lnTo>
                    <a:lnTo>
                      <a:pt x="1006" y="110"/>
                    </a:lnTo>
                    <a:lnTo>
                      <a:pt x="1008" y="110"/>
                    </a:lnTo>
                    <a:lnTo>
                      <a:pt x="1006" y="110"/>
                    </a:lnTo>
                    <a:lnTo>
                      <a:pt x="1008" y="110"/>
                    </a:lnTo>
                    <a:lnTo>
                      <a:pt x="1008" y="108"/>
                    </a:lnTo>
                    <a:lnTo>
                      <a:pt x="1006" y="108"/>
                    </a:lnTo>
                    <a:lnTo>
                      <a:pt x="1008" y="108"/>
                    </a:lnTo>
                    <a:lnTo>
                      <a:pt x="1006" y="108"/>
                    </a:lnTo>
                    <a:lnTo>
                      <a:pt x="1004" y="108"/>
                    </a:lnTo>
                    <a:lnTo>
                      <a:pt x="1004" y="106"/>
                    </a:lnTo>
                    <a:lnTo>
                      <a:pt x="1006" y="106"/>
                    </a:lnTo>
                    <a:lnTo>
                      <a:pt x="1006" y="104"/>
                    </a:lnTo>
                    <a:lnTo>
                      <a:pt x="1006" y="106"/>
                    </a:lnTo>
                    <a:lnTo>
                      <a:pt x="1008" y="106"/>
                    </a:lnTo>
                    <a:lnTo>
                      <a:pt x="1008" y="108"/>
                    </a:lnTo>
                    <a:lnTo>
                      <a:pt x="1008" y="106"/>
                    </a:lnTo>
                    <a:lnTo>
                      <a:pt x="1006" y="106"/>
                    </a:lnTo>
                    <a:lnTo>
                      <a:pt x="1006" y="104"/>
                    </a:lnTo>
                    <a:lnTo>
                      <a:pt x="1008" y="102"/>
                    </a:lnTo>
                    <a:lnTo>
                      <a:pt x="1010" y="100"/>
                    </a:lnTo>
                    <a:lnTo>
                      <a:pt x="1012" y="98"/>
                    </a:lnTo>
                    <a:lnTo>
                      <a:pt x="1014" y="98"/>
                    </a:lnTo>
                    <a:lnTo>
                      <a:pt x="1014" y="100"/>
                    </a:lnTo>
                    <a:lnTo>
                      <a:pt x="1016" y="100"/>
                    </a:lnTo>
                    <a:lnTo>
                      <a:pt x="1016" y="102"/>
                    </a:lnTo>
                    <a:lnTo>
                      <a:pt x="1018" y="102"/>
                    </a:lnTo>
                    <a:lnTo>
                      <a:pt x="1018" y="104"/>
                    </a:lnTo>
                    <a:lnTo>
                      <a:pt x="1016" y="104"/>
                    </a:lnTo>
                    <a:lnTo>
                      <a:pt x="1016" y="106"/>
                    </a:lnTo>
                    <a:lnTo>
                      <a:pt x="1016" y="104"/>
                    </a:lnTo>
                    <a:lnTo>
                      <a:pt x="1018" y="106"/>
                    </a:lnTo>
                    <a:lnTo>
                      <a:pt x="1018" y="104"/>
                    </a:lnTo>
                    <a:lnTo>
                      <a:pt x="1020" y="104"/>
                    </a:lnTo>
                    <a:lnTo>
                      <a:pt x="1022" y="104"/>
                    </a:lnTo>
                    <a:lnTo>
                      <a:pt x="1022" y="106"/>
                    </a:lnTo>
                    <a:lnTo>
                      <a:pt x="1022" y="104"/>
                    </a:lnTo>
                    <a:lnTo>
                      <a:pt x="1024" y="104"/>
                    </a:lnTo>
                    <a:lnTo>
                      <a:pt x="1024" y="106"/>
                    </a:lnTo>
                    <a:lnTo>
                      <a:pt x="1026" y="106"/>
                    </a:lnTo>
                    <a:lnTo>
                      <a:pt x="1024" y="106"/>
                    </a:lnTo>
                    <a:lnTo>
                      <a:pt x="1024" y="104"/>
                    </a:lnTo>
                    <a:lnTo>
                      <a:pt x="1022" y="104"/>
                    </a:lnTo>
                    <a:lnTo>
                      <a:pt x="1022" y="106"/>
                    </a:lnTo>
                    <a:lnTo>
                      <a:pt x="1022" y="104"/>
                    </a:lnTo>
                    <a:lnTo>
                      <a:pt x="1020" y="104"/>
                    </a:lnTo>
                    <a:lnTo>
                      <a:pt x="1018" y="104"/>
                    </a:lnTo>
                    <a:lnTo>
                      <a:pt x="1018" y="106"/>
                    </a:lnTo>
                    <a:lnTo>
                      <a:pt x="1016" y="104"/>
                    </a:lnTo>
                    <a:lnTo>
                      <a:pt x="1016" y="106"/>
                    </a:lnTo>
                    <a:lnTo>
                      <a:pt x="1016" y="104"/>
                    </a:lnTo>
                    <a:lnTo>
                      <a:pt x="1018" y="104"/>
                    </a:lnTo>
                    <a:lnTo>
                      <a:pt x="1018" y="102"/>
                    </a:lnTo>
                    <a:lnTo>
                      <a:pt x="1016" y="102"/>
                    </a:lnTo>
                    <a:lnTo>
                      <a:pt x="1016" y="100"/>
                    </a:lnTo>
                    <a:lnTo>
                      <a:pt x="1014" y="100"/>
                    </a:lnTo>
                    <a:lnTo>
                      <a:pt x="1014" y="98"/>
                    </a:lnTo>
                    <a:lnTo>
                      <a:pt x="1014" y="97"/>
                    </a:lnTo>
                    <a:lnTo>
                      <a:pt x="1016" y="97"/>
                    </a:lnTo>
                    <a:lnTo>
                      <a:pt x="1018" y="97"/>
                    </a:lnTo>
                    <a:lnTo>
                      <a:pt x="1016" y="97"/>
                    </a:lnTo>
                    <a:lnTo>
                      <a:pt x="1014" y="97"/>
                    </a:lnTo>
                    <a:lnTo>
                      <a:pt x="1016" y="97"/>
                    </a:lnTo>
                    <a:lnTo>
                      <a:pt x="1016" y="95"/>
                    </a:lnTo>
                    <a:lnTo>
                      <a:pt x="1016" y="93"/>
                    </a:lnTo>
                    <a:lnTo>
                      <a:pt x="1018" y="93"/>
                    </a:lnTo>
                    <a:lnTo>
                      <a:pt x="1020" y="91"/>
                    </a:lnTo>
                    <a:lnTo>
                      <a:pt x="1020" y="89"/>
                    </a:lnTo>
                    <a:lnTo>
                      <a:pt x="1022" y="89"/>
                    </a:lnTo>
                    <a:lnTo>
                      <a:pt x="1022" y="87"/>
                    </a:lnTo>
                    <a:lnTo>
                      <a:pt x="1024" y="87"/>
                    </a:lnTo>
                    <a:lnTo>
                      <a:pt x="1024" y="85"/>
                    </a:lnTo>
                    <a:lnTo>
                      <a:pt x="1024" y="83"/>
                    </a:lnTo>
                    <a:lnTo>
                      <a:pt x="1026" y="83"/>
                    </a:lnTo>
                    <a:lnTo>
                      <a:pt x="1024" y="83"/>
                    </a:lnTo>
                    <a:lnTo>
                      <a:pt x="1026" y="83"/>
                    </a:lnTo>
                    <a:lnTo>
                      <a:pt x="1026" y="81"/>
                    </a:lnTo>
                    <a:lnTo>
                      <a:pt x="1028" y="81"/>
                    </a:lnTo>
                    <a:lnTo>
                      <a:pt x="1028" y="79"/>
                    </a:lnTo>
                    <a:lnTo>
                      <a:pt x="1029" y="79"/>
                    </a:lnTo>
                    <a:lnTo>
                      <a:pt x="1029" y="77"/>
                    </a:lnTo>
                    <a:lnTo>
                      <a:pt x="1031" y="77"/>
                    </a:lnTo>
                    <a:lnTo>
                      <a:pt x="1031" y="75"/>
                    </a:lnTo>
                    <a:lnTo>
                      <a:pt x="1033" y="75"/>
                    </a:lnTo>
                    <a:lnTo>
                      <a:pt x="1033" y="73"/>
                    </a:lnTo>
                    <a:lnTo>
                      <a:pt x="1035" y="72"/>
                    </a:lnTo>
                    <a:lnTo>
                      <a:pt x="1037" y="72"/>
                    </a:lnTo>
                    <a:lnTo>
                      <a:pt x="1037" y="70"/>
                    </a:lnTo>
                    <a:lnTo>
                      <a:pt x="1039" y="70"/>
                    </a:lnTo>
                    <a:lnTo>
                      <a:pt x="1041" y="68"/>
                    </a:lnTo>
                    <a:lnTo>
                      <a:pt x="1043" y="66"/>
                    </a:lnTo>
                    <a:lnTo>
                      <a:pt x="1045" y="66"/>
                    </a:lnTo>
                    <a:lnTo>
                      <a:pt x="1045" y="64"/>
                    </a:lnTo>
                    <a:lnTo>
                      <a:pt x="1045" y="62"/>
                    </a:lnTo>
                    <a:lnTo>
                      <a:pt x="1047" y="60"/>
                    </a:lnTo>
                    <a:lnTo>
                      <a:pt x="1049" y="58"/>
                    </a:lnTo>
                    <a:lnTo>
                      <a:pt x="1051" y="58"/>
                    </a:lnTo>
                    <a:lnTo>
                      <a:pt x="1051" y="56"/>
                    </a:lnTo>
                    <a:lnTo>
                      <a:pt x="1053" y="56"/>
                    </a:lnTo>
                    <a:lnTo>
                      <a:pt x="1054" y="54"/>
                    </a:lnTo>
                    <a:lnTo>
                      <a:pt x="1056" y="54"/>
                    </a:lnTo>
                    <a:lnTo>
                      <a:pt x="1056" y="52"/>
                    </a:lnTo>
                    <a:lnTo>
                      <a:pt x="1058" y="52"/>
                    </a:lnTo>
                    <a:lnTo>
                      <a:pt x="1060" y="52"/>
                    </a:lnTo>
                    <a:lnTo>
                      <a:pt x="1060" y="50"/>
                    </a:lnTo>
                    <a:lnTo>
                      <a:pt x="1062" y="50"/>
                    </a:lnTo>
                    <a:lnTo>
                      <a:pt x="1062" y="52"/>
                    </a:lnTo>
                    <a:lnTo>
                      <a:pt x="1064" y="52"/>
                    </a:lnTo>
                    <a:lnTo>
                      <a:pt x="1064" y="54"/>
                    </a:lnTo>
                    <a:lnTo>
                      <a:pt x="1064" y="52"/>
                    </a:lnTo>
                    <a:lnTo>
                      <a:pt x="1062" y="52"/>
                    </a:lnTo>
                    <a:lnTo>
                      <a:pt x="1064" y="52"/>
                    </a:lnTo>
                    <a:lnTo>
                      <a:pt x="1064" y="54"/>
                    </a:lnTo>
                    <a:lnTo>
                      <a:pt x="1066" y="54"/>
                    </a:lnTo>
                    <a:lnTo>
                      <a:pt x="1064" y="54"/>
                    </a:lnTo>
                    <a:lnTo>
                      <a:pt x="1066" y="54"/>
                    </a:lnTo>
                    <a:lnTo>
                      <a:pt x="1066" y="56"/>
                    </a:lnTo>
                    <a:lnTo>
                      <a:pt x="1066" y="54"/>
                    </a:lnTo>
                    <a:lnTo>
                      <a:pt x="1068" y="54"/>
                    </a:lnTo>
                    <a:lnTo>
                      <a:pt x="1068" y="56"/>
                    </a:lnTo>
                    <a:lnTo>
                      <a:pt x="1068" y="58"/>
                    </a:lnTo>
                    <a:lnTo>
                      <a:pt x="1070" y="58"/>
                    </a:lnTo>
                    <a:lnTo>
                      <a:pt x="1072" y="58"/>
                    </a:lnTo>
                    <a:lnTo>
                      <a:pt x="1072" y="60"/>
                    </a:lnTo>
                    <a:lnTo>
                      <a:pt x="1072" y="58"/>
                    </a:lnTo>
                    <a:lnTo>
                      <a:pt x="1072" y="60"/>
                    </a:lnTo>
                    <a:lnTo>
                      <a:pt x="1072" y="62"/>
                    </a:lnTo>
                    <a:lnTo>
                      <a:pt x="1074" y="62"/>
                    </a:lnTo>
                    <a:lnTo>
                      <a:pt x="1076" y="62"/>
                    </a:lnTo>
                    <a:lnTo>
                      <a:pt x="1076" y="64"/>
                    </a:lnTo>
                    <a:lnTo>
                      <a:pt x="1076" y="62"/>
                    </a:lnTo>
                    <a:lnTo>
                      <a:pt x="1074" y="62"/>
                    </a:lnTo>
                    <a:lnTo>
                      <a:pt x="1072" y="62"/>
                    </a:lnTo>
                    <a:lnTo>
                      <a:pt x="1072" y="60"/>
                    </a:lnTo>
                    <a:lnTo>
                      <a:pt x="1074" y="60"/>
                    </a:lnTo>
                    <a:lnTo>
                      <a:pt x="1072" y="58"/>
                    </a:lnTo>
                    <a:lnTo>
                      <a:pt x="1072" y="60"/>
                    </a:lnTo>
                    <a:lnTo>
                      <a:pt x="1072" y="58"/>
                    </a:lnTo>
                    <a:lnTo>
                      <a:pt x="1070" y="58"/>
                    </a:lnTo>
                    <a:lnTo>
                      <a:pt x="1068" y="58"/>
                    </a:lnTo>
                    <a:lnTo>
                      <a:pt x="1070" y="58"/>
                    </a:lnTo>
                    <a:lnTo>
                      <a:pt x="1068" y="58"/>
                    </a:lnTo>
                    <a:lnTo>
                      <a:pt x="1068" y="56"/>
                    </a:lnTo>
                    <a:lnTo>
                      <a:pt x="1068" y="54"/>
                    </a:lnTo>
                    <a:lnTo>
                      <a:pt x="1066" y="54"/>
                    </a:lnTo>
                    <a:lnTo>
                      <a:pt x="1064" y="54"/>
                    </a:lnTo>
                    <a:lnTo>
                      <a:pt x="1064" y="52"/>
                    </a:lnTo>
                    <a:lnTo>
                      <a:pt x="1066" y="52"/>
                    </a:lnTo>
                    <a:lnTo>
                      <a:pt x="1064" y="52"/>
                    </a:lnTo>
                    <a:lnTo>
                      <a:pt x="1062" y="52"/>
                    </a:lnTo>
                    <a:lnTo>
                      <a:pt x="1062" y="50"/>
                    </a:lnTo>
                    <a:lnTo>
                      <a:pt x="1062" y="48"/>
                    </a:lnTo>
                    <a:lnTo>
                      <a:pt x="1064" y="48"/>
                    </a:lnTo>
                    <a:lnTo>
                      <a:pt x="1064" y="47"/>
                    </a:lnTo>
                    <a:lnTo>
                      <a:pt x="1066" y="47"/>
                    </a:lnTo>
                    <a:lnTo>
                      <a:pt x="1068" y="47"/>
                    </a:lnTo>
                    <a:lnTo>
                      <a:pt x="1068" y="45"/>
                    </a:lnTo>
                    <a:lnTo>
                      <a:pt x="1068" y="47"/>
                    </a:lnTo>
                    <a:lnTo>
                      <a:pt x="1068" y="45"/>
                    </a:lnTo>
                    <a:lnTo>
                      <a:pt x="1068" y="47"/>
                    </a:lnTo>
                    <a:lnTo>
                      <a:pt x="1068" y="45"/>
                    </a:lnTo>
                    <a:lnTo>
                      <a:pt x="1068" y="47"/>
                    </a:lnTo>
                    <a:lnTo>
                      <a:pt x="1068" y="45"/>
                    </a:lnTo>
                    <a:lnTo>
                      <a:pt x="1070" y="45"/>
                    </a:lnTo>
                    <a:lnTo>
                      <a:pt x="1070" y="43"/>
                    </a:lnTo>
                    <a:lnTo>
                      <a:pt x="1072" y="43"/>
                    </a:lnTo>
                    <a:lnTo>
                      <a:pt x="1074" y="43"/>
                    </a:lnTo>
                    <a:lnTo>
                      <a:pt x="1072" y="43"/>
                    </a:lnTo>
                    <a:lnTo>
                      <a:pt x="1074" y="43"/>
                    </a:lnTo>
                    <a:lnTo>
                      <a:pt x="1074" y="41"/>
                    </a:lnTo>
                    <a:lnTo>
                      <a:pt x="1074" y="43"/>
                    </a:lnTo>
                    <a:lnTo>
                      <a:pt x="1074" y="41"/>
                    </a:lnTo>
                    <a:lnTo>
                      <a:pt x="1074" y="43"/>
                    </a:lnTo>
                    <a:lnTo>
                      <a:pt x="1074" y="41"/>
                    </a:lnTo>
                    <a:lnTo>
                      <a:pt x="1076" y="41"/>
                    </a:lnTo>
                    <a:lnTo>
                      <a:pt x="1076" y="43"/>
                    </a:lnTo>
                    <a:lnTo>
                      <a:pt x="1076" y="41"/>
                    </a:lnTo>
                    <a:lnTo>
                      <a:pt x="1077" y="41"/>
                    </a:lnTo>
                    <a:lnTo>
                      <a:pt x="1077" y="39"/>
                    </a:lnTo>
                    <a:lnTo>
                      <a:pt x="1077" y="41"/>
                    </a:lnTo>
                    <a:lnTo>
                      <a:pt x="1077" y="39"/>
                    </a:lnTo>
                    <a:lnTo>
                      <a:pt x="1079" y="39"/>
                    </a:lnTo>
                    <a:lnTo>
                      <a:pt x="1079" y="41"/>
                    </a:lnTo>
                    <a:lnTo>
                      <a:pt x="1077" y="41"/>
                    </a:lnTo>
                    <a:lnTo>
                      <a:pt x="1079" y="41"/>
                    </a:lnTo>
                    <a:lnTo>
                      <a:pt x="1077" y="41"/>
                    </a:lnTo>
                    <a:lnTo>
                      <a:pt x="1079" y="41"/>
                    </a:lnTo>
                    <a:lnTo>
                      <a:pt x="1079" y="39"/>
                    </a:lnTo>
                    <a:lnTo>
                      <a:pt x="1081" y="39"/>
                    </a:lnTo>
                    <a:lnTo>
                      <a:pt x="1081" y="37"/>
                    </a:lnTo>
                    <a:lnTo>
                      <a:pt x="1081" y="39"/>
                    </a:lnTo>
                    <a:lnTo>
                      <a:pt x="1081" y="37"/>
                    </a:lnTo>
                    <a:lnTo>
                      <a:pt x="1081" y="39"/>
                    </a:lnTo>
                    <a:lnTo>
                      <a:pt x="1081" y="37"/>
                    </a:lnTo>
                    <a:lnTo>
                      <a:pt x="1081" y="39"/>
                    </a:lnTo>
                    <a:lnTo>
                      <a:pt x="1081" y="37"/>
                    </a:lnTo>
                    <a:lnTo>
                      <a:pt x="1083" y="37"/>
                    </a:lnTo>
                    <a:lnTo>
                      <a:pt x="1085" y="37"/>
                    </a:lnTo>
                    <a:lnTo>
                      <a:pt x="1083" y="37"/>
                    </a:lnTo>
                    <a:lnTo>
                      <a:pt x="1085" y="37"/>
                    </a:lnTo>
                    <a:lnTo>
                      <a:pt x="1085" y="35"/>
                    </a:lnTo>
                    <a:lnTo>
                      <a:pt x="1087" y="35"/>
                    </a:lnTo>
                    <a:lnTo>
                      <a:pt x="1089" y="35"/>
                    </a:lnTo>
                    <a:lnTo>
                      <a:pt x="1089" y="33"/>
                    </a:lnTo>
                    <a:lnTo>
                      <a:pt x="1091" y="33"/>
                    </a:lnTo>
                    <a:lnTo>
                      <a:pt x="1089" y="33"/>
                    </a:lnTo>
                    <a:lnTo>
                      <a:pt x="1089" y="35"/>
                    </a:lnTo>
                    <a:lnTo>
                      <a:pt x="1091" y="33"/>
                    </a:lnTo>
                    <a:lnTo>
                      <a:pt x="1093" y="33"/>
                    </a:lnTo>
                    <a:lnTo>
                      <a:pt x="1095" y="31"/>
                    </a:lnTo>
                    <a:lnTo>
                      <a:pt x="1097" y="31"/>
                    </a:lnTo>
                    <a:lnTo>
                      <a:pt x="1099" y="31"/>
                    </a:lnTo>
                    <a:lnTo>
                      <a:pt x="1101" y="29"/>
                    </a:lnTo>
                    <a:lnTo>
                      <a:pt x="1099" y="29"/>
                    </a:lnTo>
                    <a:lnTo>
                      <a:pt x="1101" y="29"/>
                    </a:lnTo>
                    <a:lnTo>
                      <a:pt x="1102" y="29"/>
                    </a:lnTo>
                    <a:lnTo>
                      <a:pt x="1102" y="31"/>
                    </a:lnTo>
                    <a:lnTo>
                      <a:pt x="1102" y="29"/>
                    </a:lnTo>
                    <a:lnTo>
                      <a:pt x="1102" y="31"/>
                    </a:lnTo>
                    <a:lnTo>
                      <a:pt x="1102" y="33"/>
                    </a:lnTo>
                    <a:lnTo>
                      <a:pt x="1102" y="35"/>
                    </a:lnTo>
                    <a:lnTo>
                      <a:pt x="1101" y="37"/>
                    </a:lnTo>
                    <a:lnTo>
                      <a:pt x="1099" y="39"/>
                    </a:lnTo>
                    <a:lnTo>
                      <a:pt x="1099" y="41"/>
                    </a:lnTo>
                    <a:lnTo>
                      <a:pt x="1101" y="41"/>
                    </a:lnTo>
                    <a:lnTo>
                      <a:pt x="1101" y="43"/>
                    </a:lnTo>
                    <a:lnTo>
                      <a:pt x="1101" y="41"/>
                    </a:lnTo>
                    <a:lnTo>
                      <a:pt x="1101" y="43"/>
                    </a:lnTo>
                    <a:lnTo>
                      <a:pt x="1101" y="41"/>
                    </a:lnTo>
                    <a:lnTo>
                      <a:pt x="1101" y="43"/>
                    </a:lnTo>
                    <a:lnTo>
                      <a:pt x="1102" y="43"/>
                    </a:lnTo>
                    <a:lnTo>
                      <a:pt x="1102" y="41"/>
                    </a:lnTo>
                    <a:lnTo>
                      <a:pt x="1102" y="43"/>
                    </a:lnTo>
                    <a:lnTo>
                      <a:pt x="1102" y="45"/>
                    </a:lnTo>
                    <a:lnTo>
                      <a:pt x="1104" y="45"/>
                    </a:lnTo>
                    <a:lnTo>
                      <a:pt x="1104" y="47"/>
                    </a:lnTo>
                    <a:lnTo>
                      <a:pt x="1104" y="45"/>
                    </a:lnTo>
                    <a:lnTo>
                      <a:pt x="1102" y="45"/>
                    </a:lnTo>
                    <a:lnTo>
                      <a:pt x="1102" y="47"/>
                    </a:lnTo>
                    <a:lnTo>
                      <a:pt x="1102" y="45"/>
                    </a:lnTo>
                    <a:lnTo>
                      <a:pt x="1104" y="47"/>
                    </a:lnTo>
                    <a:lnTo>
                      <a:pt x="1102" y="47"/>
                    </a:lnTo>
                    <a:lnTo>
                      <a:pt x="1104" y="47"/>
                    </a:lnTo>
                    <a:lnTo>
                      <a:pt x="1102" y="47"/>
                    </a:lnTo>
                    <a:lnTo>
                      <a:pt x="1104" y="47"/>
                    </a:lnTo>
                    <a:lnTo>
                      <a:pt x="1106" y="47"/>
                    </a:lnTo>
                    <a:lnTo>
                      <a:pt x="1104" y="47"/>
                    </a:lnTo>
                    <a:lnTo>
                      <a:pt x="1104" y="48"/>
                    </a:lnTo>
                    <a:lnTo>
                      <a:pt x="1106" y="48"/>
                    </a:lnTo>
                    <a:lnTo>
                      <a:pt x="1104" y="48"/>
                    </a:lnTo>
                    <a:lnTo>
                      <a:pt x="1104" y="50"/>
                    </a:lnTo>
                    <a:lnTo>
                      <a:pt x="1106" y="52"/>
                    </a:lnTo>
                    <a:lnTo>
                      <a:pt x="1108" y="52"/>
                    </a:lnTo>
                    <a:lnTo>
                      <a:pt x="1106" y="52"/>
                    </a:lnTo>
                    <a:lnTo>
                      <a:pt x="1106" y="54"/>
                    </a:lnTo>
                    <a:lnTo>
                      <a:pt x="1108" y="54"/>
                    </a:lnTo>
                    <a:lnTo>
                      <a:pt x="1108" y="56"/>
                    </a:lnTo>
                    <a:lnTo>
                      <a:pt x="1108" y="54"/>
                    </a:lnTo>
                    <a:lnTo>
                      <a:pt x="1106" y="54"/>
                    </a:lnTo>
                    <a:lnTo>
                      <a:pt x="1106" y="52"/>
                    </a:lnTo>
                    <a:lnTo>
                      <a:pt x="1108" y="52"/>
                    </a:lnTo>
                    <a:lnTo>
                      <a:pt x="1106" y="52"/>
                    </a:lnTo>
                    <a:lnTo>
                      <a:pt x="1106" y="50"/>
                    </a:lnTo>
                    <a:lnTo>
                      <a:pt x="1104" y="50"/>
                    </a:lnTo>
                    <a:lnTo>
                      <a:pt x="1106" y="50"/>
                    </a:lnTo>
                    <a:lnTo>
                      <a:pt x="1104" y="48"/>
                    </a:lnTo>
                    <a:lnTo>
                      <a:pt x="1106" y="48"/>
                    </a:lnTo>
                    <a:lnTo>
                      <a:pt x="1104" y="48"/>
                    </a:lnTo>
                    <a:lnTo>
                      <a:pt x="1104" y="47"/>
                    </a:lnTo>
                    <a:lnTo>
                      <a:pt x="1106" y="47"/>
                    </a:lnTo>
                    <a:lnTo>
                      <a:pt x="1104" y="47"/>
                    </a:lnTo>
                    <a:lnTo>
                      <a:pt x="1106" y="47"/>
                    </a:lnTo>
                    <a:lnTo>
                      <a:pt x="1104" y="47"/>
                    </a:lnTo>
                    <a:lnTo>
                      <a:pt x="1104" y="45"/>
                    </a:lnTo>
                    <a:lnTo>
                      <a:pt x="1102" y="45"/>
                    </a:lnTo>
                    <a:lnTo>
                      <a:pt x="1102" y="43"/>
                    </a:lnTo>
                    <a:lnTo>
                      <a:pt x="1102" y="41"/>
                    </a:lnTo>
                    <a:lnTo>
                      <a:pt x="1101" y="41"/>
                    </a:lnTo>
                    <a:lnTo>
                      <a:pt x="1099" y="41"/>
                    </a:lnTo>
                    <a:lnTo>
                      <a:pt x="1099" y="39"/>
                    </a:lnTo>
                    <a:lnTo>
                      <a:pt x="1101" y="37"/>
                    </a:lnTo>
                    <a:lnTo>
                      <a:pt x="1102" y="37"/>
                    </a:lnTo>
                    <a:lnTo>
                      <a:pt x="1102" y="35"/>
                    </a:lnTo>
                    <a:lnTo>
                      <a:pt x="1102" y="33"/>
                    </a:lnTo>
                    <a:lnTo>
                      <a:pt x="1102" y="31"/>
                    </a:lnTo>
                    <a:lnTo>
                      <a:pt x="1102" y="29"/>
                    </a:lnTo>
                    <a:lnTo>
                      <a:pt x="1104" y="29"/>
                    </a:lnTo>
                    <a:lnTo>
                      <a:pt x="1104" y="27"/>
                    </a:lnTo>
                    <a:lnTo>
                      <a:pt x="1104" y="29"/>
                    </a:lnTo>
                    <a:lnTo>
                      <a:pt x="1106" y="29"/>
                    </a:lnTo>
                    <a:lnTo>
                      <a:pt x="1106" y="27"/>
                    </a:lnTo>
                    <a:lnTo>
                      <a:pt x="1108" y="27"/>
                    </a:lnTo>
                    <a:lnTo>
                      <a:pt x="1110" y="27"/>
                    </a:lnTo>
                    <a:lnTo>
                      <a:pt x="1112" y="27"/>
                    </a:lnTo>
                    <a:lnTo>
                      <a:pt x="1114" y="27"/>
                    </a:lnTo>
                    <a:lnTo>
                      <a:pt x="1114" y="25"/>
                    </a:lnTo>
                    <a:lnTo>
                      <a:pt x="1116" y="25"/>
                    </a:lnTo>
                    <a:lnTo>
                      <a:pt x="1118" y="25"/>
                    </a:lnTo>
                    <a:lnTo>
                      <a:pt x="1120" y="25"/>
                    </a:lnTo>
                    <a:lnTo>
                      <a:pt x="1124" y="25"/>
                    </a:lnTo>
                    <a:lnTo>
                      <a:pt x="1126" y="25"/>
                    </a:lnTo>
                    <a:lnTo>
                      <a:pt x="1127" y="25"/>
                    </a:lnTo>
                    <a:lnTo>
                      <a:pt x="1129" y="25"/>
                    </a:lnTo>
                    <a:lnTo>
                      <a:pt x="1131" y="25"/>
                    </a:lnTo>
                    <a:lnTo>
                      <a:pt x="1133" y="25"/>
                    </a:lnTo>
                    <a:lnTo>
                      <a:pt x="1133" y="27"/>
                    </a:lnTo>
                    <a:lnTo>
                      <a:pt x="1135" y="27"/>
                    </a:lnTo>
                    <a:lnTo>
                      <a:pt x="1137" y="27"/>
                    </a:lnTo>
                    <a:lnTo>
                      <a:pt x="1139" y="27"/>
                    </a:lnTo>
                    <a:lnTo>
                      <a:pt x="1141" y="29"/>
                    </a:lnTo>
                    <a:lnTo>
                      <a:pt x="1143" y="29"/>
                    </a:lnTo>
                    <a:lnTo>
                      <a:pt x="1143" y="31"/>
                    </a:lnTo>
                    <a:lnTo>
                      <a:pt x="1145" y="31"/>
                    </a:lnTo>
                    <a:lnTo>
                      <a:pt x="1147" y="31"/>
                    </a:lnTo>
                    <a:lnTo>
                      <a:pt x="1147" y="33"/>
                    </a:lnTo>
                    <a:lnTo>
                      <a:pt x="1149" y="33"/>
                    </a:lnTo>
                    <a:lnTo>
                      <a:pt x="1150" y="35"/>
                    </a:lnTo>
                    <a:lnTo>
                      <a:pt x="1152" y="35"/>
                    </a:lnTo>
                    <a:lnTo>
                      <a:pt x="1152" y="37"/>
                    </a:lnTo>
                    <a:lnTo>
                      <a:pt x="1154" y="37"/>
                    </a:lnTo>
                    <a:lnTo>
                      <a:pt x="1154" y="39"/>
                    </a:lnTo>
                    <a:lnTo>
                      <a:pt x="1156" y="41"/>
                    </a:lnTo>
                    <a:lnTo>
                      <a:pt x="1156" y="43"/>
                    </a:lnTo>
                    <a:lnTo>
                      <a:pt x="1156" y="45"/>
                    </a:lnTo>
                    <a:lnTo>
                      <a:pt x="1156" y="47"/>
                    </a:lnTo>
                    <a:lnTo>
                      <a:pt x="1156" y="48"/>
                    </a:lnTo>
                    <a:lnTo>
                      <a:pt x="1154" y="48"/>
                    </a:lnTo>
                    <a:lnTo>
                      <a:pt x="1154" y="47"/>
                    </a:lnTo>
                    <a:lnTo>
                      <a:pt x="1154" y="48"/>
                    </a:lnTo>
                    <a:lnTo>
                      <a:pt x="1152" y="48"/>
                    </a:lnTo>
                    <a:lnTo>
                      <a:pt x="1152" y="50"/>
                    </a:lnTo>
                    <a:lnTo>
                      <a:pt x="1152" y="52"/>
                    </a:lnTo>
                    <a:lnTo>
                      <a:pt x="1150" y="52"/>
                    </a:lnTo>
                    <a:lnTo>
                      <a:pt x="1150" y="54"/>
                    </a:lnTo>
                    <a:lnTo>
                      <a:pt x="1149" y="54"/>
                    </a:lnTo>
                    <a:lnTo>
                      <a:pt x="1150" y="56"/>
                    </a:lnTo>
                    <a:lnTo>
                      <a:pt x="1149" y="56"/>
                    </a:lnTo>
                    <a:lnTo>
                      <a:pt x="1149" y="58"/>
                    </a:lnTo>
                    <a:lnTo>
                      <a:pt x="1149" y="60"/>
                    </a:lnTo>
                    <a:lnTo>
                      <a:pt x="1149" y="62"/>
                    </a:lnTo>
                    <a:lnTo>
                      <a:pt x="1147" y="62"/>
                    </a:lnTo>
                    <a:lnTo>
                      <a:pt x="1149" y="62"/>
                    </a:lnTo>
                    <a:lnTo>
                      <a:pt x="1147" y="62"/>
                    </a:lnTo>
                    <a:lnTo>
                      <a:pt x="1147" y="64"/>
                    </a:lnTo>
                    <a:lnTo>
                      <a:pt x="1149" y="64"/>
                    </a:lnTo>
                    <a:lnTo>
                      <a:pt x="1147" y="64"/>
                    </a:lnTo>
                    <a:lnTo>
                      <a:pt x="1145" y="64"/>
                    </a:lnTo>
                    <a:lnTo>
                      <a:pt x="1147" y="66"/>
                    </a:lnTo>
                    <a:lnTo>
                      <a:pt x="1147" y="64"/>
                    </a:lnTo>
                    <a:lnTo>
                      <a:pt x="1147" y="66"/>
                    </a:lnTo>
                    <a:lnTo>
                      <a:pt x="1149" y="66"/>
                    </a:lnTo>
                    <a:lnTo>
                      <a:pt x="1149" y="64"/>
                    </a:lnTo>
                    <a:lnTo>
                      <a:pt x="1149" y="66"/>
                    </a:lnTo>
                    <a:lnTo>
                      <a:pt x="1149" y="64"/>
                    </a:lnTo>
                    <a:lnTo>
                      <a:pt x="1149" y="62"/>
                    </a:lnTo>
                    <a:lnTo>
                      <a:pt x="1149" y="60"/>
                    </a:lnTo>
                    <a:lnTo>
                      <a:pt x="1150" y="60"/>
                    </a:lnTo>
                    <a:lnTo>
                      <a:pt x="1149" y="60"/>
                    </a:lnTo>
                    <a:lnTo>
                      <a:pt x="1149" y="58"/>
                    </a:lnTo>
                    <a:lnTo>
                      <a:pt x="1150" y="58"/>
                    </a:lnTo>
                    <a:lnTo>
                      <a:pt x="1149" y="58"/>
                    </a:lnTo>
                    <a:lnTo>
                      <a:pt x="1149" y="56"/>
                    </a:lnTo>
                    <a:lnTo>
                      <a:pt x="1150" y="56"/>
                    </a:lnTo>
                    <a:lnTo>
                      <a:pt x="1150" y="54"/>
                    </a:lnTo>
                    <a:lnTo>
                      <a:pt x="1150" y="52"/>
                    </a:lnTo>
                    <a:lnTo>
                      <a:pt x="1150" y="54"/>
                    </a:lnTo>
                    <a:lnTo>
                      <a:pt x="1150" y="52"/>
                    </a:lnTo>
                    <a:lnTo>
                      <a:pt x="1152" y="52"/>
                    </a:lnTo>
                    <a:lnTo>
                      <a:pt x="1152" y="50"/>
                    </a:lnTo>
                    <a:lnTo>
                      <a:pt x="1154" y="50"/>
                    </a:lnTo>
                    <a:lnTo>
                      <a:pt x="1152" y="50"/>
                    </a:lnTo>
                    <a:lnTo>
                      <a:pt x="1154" y="50"/>
                    </a:lnTo>
                    <a:lnTo>
                      <a:pt x="1156" y="48"/>
                    </a:lnTo>
                    <a:lnTo>
                      <a:pt x="1158" y="48"/>
                    </a:lnTo>
                    <a:lnTo>
                      <a:pt x="1158" y="50"/>
                    </a:lnTo>
                    <a:lnTo>
                      <a:pt x="1158" y="52"/>
                    </a:lnTo>
                    <a:lnTo>
                      <a:pt x="1158" y="50"/>
                    </a:lnTo>
                    <a:lnTo>
                      <a:pt x="1158" y="52"/>
                    </a:lnTo>
                    <a:lnTo>
                      <a:pt x="1160" y="52"/>
                    </a:lnTo>
                    <a:lnTo>
                      <a:pt x="1158" y="52"/>
                    </a:lnTo>
                    <a:lnTo>
                      <a:pt x="1160" y="54"/>
                    </a:lnTo>
                    <a:lnTo>
                      <a:pt x="1160" y="56"/>
                    </a:lnTo>
                    <a:lnTo>
                      <a:pt x="1160" y="58"/>
                    </a:lnTo>
                    <a:lnTo>
                      <a:pt x="1160" y="60"/>
                    </a:lnTo>
                    <a:lnTo>
                      <a:pt x="1160" y="62"/>
                    </a:lnTo>
                    <a:lnTo>
                      <a:pt x="1162" y="62"/>
                    </a:lnTo>
                    <a:lnTo>
                      <a:pt x="1164" y="62"/>
                    </a:lnTo>
                    <a:lnTo>
                      <a:pt x="1162" y="62"/>
                    </a:lnTo>
                    <a:lnTo>
                      <a:pt x="1164" y="62"/>
                    </a:lnTo>
                    <a:lnTo>
                      <a:pt x="1164" y="64"/>
                    </a:lnTo>
                    <a:lnTo>
                      <a:pt x="1162" y="62"/>
                    </a:lnTo>
                    <a:lnTo>
                      <a:pt x="1162" y="64"/>
                    </a:lnTo>
                    <a:lnTo>
                      <a:pt x="1164" y="64"/>
                    </a:lnTo>
                    <a:lnTo>
                      <a:pt x="1164" y="62"/>
                    </a:lnTo>
                    <a:lnTo>
                      <a:pt x="1164" y="64"/>
                    </a:lnTo>
                    <a:lnTo>
                      <a:pt x="1166" y="64"/>
                    </a:lnTo>
                    <a:lnTo>
                      <a:pt x="1164" y="64"/>
                    </a:lnTo>
                    <a:lnTo>
                      <a:pt x="1162" y="64"/>
                    </a:lnTo>
                    <a:lnTo>
                      <a:pt x="1164" y="64"/>
                    </a:lnTo>
                    <a:lnTo>
                      <a:pt x="1162" y="64"/>
                    </a:lnTo>
                    <a:lnTo>
                      <a:pt x="1160" y="64"/>
                    </a:lnTo>
                    <a:lnTo>
                      <a:pt x="1162" y="64"/>
                    </a:lnTo>
                    <a:lnTo>
                      <a:pt x="1164" y="64"/>
                    </a:lnTo>
                    <a:lnTo>
                      <a:pt x="1162" y="64"/>
                    </a:lnTo>
                    <a:lnTo>
                      <a:pt x="1164" y="64"/>
                    </a:lnTo>
                    <a:lnTo>
                      <a:pt x="1166" y="64"/>
                    </a:lnTo>
                    <a:lnTo>
                      <a:pt x="1166" y="66"/>
                    </a:lnTo>
                    <a:lnTo>
                      <a:pt x="1166" y="68"/>
                    </a:lnTo>
                    <a:lnTo>
                      <a:pt x="1168" y="68"/>
                    </a:lnTo>
                    <a:lnTo>
                      <a:pt x="1168" y="70"/>
                    </a:lnTo>
                    <a:lnTo>
                      <a:pt x="1168" y="72"/>
                    </a:lnTo>
                    <a:lnTo>
                      <a:pt x="1168" y="73"/>
                    </a:lnTo>
                    <a:lnTo>
                      <a:pt x="1166" y="73"/>
                    </a:lnTo>
                    <a:lnTo>
                      <a:pt x="1164" y="73"/>
                    </a:lnTo>
                    <a:lnTo>
                      <a:pt x="1164" y="75"/>
                    </a:lnTo>
                    <a:lnTo>
                      <a:pt x="1166" y="75"/>
                    </a:lnTo>
                    <a:lnTo>
                      <a:pt x="1166" y="77"/>
                    </a:lnTo>
                    <a:lnTo>
                      <a:pt x="1166" y="79"/>
                    </a:lnTo>
                    <a:lnTo>
                      <a:pt x="1164" y="79"/>
                    </a:lnTo>
                    <a:lnTo>
                      <a:pt x="1164" y="81"/>
                    </a:lnTo>
                    <a:lnTo>
                      <a:pt x="1162" y="81"/>
                    </a:lnTo>
                    <a:lnTo>
                      <a:pt x="1164" y="81"/>
                    </a:lnTo>
                    <a:lnTo>
                      <a:pt x="1164" y="83"/>
                    </a:lnTo>
                    <a:lnTo>
                      <a:pt x="1162" y="83"/>
                    </a:lnTo>
                    <a:lnTo>
                      <a:pt x="1164" y="83"/>
                    </a:lnTo>
                    <a:lnTo>
                      <a:pt x="1162" y="83"/>
                    </a:lnTo>
                    <a:lnTo>
                      <a:pt x="1162" y="85"/>
                    </a:lnTo>
                    <a:lnTo>
                      <a:pt x="1164" y="85"/>
                    </a:lnTo>
                    <a:lnTo>
                      <a:pt x="1162" y="85"/>
                    </a:lnTo>
                    <a:lnTo>
                      <a:pt x="1164" y="85"/>
                    </a:lnTo>
                    <a:lnTo>
                      <a:pt x="1164" y="83"/>
                    </a:lnTo>
                    <a:lnTo>
                      <a:pt x="1164" y="85"/>
                    </a:lnTo>
                    <a:lnTo>
                      <a:pt x="1162" y="83"/>
                    </a:lnTo>
                    <a:lnTo>
                      <a:pt x="1164" y="83"/>
                    </a:lnTo>
                    <a:lnTo>
                      <a:pt x="1164" y="81"/>
                    </a:lnTo>
                    <a:lnTo>
                      <a:pt x="1164" y="79"/>
                    </a:lnTo>
                    <a:lnTo>
                      <a:pt x="1166" y="79"/>
                    </a:lnTo>
                    <a:lnTo>
                      <a:pt x="1166" y="77"/>
                    </a:lnTo>
                    <a:lnTo>
                      <a:pt x="1166" y="75"/>
                    </a:lnTo>
                    <a:lnTo>
                      <a:pt x="1164" y="75"/>
                    </a:lnTo>
                    <a:lnTo>
                      <a:pt x="1164" y="73"/>
                    </a:lnTo>
                    <a:lnTo>
                      <a:pt x="1166" y="73"/>
                    </a:lnTo>
                    <a:lnTo>
                      <a:pt x="1168" y="73"/>
                    </a:lnTo>
                    <a:lnTo>
                      <a:pt x="1168" y="72"/>
                    </a:lnTo>
                    <a:lnTo>
                      <a:pt x="1168" y="70"/>
                    </a:lnTo>
                    <a:lnTo>
                      <a:pt x="1168" y="68"/>
                    </a:lnTo>
                    <a:lnTo>
                      <a:pt x="1166" y="68"/>
                    </a:lnTo>
                    <a:lnTo>
                      <a:pt x="1166" y="66"/>
                    </a:lnTo>
                    <a:lnTo>
                      <a:pt x="1168" y="66"/>
                    </a:lnTo>
                    <a:lnTo>
                      <a:pt x="1166" y="64"/>
                    </a:lnTo>
                    <a:lnTo>
                      <a:pt x="1168" y="64"/>
                    </a:lnTo>
                    <a:lnTo>
                      <a:pt x="1170" y="64"/>
                    </a:lnTo>
                    <a:lnTo>
                      <a:pt x="1170" y="62"/>
                    </a:lnTo>
                    <a:lnTo>
                      <a:pt x="1172" y="62"/>
                    </a:lnTo>
                    <a:lnTo>
                      <a:pt x="1172" y="64"/>
                    </a:lnTo>
                    <a:lnTo>
                      <a:pt x="1174" y="64"/>
                    </a:lnTo>
                    <a:lnTo>
                      <a:pt x="1175" y="64"/>
                    </a:lnTo>
                    <a:lnTo>
                      <a:pt x="1174" y="64"/>
                    </a:lnTo>
                    <a:lnTo>
                      <a:pt x="1172" y="64"/>
                    </a:lnTo>
                    <a:lnTo>
                      <a:pt x="1174" y="62"/>
                    </a:lnTo>
                    <a:lnTo>
                      <a:pt x="1174" y="64"/>
                    </a:lnTo>
                    <a:lnTo>
                      <a:pt x="1174" y="62"/>
                    </a:lnTo>
                    <a:lnTo>
                      <a:pt x="1174" y="64"/>
                    </a:lnTo>
                    <a:lnTo>
                      <a:pt x="1175" y="64"/>
                    </a:lnTo>
                    <a:lnTo>
                      <a:pt x="1175" y="62"/>
                    </a:lnTo>
                    <a:lnTo>
                      <a:pt x="1175" y="64"/>
                    </a:lnTo>
                    <a:lnTo>
                      <a:pt x="1175" y="62"/>
                    </a:lnTo>
                    <a:lnTo>
                      <a:pt x="1177" y="64"/>
                    </a:lnTo>
                    <a:lnTo>
                      <a:pt x="1177" y="62"/>
                    </a:lnTo>
                    <a:lnTo>
                      <a:pt x="1177" y="64"/>
                    </a:lnTo>
                    <a:lnTo>
                      <a:pt x="1177" y="62"/>
                    </a:lnTo>
                    <a:lnTo>
                      <a:pt x="1175" y="62"/>
                    </a:lnTo>
                    <a:lnTo>
                      <a:pt x="1177" y="60"/>
                    </a:lnTo>
                    <a:lnTo>
                      <a:pt x="1177" y="62"/>
                    </a:lnTo>
                    <a:lnTo>
                      <a:pt x="1179" y="62"/>
                    </a:lnTo>
                    <a:lnTo>
                      <a:pt x="1177" y="62"/>
                    </a:lnTo>
                    <a:lnTo>
                      <a:pt x="1177" y="60"/>
                    </a:lnTo>
                    <a:lnTo>
                      <a:pt x="1177" y="62"/>
                    </a:lnTo>
                    <a:lnTo>
                      <a:pt x="1179" y="60"/>
                    </a:lnTo>
                    <a:lnTo>
                      <a:pt x="1181" y="60"/>
                    </a:lnTo>
                    <a:lnTo>
                      <a:pt x="1181" y="62"/>
                    </a:lnTo>
                    <a:lnTo>
                      <a:pt x="1181" y="64"/>
                    </a:lnTo>
                    <a:lnTo>
                      <a:pt x="1183" y="64"/>
                    </a:lnTo>
                    <a:lnTo>
                      <a:pt x="1185" y="66"/>
                    </a:lnTo>
                    <a:lnTo>
                      <a:pt x="1187" y="66"/>
                    </a:lnTo>
                    <a:lnTo>
                      <a:pt x="1189" y="66"/>
                    </a:lnTo>
                    <a:lnTo>
                      <a:pt x="1191" y="66"/>
                    </a:lnTo>
                    <a:lnTo>
                      <a:pt x="1189" y="68"/>
                    </a:lnTo>
                    <a:lnTo>
                      <a:pt x="1191" y="68"/>
                    </a:lnTo>
                    <a:lnTo>
                      <a:pt x="1193" y="70"/>
                    </a:lnTo>
                    <a:lnTo>
                      <a:pt x="1195" y="70"/>
                    </a:lnTo>
                    <a:lnTo>
                      <a:pt x="1197" y="72"/>
                    </a:lnTo>
                    <a:lnTo>
                      <a:pt x="1197" y="70"/>
                    </a:lnTo>
                    <a:lnTo>
                      <a:pt x="1199" y="72"/>
                    </a:lnTo>
                    <a:lnTo>
                      <a:pt x="1197" y="70"/>
                    </a:lnTo>
                    <a:lnTo>
                      <a:pt x="1199" y="70"/>
                    </a:lnTo>
                    <a:lnTo>
                      <a:pt x="1199" y="72"/>
                    </a:lnTo>
                    <a:lnTo>
                      <a:pt x="1200" y="72"/>
                    </a:lnTo>
                    <a:lnTo>
                      <a:pt x="1202" y="72"/>
                    </a:lnTo>
                    <a:lnTo>
                      <a:pt x="1200" y="72"/>
                    </a:lnTo>
                    <a:lnTo>
                      <a:pt x="1202" y="72"/>
                    </a:lnTo>
                    <a:lnTo>
                      <a:pt x="1204" y="72"/>
                    </a:lnTo>
                    <a:lnTo>
                      <a:pt x="1206" y="72"/>
                    </a:lnTo>
                    <a:lnTo>
                      <a:pt x="1208" y="72"/>
                    </a:lnTo>
                    <a:lnTo>
                      <a:pt x="1206" y="72"/>
                    </a:lnTo>
                    <a:lnTo>
                      <a:pt x="1204" y="72"/>
                    </a:lnTo>
                    <a:lnTo>
                      <a:pt x="1202" y="72"/>
                    </a:lnTo>
                    <a:lnTo>
                      <a:pt x="1200" y="72"/>
                    </a:lnTo>
                    <a:lnTo>
                      <a:pt x="1199" y="72"/>
                    </a:lnTo>
                    <a:lnTo>
                      <a:pt x="1199" y="70"/>
                    </a:lnTo>
                    <a:lnTo>
                      <a:pt x="1197" y="70"/>
                    </a:lnTo>
                    <a:lnTo>
                      <a:pt x="1195" y="70"/>
                    </a:lnTo>
                    <a:lnTo>
                      <a:pt x="1193" y="70"/>
                    </a:lnTo>
                    <a:lnTo>
                      <a:pt x="1193" y="68"/>
                    </a:lnTo>
                    <a:lnTo>
                      <a:pt x="1191" y="68"/>
                    </a:lnTo>
                    <a:lnTo>
                      <a:pt x="1191" y="66"/>
                    </a:lnTo>
                    <a:lnTo>
                      <a:pt x="1189" y="66"/>
                    </a:lnTo>
                    <a:lnTo>
                      <a:pt x="1189" y="64"/>
                    </a:lnTo>
                    <a:lnTo>
                      <a:pt x="1187" y="64"/>
                    </a:lnTo>
                    <a:lnTo>
                      <a:pt x="1185" y="64"/>
                    </a:lnTo>
                    <a:lnTo>
                      <a:pt x="1183" y="64"/>
                    </a:lnTo>
                    <a:lnTo>
                      <a:pt x="1183" y="62"/>
                    </a:lnTo>
                    <a:lnTo>
                      <a:pt x="1181" y="62"/>
                    </a:lnTo>
                    <a:lnTo>
                      <a:pt x="1181" y="60"/>
                    </a:lnTo>
                    <a:lnTo>
                      <a:pt x="1183" y="60"/>
                    </a:lnTo>
                    <a:lnTo>
                      <a:pt x="1183" y="62"/>
                    </a:lnTo>
                    <a:lnTo>
                      <a:pt x="1185" y="62"/>
                    </a:lnTo>
                    <a:lnTo>
                      <a:pt x="1187" y="62"/>
                    </a:lnTo>
                    <a:lnTo>
                      <a:pt x="1189" y="62"/>
                    </a:lnTo>
                    <a:lnTo>
                      <a:pt x="1189" y="64"/>
                    </a:lnTo>
                    <a:lnTo>
                      <a:pt x="1191" y="62"/>
                    </a:lnTo>
                    <a:lnTo>
                      <a:pt x="1191" y="64"/>
                    </a:lnTo>
                    <a:lnTo>
                      <a:pt x="1193" y="64"/>
                    </a:lnTo>
                    <a:lnTo>
                      <a:pt x="1195" y="64"/>
                    </a:lnTo>
                    <a:lnTo>
                      <a:pt x="1197" y="64"/>
                    </a:lnTo>
                    <a:lnTo>
                      <a:pt x="1195" y="64"/>
                    </a:lnTo>
                    <a:lnTo>
                      <a:pt x="1193" y="64"/>
                    </a:lnTo>
                    <a:lnTo>
                      <a:pt x="1191" y="64"/>
                    </a:lnTo>
                    <a:lnTo>
                      <a:pt x="1191" y="62"/>
                    </a:lnTo>
                    <a:lnTo>
                      <a:pt x="1189" y="64"/>
                    </a:lnTo>
                    <a:lnTo>
                      <a:pt x="1189" y="62"/>
                    </a:lnTo>
                    <a:lnTo>
                      <a:pt x="1187" y="62"/>
                    </a:lnTo>
                    <a:lnTo>
                      <a:pt x="1189" y="62"/>
                    </a:lnTo>
                    <a:lnTo>
                      <a:pt x="1191" y="62"/>
                    </a:lnTo>
                    <a:lnTo>
                      <a:pt x="1189" y="62"/>
                    </a:lnTo>
                    <a:lnTo>
                      <a:pt x="1187" y="62"/>
                    </a:lnTo>
                    <a:lnTo>
                      <a:pt x="1187" y="60"/>
                    </a:lnTo>
                    <a:lnTo>
                      <a:pt x="1187" y="62"/>
                    </a:lnTo>
                    <a:lnTo>
                      <a:pt x="1185" y="62"/>
                    </a:lnTo>
                    <a:lnTo>
                      <a:pt x="1183" y="62"/>
                    </a:lnTo>
                    <a:lnTo>
                      <a:pt x="1183" y="60"/>
                    </a:lnTo>
                    <a:lnTo>
                      <a:pt x="1183" y="62"/>
                    </a:lnTo>
                    <a:lnTo>
                      <a:pt x="1183" y="60"/>
                    </a:lnTo>
                    <a:lnTo>
                      <a:pt x="1181" y="60"/>
                    </a:lnTo>
                    <a:lnTo>
                      <a:pt x="1183" y="60"/>
                    </a:lnTo>
                    <a:lnTo>
                      <a:pt x="1185" y="58"/>
                    </a:lnTo>
                    <a:lnTo>
                      <a:pt x="1183" y="58"/>
                    </a:lnTo>
                    <a:lnTo>
                      <a:pt x="1185" y="58"/>
                    </a:lnTo>
                    <a:lnTo>
                      <a:pt x="1187" y="56"/>
                    </a:lnTo>
                    <a:lnTo>
                      <a:pt x="1187" y="58"/>
                    </a:lnTo>
                    <a:lnTo>
                      <a:pt x="1185" y="58"/>
                    </a:lnTo>
                    <a:lnTo>
                      <a:pt x="1187" y="58"/>
                    </a:lnTo>
                    <a:lnTo>
                      <a:pt x="1185" y="58"/>
                    </a:lnTo>
                    <a:lnTo>
                      <a:pt x="1187" y="58"/>
                    </a:lnTo>
                    <a:lnTo>
                      <a:pt x="1185" y="58"/>
                    </a:lnTo>
                    <a:lnTo>
                      <a:pt x="1187" y="58"/>
                    </a:lnTo>
                    <a:lnTo>
                      <a:pt x="1187" y="56"/>
                    </a:lnTo>
                    <a:lnTo>
                      <a:pt x="1189" y="56"/>
                    </a:lnTo>
                    <a:lnTo>
                      <a:pt x="1189" y="58"/>
                    </a:lnTo>
                    <a:lnTo>
                      <a:pt x="1189" y="56"/>
                    </a:lnTo>
                    <a:lnTo>
                      <a:pt x="1191" y="56"/>
                    </a:lnTo>
                    <a:lnTo>
                      <a:pt x="1193" y="56"/>
                    </a:lnTo>
                    <a:lnTo>
                      <a:pt x="1193" y="58"/>
                    </a:lnTo>
                    <a:lnTo>
                      <a:pt x="1191" y="58"/>
                    </a:lnTo>
                    <a:lnTo>
                      <a:pt x="1191" y="60"/>
                    </a:lnTo>
                    <a:lnTo>
                      <a:pt x="1191" y="62"/>
                    </a:lnTo>
                    <a:lnTo>
                      <a:pt x="1191" y="60"/>
                    </a:lnTo>
                    <a:lnTo>
                      <a:pt x="1191" y="62"/>
                    </a:lnTo>
                    <a:lnTo>
                      <a:pt x="1191" y="60"/>
                    </a:lnTo>
                    <a:lnTo>
                      <a:pt x="1193" y="60"/>
                    </a:lnTo>
                    <a:lnTo>
                      <a:pt x="1195" y="60"/>
                    </a:lnTo>
                    <a:lnTo>
                      <a:pt x="1197" y="60"/>
                    </a:lnTo>
                    <a:lnTo>
                      <a:pt x="1195" y="60"/>
                    </a:lnTo>
                    <a:lnTo>
                      <a:pt x="1193" y="60"/>
                    </a:lnTo>
                    <a:lnTo>
                      <a:pt x="1195" y="60"/>
                    </a:lnTo>
                    <a:lnTo>
                      <a:pt x="1197" y="60"/>
                    </a:lnTo>
                    <a:lnTo>
                      <a:pt x="1195" y="60"/>
                    </a:lnTo>
                    <a:lnTo>
                      <a:pt x="1193" y="60"/>
                    </a:lnTo>
                    <a:lnTo>
                      <a:pt x="1191" y="60"/>
                    </a:lnTo>
                    <a:lnTo>
                      <a:pt x="1193" y="58"/>
                    </a:lnTo>
                    <a:lnTo>
                      <a:pt x="1193" y="56"/>
                    </a:lnTo>
                    <a:lnTo>
                      <a:pt x="1193" y="58"/>
                    </a:lnTo>
                    <a:lnTo>
                      <a:pt x="1193" y="56"/>
                    </a:lnTo>
                    <a:lnTo>
                      <a:pt x="1193" y="54"/>
                    </a:lnTo>
                    <a:lnTo>
                      <a:pt x="1193" y="56"/>
                    </a:lnTo>
                    <a:lnTo>
                      <a:pt x="1195" y="56"/>
                    </a:lnTo>
                    <a:lnTo>
                      <a:pt x="1197" y="56"/>
                    </a:lnTo>
                    <a:lnTo>
                      <a:pt x="1199" y="58"/>
                    </a:lnTo>
                    <a:lnTo>
                      <a:pt x="1199" y="60"/>
                    </a:lnTo>
                    <a:lnTo>
                      <a:pt x="1199" y="62"/>
                    </a:lnTo>
                    <a:lnTo>
                      <a:pt x="1200" y="62"/>
                    </a:lnTo>
                    <a:lnTo>
                      <a:pt x="1202" y="62"/>
                    </a:lnTo>
                    <a:lnTo>
                      <a:pt x="1202" y="64"/>
                    </a:lnTo>
                    <a:lnTo>
                      <a:pt x="1204" y="66"/>
                    </a:lnTo>
                    <a:lnTo>
                      <a:pt x="1206" y="66"/>
                    </a:lnTo>
                    <a:lnTo>
                      <a:pt x="1206" y="68"/>
                    </a:lnTo>
                    <a:lnTo>
                      <a:pt x="1206" y="66"/>
                    </a:lnTo>
                    <a:lnTo>
                      <a:pt x="1206" y="68"/>
                    </a:lnTo>
                    <a:lnTo>
                      <a:pt x="1208" y="68"/>
                    </a:lnTo>
                    <a:lnTo>
                      <a:pt x="1208" y="70"/>
                    </a:lnTo>
                    <a:lnTo>
                      <a:pt x="1208" y="68"/>
                    </a:lnTo>
                    <a:lnTo>
                      <a:pt x="1208" y="70"/>
                    </a:lnTo>
                    <a:lnTo>
                      <a:pt x="1208" y="72"/>
                    </a:lnTo>
                    <a:lnTo>
                      <a:pt x="1210" y="72"/>
                    </a:lnTo>
                    <a:lnTo>
                      <a:pt x="1212" y="73"/>
                    </a:lnTo>
                    <a:lnTo>
                      <a:pt x="1214" y="73"/>
                    </a:lnTo>
                    <a:lnTo>
                      <a:pt x="1214" y="75"/>
                    </a:lnTo>
                    <a:lnTo>
                      <a:pt x="1212" y="75"/>
                    </a:lnTo>
                    <a:lnTo>
                      <a:pt x="1214" y="75"/>
                    </a:lnTo>
                    <a:lnTo>
                      <a:pt x="1214" y="77"/>
                    </a:lnTo>
                    <a:lnTo>
                      <a:pt x="1214" y="79"/>
                    </a:lnTo>
                    <a:lnTo>
                      <a:pt x="1216" y="79"/>
                    </a:lnTo>
                    <a:lnTo>
                      <a:pt x="1218" y="79"/>
                    </a:lnTo>
                    <a:lnTo>
                      <a:pt x="1218" y="77"/>
                    </a:lnTo>
                    <a:lnTo>
                      <a:pt x="1220" y="79"/>
                    </a:lnTo>
                    <a:lnTo>
                      <a:pt x="1222" y="77"/>
                    </a:lnTo>
                    <a:lnTo>
                      <a:pt x="1223" y="79"/>
                    </a:lnTo>
                    <a:lnTo>
                      <a:pt x="1223" y="77"/>
                    </a:lnTo>
                    <a:lnTo>
                      <a:pt x="1225" y="77"/>
                    </a:lnTo>
                    <a:lnTo>
                      <a:pt x="1225" y="79"/>
                    </a:lnTo>
                    <a:lnTo>
                      <a:pt x="1227" y="79"/>
                    </a:lnTo>
                    <a:lnTo>
                      <a:pt x="1227" y="81"/>
                    </a:lnTo>
                    <a:lnTo>
                      <a:pt x="1229" y="85"/>
                    </a:lnTo>
                    <a:lnTo>
                      <a:pt x="1229" y="87"/>
                    </a:lnTo>
                    <a:lnTo>
                      <a:pt x="1229" y="89"/>
                    </a:lnTo>
                    <a:lnTo>
                      <a:pt x="1229" y="87"/>
                    </a:lnTo>
                    <a:lnTo>
                      <a:pt x="1229" y="89"/>
                    </a:lnTo>
                    <a:lnTo>
                      <a:pt x="1231" y="89"/>
                    </a:lnTo>
                    <a:lnTo>
                      <a:pt x="1231" y="91"/>
                    </a:lnTo>
                    <a:lnTo>
                      <a:pt x="1233" y="91"/>
                    </a:lnTo>
                    <a:lnTo>
                      <a:pt x="1233" y="93"/>
                    </a:lnTo>
                    <a:lnTo>
                      <a:pt x="1233" y="95"/>
                    </a:lnTo>
                    <a:lnTo>
                      <a:pt x="1235" y="95"/>
                    </a:lnTo>
                    <a:lnTo>
                      <a:pt x="1233" y="95"/>
                    </a:lnTo>
                    <a:lnTo>
                      <a:pt x="1233" y="97"/>
                    </a:lnTo>
                    <a:lnTo>
                      <a:pt x="1231" y="97"/>
                    </a:lnTo>
                    <a:lnTo>
                      <a:pt x="1229" y="97"/>
                    </a:lnTo>
                    <a:lnTo>
                      <a:pt x="1229" y="98"/>
                    </a:lnTo>
                    <a:lnTo>
                      <a:pt x="1231" y="98"/>
                    </a:lnTo>
                    <a:lnTo>
                      <a:pt x="1229" y="98"/>
                    </a:lnTo>
                    <a:lnTo>
                      <a:pt x="1227" y="100"/>
                    </a:lnTo>
                    <a:lnTo>
                      <a:pt x="1227" y="102"/>
                    </a:lnTo>
                    <a:lnTo>
                      <a:pt x="1227" y="104"/>
                    </a:lnTo>
                    <a:lnTo>
                      <a:pt x="1225" y="104"/>
                    </a:lnTo>
                    <a:lnTo>
                      <a:pt x="1223" y="104"/>
                    </a:lnTo>
                    <a:lnTo>
                      <a:pt x="1223" y="106"/>
                    </a:lnTo>
                    <a:lnTo>
                      <a:pt x="1223" y="104"/>
                    </a:lnTo>
                    <a:lnTo>
                      <a:pt x="1222" y="104"/>
                    </a:lnTo>
                    <a:lnTo>
                      <a:pt x="1222" y="106"/>
                    </a:lnTo>
                    <a:lnTo>
                      <a:pt x="1220" y="106"/>
                    </a:lnTo>
                    <a:lnTo>
                      <a:pt x="1220" y="108"/>
                    </a:lnTo>
                    <a:lnTo>
                      <a:pt x="1218" y="106"/>
                    </a:lnTo>
                    <a:lnTo>
                      <a:pt x="1218" y="108"/>
                    </a:lnTo>
                    <a:lnTo>
                      <a:pt x="1216" y="108"/>
                    </a:lnTo>
                    <a:lnTo>
                      <a:pt x="1218" y="108"/>
                    </a:lnTo>
                    <a:lnTo>
                      <a:pt x="1216" y="110"/>
                    </a:lnTo>
                    <a:lnTo>
                      <a:pt x="1216" y="108"/>
                    </a:lnTo>
                    <a:lnTo>
                      <a:pt x="1214" y="108"/>
                    </a:lnTo>
                    <a:lnTo>
                      <a:pt x="1214" y="110"/>
                    </a:lnTo>
                    <a:lnTo>
                      <a:pt x="1216" y="110"/>
                    </a:lnTo>
                    <a:lnTo>
                      <a:pt x="1214" y="110"/>
                    </a:lnTo>
                    <a:lnTo>
                      <a:pt x="1212" y="112"/>
                    </a:lnTo>
                    <a:lnTo>
                      <a:pt x="1214" y="112"/>
                    </a:lnTo>
                    <a:lnTo>
                      <a:pt x="1214" y="114"/>
                    </a:lnTo>
                    <a:lnTo>
                      <a:pt x="1212" y="114"/>
                    </a:lnTo>
                    <a:lnTo>
                      <a:pt x="1210" y="114"/>
                    </a:lnTo>
                    <a:lnTo>
                      <a:pt x="1212" y="114"/>
                    </a:lnTo>
                    <a:lnTo>
                      <a:pt x="1210" y="116"/>
                    </a:lnTo>
                    <a:lnTo>
                      <a:pt x="1210" y="114"/>
                    </a:lnTo>
                    <a:lnTo>
                      <a:pt x="1210" y="116"/>
                    </a:lnTo>
                    <a:lnTo>
                      <a:pt x="1208" y="116"/>
                    </a:lnTo>
                    <a:lnTo>
                      <a:pt x="1208" y="114"/>
                    </a:lnTo>
                    <a:lnTo>
                      <a:pt x="1208" y="116"/>
                    </a:lnTo>
                    <a:lnTo>
                      <a:pt x="1206" y="116"/>
                    </a:lnTo>
                    <a:lnTo>
                      <a:pt x="1206" y="114"/>
                    </a:lnTo>
                    <a:lnTo>
                      <a:pt x="1206" y="112"/>
                    </a:lnTo>
                    <a:lnTo>
                      <a:pt x="1206" y="114"/>
                    </a:lnTo>
                    <a:lnTo>
                      <a:pt x="1204" y="114"/>
                    </a:lnTo>
                    <a:lnTo>
                      <a:pt x="1206" y="114"/>
                    </a:lnTo>
                    <a:lnTo>
                      <a:pt x="1204" y="114"/>
                    </a:lnTo>
                    <a:lnTo>
                      <a:pt x="1204" y="112"/>
                    </a:lnTo>
                    <a:lnTo>
                      <a:pt x="1202" y="112"/>
                    </a:lnTo>
                    <a:lnTo>
                      <a:pt x="1204" y="114"/>
                    </a:lnTo>
                    <a:lnTo>
                      <a:pt x="1202" y="114"/>
                    </a:lnTo>
                    <a:lnTo>
                      <a:pt x="1202" y="112"/>
                    </a:lnTo>
                    <a:lnTo>
                      <a:pt x="1202" y="114"/>
                    </a:lnTo>
                    <a:lnTo>
                      <a:pt x="1200" y="114"/>
                    </a:lnTo>
                    <a:lnTo>
                      <a:pt x="1199" y="112"/>
                    </a:lnTo>
                    <a:lnTo>
                      <a:pt x="1197" y="112"/>
                    </a:lnTo>
                    <a:lnTo>
                      <a:pt x="1197" y="114"/>
                    </a:lnTo>
                    <a:lnTo>
                      <a:pt x="1197" y="116"/>
                    </a:lnTo>
                    <a:lnTo>
                      <a:pt x="1195" y="116"/>
                    </a:lnTo>
                    <a:lnTo>
                      <a:pt x="1193" y="116"/>
                    </a:lnTo>
                    <a:lnTo>
                      <a:pt x="1193" y="118"/>
                    </a:lnTo>
                    <a:lnTo>
                      <a:pt x="1191" y="116"/>
                    </a:lnTo>
                    <a:lnTo>
                      <a:pt x="1191" y="118"/>
                    </a:lnTo>
                    <a:lnTo>
                      <a:pt x="1189" y="118"/>
                    </a:lnTo>
                    <a:lnTo>
                      <a:pt x="1189" y="120"/>
                    </a:lnTo>
                    <a:lnTo>
                      <a:pt x="1189" y="118"/>
                    </a:lnTo>
                    <a:lnTo>
                      <a:pt x="1189" y="120"/>
                    </a:lnTo>
                    <a:lnTo>
                      <a:pt x="1187" y="120"/>
                    </a:lnTo>
                    <a:lnTo>
                      <a:pt x="1189" y="120"/>
                    </a:lnTo>
                    <a:lnTo>
                      <a:pt x="1189" y="122"/>
                    </a:lnTo>
                    <a:lnTo>
                      <a:pt x="1187" y="122"/>
                    </a:lnTo>
                    <a:lnTo>
                      <a:pt x="1185" y="122"/>
                    </a:lnTo>
                    <a:lnTo>
                      <a:pt x="1183" y="122"/>
                    </a:lnTo>
                    <a:lnTo>
                      <a:pt x="1183" y="120"/>
                    </a:lnTo>
                    <a:lnTo>
                      <a:pt x="1181" y="120"/>
                    </a:lnTo>
                    <a:lnTo>
                      <a:pt x="1179" y="120"/>
                    </a:lnTo>
                    <a:lnTo>
                      <a:pt x="1181" y="122"/>
                    </a:lnTo>
                    <a:lnTo>
                      <a:pt x="1181" y="123"/>
                    </a:lnTo>
                    <a:lnTo>
                      <a:pt x="1179" y="123"/>
                    </a:lnTo>
                    <a:lnTo>
                      <a:pt x="1181" y="123"/>
                    </a:lnTo>
                    <a:lnTo>
                      <a:pt x="1181" y="122"/>
                    </a:lnTo>
                    <a:lnTo>
                      <a:pt x="1179" y="120"/>
                    </a:lnTo>
                    <a:lnTo>
                      <a:pt x="1181" y="120"/>
                    </a:lnTo>
                    <a:lnTo>
                      <a:pt x="1183" y="120"/>
                    </a:lnTo>
                    <a:lnTo>
                      <a:pt x="1183" y="122"/>
                    </a:lnTo>
                    <a:lnTo>
                      <a:pt x="1185" y="122"/>
                    </a:lnTo>
                    <a:lnTo>
                      <a:pt x="1187" y="122"/>
                    </a:lnTo>
                    <a:lnTo>
                      <a:pt x="1187" y="123"/>
                    </a:lnTo>
                    <a:lnTo>
                      <a:pt x="1185" y="123"/>
                    </a:lnTo>
                    <a:lnTo>
                      <a:pt x="1185" y="125"/>
                    </a:lnTo>
                    <a:lnTo>
                      <a:pt x="1187" y="125"/>
                    </a:lnTo>
                    <a:lnTo>
                      <a:pt x="1185" y="127"/>
                    </a:lnTo>
                    <a:lnTo>
                      <a:pt x="1185" y="129"/>
                    </a:lnTo>
                    <a:lnTo>
                      <a:pt x="1183" y="129"/>
                    </a:lnTo>
                    <a:lnTo>
                      <a:pt x="1181" y="129"/>
                    </a:lnTo>
                    <a:lnTo>
                      <a:pt x="1179" y="127"/>
                    </a:lnTo>
                    <a:lnTo>
                      <a:pt x="1177" y="127"/>
                    </a:lnTo>
                    <a:lnTo>
                      <a:pt x="1177" y="129"/>
                    </a:lnTo>
                    <a:lnTo>
                      <a:pt x="1175" y="129"/>
                    </a:lnTo>
                    <a:lnTo>
                      <a:pt x="1175" y="131"/>
                    </a:lnTo>
                    <a:lnTo>
                      <a:pt x="1174" y="131"/>
                    </a:lnTo>
                    <a:lnTo>
                      <a:pt x="1175" y="131"/>
                    </a:lnTo>
                    <a:lnTo>
                      <a:pt x="1175" y="129"/>
                    </a:lnTo>
                    <a:lnTo>
                      <a:pt x="1174" y="129"/>
                    </a:lnTo>
                    <a:lnTo>
                      <a:pt x="1174" y="127"/>
                    </a:lnTo>
                    <a:lnTo>
                      <a:pt x="1175" y="127"/>
                    </a:lnTo>
                    <a:lnTo>
                      <a:pt x="1175" y="125"/>
                    </a:lnTo>
                    <a:lnTo>
                      <a:pt x="1174" y="125"/>
                    </a:lnTo>
                    <a:lnTo>
                      <a:pt x="1175" y="125"/>
                    </a:lnTo>
                    <a:lnTo>
                      <a:pt x="1175" y="123"/>
                    </a:lnTo>
                    <a:lnTo>
                      <a:pt x="1177" y="123"/>
                    </a:lnTo>
                    <a:lnTo>
                      <a:pt x="1177" y="125"/>
                    </a:lnTo>
                    <a:lnTo>
                      <a:pt x="1177" y="123"/>
                    </a:lnTo>
                    <a:lnTo>
                      <a:pt x="1179" y="123"/>
                    </a:lnTo>
                    <a:lnTo>
                      <a:pt x="1177" y="123"/>
                    </a:lnTo>
                    <a:lnTo>
                      <a:pt x="1175" y="123"/>
                    </a:lnTo>
                    <a:lnTo>
                      <a:pt x="1174" y="125"/>
                    </a:lnTo>
                    <a:lnTo>
                      <a:pt x="1175" y="125"/>
                    </a:lnTo>
                    <a:lnTo>
                      <a:pt x="1175" y="127"/>
                    </a:lnTo>
                    <a:lnTo>
                      <a:pt x="1174" y="127"/>
                    </a:lnTo>
                    <a:lnTo>
                      <a:pt x="1174" y="129"/>
                    </a:lnTo>
                    <a:lnTo>
                      <a:pt x="1172" y="129"/>
                    </a:lnTo>
                    <a:lnTo>
                      <a:pt x="1170" y="129"/>
                    </a:lnTo>
                    <a:lnTo>
                      <a:pt x="1168" y="129"/>
                    </a:lnTo>
                    <a:lnTo>
                      <a:pt x="1168" y="131"/>
                    </a:lnTo>
                    <a:lnTo>
                      <a:pt x="1170" y="131"/>
                    </a:lnTo>
                    <a:lnTo>
                      <a:pt x="1168" y="131"/>
                    </a:lnTo>
                    <a:lnTo>
                      <a:pt x="1168" y="129"/>
                    </a:lnTo>
                    <a:lnTo>
                      <a:pt x="1170" y="129"/>
                    </a:lnTo>
                    <a:lnTo>
                      <a:pt x="1172" y="129"/>
                    </a:lnTo>
                    <a:lnTo>
                      <a:pt x="1174" y="129"/>
                    </a:lnTo>
                    <a:lnTo>
                      <a:pt x="1174" y="127"/>
                    </a:lnTo>
                    <a:lnTo>
                      <a:pt x="1174" y="129"/>
                    </a:lnTo>
                    <a:lnTo>
                      <a:pt x="1175" y="129"/>
                    </a:lnTo>
                    <a:lnTo>
                      <a:pt x="1175" y="131"/>
                    </a:lnTo>
                    <a:lnTo>
                      <a:pt x="1175" y="129"/>
                    </a:lnTo>
                    <a:lnTo>
                      <a:pt x="1175" y="131"/>
                    </a:lnTo>
                    <a:lnTo>
                      <a:pt x="1174" y="131"/>
                    </a:lnTo>
                    <a:lnTo>
                      <a:pt x="1175" y="131"/>
                    </a:lnTo>
                    <a:lnTo>
                      <a:pt x="1175" y="133"/>
                    </a:lnTo>
                    <a:lnTo>
                      <a:pt x="1177" y="135"/>
                    </a:lnTo>
                    <a:lnTo>
                      <a:pt x="1177" y="137"/>
                    </a:lnTo>
                    <a:lnTo>
                      <a:pt x="1177" y="139"/>
                    </a:lnTo>
                    <a:lnTo>
                      <a:pt x="1175" y="139"/>
                    </a:lnTo>
                    <a:lnTo>
                      <a:pt x="1175" y="141"/>
                    </a:lnTo>
                    <a:lnTo>
                      <a:pt x="1175" y="143"/>
                    </a:lnTo>
                    <a:lnTo>
                      <a:pt x="1174" y="143"/>
                    </a:lnTo>
                    <a:lnTo>
                      <a:pt x="1172" y="143"/>
                    </a:lnTo>
                    <a:lnTo>
                      <a:pt x="1170" y="143"/>
                    </a:lnTo>
                    <a:lnTo>
                      <a:pt x="1172" y="143"/>
                    </a:lnTo>
                    <a:lnTo>
                      <a:pt x="1170" y="143"/>
                    </a:lnTo>
                    <a:lnTo>
                      <a:pt x="1168" y="143"/>
                    </a:lnTo>
                    <a:lnTo>
                      <a:pt x="1170" y="145"/>
                    </a:lnTo>
                    <a:lnTo>
                      <a:pt x="1168" y="145"/>
                    </a:lnTo>
                    <a:lnTo>
                      <a:pt x="1168" y="143"/>
                    </a:lnTo>
                    <a:lnTo>
                      <a:pt x="1166" y="143"/>
                    </a:lnTo>
                    <a:lnTo>
                      <a:pt x="1168" y="143"/>
                    </a:lnTo>
                    <a:lnTo>
                      <a:pt x="1170" y="143"/>
                    </a:lnTo>
                    <a:lnTo>
                      <a:pt x="1170" y="141"/>
                    </a:lnTo>
                    <a:lnTo>
                      <a:pt x="1168" y="141"/>
                    </a:lnTo>
                    <a:lnTo>
                      <a:pt x="1166" y="141"/>
                    </a:lnTo>
                    <a:lnTo>
                      <a:pt x="1166" y="139"/>
                    </a:lnTo>
                    <a:lnTo>
                      <a:pt x="1168" y="139"/>
                    </a:lnTo>
                    <a:lnTo>
                      <a:pt x="1166" y="139"/>
                    </a:lnTo>
                    <a:lnTo>
                      <a:pt x="1166" y="137"/>
                    </a:lnTo>
                    <a:lnTo>
                      <a:pt x="1168" y="137"/>
                    </a:lnTo>
                    <a:lnTo>
                      <a:pt x="1166" y="137"/>
                    </a:lnTo>
                    <a:lnTo>
                      <a:pt x="1166" y="139"/>
                    </a:lnTo>
                    <a:lnTo>
                      <a:pt x="1166" y="137"/>
                    </a:lnTo>
                    <a:lnTo>
                      <a:pt x="1166" y="139"/>
                    </a:lnTo>
                    <a:lnTo>
                      <a:pt x="1168" y="139"/>
                    </a:lnTo>
                    <a:lnTo>
                      <a:pt x="1166" y="139"/>
                    </a:lnTo>
                    <a:lnTo>
                      <a:pt x="1166" y="141"/>
                    </a:lnTo>
                    <a:lnTo>
                      <a:pt x="1168" y="141"/>
                    </a:lnTo>
                    <a:lnTo>
                      <a:pt x="1170" y="141"/>
                    </a:lnTo>
                    <a:lnTo>
                      <a:pt x="1170" y="143"/>
                    </a:lnTo>
                    <a:lnTo>
                      <a:pt x="1168" y="143"/>
                    </a:lnTo>
                    <a:lnTo>
                      <a:pt x="1166" y="143"/>
                    </a:lnTo>
                    <a:lnTo>
                      <a:pt x="1168" y="143"/>
                    </a:lnTo>
                    <a:lnTo>
                      <a:pt x="1168" y="145"/>
                    </a:lnTo>
                    <a:lnTo>
                      <a:pt x="1170" y="145"/>
                    </a:lnTo>
                    <a:lnTo>
                      <a:pt x="1168" y="143"/>
                    </a:lnTo>
                    <a:lnTo>
                      <a:pt x="1170" y="143"/>
                    </a:lnTo>
                    <a:lnTo>
                      <a:pt x="1172" y="143"/>
                    </a:lnTo>
                    <a:lnTo>
                      <a:pt x="1170" y="143"/>
                    </a:lnTo>
                    <a:lnTo>
                      <a:pt x="1172" y="143"/>
                    </a:lnTo>
                    <a:lnTo>
                      <a:pt x="1170" y="143"/>
                    </a:lnTo>
                    <a:lnTo>
                      <a:pt x="1170" y="145"/>
                    </a:lnTo>
                    <a:lnTo>
                      <a:pt x="1170" y="147"/>
                    </a:lnTo>
                    <a:lnTo>
                      <a:pt x="1170" y="145"/>
                    </a:lnTo>
                    <a:lnTo>
                      <a:pt x="1170" y="147"/>
                    </a:lnTo>
                    <a:lnTo>
                      <a:pt x="1172" y="147"/>
                    </a:lnTo>
                    <a:lnTo>
                      <a:pt x="1174" y="147"/>
                    </a:lnTo>
                    <a:lnTo>
                      <a:pt x="1174" y="148"/>
                    </a:lnTo>
                    <a:lnTo>
                      <a:pt x="1175" y="148"/>
                    </a:lnTo>
                    <a:lnTo>
                      <a:pt x="1175" y="150"/>
                    </a:lnTo>
                    <a:lnTo>
                      <a:pt x="1175" y="148"/>
                    </a:lnTo>
                    <a:lnTo>
                      <a:pt x="1175" y="150"/>
                    </a:lnTo>
                    <a:lnTo>
                      <a:pt x="1175" y="148"/>
                    </a:lnTo>
                    <a:lnTo>
                      <a:pt x="1177" y="148"/>
                    </a:lnTo>
                    <a:lnTo>
                      <a:pt x="1177" y="150"/>
                    </a:lnTo>
                    <a:lnTo>
                      <a:pt x="1179" y="150"/>
                    </a:lnTo>
                    <a:lnTo>
                      <a:pt x="1179" y="152"/>
                    </a:lnTo>
                    <a:lnTo>
                      <a:pt x="1179" y="154"/>
                    </a:lnTo>
                    <a:lnTo>
                      <a:pt x="1179" y="156"/>
                    </a:lnTo>
                    <a:lnTo>
                      <a:pt x="1179" y="158"/>
                    </a:lnTo>
                    <a:lnTo>
                      <a:pt x="1177" y="160"/>
                    </a:lnTo>
                    <a:lnTo>
                      <a:pt x="1177" y="162"/>
                    </a:lnTo>
                    <a:lnTo>
                      <a:pt x="1177" y="164"/>
                    </a:lnTo>
                    <a:lnTo>
                      <a:pt x="1177" y="166"/>
                    </a:lnTo>
                    <a:lnTo>
                      <a:pt x="1175" y="166"/>
                    </a:lnTo>
                    <a:lnTo>
                      <a:pt x="1177" y="166"/>
                    </a:lnTo>
                    <a:lnTo>
                      <a:pt x="1175" y="168"/>
                    </a:lnTo>
                    <a:lnTo>
                      <a:pt x="1175" y="166"/>
                    </a:lnTo>
                    <a:lnTo>
                      <a:pt x="1175" y="168"/>
                    </a:lnTo>
                    <a:lnTo>
                      <a:pt x="1174" y="168"/>
                    </a:lnTo>
                    <a:lnTo>
                      <a:pt x="1175" y="168"/>
                    </a:lnTo>
                    <a:lnTo>
                      <a:pt x="1175" y="166"/>
                    </a:lnTo>
                    <a:lnTo>
                      <a:pt x="1175" y="168"/>
                    </a:lnTo>
                    <a:lnTo>
                      <a:pt x="1177" y="168"/>
                    </a:lnTo>
                    <a:lnTo>
                      <a:pt x="1177" y="166"/>
                    </a:lnTo>
                    <a:lnTo>
                      <a:pt x="1179" y="168"/>
                    </a:lnTo>
                    <a:lnTo>
                      <a:pt x="1179" y="170"/>
                    </a:lnTo>
                    <a:lnTo>
                      <a:pt x="1177" y="170"/>
                    </a:lnTo>
                    <a:lnTo>
                      <a:pt x="1179" y="170"/>
                    </a:lnTo>
                    <a:lnTo>
                      <a:pt x="1177" y="170"/>
                    </a:lnTo>
                    <a:lnTo>
                      <a:pt x="1179" y="170"/>
                    </a:lnTo>
                    <a:lnTo>
                      <a:pt x="1179" y="168"/>
                    </a:lnTo>
                    <a:lnTo>
                      <a:pt x="1181" y="168"/>
                    </a:lnTo>
                    <a:lnTo>
                      <a:pt x="1181" y="170"/>
                    </a:lnTo>
                    <a:lnTo>
                      <a:pt x="1183" y="170"/>
                    </a:lnTo>
                    <a:lnTo>
                      <a:pt x="1181" y="170"/>
                    </a:lnTo>
                    <a:lnTo>
                      <a:pt x="1181" y="172"/>
                    </a:lnTo>
                    <a:lnTo>
                      <a:pt x="1183" y="172"/>
                    </a:lnTo>
                    <a:lnTo>
                      <a:pt x="1183" y="173"/>
                    </a:lnTo>
                    <a:lnTo>
                      <a:pt x="1185" y="173"/>
                    </a:lnTo>
                    <a:lnTo>
                      <a:pt x="1185" y="175"/>
                    </a:lnTo>
                    <a:lnTo>
                      <a:pt x="1183" y="175"/>
                    </a:lnTo>
                    <a:lnTo>
                      <a:pt x="1183" y="177"/>
                    </a:lnTo>
                    <a:lnTo>
                      <a:pt x="1183" y="179"/>
                    </a:lnTo>
                    <a:lnTo>
                      <a:pt x="1183" y="181"/>
                    </a:lnTo>
                    <a:lnTo>
                      <a:pt x="1181" y="181"/>
                    </a:lnTo>
                    <a:lnTo>
                      <a:pt x="1179" y="183"/>
                    </a:lnTo>
                    <a:lnTo>
                      <a:pt x="1179" y="181"/>
                    </a:lnTo>
                    <a:lnTo>
                      <a:pt x="1179" y="183"/>
                    </a:lnTo>
                    <a:lnTo>
                      <a:pt x="1177" y="183"/>
                    </a:lnTo>
                    <a:lnTo>
                      <a:pt x="1177" y="185"/>
                    </a:lnTo>
                    <a:lnTo>
                      <a:pt x="1175" y="185"/>
                    </a:lnTo>
                    <a:lnTo>
                      <a:pt x="1174" y="185"/>
                    </a:lnTo>
                    <a:lnTo>
                      <a:pt x="1174" y="183"/>
                    </a:lnTo>
                    <a:lnTo>
                      <a:pt x="1172" y="183"/>
                    </a:lnTo>
                    <a:lnTo>
                      <a:pt x="1174" y="183"/>
                    </a:lnTo>
                    <a:lnTo>
                      <a:pt x="1174" y="181"/>
                    </a:lnTo>
                    <a:lnTo>
                      <a:pt x="1172" y="183"/>
                    </a:lnTo>
                    <a:lnTo>
                      <a:pt x="1172" y="181"/>
                    </a:lnTo>
                    <a:lnTo>
                      <a:pt x="1174" y="181"/>
                    </a:lnTo>
                    <a:lnTo>
                      <a:pt x="1172" y="181"/>
                    </a:lnTo>
                    <a:lnTo>
                      <a:pt x="1174" y="181"/>
                    </a:lnTo>
                    <a:lnTo>
                      <a:pt x="1174" y="179"/>
                    </a:lnTo>
                    <a:lnTo>
                      <a:pt x="1174" y="181"/>
                    </a:lnTo>
                    <a:lnTo>
                      <a:pt x="1174" y="179"/>
                    </a:lnTo>
                    <a:lnTo>
                      <a:pt x="1174" y="177"/>
                    </a:lnTo>
                    <a:lnTo>
                      <a:pt x="1172" y="177"/>
                    </a:lnTo>
                    <a:lnTo>
                      <a:pt x="1172" y="179"/>
                    </a:lnTo>
                    <a:lnTo>
                      <a:pt x="1172" y="177"/>
                    </a:lnTo>
                    <a:lnTo>
                      <a:pt x="1174" y="177"/>
                    </a:lnTo>
                    <a:lnTo>
                      <a:pt x="1172" y="177"/>
                    </a:lnTo>
                    <a:lnTo>
                      <a:pt x="1172" y="179"/>
                    </a:lnTo>
                    <a:lnTo>
                      <a:pt x="1172" y="177"/>
                    </a:lnTo>
                    <a:lnTo>
                      <a:pt x="1174" y="177"/>
                    </a:lnTo>
                    <a:lnTo>
                      <a:pt x="1172" y="179"/>
                    </a:lnTo>
                    <a:lnTo>
                      <a:pt x="1174" y="179"/>
                    </a:lnTo>
                    <a:lnTo>
                      <a:pt x="1174" y="181"/>
                    </a:lnTo>
                    <a:lnTo>
                      <a:pt x="1172" y="181"/>
                    </a:lnTo>
                    <a:lnTo>
                      <a:pt x="1174" y="181"/>
                    </a:lnTo>
                    <a:lnTo>
                      <a:pt x="1172" y="181"/>
                    </a:lnTo>
                    <a:lnTo>
                      <a:pt x="1172" y="183"/>
                    </a:lnTo>
                    <a:lnTo>
                      <a:pt x="1174" y="183"/>
                    </a:lnTo>
                    <a:lnTo>
                      <a:pt x="1174" y="181"/>
                    </a:lnTo>
                    <a:lnTo>
                      <a:pt x="1174" y="183"/>
                    </a:lnTo>
                    <a:lnTo>
                      <a:pt x="1172" y="183"/>
                    </a:lnTo>
                    <a:lnTo>
                      <a:pt x="1174" y="183"/>
                    </a:lnTo>
                    <a:lnTo>
                      <a:pt x="1174" y="185"/>
                    </a:lnTo>
                    <a:lnTo>
                      <a:pt x="1174" y="187"/>
                    </a:lnTo>
                    <a:lnTo>
                      <a:pt x="1174" y="189"/>
                    </a:lnTo>
                    <a:lnTo>
                      <a:pt x="1174" y="191"/>
                    </a:lnTo>
                    <a:lnTo>
                      <a:pt x="1172" y="191"/>
                    </a:lnTo>
                    <a:lnTo>
                      <a:pt x="1175" y="189"/>
                    </a:lnTo>
                    <a:lnTo>
                      <a:pt x="1177" y="187"/>
                    </a:lnTo>
                    <a:lnTo>
                      <a:pt x="1177" y="185"/>
                    </a:lnTo>
                    <a:lnTo>
                      <a:pt x="1179" y="185"/>
                    </a:lnTo>
                    <a:lnTo>
                      <a:pt x="1179" y="183"/>
                    </a:lnTo>
                    <a:lnTo>
                      <a:pt x="1181" y="183"/>
                    </a:lnTo>
                    <a:lnTo>
                      <a:pt x="1183" y="181"/>
                    </a:lnTo>
                    <a:lnTo>
                      <a:pt x="1185" y="181"/>
                    </a:lnTo>
                    <a:lnTo>
                      <a:pt x="1183" y="181"/>
                    </a:lnTo>
                    <a:lnTo>
                      <a:pt x="1185" y="181"/>
                    </a:lnTo>
                    <a:lnTo>
                      <a:pt x="1183" y="183"/>
                    </a:lnTo>
                    <a:lnTo>
                      <a:pt x="1185" y="183"/>
                    </a:lnTo>
                    <a:lnTo>
                      <a:pt x="1185" y="181"/>
                    </a:lnTo>
                    <a:lnTo>
                      <a:pt x="1185" y="183"/>
                    </a:lnTo>
                    <a:lnTo>
                      <a:pt x="1185" y="181"/>
                    </a:lnTo>
                    <a:lnTo>
                      <a:pt x="1185" y="183"/>
                    </a:lnTo>
                    <a:lnTo>
                      <a:pt x="1185" y="181"/>
                    </a:lnTo>
                    <a:lnTo>
                      <a:pt x="1183" y="181"/>
                    </a:lnTo>
                    <a:lnTo>
                      <a:pt x="1185" y="181"/>
                    </a:lnTo>
                    <a:lnTo>
                      <a:pt x="1183" y="181"/>
                    </a:lnTo>
                    <a:lnTo>
                      <a:pt x="1185" y="181"/>
                    </a:lnTo>
                    <a:lnTo>
                      <a:pt x="1183" y="181"/>
                    </a:lnTo>
                    <a:lnTo>
                      <a:pt x="1183" y="179"/>
                    </a:lnTo>
                    <a:lnTo>
                      <a:pt x="1185" y="177"/>
                    </a:lnTo>
                    <a:lnTo>
                      <a:pt x="1185" y="175"/>
                    </a:lnTo>
                    <a:lnTo>
                      <a:pt x="1185" y="173"/>
                    </a:lnTo>
                    <a:lnTo>
                      <a:pt x="1185" y="172"/>
                    </a:lnTo>
                    <a:lnTo>
                      <a:pt x="1185" y="173"/>
                    </a:lnTo>
                    <a:lnTo>
                      <a:pt x="1185" y="172"/>
                    </a:lnTo>
                    <a:lnTo>
                      <a:pt x="1183" y="172"/>
                    </a:lnTo>
                    <a:lnTo>
                      <a:pt x="1183" y="170"/>
                    </a:lnTo>
                    <a:lnTo>
                      <a:pt x="1181" y="168"/>
                    </a:lnTo>
                    <a:lnTo>
                      <a:pt x="1179" y="166"/>
                    </a:lnTo>
                    <a:lnTo>
                      <a:pt x="1181" y="166"/>
                    </a:lnTo>
                    <a:lnTo>
                      <a:pt x="1179" y="166"/>
                    </a:lnTo>
                    <a:lnTo>
                      <a:pt x="1179" y="164"/>
                    </a:lnTo>
                    <a:lnTo>
                      <a:pt x="1179" y="162"/>
                    </a:lnTo>
                    <a:lnTo>
                      <a:pt x="1179" y="160"/>
                    </a:lnTo>
                    <a:lnTo>
                      <a:pt x="1181" y="160"/>
                    </a:lnTo>
                    <a:lnTo>
                      <a:pt x="1181" y="158"/>
                    </a:lnTo>
                    <a:lnTo>
                      <a:pt x="1181" y="156"/>
                    </a:lnTo>
                    <a:lnTo>
                      <a:pt x="1179" y="156"/>
                    </a:lnTo>
                    <a:lnTo>
                      <a:pt x="1179" y="154"/>
                    </a:lnTo>
                    <a:lnTo>
                      <a:pt x="1181" y="154"/>
                    </a:lnTo>
                    <a:lnTo>
                      <a:pt x="1179" y="152"/>
                    </a:lnTo>
                    <a:lnTo>
                      <a:pt x="1179" y="150"/>
                    </a:lnTo>
                    <a:lnTo>
                      <a:pt x="1177" y="148"/>
                    </a:lnTo>
                    <a:lnTo>
                      <a:pt x="1175" y="148"/>
                    </a:lnTo>
                    <a:lnTo>
                      <a:pt x="1175" y="147"/>
                    </a:lnTo>
                    <a:lnTo>
                      <a:pt x="1174" y="147"/>
                    </a:lnTo>
                    <a:lnTo>
                      <a:pt x="1174" y="145"/>
                    </a:lnTo>
                    <a:lnTo>
                      <a:pt x="1175" y="143"/>
                    </a:lnTo>
                    <a:lnTo>
                      <a:pt x="1177" y="141"/>
                    </a:lnTo>
                    <a:lnTo>
                      <a:pt x="1177" y="139"/>
                    </a:lnTo>
                    <a:lnTo>
                      <a:pt x="1177" y="137"/>
                    </a:lnTo>
                    <a:lnTo>
                      <a:pt x="1179" y="135"/>
                    </a:lnTo>
                    <a:lnTo>
                      <a:pt x="1177" y="135"/>
                    </a:lnTo>
                    <a:lnTo>
                      <a:pt x="1177" y="133"/>
                    </a:lnTo>
                    <a:lnTo>
                      <a:pt x="1177" y="131"/>
                    </a:lnTo>
                    <a:lnTo>
                      <a:pt x="1177" y="129"/>
                    </a:lnTo>
                    <a:lnTo>
                      <a:pt x="1179" y="129"/>
                    </a:lnTo>
                    <a:lnTo>
                      <a:pt x="1177" y="129"/>
                    </a:lnTo>
                    <a:lnTo>
                      <a:pt x="1179" y="129"/>
                    </a:lnTo>
                    <a:lnTo>
                      <a:pt x="1181" y="129"/>
                    </a:lnTo>
                    <a:lnTo>
                      <a:pt x="1181" y="131"/>
                    </a:lnTo>
                    <a:lnTo>
                      <a:pt x="1183" y="131"/>
                    </a:lnTo>
                    <a:lnTo>
                      <a:pt x="1181" y="131"/>
                    </a:lnTo>
                    <a:lnTo>
                      <a:pt x="1183" y="131"/>
                    </a:lnTo>
                    <a:lnTo>
                      <a:pt x="1181" y="131"/>
                    </a:lnTo>
                    <a:lnTo>
                      <a:pt x="1181" y="133"/>
                    </a:lnTo>
                    <a:lnTo>
                      <a:pt x="1183" y="133"/>
                    </a:lnTo>
                    <a:lnTo>
                      <a:pt x="1181" y="133"/>
                    </a:lnTo>
                    <a:lnTo>
                      <a:pt x="1183" y="133"/>
                    </a:lnTo>
                    <a:lnTo>
                      <a:pt x="1183" y="135"/>
                    </a:lnTo>
                    <a:lnTo>
                      <a:pt x="1185" y="135"/>
                    </a:lnTo>
                    <a:lnTo>
                      <a:pt x="1187" y="135"/>
                    </a:lnTo>
                    <a:lnTo>
                      <a:pt x="1185" y="135"/>
                    </a:lnTo>
                    <a:lnTo>
                      <a:pt x="1187" y="135"/>
                    </a:lnTo>
                    <a:lnTo>
                      <a:pt x="1187" y="137"/>
                    </a:lnTo>
                    <a:lnTo>
                      <a:pt x="1187" y="139"/>
                    </a:lnTo>
                    <a:lnTo>
                      <a:pt x="1189" y="139"/>
                    </a:lnTo>
                    <a:lnTo>
                      <a:pt x="1191" y="139"/>
                    </a:lnTo>
                    <a:lnTo>
                      <a:pt x="1191" y="141"/>
                    </a:lnTo>
                    <a:lnTo>
                      <a:pt x="1191" y="143"/>
                    </a:lnTo>
                    <a:lnTo>
                      <a:pt x="1191" y="145"/>
                    </a:lnTo>
                    <a:lnTo>
                      <a:pt x="1191" y="143"/>
                    </a:lnTo>
                    <a:lnTo>
                      <a:pt x="1191" y="145"/>
                    </a:lnTo>
                    <a:lnTo>
                      <a:pt x="1193" y="145"/>
                    </a:lnTo>
                    <a:lnTo>
                      <a:pt x="1195" y="145"/>
                    </a:lnTo>
                    <a:lnTo>
                      <a:pt x="1195" y="147"/>
                    </a:lnTo>
                    <a:lnTo>
                      <a:pt x="1195" y="145"/>
                    </a:lnTo>
                    <a:lnTo>
                      <a:pt x="1195" y="147"/>
                    </a:lnTo>
                    <a:lnTo>
                      <a:pt x="1197" y="147"/>
                    </a:lnTo>
                    <a:lnTo>
                      <a:pt x="1195" y="147"/>
                    </a:lnTo>
                    <a:lnTo>
                      <a:pt x="1197" y="147"/>
                    </a:lnTo>
                    <a:lnTo>
                      <a:pt x="1195" y="147"/>
                    </a:lnTo>
                    <a:lnTo>
                      <a:pt x="1197" y="147"/>
                    </a:lnTo>
                    <a:lnTo>
                      <a:pt x="1197" y="148"/>
                    </a:lnTo>
                    <a:lnTo>
                      <a:pt x="1195" y="148"/>
                    </a:lnTo>
                    <a:lnTo>
                      <a:pt x="1197" y="148"/>
                    </a:lnTo>
                    <a:lnTo>
                      <a:pt x="1197" y="150"/>
                    </a:lnTo>
                    <a:lnTo>
                      <a:pt x="1197" y="148"/>
                    </a:lnTo>
                    <a:lnTo>
                      <a:pt x="1197" y="150"/>
                    </a:lnTo>
                    <a:lnTo>
                      <a:pt x="1197" y="152"/>
                    </a:lnTo>
                    <a:lnTo>
                      <a:pt x="1199" y="152"/>
                    </a:lnTo>
                    <a:lnTo>
                      <a:pt x="1197" y="152"/>
                    </a:lnTo>
                    <a:lnTo>
                      <a:pt x="1197" y="150"/>
                    </a:lnTo>
                    <a:lnTo>
                      <a:pt x="1197" y="152"/>
                    </a:lnTo>
                    <a:lnTo>
                      <a:pt x="1199" y="152"/>
                    </a:lnTo>
                    <a:lnTo>
                      <a:pt x="1197" y="152"/>
                    </a:lnTo>
                    <a:lnTo>
                      <a:pt x="1199" y="152"/>
                    </a:lnTo>
                    <a:lnTo>
                      <a:pt x="1199" y="154"/>
                    </a:lnTo>
                    <a:lnTo>
                      <a:pt x="1199" y="156"/>
                    </a:lnTo>
                    <a:lnTo>
                      <a:pt x="1200" y="156"/>
                    </a:lnTo>
                    <a:lnTo>
                      <a:pt x="1200" y="158"/>
                    </a:lnTo>
                    <a:lnTo>
                      <a:pt x="1200" y="160"/>
                    </a:lnTo>
                    <a:lnTo>
                      <a:pt x="1200" y="162"/>
                    </a:lnTo>
                    <a:lnTo>
                      <a:pt x="1200" y="164"/>
                    </a:lnTo>
                    <a:lnTo>
                      <a:pt x="1199" y="168"/>
                    </a:lnTo>
                    <a:lnTo>
                      <a:pt x="1200" y="170"/>
                    </a:lnTo>
                    <a:lnTo>
                      <a:pt x="1200" y="172"/>
                    </a:lnTo>
                    <a:lnTo>
                      <a:pt x="1200" y="173"/>
                    </a:lnTo>
                    <a:lnTo>
                      <a:pt x="1202" y="175"/>
                    </a:lnTo>
                    <a:lnTo>
                      <a:pt x="1200" y="175"/>
                    </a:lnTo>
                    <a:lnTo>
                      <a:pt x="1200" y="177"/>
                    </a:lnTo>
                    <a:lnTo>
                      <a:pt x="1200" y="179"/>
                    </a:lnTo>
                    <a:lnTo>
                      <a:pt x="1202" y="181"/>
                    </a:lnTo>
                    <a:lnTo>
                      <a:pt x="1204" y="181"/>
                    </a:lnTo>
                    <a:lnTo>
                      <a:pt x="1206" y="181"/>
                    </a:lnTo>
                    <a:lnTo>
                      <a:pt x="1206" y="179"/>
                    </a:lnTo>
                    <a:lnTo>
                      <a:pt x="1208" y="181"/>
                    </a:lnTo>
                    <a:lnTo>
                      <a:pt x="1210" y="181"/>
                    </a:lnTo>
                    <a:lnTo>
                      <a:pt x="1212" y="183"/>
                    </a:lnTo>
                    <a:lnTo>
                      <a:pt x="1210" y="185"/>
                    </a:lnTo>
                    <a:lnTo>
                      <a:pt x="1208" y="187"/>
                    </a:lnTo>
                    <a:lnTo>
                      <a:pt x="1206" y="187"/>
                    </a:lnTo>
                    <a:lnTo>
                      <a:pt x="1206" y="189"/>
                    </a:lnTo>
                    <a:lnTo>
                      <a:pt x="1204" y="189"/>
                    </a:lnTo>
                    <a:lnTo>
                      <a:pt x="1204" y="191"/>
                    </a:lnTo>
                    <a:lnTo>
                      <a:pt x="1202" y="193"/>
                    </a:lnTo>
                    <a:lnTo>
                      <a:pt x="1204" y="193"/>
                    </a:lnTo>
                    <a:lnTo>
                      <a:pt x="1204" y="195"/>
                    </a:lnTo>
                    <a:lnTo>
                      <a:pt x="1204" y="197"/>
                    </a:lnTo>
                    <a:lnTo>
                      <a:pt x="1204" y="198"/>
                    </a:lnTo>
                    <a:lnTo>
                      <a:pt x="1206" y="200"/>
                    </a:lnTo>
                    <a:lnTo>
                      <a:pt x="1206" y="202"/>
                    </a:lnTo>
                    <a:lnTo>
                      <a:pt x="1208" y="202"/>
                    </a:lnTo>
                    <a:lnTo>
                      <a:pt x="1210" y="202"/>
                    </a:lnTo>
                    <a:lnTo>
                      <a:pt x="1210" y="204"/>
                    </a:lnTo>
                    <a:lnTo>
                      <a:pt x="1212" y="204"/>
                    </a:lnTo>
                    <a:lnTo>
                      <a:pt x="1214" y="204"/>
                    </a:lnTo>
                    <a:lnTo>
                      <a:pt x="1214" y="206"/>
                    </a:lnTo>
                    <a:lnTo>
                      <a:pt x="1216" y="208"/>
                    </a:lnTo>
                    <a:lnTo>
                      <a:pt x="1214" y="210"/>
                    </a:lnTo>
                    <a:lnTo>
                      <a:pt x="1216" y="210"/>
                    </a:lnTo>
                    <a:lnTo>
                      <a:pt x="1216" y="212"/>
                    </a:lnTo>
                    <a:lnTo>
                      <a:pt x="1218" y="212"/>
                    </a:lnTo>
                    <a:lnTo>
                      <a:pt x="1220" y="212"/>
                    </a:lnTo>
                    <a:lnTo>
                      <a:pt x="1222" y="212"/>
                    </a:lnTo>
                    <a:lnTo>
                      <a:pt x="1223" y="212"/>
                    </a:lnTo>
                    <a:lnTo>
                      <a:pt x="1225" y="212"/>
                    </a:lnTo>
                    <a:lnTo>
                      <a:pt x="1227" y="212"/>
                    </a:lnTo>
                    <a:lnTo>
                      <a:pt x="1229" y="212"/>
                    </a:lnTo>
                    <a:lnTo>
                      <a:pt x="1231" y="212"/>
                    </a:lnTo>
                    <a:lnTo>
                      <a:pt x="1233" y="212"/>
                    </a:lnTo>
                    <a:lnTo>
                      <a:pt x="1235" y="212"/>
                    </a:lnTo>
                    <a:lnTo>
                      <a:pt x="1237" y="212"/>
                    </a:lnTo>
                    <a:lnTo>
                      <a:pt x="1239" y="212"/>
                    </a:lnTo>
                    <a:lnTo>
                      <a:pt x="1241" y="212"/>
                    </a:lnTo>
                    <a:lnTo>
                      <a:pt x="1243" y="212"/>
                    </a:lnTo>
                    <a:lnTo>
                      <a:pt x="1243" y="210"/>
                    </a:lnTo>
                    <a:lnTo>
                      <a:pt x="1245" y="210"/>
                    </a:lnTo>
                    <a:lnTo>
                      <a:pt x="1247" y="212"/>
                    </a:lnTo>
                    <a:lnTo>
                      <a:pt x="1248" y="212"/>
                    </a:lnTo>
                    <a:lnTo>
                      <a:pt x="1250" y="214"/>
                    </a:lnTo>
                    <a:lnTo>
                      <a:pt x="1250" y="216"/>
                    </a:lnTo>
                    <a:lnTo>
                      <a:pt x="1250" y="218"/>
                    </a:lnTo>
                    <a:lnTo>
                      <a:pt x="1252" y="218"/>
                    </a:lnTo>
                    <a:lnTo>
                      <a:pt x="1254" y="216"/>
                    </a:lnTo>
                    <a:lnTo>
                      <a:pt x="1254" y="218"/>
                    </a:lnTo>
                    <a:lnTo>
                      <a:pt x="1256" y="220"/>
                    </a:lnTo>
                    <a:lnTo>
                      <a:pt x="1258" y="220"/>
                    </a:lnTo>
                    <a:lnTo>
                      <a:pt x="1260" y="220"/>
                    </a:lnTo>
                    <a:lnTo>
                      <a:pt x="1260" y="222"/>
                    </a:lnTo>
                    <a:lnTo>
                      <a:pt x="1258" y="222"/>
                    </a:lnTo>
                    <a:lnTo>
                      <a:pt x="1258" y="223"/>
                    </a:lnTo>
                    <a:lnTo>
                      <a:pt x="1258" y="225"/>
                    </a:lnTo>
                    <a:lnTo>
                      <a:pt x="1256" y="227"/>
                    </a:lnTo>
                    <a:lnTo>
                      <a:pt x="1258" y="227"/>
                    </a:lnTo>
                    <a:lnTo>
                      <a:pt x="1260" y="231"/>
                    </a:lnTo>
                    <a:lnTo>
                      <a:pt x="1260" y="233"/>
                    </a:lnTo>
                    <a:lnTo>
                      <a:pt x="1260" y="235"/>
                    </a:lnTo>
                    <a:lnTo>
                      <a:pt x="1260" y="237"/>
                    </a:lnTo>
                    <a:lnTo>
                      <a:pt x="1260" y="239"/>
                    </a:lnTo>
                    <a:lnTo>
                      <a:pt x="1260" y="241"/>
                    </a:lnTo>
                    <a:lnTo>
                      <a:pt x="1262" y="243"/>
                    </a:lnTo>
                    <a:lnTo>
                      <a:pt x="1262" y="245"/>
                    </a:lnTo>
                    <a:lnTo>
                      <a:pt x="1260" y="245"/>
                    </a:lnTo>
                    <a:lnTo>
                      <a:pt x="1262" y="246"/>
                    </a:lnTo>
                    <a:lnTo>
                      <a:pt x="1264" y="246"/>
                    </a:lnTo>
                    <a:lnTo>
                      <a:pt x="1268" y="248"/>
                    </a:lnTo>
                    <a:lnTo>
                      <a:pt x="1268" y="250"/>
                    </a:lnTo>
                    <a:lnTo>
                      <a:pt x="1268" y="252"/>
                    </a:lnTo>
                    <a:lnTo>
                      <a:pt x="1268" y="254"/>
                    </a:lnTo>
                    <a:lnTo>
                      <a:pt x="1270" y="254"/>
                    </a:lnTo>
                    <a:lnTo>
                      <a:pt x="1270" y="256"/>
                    </a:lnTo>
                    <a:lnTo>
                      <a:pt x="1268" y="256"/>
                    </a:lnTo>
                    <a:lnTo>
                      <a:pt x="1270" y="256"/>
                    </a:lnTo>
                    <a:lnTo>
                      <a:pt x="1272" y="256"/>
                    </a:lnTo>
                    <a:lnTo>
                      <a:pt x="1272" y="258"/>
                    </a:lnTo>
                    <a:lnTo>
                      <a:pt x="1273" y="258"/>
                    </a:lnTo>
                    <a:lnTo>
                      <a:pt x="1273" y="260"/>
                    </a:lnTo>
                    <a:lnTo>
                      <a:pt x="1275" y="260"/>
                    </a:lnTo>
                    <a:lnTo>
                      <a:pt x="1275" y="262"/>
                    </a:lnTo>
                    <a:lnTo>
                      <a:pt x="1273" y="262"/>
                    </a:lnTo>
                    <a:lnTo>
                      <a:pt x="1272" y="262"/>
                    </a:lnTo>
                    <a:lnTo>
                      <a:pt x="1272" y="264"/>
                    </a:lnTo>
                    <a:lnTo>
                      <a:pt x="1270" y="264"/>
                    </a:lnTo>
                    <a:lnTo>
                      <a:pt x="1268" y="264"/>
                    </a:lnTo>
                    <a:lnTo>
                      <a:pt x="1266" y="264"/>
                    </a:lnTo>
                    <a:lnTo>
                      <a:pt x="1266" y="266"/>
                    </a:lnTo>
                    <a:lnTo>
                      <a:pt x="1266" y="268"/>
                    </a:lnTo>
                    <a:lnTo>
                      <a:pt x="1264" y="268"/>
                    </a:lnTo>
                    <a:lnTo>
                      <a:pt x="1264" y="270"/>
                    </a:lnTo>
                    <a:lnTo>
                      <a:pt x="1260" y="271"/>
                    </a:lnTo>
                    <a:lnTo>
                      <a:pt x="1258" y="273"/>
                    </a:lnTo>
                    <a:lnTo>
                      <a:pt x="1260" y="273"/>
                    </a:lnTo>
                    <a:lnTo>
                      <a:pt x="1258" y="273"/>
                    </a:lnTo>
                    <a:lnTo>
                      <a:pt x="1260" y="275"/>
                    </a:lnTo>
                    <a:lnTo>
                      <a:pt x="1260" y="277"/>
                    </a:lnTo>
                    <a:lnTo>
                      <a:pt x="1260" y="279"/>
                    </a:lnTo>
                    <a:lnTo>
                      <a:pt x="1258" y="279"/>
                    </a:lnTo>
                    <a:lnTo>
                      <a:pt x="1258" y="281"/>
                    </a:lnTo>
                    <a:lnTo>
                      <a:pt x="1256" y="281"/>
                    </a:lnTo>
                    <a:lnTo>
                      <a:pt x="1256" y="283"/>
                    </a:lnTo>
                    <a:lnTo>
                      <a:pt x="1258" y="285"/>
                    </a:lnTo>
                    <a:lnTo>
                      <a:pt x="1260" y="285"/>
                    </a:lnTo>
                    <a:lnTo>
                      <a:pt x="1260" y="287"/>
                    </a:lnTo>
                    <a:lnTo>
                      <a:pt x="1258" y="289"/>
                    </a:lnTo>
                    <a:lnTo>
                      <a:pt x="1256" y="289"/>
                    </a:lnTo>
                    <a:lnTo>
                      <a:pt x="1256" y="291"/>
                    </a:lnTo>
                    <a:lnTo>
                      <a:pt x="1254" y="291"/>
                    </a:lnTo>
                    <a:lnTo>
                      <a:pt x="1252" y="291"/>
                    </a:lnTo>
                    <a:lnTo>
                      <a:pt x="1250" y="291"/>
                    </a:lnTo>
                    <a:lnTo>
                      <a:pt x="1248" y="291"/>
                    </a:lnTo>
                    <a:lnTo>
                      <a:pt x="1248" y="289"/>
                    </a:lnTo>
                    <a:lnTo>
                      <a:pt x="1247" y="289"/>
                    </a:lnTo>
                    <a:lnTo>
                      <a:pt x="1245" y="287"/>
                    </a:lnTo>
                    <a:lnTo>
                      <a:pt x="1243" y="287"/>
                    </a:lnTo>
                    <a:lnTo>
                      <a:pt x="1241" y="287"/>
                    </a:lnTo>
                    <a:lnTo>
                      <a:pt x="1239" y="287"/>
                    </a:lnTo>
                    <a:lnTo>
                      <a:pt x="1237" y="285"/>
                    </a:lnTo>
                    <a:lnTo>
                      <a:pt x="1235" y="285"/>
                    </a:lnTo>
                    <a:lnTo>
                      <a:pt x="1233" y="285"/>
                    </a:lnTo>
                    <a:lnTo>
                      <a:pt x="1235" y="287"/>
                    </a:lnTo>
                    <a:lnTo>
                      <a:pt x="1233" y="289"/>
                    </a:lnTo>
                    <a:lnTo>
                      <a:pt x="1233" y="291"/>
                    </a:lnTo>
                    <a:lnTo>
                      <a:pt x="1233" y="293"/>
                    </a:lnTo>
                    <a:lnTo>
                      <a:pt x="1233" y="295"/>
                    </a:lnTo>
                    <a:lnTo>
                      <a:pt x="1233" y="296"/>
                    </a:lnTo>
                    <a:lnTo>
                      <a:pt x="1231" y="296"/>
                    </a:lnTo>
                    <a:lnTo>
                      <a:pt x="1229" y="296"/>
                    </a:lnTo>
                    <a:lnTo>
                      <a:pt x="1227" y="298"/>
                    </a:lnTo>
                    <a:lnTo>
                      <a:pt x="1225" y="298"/>
                    </a:lnTo>
                    <a:lnTo>
                      <a:pt x="1225" y="300"/>
                    </a:lnTo>
                    <a:lnTo>
                      <a:pt x="1223" y="300"/>
                    </a:lnTo>
                    <a:lnTo>
                      <a:pt x="1222" y="300"/>
                    </a:lnTo>
                    <a:lnTo>
                      <a:pt x="1220" y="300"/>
                    </a:lnTo>
                    <a:lnTo>
                      <a:pt x="1220" y="298"/>
                    </a:lnTo>
                    <a:lnTo>
                      <a:pt x="1220" y="300"/>
                    </a:lnTo>
                    <a:lnTo>
                      <a:pt x="1218" y="298"/>
                    </a:lnTo>
                    <a:lnTo>
                      <a:pt x="1216" y="298"/>
                    </a:lnTo>
                    <a:lnTo>
                      <a:pt x="1214" y="300"/>
                    </a:lnTo>
                    <a:lnTo>
                      <a:pt x="1214" y="304"/>
                    </a:lnTo>
                    <a:lnTo>
                      <a:pt x="1212" y="304"/>
                    </a:lnTo>
                    <a:lnTo>
                      <a:pt x="1210" y="304"/>
                    </a:lnTo>
                    <a:lnTo>
                      <a:pt x="1210" y="306"/>
                    </a:lnTo>
                    <a:lnTo>
                      <a:pt x="1208" y="306"/>
                    </a:lnTo>
                    <a:lnTo>
                      <a:pt x="1206" y="306"/>
                    </a:lnTo>
                    <a:lnTo>
                      <a:pt x="1204" y="306"/>
                    </a:lnTo>
                    <a:lnTo>
                      <a:pt x="1202" y="306"/>
                    </a:lnTo>
                    <a:lnTo>
                      <a:pt x="1202" y="308"/>
                    </a:lnTo>
                    <a:lnTo>
                      <a:pt x="1202" y="310"/>
                    </a:lnTo>
                    <a:lnTo>
                      <a:pt x="1200" y="308"/>
                    </a:lnTo>
                    <a:lnTo>
                      <a:pt x="1200" y="310"/>
                    </a:lnTo>
                    <a:lnTo>
                      <a:pt x="1200" y="312"/>
                    </a:lnTo>
                    <a:lnTo>
                      <a:pt x="1202" y="312"/>
                    </a:lnTo>
                    <a:lnTo>
                      <a:pt x="1200" y="312"/>
                    </a:lnTo>
                    <a:lnTo>
                      <a:pt x="1200" y="314"/>
                    </a:lnTo>
                    <a:lnTo>
                      <a:pt x="1199" y="316"/>
                    </a:lnTo>
                    <a:lnTo>
                      <a:pt x="1199" y="314"/>
                    </a:lnTo>
                    <a:lnTo>
                      <a:pt x="1197" y="314"/>
                    </a:lnTo>
                    <a:lnTo>
                      <a:pt x="1195" y="312"/>
                    </a:lnTo>
                    <a:lnTo>
                      <a:pt x="1195" y="314"/>
                    </a:lnTo>
                    <a:lnTo>
                      <a:pt x="1193" y="314"/>
                    </a:lnTo>
                    <a:lnTo>
                      <a:pt x="1191" y="316"/>
                    </a:lnTo>
                    <a:lnTo>
                      <a:pt x="1189" y="316"/>
                    </a:lnTo>
                    <a:lnTo>
                      <a:pt x="1189" y="314"/>
                    </a:lnTo>
                    <a:lnTo>
                      <a:pt x="1187" y="314"/>
                    </a:lnTo>
                    <a:lnTo>
                      <a:pt x="1187" y="316"/>
                    </a:lnTo>
                    <a:lnTo>
                      <a:pt x="1187" y="318"/>
                    </a:lnTo>
                    <a:lnTo>
                      <a:pt x="1185" y="318"/>
                    </a:lnTo>
                    <a:lnTo>
                      <a:pt x="1185" y="320"/>
                    </a:lnTo>
                    <a:lnTo>
                      <a:pt x="1187" y="321"/>
                    </a:lnTo>
                    <a:lnTo>
                      <a:pt x="1187" y="323"/>
                    </a:lnTo>
                    <a:lnTo>
                      <a:pt x="1187" y="325"/>
                    </a:lnTo>
                    <a:lnTo>
                      <a:pt x="1187" y="327"/>
                    </a:lnTo>
                    <a:lnTo>
                      <a:pt x="1187" y="329"/>
                    </a:lnTo>
                    <a:lnTo>
                      <a:pt x="1189" y="327"/>
                    </a:lnTo>
                    <a:lnTo>
                      <a:pt x="1191" y="327"/>
                    </a:lnTo>
                    <a:lnTo>
                      <a:pt x="1193" y="327"/>
                    </a:lnTo>
                    <a:lnTo>
                      <a:pt x="1193" y="329"/>
                    </a:lnTo>
                    <a:lnTo>
                      <a:pt x="1195" y="331"/>
                    </a:lnTo>
                    <a:lnTo>
                      <a:pt x="1195" y="333"/>
                    </a:lnTo>
                    <a:lnTo>
                      <a:pt x="1195" y="335"/>
                    </a:lnTo>
                    <a:lnTo>
                      <a:pt x="1195" y="337"/>
                    </a:lnTo>
                    <a:lnTo>
                      <a:pt x="1195" y="339"/>
                    </a:lnTo>
                    <a:lnTo>
                      <a:pt x="1197" y="339"/>
                    </a:lnTo>
                    <a:lnTo>
                      <a:pt x="1197" y="341"/>
                    </a:lnTo>
                    <a:lnTo>
                      <a:pt x="1195" y="341"/>
                    </a:lnTo>
                    <a:lnTo>
                      <a:pt x="1195" y="343"/>
                    </a:lnTo>
                    <a:lnTo>
                      <a:pt x="1193" y="345"/>
                    </a:lnTo>
                    <a:lnTo>
                      <a:pt x="1193" y="343"/>
                    </a:lnTo>
                    <a:lnTo>
                      <a:pt x="1191" y="341"/>
                    </a:lnTo>
                    <a:lnTo>
                      <a:pt x="1189" y="341"/>
                    </a:lnTo>
                    <a:lnTo>
                      <a:pt x="1187" y="341"/>
                    </a:lnTo>
                    <a:lnTo>
                      <a:pt x="1187" y="343"/>
                    </a:lnTo>
                    <a:lnTo>
                      <a:pt x="1185" y="343"/>
                    </a:lnTo>
                    <a:lnTo>
                      <a:pt x="1185" y="345"/>
                    </a:lnTo>
                    <a:lnTo>
                      <a:pt x="1181" y="345"/>
                    </a:lnTo>
                    <a:lnTo>
                      <a:pt x="1181" y="346"/>
                    </a:lnTo>
                    <a:lnTo>
                      <a:pt x="1181" y="348"/>
                    </a:lnTo>
                    <a:lnTo>
                      <a:pt x="1179" y="350"/>
                    </a:lnTo>
                    <a:lnTo>
                      <a:pt x="1179" y="352"/>
                    </a:lnTo>
                    <a:lnTo>
                      <a:pt x="1179" y="354"/>
                    </a:lnTo>
                    <a:lnTo>
                      <a:pt x="1181" y="354"/>
                    </a:lnTo>
                    <a:lnTo>
                      <a:pt x="1181" y="356"/>
                    </a:lnTo>
                    <a:lnTo>
                      <a:pt x="1183" y="356"/>
                    </a:lnTo>
                    <a:lnTo>
                      <a:pt x="1183" y="358"/>
                    </a:lnTo>
                    <a:lnTo>
                      <a:pt x="1183" y="360"/>
                    </a:lnTo>
                    <a:lnTo>
                      <a:pt x="1185" y="360"/>
                    </a:lnTo>
                    <a:lnTo>
                      <a:pt x="1185" y="362"/>
                    </a:lnTo>
                    <a:lnTo>
                      <a:pt x="1187" y="364"/>
                    </a:lnTo>
                    <a:lnTo>
                      <a:pt x="1187" y="366"/>
                    </a:lnTo>
                    <a:lnTo>
                      <a:pt x="1189" y="368"/>
                    </a:lnTo>
                    <a:lnTo>
                      <a:pt x="1189" y="370"/>
                    </a:lnTo>
                    <a:lnTo>
                      <a:pt x="1191" y="370"/>
                    </a:lnTo>
                    <a:lnTo>
                      <a:pt x="1193" y="370"/>
                    </a:lnTo>
                    <a:lnTo>
                      <a:pt x="1195" y="371"/>
                    </a:lnTo>
                    <a:lnTo>
                      <a:pt x="1195" y="373"/>
                    </a:lnTo>
                    <a:lnTo>
                      <a:pt x="1195" y="375"/>
                    </a:lnTo>
                    <a:lnTo>
                      <a:pt x="1193" y="377"/>
                    </a:lnTo>
                    <a:lnTo>
                      <a:pt x="1191" y="383"/>
                    </a:lnTo>
                    <a:lnTo>
                      <a:pt x="1191" y="385"/>
                    </a:lnTo>
                    <a:lnTo>
                      <a:pt x="1189" y="387"/>
                    </a:lnTo>
                    <a:lnTo>
                      <a:pt x="1187" y="389"/>
                    </a:lnTo>
                    <a:lnTo>
                      <a:pt x="1185" y="391"/>
                    </a:lnTo>
                    <a:lnTo>
                      <a:pt x="1185" y="393"/>
                    </a:lnTo>
                    <a:lnTo>
                      <a:pt x="1183" y="393"/>
                    </a:lnTo>
                    <a:lnTo>
                      <a:pt x="1183" y="395"/>
                    </a:lnTo>
                    <a:lnTo>
                      <a:pt x="1183" y="396"/>
                    </a:lnTo>
                    <a:lnTo>
                      <a:pt x="1183" y="398"/>
                    </a:lnTo>
                    <a:lnTo>
                      <a:pt x="1185" y="400"/>
                    </a:lnTo>
                    <a:lnTo>
                      <a:pt x="1185" y="402"/>
                    </a:lnTo>
                    <a:lnTo>
                      <a:pt x="1187" y="402"/>
                    </a:lnTo>
                    <a:lnTo>
                      <a:pt x="1187" y="404"/>
                    </a:lnTo>
                    <a:lnTo>
                      <a:pt x="1187" y="406"/>
                    </a:lnTo>
                    <a:lnTo>
                      <a:pt x="1187" y="408"/>
                    </a:lnTo>
                    <a:lnTo>
                      <a:pt x="1187" y="410"/>
                    </a:lnTo>
                    <a:lnTo>
                      <a:pt x="1189" y="414"/>
                    </a:lnTo>
                    <a:lnTo>
                      <a:pt x="1191" y="414"/>
                    </a:lnTo>
                    <a:lnTo>
                      <a:pt x="1193" y="416"/>
                    </a:lnTo>
                    <a:lnTo>
                      <a:pt x="1193" y="418"/>
                    </a:lnTo>
                    <a:lnTo>
                      <a:pt x="1195" y="418"/>
                    </a:lnTo>
                    <a:lnTo>
                      <a:pt x="1197" y="416"/>
                    </a:lnTo>
                    <a:lnTo>
                      <a:pt x="1199" y="416"/>
                    </a:lnTo>
                    <a:lnTo>
                      <a:pt x="1200" y="418"/>
                    </a:lnTo>
                    <a:lnTo>
                      <a:pt x="1202" y="420"/>
                    </a:lnTo>
                    <a:lnTo>
                      <a:pt x="1204" y="420"/>
                    </a:lnTo>
                    <a:lnTo>
                      <a:pt x="1204" y="421"/>
                    </a:lnTo>
                    <a:lnTo>
                      <a:pt x="1204" y="423"/>
                    </a:lnTo>
                    <a:lnTo>
                      <a:pt x="1202" y="423"/>
                    </a:lnTo>
                    <a:lnTo>
                      <a:pt x="1204" y="425"/>
                    </a:lnTo>
                    <a:lnTo>
                      <a:pt x="1202" y="425"/>
                    </a:lnTo>
                    <a:lnTo>
                      <a:pt x="1202" y="427"/>
                    </a:lnTo>
                    <a:lnTo>
                      <a:pt x="1202" y="429"/>
                    </a:lnTo>
                    <a:lnTo>
                      <a:pt x="1202" y="431"/>
                    </a:lnTo>
                    <a:lnTo>
                      <a:pt x="1200" y="431"/>
                    </a:lnTo>
                    <a:lnTo>
                      <a:pt x="1200" y="433"/>
                    </a:lnTo>
                    <a:lnTo>
                      <a:pt x="1199" y="435"/>
                    </a:lnTo>
                    <a:lnTo>
                      <a:pt x="1199" y="437"/>
                    </a:lnTo>
                    <a:lnTo>
                      <a:pt x="1200" y="437"/>
                    </a:lnTo>
                    <a:lnTo>
                      <a:pt x="1202" y="439"/>
                    </a:lnTo>
                    <a:lnTo>
                      <a:pt x="1204" y="439"/>
                    </a:lnTo>
                    <a:lnTo>
                      <a:pt x="1206" y="439"/>
                    </a:lnTo>
                    <a:lnTo>
                      <a:pt x="1204" y="441"/>
                    </a:lnTo>
                    <a:lnTo>
                      <a:pt x="1206" y="441"/>
                    </a:lnTo>
                    <a:lnTo>
                      <a:pt x="1204" y="443"/>
                    </a:lnTo>
                    <a:lnTo>
                      <a:pt x="1202" y="445"/>
                    </a:lnTo>
                    <a:lnTo>
                      <a:pt x="1202" y="446"/>
                    </a:lnTo>
                    <a:lnTo>
                      <a:pt x="1200" y="448"/>
                    </a:lnTo>
                    <a:lnTo>
                      <a:pt x="1199" y="446"/>
                    </a:lnTo>
                    <a:lnTo>
                      <a:pt x="1197" y="446"/>
                    </a:lnTo>
                    <a:lnTo>
                      <a:pt x="1197" y="445"/>
                    </a:lnTo>
                    <a:lnTo>
                      <a:pt x="1195" y="443"/>
                    </a:lnTo>
                    <a:lnTo>
                      <a:pt x="1193" y="443"/>
                    </a:lnTo>
                    <a:lnTo>
                      <a:pt x="1193" y="445"/>
                    </a:lnTo>
                    <a:lnTo>
                      <a:pt x="1191" y="443"/>
                    </a:lnTo>
                    <a:lnTo>
                      <a:pt x="1191" y="445"/>
                    </a:lnTo>
                    <a:lnTo>
                      <a:pt x="1189" y="446"/>
                    </a:lnTo>
                    <a:lnTo>
                      <a:pt x="1185" y="452"/>
                    </a:lnTo>
                    <a:lnTo>
                      <a:pt x="1183" y="452"/>
                    </a:lnTo>
                    <a:lnTo>
                      <a:pt x="1183" y="456"/>
                    </a:lnTo>
                    <a:lnTo>
                      <a:pt x="1183" y="458"/>
                    </a:lnTo>
                    <a:lnTo>
                      <a:pt x="1185" y="460"/>
                    </a:lnTo>
                    <a:lnTo>
                      <a:pt x="1183" y="460"/>
                    </a:lnTo>
                    <a:lnTo>
                      <a:pt x="1181" y="458"/>
                    </a:lnTo>
                    <a:lnTo>
                      <a:pt x="1181" y="460"/>
                    </a:lnTo>
                    <a:lnTo>
                      <a:pt x="1179" y="460"/>
                    </a:lnTo>
                    <a:lnTo>
                      <a:pt x="1177" y="462"/>
                    </a:lnTo>
                    <a:lnTo>
                      <a:pt x="1175" y="464"/>
                    </a:lnTo>
                    <a:lnTo>
                      <a:pt x="1175" y="466"/>
                    </a:lnTo>
                    <a:lnTo>
                      <a:pt x="1172" y="468"/>
                    </a:lnTo>
                    <a:lnTo>
                      <a:pt x="1170" y="470"/>
                    </a:lnTo>
                    <a:lnTo>
                      <a:pt x="1168" y="470"/>
                    </a:lnTo>
                    <a:lnTo>
                      <a:pt x="1166" y="471"/>
                    </a:lnTo>
                    <a:lnTo>
                      <a:pt x="1168" y="471"/>
                    </a:lnTo>
                    <a:lnTo>
                      <a:pt x="1170" y="475"/>
                    </a:lnTo>
                    <a:lnTo>
                      <a:pt x="1170" y="477"/>
                    </a:lnTo>
                    <a:lnTo>
                      <a:pt x="1172" y="479"/>
                    </a:lnTo>
                    <a:lnTo>
                      <a:pt x="1172" y="481"/>
                    </a:lnTo>
                    <a:lnTo>
                      <a:pt x="1168" y="481"/>
                    </a:lnTo>
                    <a:lnTo>
                      <a:pt x="1164" y="481"/>
                    </a:lnTo>
                    <a:lnTo>
                      <a:pt x="1162" y="483"/>
                    </a:lnTo>
                    <a:lnTo>
                      <a:pt x="1160" y="483"/>
                    </a:lnTo>
                    <a:lnTo>
                      <a:pt x="1158" y="481"/>
                    </a:lnTo>
                    <a:lnTo>
                      <a:pt x="1156" y="481"/>
                    </a:lnTo>
                    <a:lnTo>
                      <a:pt x="1156" y="483"/>
                    </a:lnTo>
                    <a:lnTo>
                      <a:pt x="1156" y="481"/>
                    </a:lnTo>
                    <a:lnTo>
                      <a:pt x="1154" y="481"/>
                    </a:lnTo>
                    <a:lnTo>
                      <a:pt x="1152" y="479"/>
                    </a:lnTo>
                    <a:lnTo>
                      <a:pt x="1152" y="477"/>
                    </a:lnTo>
                    <a:lnTo>
                      <a:pt x="1150" y="475"/>
                    </a:lnTo>
                    <a:lnTo>
                      <a:pt x="1150" y="473"/>
                    </a:lnTo>
                    <a:lnTo>
                      <a:pt x="1150" y="471"/>
                    </a:lnTo>
                    <a:lnTo>
                      <a:pt x="1149" y="471"/>
                    </a:lnTo>
                    <a:lnTo>
                      <a:pt x="1147" y="471"/>
                    </a:lnTo>
                    <a:lnTo>
                      <a:pt x="1145" y="470"/>
                    </a:lnTo>
                    <a:lnTo>
                      <a:pt x="1143" y="470"/>
                    </a:lnTo>
                    <a:lnTo>
                      <a:pt x="1141" y="470"/>
                    </a:lnTo>
                    <a:lnTo>
                      <a:pt x="1141" y="471"/>
                    </a:lnTo>
                    <a:lnTo>
                      <a:pt x="1139" y="471"/>
                    </a:lnTo>
                    <a:lnTo>
                      <a:pt x="1139" y="473"/>
                    </a:lnTo>
                    <a:lnTo>
                      <a:pt x="1139" y="475"/>
                    </a:lnTo>
                    <a:lnTo>
                      <a:pt x="1139" y="477"/>
                    </a:lnTo>
                    <a:lnTo>
                      <a:pt x="1137" y="479"/>
                    </a:lnTo>
                    <a:lnTo>
                      <a:pt x="1137" y="481"/>
                    </a:lnTo>
                    <a:lnTo>
                      <a:pt x="1139" y="481"/>
                    </a:lnTo>
                    <a:lnTo>
                      <a:pt x="1137" y="481"/>
                    </a:lnTo>
                    <a:lnTo>
                      <a:pt x="1137" y="483"/>
                    </a:lnTo>
                    <a:lnTo>
                      <a:pt x="1137" y="485"/>
                    </a:lnTo>
                    <a:lnTo>
                      <a:pt x="1135" y="485"/>
                    </a:lnTo>
                    <a:lnTo>
                      <a:pt x="1133" y="485"/>
                    </a:lnTo>
                    <a:lnTo>
                      <a:pt x="1135" y="487"/>
                    </a:lnTo>
                    <a:lnTo>
                      <a:pt x="1135" y="489"/>
                    </a:lnTo>
                    <a:lnTo>
                      <a:pt x="1133" y="489"/>
                    </a:lnTo>
                    <a:lnTo>
                      <a:pt x="1131" y="489"/>
                    </a:lnTo>
                    <a:lnTo>
                      <a:pt x="1131" y="487"/>
                    </a:lnTo>
                    <a:lnTo>
                      <a:pt x="1129" y="487"/>
                    </a:lnTo>
                    <a:lnTo>
                      <a:pt x="1129" y="489"/>
                    </a:lnTo>
                    <a:lnTo>
                      <a:pt x="1127" y="489"/>
                    </a:lnTo>
                    <a:lnTo>
                      <a:pt x="1126" y="489"/>
                    </a:lnTo>
                    <a:lnTo>
                      <a:pt x="1126" y="491"/>
                    </a:lnTo>
                    <a:lnTo>
                      <a:pt x="1124" y="491"/>
                    </a:lnTo>
                    <a:lnTo>
                      <a:pt x="1124" y="493"/>
                    </a:lnTo>
                    <a:lnTo>
                      <a:pt x="1122" y="493"/>
                    </a:lnTo>
                    <a:lnTo>
                      <a:pt x="1120" y="494"/>
                    </a:lnTo>
                    <a:lnTo>
                      <a:pt x="1118" y="494"/>
                    </a:lnTo>
                    <a:lnTo>
                      <a:pt x="1116" y="494"/>
                    </a:lnTo>
                    <a:lnTo>
                      <a:pt x="1114" y="494"/>
                    </a:lnTo>
                    <a:lnTo>
                      <a:pt x="1112" y="493"/>
                    </a:lnTo>
                    <a:lnTo>
                      <a:pt x="1110" y="493"/>
                    </a:lnTo>
                    <a:lnTo>
                      <a:pt x="1108" y="493"/>
                    </a:lnTo>
                    <a:lnTo>
                      <a:pt x="1106" y="493"/>
                    </a:lnTo>
                    <a:lnTo>
                      <a:pt x="1106" y="494"/>
                    </a:lnTo>
                    <a:lnTo>
                      <a:pt x="1106" y="496"/>
                    </a:lnTo>
                    <a:lnTo>
                      <a:pt x="1106" y="500"/>
                    </a:lnTo>
                    <a:lnTo>
                      <a:pt x="1106" y="502"/>
                    </a:lnTo>
                    <a:lnTo>
                      <a:pt x="1104" y="502"/>
                    </a:lnTo>
                    <a:lnTo>
                      <a:pt x="1104" y="504"/>
                    </a:lnTo>
                    <a:lnTo>
                      <a:pt x="1106" y="504"/>
                    </a:lnTo>
                    <a:lnTo>
                      <a:pt x="1106" y="506"/>
                    </a:lnTo>
                    <a:lnTo>
                      <a:pt x="1106" y="504"/>
                    </a:lnTo>
                    <a:lnTo>
                      <a:pt x="1108" y="506"/>
                    </a:lnTo>
                    <a:lnTo>
                      <a:pt x="1110" y="506"/>
                    </a:lnTo>
                    <a:lnTo>
                      <a:pt x="1112" y="506"/>
                    </a:lnTo>
                    <a:lnTo>
                      <a:pt x="1112" y="508"/>
                    </a:lnTo>
                    <a:lnTo>
                      <a:pt x="1114" y="510"/>
                    </a:lnTo>
                    <a:lnTo>
                      <a:pt x="1116" y="510"/>
                    </a:lnTo>
                    <a:lnTo>
                      <a:pt x="1116" y="512"/>
                    </a:lnTo>
                    <a:lnTo>
                      <a:pt x="1116" y="514"/>
                    </a:lnTo>
                    <a:lnTo>
                      <a:pt x="1118" y="514"/>
                    </a:lnTo>
                    <a:lnTo>
                      <a:pt x="1118" y="516"/>
                    </a:lnTo>
                    <a:lnTo>
                      <a:pt x="1116" y="516"/>
                    </a:lnTo>
                    <a:lnTo>
                      <a:pt x="1118" y="516"/>
                    </a:lnTo>
                    <a:lnTo>
                      <a:pt x="1118" y="518"/>
                    </a:lnTo>
                    <a:lnTo>
                      <a:pt x="1118" y="519"/>
                    </a:lnTo>
                    <a:lnTo>
                      <a:pt x="1118" y="521"/>
                    </a:lnTo>
                    <a:lnTo>
                      <a:pt x="1120" y="523"/>
                    </a:lnTo>
                    <a:lnTo>
                      <a:pt x="1120" y="525"/>
                    </a:lnTo>
                    <a:lnTo>
                      <a:pt x="1118" y="525"/>
                    </a:lnTo>
                    <a:lnTo>
                      <a:pt x="1118" y="527"/>
                    </a:lnTo>
                    <a:lnTo>
                      <a:pt x="1120" y="527"/>
                    </a:lnTo>
                    <a:lnTo>
                      <a:pt x="1118" y="529"/>
                    </a:lnTo>
                    <a:lnTo>
                      <a:pt x="1120" y="531"/>
                    </a:lnTo>
                    <a:lnTo>
                      <a:pt x="1118" y="531"/>
                    </a:lnTo>
                    <a:lnTo>
                      <a:pt x="1116" y="531"/>
                    </a:lnTo>
                    <a:lnTo>
                      <a:pt x="1116" y="529"/>
                    </a:lnTo>
                    <a:lnTo>
                      <a:pt x="1114" y="531"/>
                    </a:lnTo>
                    <a:lnTo>
                      <a:pt x="1114" y="533"/>
                    </a:lnTo>
                    <a:lnTo>
                      <a:pt x="1112" y="533"/>
                    </a:lnTo>
                    <a:lnTo>
                      <a:pt x="1112" y="531"/>
                    </a:lnTo>
                    <a:lnTo>
                      <a:pt x="1112" y="529"/>
                    </a:lnTo>
                    <a:lnTo>
                      <a:pt x="1110" y="529"/>
                    </a:lnTo>
                    <a:lnTo>
                      <a:pt x="1110" y="531"/>
                    </a:lnTo>
                    <a:lnTo>
                      <a:pt x="1108" y="531"/>
                    </a:lnTo>
                    <a:lnTo>
                      <a:pt x="1108" y="529"/>
                    </a:lnTo>
                    <a:lnTo>
                      <a:pt x="1106" y="529"/>
                    </a:lnTo>
                    <a:lnTo>
                      <a:pt x="1108" y="529"/>
                    </a:lnTo>
                    <a:lnTo>
                      <a:pt x="1106" y="529"/>
                    </a:lnTo>
                    <a:lnTo>
                      <a:pt x="1106" y="527"/>
                    </a:lnTo>
                    <a:lnTo>
                      <a:pt x="1106" y="525"/>
                    </a:lnTo>
                    <a:lnTo>
                      <a:pt x="1106" y="523"/>
                    </a:lnTo>
                    <a:lnTo>
                      <a:pt x="1104" y="523"/>
                    </a:lnTo>
                    <a:lnTo>
                      <a:pt x="1102" y="523"/>
                    </a:lnTo>
                    <a:lnTo>
                      <a:pt x="1102" y="521"/>
                    </a:lnTo>
                    <a:lnTo>
                      <a:pt x="1102" y="523"/>
                    </a:lnTo>
                    <a:lnTo>
                      <a:pt x="1101" y="523"/>
                    </a:lnTo>
                    <a:lnTo>
                      <a:pt x="1101" y="525"/>
                    </a:lnTo>
                    <a:lnTo>
                      <a:pt x="1101" y="527"/>
                    </a:lnTo>
                    <a:lnTo>
                      <a:pt x="1099" y="527"/>
                    </a:lnTo>
                    <a:lnTo>
                      <a:pt x="1097" y="529"/>
                    </a:lnTo>
                    <a:lnTo>
                      <a:pt x="1097" y="531"/>
                    </a:lnTo>
                    <a:lnTo>
                      <a:pt x="1099" y="531"/>
                    </a:lnTo>
                    <a:lnTo>
                      <a:pt x="1099" y="533"/>
                    </a:lnTo>
                    <a:lnTo>
                      <a:pt x="1099" y="535"/>
                    </a:lnTo>
                    <a:lnTo>
                      <a:pt x="1099" y="537"/>
                    </a:lnTo>
                    <a:lnTo>
                      <a:pt x="1097" y="535"/>
                    </a:lnTo>
                    <a:lnTo>
                      <a:pt x="1095" y="535"/>
                    </a:lnTo>
                    <a:lnTo>
                      <a:pt x="1093" y="535"/>
                    </a:lnTo>
                    <a:lnTo>
                      <a:pt x="1093" y="533"/>
                    </a:lnTo>
                    <a:lnTo>
                      <a:pt x="1091" y="533"/>
                    </a:lnTo>
                    <a:lnTo>
                      <a:pt x="1091" y="535"/>
                    </a:lnTo>
                    <a:lnTo>
                      <a:pt x="1091" y="533"/>
                    </a:lnTo>
                    <a:lnTo>
                      <a:pt x="1089" y="533"/>
                    </a:lnTo>
                    <a:lnTo>
                      <a:pt x="1087" y="535"/>
                    </a:lnTo>
                    <a:lnTo>
                      <a:pt x="1085" y="535"/>
                    </a:lnTo>
                    <a:lnTo>
                      <a:pt x="1083" y="535"/>
                    </a:lnTo>
                    <a:lnTo>
                      <a:pt x="1083" y="537"/>
                    </a:lnTo>
                    <a:lnTo>
                      <a:pt x="1081" y="537"/>
                    </a:lnTo>
                    <a:lnTo>
                      <a:pt x="1079" y="537"/>
                    </a:lnTo>
                    <a:lnTo>
                      <a:pt x="1077" y="537"/>
                    </a:lnTo>
                    <a:lnTo>
                      <a:pt x="1076" y="537"/>
                    </a:lnTo>
                    <a:lnTo>
                      <a:pt x="1074" y="537"/>
                    </a:lnTo>
                    <a:lnTo>
                      <a:pt x="1074" y="539"/>
                    </a:lnTo>
                    <a:lnTo>
                      <a:pt x="1072" y="539"/>
                    </a:lnTo>
                    <a:lnTo>
                      <a:pt x="1074" y="539"/>
                    </a:lnTo>
                    <a:lnTo>
                      <a:pt x="1072" y="539"/>
                    </a:lnTo>
                    <a:lnTo>
                      <a:pt x="1072" y="541"/>
                    </a:lnTo>
                    <a:lnTo>
                      <a:pt x="1074" y="541"/>
                    </a:lnTo>
                    <a:lnTo>
                      <a:pt x="1074" y="543"/>
                    </a:lnTo>
                    <a:lnTo>
                      <a:pt x="1074" y="544"/>
                    </a:lnTo>
                    <a:lnTo>
                      <a:pt x="1074" y="546"/>
                    </a:lnTo>
                    <a:lnTo>
                      <a:pt x="1076" y="546"/>
                    </a:lnTo>
                    <a:lnTo>
                      <a:pt x="1076" y="548"/>
                    </a:lnTo>
                    <a:lnTo>
                      <a:pt x="1076" y="550"/>
                    </a:lnTo>
                    <a:lnTo>
                      <a:pt x="1074" y="550"/>
                    </a:lnTo>
                    <a:lnTo>
                      <a:pt x="1074" y="552"/>
                    </a:lnTo>
                    <a:lnTo>
                      <a:pt x="1076" y="552"/>
                    </a:lnTo>
                    <a:lnTo>
                      <a:pt x="1076" y="554"/>
                    </a:lnTo>
                    <a:lnTo>
                      <a:pt x="1076" y="556"/>
                    </a:lnTo>
                    <a:lnTo>
                      <a:pt x="1076" y="558"/>
                    </a:lnTo>
                    <a:lnTo>
                      <a:pt x="1074" y="558"/>
                    </a:lnTo>
                    <a:lnTo>
                      <a:pt x="1074" y="560"/>
                    </a:lnTo>
                    <a:lnTo>
                      <a:pt x="1072" y="560"/>
                    </a:lnTo>
                    <a:lnTo>
                      <a:pt x="1072" y="562"/>
                    </a:lnTo>
                    <a:lnTo>
                      <a:pt x="1070" y="562"/>
                    </a:lnTo>
                    <a:lnTo>
                      <a:pt x="1070" y="564"/>
                    </a:lnTo>
                    <a:lnTo>
                      <a:pt x="1068" y="564"/>
                    </a:lnTo>
                    <a:lnTo>
                      <a:pt x="1070" y="564"/>
                    </a:lnTo>
                    <a:lnTo>
                      <a:pt x="1068" y="564"/>
                    </a:lnTo>
                    <a:lnTo>
                      <a:pt x="1068" y="566"/>
                    </a:lnTo>
                    <a:lnTo>
                      <a:pt x="1068" y="568"/>
                    </a:lnTo>
                    <a:lnTo>
                      <a:pt x="1066" y="568"/>
                    </a:lnTo>
                    <a:lnTo>
                      <a:pt x="1066" y="569"/>
                    </a:lnTo>
                    <a:lnTo>
                      <a:pt x="1064" y="569"/>
                    </a:lnTo>
                    <a:lnTo>
                      <a:pt x="1064" y="571"/>
                    </a:lnTo>
                    <a:lnTo>
                      <a:pt x="1066" y="571"/>
                    </a:lnTo>
                    <a:lnTo>
                      <a:pt x="1068" y="571"/>
                    </a:lnTo>
                    <a:lnTo>
                      <a:pt x="1068" y="573"/>
                    </a:lnTo>
                    <a:lnTo>
                      <a:pt x="1070" y="573"/>
                    </a:lnTo>
                    <a:lnTo>
                      <a:pt x="1070" y="575"/>
                    </a:lnTo>
                    <a:lnTo>
                      <a:pt x="1070" y="577"/>
                    </a:lnTo>
                    <a:lnTo>
                      <a:pt x="1072" y="575"/>
                    </a:lnTo>
                    <a:lnTo>
                      <a:pt x="1072" y="577"/>
                    </a:lnTo>
                    <a:lnTo>
                      <a:pt x="1072" y="579"/>
                    </a:lnTo>
                    <a:lnTo>
                      <a:pt x="1072" y="581"/>
                    </a:lnTo>
                    <a:lnTo>
                      <a:pt x="1072" y="583"/>
                    </a:lnTo>
                    <a:lnTo>
                      <a:pt x="1072" y="585"/>
                    </a:lnTo>
                    <a:lnTo>
                      <a:pt x="1072" y="587"/>
                    </a:lnTo>
                    <a:lnTo>
                      <a:pt x="1072" y="589"/>
                    </a:lnTo>
                    <a:lnTo>
                      <a:pt x="1074" y="591"/>
                    </a:lnTo>
                    <a:lnTo>
                      <a:pt x="1074" y="593"/>
                    </a:lnTo>
                    <a:lnTo>
                      <a:pt x="1074" y="594"/>
                    </a:lnTo>
                    <a:lnTo>
                      <a:pt x="1076" y="594"/>
                    </a:lnTo>
                    <a:lnTo>
                      <a:pt x="1076" y="596"/>
                    </a:lnTo>
                    <a:lnTo>
                      <a:pt x="1076" y="598"/>
                    </a:lnTo>
                    <a:lnTo>
                      <a:pt x="1076" y="600"/>
                    </a:lnTo>
                    <a:lnTo>
                      <a:pt x="1076" y="598"/>
                    </a:lnTo>
                    <a:lnTo>
                      <a:pt x="1076" y="600"/>
                    </a:lnTo>
                    <a:lnTo>
                      <a:pt x="1076" y="602"/>
                    </a:lnTo>
                    <a:lnTo>
                      <a:pt x="1077" y="602"/>
                    </a:lnTo>
                    <a:lnTo>
                      <a:pt x="1076" y="602"/>
                    </a:lnTo>
                    <a:lnTo>
                      <a:pt x="1076" y="604"/>
                    </a:lnTo>
                    <a:lnTo>
                      <a:pt x="1076" y="606"/>
                    </a:lnTo>
                    <a:lnTo>
                      <a:pt x="1076" y="608"/>
                    </a:lnTo>
                    <a:lnTo>
                      <a:pt x="1077" y="610"/>
                    </a:lnTo>
                    <a:lnTo>
                      <a:pt x="1077" y="612"/>
                    </a:lnTo>
                    <a:lnTo>
                      <a:pt x="1077" y="614"/>
                    </a:lnTo>
                    <a:lnTo>
                      <a:pt x="1079" y="614"/>
                    </a:lnTo>
                    <a:lnTo>
                      <a:pt x="1081" y="616"/>
                    </a:lnTo>
                    <a:lnTo>
                      <a:pt x="1083" y="618"/>
                    </a:lnTo>
                    <a:lnTo>
                      <a:pt x="1081" y="619"/>
                    </a:lnTo>
                    <a:lnTo>
                      <a:pt x="1083" y="619"/>
                    </a:lnTo>
                    <a:lnTo>
                      <a:pt x="1085" y="619"/>
                    </a:lnTo>
                    <a:lnTo>
                      <a:pt x="1085" y="621"/>
                    </a:lnTo>
                    <a:lnTo>
                      <a:pt x="1087" y="621"/>
                    </a:lnTo>
                    <a:lnTo>
                      <a:pt x="1087" y="623"/>
                    </a:lnTo>
                    <a:lnTo>
                      <a:pt x="1089" y="623"/>
                    </a:lnTo>
                    <a:lnTo>
                      <a:pt x="1091" y="623"/>
                    </a:lnTo>
                    <a:lnTo>
                      <a:pt x="1091" y="625"/>
                    </a:lnTo>
                    <a:lnTo>
                      <a:pt x="1091" y="627"/>
                    </a:lnTo>
                    <a:lnTo>
                      <a:pt x="1091" y="629"/>
                    </a:lnTo>
                    <a:lnTo>
                      <a:pt x="1093" y="631"/>
                    </a:lnTo>
                    <a:lnTo>
                      <a:pt x="1093" y="633"/>
                    </a:lnTo>
                    <a:lnTo>
                      <a:pt x="1093" y="635"/>
                    </a:lnTo>
                    <a:lnTo>
                      <a:pt x="1095" y="635"/>
                    </a:lnTo>
                    <a:lnTo>
                      <a:pt x="1097" y="635"/>
                    </a:lnTo>
                    <a:lnTo>
                      <a:pt x="1097" y="637"/>
                    </a:lnTo>
                    <a:lnTo>
                      <a:pt x="1099" y="639"/>
                    </a:lnTo>
                    <a:lnTo>
                      <a:pt x="1099" y="641"/>
                    </a:lnTo>
                    <a:lnTo>
                      <a:pt x="1101" y="643"/>
                    </a:lnTo>
                    <a:lnTo>
                      <a:pt x="1102" y="643"/>
                    </a:lnTo>
                    <a:lnTo>
                      <a:pt x="1102" y="644"/>
                    </a:lnTo>
                    <a:lnTo>
                      <a:pt x="1102" y="646"/>
                    </a:lnTo>
                    <a:lnTo>
                      <a:pt x="1102" y="648"/>
                    </a:lnTo>
                    <a:lnTo>
                      <a:pt x="1101" y="648"/>
                    </a:lnTo>
                    <a:lnTo>
                      <a:pt x="1099" y="648"/>
                    </a:lnTo>
                    <a:lnTo>
                      <a:pt x="1099" y="646"/>
                    </a:lnTo>
                    <a:lnTo>
                      <a:pt x="1099" y="648"/>
                    </a:lnTo>
                    <a:lnTo>
                      <a:pt x="1099" y="650"/>
                    </a:lnTo>
                    <a:lnTo>
                      <a:pt x="1099" y="652"/>
                    </a:lnTo>
                    <a:lnTo>
                      <a:pt x="1097" y="652"/>
                    </a:lnTo>
                    <a:lnTo>
                      <a:pt x="1099" y="654"/>
                    </a:lnTo>
                    <a:lnTo>
                      <a:pt x="1099" y="656"/>
                    </a:lnTo>
                    <a:lnTo>
                      <a:pt x="1101" y="658"/>
                    </a:lnTo>
                    <a:lnTo>
                      <a:pt x="1101" y="660"/>
                    </a:lnTo>
                    <a:lnTo>
                      <a:pt x="1102" y="660"/>
                    </a:lnTo>
                    <a:lnTo>
                      <a:pt x="1102" y="662"/>
                    </a:lnTo>
                    <a:lnTo>
                      <a:pt x="1104" y="662"/>
                    </a:lnTo>
                    <a:lnTo>
                      <a:pt x="1102" y="662"/>
                    </a:lnTo>
                    <a:lnTo>
                      <a:pt x="1104" y="662"/>
                    </a:lnTo>
                    <a:lnTo>
                      <a:pt x="1104" y="664"/>
                    </a:lnTo>
                    <a:lnTo>
                      <a:pt x="1102" y="664"/>
                    </a:lnTo>
                    <a:lnTo>
                      <a:pt x="1104" y="666"/>
                    </a:lnTo>
                    <a:lnTo>
                      <a:pt x="1102" y="666"/>
                    </a:lnTo>
                    <a:lnTo>
                      <a:pt x="1102" y="668"/>
                    </a:lnTo>
                    <a:lnTo>
                      <a:pt x="1101" y="668"/>
                    </a:lnTo>
                    <a:lnTo>
                      <a:pt x="1101" y="669"/>
                    </a:lnTo>
                    <a:lnTo>
                      <a:pt x="1102" y="669"/>
                    </a:lnTo>
                    <a:lnTo>
                      <a:pt x="1102" y="671"/>
                    </a:lnTo>
                    <a:lnTo>
                      <a:pt x="1102" y="673"/>
                    </a:lnTo>
                    <a:lnTo>
                      <a:pt x="1101" y="673"/>
                    </a:lnTo>
                    <a:lnTo>
                      <a:pt x="1101" y="675"/>
                    </a:lnTo>
                    <a:lnTo>
                      <a:pt x="1101" y="677"/>
                    </a:lnTo>
                    <a:lnTo>
                      <a:pt x="1099" y="679"/>
                    </a:lnTo>
                    <a:lnTo>
                      <a:pt x="1099" y="681"/>
                    </a:lnTo>
                    <a:lnTo>
                      <a:pt x="1101" y="683"/>
                    </a:lnTo>
                    <a:lnTo>
                      <a:pt x="1101" y="685"/>
                    </a:lnTo>
                    <a:lnTo>
                      <a:pt x="1099" y="687"/>
                    </a:lnTo>
                    <a:lnTo>
                      <a:pt x="1099" y="689"/>
                    </a:lnTo>
                    <a:lnTo>
                      <a:pt x="1101" y="691"/>
                    </a:lnTo>
                    <a:lnTo>
                      <a:pt x="1101" y="693"/>
                    </a:lnTo>
                    <a:lnTo>
                      <a:pt x="1102" y="693"/>
                    </a:lnTo>
                    <a:lnTo>
                      <a:pt x="1101" y="693"/>
                    </a:lnTo>
                    <a:lnTo>
                      <a:pt x="1101" y="694"/>
                    </a:lnTo>
                    <a:lnTo>
                      <a:pt x="1102" y="696"/>
                    </a:lnTo>
                    <a:lnTo>
                      <a:pt x="1101" y="696"/>
                    </a:lnTo>
                    <a:lnTo>
                      <a:pt x="1102" y="696"/>
                    </a:lnTo>
                    <a:lnTo>
                      <a:pt x="1101" y="696"/>
                    </a:lnTo>
                    <a:lnTo>
                      <a:pt x="1101" y="698"/>
                    </a:lnTo>
                    <a:lnTo>
                      <a:pt x="1101" y="700"/>
                    </a:lnTo>
                    <a:lnTo>
                      <a:pt x="1099" y="698"/>
                    </a:lnTo>
                    <a:lnTo>
                      <a:pt x="1099" y="700"/>
                    </a:lnTo>
                    <a:lnTo>
                      <a:pt x="1099" y="702"/>
                    </a:lnTo>
                    <a:lnTo>
                      <a:pt x="1099" y="704"/>
                    </a:lnTo>
                    <a:lnTo>
                      <a:pt x="1097" y="704"/>
                    </a:lnTo>
                    <a:lnTo>
                      <a:pt x="1097" y="706"/>
                    </a:lnTo>
                    <a:lnTo>
                      <a:pt x="1099" y="708"/>
                    </a:lnTo>
                    <a:lnTo>
                      <a:pt x="1097" y="708"/>
                    </a:lnTo>
                    <a:lnTo>
                      <a:pt x="1095" y="708"/>
                    </a:lnTo>
                    <a:lnTo>
                      <a:pt x="1095" y="710"/>
                    </a:lnTo>
                    <a:lnTo>
                      <a:pt x="1093" y="710"/>
                    </a:lnTo>
                    <a:lnTo>
                      <a:pt x="1091" y="710"/>
                    </a:lnTo>
                    <a:lnTo>
                      <a:pt x="1089" y="710"/>
                    </a:lnTo>
                    <a:lnTo>
                      <a:pt x="1087" y="708"/>
                    </a:lnTo>
                    <a:lnTo>
                      <a:pt x="1089" y="708"/>
                    </a:lnTo>
                    <a:lnTo>
                      <a:pt x="1089" y="706"/>
                    </a:lnTo>
                    <a:lnTo>
                      <a:pt x="1087" y="706"/>
                    </a:lnTo>
                    <a:lnTo>
                      <a:pt x="1087" y="704"/>
                    </a:lnTo>
                    <a:lnTo>
                      <a:pt x="1087" y="702"/>
                    </a:lnTo>
                    <a:lnTo>
                      <a:pt x="1085" y="702"/>
                    </a:lnTo>
                    <a:lnTo>
                      <a:pt x="1085" y="700"/>
                    </a:lnTo>
                    <a:lnTo>
                      <a:pt x="1083" y="700"/>
                    </a:lnTo>
                    <a:lnTo>
                      <a:pt x="1083" y="698"/>
                    </a:lnTo>
                    <a:lnTo>
                      <a:pt x="1081" y="696"/>
                    </a:lnTo>
                    <a:lnTo>
                      <a:pt x="1081" y="698"/>
                    </a:lnTo>
                    <a:lnTo>
                      <a:pt x="1079" y="700"/>
                    </a:lnTo>
                    <a:lnTo>
                      <a:pt x="1079" y="702"/>
                    </a:lnTo>
                    <a:lnTo>
                      <a:pt x="1079" y="704"/>
                    </a:lnTo>
                    <a:lnTo>
                      <a:pt x="1079" y="706"/>
                    </a:lnTo>
                    <a:lnTo>
                      <a:pt x="1079" y="708"/>
                    </a:lnTo>
                    <a:lnTo>
                      <a:pt x="1077" y="708"/>
                    </a:lnTo>
                    <a:lnTo>
                      <a:pt x="1077" y="706"/>
                    </a:lnTo>
                    <a:lnTo>
                      <a:pt x="1076" y="704"/>
                    </a:lnTo>
                    <a:lnTo>
                      <a:pt x="1074" y="704"/>
                    </a:lnTo>
                    <a:lnTo>
                      <a:pt x="1074" y="702"/>
                    </a:lnTo>
                    <a:lnTo>
                      <a:pt x="1074" y="700"/>
                    </a:lnTo>
                    <a:lnTo>
                      <a:pt x="1072" y="700"/>
                    </a:lnTo>
                    <a:lnTo>
                      <a:pt x="1072" y="698"/>
                    </a:lnTo>
                    <a:lnTo>
                      <a:pt x="1072" y="700"/>
                    </a:lnTo>
                    <a:lnTo>
                      <a:pt x="1072" y="698"/>
                    </a:lnTo>
                    <a:lnTo>
                      <a:pt x="1070" y="698"/>
                    </a:lnTo>
                    <a:lnTo>
                      <a:pt x="1070" y="700"/>
                    </a:lnTo>
                    <a:lnTo>
                      <a:pt x="1068" y="700"/>
                    </a:lnTo>
                    <a:lnTo>
                      <a:pt x="1068" y="702"/>
                    </a:lnTo>
                    <a:lnTo>
                      <a:pt x="1066" y="702"/>
                    </a:lnTo>
                    <a:lnTo>
                      <a:pt x="1064" y="702"/>
                    </a:lnTo>
                    <a:lnTo>
                      <a:pt x="1062" y="702"/>
                    </a:lnTo>
                    <a:lnTo>
                      <a:pt x="1062" y="700"/>
                    </a:lnTo>
                    <a:lnTo>
                      <a:pt x="1060" y="700"/>
                    </a:lnTo>
                    <a:lnTo>
                      <a:pt x="1058" y="700"/>
                    </a:lnTo>
                    <a:lnTo>
                      <a:pt x="1058" y="702"/>
                    </a:lnTo>
                    <a:lnTo>
                      <a:pt x="1058" y="704"/>
                    </a:lnTo>
                    <a:lnTo>
                      <a:pt x="1060" y="704"/>
                    </a:lnTo>
                    <a:lnTo>
                      <a:pt x="1060" y="706"/>
                    </a:lnTo>
                    <a:lnTo>
                      <a:pt x="1060" y="708"/>
                    </a:lnTo>
                    <a:lnTo>
                      <a:pt x="1060" y="710"/>
                    </a:lnTo>
                    <a:lnTo>
                      <a:pt x="1058" y="710"/>
                    </a:lnTo>
                    <a:lnTo>
                      <a:pt x="1060" y="712"/>
                    </a:lnTo>
                    <a:lnTo>
                      <a:pt x="1060" y="714"/>
                    </a:lnTo>
                    <a:lnTo>
                      <a:pt x="1060" y="716"/>
                    </a:lnTo>
                    <a:lnTo>
                      <a:pt x="1058" y="716"/>
                    </a:lnTo>
                    <a:lnTo>
                      <a:pt x="1056" y="716"/>
                    </a:lnTo>
                    <a:lnTo>
                      <a:pt x="1056" y="714"/>
                    </a:lnTo>
                    <a:lnTo>
                      <a:pt x="1054" y="716"/>
                    </a:lnTo>
                    <a:lnTo>
                      <a:pt x="1054" y="714"/>
                    </a:lnTo>
                    <a:lnTo>
                      <a:pt x="1053" y="714"/>
                    </a:lnTo>
                    <a:lnTo>
                      <a:pt x="1053" y="716"/>
                    </a:lnTo>
                    <a:lnTo>
                      <a:pt x="1051" y="716"/>
                    </a:lnTo>
                    <a:lnTo>
                      <a:pt x="1051" y="718"/>
                    </a:lnTo>
                    <a:lnTo>
                      <a:pt x="1049" y="719"/>
                    </a:lnTo>
                    <a:lnTo>
                      <a:pt x="1049" y="721"/>
                    </a:lnTo>
                    <a:lnTo>
                      <a:pt x="1049" y="723"/>
                    </a:lnTo>
                    <a:lnTo>
                      <a:pt x="1047" y="723"/>
                    </a:lnTo>
                    <a:lnTo>
                      <a:pt x="1045" y="723"/>
                    </a:lnTo>
                    <a:lnTo>
                      <a:pt x="1045" y="721"/>
                    </a:lnTo>
                    <a:lnTo>
                      <a:pt x="1047" y="721"/>
                    </a:lnTo>
                    <a:lnTo>
                      <a:pt x="1045" y="719"/>
                    </a:lnTo>
                    <a:lnTo>
                      <a:pt x="1043" y="719"/>
                    </a:lnTo>
                    <a:lnTo>
                      <a:pt x="1041" y="721"/>
                    </a:lnTo>
                    <a:lnTo>
                      <a:pt x="1039" y="719"/>
                    </a:lnTo>
                    <a:lnTo>
                      <a:pt x="1039" y="718"/>
                    </a:lnTo>
                    <a:lnTo>
                      <a:pt x="1037" y="718"/>
                    </a:lnTo>
                    <a:lnTo>
                      <a:pt x="1035" y="718"/>
                    </a:lnTo>
                    <a:lnTo>
                      <a:pt x="1035" y="716"/>
                    </a:lnTo>
                    <a:lnTo>
                      <a:pt x="1033" y="716"/>
                    </a:lnTo>
                    <a:lnTo>
                      <a:pt x="1033" y="718"/>
                    </a:lnTo>
                    <a:lnTo>
                      <a:pt x="1033" y="719"/>
                    </a:lnTo>
                    <a:lnTo>
                      <a:pt x="1031" y="719"/>
                    </a:lnTo>
                    <a:lnTo>
                      <a:pt x="1031" y="721"/>
                    </a:lnTo>
                    <a:lnTo>
                      <a:pt x="1029" y="721"/>
                    </a:lnTo>
                    <a:lnTo>
                      <a:pt x="1029" y="723"/>
                    </a:lnTo>
                    <a:lnTo>
                      <a:pt x="1028" y="723"/>
                    </a:lnTo>
                    <a:lnTo>
                      <a:pt x="1028" y="721"/>
                    </a:lnTo>
                    <a:lnTo>
                      <a:pt x="1026" y="721"/>
                    </a:lnTo>
                    <a:lnTo>
                      <a:pt x="1028" y="721"/>
                    </a:lnTo>
                    <a:lnTo>
                      <a:pt x="1026" y="719"/>
                    </a:lnTo>
                    <a:lnTo>
                      <a:pt x="1024" y="721"/>
                    </a:lnTo>
                    <a:lnTo>
                      <a:pt x="1022" y="721"/>
                    </a:lnTo>
                    <a:lnTo>
                      <a:pt x="1022" y="719"/>
                    </a:lnTo>
                    <a:lnTo>
                      <a:pt x="1022" y="721"/>
                    </a:lnTo>
                    <a:lnTo>
                      <a:pt x="1020" y="721"/>
                    </a:lnTo>
                    <a:lnTo>
                      <a:pt x="1020" y="719"/>
                    </a:lnTo>
                    <a:lnTo>
                      <a:pt x="1018" y="719"/>
                    </a:lnTo>
                    <a:lnTo>
                      <a:pt x="1016" y="719"/>
                    </a:lnTo>
                    <a:lnTo>
                      <a:pt x="1016" y="718"/>
                    </a:lnTo>
                    <a:lnTo>
                      <a:pt x="1014" y="716"/>
                    </a:lnTo>
                    <a:lnTo>
                      <a:pt x="1014" y="714"/>
                    </a:lnTo>
                    <a:lnTo>
                      <a:pt x="1012" y="714"/>
                    </a:lnTo>
                    <a:lnTo>
                      <a:pt x="1010" y="712"/>
                    </a:lnTo>
                    <a:lnTo>
                      <a:pt x="1010" y="714"/>
                    </a:lnTo>
                    <a:lnTo>
                      <a:pt x="1008" y="712"/>
                    </a:lnTo>
                    <a:lnTo>
                      <a:pt x="1006" y="712"/>
                    </a:lnTo>
                    <a:lnTo>
                      <a:pt x="1006" y="710"/>
                    </a:lnTo>
                    <a:lnTo>
                      <a:pt x="1004" y="710"/>
                    </a:lnTo>
                    <a:lnTo>
                      <a:pt x="1003" y="708"/>
                    </a:lnTo>
                    <a:lnTo>
                      <a:pt x="1001" y="710"/>
                    </a:lnTo>
                    <a:lnTo>
                      <a:pt x="999" y="710"/>
                    </a:lnTo>
                    <a:lnTo>
                      <a:pt x="997" y="710"/>
                    </a:lnTo>
                    <a:lnTo>
                      <a:pt x="995" y="708"/>
                    </a:lnTo>
                    <a:lnTo>
                      <a:pt x="995" y="706"/>
                    </a:lnTo>
                    <a:lnTo>
                      <a:pt x="993" y="706"/>
                    </a:lnTo>
                    <a:lnTo>
                      <a:pt x="993" y="708"/>
                    </a:lnTo>
                    <a:lnTo>
                      <a:pt x="991" y="708"/>
                    </a:lnTo>
                    <a:lnTo>
                      <a:pt x="989" y="708"/>
                    </a:lnTo>
                    <a:lnTo>
                      <a:pt x="989" y="706"/>
                    </a:lnTo>
                    <a:lnTo>
                      <a:pt x="987" y="706"/>
                    </a:lnTo>
                    <a:lnTo>
                      <a:pt x="987" y="708"/>
                    </a:lnTo>
                    <a:lnTo>
                      <a:pt x="985" y="708"/>
                    </a:lnTo>
                    <a:lnTo>
                      <a:pt x="985" y="710"/>
                    </a:lnTo>
                    <a:lnTo>
                      <a:pt x="985" y="712"/>
                    </a:lnTo>
                    <a:lnTo>
                      <a:pt x="987" y="712"/>
                    </a:lnTo>
                    <a:lnTo>
                      <a:pt x="985" y="714"/>
                    </a:lnTo>
                    <a:lnTo>
                      <a:pt x="987" y="714"/>
                    </a:lnTo>
                    <a:lnTo>
                      <a:pt x="985" y="716"/>
                    </a:lnTo>
                    <a:lnTo>
                      <a:pt x="985" y="718"/>
                    </a:lnTo>
                    <a:lnTo>
                      <a:pt x="981" y="718"/>
                    </a:lnTo>
                    <a:lnTo>
                      <a:pt x="981" y="719"/>
                    </a:lnTo>
                    <a:lnTo>
                      <a:pt x="979" y="719"/>
                    </a:lnTo>
                    <a:lnTo>
                      <a:pt x="981" y="719"/>
                    </a:lnTo>
                    <a:lnTo>
                      <a:pt x="981" y="721"/>
                    </a:lnTo>
                    <a:lnTo>
                      <a:pt x="979" y="721"/>
                    </a:lnTo>
                    <a:lnTo>
                      <a:pt x="979" y="723"/>
                    </a:lnTo>
                    <a:lnTo>
                      <a:pt x="979" y="725"/>
                    </a:lnTo>
                    <a:lnTo>
                      <a:pt x="981" y="727"/>
                    </a:lnTo>
                    <a:lnTo>
                      <a:pt x="981" y="729"/>
                    </a:lnTo>
                    <a:lnTo>
                      <a:pt x="981" y="731"/>
                    </a:lnTo>
                    <a:lnTo>
                      <a:pt x="983" y="731"/>
                    </a:lnTo>
                    <a:lnTo>
                      <a:pt x="983" y="733"/>
                    </a:lnTo>
                    <a:lnTo>
                      <a:pt x="985" y="733"/>
                    </a:lnTo>
                    <a:lnTo>
                      <a:pt x="985" y="735"/>
                    </a:lnTo>
                    <a:lnTo>
                      <a:pt x="985" y="737"/>
                    </a:lnTo>
                    <a:lnTo>
                      <a:pt x="985" y="739"/>
                    </a:lnTo>
                    <a:lnTo>
                      <a:pt x="985" y="741"/>
                    </a:lnTo>
                    <a:lnTo>
                      <a:pt x="987" y="741"/>
                    </a:lnTo>
                    <a:lnTo>
                      <a:pt x="987" y="742"/>
                    </a:lnTo>
                    <a:lnTo>
                      <a:pt x="987" y="744"/>
                    </a:lnTo>
                    <a:lnTo>
                      <a:pt x="985" y="744"/>
                    </a:lnTo>
                    <a:lnTo>
                      <a:pt x="985" y="746"/>
                    </a:lnTo>
                    <a:lnTo>
                      <a:pt x="985" y="748"/>
                    </a:lnTo>
                    <a:lnTo>
                      <a:pt x="983" y="748"/>
                    </a:lnTo>
                    <a:lnTo>
                      <a:pt x="981" y="750"/>
                    </a:lnTo>
                    <a:lnTo>
                      <a:pt x="981" y="752"/>
                    </a:lnTo>
                    <a:lnTo>
                      <a:pt x="981" y="754"/>
                    </a:lnTo>
                    <a:lnTo>
                      <a:pt x="983" y="754"/>
                    </a:lnTo>
                    <a:lnTo>
                      <a:pt x="983" y="756"/>
                    </a:lnTo>
                    <a:lnTo>
                      <a:pt x="985" y="756"/>
                    </a:lnTo>
                    <a:lnTo>
                      <a:pt x="985" y="758"/>
                    </a:lnTo>
                    <a:lnTo>
                      <a:pt x="985" y="760"/>
                    </a:lnTo>
                    <a:lnTo>
                      <a:pt x="985" y="762"/>
                    </a:lnTo>
                    <a:lnTo>
                      <a:pt x="985" y="764"/>
                    </a:lnTo>
                    <a:lnTo>
                      <a:pt x="985" y="766"/>
                    </a:lnTo>
                    <a:lnTo>
                      <a:pt x="985" y="767"/>
                    </a:lnTo>
                    <a:lnTo>
                      <a:pt x="983" y="769"/>
                    </a:lnTo>
                    <a:lnTo>
                      <a:pt x="985" y="769"/>
                    </a:lnTo>
                    <a:lnTo>
                      <a:pt x="985" y="771"/>
                    </a:lnTo>
                    <a:lnTo>
                      <a:pt x="985" y="773"/>
                    </a:lnTo>
                    <a:lnTo>
                      <a:pt x="983" y="771"/>
                    </a:lnTo>
                    <a:lnTo>
                      <a:pt x="983" y="773"/>
                    </a:lnTo>
                    <a:lnTo>
                      <a:pt x="983" y="775"/>
                    </a:lnTo>
                    <a:lnTo>
                      <a:pt x="983" y="777"/>
                    </a:lnTo>
                    <a:lnTo>
                      <a:pt x="985" y="779"/>
                    </a:lnTo>
                    <a:lnTo>
                      <a:pt x="985" y="781"/>
                    </a:lnTo>
                    <a:lnTo>
                      <a:pt x="985" y="783"/>
                    </a:lnTo>
                    <a:lnTo>
                      <a:pt x="985" y="785"/>
                    </a:lnTo>
                    <a:lnTo>
                      <a:pt x="983" y="785"/>
                    </a:lnTo>
                    <a:lnTo>
                      <a:pt x="983" y="787"/>
                    </a:lnTo>
                    <a:lnTo>
                      <a:pt x="981" y="785"/>
                    </a:lnTo>
                    <a:lnTo>
                      <a:pt x="979" y="787"/>
                    </a:lnTo>
                    <a:lnTo>
                      <a:pt x="979" y="789"/>
                    </a:lnTo>
                    <a:lnTo>
                      <a:pt x="979" y="791"/>
                    </a:lnTo>
                    <a:lnTo>
                      <a:pt x="978" y="792"/>
                    </a:lnTo>
                    <a:lnTo>
                      <a:pt x="974" y="792"/>
                    </a:lnTo>
                    <a:lnTo>
                      <a:pt x="974" y="794"/>
                    </a:lnTo>
                    <a:lnTo>
                      <a:pt x="972" y="794"/>
                    </a:lnTo>
                    <a:lnTo>
                      <a:pt x="974" y="794"/>
                    </a:lnTo>
                    <a:lnTo>
                      <a:pt x="976" y="796"/>
                    </a:lnTo>
                    <a:lnTo>
                      <a:pt x="976" y="798"/>
                    </a:lnTo>
                    <a:lnTo>
                      <a:pt x="976" y="800"/>
                    </a:lnTo>
                    <a:lnTo>
                      <a:pt x="974" y="800"/>
                    </a:lnTo>
                    <a:lnTo>
                      <a:pt x="974" y="802"/>
                    </a:lnTo>
                    <a:lnTo>
                      <a:pt x="972" y="802"/>
                    </a:lnTo>
                    <a:lnTo>
                      <a:pt x="970" y="802"/>
                    </a:lnTo>
                    <a:lnTo>
                      <a:pt x="970" y="804"/>
                    </a:lnTo>
                    <a:lnTo>
                      <a:pt x="968" y="804"/>
                    </a:lnTo>
                    <a:lnTo>
                      <a:pt x="966" y="804"/>
                    </a:lnTo>
                    <a:lnTo>
                      <a:pt x="966" y="806"/>
                    </a:lnTo>
                    <a:lnTo>
                      <a:pt x="966" y="808"/>
                    </a:lnTo>
                    <a:lnTo>
                      <a:pt x="968" y="810"/>
                    </a:lnTo>
                    <a:lnTo>
                      <a:pt x="968" y="812"/>
                    </a:lnTo>
                    <a:lnTo>
                      <a:pt x="970" y="812"/>
                    </a:lnTo>
                    <a:lnTo>
                      <a:pt x="970" y="814"/>
                    </a:lnTo>
                    <a:lnTo>
                      <a:pt x="968" y="814"/>
                    </a:lnTo>
                    <a:lnTo>
                      <a:pt x="968" y="816"/>
                    </a:lnTo>
                    <a:lnTo>
                      <a:pt x="968" y="817"/>
                    </a:lnTo>
                    <a:lnTo>
                      <a:pt x="966" y="817"/>
                    </a:lnTo>
                    <a:lnTo>
                      <a:pt x="966" y="819"/>
                    </a:lnTo>
                    <a:lnTo>
                      <a:pt x="966" y="821"/>
                    </a:lnTo>
                    <a:lnTo>
                      <a:pt x="964" y="821"/>
                    </a:lnTo>
                    <a:lnTo>
                      <a:pt x="962" y="821"/>
                    </a:lnTo>
                    <a:lnTo>
                      <a:pt x="964" y="823"/>
                    </a:lnTo>
                    <a:lnTo>
                      <a:pt x="964" y="825"/>
                    </a:lnTo>
                    <a:lnTo>
                      <a:pt x="966" y="825"/>
                    </a:lnTo>
                    <a:lnTo>
                      <a:pt x="966" y="827"/>
                    </a:lnTo>
                    <a:lnTo>
                      <a:pt x="966" y="829"/>
                    </a:lnTo>
                    <a:lnTo>
                      <a:pt x="966" y="831"/>
                    </a:lnTo>
                    <a:lnTo>
                      <a:pt x="966" y="833"/>
                    </a:lnTo>
                    <a:lnTo>
                      <a:pt x="966" y="835"/>
                    </a:lnTo>
                    <a:lnTo>
                      <a:pt x="966" y="837"/>
                    </a:lnTo>
                    <a:lnTo>
                      <a:pt x="966" y="839"/>
                    </a:lnTo>
                    <a:lnTo>
                      <a:pt x="968" y="841"/>
                    </a:lnTo>
                    <a:lnTo>
                      <a:pt x="970" y="841"/>
                    </a:lnTo>
                    <a:lnTo>
                      <a:pt x="970" y="842"/>
                    </a:lnTo>
                    <a:lnTo>
                      <a:pt x="972" y="842"/>
                    </a:lnTo>
                    <a:lnTo>
                      <a:pt x="974" y="844"/>
                    </a:lnTo>
                    <a:lnTo>
                      <a:pt x="976" y="844"/>
                    </a:lnTo>
                    <a:lnTo>
                      <a:pt x="978" y="844"/>
                    </a:lnTo>
                    <a:lnTo>
                      <a:pt x="978" y="846"/>
                    </a:lnTo>
                    <a:lnTo>
                      <a:pt x="978" y="848"/>
                    </a:lnTo>
                    <a:lnTo>
                      <a:pt x="978" y="850"/>
                    </a:lnTo>
                    <a:lnTo>
                      <a:pt x="978" y="852"/>
                    </a:lnTo>
                    <a:lnTo>
                      <a:pt x="978" y="854"/>
                    </a:lnTo>
                    <a:lnTo>
                      <a:pt x="979" y="854"/>
                    </a:lnTo>
                    <a:lnTo>
                      <a:pt x="979" y="858"/>
                    </a:lnTo>
                    <a:lnTo>
                      <a:pt x="979" y="860"/>
                    </a:lnTo>
                    <a:lnTo>
                      <a:pt x="979" y="862"/>
                    </a:lnTo>
                    <a:lnTo>
                      <a:pt x="981" y="862"/>
                    </a:lnTo>
                    <a:lnTo>
                      <a:pt x="981" y="864"/>
                    </a:lnTo>
                    <a:lnTo>
                      <a:pt x="983" y="866"/>
                    </a:lnTo>
                    <a:lnTo>
                      <a:pt x="983" y="867"/>
                    </a:lnTo>
                    <a:lnTo>
                      <a:pt x="985" y="869"/>
                    </a:lnTo>
                    <a:lnTo>
                      <a:pt x="983" y="871"/>
                    </a:lnTo>
                    <a:lnTo>
                      <a:pt x="983" y="873"/>
                    </a:lnTo>
                    <a:lnTo>
                      <a:pt x="983" y="875"/>
                    </a:lnTo>
                    <a:lnTo>
                      <a:pt x="983" y="877"/>
                    </a:lnTo>
                    <a:lnTo>
                      <a:pt x="985" y="879"/>
                    </a:lnTo>
                    <a:lnTo>
                      <a:pt x="987" y="879"/>
                    </a:lnTo>
                    <a:lnTo>
                      <a:pt x="987" y="881"/>
                    </a:lnTo>
                    <a:lnTo>
                      <a:pt x="987" y="883"/>
                    </a:lnTo>
                    <a:lnTo>
                      <a:pt x="989" y="883"/>
                    </a:lnTo>
                    <a:lnTo>
                      <a:pt x="989" y="885"/>
                    </a:lnTo>
                    <a:lnTo>
                      <a:pt x="991" y="885"/>
                    </a:lnTo>
                    <a:lnTo>
                      <a:pt x="991" y="889"/>
                    </a:lnTo>
                    <a:lnTo>
                      <a:pt x="993" y="891"/>
                    </a:lnTo>
                    <a:lnTo>
                      <a:pt x="993" y="892"/>
                    </a:lnTo>
                    <a:lnTo>
                      <a:pt x="995" y="892"/>
                    </a:lnTo>
                    <a:lnTo>
                      <a:pt x="995" y="894"/>
                    </a:lnTo>
                    <a:lnTo>
                      <a:pt x="993" y="896"/>
                    </a:lnTo>
                    <a:lnTo>
                      <a:pt x="995" y="898"/>
                    </a:lnTo>
                    <a:lnTo>
                      <a:pt x="995" y="900"/>
                    </a:lnTo>
                    <a:lnTo>
                      <a:pt x="995" y="902"/>
                    </a:lnTo>
                    <a:lnTo>
                      <a:pt x="997" y="902"/>
                    </a:lnTo>
                    <a:lnTo>
                      <a:pt x="999" y="906"/>
                    </a:lnTo>
                    <a:lnTo>
                      <a:pt x="1001" y="906"/>
                    </a:lnTo>
                    <a:lnTo>
                      <a:pt x="1001" y="908"/>
                    </a:lnTo>
                    <a:lnTo>
                      <a:pt x="1001" y="910"/>
                    </a:lnTo>
                    <a:lnTo>
                      <a:pt x="999" y="910"/>
                    </a:lnTo>
                    <a:lnTo>
                      <a:pt x="997" y="910"/>
                    </a:lnTo>
                    <a:lnTo>
                      <a:pt x="997" y="912"/>
                    </a:lnTo>
                    <a:lnTo>
                      <a:pt x="995" y="912"/>
                    </a:lnTo>
                    <a:lnTo>
                      <a:pt x="995" y="910"/>
                    </a:lnTo>
                    <a:lnTo>
                      <a:pt x="995" y="908"/>
                    </a:lnTo>
                    <a:lnTo>
                      <a:pt x="995" y="906"/>
                    </a:lnTo>
                    <a:lnTo>
                      <a:pt x="993" y="906"/>
                    </a:lnTo>
                    <a:lnTo>
                      <a:pt x="993" y="904"/>
                    </a:lnTo>
                    <a:lnTo>
                      <a:pt x="991" y="904"/>
                    </a:lnTo>
                    <a:lnTo>
                      <a:pt x="991" y="906"/>
                    </a:lnTo>
                    <a:lnTo>
                      <a:pt x="991" y="908"/>
                    </a:lnTo>
                    <a:lnTo>
                      <a:pt x="989" y="908"/>
                    </a:lnTo>
                    <a:lnTo>
                      <a:pt x="989" y="910"/>
                    </a:lnTo>
                    <a:lnTo>
                      <a:pt x="987" y="910"/>
                    </a:lnTo>
                    <a:lnTo>
                      <a:pt x="985" y="912"/>
                    </a:lnTo>
                    <a:lnTo>
                      <a:pt x="983" y="912"/>
                    </a:lnTo>
                    <a:lnTo>
                      <a:pt x="981" y="914"/>
                    </a:lnTo>
                    <a:lnTo>
                      <a:pt x="981" y="916"/>
                    </a:lnTo>
                    <a:lnTo>
                      <a:pt x="981" y="917"/>
                    </a:lnTo>
                    <a:lnTo>
                      <a:pt x="981" y="919"/>
                    </a:lnTo>
                    <a:lnTo>
                      <a:pt x="981" y="921"/>
                    </a:lnTo>
                    <a:lnTo>
                      <a:pt x="979" y="921"/>
                    </a:lnTo>
                    <a:lnTo>
                      <a:pt x="981" y="921"/>
                    </a:lnTo>
                    <a:lnTo>
                      <a:pt x="981" y="923"/>
                    </a:lnTo>
                    <a:lnTo>
                      <a:pt x="983" y="925"/>
                    </a:lnTo>
                    <a:lnTo>
                      <a:pt x="983" y="927"/>
                    </a:lnTo>
                    <a:lnTo>
                      <a:pt x="983" y="929"/>
                    </a:lnTo>
                    <a:lnTo>
                      <a:pt x="981" y="929"/>
                    </a:lnTo>
                    <a:lnTo>
                      <a:pt x="979" y="929"/>
                    </a:lnTo>
                    <a:lnTo>
                      <a:pt x="979" y="931"/>
                    </a:lnTo>
                    <a:lnTo>
                      <a:pt x="979" y="933"/>
                    </a:lnTo>
                    <a:lnTo>
                      <a:pt x="979" y="935"/>
                    </a:lnTo>
                    <a:lnTo>
                      <a:pt x="978" y="937"/>
                    </a:lnTo>
                    <a:lnTo>
                      <a:pt x="979" y="937"/>
                    </a:lnTo>
                    <a:lnTo>
                      <a:pt x="978" y="937"/>
                    </a:lnTo>
                    <a:lnTo>
                      <a:pt x="978" y="939"/>
                    </a:lnTo>
                    <a:lnTo>
                      <a:pt x="978" y="937"/>
                    </a:lnTo>
                    <a:lnTo>
                      <a:pt x="976" y="937"/>
                    </a:lnTo>
                    <a:lnTo>
                      <a:pt x="976" y="939"/>
                    </a:lnTo>
                    <a:lnTo>
                      <a:pt x="976" y="941"/>
                    </a:lnTo>
                    <a:lnTo>
                      <a:pt x="974" y="941"/>
                    </a:lnTo>
                    <a:lnTo>
                      <a:pt x="972" y="942"/>
                    </a:lnTo>
                    <a:lnTo>
                      <a:pt x="972" y="944"/>
                    </a:lnTo>
                    <a:lnTo>
                      <a:pt x="970" y="944"/>
                    </a:lnTo>
                    <a:lnTo>
                      <a:pt x="970" y="946"/>
                    </a:lnTo>
                    <a:lnTo>
                      <a:pt x="970" y="948"/>
                    </a:lnTo>
                    <a:lnTo>
                      <a:pt x="968" y="948"/>
                    </a:lnTo>
                    <a:lnTo>
                      <a:pt x="968" y="950"/>
                    </a:lnTo>
                    <a:lnTo>
                      <a:pt x="966" y="950"/>
                    </a:lnTo>
                    <a:lnTo>
                      <a:pt x="966" y="948"/>
                    </a:lnTo>
                    <a:lnTo>
                      <a:pt x="964" y="948"/>
                    </a:lnTo>
                    <a:lnTo>
                      <a:pt x="964" y="950"/>
                    </a:lnTo>
                    <a:lnTo>
                      <a:pt x="962" y="950"/>
                    </a:lnTo>
                    <a:lnTo>
                      <a:pt x="960" y="950"/>
                    </a:lnTo>
                    <a:lnTo>
                      <a:pt x="958" y="950"/>
                    </a:lnTo>
                    <a:lnTo>
                      <a:pt x="956" y="950"/>
                    </a:lnTo>
                    <a:lnTo>
                      <a:pt x="955" y="948"/>
                    </a:lnTo>
                    <a:lnTo>
                      <a:pt x="955" y="950"/>
                    </a:lnTo>
                    <a:lnTo>
                      <a:pt x="953" y="950"/>
                    </a:lnTo>
                    <a:lnTo>
                      <a:pt x="953" y="952"/>
                    </a:lnTo>
                    <a:lnTo>
                      <a:pt x="951" y="950"/>
                    </a:lnTo>
                    <a:lnTo>
                      <a:pt x="951" y="952"/>
                    </a:lnTo>
                    <a:lnTo>
                      <a:pt x="949" y="952"/>
                    </a:lnTo>
                    <a:lnTo>
                      <a:pt x="947" y="950"/>
                    </a:lnTo>
                    <a:lnTo>
                      <a:pt x="945" y="950"/>
                    </a:lnTo>
                    <a:lnTo>
                      <a:pt x="945" y="952"/>
                    </a:lnTo>
                    <a:lnTo>
                      <a:pt x="943" y="952"/>
                    </a:lnTo>
                    <a:lnTo>
                      <a:pt x="943" y="950"/>
                    </a:lnTo>
                    <a:lnTo>
                      <a:pt x="941" y="950"/>
                    </a:lnTo>
                    <a:lnTo>
                      <a:pt x="941" y="948"/>
                    </a:lnTo>
                    <a:lnTo>
                      <a:pt x="939" y="948"/>
                    </a:lnTo>
                    <a:lnTo>
                      <a:pt x="937" y="950"/>
                    </a:lnTo>
                    <a:lnTo>
                      <a:pt x="937" y="952"/>
                    </a:lnTo>
                    <a:lnTo>
                      <a:pt x="935" y="952"/>
                    </a:lnTo>
                    <a:lnTo>
                      <a:pt x="933" y="954"/>
                    </a:lnTo>
                    <a:lnTo>
                      <a:pt x="933" y="956"/>
                    </a:lnTo>
                    <a:lnTo>
                      <a:pt x="933" y="958"/>
                    </a:lnTo>
                    <a:lnTo>
                      <a:pt x="931" y="958"/>
                    </a:lnTo>
                    <a:lnTo>
                      <a:pt x="931" y="960"/>
                    </a:lnTo>
                    <a:lnTo>
                      <a:pt x="931" y="962"/>
                    </a:lnTo>
                    <a:lnTo>
                      <a:pt x="931" y="964"/>
                    </a:lnTo>
                    <a:lnTo>
                      <a:pt x="931" y="966"/>
                    </a:lnTo>
                    <a:lnTo>
                      <a:pt x="930" y="966"/>
                    </a:lnTo>
                    <a:lnTo>
                      <a:pt x="931" y="967"/>
                    </a:lnTo>
                    <a:lnTo>
                      <a:pt x="931" y="969"/>
                    </a:lnTo>
                    <a:lnTo>
                      <a:pt x="931" y="971"/>
                    </a:lnTo>
                    <a:lnTo>
                      <a:pt x="931" y="973"/>
                    </a:lnTo>
                    <a:lnTo>
                      <a:pt x="931" y="975"/>
                    </a:lnTo>
                    <a:lnTo>
                      <a:pt x="933" y="975"/>
                    </a:lnTo>
                    <a:lnTo>
                      <a:pt x="931" y="977"/>
                    </a:lnTo>
                    <a:lnTo>
                      <a:pt x="931" y="979"/>
                    </a:lnTo>
                    <a:lnTo>
                      <a:pt x="933" y="979"/>
                    </a:lnTo>
                    <a:lnTo>
                      <a:pt x="931" y="979"/>
                    </a:lnTo>
                    <a:lnTo>
                      <a:pt x="931" y="981"/>
                    </a:lnTo>
                    <a:lnTo>
                      <a:pt x="931" y="983"/>
                    </a:lnTo>
                    <a:lnTo>
                      <a:pt x="930" y="983"/>
                    </a:lnTo>
                    <a:lnTo>
                      <a:pt x="928" y="981"/>
                    </a:lnTo>
                    <a:lnTo>
                      <a:pt x="926" y="983"/>
                    </a:lnTo>
                    <a:lnTo>
                      <a:pt x="926" y="981"/>
                    </a:lnTo>
                    <a:lnTo>
                      <a:pt x="924" y="981"/>
                    </a:lnTo>
                    <a:lnTo>
                      <a:pt x="924" y="983"/>
                    </a:lnTo>
                    <a:lnTo>
                      <a:pt x="922" y="985"/>
                    </a:lnTo>
                    <a:lnTo>
                      <a:pt x="920" y="985"/>
                    </a:lnTo>
                    <a:lnTo>
                      <a:pt x="918" y="985"/>
                    </a:lnTo>
                    <a:lnTo>
                      <a:pt x="918" y="983"/>
                    </a:lnTo>
                    <a:lnTo>
                      <a:pt x="916" y="983"/>
                    </a:lnTo>
                    <a:lnTo>
                      <a:pt x="916" y="981"/>
                    </a:lnTo>
                    <a:lnTo>
                      <a:pt x="916" y="983"/>
                    </a:lnTo>
                    <a:lnTo>
                      <a:pt x="914" y="983"/>
                    </a:lnTo>
                    <a:lnTo>
                      <a:pt x="912" y="983"/>
                    </a:lnTo>
                    <a:lnTo>
                      <a:pt x="912" y="985"/>
                    </a:lnTo>
                    <a:lnTo>
                      <a:pt x="912" y="987"/>
                    </a:lnTo>
                    <a:lnTo>
                      <a:pt x="912" y="989"/>
                    </a:lnTo>
                    <a:lnTo>
                      <a:pt x="910" y="989"/>
                    </a:lnTo>
                    <a:lnTo>
                      <a:pt x="908" y="987"/>
                    </a:lnTo>
                    <a:lnTo>
                      <a:pt x="908" y="989"/>
                    </a:lnTo>
                    <a:lnTo>
                      <a:pt x="906" y="987"/>
                    </a:lnTo>
                    <a:lnTo>
                      <a:pt x="905" y="987"/>
                    </a:lnTo>
                    <a:lnTo>
                      <a:pt x="903" y="987"/>
                    </a:lnTo>
                    <a:lnTo>
                      <a:pt x="901" y="987"/>
                    </a:lnTo>
                    <a:lnTo>
                      <a:pt x="899" y="987"/>
                    </a:lnTo>
                    <a:lnTo>
                      <a:pt x="897" y="987"/>
                    </a:lnTo>
                    <a:lnTo>
                      <a:pt x="895" y="987"/>
                    </a:lnTo>
                    <a:lnTo>
                      <a:pt x="893" y="989"/>
                    </a:lnTo>
                    <a:lnTo>
                      <a:pt x="891" y="989"/>
                    </a:lnTo>
                    <a:lnTo>
                      <a:pt x="889" y="990"/>
                    </a:lnTo>
                    <a:lnTo>
                      <a:pt x="889" y="992"/>
                    </a:lnTo>
                    <a:lnTo>
                      <a:pt x="887" y="992"/>
                    </a:lnTo>
                    <a:lnTo>
                      <a:pt x="885" y="992"/>
                    </a:lnTo>
                    <a:lnTo>
                      <a:pt x="883" y="992"/>
                    </a:lnTo>
                    <a:lnTo>
                      <a:pt x="882" y="990"/>
                    </a:lnTo>
                    <a:lnTo>
                      <a:pt x="880" y="990"/>
                    </a:lnTo>
                    <a:lnTo>
                      <a:pt x="878" y="990"/>
                    </a:lnTo>
                    <a:lnTo>
                      <a:pt x="878" y="992"/>
                    </a:lnTo>
                    <a:lnTo>
                      <a:pt x="876" y="994"/>
                    </a:lnTo>
                    <a:lnTo>
                      <a:pt x="878" y="994"/>
                    </a:lnTo>
                    <a:lnTo>
                      <a:pt x="878" y="996"/>
                    </a:lnTo>
                    <a:lnTo>
                      <a:pt x="876" y="996"/>
                    </a:lnTo>
                    <a:lnTo>
                      <a:pt x="876" y="998"/>
                    </a:lnTo>
                    <a:lnTo>
                      <a:pt x="874" y="998"/>
                    </a:lnTo>
                    <a:lnTo>
                      <a:pt x="872" y="998"/>
                    </a:lnTo>
                    <a:lnTo>
                      <a:pt x="872" y="996"/>
                    </a:lnTo>
                    <a:lnTo>
                      <a:pt x="872" y="998"/>
                    </a:lnTo>
                    <a:lnTo>
                      <a:pt x="872" y="1000"/>
                    </a:lnTo>
                    <a:lnTo>
                      <a:pt x="870" y="1000"/>
                    </a:lnTo>
                    <a:lnTo>
                      <a:pt x="870" y="1002"/>
                    </a:lnTo>
                    <a:lnTo>
                      <a:pt x="868" y="1002"/>
                    </a:lnTo>
                    <a:lnTo>
                      <a:pt x="870" y="1004"/>
                    </a:lnTo>
                    <a:lnTo>
                      <a:pt x="868" y="1004"/>
                    </a:lnTo>
                    <a:lnTo>
                      <a:pt x="868" y="1006"/>
                    </a:lnTo>
                    <a:lnTo>
                      <a:pt x="868" y="1008"/>
                    </a:lnTo>
                    <a:lnTo>
                      <a:pt x="868" y="1010"/>
                    </a:lnTo>
                    <a:lnTo>
                      <a:pt x="866" y="1010"/>
                    </a:lnTo>
                    <a:lnTo>
                      <a:pt x="864" y="1010"/>
                    </a:lnTo>
                    <a:lnTo>
                      <a:pt x="864" y="1012"/>
                    </a:lnTo>
                    <a:lnTo>
                      <a:pt x="866" y="1012"/>
                    </a:lnTo>
                    <a:lnTo>
                      <a:pt x="866" y="1014"/>
                    </a:lnTo>
                    <a:lnTo>
                      <a:pt x="866" y="1015"/>
                    </a:lnTo>
                    <a:lnTo>
                      <a:pt x="864" y="1015"/>
                    </a:lnTo>
                    <a:lnTo>
                      <a:pt x="864" y="1017"/>
                    </a:lnTo>
                    <a:lnTo>
                      <a:pt x="866" y="1017"/>
                    </a:lnTo>
                    <a:lnTo>
                      <a:pt x="868" y="1017"/>
                    </a:lnTo>
                    <a:lnTo>
                      <a:pt x="868" y="1019"/>
                    </a:lnTo>
                    <a:lnTo>
                      <a:pt x="868" y="1023"/>
                    </a:lnTo>
                    <a:lnTo>
                      <a:pt x="870" y="1025"/>
                    </a:lnTo>
                    <a:lnTo>
                      <a:pt x="868" y="1025"/>
                    </a:lnTo>
                    <a:lnTo>
                      <a:pt x="866" y="1025"/>
                    </a:lnTo>
                    <a:lnTo>
                      <a:pt x="864" y="1025"/>
                    </a:lnTo>
                    <a:lnTo>
                      <a:pt x="864" y="1027"/>
                    </a:lnTo>
                    <a:lnTo>
                      <a:pt x="862" y="1029"/>
                    </a:lnTo>
                    <a:lnTo>
                      <a:pt x="864" y="1029"/>
                    </a:lnTo>
                    <a:lnTo>
                      <a:pt x="864" y="1031"/>
                    </a:lnTo>
                    <a:lnTo>
                      <a:pt x="864" y="1033"/>
                    </a:lnTo>
                    <a:lnTo>
                      <a:pt x="864" y="1035"/>
                    </a:lnTo>
                    <a:lnTo>
                      <a:pt x="866" y="1037"/>
                    </a:lnTo>
                    <a:lnTo>
                      <a:pt x="866" y="1039"/>
                    </a:lnTo>
                    <a:lnTo>
                      <a:pt x="866" y="1040"/>
                    </a:lnTo>
                    <a:lnTo>
                      <a:pt x="868" y="1040"/>
                    </a:lnTo>
                    <a:lnTo>
                      <a:pt x="868" y="1042"/>
                    </a:lnTo>
                    <a:lnTo>
                      <a:pt x="868" y="1044"/>
                    </a:lnTo>
                    <a:lnTo>
                      <a:pt x="866" y="1044"/>
                    </a:lnTo>
                    <a:lnTo>
                      <a:pt x="866" y="1046"/>
                    </a:lnTo>
                    <a:lnTo>
                      <a:pt x="866" y="1048"/>
                    </a:lnTo>
                    <a:lnTo>
                      <a:pt x="866" y="1050"/>
                    </a:lnTo>
                    <a:lnTo>
                      <a:pt x="868" y="1050"/>
                    </a:lnTo>
                    <a:lnTo>
                      <a:pt x="868" y="1052"/>
                    </a:lnTo>
                    <a:lnTo>
                      <a:pt x="866" y="1052"/>
                    </a:lnTo>
                    <a:lnTo>
                      <a:pt x="866" y="1054"/>
                    </a:lnTo>
                    <a:lnTo>
                      <a:pt x="864" y="1052"/>
                    </a:lnTo>
                    <a:lnTo>
                      <a:pt x="864" y="1054"/>
                    </a:lnTo>
                    <a:lnTo>
                      <a:pt x="860" y="1054"/>
                    </a:lnTo>
                    <a:lnTo>
                      <a:pt x="860" y="1056"/>
                    </a:lnTo>
                    <a:lnTo>
                      <a:pt x="862" y="1056"/>
                    </a:lnTo>
                    <a:lnTo>
                      <a:pt x="862" y="1058"/>
                    </a:lnTo>
                    <a:lnTo>
                      <a:pt x="864" y="1060"/>
                    </a:lnTo>
                    <a:lnTo>
                      <a:pt x="864" y="1062"/>
                    </a:lnTo>
                    <a:lnTo>
                      <a:pt x="866" y="1064"/>
                    </a:lnTo>
                    <a:lnTo>
                      <a:pt x="866" y="1065"/>
                    </a:lnTo>
                    <a:lnTo>
                      <a:pt x="868" y="1067"/>
                    </a:lnTo>
                    <a:lnTo>
                      <a:pt x="868" y="1069"/>
                    </a:lnTo>
                    <a:lnTo>
                      <a:pt x="868" y="1071"/>
                    </a:lnTo>
                    <a:lnTo>
                      <a:pt x="866" y="1069"/>
                    </a:lnTo>
                    <a:lnTo>
                      <a:pt x="866" y="1071"/>
                    </a:lnTo>
                    <a:lnTo>
                      <a:pt x="864" y="1071"/>
                    </a:lnTo>
                    <a:lnTo>
                      <a:pt x="864" y="1073"/>
                    </a:lnTo>
                    <a:lnTo>
                      <a:pt x="864" y="1075"/>
                    </a:lnTo>
                    <a:lnTo>
                      <a:pt x="864" y="1077"/>
                    </a:lnTo>
                    <a:lnTo>
                      <a:pt x="866" y="1077"/>
                    </a:lnTo>
                    <a:lnTo>
                      <a:pt x="864" y="1077"/>
                    </a:lnTo>
                    <a:lnTo>
                      <a:pt x="864" y="1079"/>
                    </a:lnTo>
                    <a:lnTo>
                      <a:pt x="866" y="1079"/>
                    </a:lnTo>
                    <a:lnTo>
                      <a:pt x="870" y="1081"/>
                    </a:lnTo>
                    <a:lnTo>
                      <a:pt x="872" y="1083"/>
                    </a:lnTo>
                    <a:lnTo>
                      <a:pt x="870" y="1083"/>
                    </a:lnTo>
                    <a:lnTo>
                      <a:pt x="870" y="1085"/>
                    </a:lnTo>
                    <a:lnTo>
                      <a:pt x="868" y="1085"/>
                    </a:lnTo>
                    <a:lnTo>
                      <a:pt x="868" y="1087"/>
                    </a:lnTo>
                    <a:lnTo>
                      <a:pt x="866" y="1085"/>
                    </a:lnTo>
                    <a:lnTo>
                      <a:pt x="864" y="1083"/>
                    </a:lnTo>
                    <a:lnTo>
                      <a:pt x="862" y="1083"/>
                    </a:lnTo>
                    <a:lnTo>
                      <a:pt x="860" y="1081"/>
                    </a:lnTo>
                    <a:lnTo>
                      <a:pt x="858" y="1081"/>
                    </a:lnTo>
                    <a:lnTo>
                      <a:pt x="858" y="1083"/>
                    </a:lnTo>
                    <a:lnTo>
                      <a:pt x="858" y="1081"/>
                    </a:lnTo>
                    <a:lnTo>
                      <a:pt x="857" y="1081"/>
                    </a:lnTo>
                    <a:lnTo>
                      <a:pt x="855" y="1079"/>
                    </a:lnTo>
                    <a:lnTo>
                      <a:pt x="855" y="1081"/>
                    </a:lnTo>
                    <a:lnTo>
                      <a:pt x="853" y="1081"/>
                    </a:lnTo>
                    <a:lnTo>
                      <a:pt x="851" y="1081"/>
                    </a:lnTo>
                    <a:lnTo>
                      <a:pt x="849" y="1083"/>
                    </a:lnTo>
                    <a:lnTo>
                      <a:pt x="849" y="1085"/>
                    </a:lnTo>
                    <a:lnTo>
                      <a:pt x="851" y="1085"/>
                    </a:lnTo>
                    <a:lnTo>
                      <a:pt x="853" y="1087"/>
                    </a:lnTo>
                    <a:lnTo>
                      <a:pt x="855" y="1089"/>
                    </a:lnTo>
                    <a:lnTo>
                      <a:pt x="857" y="1089"/>
                    </a:lnTo>
                    <a:lnTo>
                      <a:pt x="857" y="1090"/>
                    </a:lnTo>
                    <a:lnTo>
                      <a:pt x="855" y="1090"/>
                    </a:lnTo>
                    <a:lnTo>
                      <a:pt x="857" y="1092"/>
                    </a:lnTo>
                    <a:lnTo>
                      <a:pt x="858" y="1092"/>
                    </a:lnTo>
                    <a:lnTo>
                      <a:pt x="860" y="1094"/>
                    </a:lnTo>
                    <a:lnTo>
                      <a:pt x="860" y="1096"/>
                    </a:lnTo>
                    <a:lnTo>
                      <a:pt x="864" y="1096"/>
                    </a:lnTo>
                    <a:lnTo>
                      <a:pt x="864" y="1094"/>
                    </a:lnTo>
                    <a:lnTo>
                      <a:pt x="864" y="1096"/>
                    </a:lnTo>
                    <a:lnTo>
                      <a:pt x="864" y="1098"/>
                    </a:lnTo>
                    <a:lnTo>
                      <a:pt x="864" y="1100"/>
                    </a:lnTo>
                    <a:lnTo>
                      <a:pt x="866" y="1100"/>
                    </a:lnTo>
                    <a:lnTo>
                      <a:pt x="868" y="1100"/>
                    </a:lnTo>
                    <a:lnTo>
                      <a:pt x="870" y="1100"/>
                    </a:lnTo>
                    <a:lnTo>
                      <a:pt x="870" y="1102"/>
                    </a:lnTo>
                    <a:lnTo>
                      <a:pt x="872" y="1102"/>
                    </a:lnTo>
                    <a:lnTo>
                      <a:pt x="876" y="1104"/>
                    </a:lnTo>
                    <a:lnTo>
                      <a:pt x="878" y="1106"/>
                    </a:lnTo>
                    <a:lnTo>
                      <a:pt x="878" y="1108"/>
                    </a:lnTo>
                    <a:lnTo>
                      <a:pt x="880" y="1108"/>
                    </a:lnTo>
                    <a:lnTo>
                      <a:pt x="878" y="1110"/>
                    </a:lnTo>
                    <a:lnTo>
                      <a:pt x="878" y="1112"/>
                    </a:lnTo>
                    <a:lnTo>
                      <a:pt x="878" y="1114"/>
                    </a:lnTo>
                    <a:lnTo>
                      <a:pt x="876" y="1114"/>
                    </a:lnTo>
                    <a:lnTo>
                      <a:pt x="874" y="1114"/>
                    </a:lnTo>
                    <a:lnTo>
                      <a:pt x="874" y="1115"/>
                    </a:lnTo>
                    <a:lnTo>
                      <a:pt x="872" y="1117"/>
                    </a:lnTo>
                    <a:lnTo>
                      <a:pt x="872" y="1119"/>
                    </a:lnTo>
                    <a:lnTo>
                      <a:pt x="874" y="1121"/>
                    </a:lnTo>
                    <a:lnTo>
                      <a:pt x="874" y="1123"/>
                    </a:lnTo>
                    <a:lnTo>
                      <a:pt x="872" y="1125"/>
                    </a:lnTo>
                    <a:lnTo>
                      <a:pt x="872" y="1127"/>
                    </a:lnTo>
                    <a:lnTo>
                      <a:pt x="872" y="1129"/>
                    </a:lnTo>
                    <a:lnTo>
                      <a:pt x="872" y="1131"/>
                    </a:lnTo>
                    <a:lnTo>
                      <a:pt x="872" y="1133"/>
                    </a:lnTo>
                    <a:lnTo>
                      <a:pt x="874" y="1135"/>
                    </a:lnTo>
                    <a:lnTo>
                      <a:pt x="876" y="1137"/>
                    </a:lnTo>
                    <a:lnTo>
                      <a:pt x="874" y="1137"/>
                    </a:lnTo>
                    <a:lnTo>
                      <a:pt x="874" y="1139"/>
                    </a:lnTo>
                    <a:lnTo>
                      <a:pt x="874" y="1140"/>
                    </a:lnTo>
                    <a:lnTo>
                      <a:pt x="872" y="1140"/>
                    </a:lnTo>
                    <a:lnTo>
                      <a:pt x="870" y="1140"/>
                    </a:lnTo>
                    <a:lnTo>
                      <a:pt x="870" y="1142"/>
                    </a:lnTo>
                    <a:lnTo>
                      <a:pt x="868" y="1142"/>
                    </a:lnTo>
                    <a:lnTo>
                      <a:pt x="866" y="1142"/>
                    </a:lnTo>
                    <a:lnTo>
                      <a:pt x="866" y="1140"/>
                    </a:lnTo>
                    <a:lnTo>
                      <a:pt x="864" y="1140"/>
                    </a:lnTo>
                    <a:lnTo>
                      <a:pt x="864" y="1142"/>
                    </a:lnTo>
                    <a:lnTo>
                      <a:pt x="864" y="1144"/>
                    </a:lnTo>
                    <a:lnTo>
                      <a:pt x="862" y="1144"/>
                    </a:lnTo>
                    <a:lnTo>
                      <a:pt x="862" y="1146"/>
                    </a:lnTo>
                    <a:lnTo>
                      <a:pt x="860" y="1146"/>
                    </a:lnTo>
                    <a:lnTo>
                      <a:pt x="862" y="1146"/>
                    </a:lnTo>
                    <a:lnTo>
                      <a:pt x="862" y="1148"/>
                    </a:lnTo>
                    <a:lnTo>
                      <a:pt x="864" y="1148"/>
                    </a:lnTo>
                    <a:lnTo>
                      <a:pt x="866" y="1150"/>
                    </a:lnTo>
                    <a:lnTo>
                      <a:pt x="864" y="1150"/>
                    </a:lnTo>
                    <a:lnTo>
                      <a:pt x="866" y="1150"/>
                    </a:lnTo>
                    <a:lnTo>
                      <a:pt x="866" y="1148"/>
                    </a:lnTo>
                    <a:lnTo>
                      <a:pt x="868" y="1148"/>
                    </a:lnTo>
                    <a:lnTo>
                      <a:pt x="870" y="1148"/>
                    </a:lnTo>
                    <a:lnTo>
                      <a:pt x="870" y="1150"/>
                    </a:lnTo>
                    <a:lnTo>
                      <a:pt x="872" y="1150"/>
                    </a:lnTo>
                    <a:lnTo>
                      <a:pt x="874" y="1150"/>
                    </a:lnTo>
                    <a:lnTo>
                      <a:pt x="874" y="1152"/>
                    </a:lnTo>
                    <a:lnTo>
                      <a:pt x="876" y="1152"/>
                    </a:lnTo>
                    <a:lnTo>
                      <a:pt x="876" y="1150"/>
                    </a:lnTo>
                    <a:lnTo>
                      <a:pt x="876" y="1152"/>
                    </a:lnTo>
                    <a:lnTo>
                      <a:pt x="878" y="1152"/>
                    </a:lnTo>
                    <a:lnTo>
                      <a:pt x="876" y="1152"/>
                    </a:lnTo>
                    <a:lnTo>
                      <a:pt x="876" y="1154"/>
                    </a:lnTo>
                    <a:lnTo>
                      <a:pt x="878" y="1154"/>
                    </a:lnTo>
                    <a:lnTo>
                      <a:pt x="878" y="1156"/>
                    </a:lnTo>
                    <a:lnTo>
                      <a:pt x="880" y="1156"/>
                    </a:lnTo>
                    <a:lnTo>
                      <a:pt x="882" y="1158"/>
                    </a:lnTo>
                    <a:lnTo>
                      <a:pt x="883" y="1158"/>
                    </a:lnTo>
                    <a:lnTo>
                      <a:pt x="883" y="1160"/>
                    </a:lnTo>
                    <a:lnTo>
                      <a:pt x="885" y="1160"/>
                    </a:lnTo>
                    <a:lnTo>
                      <a:pt x="885" y="1162"/>
                    </a:lnTo>
                    <a:lnTo>
                      <a:pt x="887" y="1162"/>
                    </a:lnTo>
                    <a:lnTo>
                      <a:pt x="887" y="1164"/>
                    </a:lnTo>
                    <a:lnTo>
                      <a:pt x="887" y="1162"/>
                    </a:lnTo>
                    <a:lnTo>
                      <a:pt x="887" y="1164"/>
                    </a:lnTo>
                    <a:lnTo>
                      <a:pt x="889" y="1164"/>
                    </a:lnTo>
                    <a:lnTo>
                      <a:pt x="891" y="1164"/>
                    </a:lnTo>
                    <a:lnTo>
                      <a:pt x="891" y="1165"/>
                    </a:lnTo>
                    <a:lnTo>
                      <a:pt x="893" y="1165"/>
                    </a:lnTo>
                    <a:lnTo>
                      <a:pt x="893" y="1167"/>
                    </a:lnTo>
                    <a:lnTo>
                      <a:pt x="893" y="1169"/>
                    </a:lnTo>
                    <a:lnTo>
                      <a:pt x="895" y="1169"/>
                    </a:lnTo>
                    <a:lnTo>
                      <a:pt x="895" y="1171"/>
                    </a:lnTo>
                    <a:lnTo>
                      <a:pt x="893" y="1171"/>
                    </a:lnTo>
                    <a:lnTo>
                      <a:pt x="895" y="1171"/>
                    </a:lnTo>
                    <a:lnTo>
                      <a:pt x="895" y="1173"/>
                    </a:lnTo>
                    <a:lnTo>
                      <a:pt x="893" y="1173"/>
                    </a:lnTo>
                    <a:lnTo>
                      <a:pt x="895" y="1173"/>
                    </a:lnTo>
                    <a:lnTo>
                      <a:pt x="893" y="1173"/>
                    </a:lnTo>
                    <a:lnTo>
                      <a:pt x="893" y="1175"/>
                    </a:lnTo>
                    <a:lnTo>
                      <a:pt x="893" y="1177"/>
                    </a:lnTo>
                    <a:lnTo>
                      <a:pt x="893" y="1179"/>
                    </a:lnTo>
                    <a:lnTo>
                      <a:pt x="893" y="1181"/>
                    </a:lnTo>
                    <a:lnTo>
                      <a:pt x="895" y="1179"/>
                    </a:lnTo>
                    <a:lnTo>
                      <a:pt x="895" y="1181"/>
                    </a:lnTo>
                    <a:lnTo>
                      <a:pt x="895" y="1183"/>
                    </a:lnTo>
                    <a:lnTo>
                      <a:pt x="895" y="1185"/>
                    </a:lnTo>
                    <a:lnTo>
                      <a:pt x="897" y="1185"/>
                    </a:lnTo>
                    <a:lnTo>
                      <a:pt x="897" y="1187"/>
                    </a:lnTo>
                    <a:lnTo>
                      <a:pt x="899" y="1187"/>
                    </a:lnTo>
                    <a:lnTo>
                      <a:pt x="899" y="1189"/>
                    </a:lnTo>
                    <a:lnTo>
                      <a:pt x="897" y="1189"/>
                    </a:lnTo>
                    <a:lnTo>
                      <a:pt x="897" y="1190"/>
                    </a:lnTo>
                    <a:lnTo>
                      <a:pt x="895" y="1190"/>
                    </a:lnTo>
                    <a:lnTo>
                      <a:pt x="895" y="1189"/>
                    </a:lnTo>
                    <a:lnTo>
                      <a:pt x="895" y="1187"/>
                    </a:lnTo>
                    <a:lnTo>
                      <a:pt x="893" y="1187"/>
                    </a:lnTo>
                    <a:lnTo>
                      <a:pt x="893" y="1185"/>
                    </a:lnTo>
                    <a:lnTo>
                      <a:pt x="891" y="1185"/>
                    </a:lnTo>
                    <a:lnTo>
                      <a:pt x="891" y="1187"/>
                    </a:lnTo>
                    <a:lnTo>
                      <a:pt x="891" y="1185"/>
                    </a:lnTo>
                    <a:lnTo>
                      <a:pt x="889" y="1185"/>
                    </a:lnTo>
                    <a:lnTo>
                      <a:pt x="889" y="1187"/>
                    </a:lnTo>
                    <a:lnTo>
                      <a:pt x="889" y="1189"/>
                    </a:lnTo>
                    <a:lnTo>
                      <a:pt x="889" y="1190"/>
                    </a:lnTo>
                    <a:lnTo>
                      <a:pt x="889" y="1192"/>
                    </a:lnTo>
                    <a:lnTo>
                      <a:pt x="891" y="1192"/>
                    </a:lnTo>
                    <a:lnTo>
                      <a:pt x="891" y="1194"/>
                    </a:lnTo>
                    <a:lnTo>
                      <a:pt x="889" y="1194"/>
                    </a:lnTo>
                    <a:lnTo>
                      <a:pt x="889" y="1192"/>
                    </a:lnTo>
                    <a:lnTo>
                      <a:pt x="889" y="1194"/>
                    </a:lnTo>
                    <a:lnTo>
                      <a:pt x="889" y="1192"/>
                    </a:lnTo>
                    <a:lnTo>
                      <a:pt x="887" y="1192"/>
                    </a:lnTo>
                    <a:lnTo>
                      <a:pt x="887" y="1190"/>
                    </a:lnTo>
                    <a:lnTo>
                      <a:pt x="885" y="1190"/>
                    </a:lnTo>
                    <a:lnTo>
                      <a:pt x="883" y="1190"/>
                    </a:lnTo>
                    <a:lnTo>
                      <a:pt x="883" y="1192"/>
                    </a:lnTo>
                    <a:lnTo>
                      <a:pt x="882" y="1192"/>
                    </a:lnTo>
                    <a:lnTo>
                      <a:pt x="883" y="1192"/>
                    </a:lnTo>
                    <a:lnTo>
                      <a:pt x="883" y="1194"/>
                    </a:lnTo>
                    <a:lnTo>
                      <a:pt x="882" y="1194"/>
                    </a:lnTo>
                    <a:lnTo>
                      <a:pt x="883" y="1194"/>
                    </a:lnTo>
                    <a:lnTo>
                      <a:pt x="882" y="1194"/>
                    </a:lnTo>
                    <a:lnTo>
                      <a:pt x="882" y="1196"/>
                    </a:lnTo>
                    <a:lnTo>
                      <a:pt x="882" y="1194"/>
                    </a:lnTo>
                    <a:lnTo>
                      <a:pt x="883" y="1194"/>
                    </a:lnTo>
                    <a:lnTo>
                      <a:pt x="883" y="1196"/>
                    </a:lnTo>
                    <a:lnTo>
                      <a:pt x="882" y="1196"/>
                    </a:lnTo>
                    <a:lnTo>
                      <a:pt x="883" y="1196"/>
                    </a:lnTo>
                    <a:lnTo>
                      <a:pt x="882" y="1196"/>
                    </a:lnTo>
                    <a:lnTo>
                      <a:pt x="883" y="1198"/>
                    </a:lnTo>
                    <a:lnTo>
                      <a:pt x="882" y="1198"/>
                    </a:lnTo>
                    <a:lnTo>
                      <a:pt x="883" y="1198"/>
                    </a:lnTo>
                    <a:lnTo>
                      <a:pt x="882" y="1198"/>
                    </a:lnTo>
                    <a:lnTo>
                      <a:pt x="882" y="1200"/>
                    </a:lnTo>
                    <a:lnTo>
                      <a:pt x="882" y="1202"/>
                    </a:lnTo>
                    <a:lnTo>
                      <a:pt x="883" y="1202"/>
                    </a:lnTo>
                    <a:lnTo>
                      <a:pt x="883" y="1204"/>
                    </a:lnTo>
                    <a:lnTo>
                      <a:pt x="883" y="1206"/>
                    </a:lnTo>
                    <a:lnTo>
                      <a:pt x="885" y="1204"/>
                    </a:lnTo>
                    <a:lnTo>
                      <a:pt x="885" y="1206"/>
                    </a:lnTo>
                    <a:lnTo>
                      <a:pt x="885" y="1208"/>
                    </a:lnTo>
                    <a:lnTo>
                      <a:pt x="885" y="1210"/>
                    </a:lnTo>
                    <a:lnTo>
                      <a:pt x="885" y="1212"/>
                    </a:lnTo>
                    <a:lnTo>
                      <a:pt x="885" y="1214"/>
                    </a:lnTo>
                    <a:lnTo>
                      <a:pt x="885" y="1215"/>
                    </a:lnTo>
                    <a:lnTo>
                      <a:pt x="883" y="1215"/>
                    </a:lnTo>
                    <a:lnTo>
                      <a:pt x="883" y="1217"/>
                    </a:lnTo>
                    <a:lnTo>
                      <a:pt x="883" y="1219"/>
                    </a:lnTo>
                    <a:lnTo>
                      <a:pt x="885" y="1219"/>
                    </a:lnTo>
                    <a:lnTo>
                      <a:pt x="885" y="1221"/>
                    </a:lnTo>
                    <a:lnTo>
                      <a:pt x="885" y="1223"/>
                    </a:lnTo>
                    <a:lnTo>
                      <a:pt x="885" y="1225"/>
                    </a:lnTo>
                    <a:lnTo>
                      <a:pt x="885" y="1227"/>
                    </a:lnTo>
                    <a:lnTo>
                      <a:pt x="885" y="1229"/>
                    </a:lnTo>
                    <a:lnTo>
                      <a:pt x="887" y="1229"/>
                    </a:lnTo>
                    <a:lnTo>
                      <a:pt x="887" y="1231"/>
                    </a:lnTo>
                    <a:lnTo>
                      <a:pt x="889" y="1231"/>
                    </a:lnTo>
                    <a:lnTo>
                      <a:pt x="889" y="1233"/>
                    </a:lnTo>
                    <a:lnTo>
                      <a:pt x="887" y="1235"/>
                    </a:lnTo>
                    <a:lnTo>
                      <a:pt x="887" y="1237"/>
                    </a:lnTo>
                    <a:lnTo>
                      <a:pt x="889" y="1238"/>
                    </a:lnTo>
                    <a:lnTo>
                      <a:pt x="891" y="1240"/>
                    </a:lnTo>
                    <a:lnTo>
                      <a:pt x="893" y="1240"/>
                    </a:lnTo>
                    <a:lnTo>
                      <a:pt x="893" y="1242"/>
                    </a:lnTo>
                    <a:lnTo>
                      <a:pt x="893" y="1244"/>
                    </a:lnTo>
                    <a:lnTo>
                      <a:pt x="895" y="1246"/>
                    </a:lnTo>
                    <a:lnTo>
                      <a:pt x="893" y="1246"/>
                    </a:lnTo>
                    <a:lnTo>
                      <a:pt x="891" y="1246"/>
                    </a:lnTo>
                    <a:lnTo>
                      <a:pt x="889" y="1246"/>
                    </a:lnTo>
                    <a:lnTo>
                      <a:pt x="887" y="1246"/>
                    </a:lnTo>
                    <a:lnTo>
                      <a:pt x="885" y="1246"/>
                    </a:lnTo>
                    <a:lnTo>
                      <a:pt x="885" y="1248"/>
                    </a:lnTo>
                    <a:lnTo>
                      <a:pt x="883" y="1248"/>
                    </a:lnTo>
                    <a:lnTo>
                      <a:pt x="883" y="1246"/>
                    </a:lnTo>
                    <a:lnTo>
                      <a:pt x="882" y="1246"/>
                    </a:lnTo>
                    <a:lnTo>
                      <a:pt x="882" y="1248"/>
                    </a:lnTo>
                    <a:lnTo>
                      <a:pt x="882" y="1250"/>
                    </a:lnTo>
                    <a:lnTo>
                      <a:pt x="880" y="1250"/>
                    </a:lnTo>
                    <a:lnTo>
                      <a:pt x="880" y="1252"/>
                    </a:lnTo>
                    <a:lnTo>
                      <a:pt x="878" y="1250"/>
                    </a:lnTo>
                    <a:lnTo>
                      <a:pt x="878" y="1252"/>
                    </a:lnTo>
                    <a:lnTo>
                      <a:pt x="878" y="1250"/>
                    </a:lnTo>
                    <a:lnTo>
                      <a:pt x="876" y="1250"/>
                    </a:lnTo>
                    <a:lnTo>
                      <a:pt x="876" y="1252"/>
                    </a:lnTo>
                    <a:lnTo>
                      <a:pt x="876" y="1250"/>
                    </a:lnTo>
                    <a:lnTo>
                      <a:pt x="876" y="1252"/>
                    </a:lnTo>
                    <a:lnTo>
                      <a:pt x="874" y="1252"/>
                    </a:lnTo>
                    <a:lnTo>
                      <a:pt x="872" y="1252"/>
                    </a:lnTo>
                    <a:lnTo>
                      <a:pt x="872" y="1254"/>
                    </a:lnTo>
                    <a:lnTo>
                      <a:pt x="870" y="1254"/>
                    </a:lnTo>
                    <a:lnTo>
                      <a:pt x="870" y="1256"/>
                    </a:lnTo>
                    <a:lnTo>
                      <a:pt x="868" y="1256"/>
                    </a:lnTo>
                    <a:lnTo>
                      <a:pt x="866" y="1258"/>
                    </a:lnTo>
                    <a:lnTo>
                      <a:pt x="864" y="1258"/>
                    </a:lnTo>
                    <a:lnTo>
                      <a:pt x="864" y="1256"/>
                    </a:lnTo>
                    <a:lnTo>
                      <a:pt x="862" y="1256"/>
                    </a:lnTo>
                    <a:lnTo>
                      <a:pt x="862" y="1254"/>
                    </a:lnTo>
                    <a:lnTo>
                      <a:pt x="860" y="1254"/>
                    </a:lnTo>
                    <a:lnTo>
                      <a:pt x="860" y="1256"/>
                    </a:lnTo>
                    <a:lnTo>
                      <a:pt x="860" y="1258"/>
                    </a:lnTo>
                    <a:lnTo>
                      <a:pt x="858" y="1258"/>
                    </a:lnTo>
                    <a:lnTo>
                      <a:pt x="857" y="1256"/>
                    </a:lnTo>
                    <a:lnTo>
                      <a:pt x="855" y="1256"/>
                    </a:lnTo>
                    <a:lnTo>
                      <a:pt x="855" y="1258"/>
                    </a:lnTo>
                    <a:lnTo>
                      <a:pt x="853" y="1258"/>
                    </a:lnTo>
                    <a:lnTo>
                      <a:pt x="851" y="1258"/>
                    </a:lnTo>
                    <a:lnTo>
                      <a:pt x="851" y="1260"/>
                    </a:lnTo>
                    <a:lnTo>
                      <a:pt x="849" y="1260"/>
                    </a:lnTo>
                    <a:lnTo>
                      <a:pt x="847" y="1260"/>
                    </a:lnTo>
                    <a:lnTo>
                      <a:pt x="847" y="1262"/>
                    </a:lnTo>
                    <a:lnTo>
                      <a:pt x="847" y="1263"/>
                    </a:lnTo>
                    <a:lnTo>
                      <a:pt x="845" y="1263"/>
                    </a:lnTo>
                    <a:lnTo>
                      <a:pt x="845" y="1265"/>
                    </a:lnTo>
                    <a:lnTo>
                      <a:pt x="843" y="1263"/>
                    </a:lnTo>
                    <a:lnTo>
                      <a:pt x="843" y="1265"/>
                    </a:lnTo>
                    <a:lnTo>
                      <a:pt x="841" y="1265"/>
                    </a:lnTo>
                    <a:lnTo>
                      <a:pt x="841" y="1263"/>
                    </a:lnTo>
                    <a:lnTo>
                      <a:pt x="841" y="1265"/>
                    </a:lnTo>
                    <a:lnTo>
                      <a:pt x="839" y="1267"/>
                    </a:lnTo>
                    <a:lnTo>
                      <a:pt x="837" y="1267"/>
                    </a:lnTo>
                    <a:lnTo>
                      <a:pt x="837" y="1269"/>
                    </a:lnTo>
                    <a:lnTo>
                      <a:pt x="835" y="1269"/>
                    </a:lnTo>
                    <a:lnTo>
                      <a:pt x="835" y="1271"/>
                    </a:lnTo>
                    <a:lnTo>
                      <a:pt x="837" y="1271"/>
                    </a:lnTo>
                    <a:lnTo>
                      <a:pt x="837" y="1273"/>
                    </a:lnTo>
                    <a:lnTo>
                      <a:pt x="839" y="1273"/>
                    </a:lnTo>
                    <a:lnTo>
                      <a:pt x="839" y="1275"/>
                    </a:lnTo>
                    <a:lnTo>
                      <a:pt x="839" y="1277"/>
                    </a:lnTo>
                    <a:lnTo>
                      <a:pt x="841" y="1277"/>
                    </a:lnTo>
                    <a:lnTo>
                      <a:pt x="841" y="1279"/>
                    </a:lnTo>
                    <a:lnTo>
                      <a:pt x="841" y="1281"/>
                    </a:lnTo>
                    <a:lnTo>
                      <a:pt x="839" y="1283"/>
                    </a:lnTo>
                    <a:lnTo>
                      <a:pt x="837" y="1283"/>
                    </a:lnTo>
                    <a:lnTo>
                      <a:pt x="835" y="1283"/>
                    </a:lnTo>
                    <a:lnTo>
                      <a:pt x="833" y="1285"/>
                    </a:lnTo>
                    <a:lnTo>
                      <a:pt x="833" y="1283"/>
                    </a:lnTo>
                    <a:lnTo>
                      <a:pt x="833" y="1285"/>
                    </a:lnTo>
                    <a:lnTo>
                      <a:pt x="832" y="1285"/>
                    </a:lnTo>
                    <a:lnTo>
                      <a:pt x="830" y="1285"/>
                    </a:lnTo>
                    <a:lnTo>
                      <a:pt x="828" y="1285"/>
                    </a:lnTo>
                    <a:lnTo>
                      <a:pt x="828" y="1283"/>
                    </a:lnTo>
                    <a:lnTo>
                      <a:pt x="826" y="1283"/>
                    </a:lnTo>
                    <a:lnTo>
                      <a:pt x="824" y="1283"/>
                    </a:lnTo>
                    <a:lnTo>
                      <a:pt x="824" y="1285"/>
                    </a:lnTo>
                    <a:lnTo>
                      <a:pt x="822" y="1283"/>
                    </a:lnTo>
                    <a:lnTo>
                      <a:pt x="820" y="1283"/>
                    </a:lnTo>
                    <a:lnTo>
                      <a:pt x="818" y="1281"/>
                    </a:lnTo>
                    <a:lnTo>
                      <a:pt x="816" y="1281"/>
                    </a:lnTo>
                    <a:lnTo>
                      <a:pt x="814" y="1281"/>
                    </a:lnTo>
                    <a:lnTo>
                      <a:pt x="814" y="1279"/>
                    </a:lnTo>
                    <a:lnTo>
                      <a:pt x="812" y="1279"/>
                    </a:lnTo>
                    <a:lnTo>
                      <a:pt x="812" y="1277"/>
                    </a:lnTo>
                    <a:lnTo>
                      <a:pt x="812" y="1279"/>
                    </a:lnTo>
                    <a:lnTo>
                      <a:pt x="810" y="1279"/>
                    </a:lnTo>
                    <a:lnTo>
                      <a:pt x="809" y="1279"/>
                    </a:lnTo>
                    <a:lnTo>
                      <a:pt x="807" y="1279"/>
                    </a:lnTo>
                    <a:lnTo>
                      <a:pt x="807" y="1281"/>
                    </a:lnTo>
                    <a:lnTo>
                      <a:pt x="805" y="1281"/>
                    </a:lnTo>
                    <a:lnTo>
                      <a:pt x="803" y="1281"/>
                    </a:lnTo>
                    <a:lnTo>
                      <a:pt x="803" y="1283"/>
                    </a:lnTo>
                    <a:lnTo>
                      <a:pt x="801" y="1285"/>
                    </a:lnTo>
                    <a:lnTo>
                      <a:pt x="799" y="1285"/>
                    </a:lnTo>
                    <a:lnTo>
                      <a:pt x="797" y="1285"/>
                    </a:lnTo>
                    <a:lnTo>
                      <a:pt x="797" y="1283"/>
                    </a:lnTo>
                    <a:lnTo>
                      <a:pt x="795" y="1283"/>
                    </a:lnTo>
                    <a:lnTo>
                      <a:pt x="793" y="1281"/>
                    </a:lnTo>
                    <a:lnTo>
                      <a:pt x="793" y="1283"/>
                    </a:lnTo>
                    <a:lnTo>
                      <a:pt x="791" y="1283"/>
                    </a:lnTo>
                    <a:lnTo>
                      <a:pt x="791" y="1285"/>
                    </a:lnTo>
                    <a:lnTo>
                      <a:pt x="791" y="1287"/>
                    </a:lnTo>
                    <a:lnTo>
                      <a:pt x="789" y="1288"/>
                    </a:lnTo>
                    <a:lnTo>
                      <a:pt x="791" y="1290"/>
                    </a:lnTo>
                    <a:lnTo>
                      <a:pt x="793" y="1290"/>
                    </a:lnTo>
                    <a:lnTo>
                      <a:pt x="793" y="1292"/>
                    </a:lnTo>
                    <a:lnTo>
                      <a:pt x="791" y="1292"/>
                    </a:lnTo>
                    <a:lnTo>
                      <a:pt x="789" y="1292"/>
                    </a:lnTo>
                    <a:lnTo>
                      <a:pt x="789" y="1294"/>
                    </a:lnTo>
                    <a:lnTo>
                      <a:pt x="787" y="1294"/>
                    </a:lnTo>
                    <a:lnTo>
                      <a:pt x="785" y="1292"/>
                    </a:lnTo>
                    <a:lnTo>
                      <a:pt x="784" y="1292"/>
                    </a:lnTo>
                    <a:lnTo>
                      <a:pt x="784" y="1290"/>
                    </a:lnTo>
                    <a:lnTo>
                      <a:pt x="782" y="1290"/>
                    </a:lnTo>
                    <a:lnTo>
                      <a:pt x="782" y="1288"/>
                    </a:lnTo>
                    <a:lnTo>
                      <a:pt x="780" y="1290"/>
                    </a:lnTo>
                    <a:lnTo>
                      <a:pt x="778" y="1288"/>
                    </a:lnTo>
                    <a:lnTo>
                      <a:pt x="776" y="1288"/>
                    </a:lnTo>
                    <a:lnTo>
                      <a:pt x="776" y="1290"/>
                    </a:lnTo>
                    <a:lnTo>
                      <a:pt x="774" y="1290"/>
                    </a:lnTo>
                    <a:lnTo>
                      <a:pt x="772" y="1290"/>
                    </a:lnTo>
                    <a:lnTo>
                      <a:pt x="770" y="1290"/>
                    </a:lnTo>
                    <a:lnTo>
                      <a:pt x="770" y="1292"/>
                    </a:lnTo>
                    <a:lnTo>
                      <a:pt x="768" y="1292"/>
                    </a:lnTo>
                    <a:lnTo>
                      <a:pt x="770" y="1294"/>
                    </a:lnTo>
                    <a:lnTo>
                      <a:pt x="770" y="1296"/>
                    </a:lnTo>
                    <a:lnTo>
                      <a:pt x="768" y="1298"/>
                    </a:lnTo>
                    <a:lnTo>
                      <a:pt x="766" y="1298"/>
                    </a:lnTo>
                    <a:lnTo>
                      <a:pt x="766" y="1300"/>
                    </a:lnTo>
                    <a:lnTo>
                      <a:pt x="764" y="1300"/>
                    </a:lnTo>
                    <a:lnTo>
                      <a:pt x="762" y="1298"/>
                    </a:lnTo>
                    <a:lnTo>
                      <a:pt x="762" y="1296"/>
                    </a:lnTo>
                    <a:lnTo>
                      <a:pt x="760" y="1298"/>
                    </a:lnTo>
                    <a:lnTo>
                      <a:pt x="759" y="1300"/>
                    </a:lnTo>
                    <a:lnTo>
                      <a:pt x="759" y="1302"/>
                    </a:lnTo>
                    <a:lnTo>
                      <a:pt x="759" y="1304"/>
                    </a:lnTo>
                    <a:lnTo>
                      <a:pt x="759" y="1306"/>
                    </a:lnTo>
                    <a:lnTo>
                      <a:pt x="757" y="1306"/>
                    </a:lnTo>
                    <a:lnTo>
                      <a:pt x="755" y="1306"/>
                    </a:lnTo>
                    <a:lnTo>
                      <a:pt x="755" y="1304"/>
                    </a:lnTo>
                    <a:lnTo>
                      <a:pt x="753" y="1304"/>
                    </a:lnTo>
                    <a:lnTo>
                      <a:pt x="753" y="1306"/>
                    </a:lnTo>
                    <a:lnTo>
                      <a:pt x="751" y="1304"/>
                    </a:lnTo>
                    <a:lnTo>
                      <a:pt x="751" y="1306"/>
                    </a:lnTo>
                    <a:lnTo>
                      <a:pt x="749" y="1306"/>
                    </a:lnTo>
                    <a:lnTo>
                      <a:pt x="747" y="1306"/>
                    </a:lnTo>
                    <a:lnTo>
                      <a:pt x="747" y="1308"/>
                    </a:lnTo>
                    <a:lnTo>
                      <a:pt x="745" y="1308"/>
                    </a:lnTo>
                    <a:lnTo>
                      <a:pt x="743" y="1306"/>
                    </a:lnTo>
                    <a:lnTo>
                      <a:pt x="743" y="1304"/>
                    </a:lnTo>
                    <a:lnTo>
                      <a:pt x="745" y="1304"/>
                    </a:lnTo>
                    <a:lnTo>
                      <a:pt x="745" y="1302"/>
                    </a:lnTo>
                    <a:lnTo>
                      <a:pt x="743" y="1302"/>
                    </a:lnTo>
                    <a:lnTo>
                      <a:pt x="741" y="1302"/>
                    </a:lnTo>
                    <a:lnTo>
                      <a:pt x="741" y="1300"/>
                    </a:lnTo>
                    <a:lnTo>
                      <a:pt x="743" y="1300"/>
                    </a:lnTo>
                    <a:lnTo>
                      <a:pt x="741" y="1300"/>
                    </a:lnTo>
                    <a:lnTo>
                      <a:pt x="739" y="1300"/>
                    </a:lnTo>
                    <a:lnTo>
                      <a:pt x="739" y="1298"/>
                    </a:lnTo>
                    <a:lnTo>
                      <a:pt x="737" y="1298"/>
                    </a:lnTo>
                    <a:lnTo>
                      <a:pt x="736" y="1296"/>
                    </a:lnTo>
                    <a:lnTo>
                      <a:pt x="732" y="1296"/>
                    </a:lnTo>
                    <a:lnTo>
                      <a:pt x="732" y="1298"/>
                    </a:lnTo>
                    <a:lnTo>
                      <a:pt x="730" y="1298"/>
                    </a:lnTo>
                    <a:lnTo>
                      <a:pt x="728" y="1298"/>
                    </a:lnTo>
                    <a:lnTo>
                      <a:pt x="728" y="1300"/>
                    </a:lnTo>
                    <a:lnTo>
                      <a:pt x="726" y="1300"/>
                    </a:lnTo>
                    <a:lnTo>
                      <a:pt x="726" y="1302"/>
                    </a:lnTo>
                    <a:lnTo>
                      <a:pt x="726" y="1304"/>
                    </a:lnTo>
                    <a:lnTo>
                      <a:pt x="724" y="1304"/>
                    </a:lnTo>
                    <a:lnTo>
                      <a:pt x="722" y="1302"/>
                    </a:lnTo>
                    <a:lnTo>
                      <a:pt x="722" y="1300"/>
                    </a:lnTo>
                    <a:lnTo>
                      <a:pt x="720" y="1300"/>
                    </a:lnTo>
                    <a:lnTo>
                      <a:pt x="720" y="1298"/>
                    </a:lnTo>
                    <a:lnTo>
                      <a:pt x="718" y="1296"/>
                    </a:lnTo>
                    <a:lnTo>
                      <a:pt x="716" y="1296"/>
                    </a:lnTo>
                    <a:lnTo>
                      <a:pt x="714" y="1296"/>
                    </a:lnTo>
                    <a:lnTo>
                      <a:pt x="712" y="1296"/>
                    </a:lnTo>
                    <a:lnTo>
                      <a:pt x="711" y="1296"/>
                    </a:lnTo>
                    <a:lnTo>
                      <a:pt x="709" y="1298"/>
                    </a:lnTo>
                    <a:lnTo>
                      <a:pt x="707" y="1300"/>
                    </a:lnTo>
                    <a:lnTo>
                      <a:pt x="705" y="1300"/>
                    </a:lnTo>
                    <a:lnTo>
                      <a:pt x="705" y="1302"/>
                    </a:lnTo>
                    <a:lnTo>
                      <a:pt x="703" y="1304"/>
                    </a:lnTo>
                    <a:lnTo>
                      <a:pt x="701" y="1302"/>
                    </a:lnTo>
                    <a:lnTo>
                      <a:pt x="699" y="1302"/>
                    </a:lnTo>
                    <a:lnTo>
                      <a:pt x="697" y="1302"/>
                    </a:lnTo>
                    <a:lnTo>
                      <a:pt x="695" y="1300"/>
                    </a:lnTo>
                    <a:lnTo>
                      <a:pt x="691" y="1300"/>
                    </a:lnTo>
                    <a:lnTo>
                      <a:pt x="691" y="1302"/>
                    </a:lnTo>
                    <a:lnTo>
                      <a:pt x="691" y="1304"/>
                    </a:lnTo>
                    <a:lnTo>
                      <a:pt x="689" y="1304"/>
                    </a:lnTo>
                    <a:lnTo>
                      <a:pt x="687" y="1304"/>
                    </a:lnTo>
                    <a:lnTo>
                      <a:pt x="686" y="1304"/>
                    </a:lnTo>
                    <a:lnTo>
                      <a:pt x="686" y="1302"/>
                    </a:lnTo>
                    <a:lnTo>
                      <a:pt x="686" y="1300"/>
                    </a:lnTo>
                    <a:lnTo>
                      <a:pt x="684" y="1300"/>
                    </a:lnTo>
                    <a:lnTo>
                      <a:pt x="684" y="1298"/>
                    </a:lnTo>
                    <a:lnTo>
                      <a:pt x="684" y="1294"/>
                    </a:lnTo>
                    <a:lnTo>
                      <a:pt x="682" y="1294"/>
                    </a:lnTo>
                    <a:lnTo>
                      <a:pt x="680" y="1294"/>
                    </a:lnTo>
                    <a:lnTo>
                      <a:pt x="678" y="1294"/>
                    </a:lnTo>
                    <a:lnTo>
                      <a:pt x="676" y="1294"/>
                    </a:lnTo>
                    <a:lnTo>
                      <a:pt x="676" y="1292"/>
                    </a:lnTo>
                    <a:lnTo>
                      <a:pt x="674" y="1290"/>
                    </a:lnTo>
                    <a:lnTo>
                      <a:pt x="674" y="1288"/>
                    </a:lnTo>
                    <a:lnTo>
                      <a:pt x="672" y="1288"/>
                    </a:lnTo>
                    <a:lnTo>
                      <a:pt x="672" y="1287"/>
                    </a:lnTo>
                    <a:lnTo>
                      <a:pt x="670" y="1287"/>
                    </a:lnTo>
                    <a:lnTo>
                      <a:pt x="670" y="1285"/>
                    </a:lnTo>
                    <a:lnTo>
                      <a:pt x="668" y="1287"/>
                    </a:lnTo>
                    <a:lnTo>
                      <a:pt x="668" y="1285"/>
                    </a:lnTo>
                    <a:lnTo>
                      <a:pt x="666" y="1285"/>
                    </a:lnTo>
                    <a:lnTo>
                      <a:pt x="666" y="1283"/>
                    </a:lnTo>
                    <a:lnTo>
                      <a:pt x="664" y="1283"/>
                    </a:lnTo>
                    <a:lnTo>
                      <a:pt x="664" y="1281"/>
                    </a:lnTo>
                    <a:lnTo>
                      <a:pt x="663" y="1281"/>
                    </a:lnTo>
                    <a:lnTo>
                      <a:pt x="663" y="1279"/>
                    </a:lnTo>
                    <a:lnTo>
                      <a:pt x="661" y="1279"/>
                    </a:lnTo>
                    <a:lnTo>
                      <a:pt x="661" y="1277"/>
                    </a:lnTo>
                    <a:lnTo>
                      <a:pt x="659" y="1277"/>
                    </a:lnTo>
                    <a:lnTo>
                      <a:pt x="657" y="1277"/>
                    </a:lnTo>
                    <a:lnTo>
                      <a:pt x="655" y="1277"/>
                    </a:lnTo>
                    <a:lnTo>
                      <a:pt x="655" y="1279"/>
                    </a:lnTo>
                    <a:lnTo>
                      <a:pt x="653" y="1279"/>
                    </a:lnTo>
                    <a:lnTo>
                      <a:pt x="651" y="1279"/>
                    </a:lnTo>
                    <a:lnTo>
                      <a:pt x="649" y="1279"/>
                    </a:lnTo>
                    <a:lnTo>
                      <a:pt x="647" y="1279"/>
                    </a:lnTo>
                    <a:lnTo>
                      <a:pt x="645" y="1279"/>
                    </a:lnTo>
                    <a:lnTo>
                      <a:pt x="643" y="1281"/>
                    </a:lnTo>
                    <a:lnTo>
                      <a:pt x="641" y="1281"/>
                    </a:lnTo>
                    <a:lnTo>
                      <a:pt x="639" y="1281"/>
                    </a:lnTo>
                    <a:lnTo>
                      <a:pt x="638" y="1281"/>
                    </a:lnTo>
                    <a:lnTo>
                      <a:pt x="636" y="1281"/>
                    </a:lnTo>
                    <a:lnTo>
                      <a:pt x="634" y="1281"/>
                    </a:lnTo>
                    <a:lnTo>
                      <a:pt x="634" y="1279"/>
                    </a:lnTo>
                    <a:lnTo>
                      <a:pt x="632" y="1279"/>
                    </a:lnTo>
                    <a:lnTo>
                      <a:pt x="630" y="1279"/>
                    </a:lnTo>
                    <a:lnTo>
                      <a:pt x="630" y="1277"/>
                    </a:lnTo>
                    <a:lnTo>
                      <a:pt x="628" y="1277"/>
                    </a:lnTo>
                    <a:lnTo>
                      <a:pt x="626" y="1275"/>
                    </a:lnTo>
                    <a:lnTo>
                      <a:pt x="626" y="1273"/>
                    </a:lnTo>
                    <a:lnTo>
                      <a:pt x="624" y="1273"/>
                    </a:lnTo>
                    <a:lnTo>
                      <a:pt x="624" y="1275"/>
                    </a:lnTo>
                    <a:lnTo>
                      <a:pt x="622" y="1275"/>
                    </a:lnTo>
                    <a:lnTo>
                      <a:pt x="622" y="1277"/>
                    </a:lnTo>
                    <a:lnTo>
                      <a:pt x="624" y="1277"/>
                    </a:lnTo>
                    <a:lnTo>
                      <a:pt x="622" y="1277"/>
                    </a:lnTo>
                    <a:lnTo>
                      <a:pt x="622" y="1279"/>
                    </a:lnTo>
                    <a:lnTo>
                      <a:pt x="624" y="1279"/>
                    </a:lnTo>
                    <a:lnTo>
                      <a:pt x="624" y="1281"/>
                    </a:lnTo>
                    <a:lnTo>
                      <a:pt x="622" y="1281"/>
                    </a:lnTo>
                    <a:lnTo>
                      <a:pt x="620" y="1281"/>
                    </a:lnTo>
                    <a:lnTo>
                      <a:pt x="620" y="1283"/>
                    </a:lnTo>
                    <a:lnTo>
                      <a:pt x="618" y="1283"/>
                    </a:lnTo>
                    <a:lnTo>
                      <a:pt x="616" y="1283"/>
                    </a:lnTo>
                    <a:lnTo>
                      <a:pt x="616" y="1281"/>
                    </a:lnTo>
                    <a:lnTo>
                      <a:pt x="614" y="1281"/>
                    </a:lnTo>
                    <a:lnTo>
                      <a:pt x="614" y="1279"/>
                    </a:lnTo>
                    <a:lnTo>
                      <a:pt x="613" y="1279"/>
                    </a:lnTo>
                    <a:lnTo>
                      <a:pt x="611" y="1277"/>
                    </a:lnTo>
                    <a:lnTo>
                      <a:pt x="609" y="1275"/>
                    </a:lnTo>
                    <a:lnTo>
                      <a:pt x="607" y="1275"/>
                    </a:lnTo>
                    <a:lnTo>
                      <a:pt x="605" y="1275"/>
                    </a:lnTo>
                    <a:lnTo>
                      <a:pt x="603" y="1273"/>
                    </a:lnTo>
                    <a:lnTo>
                      <a:pt x="601" y="1273"/>
                    </a:lnTo>
                    <a:lnTo>
                      <a:pt x="601" y="1271"/>
                    </a:lnTo>
                    <a:lnTo>
                      <a:pt x="599" y="1269"/>
                    </a:lnTo>
                    <a:lnTo>
                      <a:pt x="597" y="1269"/>
                    </a:lnTo>
                    <a:lnTo>
                      <a:pt x="595" y="1271"/>
                    </a:lnTo>
                    <a:lnTo>
                      <a:pt x="593" y="1271"/>
                    </a:lnTo>
                    <a:lnTo>
                      <a:pt x="591" y="1273"/>
                    </a:lnTo>
                    <a:lnTo>
                      <a:pt x="589" y="1273"/>
                    </a:lnTo>
                    <a:lnTo>
                      <a:pt x="584" y="1273"/>
                    </a:lnTo>
                    <a:lnTo>
                      <a:pt x="584" y="1275"/>
                    </a:lnTo>
                    <a:lnTo>
                      <a:pt x="582" y="1275"/>
                    </a:lnTo>
                    <a:lnTo>
                      <a:pt x="582" y="1273"/>
                    </a:lnTo>
                    <a:lnTo>
                      <a:pt x="582" y="1271"/>
                    </a:lnTo>
                    <a:lnTo>
                      <a:pt x="580" y="1269"/>
                    </a:lnTo>
                    <a:lnTo>
                      <a:pt x="580" y="1267"/>
                    </a:lnTo>
                    <a:lnTo>
                      <a:pt x="578" y="1269"/>
                    </a:lnTo>
                    <a:lnTo>
                      <a:pt x="576" y="1267"/>
                    </a:lnTo>
                    <a:lnTo>
                      <a:pt x="576" y="1265"/>
                    </a:lnTo>
                    <a:lnTo>
                      <a:pt x="576" y="1263"/>
                    </a:lnTo>
                    <a:lnTo>
                      <a:pt x="574" y="1262"/>
                    </a:lnTo>
                    <a:lnTo>
                      <a:pt x="572" y="1262"/>
                    </a:lnTo>
                    <a:lnTo>
                      <a:pt x="570" y="1262"/>
                    </a:lnTo>
                    <a:lnTo>
                      <a:pt x="568" y="1262"/>
                    </a:lnTo>
                    <a:lnTo>
                      <a:pt x="566" y="1262"/>
                    </a:lnTo>
                    <a:lnTo>
                      <a:pt x="565" y="1262"/>
                    </a:lnTo>
                    <a:lnTo>
                      <a:pt x="563" y="1262"/>
                    </a:lnTo>
                    <a:lnTo>
                      <a:pt x="563" y="1263"/>
                    </a:lnTo>
                    <a:lnTo>
                      <a:pt x="561" y="1263"/>
                    </a:lnTo>
                    <a:lnTo>
                      <a:pt x="561" y="1262"/>
                    </a:lnTo>
                    <a:lnTo>
                      <a:pt x="559" y="1262"/>
                    </a:lnTo>
                    <a:lnTo>
                      <a:pt x="559" y="1260"/>
                    </a:lnTo>
                    <a:lnTo>
                      <a:pt x="557" y="1262"/>
                    </a:lnTo>
                    <a:lnTo>
                      <a:pt x="555" y="1260"/>
                    </a:lnTo>
                    <a:lnTo>
                      <a:pt x="555" y="1262"/>
                    </a:lnTo>
                    <a:lnTo>
                      <a:pt x="553" y="1262"/>
                    </a:lnTo>
                    <a:lnTo>
                      <a:pt x="551" y="1262"/>
                    </a:lnTo>
                    <a:lnTo>
                      <a:pt x="553" y="1263"/>
                    </a:lnTo>
                    <a:lnTo>
                      <a:pt x="551" y="1263"/>
                    </a:lnTo>
                    <a:lnTo>
                      <a:pt x="549" y="1263"/>
                    </a:lnTo>
                    <a:lnTo>
                      <a:pt x="547" y="1263"/>
                    </a:lnTo>
                    <a:lnTo>
                      <a:pt x="547" y="1265"/>
                    </a:lnTo>
                    <a:lnTo>
                      <a:pt x="545" y="1265"/>
                    </a:lnTo>
                    <a:lnTo>
                      <a:pt x="543" y="1263"/>
                    </a:lnTo>
                    <a:lnTo>
                      <a:pt x="543" y="1265"/>
                    </a:lnTo>
                    <a:lnTo>
                      <a:pt x="541" y="1265"/>
                    </a:lnTo>
                    <a:lnTo>
                      <a:pt x="540" y="1267"/>
                    </a:lnTo>
                    <a:lnTo>
                      <a:pt x="538" y="1267"/>
                    </a:lnTo>
                    <a:lnTo>
                      <a:pt x="536" y="1267"/>
                    </a:lnTo>
                    <a:lnTo>
                      <a:pt x="536" y="1269"/>
                    </a:lnTo>
                    <a:lnTo>
                      <a:pt x="536" y="1271"/>
                    </a:lnTo>
                    <a:lnTo>
                      <a:pt x="534" y="1271"/>
                    </a:lnTo>
                    <a:lnTo>
                      <a:pt x="534" y="1273"/>
                    </a:lnTo>
                    <a:lnTo>
                      <a:pt x="532" y="1273"/>
                    </a:lnTo>
                    <a:lnTo>
                      <a:pt x="532" y="1275"/>
                    </a:lnTo>
                    <a:lnTo>
                      <a:pt x="530" y="1277"/>
                    </a:lnTo>
                    <a:lnTo>
                      <a:pt x="528" y="1277"/>
                    </a:lnTo>
                    <a:lnTo>
                      <a:pt x="528" y="1279"/>
                    </a:lnTo>
                    <a:lnTo>
                      <a:pt x="528" y="1277"/>
                    </a:lnTo>
                    <a:lnTo>
                      <a:pt x="526" y="1279"/>
                    </a:lnTo>
                    <a:lnTo>
                      <a:pt x="524" y="1279"/>
                    </a:lnTo>
                    <a:lnTo>
                      <a:pt x="522" y="1279"/>
                    </a:lnTo>
                    <a:lnTo>
                      <a:pt x="522" y="1277"/>
                    </a:lnTo>
                    <a:lnTo>
                      <a:pt x="522" y="1275"/>
                    </a:lnTo>
                    <a:lnTo>
                      <a:pt x="520" y="1275"/>
                    </a:lnTo>
                    <a:lnTo>
                      <a:pt x="518" y="1275"/>
                    </a:lnTo>
                    <a:lnTo>
                      <a:pt x="516" y="1275"/>
                    </a:lnTo>
                    <a:lnTo>
                      <a:pt x="516" y="1273"/>
                    </a:lnTo>
                    <a:lnTo>
                      <a:pt x="515" y="1273"/>
                    </a:lnTo>
                    <a:lnTo>
                      <a:pt x="515" y="1271"/>
                    </a:lnTo>
                    <a:lnTo>
                      <a:pt x="513" y="1271"/>
                    </a:lnTo>
                    <a:lnTo>
                      <a:pt x="513" y="1269"/>
                    </a:lnTo>
                    <a:lnTo>
                      <a:pt x="513" y="1267"/>
                    </a:lnTo>
                    <a:lnTo>
                      <a:pt x="513" y="1265"/>
                    </a:lnTo>
                    <a:lnTo>
                      <a:pt x="515" y="1265"/>
                    </a:lnTo>
                    <a:lnTo>
                      <a:pt x="515" y="1263"/>
                    </a:lnTo>
                    <a:lnTo>
                      <a:pt x="513" y="1262"/>
                    </a:lnTo>
                    <a:lnTo>
                      <a:pt x="513" y="1260"/>
                    </a:lnTo>
                    <a:lnTo>
                      <a:pt x="511" y="1260"/>
                    </a:lnTo>
                    <a:lnTo>
                      <a:pt x="511" y="1258"/>
                    </a:lnTo>
                    <a:lnTo>
                      <a:pt x="511" y="1256"/>
                    </a:lnTo>
                    <a:lnTo>
                      <a:pt x="509" y="1256"/>
                    </a:lnTo>
                    <a:lnTo>
                      <a:pt x="509" y="1254"/>
                    </a:lnTo>
                    <a:lnTo>
                      <a:pt x="507" y="1252"/>
                    </a:lnTo>
                    <a:lnTo>
                      <a:pt x="505" y="1250"/>
                    </a:lnTo>
                    <a:lnTo>
                      <a:pt x="505" y="1252"/>
                    </a:lnTo>
                    <a:lnTo>
                      <a:pt x="503" y="1250"/>
                    </a:lnTo>
                    <a:lnTo>
                      <a:pt x="503" y="1248"/>
                    </a:lnTo>
                    <a:lnTo>
                      <a:pt x="501" y="1248"/>
                    </a:lnTo>
                    <a:lnTo>
                      <a:pt x="501" y="1246"/>
                    </a:lnTo>
                    <a:lnTo>
                      <a:pt x="501" y="1244"/>
                    </a:lnTo>
                    <a:lnTo>
                      <a:pt x="501" y="1242"/>
                    </a:lnTo>
                    <a:lnTo>
                      <a:pt x="501" y="1240"/>
                    </a:lnTo>
                    <a:lnTo>
                      <a:pt x="503" y="1240"/>
                    </a:lnTo>
                    <a:lnTo>
                      <a:pt x="503" y="1238"/>
                    </a:lnTo>
                    <a:lnTo>
                      <a:pt x="503" y="1237"/>
                    </a:lnTo>
                    <a:lnTo>
                      <a:pt x="501" y="1237"/>
                    </a:lnTo>
                    <a:lnTo>
                      <a:pt x="499" y="1237"/>
                    </a:lnTo>
                    <a:lnTo>
                      <a:pt x="499" y="1235"/>
                    </a:lnTo>
                    <a:lnTo>
                      <a:pt x="497" y="1237"/>
                    </a:lnTo>
                    <a:lnTo>
                      <a:pt x="495" y="1237"/>
                    </a:lnTo>
                    <a:lnTo>
                      <a:pt x="495" y="1238"/>
                    </a:lnTo>
                    <a:lnTo>
                      <a:pt x="495" y="1242"/>
                    </a:lnTo>
                    <a:lnTo>
                      <a:pt x="495" y="1244"/>
                    </a:lnTo>
                    <a:lnTo>
                      <a:pt x="493" y="1244"/>
                    </a:lnTo>
                    <a:lnTo>
                      <a:pt x="492" y="1242"/>
                    </a:lnTo>
                    <a:lnTo>
                      <a:pt x="492" y="1240"/>
                    </a:lnTo>
                    <a:lnTo>
                      <a:pt x="492" y="1238"/>
                    </a:lnTo>
                    <a:lnTo>
                      <a:pt x="492" y="1237"/>
                    </a:lnTo>
                    <a:lnTo>
                      <a:pt x="490" y="1237"/>
                    </a:lnTo>
                    <a:lnTo>
                      <a:pt x="490" y="1235"/>
                    </a:lnTo>
                    <a:lnTo>
                      <a:pt x="492" y="1235"/>
                    </a:lnTo>
                    <a:lnTo>
                      <a:pt x="490" y="1233"/>
                    </a:lnTo>
                    <a:lnTo>
                      <a:pt x="490" y="1231"/>
                    </a:lnTo>
                    <a:lnTo>
                      <a:pt x="488" y="1231"/>
                    </a:lnTo>
                    <a:lnTo>
                      <a:pt x="486" y="1231"/>
                    </a:lnTo>
                    <a:lnTo>
                      <a:pt x="486" y="1229"/>
                    </a:lnTo>
                    <a:lnTo>
                      <a:pt x="486" y="1227"/>
                    </a:lnTo>
                    <a:lnTo>
                      <a:pt x="486" y="1225"/>
                    </a:lnTo>
                    <a:lnTo>
                      <a:pt x="486" y="1223"/>
                    </a:lnTo>
                    <a:lnTo>
                      <a:pt x="484" y="1221"/>
                    </a:lnTo>
                    <a:lnTo>
                      <a:pt x="486" y="1221"/>
                    </a:lnTo>
                    <a:lnTo>
                      <a:pt x="484" y="1219"/>
                    </a:lnTo>
                    <a:lnTo>
                      <a:pt x="484" y="1217"/>
                    </a:lnTo>
                    <a:lnTo>
                      <a:pt x="484" y="1215"/>
                    </a:lnTo>
                    <a:lnTo>
                      <a:pt x="484" y="1214"/>
                    </a:lnTo>
                    <a:lnTo>
                      <a:pt x="484" y="1212"/>
                    </a:lnTo>
                    <a:lnTo>
                      <a:pt x="484" y="1210"/>
                    </a:lnTo>
                    <a:lnTo>
                      <a:pt x="486" y="1210"/>
                    </a:lnTo>
                    <a:lnTo>
                      <a:pt x="484" y="1206"/>
                    </a:lnTo>
                    <a:lnTo>
                      <a:pt x="482" y="1204"/>
                    </a:lnTo>
                    <a:lnTo>
                      <a:pt x="484" y="1202"/>
                    </a:lnTo>
                    <a:lnTo>
                      <a:pt x="482" y="1202"/>
                    </a:lnTo>
                    <a:lnTo>
                      <a:pt x="480" y="1200"/>
                    </a:lnTo>
                    <a:lnTo>
                      <a:pt x="480" y="1198"/>
                    </a:lnTo>
                    <a:lnTo>
                      <a:pt x="480" y="1196"/>
                    </a:lnTo>
                    <a:lnTo>
                      <a:pt x="480" y="1194"/>
                    </a:lnTo>
                    <a:lnTo>
                      <a:pt x="480" y="1192"/>
                    </a:lnTo>
                    <a:lnTo>
                      <a:pt x="478" y="1192"/>
                    </a:lnTo>
                    <a:lnTo>
                      <a:pt x="478" y="1190"/>
                    </a:lnTo>
                    <a:lnTo>
                      <a:pt x="476" y="1190"/>
                    </a:lnTo>
                    <a:lnTo>
                      <a:pt x="476" y="1189"/>
                    </a:lnTo>
                    <a:lnTo>
                      <a:pt x="476" y="1187"/>
                    </a:lnTo>
                    <a:lnTo>
                      <a:pt x="476" y="1185"/>
                    </a:lnTo>
                    <a:lnTo>
                      <a:pt x="476" y="1183"/>
                    </a:lnTo>
                    <a:lnTo>
                      <a:pt x="476" y="1181"/>
                    </a:lnTo>
                    <a:lnTo>
                      <a:pt x="476" y="1179"/>
                    </a:lnTo>
                    <a:lnTo>
                      <a:pt x="474" y="1179"/>
                    </a:lnTo>
                    <a:lnTo>
                      <a:pt x="472" y="1179"/>
                    </a:lnTo>
                    <a:lnTo>
                      <a:pt x="470" y="1177"/>
                    </a:lnTo>
                    <a:lnTo>
                      <a:pt x="468" y="1177"/>
                    </a:lnTo>
                    <a:lnTo>
                      <a:pt x="467" y="1177"/>
                    </a:lnTo>
                    <a:lnTo>
                      <a:pt x="467" y="1175"/>
                    </a:lnTo>
                    <a:lnTo>
                      <a:pt x="465" y="1175"/>
                    </a:lnTo>
                    <a:lnTo>
                      <a:pt x="465" y="1177"/>
                    </a:lnTo>
                    <a:lnTo>
                      <a:pt x="465" y="1175"/>
                    </a:lnTo>
                    <a:lnTo>
                      <a:pt x="463" y="1175"/>
                    </a:lnTo>
                    <a:lnTo>
                      <a:pt x="463" y="1173"/>
                    </a:lnTo>
                    <a:lnTo>
                      <a:pt x="465" y="1173"/>
                    </a:lnTo>
                    <a:lnTo>
                      <a:pt x="465" y="1171"/>
                    </a:lnTo>
                    <a:lnTo>
                      <a:pt x="465" y="1169"/>
                    </a:lnTo>
                    <a:lnTo>
                      <a:pt x="465" y="1167"/>
                    </a:lnTo>
                    <a:lnTo>
                      <a:pt x="465" y="1165"/>
                    </a:lnTo>
                    <a:lnTo>
                      <a:pt x="463" y="1165"/>
                    </a:lnTo>
                    <a:lnTo>
                      <a:pt x="463" y="1164"/>
                    </a:lnTo>
                    <a:lnTo>
                      <a:pt x="463" y="1162"/>
                    </a:lnTo>
                    <a:lnTo>
                      <a:pt x="463" y="1160"/>
                    </a:lnTo>
                    <a:lnTo>
                      <a:pt x="461" y="1160"/>
                    </a:lnTo>
                    <a:lnTo>
                      <a:pt x="461" y="1158"/>
                    </a:lnTo>
                    <a:lnTo>
                      <a:pt x="459" y="1158"/>
                    </a:lnTo>
                    <a:lnTo>
                      <a:pt x="459" y="1156"/>
                    </a:lnTo>
                    <a:lnTo>
                      <a:pt x="457" y="1156"/>
                    </a:lnTo>
                    <a:lnTo>
                      <a:pt x="457" y="1154"/>
                    </a:lnTo>
                    <a:lnTo>
                      <a:pt x="457" y="1156"/>
                    </a:lnTo>
                    <a:lnTo>
                      <a:pt x="457" y="1154"/>
                    </a:lnTo>
                    <a:lnTo>
                      <a:pt x="459" y="1154"/>
                    </a:lnTo>
                    <a:lnTo>
                      <a:pt x="459" y="1152"/>
                    </a:lnTo>
                    <a:lnTo>
                      <a:pt x="459" y="1154"/>
                    </a:lnTo>
                    <a:lnTo>
                      <a:pt x="461" y="1154"/>
                    </a:lnTo>
                    <a:lnTo>
                      <a:pt x="461" y="1152"/>
                    </a:lnTo>
                    <a:lnTo>
                      <a:pt x="461" y="1150"/>
                    </a:lnTo>
                    <a:lnTo>
                      <a:pt x="459" y="1150"/>
                    </a:lnTo>
                    <a:lnTo>
                      <a:pt x="459" y="1148"/>
                    </a:lnTo>
                    <a:lnTo>
                      <a:pt x="457" y="1146"/>
                    </a:lnTo>
                    <a:lnTo>
                      <a:pt x="455" y="1146"/>
                    </a:lnTo>
                    <a:lnTo>
                      <a:pt x="455" y="1148"/>
                    </a:lnTo>
                    <a:lnTo>
                      <a:pt x="453" y="1148"/>
                    </a:lnTo>
                    <a:lnTo>
                      <a:pt x="453" y="1146"/>
                    </a:lnTo>
                    <a:lnTo>
                      <a:pt x="455" y="1146"/>
                    </a:lnTo>
                    <a:lnTo>
                      <a:pt x="453" y="1144"/>
                    </a:lnTo>
                    <a:lnTo>
                      <a:pt x="453" y="1142"/>
                    </a:lnTo>
                    <a:lnTo>
                      <a:pt x="453" y="1140"/>
                    </a:lnTo>
                    <a:lnTo>
                      <a:pt x="451" y="1140"/>
                    </a:lnTo>
                    <a:lnTo>
                      <a:pt x="451" y="1139"/>
                    </a:lnTo>
                    <a:lnTo>
                      <a:pt x="451" y="1137"/>
                    </a:lnTo>
                    <a:lnTo>
                      <a:pt x="451" y="1135"/>
                    </a:lnTo>
                    <a:lnTo>
                      <a:pt x="453" y="1135"/>
                    </a:lnTo>
                    <a:lnTo>
                      <a:pt x="453" y="1133"/>
                    </a:lnTo>
                    <a:lnTo>
                      <a:pt x="453" y="1131"/>
                    </a:lnTo>
                    <a:lnTo>
                      <a:pt x="453" y="1129"/>
                    </a:lnTo>
                    <a:lnTo>
                      <a:pt x="451" y="1129"/>
                    </a:lnTo>
                    <a:lnTo>
                      <a:pt x="451" y="1127"/>
                    </a:lnTo>
                    <a:lnTo>
                      <a:pt x="449" y="1125"/>
                    </a:lnTo>
                    <a:lnTo>
                      <a:pt x="451" y="1123"/>
                    </a:lnTo>
                    <a:lnTo>
                      <a:pt x="449" y="1123"/>
                    </a:lnTo>
                    <a:lnTo>
                      <a:pt x="447" y="1123"/>
                    </a:lnTo>
                    <a:lnTo>
                      <a:pt x="445" y="1121"/>
                    </a:lnTo>
                    <a:lnTo>
                      <a:pt x="445" y="1123"/>
                    </a:lnTo>
                    <a:lnTo>
                      <a:pt x="443" y="1121"/>
                    </a:lnTo>
                    <a:lnTo>
                      <a:pt x="442" y="1121"/>
                    </a:lnTo>
                    <a:lnTo>
                      <a:pt x="442" y="1119"/>
                    </a:lnTo>
                    <a:lnTo>
                      <a:pt x="442" y="1121"/>
                    </a:lnTo>
                    <a:lnTo>
                      <a:pt x="442" y="1119"/>
                    </a:lnTo>
                    <a:lnTo>
                      <a:pt x="442" y="1121"/>
                    </a:lnTo>
                    <a:lnTo>
                      <a:pt x="442" y="1119"/>
                    </a:lnTo>
                    <a:lnTo>
                      <a:pt x="440" y="1121"/>
                    </a:lnTo>
                    <a:lnTo>
                      <a:pt x="440" y="1119"/>
                    </a:lnTo>
                    <a:lnTo>
                      <a:pt x="438" y="1119"/>
                    </a:lnTo>
                    <a:lnTo>
                      <a:pt x="436" y="1119"/>
                    </a:lnTo>
                    <a:lnTo>
                      <a:pt x="436" y="1117"/>
                    </a:lnTo>
                    <a:lnTo>
                      <a:pt x="436" y="1115"/>
                    </a:lnTo>
                    <a:lnTo>
                      <a:pt x="436" y="1114"/>
                    </a:lnTo>
                    <a:lnTo>
                      <a:pt x="434" y="1114"/>
                    </a:lnTo>
                    <a:lnTo>
                      <a:pt x="434" y="1112"/>
                    </a:lnTo>
                    <a:lnTo>
                      <a:pt x="432" y="1114"/>
                    </a:lnTo>
                    <a:lnTo>
                      <a:pt x="432" y="1112"/>
                    </a:lnTo>
                    <a:lnTo>
                      <a:pt x="430" y="1114"/>
                    </a:lnTo>
                    <a:lnTo>
                      <a:pt x="428" y="1114"/>
                    </a:lnTo>
                    <a:lnTo>
                      <a:pt x="426" y="1114"/>
                    </a:lnTo>
                    <a:lnTo>
                      <a:pt x="426" y="1115"/>
                    </a:lnTo>
                    <a:lnTo>
                      <a:pt x="426" y="1114"/>
                    </a:lnTo>
                    <a:lnTo>
                      <a:pt x="424" y="1115"/>
                    </a:lnTo>
                    <a:lnTo>
                      <a:pt x="426" y="1117"/>
                    </a:lnTo>
                    <a:lnTo>
                      <a:pt x="426" y="1119"/>
                    </a:lnTo>
                    <a:lnTo>
                      <a:pt x="424" y="1119"/>
                    </a:lnTo>
                    <a:lnTo>
                      <a:pt x="424" y="1121"/>
                    </a:lnTo>
                    <a:lnTo>
                      <a:pt x="424" y="1123"/>
                    </a:lnTo>
                    <a:lnTo>
                      <a:pt x="426" y="1123"/>
                    </a:lnTo>
                    <a:lnTo>
                      <a:pt x="424" y="1125"/>
                    </a:lnTo>
                    <a:lnTo>
                      <a:pt x="424" y="1127"/>
                    </a:lnTo>
                    <a:lnTo>
                      <a:pt x="422" y="1127"/>
                    </a:lnTo>
                    <a:lnTo>
                      <a:pt x="420" y="1125"/>
                    </a:lnTo>
                    <a:lnTo>
                      <a:pt x="419" y="1121"/>
                    </a:lnTo>
                    <a:lnTo>
                      <a:pt x="417" y="1121"/>
                    </a:lnTo>
                    <a:lnTo>
                      <a:pt x="415" y="1123"/>
                    </a:lnTo>
                    <a:lnTo>
                      <a:pt x="415" y="1125"/>
                    </a:lnTo>
                    <a:lnTo>
                      <a:pt x="415" y="1127"/>
                    </a:lnTo>
                    <a:lnTo>
                      <a:pt x="413" y="1127"/>
                    </a:lnTo>
                    <a:lnTo>
                      <a:pt x="411" y="1127"/>
                    </a:lnTo>
                    <a:lnTo>
                      <a:pt x="409" y="1125"/>
                    </a:lnTo>
                    <a:lnTo>
                      <a:pt x="409" y="1127"/>
                    </a:lnTo>
                    <a:lnTo>
                      <a:pt x="407" y="1127"/>
                    </a:lnTo>
                    <a:lnTo>
                      <a:pt x="405" y="1127"/>
                    </a:lnTo>
                    <a:lnTo>
                      <a:pt x="403" y="1127"/>
                    </a:lnTo>
                    <a:lnTo>
                      <a:pt x="401" y="1125"/>
                    </a:lnTo>
                    <a:lnTo>
                      <a:pt x="399" y="1123"/>
                    </a:lnTo>
                    <a:lnTo>
                      <a:pt x="399" y="1121"/>
                    </a:lnTo>
                    <a:lnTo>
                      <a:pt x="399" y="1119"/>
                    </a:lnTo>
                    <a:lnTo>
                      <a:pt x="399" y="1117"/>
                    </a:lnTo>
                    <a:lnTo>
                      <a:pt x="399" y="1115"/>
                    </a:lnTo>
                    <a:lnTo>
                      <a:pt x="397" y="1115"/>
                    </a:lnTo>
                    <a:lnTo>
                      <a:pt x="399" y="1114"/>
                    </a:lnTo>
                    <a:lnTo>
                      <a:pt x="399" y="1112"/>
                    </a:lnTo>
                    <a:lnTo>
                      <a:pt x="399" y="1110"/>
                    </a:lnTo>
                    <a:lnTo>
                      <a:pt x="397" y="1110"/>
                    </a:lnTo>
                    <a:lnTo>
                      <a:pt x="399" y="1110"/>
                    </a:lnTo>
                    <a:lnTo>
                      <a:pt x="397" y="1108"/>
                    </a:lnTo>
                    <a:lnTo>
                      <a:pt x="397" y="1106"/>
                    </a:lnTo>
                    <a:lnTo>
                      <a:pt x="397" y="1104"/>
                    </a:lnTo>
                    <a:lnTo>
                      <a:pt x="395" y="1104"/>
                    </a:lnTo>
                    <a:lnTo>
                      <a:pt x="395" y="1106"/>
                    </a:lnTo>
                    <a:lnTo>
                      <a:pt x="394" y="1106"/>
                    </a:lnTo>
                    <a:lnTo>
                      <a:pt x="394" y="1104"/>
                    </a:lnTo>
                    <a:lnTo>
                      <a:pt x="392" y="1104"/>
                    </a:lnTo>
                    <a:lnTo>
                      <a:pt x="392" y="1102"/>
                    </a:lnTo>
                    <a:lnTo>
                      <a:pt x="392" y="1100"/>
                    </a:lnTo>
                    <a:lnTo>
                      <a:pt x="392" y="1098"/>
                    </a:lnTo>
                    <a:lnTo>
                      <a:pt x="394" y="1098"/>
                    </a:lnTo>
                    <a:lnTo>
                      <a:pt x="395" y="1098"/>
                    </a:lnTo>
                    <a:lnTo>
                      <a:pt x="395" y="1096"/>
                    </a:lnTo>
                    <a:lnTo>
                      <a:pt x="397" y="1096"/>
                    </a:lnTo>
                    <a:lnTo>
                      <a:pt x="399" y="1094"/>
                    </a:lnTo>
                    <a:lnTo>
                      <a:pt x="397" y="1092"/>
                    </a:lnTo>
                    <a:lnTo>
                      <a:pt x="395" y="1092"/>
                    </a:lnTo>
                    <a:lnTo>
                      <a:pt x="394" y="1090"/>
                    </a:lnTo>
                    <a:lnTo>
                      <a:pt x="392" y="1090"/>
                    </a:lnTo>
                    <a:lnTo>
                      <a:pt x="390" y="1089"/>
                    </a:lnTo>
                    <a:lnTo>
                      <a:pt x="390" y="1087"/>
                    </a:lnTo>
                    <a:lnTo>
                      <a:pt x="388" y="1087"/>
                    </a:lnTo>
                    <a:lnTo>
                      <a:pt x="388" y="1085"/>
                    </a:lnTo>
                    <a:lnTo>
                      <a:pt x="388" y="1083"/>
                    </a:lnTo>
                    <a:lnTo>
                      <a:pt x="388" y="1081"/>
                    </a:lnTo>
                    <a:lnTo>
                      <a:pt x="386" y="1081"/>
                    </a:lnTo>
                    <a:lnTo>
                      <a:pt x="386" y="1079"/>
                    </a:lnTo>
                    <a:lnTo>
                      <a:pt x="384" y="1077"/>
                    </a:lnTo>
                    <a:lnTo>
                      <a:pt x="384" y="1075"/>
                    </a:lnTo>
                    <a:lnTo>
                      <a:pt x="382" y="1075"/>
                    </a:lnTo>
                    <a:lnTo>
                      <a:pt x="380" y="1073"/>
                    </a:lnTo>
                    <a:lnTo>
                      <a:pt x="378" y="1071"/>
                    </a:lnTo>
                    <a:lnTo>
                      <a:pt x="376" y="1071"/>
                    </a:lnTo>
                    <a:lnTo>
                      <a:pt x="374" y="1071"/>
                    </a:lnTo>
                    <a:lnTo>
                      <a:pt x="372" y="1071"/>
                    </a:lnTo>
                    <a:lnTo>
                      <a:pt x="370" y="1071"/>
                    </a:lnTo>
                    <a:lnTo>
                      <a:pt x="369" y="1071"/>
                    </a:lnTo>
                    <a:lnTo>
                      <a:pt x="365" y="1069"/>
                    </a:lnTo>
                    <a:lnTo>
                      <a:pt x="363" y="1069"/>
                    </a:lnTo>
                    <a:lnTo>
                      <a:pt x="361" y="1069"/>
                    </a:lnTo>
                    <a:lnTo>
                      <a:pt x="359" y="1069"/>
                    </a:lnTo>
                    <a:lnTo>
                      <a:pt x="357" y="1069"/>
                    </a:lnTo>
                    <a:lnTo>
                      <a:pt x="355" y="1067"/>
                    </a:lnTo>
                    <a:lnTo>
                      <a:pt x="353" y="1065"/>
                    </a:lnTo>
                    <a:lnTo>
                      <a:pt x="351" y="1067"/>
                    </a:lnTo>
                    <a:lnTo>
                      <a:pt x="349" y="1065"/>
                    </a:lnTo>
                    <a:lnTo>
                      <a:pt x="349" y="1064"/>
                    </a:lnTo>
                    <a:lnTo>
                      <a:pt x="347" y="1062"/>
                    </a:lnTo>
                    <a:lnTo>
                      <a:pt x="346" y="1060"/>
                    </a:lnTo>
                    <a:lnTo>
                      <a:pt x="342" y="1060"/>
                    </a:lnTo>
                    <a:lnTo>
                      <a:pt x="340" y="1060"/>
                    </a:lnTo>
                    <a:lnTo>
                      <a:pt x="338" y="1060"/>
                    </a:lnTo>
                    <a:lnTo>
                      <a:pt x="338" y="1058"/>
                    </a:lnTo>
                    <a:lnTo>
                      <a:pt x="336" y="1060"/>
                    </a:lnTo>
                    <a:lnTo>
                      <a:pt x="334" y="1060"/>
                    </a:lnTo>
                    <a:lnTo>
                      <a:pt x="330" y="1060"/>
                    </a:lnTo>
                    <a:lnTo>
                      <a:pt x="330" y="1062"/>
                    </a:lnTo>
                    <a:lnTo>
                      <a:pt x="326" y="1064"/>
                    </a:lnTo>
                    <a:lnTo>
                      <a:pt x="321" y="1064"/>
                    </a:lnTo>
                    <a:lnTo>
                      <a:pt x="319" y="1065"/>
                    </a:lnTo>
                    <a:lnTo>
                      <a:pt x="317" y="1065"/>
                    </a:lnTo>
                    <a:lnTo>
                      <a:pt x="317" y="1067"/>
                    </a:lnTo>
                    <a:lnTo>
                      <a:pt x="315" y="1071"/>
                    </a:lnTo>
                    <a:lnTo>
                      <a:pt x="313" y="1073"/>
                    </a:lnTo>
                    <a:lnTo>
                      <a:pt x="313" y="1071"/>
                    </a:lnTo>
                    <a:lnTo>
                      <a:pt x="311" y="1073"/>
                    </a:lnTo>
                    <a:lnTo>
                      <a:pt x="311" y="1075"/>
                    </a:lnTo>
                    <a:lnTo>
                      <a:pt x="309" y="1077"/>
                    </a:lnTo>
                    <a:lnTo>
                      <a:pt x="307" y="1079"/>
                    </a:lnTo>
                    <a:lnTo>
                      <a:pt x="307" y="1081"/>
                    </a:lnTo>
                    <a:lnTo>
                      <a:pt x="307" y="1083"/>
                    </a:lnTo>
                    <a:lnTo>
                      <a:pt x="305" y="1087"/>
                    </a:lnTo>
                    <a:lnTo>
                      <a:pt x="305" y="1089"/>
                    </a:lnTo>
                    <a:lnTo>
                      <a:pt x="305" y="1090"/>
                    </a:lnTo>
                    <a:lnTo>
                      <a:pt x="305" y="1094"/>
                    </a:lnTo>
                    <a:lnTo>
                      <a:pt x="305" y="1096"/>
                    </a:lnTo>
                    <a:lnTo>
                      <a:pt x="303" y="1098"/>
                    </a:lnTo>
                    <a:lnTo>
                      <a:pt x="303" y="1100"/>
                    </a:lnTo>
                    <a:lnTo>
                      <a:pt x="301" y="1102"/>
                    </a:lnTo>
                    <a:lnTo>
                      <a:pt x="299" y="1104"/>
                    </a:lnTo>
                    <a:lnTo>
                      <a:pt x="297" y="1104"/>
                    </a:lnTo>
                    <a:lnTo>
                      <a:pt x="296" y="1106"/>
                    </a:lnTo>
                    <a:lnTo>
                      <a:pt x="297" y="1108"/>
                    </a:lnTo>
                    <a:lnTo>
                      <a:pt x="299" y="1108"/>
                    </a:lnTo>
                    <a:lnTo>
                      <a:pt x="299" y="1110"/>
                    </a:lnTo>
                    <a:lnTo>
                      <a:pt x="301" y="1110"/>
                    </a:lnTo>
                    <a:lnTo>
                      <a:pt x="301" y="1112"/>
                    </a:lnTo>
                    <a:lnTo>
                      <a:pt x="303" y="1112"/>
                    </a:lnTo>
                    <a:lnTo>
                      <a:pt x="305" y="1112"/>
                    </a:lnTo>
                    <a:lnTo>
                      <a:pt x="307" y="1112"/>
                    </a:lnTo>
                    <a:lnTo>
                      <a:pt x="307" y="1114"/>
                    </a:lnTo>
                    <a:lnTo>
                      <a:pt x="309" y="1114"/>
                    </a:lnTo>
                    <a:lnTo>
                      <a:pt x="311" y="1114"/>
                    </a:lnTo>
                    <a:lnTo>
                      <a:pt x="313" y="1114"/>
                    </a:lnTo>
                    <a:lnTo>
                      <a:pt x="315" y="1114"/>
                    </a:lnTo>
                    <a:lnTo>
                      <a:pt x="315" y="1115"/>
                    </a:lnTo>
                    <a:lnTo>
                      <a:pt x="317" y="1115"/>
                    </a:lnTo>
                    <a:lnTo>
                      <a:pt x="315" y="1115"/>
                    </a:lnTo>
                    <a:lnTo>
                      <a:pt x="315" y="1117"/>
                    </a:lnTo>
                    <a:lnTo>
                      <a:pt x="313" y="1119"/>
                    </a:lnTo>
                    <a:lnTo>
                      <a:pt x="311" y="1121"/>
                    </a:lnTo>
                    <a:lnTo>
                      <a:pt x="311" y="1123"/>
                    </a:lnTo>
                    <a:lnTo>
                      <a:pt x="311" y="1125"/>
                    </a:lnTo>
                    <a:lnTo>
                      <a:pt x="309" y="1125"/>
                    </a:lnTo>
                    <a:lnTo>
                      <a:pt x="309" y="1127"/>
                    </a:lnTo>
                    <a:lnTo>
                      <a:pt x="311" y="1127"/>
                    </a:lnTo>
                    <a:lnTo>
                      <a:pt x="311" y="1129"/>
                    </a:lnTo>
                    <a:lnTo>
                      <a:pt x="309" y="1129"/>
                    </a:lnTo>
                    <a:lnTo>
                      <a:pt x="309" y="1131"/>
                    </a:lnTo>
                    <a:lnTo>
                      <a:pt x="309" y="1133"/>
                    </a:lnTo>
                    <a:lnTo>
                      <a:pt x="307" y="1131"/>
                    </a:lnTo>
                    <a:lnTo>
                      <a:pt x="305" y="1133"/>
                    </a:lnTo>
                    <a:lnTo>
                      <a:pt x="305" y="1135"/>
                    </a:lnTo>
                    <a:lnTo>
                      <a:pt x="305" y="1137"/>
                    </a:lnTo>
                    <a:lnTo>
                      <a:pt x="303" y="1137"/>
                    </a:lnTo>
                    <a:lnTo>
                      <a:pt x="303" y="1139"/>
                    </a:lnTo>
                    <a:lnTo>
                      <a:pt x="303" y="1137"/>
                    </a:lnTo>
                    <a:lnTo>
                      <a:pt x="301" y="1137"/>
                    </a:lnTo>
                    <a:lnTo>
                      <a:pt x="301" y="1139"/>
                    </a:lnTo>
                    <a:lnTo>
                      <a:pt x="301" y="1140"/>
                    </a:lnTo>
                    <a:lnTo>
                      <a:pt x="299" y="1140"/>
                    </a:lnTo>
                    <a:lnTo>
                      <a:pt x="299" y="1142"/>
                    </a:lnTo>
                    <a:lnTo>
                      <a:pt x="297" y="1142"/>
                    </a:lnTo>
                    <a:lnTo>
                      <a:pt x="296" y="1142"/>
                    </a:lnTo>
                    <a:lnTo>
                      <a:pt x="296" y="1144"/>
                    </a:lnTo>
                    <a:lnTo>
                      <a:pt x="294" y="1144"/>
                    </a:lnTo>
                    <a:lnTo>
                      <a:pt x="294" y="1146"/>
                    </a:lnTo>
                    <a:lnTo>
                      <a:pt x="296" y="1146"/>
                    </a:lnTo>
                    <a:lnTo>
                      <a:pt x="296" y="1148"/>
                    </a:lnTo>
                    <a:lnTo>
                      <a:pt x="296" y="1150"/>
                    </a:lnTo>
                    <a:lnTo>
                      <a:pt x="296" y="1152"/>
                    </a:lnTo>
                    <a:lnTo>
                      <a:pt x="294" y="1152"/>
                    </a:lnTo>
                    <a:lnTo>
                      <a:pt x="294" y="1154"/>
                    </a:lnTo>
                    <a:lnTo>
                      <a:pt x="294" y="1156"/>
                    </a:lnTo>
                    <a:lnTo>
                      <a:pt x="292" y="1156"/>
                    </a:lnTo>
                    <a:lnTo>
                      <a:pt x="292" y="1158"/>
                    </a:lnTo>
                    <a:lnTo>
                      <a:pt x="292" y="1160"/>
                    </a:lnTo>
                    <a:lnTo>
                      <a:pt x="292" y="1162"/>
                    </a:lnTo>
                    <a:lnTo>
                      <a:pt x="294" y="1162"/>
                    </a:lnTo>
                    <a:lnTo>
                      <a:pt x="296" y="1162"/>
                    </a:lnTo>
                    <a:lnTo>
                      <a:pt x="294" y="1164"/>
                    </a:lnTo>
                    <a:lnTo>
                      <a:pt x="294" y="1165"/>
                    </a:lnTo>
                    <a:lnTo>
                      <a:pt x="294" y="1167"/>
                    </a:lnTo>
                    <a:lnTo>
                      <a:pt x="294" y="1169"/>
                    </a:lnTo>
                    <a:lnTo>
                      <a:pt x="292" y="1169"/>
                    </a:lnTo>
                    <a:lnTo>
                      <a:pt x="292" y="1171"/>
                    </a:lnTo>
                    <a:lnTo>
                      <a:pt x="290" y="1171"/>
                    </a:lnTo>
                    <a:lnTo>
                      <a:pt x="292" y="1173"/>
                    </a:lnTo>
                    <a:lnTo>
                      <a:pt x="292" y="1175"/>
                    </a:lnTo>
                    <a:lnTo>
                      <a:pt x="290" y="1175"/>
                    </a:lnTo>
                    <a:lnTo>
                      <a:pt x="288" y="1175"/>
                    </a:lnTo>
                    <a:lnTo>
                      <a:pt x="286" y="1175"/>
                    </a:lnTo>
                    <a:lnTo>
                      <a:pt x="286" y="1177"/>
                    </a:lnTo>
                    <a:lnTo>
                      <a:pt x="284" y="1177"/>
                    </a:lnTo>
                    <a:lnTo>
                      <a:pt x="282" y="1179"/>
                    </a:lnTo>
                    <a:lnTo>
                      <a:pt x="280" y="1179"/>
                    </a:lnTo>
                    <a:lnTo>
                      <a:pt x="280" y="1177"/>
                    </a:lnTo>
                    <a:lnTo>
                      <a:pt x="280" y="1179"/>
                    </a:lnTo>
                    <a:lnTo>
                      <a:pt x="278" y="1179"/>
                    </a:lnTo>
                    <a:lnTo>
                      <a:pt x="278" y="1181"/>
                    </a:lnTo>
                    <a:lnTo>
                      <a:pt x="276" y="1181"/>
                    </a:lnTo>
                    <a:lnTo>
                      <a:pt x="274" y="1183"/>
                    </a:lnTo>
                    <a:lnTo>
                      <a:pt x="274" y="1185"/>
                    </a:lnTo>
                    <a:lnTo>
                      <a:pt x="274" y="1187"/>
                    </a:lnTo>
                    <a:lnTo>
                      <a:pt x="273" y="1187"/>
                    </a:lnTo>
                    <a:lnTo>
                      <a:pt x="271" y="1187"/>
                    </a:lnTo>
                    <a:lnTo>
                      <a:pt x="271" y="1185"/>
                    </a:lnTo>
                    <a:lnTo>
                      <a:pt x="271" y="1183"/>
                    </a:lnTo>
                    <a:lnTo>
                      <a:pt x="271" y="1185"/>
                    </a:lnTo>
                    <a:lnTo>
                      <a:pt x="269" y="1185"/>
                    </a:lnTo>
                    <a:lnTo>
                      <a:pt x="269" y="1187"/>
                    </a:lnTo>
                    <a:lnTo>
                      <a:pt x="269" y="1189"/>
                    </a:lnTo>
                    <a:lnTo>
                      <a:pt x="271" y="1189"/>
                    </a:lnTo>
                    <a:lnTo>
                      <a:pt x="271" y="1190"/>
                    </a:lnTo>
                    <a:lnTo>
                      <a:pt x="273" y="1190"/>
                    </a:lnTo>
                    <a:lnTo>
                      <a:pt x="273" y="1192"/>
                    </a:lnTo>
                    <a:lnTo>
                      <a:pt x="273" y="1194"/>
                    </a:lnTo>
                    <a:lnTo>
                      <a:pt x="271" y="1194"/>
                    </a:lnTo>
                    <a:lnTo>
                      <a:pt x="271" y="1196"/>
                    </a:lnTo>
                    <a:lnTo>
                      <a:pt x="271" y="1198"/>
                    </a:lnTo>
                    <a:lnTo>
                      <a:pt x="269" y="1198"/>
                    </a:lnTo>
                    <a:lnTo>
                      <a:pt x="267" y="1194"/>
                    </a:lnTo>
                    <a:lnTo>
                      <a:pt x="267" y="1192"/>
                    </a:lnTo>
                    <a:lnTo>
                      <a:pt x="267" y="1190"/>
                    </a:lnTo>
                    <a:lnTo>
                      <a:pt x="267" y="1189"/>
                    </a:lnTo>
                    <a:lnTo>
                      <a:pt x="267" y="1187"/>
                    </a:lnTo>
                    <a:lnTo>
                      <a:pt x="267" y="1185"/>
                    </a:lnTo>
                    <a:lnTo>
                      <a:pt x="265" y="1183"/>
                    </a:lnTo>
                    <a:lnTo>
                      <a:pt x="265" y="1181"/>
                    </a:lnTo>
                    <a:lnTo>
                      <a:pt x="265" y="1179"/>
                    </a:lnTo>
                    <a:lnTo>
                      <a:pt x="265" y="1175"/>
                    </a:lnTo>
                    <a:lnTo>
                      <a:pt x="267" y="1173"/>
                    </a:lnTo>
                    <a:lnTo>
                      <a:pt x="269" y="1173"/>
                    </a:lnTo>
                    <a:lnTo>
                      <a:pt x="269" y="1171"/>
                    </a:lnTo>
                    <a:lnTo>
                      <a:pt x="269" y="1169"/>
                    </a:lnTo>
                    <a:lnTo>
                      <a:pt x="267" y="1169"/>
                    </a:lnTo>
                    <a:lnTo>
                      <a:pt x="267" y="1167"/>
                    </a:lnTo>
                    <a:lnTo>
                      <a:pt x="265" y="1167"/>
                    </a:lnTo>
                    <a:lnTo>
                      <a:pt x="263" y="1169"/>
                    </a:lnTo>
                    <a:lnTo>
                      <a:pt x="261" y="1169"/>
                    </a:lnTo>
                    <a:lnTo>
                      <a:pt x="261" y="1171"/>
                    </a:lnTo>
                    <a:lnTo>
                      <a:pt x="259" y="1171"/>
                    </a:lnTo>
                    <a:lnTo>
                      <a:pt x="257" y="1171"/>
                    </a:lnTo>
                    <a:lnTo>
                      <a:pt x="259" y="1169"/>
                    </a:lnTo>
                    <a:lnTo>
                      <a:pt x="257" y="1167"/>
                    </a:lnTo>
                    <a:lnTo>
                      <a:pt x="259" y="1165"/>
                    </a:lnTo>
                    <a:lnTo>
                      <a:pt x="259" y="1164"/>
                    </a:lnTo>
                    <a:lnTo>
                      <a:pt x="259" y="1162"/>
                    </a:lnTo>
                    <a:lnTo>
                      <a:pt x="257" y="1162"/>
                    </a:lnTo>
                    <a:lnTo>
                      <a:pt x="257" y="1160"/>
                    </a:lnTo>
                    <a:lnTo>
                      <a:pt x="255" y="1158"/>
                    </a:lnTo>
                    <a:lnTo>
                      <a:pt x="257" y="1158"/>
                    </a:lnTo>
                    <a:lnTo>
                      <a:pt x="255" y="1158"/>
                    </a:lnTo>
                    <a:lnTo>
                      <a:pt x="253" y="1158"/>
                    </a:lnTo>
                    <a:lnTo>
                      <a:pt x="253" y="1160"/>
                    </a:lnTo>
                    <a:lnTo>
                      <a:pt x="253" y="1162"/>
                    </a:lnTo>
                    <a:lnTo>
                      <a:pt x="251" y="1164"/>
                    </a:lnTo>
                    <a:lnTo>
                      <a:pt x="251" y="1165"/>
                    </a:lnTo>
                    <a:lnTo>
                      <a:pt x="249" y="1167"/>
                    </a:lnTo>
                    <a:lnTo>
                      <a:pt x="249" y="1169"/>
                    </a:lnTo>
                    <a:lnTo>
                      <a:pt x="248" y="1171"/>
                    </a:lnTo>
                    <a:lnTo>
                      <a:pt x="249" y="1173"/>
                    </a:lnTo>
                    <a:lnTo>
                      <a:pt x="249" y="1175"/>
                    </a:lnTo>
                    <a:lnTo>
                      <a:pt x="248" y="1175"/>
                    </a:lnTo>
                    <a:lnTo>
                      <a:pt x="248" y="1173"/>
                    </a:lnTo>
                    <a:lnTo>
                      <a:pt x="246" y="1173"/>
                    </a:lnTo>
                    <a:lnTo>
                      <a:pt x="246" y="1175"/>
                    </a:lnTo>
                    <a:lnTo>
                      <a:pt x="244" y="1175"/>
                    </a:lnTo>
                    <a:lnTo>
                      <a:pt x="240" y="1181"/>
                    </a:lnTo>
                    <a:lnTo>
                      <a:pt x="238" y="1181"/>
                    </a:lnTo>
                    <a:lnTo>
                      <a:pt x="236" y="1179"/>
                    </a:lnTo>
                    <a:lnTo>
                      <a:pt x="236" y="1177"/>
                    </a:lnTo>
                    <a:lnTo>
                      <a:pt x="234" y="1177"/>
                    </a:lnTo>
                    <a:lnTo>
                      <a:pt x="232" y="1177"/>
                    </a:lnTo>
                    <a:lnTo>
                      <a:pt x="228" y="1179"/>
                    </a:lnTo>
                    <a:lnTo>
                      <a:pt x="228" y="1181"/>
                    </a:lnTo>
                    <a:lnTo>
                      <a:pt x="228" y="1183"/>
                    </a:lnTo>
                    <a:lnTo>
                      <a:pt x="228" y="1185"/>
                    </a:lnTo>
                    <a:lnTo>
                      <a:pt x="226" y="1185"/>
                    </a:lnTo>
                    <a:lnTo>
                      <a:pt x="224" y="1183"/>
                    </a:lnTo>
                    <a:lnTo>
                      <a:pt x="223" y="1181"/>
                    </a:lnTo>
                    <a:lnTo>
                      <a:pt x="223" y="1183"/>
                    </a:lnTo>
                    <a:lnTo>
                      <a:pt x="221" y="1185"/>
                    </a:lnTo>
                    <a:lnTo>
                      <a:pt x="221" y="1183"/>
                    </a:lnTo>
                    <a:lnTo>
                      <a:pt x="219" y="1183"/>
                    </a:lnTo>
                    <a:lnTo>
                      <a:pt x="217" y="1183"/>
                    </a:lnTo>
                    <a:lnTo>
                      <a:pt x="217" y="1181"/>
                    </a:lnTo>
                    <a:lnTo>
                      <a:pt x="215" y="1181"/>
                    </a:lnTo>
                    <a:lnTo>
                      <a:pt x="211" y="1181"/>
                    </a:lnTo>
                    <a:lnTo>
                      <a:pt x="209" y="1185"/>
                    </a:lnTo>
                    <a:lnTo>
                      <a:pt x="209" y="1187"/>
                    </a:lnTo>
                    <a:lnTo>
                      <a:pt x="209" y="1189"/>
                    </a:lnTo>
                    <a:lnTo>
                      <a:pt x="209" y="1190"/>
                    </a:lnTo>
                    <a:lnTo>
                      <a:pt x="209" y="1192"/>
                    </a:lnTo>
                    <a:lnTo>
                      <a:pt x="207" y="1192"/>
                    </a:lnTo>
                    <a:lnTo>
                      <a:pt x="207" y="1194"/>
                    </a:lnTo>
                    <a:lnTo>
                      <a:pt x="209" y="1196"/>
                    </a:lnTo>
                    <a:lnTo>
                      <a:pt x="207" y="1196"/>
                    </a:lnTo>
                    <a:lnTo>
                      <a:pt x="207" y="1198"/>
                    </a:lnTo>
                    <a:lnTo>
                      <a:pt x="205" y="1198"/>
                    </a:lnTo>
                    <a:lnTo>
                      <a:pt x="203" y="1200"/>
                    </a:lnTo>
                    <a:lnTo>
                      <a:pt x="201" y="1200"/>
                    </a:lnTo>
                    <a:lnTo>
                      <a:pt x="201" y="1202"/>
                    </a:lnTo>
                    <a:lnTo>
                      <a:pt x="200" y="1202"/>
                    </a:lnTo>
                    <a:lnTo>
                      <a:pt x="198" y="1204"/>
                    </a:lnTo>
                    <a:lnTo>
                      <a:pt x="196" y="1204"/>
                    </a:lnTo>
                    <a:lnTo>
                      <a:pt x="196" y="1202"/>
                    </a:lnTo>
                    <a:lnTo>
                      <a:pt x="194" y="1202"/>
                    </a:lnTo>
                    <a:lnTo>
                      <a:pt x="194" y="1204"/>
                    </a:lnTo>
                    <a:lnTo>
                      <a:pt x="192" y="1202"/>
                    </a:lnTo>
                    <a:lnTo>
                      <a:pt x="190" y="1202"/>
                    </a:lnTo>
                    <a:lnTo>
                      <a:pt x="188" y="1204"/>
                    </a:lnTo>
                    <a:lnTo>
                      <a:pt x="186" y="1204"/>
                    </a:lnTo>
                    <a:lnTo>
                      <a:pt x="186" y="1202"/>
                    </a:lnTo>
                    <a:lnTo>
                      <a:pt x="184" y="1202"/>
                    </a:lnTo>
                    <a:lnTo>
                      <a:pt x="184" y="1200"/>
                    </a:lnTo>
                    <a:lnTo>
                      <a:pt x="184" y="1198"/>
                    </a:lnTo>
                    <a:lnTo>
                      <a:pt x="182" y="1198"/>
                    </a:lnTo>
                    <a:lnTo>
                      <a:pt x="180" y="1200"/>
                    </a:lnTo>
                    <a:lnTo>
                      <a:pt x="180" y="1198"/>
                    </a:lnTo>
                    <a:lnTo>
                      <a:pt x="180" y="1196"/>
                    </a:lnTo>
                    <a:lnTo>
                      <a:pt x="180" y="1194"/>
                    </a:lnTo>
                    <a:lnTo>
                      <a:pt x="178" y="1194"/>
                    </a:lnTo>
                    <a:lnTo>
                      <a:pt x="178" y="1192"/>
                    </a:lnTo>
                    <a:lnTo>
                      <a:pt x="176" y="1192"/>
                    </a:lnTo>
                    <a:lnTo>
                      <a:pt x="176" y="1189"/>
                    </a:lnTo>
                    <a:lnTo>
                      <a:pt x="175" y="1189"/>
                    </a:lnTo>
                    <a:lnTo>
                      <a:pt x="175" y="1187"/>
                    </a:lnTo>
                    <a:lnTo>
                      <a:pt x="175" y="1185"/>
                    </a:lnTo>
                    <a:lnTo>
                      <a:pt x="173" y="1185"/>
                    </a:lnTo>
                    <a:lnTo>
                      <a:pt x="171" y="1187"/>
                    </a:lnTo>
                    <a:lnTo>
                      <a:pt x="171" y="1185"/>
                    </a:lnTo>
                    <a:lnTo>
                      <a:pt x="169" y="1185"/>
                    </a:lnTo>
                    <a:lnTo>
                      <a:pt x="167" y="1185"/>
                    </a:lnTo>
                    <a:lnTo>
                      <a:pt x="167" y="1183"/>
                    </a:lnTo>
                    <a:lnTo>
                      <a:pt x="165" y="1181"/>
                    </a:lnTo>
                    <a:lnTo>
                      <a:pt x="167" y="1181"/>
                    </a:lnTo>
                    <a:lnTo>
                      <a:pt x="169" y="1179"/>
                    </a:lnTo>
                    <a:lnTo>
                      <a:pt x="169" y="1177"/>
                    </a:lnTo>
                    <a:lnTo>
                      <a:pt x="167" y="1177"/>
                    </a:lnTo>
                    <a:lnTo>
                      <a:pt x="165" y="1177"/>
                    </a:lnTo>
                    <a:lnTo>
                      <a:pt x="165" y="1175"/>
                    </a:lnTo>
                    <a:lnTo>
                      <a:pt x="167" y="1175"/>
                    </a:lnTo>
                    <a:lnTo>
                      <a:pt x="167" y="1173"/>
                    </a:lnTo>
                    <a:lnTo>
                      <a:pt x="167" y="1171"/>
                    </a:lnTo>
                    <a:lnTo>
                      <a:pt x="169" y="1169"/>
                    </a:lnTo>
                    <a:lnTo>
                      <a:pt x="169" y="1167"/>
                    </a:lnTo>
                    <a:lnTo>
                      <a:pt x="169" y="1165"/>
                    </a:lnTo>
                    <a:lnTo>
                      <a:pt x="171" y="1164"/>
                    </a:lnTo>
                    <a:lnTo>
                      <a:pt x="173" y="1162"/>
                    </a:lnTo>
                    <a:lnTo>
                      <a:pt x="173" y="1160"/>
                    </a:lnTo>
                    <a:lnTo>
                      <a:pt x="171" y="1160"/>
                    </a:lnTo>
                    <a:lnTo>
                      <a:pt x="169" y="1158"/>
                    </a:lnTo>
                    <a:lnTo>
                      <a:pt x="169" y="1156"/>
                    </a:lnTo>
                    <a:lnTo>
                      <a:pt x="169" y="1154"/>
                    </a:lnTo>
                    <a:lnTo>
                      <a:pt x="171" y="1152"/>
                    </a:lnTo>
                    <a:lnTo>
                      <a:pt x="171" y="1150"/>
                    </a:lnTo>
                    <a:lnTo>
                      <a:pt x="173" y="1148"/>
                    </a:lnTo>
                    <a:lnTo>
                      <a:pt x="175" y="1146"/>
                    </a:lnTo>
                    <a:lnTo>
                      <a:pt x="173" y="1146"/>
                    </a:lnTo>
                    <a:lnTo>
                      <a:pt x="173" y="1144"/>
                    </a:lnTo>
                    <a:lnTo>
                      <a:pt x="173" y="1142"/>
                    </a:lnTo>
                    <a:lnTo>
                      <a:pt x="173" y="1140"/>
                    </a:lnTo>
                    <a:lnTo>
                      <a:pt x="173" y="1139"/>
                    </a:lnTo>
                    <a:lnTo>
                      <a:pt x="175" y="1139"/>
                    </a:lnTo>
                    <a:lnTo>
                      <a:pt x="175" y="1137"/>
                    </a:lnTo>
                    <a:lnTo>
                      <a:pt x="175" y="1135"/>
                    </a:lnTo>
                    <a:lnTo>
                      <a:pt x="173" y="1135"/>
                    </a:lnTo>
                    <a:lnTo>
                      <a:pt x="173" y="1133"/>
                    </a:lnTo>
                    <a:lnTo>
                      <a:pt x="173" y="1131"/>
                    </a:lnTo>
                    <a:lnTo>
                      <a:pt x="173" y="1129"/>
                    </a:lnTo>
                    <a:lnTo>
                      <a:pt x="173" y="1127"/>
                    </a:lnTo>
                    <a:lnTo>
                      <a:pt x="173" y="1125"/>
                    </a:lnTo>
                    <a:lnTo>
                      <a:pt x="173" y="1123"/>
                    </a:lnTo>
                    <a:lnTo>
                      <a:pt x="173" y="1121"/>
                    </a:lnTo>
                    <a:lnTo>
                      <a:pt x="175" y="1121"/>
                    </a:lnTo>
                    <a:lnTo>
                      <a:pt x="175" y="1119"/>
                    </a:lnTo>
                    <a:lnTo>
                      <a:pt x="175" y="1117"/>
                    </a:lnTo>
                    <a:lnTo>
                      <a:pt x="173" y="1117"/>
                    </a:lnTo>
                    <a:lnTo>
                      <a:pt x="173" y="1115"/>
                    </a:lnTo>
                    <a:lnTo>
                      <a:pt x="175" y="1115"/>
                    </a:lnTo>
                    <a:lnTo>
                      <a:pt x="175" y="1114"/>
                    </a:lnTo>
                    <a:lnTo>
                      <a:pt x="176" y="1112"/>
                    </a:lnTo>
                    <a:lnTo>
                      <a:pt x="176" y="1110"/>
                    </a:lnTo>
                    <a:lnTo>
                      <a:pt x="176" y="1108"/>
                    </a:lnTo>
                    <a:lnTo>
                      <a:pt x="176" y="1106"/>
                    </a:lnTo>
                    <a:lnTo>
                      <a:pt x="176" y="1104"/>
                    </a:lnTo>
                    <a:lnTo>
                      <a:pt x="178" y="1102"/>
                    </a:lnTo>
                    <a:lnTo>
                      <a:pt x="178" y="1100"/>
                    </a:lnTo>
                    <a:lnTo>
                      <a:pt x="178" y="1098"/>
                    </a:lnTo>
                    <a:lnTo>
                      <a:pt x="180" y="1098"/>
                    </a:lnTo>
                    <a:lnTo>
                      <a:pt x="180" y="1096"/>
                    </a:lnTo>
                    <a:lnTo>
                      <a:pt x="180" y="1094"/>
                    </a:lnTo>
                    <a:lnTo>
                      <a:pt x="178" y="1094"/>
                    </a:lnTo>
                    <a:lnTo>
                      <a:pt x="178" y="1092"/>
                    </a:lnTo>
                    <a:lnTo>
                      <a:pt x="178" y="1090"/>
                    </a:lnTo>
                    <a:lnTo>
                      <a:pt x="180" y="1090"/>
                    </a:lnTo>
                    <a:lnTo>
                      <a:pt x="182" y="1090"/>
                    </a:lnTo>
                    <a:lnTo>
                      <a:pt x="184" y="1090"/>
                    </a:lnTo>
                    <a:lnTo>
                      <a:pt x="184" y="1089"/>
                    </a:lnTo>
                    <a:lnTo>
                      <a:pt x="184" y="1087"/>
                    </a:lnTo>
                    <a:lnTo>
                      <a:pt x="182" y="1085"/>
                    </a:lnTo>
                    <a:lnTo>
                      <a:pt x="182" y="1083"/>
                    </a:lnTo>
                    <a:lnTo>
                      <a:pt x="182" y="1081"/>
                    </a:lnTo>
                    <a:lnTo>
                      <a:pt x="182" y="1079"/>
                    </a:lnTo>
                    <a:lnTo>
                      <a:pt x="182" y="1077"/>
                    </a:lnTo>
                    <a:lnTo>
                      <a:pt x="184" y="1075"/>
                    </a:lnTo>
                    <a:lnTo>
                      <a:pt x="184" y="1073"/>
                    </a:lnTo>
                    <a:lnTo>
                      <a:pt x="184" y="1071"/>
                    </a:lnTo>
                    <a:lnTo>
                      <a:pt x="186" y="1071"/>
                    </a:lnTo>
                    <a:lnTo>
                      <a:pt x="186" y="1069"/>
                    </a:lnTo>
                    <a:lnTo>
                      <a:pt x="186" y="1067"/>
                    </a:lnTo>
                    <a:lnTo>
                      <a:pt x="186" y="1065"/>
                    </a:lnTo>
                    <a:lnTo>
                      <a:pt x="186" y="1064"/>
                    </a:lnTo>
                    <a:lnTo>
                      <a:pt x="188" y="1064"/>
                    </a:lnTo>
                    <a:lnTo>
                      <a:pt x="188" y="1062"/>
                    </a:lnTo>
                    <a:lnTo>
                      <a:pt x="186" y="1060"/>
                    </a:lnTo>
                    <a:lnTo>
                      <a:pt x="186" y="1058"/>
                    </a:lnTo>
                    <a:lnTo>
                      <a:pt x="184" y="1058"/>
                    </a:lnTo>
                    <a:lnTo>
                      <a:pt x="182" y="1056"/>
                    </a:lnTo>
                    <a:lnTo>
                      <a:pt x="182" y="1058"/>
                    </a:lnTo>
                    <a:lnTo>
                      <a:pt x="180" y="1058"/>
                    </a:lnTo>
                    <a:lnTo>
                      <a:pt x="180" y="1060"/>
                    </a:lnTo>
                    <a:lnTo>
                      <a:pt x="178" y="1060"/>
                    </a:lnTo>
                    <a:lnTo>
                      <a:pt x="176" y="1060"/>
                    </a:lnTo>
                    <a:lnTo>
                      <a:pt x="176" y="1058"/>
                    </a:lnTo>
                    <a:lnTo>
                      <a:pt x="175" y="1058"/>
                    </a:lnTo>
                    <a:lnTo>
                      <a:pt x="175" y="1056"/>
                    </a:lnTo>
                    <a:lnTo>
                      <a:pt x="173" y="1054"/>
                    </a:lnTo>
                    <a:lnTo>
                      <a:pt x="173" y="1052"/>
                    </a:lnTo>
                    <a:lnTo>
                      <a:pt x="171" y="1052"/>
                    </a:lnTo>
                    <a:lnTo>
                      <a:pt x="169" y="1052"/>
                    </a:lnTo>
                    <a:lnTo>
                      <a:pt x="167" y="1052"/>
                    </a:lnTo>
                    <a:lnTo>
                      <a:pt x="165" y="1052"/>
                    </a:lnTo>
                    <a:lnTo>
                      <a:pt x="163" y="1052"/>
                    </a:lnTo>
                    <a:lnTo>
                      <a:pt x="163" y="1050"/>
                    </a:lnTo>
                    <a:lnTo>
                      <a:pt x="163" y="1048"/>
                    </a:lnTo>
                    <a:lnTo>
                      <a:pt x="163" y="1046"/>
                    </a:lnTo>
                    <a:lnTo>
                      <a:pt x="163" y="1044"/>
                    </a:lnTo>
                    <a:lnTo>
                      <a:pt x="163" y="1042"/>
                    </a:lnTo>
                    <a:lnTo>
                      <a:pt x="163" y="1040"/>
                    </a:lnTo>
                    <a:lnTo>
                      <a:pt x="163" y="1039"/>
                    </a:lnTo>
                    <a:lnTo>
                      <a:pt x="163" y="1037"/>
                    </a:lnTo>
                    <a:lnTo>
                      <a:pt x="163" y="1035"/>
                    </a:lnTo>
                    <a:lnTo>
                      <a:pt x="161" y="1033"/>
                    </a:lnTo>
                    <a:lnTo>
                      <a:pt x="161" y="1031"/>
                    </a:lnTo>
                    <a:lnTo>
                      <a:pt x="159" y="1031"/>
                    </a:lnTo>
                    <a:lnTo>
                      <a:pt x="157" y="1031"/>
                    </a:lnTo>
                    <a:lnTo>
                      <a:pt x="157" y="1029"/>
                    </a:lnTo>
                    <a:lnTo>
                      <a:pt x="157" y="1027"/>
                    </a:lnTo>
                    <a:lnTo>
                      <a:pt x="155" y="1027"/>
                    </a:lnTo>
                    <a:lnTo>
                      <a:pt x="155" y="1025"/>
                    </a:lnTo>
                    <a:lnTo>
                      <a:pt x="153" y="1025"/>
                    </a:lnTo>
                    <a:lnTo>
                      <a:pt x="153" y="1023"/>
                    </a:lnTo>
                    <a:lnTo>
                      <a:pt x="153" y="1021"/>
                    </a:lnTo>
                    <a:lnTo>
                      <a:pt x="151" y="1021"/>
                    </a:lnTo>
                    <a:lnTo>
                      <a:pt x="153" y="1021"/>
                    </a:lnTo>
                    <a:lnTo>
                      <a:pt x="151" y="1019"/>
                    </a:lnTo>
                    <a:lnTo>
                      <a:pt x="151" y="1017"/>
                    </a:lnTo>
                    <a:lnTo>
                      <a:pt x="153" y="1017"/>
                    </a:lnTo>
                    <a:lnTo>
                      <a:pt x="151" y="1017"/>
                    </a:lnTo>
                    <a:lnTo>
                      <a:pt x="151" y="1015"/>
                    </a:lnTo>
                    <a:lnTo>
                      <a:pt x="151" y="1014"/>
                    </a:lnTo>
                    <a:lnTo>
                      <a:pt x="153" y="1014"/>
                    </a:lnTo>
                    <a:lnTo>
                      <a:pt x="153" y="1012"/>
                    </a:lnTo>
                    <a:lnTo>
                      <a:pt x="153" y="1010"/>
                    </a:lnTo>
                    <a:lnTo>
                      <a:pt x="155" y="1010"/>
                    </a:lnTo>
                    <a:lnTo>
                      <a:pt x="155" y="1008"/>
                    </a:lnTo>
                    <a:lnTo>
                      <a:pt x="155" y="1006"/>
                    </a:lnTo>
                    <a:lnTo>
                      <a:pt x="157" y="1006"/>
                    </a:lnTo>
                    <a:lnTo>
                      <a:pt x="157" y="1004"/>
                    </a:lnTo>
                    <a:lnTo>
                      <a:pt x="159" y="1002"/>
                    </a:lnTo>
                    <a:lnTo>
                      <a:pt x="159" y="1000"/>
                    </a:lnTo>
                    <a:lnTo>
                      <a:pt x="157" y="1000"/>
                    </a:lnTo>
                    <a:lnTo>
                      <a:pt x="159" y="998"/>
                    </a:lnTo>
                    <a:lnTo>
                      <a:pt x="159" y="996"/>
                    </a:lnTo>
                    <a:lnTo>
                      <a:pt x="161" y="996"/>
                    </a:lnTo>
                    <a:lnTo>
                      <a:pt x="161" y="994"/>
                    </a:lnTo>
                    <a:lnTo>
                      <a:pt x="159" y="992"/>
                    </a:lnTo>
                    <a:lnTo>
                      <a:pt x="159" y="990"/>
                    </a:lnTo>
                    <a:lnTo>
                      <a:pt x="157" y="990"/>
                    </a:lnTo>
                    <a:lnTo>
                      <a:pt x="157" y="989"/>
                    </a:lnTo>
                    <a:lnTo>
                      <a:pt x="159" y="989"/>
                    </a:lnTo>
                    <a:lnTo>
                      <a:pt x="159" y="987"/>
                    </a:lnTo>
                    <a:lnTo>
                      <a:pt x="159" y="985"/>
                    </a:lnTo>
                    <a:lnTo>
                      <a:pt x="157" y="985"/>
                    </a:lnTo>
                    <a:lnTo>
                      <a:pt x="157" y="983"/>
                    </a:lnTo>
                    <a:lnTo>
                      <a:pt x="155" y="983"/>
                    </a:lnTo>
                    <a:lnTo>
                      <a:pt x="155" y="981"/>
                    </a:lnTo>
                    <a:lnTo>
                      <a:pt x="157" y="979"/>
                    </a:lnTo>
                    <a:lnTo>
                      <a:pt x="155" y="979"/>
                    </a:lnTo>
                    <a:lnTo>
                      <a:pt x="153" y="979"/>
                    </a:lnTo>
                    <a:lnTo>
                      <a:pt x="151" y="979"/>
                    </a:lnTo>
                    <a:lnTo>
                      <a:pt x="150" y="981"/>
                    </a:lnTo>
                    <a:lnTo>
                      <a:pt x="148" y="979"/>
                    </a:lnTo>
                    <a:lnTo>
                      <a:pt x="146" y="979"/>
                    </a:lnTo>
                    <a:lnTo>
                      <a:pt x="144" y="981"/>
                    </a:lnTo>
                    <a:lnTo>
                      <a:pt x="142" y="979"/>
                    </a:lnTo>
                    <a:lnTo>
                      <a:pt x="140" y="979"/>
                    </a:lnTo>
                    <a:lnTo>
                      <a:pt x="138" y="977"/>
                    </a:lnTo>
                    <a:lnTo>
                      <a:pt x="136" y="975"/>
                    </a:lnTo>
                    <a:lnTo>
                      <a:pt x="136" y="973"/>
                    </a:lnTo>
                    <a:lnTo>
                      <a:pt x="136" y="971"/>
                    </a:lnTo>
                    <a:lnTo>
                      <a:pt x="138" y="969"/>
                    </a:lnTo>
                    <a:lnTo>
                      <a:pt x="140" y="969"/>
                    </a:lnTo>
                    <a:lnTo>
                      <a:pt x="138" y="969"/>
                    </a:lnTo>
                    <a:lnTo>
                      <a:pt x="138" y="967"/>
                    </a:lnTo>
                    <a:lnTo>
                      <a:pt x="138" y="966"/>
                    </a:lnTo>
                    <a:lnTo>
                      <a:pt x="140" y="966"/>
                    </a:lnTo>
                    <a:lnTo>
                      <a:pt x="140" y="964"/>
                    </a:lnTo>
                    <a:lnTo>
                      <a:pt x="142" y="964"/>
                    </a:lnTo>
                    <a:lnTo>
                      <a:pt x="140" y="964"/>
                    </a:lnTo>
                    <a:lnTo>
                      <a:pt x="140" y="962"/>
                    </a:lnTo>
                    <a:lnTo>
                      <a:pt x="140" y="960"/>
                    </a:lnTo>
                    <a:lnTo>
                      <a:pt x="140" y="958"/>
                    </a:lnTo>
                    <a:lnTo>
                      <a:pt x="142" y="958"/>
                    </a:lnTo>
                    <a:lnTo>
                      <a:pt x="140" y="958"/>
                    </a:lnTo>
                    <a:lnTo>
                      <a:pt x="142" y="958"/>
                    </a:lnTo>
                    <a:lnTo>
                      <a:pt x="142" y="956"/>
                    </a:lnTo>
                    <a:lnTo>
                      <a:pt x="144" y="956"/>
                    </a:lnTo>
                    <a:lnTo>
                      <a:pt x="144" y="954"/>
                    </a:lnTo>
                    <a:lnTo>
                      <a:pt x="146" y="954"/>
                    </a:lnTo>
                    <a:lnTo>
                      <a:pt x="144" y="954"/>
                    </a:lnTo>
                    <a:lnTo>
                      <a:pt x="144" y="952"/>
                    </a:lnTo>
                    <a:lnTo>
                      <a:pt x="146" y="952"/>
                    </a:lnTo>
                    <a:lnTo>
                      <a:pt x="144" y="952"/>
                    </a:lnTo>
                    <a:lnTo>
                      <a:pt x="144" y="950"/>
                    </a:lnTo>
                    <a:lnTo>
                      <a:pt x="142" y="950"/>
                    </a:lnTo>
                    <a:lnTo>
                      <a:pt x="142" y="948"/>
                    </a:lnTo>
                    <a:lnTo>
                      <a:pt x="142" y="950"/>
                    </a:lnTo>
                    <a:lnTo>
                      <a:pt x="140" y="950"/>
                    </a:lnTo>
                    <a:lnTo>
                      <a:pt x="140" y="948"/>
                    </a:lnTo>
                    <a:lnTo>
                      <a:pt x="138" y="946"/>
                    </a:lnTo>
                    <a:lnTo>
                      <a:pt x="140" y="946"/>
                    </a:lnTo>
                    <a:lnTo>
                      <a:pt x="138" y="946"/>
                    </a:lnTo>
                    <a:lnTo>
                      <a:pt x="138" y="944"/>
                    </a:lnTo>
                    <a:lnTo>
                      <a:pt x="140" y="944"/>
                    </a:lnTo>
                    <a:lnTo>
                      <a:pt x="140" y="942"/>
                    </a:lnTo>
                    <a:lnTo>
                      <a:pt x="138" y="942"/>
                    </a:lnTo>
                    <a:lnTo>
                      <a:pt x="140" y="942"/>
                    </a:lnTo>
                    <a:lnTo>
                      <a:pt x="138" y="944"/>
                    </a:lnTo>
                    <a:lnTo>
                      <a:pt x="138" y="942"/>
                    </a:lnTo>
                    <a:lnTo>
                      <a:pt x="138" y="941"/>
                    </a:lnTo>
                    <a:lnTo>
                      <a:pt x="138" y="939"/>
                    </a:lnTo>
                    <a:lnTo>
                      <a:pt x="138" y="937"/>
                    </a:lnTo>
                    <a:lnTo>
                      <a:pt x="136" y="937"/>
                    </a:lnTo>
                    <a:lnTo>
                      <a:pt x="138" y="937"/>
                    </a:lnTo>
                    <a:lnTo>
                      <a:pt x="138" y="935"/>
                    </a:lnTo>
                    <a:lnTo>
                      <a:pt x="136" y="935"/>
                    </a:lnTo>
                    <a:lnTo>
                      <a:pt x="136" y="933"/>
                    </a:lnTo>
                    <a:lnTo>
                      <a:pt x="136" y="931"/>
                    </a:lnTo>
                    <a:lnTo>
                      <a:pt x="134" y="931"/>
                    </a:lnTo>
                    <a:lnTo>
                      <a:pt x="136" y="931"/>
                    </a:lnTo>
                    <a:lnTo>
                      <a:pt x="134" y="931"/>
                    </a:lnTo>
                    <a:lnTo>
                      <a:pt x="134" y="929"/>
                    </a:lnTo>
                    <a:lnTo>
                      <a:pt x="136" y="929"/>
                    </a:lnTo>
                    <a:lnTo>
                      <a:pt x="134" y="927"/>
                    </a:lnTo>
                    <a:lnTo>
                      <a:pt x="134" y="925"/>
                    </a:lnTo>
                    <a:lnTo>
                      <a:pt x="132" y="925"/>
                    </a:lnTo>
                    <a:lnTo>
                      <a:pt x="134" y="925"/>
                    </a:lnTo>
                    <a:lnTo>
                      <a:pt x="132" y="923"/>
                    </a:lnTo>
                    <a:lnTo>
                      <a:pt x="134" y="923"/>
                    </a:lnTo>
                    <a:lnTo>
                      <a:pt x="132" y="923"/>
                    </a:lnTo>
                    <a:lnTo>
                      <a:pt x="132" y="921"/>
                    </a:lnTo>
                    <a:lnTo>
                      <a:pt x="130" y="921"/>
                    </a:lnTo>
                    <a:lnTo>
                      <a:pt x="128" y="921"/>
                    </a:lnTo>
                    <a:lnTo>
                      <a:pt x="130" y="921"/>
                    </a:lnTo>
                    <a:lnTo>
                      <a:pt x="128" y="921"/>
                    </a:lnTo>
                    <a:lnTo>
                      <a:pt x="128" y="919"/>
                    </a:lnTo>
                    <a:lnTo>
                      <a:pt x="130" y="919"/>
                    </a:lnTo>
                    <a:lnTo>
                      <a:pt x="128" y="919"/>
                    </a:lnTo>
                    <a:lnTo>
                      <a:pt x="130" y="919"/>
                    </a:lnTo>
                    <a:lnTo>
                      <a:pt x="128" y="919"/>
                    </a:lnTo>
                    <a:lnTo>
                      <a:pt x="128" y="917"/>
                    </a:lnTo>
                    <a:lnTo>
                      <a:pt x="128" y="916"/>
                    </a:lnTo>
                    <a:lnTo>
                      <a:pt x="126" y="916"/>
                    </a:lnTo>
                    <a:lnTo>
                      <a:pt x="126" y="914"/>
                    </a:lnTo>
                    <a:lnTo>
                      <a:pt x="125" y="914"/>
                    </a:lnTo>
                    <a:lnTo>
                      <a:pt x="126" y="914"/>
                    </a:lnTo>
                    <a:lnTo>
                      <a:pt x="125" y="914"/>
                    </a:lnTo>
                    <a:lnTo>
                      <a:pt x="125" y="912"/>
                    </a:lnTo>
                    <a:lnTo>
                      <a:pt x="123" y="910"/>
                    </a:lnTo>
                    <a:lnTo>
                      <a:pt x="125" y="910"/>
                    </a:lnTo>
                    <a:lnTo>
                      <a:pt x="123" y="910"/>
                    </a:lnTo>
                    <a:lnTo>
                      <a:pt x="121" y="910"/>
                    </a:lnTo>
                    <a:lnTo>
                      <a:pt x="119" y="910"/>
                    </a:lnTo>
                    <a:lnTo>
                      <a:pt x="117" y="910"/>
                    </a:lnTo>
                    <a:lnTo>
                      <a:pt x="115" y="910"/>
                    </a:lnTo>
                    <a:lnTo>
                      <a:pt x="115" y="908"/>
                    </a:lnTo>
                    <a:lnTo>
                      <a:pt x="113" y="908"/>
                    </a:lnTo>
                    <a:lnTo>
                      <a:pt x="111" y="908"/>
                    </a:lnTo>
                    <a:lnTo>
                      <a:pt x="109" y="908"/>
                    </a:lnTo>
                    <a:lnTo>
                      <a:pt x="107" y="908"/>
                    </a:lnTo>
                    <a:lnTo>
                      <a:pt x="105" y="908"/>
                    </a:lnTo>
                    <a:lnTo>
                      <a:pt x="103" y="908"/>
                    </a:lnTo>
                    <a:lnTo>
                      <a:pt x="102" y="910"/>
                    </a:lnTo>
                    <a:lnTo>
                      <a:pt x="100" y="910"/>
                    </a:lnTo>
                    <a:lnTo>
                      <a:pt x="98" y="910"/>
                    </a:lnTo>
                    <a:lnTo>
                      <a:pt x="98" y="912"/>
                    </a:lnTo>
                    <a:lnTo>
                      <a:pt x="96" y="912"/>
                    </a:lnTo>
                    <a:lnTo>
                      <a:pt x="96" y="910"/>
                    </a:lnTo>
                    <a:lnTo>
                      <a:pt x="96" y="908"/>
                    </a:lnTo>
                    <a:lnTo>
                      <a:pt x="96" y="906"/>
                    </a:lnTo>
                    <a:lnTo>
                      <a:pt x="98" y="906"/>
                    </a:lnTo>
                    <a:lnTo>
                      <a:pt x="98" y="904"/>
                    </a:lnTo>
                    <a:lnTo>
                      <a:pt x="98" y="902"/>
                    </a:lnTo>
                    <a:lnTo>
                      <a:pt x="98" y="900"/>
                    </a:lnTo>
                    <a:lnTo>
                      <a:pt x="98" y="898"/>
                    </a:lnTo>
                    <a:lnTo>
                      <a:pt x="98" y="896"/>
                    </a:lnTo>
                    <a:lnTo>
                      <a:pt x="98" y="894"/>
                    </a:lnTo>
                    <a:lnTo>
                      <a:pt x="100" y="894"/>
                    </a:lnTo>
                    <a:lnTo>
                      <a:pt x="100" y="896"/>
                    </a:lnTo>
                    <a:lnTo>
                      <a:pt x="102" y="896"/>
                    </a:lnTo>
                    <a:lnTo>
                      <a:pt x="103" y="896"/>
                    </a:lnTo>
                    <a:lnTo>
                      <a:pt x="105" y="894"/>
                    </a:lnTo>
                    <a:lnTo>
                      <a:pt x="107" y="894"/>
                    </a:lnTo>
                    <a:lnTo>
                      <a:pt x="109" y="894"/>
                    </a:lnTo>
                    <a:lnTo>
                      <a:pt x="109" y="892"/>
                    </a:lnTo>
                    <a:lnTo>
                      <a:pt x="111" y="892"/>
                    </a:lnTo>
                    <a:lnTo>
                      <a:pt x="111" y="891"/>
                    </a:lnTo>
                    <a:lnTo>
                      <a:pt x="109" y="889"/>
                    </a:lnTo>
                    <a:lnTo>
                      <a:pt x="109" y="887"/>
                    </a:lnTo>
                    <a:lnTo>
                      <a:pt x="109" y="885"/>
                    </a:lnTo>
                    <a:lnTo>
                      <a:pt x="109" y="883"/>
                    </a:lnTo>
                    <a:lnTo>
                      <a:pt x="107" y="883"/>
                    </a:lnTo>
                    <a:lnTo>
                      <a:pt x="107" y="881"/>
                    </a:lnTo>
                    <a:lnTo>
                      <a:pt x="105" y="879"/>
                    </a:lnTo>
                    <a:lnTo>
                      <a:pt x="103" y="879"/>
                    </a:lnTo>
                    <a:lnTo>
                      <a:pt x="103" y="877"/>
                    </a:lnTo>
                    <a:lnTo>
                      <a:pt x="102" y="875"/>
                    </a:lnTo>
                    <a:lnTo>
                      <a:pt x="102" y="873"/>
                    </a:lnTo>
                    <a:lnTo>
                      <a:pt x="103" y="873"/>
                    </a:lnTo>
                    <a:lnTo>
                      <a:pt x="103" y="871"/>
                    </a:lnTo>
                    <a:lnTo>
                      <a:pt x="102" y="871"/>
                    </a:lnTo>
                    <a:lnTo>
                      <a:pt x="100" y="869"/>
                    </a:lnTo>
                    <a:lnTo>
                      <a:pt x="102" y="869"/>
                    </a:lnTo>
                    <a:lnTo>
                      <a:pt x="102" y="867"/>
                    </a:lnTo>
                    <a:lnTo>
                      <a:pt x="100" y="867"/>
                    </a:lnTo>
                    <a:lnTo>
                      <a:pt x="100" y="866"/>
                    </a:lnTo>
                    <a:lnTo>
                      <a:pt x="98" y="866"/>
                    </a:lnTo>
                    <a:lnTo>
                      <a:pt x="98" y="864"/>
                    </a:lnTo>
                    <a:lnTo>
                      <a:pt x="96" y="866"/>
                    </a:lnTo>
                    <a:lnTo>
                      <a:pt x="98" y="866"/>
                    </a:lnTo>
                    <a:lnTo>
                      <a:pt x="98" y="867"/>
                    </a:lnTo>
                    <a:lnTo>
                      <a:pt x="96" y="867"/>
                    </a:lnTo>
                    <a:lnTo>
                      <a:pt x="94" y="867"/>
                    </a:lnTo>
                    <a:lnTo>
                      <a:pt x="92" y="867"/>
                    </a:lnTo>
                    <a:lnTo>
                      <a:pt x="92" y="869"/>
                    </a:lnTo>
                    <a:lnTo>
                      <a:pt x="92" y="867"/>
                    </a:lnTo>
                    <a:lnTo>
                      <a:pt x="90" y="869"/>
                    </a:lnTo>
                    <a:lnTo>
                      <a:pt x="88" y="871"/>
                    </a:lnTo>
                    <a:lnTo>
                      <a:pt x="88" y="873"/>
                    </a:lnTo>
                    <a:lnTo>
                      <a:pt x="86" y="873"/>
                    </a:lnTo>
                    <a:lnTo>
                      <a:pt x="88" y="875"/>
                    </a:lnTo>
                    <a:lnTo>
                      <a:pt x="86" y="875"/>
                    </a:lnTo>
                    <a:lnTo>
                      <a:pt x="84" y="873"/>
                    </a:lnTo>
                    <a:lnTo>
                      <a:pt x="84" y="875"/>
                    </a:lnTo>
                    <a:lnTo>
                      <a:pt x="82" y="873"/>
                    </a:lnTo>
                    <a:lnTo>
                      <a:pt x="80" y="871"/>
                    </a:lnTo>
                    <a:lnTo>
                      <a:pt x="78" y="871"/>
                    </a:lnTo>
                    <a:lnTo>
                      <a:pt x="78" y="869"/>
                    </a:lnTo>
                    <a:lnTo>
                      <a:pt x="77" y="869"/>
                    </a:lnTo>
                    <a:lnTo>
                      <a:pt x="75" y="869"/>
                    </a:lnTo>
                    <a:lnTo>
                      <a:pt x="73" y="869"/>
                    </a:lnTo>
                    <a:lnTo>
                      <a:pt x="73" y="871"/>
                    </a:lnTo>
                    <a:lnTo>
                      <a:pt x="71" y="871"/>
                    </a:lnTo>
                    <a:lnTo>
                      <a:pt x="69" y="871"/>
                    </a:lnTo>
                    <a:lnTo>
                      <a:pt x="67" y="873"/>
                    </a:lnTo>
                    <a:lnTo>
                      <a:pt x="67" y="871"/>
                    </a:lnTo>
                    <a:lnTo>
                      <a:pt x="65" y="869"/>
                    </a:lnTo>
                    <a:lnTo>
                      <a:pt x="65" y="867"/>
                    </a:lnTo>
                    <a:lnTo>
                      <a:pt x="61" y="867"/>
                    </a:lnTo>
                    <a:lnTo>
                      <a:pt x="59" y="866"/>
                    </a:lnTo>
                    <a:lnTo>
                      <a:pt x="57" y="866"/>
                    </a:lnTo>
                    <a:lnTo>
                      <a:pt x="55" y="864"/>
                    </a:lnTo>
                    <a:lnTo>
                      <a:pt x="53" y="864"/>
                    </a:lnTo>
                    <a:lnTo>
                      <a:pt x="52" y="864"/>
                    </a:lnTo>
                    <a:lnTo>
                      <a:pt x="50" y="862"/>
                    </a:lnTo>
                    <a:lnTo>
                      <a:pt x="50" y="860"/>
                    </a:lnTo>
                    <a:lnTo>
                      <a:pt x="48" y="858"/>
                    </a:lnTo>
                    <a:lnTo>
                      <a:pt x="46" y="856"/>
                    </a:lnTo>
                    <a:lnTo>
                      <a:pt x="46" y="858"/>
                    </a:lnTo>
                    <a:lnTo>
                      <a:pt x="48" y="862"/>
                    </a:lnTo>
                    <a:lnTo>
                      <a:pt x="44" y="862"/>
                    </a:lnTo>
                    <a:lnTo>
                      <a:pt x="42" y="862"/>
                    </a:lnTo>
                    <a:lnTo>
                      <a:pt x="40" y="864"/>
                    </a:lnTo>
                    <a:lnTo>
                      <a:pt x="38" y="864"/>
                    </a:lnTo>
                    <a:lnTo>
                      <a:pt x="36" y="866"/>
                    </a:lnTo>
                    <a:lnTo>
                      <a:pt x="32" y="866"/>
                    </a:lnTo>
                    <a:lnTo>
                      <a:pt x="34" y="864"/>
                    </a:lnTo>
                    <a:lnTo>
                      <a:pt x="34" y="862"/>
                    </a:lnTo>
                    <a:lnTo>
                      <a:pt x="32" y="862"/>
                    </a:lnTo>
                    <a:lnTo>
                      <a:pt x="32" y="860"/>
                    </a:lnTo>
                    <a:lnTo>
                      <a:pt x="30" y="860"/>
                    </a:lnTo>
                    <a:lnTo>
                      <a:pt x="29" y="860"/>
                    </a:lnTo>
                    <a:lnTo>
                      <a:pt x="29" y="862"/>
                    </a:lnTo>
                    <a:lnTo>
                      <a:pt x="27" y="862"/>
                    </a:lnTo>
                    <a:lnTo>
                      <a:pt x="25" y="864"/>
                    </a:lnTo>
                    <a:lnTo>
                      <a:pt x="25" y="862"/>
                    </a:lnTo>
                    <a:lnTo>
                      <a:pt x="23" y="862"/>
                    </a:lnTo>
                    <a:lnTo>
                      <a:pt x="25" y="862"/>
                    </a:lnTo>
                    <a:lnTo>
                      <a:pt x="25" y="860"/>
                    </a:lnTo>
                    <a:lnTo>
                      <a:pt x="23" y="858"/>
                    </a:lnTo>
                    <a:lnTo>
                      <a:pt x="23" y="856"/>
                    </a:lnTo>
                    <a:lnTo>
                      <a:pt x="23" y="854"/>
                    </a:lnTo>
                    <a:lnTo>
                      <a:pt x="23" y="852"/>
                    </a:lnTo>
                    <a:lnTo>
                      <a:pt x="21" y="852"/>
                    </a:lnTo>
                    <a:lnTo>
                      <a:pt x="21" y="850"/>
                    </a:lnTo>
                    <a:lnTo>
                      <a:pt x="23" y="850"/>
                    </a:lnTo>
                    <a:lnTo>
                      <a:pt x="23" y="852"/>
                    </a:lnTo>
                    <a:lnTo>
                      <a:pt x="25" y="852"/>
                    </a:lnTo>
                    <a:lnTo>
                      <a:pt x="25" y="850"/>
                    </a:lnTo>
                    <a:lnTo>
                      <a:pt x="27" y="850"/>
                    </a:lnTo>
                    <a:lnTo>
                      <a:pt x="25" y="850"/>
                    </a:lnTo>
                    <a:lnTo>
                      <a:pt x="25" y="848"/>
                    </a:lnTo>
                    <a:lnTo>
                      <a:pt x="23" y="846"/>
                    </a:lnTo>
                    <a:lnTo>
                      <a:pt x="23" y="844"/>
                    </a:lnTo>
                    <a:lnTo>
                      <a:pt x="25" y="844"/>
                    </a:lnTo>
                    <a:lnTo>
                      <a:pt x="25" y="842"/>
                    </a:lnTo>
                    <a:lnTo>
                      <a:pt x="25" y="841"/>
                    </a:lnTo>
                    <a:lnTo>
                      <a:pt x="27" y="841"/>
                    </a:lnTo>
                    <a:lnTo>
                      <a:pt x="29" y="841"/>
                    </a:lnTo>
                    <a:lnTo>
                      <a:pt x="27" y="839"/>
                    </a:lnTo>
                    <a:lnTo>
                      <a:pt x="27" y="837"/>
                    </a:lnTo>
                    <a:lnTo>
                      <a:pt x="27" y="835"/>
                    </a:lnTo>
                    <a:lnTo>
                      <a:pt x="29" y="835"/>
                    </a:lnTo>
                    <a:lnTo>
                      <a:pt x="29" y="837"/>
                    </a:lnTo>
                    <a:lnTo>
                      <a:pt x="30" y="837"/>
                    </a:lnTo>
                    <a:lnTo>
                      <a:pt x="32" y="837"/>
                    </a:lnTo>
                    <a:lnTo>
                      <a:pt x="34" y="837"/>
                    </a:lnTo>
                    <a:lnTo>
                      <a:pt x="32" y="837"/>
                    </a:lnTo>
                    <a:lnTo>
                      <a:pt x="30" y="837"/>
                    </a:lnTo>
                    <a:lnTo>
                      <a:pt x="30" y="835"/>
                    </a:lnTo>
                    <a:lnTo>
                      <a:pt x="30" y="833"/>
                    </a:lnTo>
                    <a:lnTo>
                      <a:pt x="29" y="833"/>
                    </a:lnTo>
                    <a:lnTo>
                      <a:pt x="29" y="831"/>
                    </a:lnTo>
                    <a:lnTo>
                      <a:pt x="27" y="829"/>
                    </a:lnTo>
                    <a:lnTo>
                      <a:pt x="25" y="829"/>
                    </a:lnTo>
                    <a:lnTo>
                      <a:pt x="27" y="827"/>
                    </a:lnTo>
                    <a:lnTo>
                      <a:pt x="27" y="825"/>
                    </a:lnTo>
                    <a:lnTo>
                      <a:pt x="29" y="825"/>
                    </a:lnTo>
                    <a:lnTo>
                      <a:pt x="30" y="823"/>
                    </a:lnTo>
                    <a:lnTo>
                      <a:pt x="30" y="821"/>
                    </a:lnTo>
                    <a:lnTo>
                      <a:pt x="32" y="821"/>
                    </a:lnTo>
                    <a:lnTo>
                      <a:pt x="32" y="819"/>
                    </a:lnTo>
                    <a:lnTo>
                      <a:pt x="34" y="819"/>
                    </a:lnTo>
                    <a:lnTo>
                      <a:pt x="34" y="817"/>
                    </a:lnTo>
                    <a:lnTo>
                      <a:pt x="36" y="814"/>
                    </a:lnTo>
                    <a:lnTo>
                      <a:pt x="38" y="816"/>
                    </a:lnTo>
                    <a:lnTo>
                      <a:pt x="38" y="814"/>
                    </a:lnTo>
                    <a:lnTo>
                      <a:pt x="36" y="814"/>
                    </a:lnTo>
                    <a:lnTo>
                      <a:pt x="36" y="810"/>
                    </a:lnTo>
                    <a:lnTo>
                      <a:pt x="36" y="808"/>
                    </a:lnTo>
                    <a:lnTo>
                      <a:pt x="38" y="808"/>
                    </a:lnTo>
                    <a:lnTo>
                      <a:pt x="38" y="806"/>
                    </a:lnTo>
                    <a:lnTo>
                      <a:pt x="38" y="804"/>
                    </a:lnTo>
                    <a:lnTo>
                      <a:pt x="40" y="804"/>
                    </a:lnTo>
                    <a:lnTo>
                      <a:pt x="40" y="802"/>
                    </a:lnTo>
                    <a:lnTo>
                      <a:pt x="42" y="802"/>
                    </a:lnTo>
                    <a:lnTo>
                      <a:pt x="42" y="804"/>
                    </a:lnTo>
                    <a:lnTo>
                      <a:pt x="44" y="804"/>
                    </a:lnTo>
                    <a:lnTo>
                      <a:pt x="46" y="804"/>
                    </a:lnTo>
                    <a:lnTo>
                      <a:pt x="46" y="802"/>
                    </a:lnTo>
                    <a:lnTo>
                      <a:pt x="46" y="800"/>
                    </a:lnTo>
                    <a:lnTo>
                      <a:pt x="48" y="800"/>
                    </a:lnTo>
                    <a:lnTo>
                      <a:pt x="48" y="796"/>
                    </a:lnTo>
                    <a:lnTo>
                      <a:pt x="50" y="796"/>
                    </a:lnTo>
                    <a:lnTo>
                      <a:pt x="48" y="794"/>
                    </a:lnTo>
                    <a:lnTo>
                      <a:pt x="46" y="794"/>
                    </a:lnTo>
                    <a:lnTo>
                      <a:pt x="44" y="794"/>
                    </a:lnTo>
                    <a:lnTo>
                      <a:pt x="42" y="794"/>
                    </a:lnTo>
                    <a:lnTo>
                      <a:pt x="42" y="792"/>
                    </a:lnTo>
                    <a:lnTo>
                      <a:pt x="42" y="791"/>
                    </a:lnTo>
                    <a:lnTo>
                      <a:pt x="40" y="791"/>
                    </a:lnTo>
                    <a:lnTo>
                      <a:pt x="38" y="791"/>
                    </a:lnTo>
                    <a:lnTo>
                      <a:pt x="38" y="789"/>
                    </a:lnTo>
                    <a:lnTo>
                      <a:pt x="40" y="789"/>
                    </a:lnTo>
                    <a:lnTo>
                      <a:pt x="38" y="789"/>
                    </a:lnTo>
                    <a:lnTo>
                      <a:pt x="36" y="789"/>
                    </a:lnTo>
                    <a:lnTo>
                      <a:pt x="36" y="787"/>
                    </a:lnTo>
                    <a:lnTo>
                      <a:pt x="34" y="787"/>
                    </a:lnTo>
                    <a:lnTo>
                      <a:pt x="32" y="787"/>
                    </a:lnTo>
                    <a:lnTo>
                      <a:pt x="34" y="785"/>
                    </a:lnTo>
                    <a:lnTo>
                      <a:pt x="32" y="785"/>
                    </a:lnTo>
                    <a:lnTo>
                      <a:pt x="32" y="783"/>
                    </a:lnTo>
                    <a:lnTo>
                      <a:pt x="32" y="785"/>
                    </a:lnTo>
                    <a:lnTo>
                      <a:pt x="34" y="785"/>
                    </a:lnTo>
                    <a:lnTo>
                      <a:pt x="34" y="783"/>
                    </a:lnTo>
                    <a:lnTo>
                      <a:pt x="32" y="783"/>
                    </a:lnTo>
                    <a:lnTo>
                      <a:pt x="34" y="783"/>
                    </a:lnTo>
                    <a:lnTo>
                      <a:pt x="32" y="783"/>
                    </a:lnTo>
                    <a:lnTo>
                      <a:pt x="32" y="781"/>
                    </a:lnTo>
                    <a:lnTo>
                      <a:pt x="34" y="781"/>
                    </a:lnTo>
                    <a:lnTo>
                      <a:pt x="32" y="781"/>
                    </a:lnTo>
                    <a:lnTo>
                      <a:pt x="32" y="779"/>
                    </a:lnTo>
                    <a:lnTo>
                      <a:pt x="34" y="779"/>
                    </a:lnTo>
                    <a:lnTo>
                      <a:pt x="34" y="777"/>
                    </a:lnTo>
                    <a:lnTo>
                      <a:pt x="32" y="777"/>
                    </a:lnTo>
                    <a:lnTo>
                      <a:pt x="34" y="777"/>
                    </a:lnTo>
                    <a:lnTo>
                      <a:pt x="32" y="775"/>
                    </a:lnTo>
                    <a:lnTo>
                      <a:pt x="34" y="775"/>
                    </a:lnTo>
                    <a:lnTo>
                      <a:pt x="32" y="775"/>
                    </a:lnTo>
                    <a:lnTo>
                      <a:pt x="32" y="773"/>
                    </a:lnTo>
                    <a:lnTo>
                      <a:pt x="34" y="773"/>
                    </a:lnTo>
                    <a:lnTo>
                      <a:pt x="32" y="773"/>
                    </a:lnTo>
                    <a:lnTo>
                      <a:pt x="32" y="771"/>
                    </a:lnTo>
                    <a:lnTo>
                      <a:pt x="32" y="769"/>
                    </a:lnTo>
                    <a:lnTo>
                      <a:pt x="32" y="767"/>
                    </a:lnTo>
                    <a:lnTo>
                      <a:pt x="32" y="766"/>
                    </a:lnTo>
                    <a:lnTo>
                      <a:pt x="34" y="766"/>
                    </a:lnTo>
                    <a:lnTo>
                      <a:pt x="32" y="766"/>
                    </a:lnTo>
                    <a:lnTo>
                      <a:pt x="32" y="764"/>
                    </a:lnTo>
                    <a:lnTo>
                      <a:pt x="30" y="764"/>
                    </a:lnTo>
                    <a:lnTo>
                      <a:pt x="30" y="762"/>
                    </a:lnTo>
                    <a:lnTo>
                      <a:pt x="30" y="760"/>
                    </a:lnTo>
                    <a:lnTo>
                      <a:pt x="29" y="760"/>
                    </a:lnTo>
                    <a:lnTo>
                      <a:pt x="29" y="758"/>
                    </a:lnTo>
                    <a:lnTo>
                      <a:pt x="29" y="756"/>
                    </a:lnTo>
                    <a:lnTo>
                      <a:pt x="27" y="756"/>
                    </a:lnTo>
                    <a:lnTo>
                      <a:pt x="27" y="758"/>
                    </a:lnTo>
                    <a:lnTo>
                      <a:pt x="27" y="756"/>
                    </a:lnTo>
                    <a:lnTo>
                      <a:pt x="27" y="758"/>
                    </a:lnTo>
                    <a:lnTo>
                      <a:pt x="25" y="758"/>
                    </a:lnTo>
                    <a:lnTo>
                      <a:pt x="23" y="756"/>
                    </a:lnTo>
                    <a:lnTo>
                      <a:pt x="21" y="756"/>
                    </a:lnTo>
                    <a:lnTo>
                      <a:pt x="21" y="754"/>
                    </a:lnTo>
                    <a:lnTo>
                      <a:pt x="21" y="752"/>
                    </a:lnTo>
                    <a:lnTo>
                      <a:pt x="21" y="750"/>
                    </a:lnTo>
                    <a:lnTo>
                      <a:pt x="21" y="748"/>
                    </a:lnTo>
                    <a:lnTo>
                      <a:pt x="21" y="746"/>
                    </a:lnTo>
                    <a:lnTo>
                      <a:pt x="21" y="744"/>
                    </a:lnTo>
                    <a:lnTo>
                      <a:pt x="21" y="742"/>
                    </a:lnTo>
                    <a:lnTo>
                      <a:pt x="21" y="741"/>
                    </a:lnTo>
                    <a:lnTo>
                      <a:pt x="23" y="741"/>
                    </a:lnTo>
                    <a:lnTo>
                      <a:pt x="23" y="739"/>
                    </a:lnTo>
                    <a:lnTo>
                      <a:pt x="25" y="739"/>
                    </a:lnTo>
                    <a:lnTo>
                      <a:pt x="25" y="737"/>
                    </a:lnTo>
                    <a:lnTo>
                      <a:pt x="25" y="735"/>
                    </a:lnTo>
                    <a:lnTo>
                      <a:pt x="25" y="733"/>
                    </a:lnTo>
                    <a:lnTo>
                      <a:pt x="23" y="733"/>
                    </a:lnTo>
                    <a:lnTo>
                      <a:pt x="23" y="731"/>
                    </a:lnTo>
                    <a:lnTo>
                      <a:pt x="23" y="729"/>
                    </a:lnTo>
                    <a:lnTo>
                      <a:pt x="21" y="727"/>
                    </a:lnTo>
                    <a:lnTo>
                      <a:pt x="21" y="725"/>
                    </a:lnTo>
                    <a:lnTo>
                      <a:pt x="21" y="723"/>
                    </a:lnTo>
                    <a:lnTo>
                      <a:pt x="23" y="723"/>
                    </a:lnTo>
                    <a:lnTo>
                      <a:pt x="21" y="723"/>
                    </a:lnTo>
                    <a:lnTo>
                      <a:pt x="19" y="723"/>
                    </a:lnTo>
                    <a:lnTo>
                      <a:pt x="19" y="721"/>
                    </a:lnTo>
                    <a:lnTo>
                      <a:pt x="19" y="719"/>
                    </a:lnTo>
                    <a:lnTo>
                      <a:pt x="19" y="718"/>
                    </a:lnTo>
                    <a:lnTo>
                      <a:pt x="17" y="718"/>
                    </a:lnTo>
                    <a:lnTo>
                      <a:pt x="17" y="719"/>
                    </a:lnTo>
                    <a:lnTo>
                      <a:pt x="15" y="719"/>
                    </a:lnTo>
                    <a:lnTo>
                      <a:pt x="15" y="718"/>
                    </a:lnTo>
                    <a:lnTo>
                      <a:pt x="13" y="718"/>
                    </a:lnTo>
                    <a:lnTo>
                      <a:pt x="15" y="718"/>
                    </a:lnTo>
                    <a:lnTo>
                      <a:pt x="15" y="714"/>
                    </a:lnTo>
                    <a:lnTo>
                      <a:pt x="15" y="712"/>
                    </a:lnTo>
                    <a:lnTo>
                      <a:pt x="11" y="712"/>
                    </a:lnTo>
                    <a:lnTo>
                      <a:pt x="9" y="710"/>
                    </a:lnTo>
                    <a:lnTo>
                      <a:pt x="9" y="708"/>
                    </a:lnTo>
                    <a:lnTo>
                      <a:pt x="7" y="710"/>
                    </a:lnTo>
                    <a:lnTo>
                      <a:pt x="5" y="710"/>
                    </a:lnTo>
                    <a:lnTo>
                      <a:pt x="4" y="710"/>
                    </a:lnTo>
                    <a:lnTo>
                      <a:pt x="4" y="708"/>
                    </a:lnTo>
                    <a:lnTo>
                      <a:pt x="2" y="708"/>
                    </a:lnTo>
                    <a:lnTo>
                      <a:pt x="2" y="706"/>
                    </a:lnTo>
                    <a:lnTo>
                      <a:pt x="2" y="704"/>
                    </a:lnTo>
                    <a:lnTo>
                      <a:pt x="4" y="704"/>
                    </a:lnTo>
                    <a:lnTo>
                      <a:pt x="5" y="706"/>
                    </a:lnTo>
                    <a:lnTo>
                      <a:pt x="7" y="704"/>
                    </a:lnTo>
                    <a:lnTo>
                      <a:pt x="11" y="704"/>
                    </a:lnTo>
                    <a:lnTo>
                      <a:pt x="13" y="702"/>
                    </a:lnTo>
                    <a:lnTo>
                      <a:pt x="13" y="700"/>
                    </a:lnTo>
                    <a:lnTo>
                      <a:pt x="15" y="700"/>
                    </a:lnTo>
                    <a:lnTo>
                      <a:pt x="15" y="698"/>
                    </a:lnTo>
                    <a:lnTo>
                      <a:pt x="15" y="696"/>
                    </a:lnTo>
                    <a:lnTo>
                      <a:pt x="15" y="694"/>
                    </a:lnTo>
                    <a:lnTo>
                      <a:pt x="17" y="694"/>
                    </a:lnTo>
                    <a:lnTo>
                      <a:pt x="19" y="694"/>
                    </a:lnTo>
                    <a:lnTo>
                      <a:pt x="21" y="693"/>
                    </a:lnTo>
                    <a:lnTo>
                      <a:pt x="21" y="691"/>
                    </a:lnTo>
                    <a:lnTo>
                      <a:pt x="21" y="689"/>
                    </a:lnTo>
                    <a:lnTo>
                      <a:pt x="23" y="687"/>
                    </a:lnTo>
                    <a:lnTo>
                      <a:pt x="25" y="687"/>
                    </a:lnTo>
                    <a:lnTo>
                      <a:pt x="27" y="687"/>
                    </a:lnTo>
                    <a:lnTo>
                      <a:pt x="29" y="687"/>
                    </a:lnTo>
                    <a:lnTo>
                      <a:pt x="30" y="685"/>
                    </a:lnTo>
                    <a:lnTo>
                      <a:pt x="30" y="683"/>
                    </a:lnTo>
                    <a:lnTo>
                      <a:pt x="30" y="671"/>
                    </a:lnTo>
                    <a:lnTo>
                      <a:pt x="29" y="658"/>
                    </a:lnTo>
                    <a:lnTo>
                      <a:pt x="29" y="643"/>
                    </a:lnTo>
                    <a:lnTo>
                      <a:pt x="27" y="629"/>
                    </a:lnTo>
                    <a:lnTo>
                      <a:pt x="27" y="623"/>
                    </a:lnTo>
                    <a:lnTo>
                      <a:pt x="27" y="619"/>
                    </a:lnTo>
                    <a:lnTo>
                      <a:pt x="25" y="606"/>
                    </a:lnTo>
                    <a:lnTo>
                      <a:pt x="23" y="591"/>
                    </a:lnTo>
                    <a:lnTo>
                      <a:pt x="4" y="566"/>
                    </a:lnTo>
                    <a:lnTo>
                      <a:pt x="2" y="564"/>
                    </a:lnTo>
                    <a:lnTo>
                      <a:pt x="0" y="562"/>
                    </a:lnTo>
                    <a:lnTo>
                      <a:pt x="0" y="560"/>
                    </a:lnTo>
                    <a:lnTo>
                      <a:pt x="2" y="558"/>
                    </a:lnTo>
                    <a:lnTo>
                      <a:pt x="4" y="558"/>
                    </a:lnTo>
                    <a:lnTo>
                      <a:pt x="4" y="556"/>
                    </a:lnTo>
                    <a:lnTo>
                      <a:pt x="5" y="556"/>
                    </a:lnTo>
                    <a:lnTo>
                      <a:pt x="5" y="554"/>
                    </a:lnTo>
                    <a:lnTo>
                      <a:pt x="5" y="552"/>
                    </a:lnTo>
                    <a:lnTo>
                      <a:pt x="5" y="550"/>
                    </a:lnTo>
                    <a:lnTo>
                      <a:pt x="7" y="550"/>
                    </a:lnTo>
                    <a:lnTo>
                      <a:pt x="9" y="550"/>
                    </a:lnTo>
                    <a:lnTo>
                      <a:pt x="11" y="552"/>
                    </a:lnTo>
                    <a:lnTo>
                      <a:pt x="13" y="552"/>
                    </a:lnTo>
                    <a:lnTo>
                      <a:pt x="15" y="552"/>
                    </a:lnTo>
                    <a:lnTo>
                      <a:pt x="15" y="554"/>
                    </a:lnTo>
                    <a:lnTo>
                      <a:pt x="17" y="552"/>
                    </a:lnTo>
                    <a:lnTo>
                      <a:pt x="19" y="550"/>
                    </a:lnTo>
                    <a:lnTo>
                      <a:pt x="21" y="550"/>
                    </a:lnTo>
                    <a:lnTo>
                      <a:pt x="25" y="548"/>
                    </a:lnTo>
                    <a:lnTo>
                      <a:pt x="29" y="544"/>
                    </a:lnTo>
                    <a:lnTo>
                      <a:pt x="30" y="544"/>
                    </a:lnTo>
                    <a:lnTo>
                      <a:pt x="36" y="541"/>
                    </a:lnTo>
                    <a:lnTo>
                      <a:pt x="40" y="541"/>
                    </a:lnTo>
                    <a:lnTo>
                      <a:pt x="42" y="539"/>
                    </a:lnTo>
                    <a:lnTo>
                      <a:pt x="42" y="537"/>
                    </a:lnTo>
                    <a:lnTo>
                      <a:pt x="42" y="535"/>
                    </a:lnTo>
                    <a:lnTo>
                      <a:pt x="42" y="533"/>
                    </a:lnTo>
                    <a:lnTo>
                      <a:pt x="44" y="533"/>
                    </a:lnTo>
                    <a:lnTo>
                      <a:pt x="46" y="533"/>
                    </a:lnTo>
                    <a:lnTo>
                      <a:pt x="46" y="531"/>
                    </a:lnTo>
                    <a:lnTo>
                      <a:pt x="46" y="529"/>
                    </a:lnTo>
                    <a:lnTo>
                      <a:pt x="48" y="529"/>
                    </a:lnTo>
                    <a:lnTo>
                      <a:pt x="50" y="529"/>
                    </a:lnTo>
                    <a:lnTo>
                      <a:pt x="52" y="529"/>
                    </a:lnTo>
                    <a:lnTo>
                      <a:pt x="53" y="529"/>
                    </a:lnTo>
                    <a:lnTo>
                      <a:pt x="55" y="529"/>
                    </a:lnTo>
                    <a:lnTo>
                      <a:pt x="57" y="529"/>
                    </a:lnTo>
                    <a:lnTo>
                      <a:pt x="59" y="529"/>
                    </a:lnTo>
                    <a:lnTo>
                      <a:pt x="61" y="529"/>
                    </a:lnTo>
                    <a:lnTo>
                      <a:pt x="63" y="527"/>
                    </a:lnTo>
                    <a:lnTo>
                      <a:pt x="63" y="529"/>
                    </a:lnTo>
                    <a:lnTo>
                      <a:pt x="63" y="531"/>
                    </a:lnTo>
                    <a:lnTo>
                      <a:pt x="65" y="531"/>
                    </a:lnTo>
                    <a:lnTo>
                      <a:pt x="67" y="531"/>
                    </a:lnTo>
                    <a:lnTo>
                      <a:pt x="69" y="531"/>
                    </a:lnTo>
                    <a:lnTo>
                      <a:pt x="71" y="531"/>
                    </a:lnTo>
                    <a:lnTo>
                      <a:pt x="73" y="531"/>
                    </a:lnTo>
                    <a:lnTo>
                      <a:pt x="73" y="529"/>
                    </a:lnTo>
                    <a:lnTo>
                      <a:pt x="73" y="527"/>
                    </a:lnTo>
                    <a:lnTo>
                      <a:pt x="75" y="527"/>
                    </a:lnTo>
                    <a:lnTo>
                      <a:pt x="75" y="525"/>
                    </a:lnTo>
                    <a:lnTo>
                      <a:pt x="75" y="523"/>
                    </a:lnTo>
                    <a:lnTo>
                      <a:pt x="73" y="521"/>
                    </a:lnTo>
                    <a:lnTo>
                      <a:pt x="75" y="519"/>
                    </a:lnTo>
                    <a:lnTo>
                      <a:pt x="73" y="519"/>
                    </a:lnTo>
                    <a:lnTo>
                      <a:pt x="75" y="518"/>
                    </a:lnTo>
                    <a:lnTo>
                      <a:pt x="75" y="516"/>
                    </a:lnTo>
                    <a:lnTo>
                      <a:pt x="77" y="516"/>
                    </a:lnTo>
                    <a:lnTo>
                      <a:pt x="77" y="514"/>
                    </a:lnTo>
                    <a:lnTo>
                      <a:pt x="75" y="514"/>
                    </a:lnTo>
                    <a:lnTo>
                      <a:pt x="73" y="514"/>
                    </a:lnTo>
                    <a:lnTo>
                      <a:pt x="71" y="512"/>
                    </a:lnTo>
                    <a:lnTo>
                      <a:pt x="71" y="510"/>
                    </a:lnTo>
                    <a:lnTo>
                      <a:pt x="69" y="508"/>
                    </a:lnTo>
                    <a:lnTo>
                      <a:pt x="69" y="506"/>
                    </a:lnTo>
                    <a:lnTo>
                      <a:pt x="69" y="504"/>
                    </a:lnTo>
                    <a:lnTo>
                      <a:pt x="73" y="504"/>
                    </a:lnTo>
                    <a:lnTo>
                      <a:pt x="73" y="502"/>
                    </a:lnTo>
                    <a:lnTo>
                      <a:pt x="75" y="502"/>
                    </a:lnTo>
                    <a:lnTo>
                      <a:pt x="75" y="500"/>
                    </a:lnTo>
                    <a:lnTo>
                      <a:pt x="75" y="498"/>
                    </a:lnTo>
                    <a:lnTo>
                      <a:pt x="75" y="496"/>
                    </a:lnTo>
                    <a:lnTo>
                      <a:pt x="73" y="496"/>
                    </a:lnTo>
                    <a:lnTo>
                      <a:pt x="75" y="496"/>
                    </a:lnTo>
                    <a:lnTo>
                      <a:pt x="75" y="494"/>
                    </a:lnTo>
                    <a:lnTo>
                      <a:pt x="77" y="494"/>
                    </a:lnTo>
                    <a:lnTo>
                      <a:pt x="78" y="494"/>
                    </a:lnTo>
                    <a:lnTo>
                      <a:pt x="80" y="493"/>
                    </a:lnTo>
                    <a:lnTo>
                      <a:pt x="82" y="493"/>
                    </a:lnTo>
                    <a:lnTo>
                      <a:pt x="84" y="491"/>
                    </a:lnTo>
                    <a:lnTo>
                      <a:pt x="86" y="491"/>
                    </a:lnTo>
                    <a:lnTo>
                      <a:pt x="88" y="491"/>
                    </a:lnTo>
                    <a:lnTo>
                      <a:pt x="90" y="491"/>
                    </a:lnTo>
                    <a:lnTo>
                      <a:pt x="90" y="489"/>
                    </a:lnTo>
                    <a:lnTo>
                      <a:pt x="88" y="489"/>
                    </a:lnTo>
                    <a:lnTo>
                      <a:pt x="86" y="489"/>
                    </a:lnTo>
                    <a:lnTo>
                      <a:pt x="84" y="487"/>
                    </a:lnTo>
                    <a:lnTo>
                      <a:pt x="84" y="485"/>
                    </a:lnTo>
                    <a:lnTo>
                      <a:pt x="86" y="483"/>
                    </a:lnTo>
                    <a:lnTo>
                      <a:pt x="84" y="483"/>
                    </a:lnTo>
                    <a:lnTo>
                      <a:pt x="84" y="481"/>
                    </a:lnTo>
                    <a:lnTo>
                      <a:pt x="84" y="479"/>
                    </a:lnTo>
                    <a:lnTo>
                      <a:pt x="84" y="477"/>
                    </a:lnTo>
                    <a:lnTo>
                      <a:pt x="86" y="477"/>
                    </a:lnTo>
                    <a:lnTo>
                      <a:pt x="86" y="475"/>
                    </a:lnTo>
                    <a:lnTo>
                      <a:pt x="88" y="475"/>
                    </a:lnTo>
                    <a:lnTo>
                      <a:pt x="88" y="473"/>
                    </a:lnTo>
                    <a:lnTo>
                      <a:pt x="90" y="473"/>
                    </a:lnTo>
                    <a:lnTo>
                      <a:pt x="92" y="473"/>
                    </a:lnTo>
                    <a:lnTo>
                      <a:pt x="92" y="471"/>
                    </a:lnTo>
                    <a:lnTo>
                      <a:pt x="92" y="470"/>
                    </a:lnTo>
                    <a:lnTo>
                      <a:pt x="94" y="470"/>
                    </a:lnTo>
                    <a:lnTo>
                      <a:pt x="94" y="468"/>
                    </a:lnTo>
                    <a:lnTo>
                      <a:pt x="96" y="468"/>
                    </a:lnTo>
                    <a:lnTo>
                      <a:pt x="98" y="468"/>
                    </a:lnTo>
                    <a:lnTo>
                      <a:pt x="98" y="466"/>
                    </a:lnTo>
                    <a:lnTo>
                      <a:pt x="98" y="468"/>
                    </a:lnTo>
                    <a:lnTo>
                      <a:pt x="100" y="468"/>
                    </a:lnTo>
                    <a:lnTo>
                      <a:pt x="100" y="466"/>
                    </a:lnTo>
                    <a:lnTo>
                      <a:pt x="102" y="466"/>
                    </a:lnTo>
                    <a:lnTo>
                      <a:pt x="102" y="464"/>
                    </a:lnTo>
                    <a:lnTo>
                      <a:pt x="103" y="464"/>
                    </a:lnTo>
                    <a:lnTo>
                      <a:pt x="105" y="464"/>
                    </a:lnTo>
                    <a:lnTo>
                      <a:pt x="105" y="462"/>
                    </a:lnTo>
                    <a:lnTo>
                      <a:pt x="109" y="462"/>
                    </a:lnTo>
                    <a:lnTo>
                      <a:pt x="111" y="462"/>
                    </a:lnTo>
                    <a:lnTo>
                      <a:pt x="111" y="460"/>
                    </a:lnTo>
                    <a:lnTo>
                      <a:pt x="111" y="458"/>
                    </a:lnTo>
                    <a:lnTo>
                      <a:pt x="113" y="458"/>
                    </a:lnTo>
                    <a:lnTo>
                      <a:pt x="113" y="456"/>
                    </a:lnTo>
                    <a:lnTo>
                      <a:pt x="115" y="456"/>
                    </a:lnTo>
                    <a:lnTo>
                      <a:pt x="115" y="454"/>
                    </a:lnTo>
                    <a:lnTo>
                      <a:pt x="117" y="454"/>
                    </a:lnTo>
                    <a:lnTo>
                      <a:pt x="119" y="454"/>
                    </a:lnTo>
                    <a:lnTo>
                      <a:pt x="123" y="452"/>
                    </a:lnTo>
                    <a:lnTo>
                      <a:pt x="125" y="452"/>
                    </a:lnTo>
                    <a:lnTo>
                      <a:pt x="125" y="450"/>
                    </a:lnTo>
                    <a:lnTo>
                      <a:pt x="125" y="448"/>
                    </a:lnTo>
                    <a:lnTo>
                      <a:pt x="125" y="446"/>
                    </a:lnTo>
                    <a:lnTo>
                      <a:pt x="126" y="446"/>
                    </a:lnTo>
                    <a:lnTo>
                      <a:pt x="128" y="448"/>
                    </a:lnTo>
                    <a:lnTo>
                      <a:pt x="128" y="450"/>
                    </a:lnTo>
                    <a:lnTo>
                      <a:pt x="130" y="450"/>
                    </a:lnTo>
                    <a:lnTo>
                      <a:pt x="130" y="446"/>
                    </a:lnTo>
                    <a:lnTo>
                      <a:pt x="132" y="446"/>
                    </a:lnTo>
                    <a:lnTo>
                      <a:pt x="132" y="445"/>
                    </a:lnTo>
                    <a:lnTo>
                      <a:pt x="134" y="445"/>
                    </a:lnTo>
                    <a:lnTo>
                      <a:pt x="134" y="443"/>
                    </a:lnTo>
                    <a:lnTo>
                      <a:pt x="136" y="443"/>
                    </a:lnTo>
                    <a:lnTo>
                      <a:pt x="134" y="441"/>
                    </a:lnTo>
                    <a:lnTo>
                      <a:pt x="134" y="439"/>
                    </a:lnTo>
                    <a:lnTo>
                      <a:pt x="136" y="437"/>
                    </a:lnTo>
                    <a:lnTo>
                      <a:pt x="138" y="437"/>
                    </a:lnTo>
                    <a:lnTo>
                      <a:pt x="138" y="435"/>
                    </a:lnTo>
                    <a:lnTo>
                      <a:pt x="136" y="433"/>
                    </a:lnTo>
                    <a:lnTo>
                      <a:pt x="134" y="431"/>
                    </a:lnTo>
                    <a:lnTo>
                      <a:pt x="134" y="433"/>
                    </a:lnTo>
                    <a:lnTo>
                      <a:pt x="132" y="433"/>
                    </a:lnTo>
                    <a:lnTo>
                      <a:pt x="130" y="433"/>
                    </a:lnTo>
                    <a:lnTo>
                      <a:pt x="128" y="431"/>
                    </a:lnTo>
                    <a:lnTo>
                      <a:pt x="126" y="429"/>
                    </a:lnTo>
                    <a:lnTo>
                      <a:pt x="125" y="429"/>
                    </a:lnTo>
                    <a:lnTo>
                      <a:pt x="123" y="429"/>
                    </a:lnTo>
                    <a:lnTo>
                      <a:pt x="121" y="429"/>
                    </a:lnTo>
                    <a:lnTo>
                      <a:pt x="119" y="429"/>
                    </a:lnTo>
                    <a:lnTo>
                      <a:pt x="119" y="423"/>
                    </a:lnTo>
                    <a:lnTo>
                      <a:pt x="117" y="416"/>
                    </a:lnTo>
                    <a:lnTo>
                      <a:pt x="115" y="404"/>
                    </a:lnTo>
                    <a:lnTo>
                      <a:pt x="113" y="393"/>
                    </a:lnTo>
                    <a:lnTo>
                      <a:pt x="113" y="391"/>
                    </a:lnTo>
                    <a:lnTo>
                      <a:pt x="113" y="389"/>
                    </a:lnTo>
                    <a:lnTo>
                      <a:pt x="111" y="389"/>
                    </a:lnTo>
                    <a:lnTo>
                      <a:pt x="109" y="389"/>
                    </a:lnTo>
                    <a:lnTo>
                      <a:pt x="107" y="389"/>
                    </a:lnTo>
                    <a:lnTo>
                      <a:pt x="105" y="389"/>
                    </a:lnTo>
                    <a:lnTo>
                      <a:pt x="105" y="387"/>
                    </a:lnTo>
                    <a:lnTo>
                      <a:pt x="105" y="385"/>
                    </a:lnTo>
                    <a:lnTo>
                      <a:pt x="103" y="387"/>
                    </a:lnTo>
                    <a:lnTo>
                      <a:pt x="103" y="385"/>
                    </a:lnTo>
                    <a:lnTo>
                      <a:pt x="103" y="383"/>
                    </a:lnTo>
                    <a:lnTo>
                      <a:pt x="103" y="381"/>
                    </a:lnTo>
                    <a:lnTo>
                      <a:pt x="102" y="381"/>
                    </a:lnTo>
                    <a:lnTo>
                      <a:pt x="100" y="381"/>
                    </a:lnTo>
                    <a:lnTo>
                      <a:pt x="98" y="381"/>
                    </a:lnTo>
                    <a:lnTo>
                      <a:pt x="96" y="381"/>
                    </a:lnTo>
                    <a:lnTo>
                      <a:pt x="94" y="381"/>
                    </a:lnTo>
                    <a:lnTo>
                      <a:pt x="94" y="379"/>
                    </a:lnTo>
                    <a:lnTo>
                      <a:pt x="92" y="379"/>
                    </a:lnTo>
                    <a:lnTo>
                      <a:pt x="90" y="379"/>
                    </a:lnTo>
                    <a:lnTo>
                      <a:pt x="88" y="379"/>
                    </a:lnTo>
                    <a:lnTo>
                      <a:pt x="90" y="377"/>
                    </a:lnTo>
                    <a:lnTo>
                      <a:pt x="88" y="377"/>
                    </a:lnTo>
                    <a:lnTo>
                      <a:pt x="88" y="375"/>
                    </a:lnTo>
                    <a:lnTo>
                      <a:pt x="90" y="375"/>
                    </a:lnTo>
                    <a:lnTo>
                      <a:pt x="92" y="375"/>
                    </a:lnTo>
                    <a:lnTo>
                      <a:pt x="92" y="373"/>
                    </a:lnTo>
                    <a:lnTo>
                      <a:pt x="94" y="373"/>
                    </a:lnTo>
                    <a:lnTo>
                      <a:pt x="94" y="371"/>
                    </a:lnTo>
                    <a:lnTo>
                      <a:pt x="94" y="370"/>
                    </a:lnTo>
                    <a:lnTo>
                      <a:pt x="92" y="370"/>
                    </a:lnTo>
                    <a:lnTo>
                      <a:pt x="90" y="370"/>
                    </a:lnTo>
                    <a:lnTo>
                      <a:pt x="88" y="370"/>
                    </a:lnTo>
                    <a:lnTo>
                      <a:pt x="86" y="370"/>
                    </a:lnTo>
                    <a:lnTo>
                      <a:pt x="86" y="368"/>
                    </a:lnTo>
                    <a:lnTo>
                      <a:pt x="86" y="370"/>
                    </a:lnTo>
                    <a:lnTo>
                      <a:pt x="84" y="370"/>
                    </a:lnTo>
                    <a:lnTo>
                      <a:pt x="84" y="368"/>
                    </a:lnTo>
                    <a:lnTo>
                      <a:pt x="84" y="366"/>
                    </a:lnTo>
                    <a:lnTo>
                      <a:pt x="82" y="366"/>
                    </a:lnTo>
                    <a:lnTo>
                      <a:pt x="80" y="366"/>
                    </a:lnTo>
                    <a:lnTo>
                      <a:pt x="80" y="364"/>
                    </a:lnTo>
                    <a:lnTo>
                      <a:pt x="78" y="364"/>
                    </a:lnTo>
                    <a:lnTo>
                      <a:pt x="78" y="362"/>
                    </a:lnTo>
                    <a:lnTo>
                      <a:pt x="78" y="360"/>
                    </a:lnTo>
                    <a:lnTo>
                      <a:pt x="78" y="358"/>
                    </a:lnTo>
                    <a:lnTo>
                      <a:pt x="77" y="358"/>
                    </a:lnTo>
                    <a:lnTo>
                      <a:pt x="78" y="358"/>
                    </a:lnTo>
                    <a:lnTo>
                      <a:pt x="77" y="358"/>
                    </a:lnTo>
                    <a:lnTo>
                      <a:pt x="78" y="358"/>
                    </a:lnTo>
                    <a:lnTo>
                      <a:pt x="78" y="356"/>
                    </a:lnTo>
                    <a:lnTo>
                      <a:pt x="78" y="358"/>
                    </a:lnTo>
                    <a:lnTo>
                      <a:pt x="78" y="356"/>
                    </a:lnTo>
                    <a:lnTo>
                      <a:pt x="77" y="356"/>
                    </a:lnTo>
                    <a:lnTo>
                      <a:pt x="77" y="354"/>
                    </a:lnTo>
                    <a:lnTo>
                      <a:pt x="77" y="352"/>
                    </a:lnTo>
                    <a:lnTo>
                      <a:pt x="78" y="352"/>
                    </a:lnTo>
                    <a:lnTo>
                      <a:pt x="80" y="352"/>
                    </a:lnTo>
                    <a:lnTo>
                      <a:pt x="80" y="350"/>
                    </a:lnTo>
                    <a:lnTo>
                      <a:pt x="78" y="350"/>
                    </a:lnTo>
                    <a:lnTo>
                      <a:pt x="80" y="350"/>
                    </a:lnTo>
                    <a:lnTo>
                      <a:pt x="82" y="350"/>
                    </a:lnTo>
                    <a:lnTo>
                      <a:pt x="80" y="348"/>
                    </a:lnTo>
                    <a:lnTo>
                      <a:pt x="80" y="350"/>
                    </a:lnTo>
                    <a:lnTo>
                      <a:pt x="80" y="348"/>
                    </a:lnTo>
                    <a:lnTo>
                      <a:pt x="78" y="348"/>
                    </a:lnTo>
                    <a:lnTo>
                      <a:pt x="78" y="350"/>
                    </a:lnTo>
                    <a:lnTo>
                      <a:pt x="78" y="348"/>
                    </a:lnTo>
                    <a:lnTo>
                      <a:pt x="78" y="350"/>
                    </a:lnTo>
                    <a:lnTo>
                      <a:pt x="77" y="348"/>
                    </a:lnTo>
                    <a:lnTo>
                      <a:pt x="77" y="346"/>
                    </a:lnTo>
                    <a:lnTo>
                      <a:pt x="78" y="346"/>
                    </a:lnTo>
                    <a:lnTo>
                      <a:pt x="78" y="345"/>
                    </a:lnTo>
                    <a:lnTo>
                      <a:pt x="80" y="345"/>
                    </a:lnTo>
                    <a:lnTo>
                      <a:pt x="78" y="343"/>
                    </a:lnTo>
                    <a:lnTo>
                      <a:pt x="77" y="343"/>
                    </a:lnTo>
                    <a:lnTo>
                      <a:pt x="77" y="341"/>
                    </a:lnTo>
                    <a:lnTo>
                      <a:pt x="78" y="341"/>
                    </a:lnTo>
                    <a:lnTo>
                      <a:pt x="78" y="339"/>
                    </a:lnTo>
                    <a:lnTo>
                      <a:pt x="77" y="339"/>
                    </a:lnTo>
                    <a:lnTo>
                      <a:pt x="75" y="339"/>
                    </a:lnTo>
                    <a:lnTo>
                      <a:pt x="73" y="339"/>
                    </a:lnTo>
                    <a:lnTo>
                      <a:pt x="73" y="341"/>
                    </a:lnTo>
                    <a:lnTo>
                      <a:pt x="71" y="341"/>
                    </a:lnTo>
                    <a:lnTo>
                      <a:pt x="69" y="341"/>
                    </a:lnTo>
                    <a:lnTo>
                      <a:pt x="67" y="341"/>
                    </a:lnTo>
                    <a:lnTo>
                      <a:pt x="67" y="339"/>
                    </a:lnTo>
                    <a:lnTo>
                      <a:pt x="67" y="337"/>
                    </a:lnTo>
                    <a:lnTo>
                      <a:pt x="69" y="337"/>
                    </a:lnTo>
                    <a:lnTo>
                      <a:pt x="71" y="337"/>
                    </a:lnTo>
                    <a:lnTo>
                      <a:pt x="71" y="335"/>
                    </a:lnTo>
                    <a:lnTo>
                      <a:pt x="71" y="337"/>
                    </a:lnTo>
                    <a:lnTo>
                      <a:pt x="71" y="335"/>
                    </a:lnTo>
                    <a:lnTo>
                      <a:pt x="73" y="335"/>
                    </a:lnTo>
                    <a:lnTo>
                      <a:pt x="73" y="333"/>
                    </a:lnTo>
                    <a:lnTo>
                      <a:pt x="71" y="333"/>
                    </a:lnTo>
                    <a:lnTo>
                      <a:pt x="71" y="331"/>
                    </a:lnTo>
                    <a:lnTo>
                      <a:pt x="69" y="331"/>
                    </a:lnTo>
                    <a:lnTo>
                      <a:pt x="69" y="329"/>
                    </a:lnTo>
                    <a:lnTo>
                      <a:pt x="69" y="331"/>
                    </a:lnTo>
                    <a:lnTo>
                      <a:pt x="67" y="331"/>
                    </a:lnTo>
                    <a:lnTo>
                      <a:pt x="67" y="329"/>
                    </a:lnTo>
                    <a:lnTo>
                      <a:pt x="67" y="331"/>
                    </a:lnTo>
                    <a:lnTo>
                      <a:pt x="67" y="329"/>
                    </a:lnTo>
                    <a:lnTo>
                      <a:pt x="65" y="331"/>
                    </a:lnTo>
                    <a:lnTo>
                      <a:pt x="65" y="329"/>
                    </a:lnTo>
                    <a:lnTo>
                      <a:pt x="63" y="329"/>
                    </a:lnTo>
                    <a:lnTo>
                      <a:pt x="61" y="329"/>
                    </a:lnTo>
                    <a:lnTo>
                      <a:pt x="61" y="327"/>
                    </a:lnTo>
                    <a:lnTo>
                      <a:pt x="63" y="327"/>
                    </a:lnTo>
                    <a:lnTo>
                      <a:pt x="65" y="327"/>
                    </a:lnTo>
                    <a:lnTo>
                      <a:pt x="67" y="327"/>
                    </a:lnTo>
                    <a:lnTo>
                      <a:pt x="69" y="327"/>
                    </a:lnTo>
                    <a:lnTo>
                      <a:pt x="71" y="327"/>
                    </a:lnTo>
                    <a:lnTo>
                      <a:pt x="71" y="325"/>
                    </a:lnTo>
                    <a:lnTo>
                      <a:pt x="73" y="325"/>
                    </a:lnTo>
                    <a:lnTo>
                      <a:pt x="73" y="323"/>
                    </a:lnTo>
                    <a:lnTo>
                      <a:pt x="73" y="321"/>
                    </a:lnTo>
                    <a:lnTo>
                      <a:pt x="75" y="320"/>
                    </a:lnTo>
                    <a:lnTo>
                      <a:pt x="75" y="318"/>
                    </a:lnTo>
                    <a:lnTo>
                      <a:pt x="77" y="318"/>
                    </a:lnTo>
                    <a:lnTo>
                      <a:pt x="78" y="318"/>
                    </a:lnTo>
                    <a:lnTo>
                      <a:pt x="78" y="316"/>
                    </a:lnTo>
                    <a:lnTo>
                      <a:pt x="80" y="316"/>
                    </a:lnTo>
                    <a:lnTo>
                      <a:pt x="82" y="316"/>
                    </a:lnTo>
                    <a:lnTo>
                      <a:pt x="82" y="314"/>
                    </a:lnTo>
                    <a:lnTo>
                      <a:pt x="84" y="314"/>
                    </a:lnTo>
                    <a:lnTo>
                      <a:pt x="84" y="312"/>
                    </a:lnTo>
                    <a:lnTo>
                      <a:pt x="82" y="314"/>
                    </a:lnTo>
                    <a:lnTo>
                      <a:pt x="82" y="312"/>
                    </a:lnTo>
                    <a:lnTo>
                      <a:pt x="82" y="314"/>
                    </a:lnTo>
                    <a:lnTo>
                      <a:pt x="82" y="312"/>
                    </a:lnTo>
                    <a:lnTo>
                      <a:pt x="80" y="312"/>
                    </a:lnTo>
                    <a:lnTo>
                      <a:pt x="82" y="312"/>
                    </a:lnTo>
                    <a:lnTo>
                      <a:pt x="82" y="310"/>
                    </a:lnTo>
                    <a:lnTo>
                      <a:pt x="80" y="310"/>
                    </a:lnTo>
                    <a:lnTo>
                      <a:pt x="80" y="312"/>
                    </a:lnTo>
                    <a:lnTo>
                      <a:pt x="80" y="310"/>
                    </a:lnTo>
                    <a:lnTo>
                      <a:pt x="78" y="310"/>
                    </a:lnTo>
                    <a:lnTo>
                      <a:pt x="77" y="310"/>
                    </a:lnTo>
                    <a:lnTo>
                      <a:pt x="75" y="310"/>
                    </a:lnTo>
                    <a:lnTo>
                      <a:pt x="73" y="310"/>
                    </a:lnTo>
                    <a:lnTo>
                      <a:pt x="75" y="308"/>
                    </a:lnTo>
                    <a:lnTo>
                      <a:pt x="75" y="306"/>
                    </a:lnTo>
                    <a:lnTo>
                      <a:pt x="75" y="304"/>
                    </a:lnTo>
                    <a:lnTo>
                      <a:pt x="77" y="304"/>
                    </a:lnTo>
                    <a:lnTo>
                      <a:pt x="80" y="300"/>
                    </a:lnTo>
                    <a:lnTo>
                      <a:pt x="82" y="300"/>
                    </a:lnTo>
                    <a:lnTo>
                      <a:pt x="84" y="302"/>
                    </a:lnTo>
                    <a:lnTo>
                      <a:pt x="86" y="302"/>
                    </a:lnTo>
                    <a:lnTo>
                      <a:pt x="88" y="304"/>
                    </a:lnTo>
                    <a:lnTo>
                      <a:pt x="90" y="304"/>
                    </a:lnTo>
                    <a:lnTo>
                      <a:pt x="92" y="304"/>
                    </a:lnTo>
                    <a:lnTo>
                      <a:pt x="94" y="304"/>
                    </a:lnTo>
                    <a:lnTo>
                      <a:pt x="96" y="304"/>
                    </a:lnTo>
                    <a:lnTo>
                      <a:pt x="98" y="304"/>
                    </a:lnTo>
                    <a:lnTo>
                      <a:pt x="100" y="304"/>
                    </a:lnTo>
                    <a:lnTo>
                      <a:pt x="102" y="304"/>
                    </a:lnTo>
                    <a:lnTo>
                      <a:pt x="103" y="304"/>
                    </a:lnTo>
                    <a:lnTo>
                      <a:pt x="105" y="304"/>
                    </a:lnTo>
                    <a:lnTo>
                      <a:pt x="107" y="304"/>
                    </a:lnTo>
                    <a:lnTo>
                      <a:pt x="111" y="304"/>
                    </a:lnTo>
                    <a:lnTo>
                      <a:pt x="111" y="302"/>
                    </a:lnTo>
                    <a:lnTo>
                      <a:pt x="113" y="302"/>
                    </a:lnTo>
                    <a:lnTo>
                      <a:pt x="115" y="302"/>
                    </a:lnTo>
                    <a:lnTo>
                      <a:pt x="117" y="300"/>
                    </a:lnTo>
                    <a:lnTo>
                      <a:pt x="119" y="298"/>
                    </a:lnTo>
                    <a:lnTo>
                      <a:pt x="119" y="296"/>
                    </a:lnTo>
                    <a:lnTo>
                      <a:pt x="117" y="296"/>
                    </a:lnTo>
                    <a:lnTo>
                      <a:pt x="117" y="295"/>
                    </a:lnTo>
                    <a:lnTo>
                      <a:pt x="117" y="293"/>
                    </a:lnTo>
                    <a:lnTo>
                      <a:pt x="115" y="293"/>
                    </a:lnTo>
                    <a:lnTo>
                      <a:pt x="115" y="291"/>
                    </a:lnTo>
                    <a:lnTo>
                      <a:pt x="113" y="289"/>
                    </a:lnTo>
                    <a:lnTo>
                      <a:pt x="113" y="287"/>
                    </a:lnTo>
                    <a:lnTo>
                      <a:pt x="115" y="289"/>
                    </a:lnTo>
                    <a:lnTo>
                      <a:pt x="117" y="291"/>
                    </a:lnTo>
                    <a:lnTo>
                      <a:pt x="119" y="291"/>
                    </a:lnTo>
                    <a:lnTo>
                      <a:pt x="121" y="293"/>
                    </a:lnTo>
                    <a:lnTo>
                      <a:pt x="123" y="293"/>
                    </a:lnTo>
                    <a:lnTo>
                      <a:pt x="123" y="295"/>
                    </a:lnTo>
                    <a:lnTo>
                      <a:pt x="125" y="296"/>
                    </a:lnTo>
                    <a:lnTo>
                      <a:pt x="125" y="298"/>
                    </a:lnTo>
                    <a:lnTo>
                      <a:pt x="126" y="298"/>
                    </a:lnTo>
                    <a:lnTo>
                      <a:pt x="126" y="300"/>
                    </a:lnTo>
                    <a:lnTo>
                      <a:pt x="128" y="300"/>
                    </a:lnTo>
                    <a:lnTo>
                      <a:pt x="128" y="302"/>
                    </a:lnTo>
                    <a:lnTo>
                      <a:pt x="130" y="302"/>
                    </a:lnTo>
                    <a:lnTo>
                      <a:pt x="130" y="304"/>
                    </a:lnTo>
                    <a:lnTo>
                      <a:pt x="130" y="306"/>
                    </a:lnTo>
                    <a:lnTo>
                      <a:pt x="130" y="308"/>
                    </a:lnTo>
                    <a:lnTo>
                      <a:pt x="130" y="306"/>
                    </a:lnTo>
                    <a:lnTo>
                      <a:pt x="130" y="308"/>
                    </a:lnTo>
                    <a:lnTo>
                      <a:pt x="130" y="306"/>
                    </a:lnTo>
                    <a:lnTo>
                      <a:pt x="128" y="306"/>
                    </a:lnTo>
                    <a:close/>
                    <a:moveTo>
                      <a:pt x="361" y="593"/>
                    </a:moveTo>
                    <a:lnTo>
                      <a:pt x="361" y="594"/>
                    </a:lnTo>
                    <a:lnTo>
                      <a:pt x="359" y="594"/>
                    </a:lnTo>
                    <a:lnTo>
                      <a:pt x="361" y="594"/>
                    </a:lnTo>
                    <a:lnTo>
                      <a:pt x="361" y="596"/>
                    </a:lnTo>
                    <a:lnTo>
                      <a:pt x="359" y="596"/>
                    </a:lnTo>
                    <a:lnTo>
                      <a:pt x="357" y="596"/>
                    </a:lnTo>
                    <a:lnTo>
                      <a:pt x="357" y="598"/>
                    </a:lnTo>
                    <a:lnTo>
                      <a:pt x="355" y="598"/>
                    </a:lnTo>
                    <a:lnTo>
                      <a:pt x="355" y="596"/>
                    </a:lnTo>
                    <a:lnTo>
                      <a:pt x="353" y="596"/>
                    </a:lnTo>
                    <a:lnTo>
                      <a:pt x="353" y="598"/>
                    </a:lnTo>
                    <a:lnTo>
                      <a:pt x="351" y="598"/>
                    </a:lnTo>
                    <a:lnTo>
                      <a:pt x="353" y="598"/>
                    </a:lnTo>
                    <a:lnTo>
                      <a:pt x="353" y="596"/>
                    </a:lnTo>
                    <a:lnTo>
                      <a:pt x="355" y="596"/>
                    </a:lnTo>
                    <a:lnTo>
                      <a:pt x="355" y="598"/>
                    </a:lnTo>
                    <a:lnTo>
                      <a:pt x="357" y="598"/>
                    </a:lnTo>
                    <a:lnTo>
                      <a:pt x="357" y="596"/>
                    </a:lnTo>
                    <a:lnTo>
                      <a:pt x="359" y="596"/>
                    </a:lnTo>
                    <a:lnTo>
                      <a:pt x="361" y="596"/>
                    </a:lnTo>
                    <a:lnTo>
                      <a:pt x="361" y="594"/>
                    </a:lnTo>
                    <a:lnTo>
                      <a:pt x="359" y="594"/>
                    </a:lnTo>
                    <a:lnTo>
                      <a:pt x="361" y="594"/>
                    </a:lnTo>
                    <a:lnTo>
                      <a:pt x="361" y="593"/>
                    </a:lnTo>
                    <a:lnTo>
                      <a:pt x="361" y="591"/>
                    </a:lnTo>
                    <a:lnTo>
                      <a:pt x="359" y="591"/>
                    </a:lnTo>
                    <a:lnTo>
                      <a:pt x="359" y="589"/>
                    </a:lnTo>
                    <a:lnTo>
                      <a:pt x="357" y="589"/>
                    </a:lnTo>
                    <a:lnTo>
                      <a:pt x="357" y="587"/>
                    </a:lnTo>
                    <a:lnTo>
                      <a:pt x="359" y="587"/>
                    </a:lnTo>
                    <a:lnTo>
                      <a:pt x="361" y="587"/>
                    </a:lnTo>
                    <a:lnTo>
                      <a:pt x="361" y="585"/>
                    </a:lnTo>
                    <a:lnTo>
                      <a:pt x="361" y="583"/>
                    </a:lnTo>
                    <a:lnTo>
                      <a:pt x="363" y="583"/>
                    </a:lnTo>
                    <a:lnTo>
                      <a:pt x="365" y="583"/>
                    </a:lnTo>
                    <a:lnTo>
                      <a:pt x="363" y="583"/>
                    </a:lnTo>
                    <a:lnTo>
                      <a:pt x="363" y="581"/>
                    </a:lnTo>
                    <a:lnTo>
                      <a:pt x="365" y="583"/>
                    </a:lnTo>
                    <a:lnTo>
                      <a:pt x="363" y="583"/>
                    </a:lnTo>
                    <a:lnTo>
                      <a:pt x="361" y="583"/>
                    </a:lnTo>
                    <a:lnTo>
                      <a:pt x="361" y="585"/>
                    </a:lnTo>
                    <a:lnTo>
                      <a:pt x="361" y="587"/>
                    </a:lnTo>
                    <a:lnTo>
                      <a:pt x="359" y="587"/>
                    </a:lnTo>
                    <a:lnTo>
                      <a:pt x="357" y="587"/>
                    </a:lnTo>
                    <a:lnTo>
                      <a:pt x="357" y="589"/>
                    </a:lnTo>
                    <a:lnTo>
                      <a:pt x="359" y="589"/>
                    </a:lnTo>
                    <a:lnTo>
                      <a:pt x="359" y="591"/>
                    </a:lnTo>
                    <a:lnTo>
                      <a:pt x="361" y="591"/>
                    </a:lnTo>
                    <a:lnTo>
                      <a:pt x="361" y="593"/>
                    </a:lnTo>
                    <a:close/>
                    <a:moveTo>
                      <a:pt x="472" y="677"/>
                    </a:moveTo>
                    <a:lnTo>
                      <a:pt x="472" y="679"/>
                    </a:lnTo>
                    <a:lnTo>
                      <a:pt x="474" y="679"/>
                    </a:lnTo>
                    <a:lnTo>
                      <a:pt x="472" y="679"/>
                    </a:lnTo>
                    <a:lnTo>
                      <a:pt x="472" y="677"/>
                    </a:lnTo>
                    <a:close/>
                    <a:moveTo>
                      <a:pt x="1181" y="64"/>
                    </a:moveTo>
                    <a:lnTo>
                      <a:pt x="1181" y="62"/>
                    </a:lnTo>
                    <a:lnTo>
                      <a:pt x="1179" y="62"/>
                    </a:lnTo>
                    <a:lnTo>
                      <a:pt x="1179" y="64"/>
                    </a:lnTo>
                    <a:lnTo>
                      <a:pt x="1179" y="62"/>
                    </a:lnTo>
                    <a:lnTo>
                      <a:pt x="1179" y="64"/>
                    </a:lnTo>
                    <a:lnTo>
                      <a:pt x="1179" y="62"/>
                    </a:lnTo>
                    <a:lnTo>
                      <a:pt x="1177" y="62"/>
                    </a:lnTo>
                    <a:lnTo>
                      <a:pt x="1179" y="62"/>
                    </a:lnTo>
                    <a:lnTo>
                      <a:pt x="1179" y="64"/>
                    </a:lnTo>
                    <a:lnTo>
                      <a:pt x="1181" y="64"/>
                    </a:lnTo>
                    <a:lnTo>
                      <a:pt x="1179" y="64"/>
                    </a:lnTo>
                    <a:lnTo>
                      <a:pt x="1181" y="62"/>
                    </a:lnTo>
                    <a:lnTo>
                      <a:pt x="1181" y="64"/>
                    </a:lnTo>
                    <a:close/>
                    <a:moveTo>
                      <a:pt x="482" y="581"/>
                    </a:moveTo>
                    <a:lnTo>
                      <a:pt x="480" y="581"/>
                    </a:lnTo>
                    <a:lnTo>
                      <a:pt x="480" y="583"/>
                    </a:lnTo>
                    <a:lnTo>
                      <a:pt x="480" y="581"/>
                    </a:lnTo>
                    <a:lnTo>
                      <a:pt x="478" y="581"/>
                    </a:lnTo>
                    <a:lnTo>
                      <a:pt x="478" y="583"/>
                    </a:lnTo>
                    <a:lnTo>
                      <a:pt x="478" y="581"/>
                    </a:lnTo>
                    <a:lnTo>
                      <a:pt x="478" y="583"/>
                    </a:lnTo>
                    <a:lnTo>
                      <a:pt x="476" y="583"/>
                    </a:lnTo>
                    <a:lnTo>
                      <a:pt x="476" y="581"/>
                    </a:lnTo>
                    <a:lnTo>
                      <a:pt x="476" y="583"/>
                    </a:lnTo>
                    <a:lnTo>
                      <a:pt x="478" y="583"/>
                    </a:lnTo>
                    <a:lnTo>
                      <a:pt x="478" y="581"/>
                    </a:lnTo>
                    <a:lnTo>
                      <a:pt x="478" y="583"/>
                    </a:lnTo>
                    <a:lnTo>
                      <a:pt x="478" y="581"/>
                    </a:lnTo>
                    <a:lnTo>
                      <a:pt x="480" y="581"/>
                    </a:lnTo>
                    <a:lnTo>
                      <a:pt x="480" y="583"/>
                    </a:lnTo>
                    <a:lnTo>
                      <a:pt x="480" y="581"/>
                    </a:lnTo>
                    <a:lnTo>
                      <a:pt x="482" y="581"/>
                    </a:lnTo>
                    <a:close/>
                    <a:moveTo>
                      <a:pt x="922" y="231"/>
                    </a:moveTo>
                    <a:lnTo>
                      <a:pt x="924" y="231"/>
                    </a:lnTo>
                    <a:lnTo>
                      <a:pt x="922" y="231"/>
                    </a:lnTo>
                    <a:close/>
                    <a:moveTo>
                      <a:pt x="912" y="129"/>
                    </a:moveTo>
                    <a:lnTo>
                      <a:pt x="914" y="129"/>
                    </a:lnTo>
                    <a:lnTo>
                      <a:pt x="912" y="129"/>
                    </a:lnTo>
                    <a:close/>
                    <a:moveTo>
                      <a:pt x="657" y="256"/>
                    </a:moveTo>
                    <a:lnTo>
                      <a:pt x="659" y="256"/>
                    </a:lnTo>
                    <a:lnTo>
                      <a:pt x="657" y="256"/>
                    </a:lnTo>
                    <a:close/>
                    <a:moveTo>
                      <a:pt x="645" y="287"/>
                    </a:moveTo>
                    <a:lnTo>
                      <a:pt x="645" y="285"/>
                    </a:lnTo>
                    <a:lnTo>
                      <a:pt x="645" y="287"/>
                    </a:lnTo>
                    <a:lnTo>
                      <a:pt x="645" y="285"/>
                    </a:lnTo>
                    <a:lnTo>
                      <a:pt x="647" y="285"/>
                    </a:lnTo>
                    <a:lnTo>
                      <a:pt x="645" y="285"/>
                    </a:lnTo>
                    <a:lnTo>
                      <a:pt x="647" y="285"/>
                    </a:lnTo>
                    <a:lnTo>
                      <a:pt x="645" y="285"/>
                    </a:lnTo>
                    <a:lnTo>
                      <a:pt x="645" y="287"/>
                    </a:lnTo>
                    <a:lnTo>
                      <a:pt x="645" y="285"/>
                    </a:lnTo>
                    <a:lnTo>
                      <a:pt x="645" y="287"/>
                    </a:lnTo>
                    <a:close/>
                    <a:moveTo>
                      <a:pt x="645" y="287"/>
                    </a:moveTo>
                    <a:lnTo>
                      <a:pt x="643" y="287"/>
                    </a:lnTo>
                    <a:lnTo>
                      <a:pt x="641" y="287"/>
                    </a:lnTo>
                    <a:lnTo>
                      <a:pt x="639" y="287"/>
                    </a:lnTo>
                    <a:lnTo>
                      <a:pt x="641" y="285"/>
                    </a:lnTo>
                    <a:lnTo>
                      <a:pt x="639" y="285"/>
                    </a:lnTo>
                    <a:lnTo>
                      <a:pt x="639" y="287"/>
                    </a:lnTo>
                    <a:lnTo>
                      <a:pt x="639" y="285"/>
                    </a:lnTo>
                    <a:lnTo>
                      <a:pt x="638" y="285"/>
                    </a:lnTo>
                    <a:lnTo>
                      <a:pt x="636" y="285"/>
                    </a:lnTo>
                    <a:lnTo>
                      <a:pt x="638" y="285"/>
                    </a:lnTo>
                    <a:lnTo>
                      <a:pt x="636" y="285"/>
                    </a:lnTo>
                    <a:lnTo>
                      <a:pt x="634" y="285"/>
                    </a:lnTo>
                    <a:lnTo>
                      <a:pt x="636" y="285"/>
                    </a:lnTo>
                    <a:lnTo>
                      <a:pt x="638" y="285"/>
                    </a:lnTo>
                    <a:lnTo>
                      <a:pt x="636" y="285"/>
                    </a:lnTo>
                    <a:lnTo>
                      <a:pt x="638" y="285"/>
                    </a:lnTo>
                    <a:lnTo>
                      <a:pt x="639" y="285"/>
                    </a:lnTo>
                    <a:lnTo>
                      <a:pt x="639" y="287"/>
                    </a:lnTo>
                    <a:lnTo>
                      <a:pt x="639" y="285"/>
                    </a:lnTo>
                    <a:lnTo>
                      <a:pt x="641" y="285"/>
                    </a:lnTo>
                    <a:lnTo>
                      <a:pt x="639" y="287"/>
                    </a:lnTo>
                    <a:lnTo>
                      <a:pt x="641" y="287"/>
                    </a:lnTo>
                    <a:lnTo>
                      <a:pt x="643" y="287"/>
                    </a:lnTo>
                    <a:lnTo>
                      <a:pt x="645" y="287"/>
                    </a:lnTo>
                    <a:close/>
                    <a:moveTo>
                      <a:pt x="634" y="285"/>
                    </a:moveTo>
                    <a:lnTo>
                      <a:pt x="632" y="285"/>
                    </a:lnTo>
                    <a:lnTo>
                      <a:pt x="634" y="285"/>
                    </a:lnTo>
                    <a:close/>
                    <a:moveTo>
                      <a:pt x="576" y="320"/>
                    </a:moveTo>
                    <a:lnTo>
                      <a:pt x="576" y="318"/>
                    </a:lnTo>
                    <a:lnTo>
                      <a:pt x="576" y="320"/>
                    </a:lnTo>
                    <a:lnTo>
                      <a:pt x="574" y="320"/>
                    </a:lnTo>
                    <a:lnTo>
                      <a:pt x="574" y="318"/>
                    </a:lnTo>
                    <a:lnTo>
                      <a:pt x="574" y="320"/>
                    </a:lnTo>
                    <a:lnTo>
                      <a:pt x="576" y="320"/>
                    </a:lnTo>
                    <a:close/>
                    <a:moveTo>
                      <a:pt x="647" y="0"/>
                    </a:moveTo>
                    <a:lnTo>
                      <a:pt x="645" y="0"/>
                    </a:lnTo>
                    <a:lnTo>
                      <a:pt x="647" y="0"/>
                    </a:lnTo>
                    <a:close/>
                    <a:moveTo>
                      <a:pt x="248" y="287"/>
                    </a:moveTo>
                    <a:lnTo>
                      <a:pt x="246" y="287"/>
                    </a:lnTo>
                    <a:lnTo>
                      <a:pt x="248" y="28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107">
                <a:extLst>
                  <a:ext uri="{FF2B5EF4-FFF2-40B4-BE49-F238E27FC236}">
                    <a16:creationId xmlns="" xmlns:a16="http://schemas.microsoft.com/office/drawing/2014/main" id="{321F6464-5BA9-4F9E-BA12-77DE96C43A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95913" y="1690688"/>
                <a:ext cx="1851025" cy="1620838"/>
              </a:xfrm>
              <a:custGeom>
                <a:avLst/>
                <a:gdLst>
                  <a:gd name="T0" fmla="*/ 524 w 1166"/>
                  <a:gd name="T1" fmla="*/ 973 h 1021"/>
                  <a:gd name="T2" fmla="*/ 505 w 1166"/>
                  <a:gd name="T3" fmla="*/ 961 h 1021"/>
                  <a:gd name="T4" fmla="*/ 478 w 1166"/>
                  <a:gd name="T5" fmla="*/ 953 h 1021"/>
                  <a:gd name="T6" fmla="*/ 463 w 1166"/>
                  <a:gd name="T7" fmla="*/ 944 h 1021"/>
                  <a:gd name="T8" fmla="*/ 455 w 1166"/>
                  <a:gd name="T9" fmla="*/ 944 h 1021"/>
                  <a:gd name="T10" fmla="*/ 451 w 1166"/>
                  <a:gd name="T11" fmla="*/ 938 h 1021"/>
                  <a:gd name="T12" fmla="*/ 447 w 1166"/>
                  <a:gd name="T13" fmla="*/ 940 h 1021"/>
                  <a:gd name="T14" fmla="*/ 430 w 1166"/>
                  <a:gd name="T15" fmla="*/ 923 h 1021"/>
                  <a:gd name="T16" fmla="*/ 420 w 1166"/>
                  <a:gd name="T17" fmla="*/ 909 h 1021"/>
                  <a:gd name="T18" fmla="*/ 420 w 1166"/>
                  <a:gd name="T19" fmla="*/ 898 h 1021"/>
                  <a:gd name="T20" fmla="*/ 407 w 1166"/>
                  <a:gd name="T21" fmla="*/ 878 h 1021"/>
                  <a:gd name="T22" fmla="*/ 399 w 1166"/>
                  <a:gd name="T23" fmla="*/ 867 h 1021"/>
                  <a:gd name="T24" fmla="*/ 384 w 1166"/>
                  <a:gd name="T25" fmla="*/ 850 h 1021"/>
                  <a:gd name="T26" fmla="*/ 380 w 1166"/>
                  <a:gd name="T27" fmla="*/ 828 h 1021"/>
                  <a:gd name="T28" fmla="*/ 357 w 1166"/>
                  <a:gd name="T29" fmla="*/ 803 h 1021"/>
                  <a:gd name="T30" fmla="*/ 849 w 1166"/>
                  <a:gd name="T31" fmla="*/ 582 h 1021"/>
                  <a:gd name="T32" fmla="*/ 1104 w 1166"/>
                  <a:gd name="T33" fmla="*/ 390 h 1021"/>
                  <a:gd name="T34" fmla="*/ 1102 w 1166"/>
                  <a:gd name="T35" fmla="*/ 373 h 1021"/>
                  <a:gd name="T36" fmla="*/ 1118 w 1166"/>
                  <a:gd name="T37" fmla="*/ 346 h 1021"/>
                  <a:gd name="T38" fmla="*/ 1160 w 1166"/>
                  <a:gd name="T39" fmla="*/ 304 h 1021"/>
                  <a:gd name="T40" fmla="*/ 1154 w 1166"/>
                  <a:gd name="T41" fmla="*/ 294 h 1021"/>
                  <a:gd name="T42" fmla="*/ 586 w 1166"/>
                  <a:gd name="T43" fmla="*/ 609 h 1021"/>
                  <a:gd name="T44" fmla="*/ 1116 w 1166"/>
                  <a:gd name="T45" fmla="*/ 273 h 1021"/>
                  <a:gd name="T46" fmla="*/ 1137 w 1166"/>
                  <a:gd name="T47" fmla="*/ 257 h 1021"/>
                  <a:gd name="T48" fmla="*/ 1097 w 1166"/>
                  <a:gd name="T49" fmla="*/ 269 h 1021"/>
                  <a:gd name="T50" fmla="*/ 378 w 1166"/>
                  <a:gd name="T51" fmla="*/ 623 h 1021"/>
                  <a:gd name="T52" fmla="*/ 1108 w 1166"/>
                  <a:gd name="T53" fmla="*/ 196 h 1021"/>
                  <a:gd name="T54" fmla="*/ 893 w 1166"/>
                  <a:gd name="T55" fmla="*/ 327 h 1021"/>
                  <a:gd name="T56" fmla="*/ 611 w 1166"/>
                  <a:gd name="T57" fmla="*/ 465 h 1021"/>
                  <a:gd name="T58" fmla="*/ 872 w 1166"/>
                  <a:gd name="T59" fmla="*/ 311 h 1021"/>
                  <a:gd name="T60" fmla="*/ 862 w 1166"/>
                  <a:gd name="T61" fmla="*/ 315 h 1021"/>
                  <a:gd name="T62" fmla="*/ 853 w 1166"/>
                  <a:gd name="T63" fmla="*/ 313 h 1021"/>
                  <a:gd name="T64" fmla="*/ 839 w 1166"/>
                  <a:gd name="T65" fmla="*/ 309 h 1021"/>
                  <a:gd name="T66" fmla="*/ 368 w 1166"/>
                  <a:gd name="T67" fmla="*/ 519 h 1021"/>
                  <a:gd name="T68" fmla="*/ 399 w 1166"/>
                  <a:gd name="T69" fmla="*/ 502 h 1021"/>
                  <a:gd name="T70" fmla="*/ 418 w 1166"/>
                  <a:gd name="T71" fmla="*/ 492 h 1021"/>
                  <a:gd name="T72" fmla="*/ 353 w 1166"/>
                  <a:gd name="T73" fmla="*/ 507 h 1021"/>
                  <a:gd name="T74" fmla="*/ 397 w 1166"/>
                  <a:gd name="T75" fmla="*/ 490 h 1021"/>
                  <a:gd name="T76" fmla="*/ 384 w 1166"/>
                  <a:gd name="T77" fmla="*/ 490 h 1021"/>
                  <a:gd name="T78" fmla="*/ 399 w 1166"/>
                  <a:gd name="T79" fmla="*/ 478 h 1021"/>
                  <a:gd name="T80" fmla="*/ 372 w 1166"/>
                  <a:gd name="T81" fmla="*/ 486 h 1021"/>
                  <a:gd name="T82" fmla="*/ 363 w 1166"/>
                  <a:gd name="T83" fmla="*/ 486 h 1021"/>
                  <a:gd name="T84" fmla="*/ 392 w 1166"/>
                  <a:gd name="T85" fmla="*/ 478 h 1021"/>
                  <a:gd name="T86" fmla="*/ 407 w 1166"/>
                  <a:gd name="T87" fmla="*/ 467 h 1021"/>
                  <a:gd name="T88" fmla="*/ 395 w 1166"/>
                  <a:gd name="T89" fmla="*/ 469 h 1021"/>
                  <a:gd name="T90" fmla="*/ 382 w 1166"/>
                  <a:gd name="T91" fmla="*/ 475 h 1021"/>
                  <a:gd name="T92" fmla="*/ 386 w 1166"/>
                  <a:gd name="T93" fmla="*/ 473 h 1021"/>
                  <a:gd name="T94" fmla="*/ 355 w 1166"/>
                  <a:gd name="T95" fmla="*/ 482 h 1021"/>
                  <a:gd name="T96" fmla="*/ 384 w 1166"/>
                  <a:gd name="T97" fmla="*/ 469 h 1021"/>
                  <a:gd name="T98" fmla="*/ 363 w 1166"/>
                  <a:gd name="T99" fmla="*/ 475 h 1021"/>
                  <a:gd name="T100" fmla="*/ 397 w 1166"/>
                  <a:gd name="T101" fmla="*/ 459 h 1021"/>
                  <a:gd name="T102" fmla="*/ 244 w 1166"/>
                  <a:gd name="T103" fmla="*/ 503 h 1021"/>
                  <a:gd name="T104" fmla="*/ 257 w 1166"/>
                  <a:gd name="T105" fmla="*/ 500 h 1021"/>
                  <a:gd name="T106" fmla="*/ 386 w 1166"/>
                  <a:gd name="T107" fmla="*/ 453 h 1021"/>
                  <a:gd name="T108" fmla="*/ 395 w 1166"/>
                  <a:gd name="T109" fmla="*/ 452 h 1021"/>
                  <a:gd name="T110" fmla="*/ 184 w 1166"/>
                  <a:gd name="T111" fmla="*/ 509 h 1021"/>
                  <a:gd name="T112" fmla="*/ 365 w 1166"/>
                  <a:gd name="T113" fmla="*/ 455 h 1021"/>
                  <a:gd name="T114" fmla="*/ 372 w 1166"/>
                  <a:gd name="T115" fmla="*/ 440 h 1021"/>
                  <a:gd name="T116" fmla="*/ 363 w 1166"/>
                  <a:gd name="T117" fmla="*/ 438 h 1021"/>
                  <a:gd name="T118" fmla="*/ 338 w 1166"/>
                  <a:gd name="T119" fmla="*/ 442 h 1021"/>
                  <a:gd name="T120" fmla="*/ 614 w 1166"/>
                  <a:gd name="T121" fmla="*/ 317 h 1021"/>
                  <a:gd name="T122" fmla="*/ 271 w 1166"/>
                  <a:gd name="T123" fmla="*/ 448 h 1021"/>
                  <a:gd name="T124" fmla="*/ 48 w 1166"/>
                  <a:gd name="T125" fmla="*/ 473 h 10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66" h="1021">
                    <a:moveTo>
                      <a:pt x="551" y="984"/>
                    </a:moveTo>
                    <a:lnTo>
                      <a:pt x="549" y="984"/>
                    </a:lnTo>
                    <a:lnTo>
                      <a:pt x="551" y="984"/>
                    </a:lnTo>
                    <a:close/>
                    <a:moveTo>
                      <a:pt x="545" y="984"/>
                    </a:moveTo>
                    <a:lnTo>
                      <a:pt x="547" y="984"/>
                    </a:lnTo>
                    <a:lnTo>
                      <a:pt x="549" y="984"/>
                    </a:lnTo>
                    <a:lnTo>
                      <a:pt x="547" y="984"/>
                    </a:lnTo>
                    <a:lnTo>
                      <a:pt x="545" y="984"/>
                    </a:lnTo>
                    <a:close/>
                    <a:moveTo>
                      <a:pt x="547" y="982"/>
                    </a:moveTo>
                    <a:lnTo>
                      <a:pt x="547" y="984"/>
                    </a:lnTo>
                    <a:lnTo>
                      <a:pt x="547" y="982"/>
                    </a:lnTo>
                    <a:lnTo>
                      <a:pt x="545" y="982"/>
                    </a:lnTo>
                    <a:lnTo>
                      <a:pt x="547" y="982"/>
                    </a:lnTo>
                    <a:close/>
                    <a:moveTo>
                      <a:pt x="549" y="982"/>
                    </a:moveTo>
                    <a:lnTo>
                      <a:pt x="549" y="984"/>
                    </a:lnTo>
                    <a:lnTo>
                      <a:pt x="547" y="984"/>
                    </a:lnTo>
                    <a:lnTo>
                      <a:pt x="547" y="982"/>
                    </a:lnTo>
                    <a:lnTo>
                      <a:pt x="545" y="982"/>
                    </a:lnTo>
                    <a:lnTo>
                      <a:pt x="547" y="982"/>
                    </a:lnTo>
                    <a:lnTo>
                      <a:pt x="549" y="982"/>
                    </a:lnTo>
                    <a:close/>
                    <a:moveTo>
                      <a:pt x="543" y="982"/>
                    </a:moveTo>
                    <a:lnTo>
                      <a:pt x="545" y="982"/>
                    </a:lnTo>
                    <a:lnTo>
                      <a:pt x="543" y="982"/>
                    </a:lnTo>
                    <a:lnTo>
                      <a:pt x="545" y="982"/>
                    </a:lnTo>
                    <a:lnTo>
                      <a:pt x="543" y="982"/>
                    </a:lnTo>
                    <a:lnTo>
                      <a:pt x="543" y="984"/>
                    </a:lnTo>
                    <a:lnTo>
                      <a:pt x="543" y="982"/>
                    </a:lnTo>
                    <a:close/>
                    <a:moveTo>
                      <a:pt x="545" y="982"/>
                    </a:moveTo>
                    <a:lnTo>
                      <a:pt x="543" y="982"/>
                    </a:lnTo>
                    <a:lnTo>
                      <a:pt x="545" y="982"/>
                    </a:lnTo>
                    <a:close/>
                    <a:moveTo>
                      <a:pt x="543" y="982"/>
                    </a:moveTo>
                    <a:lnTo>
                      <a:pt x="543" y="984"/>
                    </a:lnTo>
                    <a:lnTo>
                      <a:pt x="543" y="982"/>
                    </a:lnTo>
                    <a:lnTo>
                      <a:pt x="541" y="982"/>
                    </a:lnTo>
                    <a:lnTo>
                      <a:pt x="543" y="982"/>
                    </a:lnTo>
                    <a:close/>
                    <a:moveTo>
                      <a:pt x="539" y="982"/>
                    </a:moveTo>
                    <a:lnTo>
                      <a:pt x="538" y="982"/>
                    </a:lnTo>
                    <a:lnTo>
                      <a:pt x="539" y="982"/>
                    </a:lnTo>
                    <a:close/>
                    <a:moveTo>
                      <a:pt x="543" y="980"/>
                    </a:moveTo>
                    <a:lnTo>
                      <a:pt x="545" y="980"/>
                    </a:lnTo>
                    <a:lnTo>
                      <a:pt x="543" y="980"/>
                    </a:lnTo>
                    <a:close/>
                    <a:moveTo>
                      <a:pt x="539" y="980"/>
                    </a:moveTo>
                    <a:lnTo>
                      <a:pt x="539" y="982"/>
                    </a:lnTo>
                    <a:lnTo>
                      <a:pt x="539" y="980"/>
                    </a:lnTo>
                    <a:lnTo>
                      <a:pt x="538" y="980"/>
                    </a:lnTo>
                    <a:lnTo>
                      <a:pt x="539" y="980"/>
                    </a:lnTo>
                    <a:close/>
                    <a:moveTo>
                      <a:pt x="541" y="978"/>
                    </a:moveTo>
                    <a:lnTo>
                      <a:pt x="543" y="978"/>
                    </a:lnTo>
                    <a:lnTo>
                      <a:pt x="541" y="978"/>
                    </a:lnTo>
                    <a:lnTo>
                      <a:pt x="543" y="978"/>
                    </a:lnTo>
                    <a:lnTo>
                      <a:pt x="541" y="978"/>
                    </a:lnTo>
                    <a:close/>
                    <a:moveTo>
                      <a:pt x="538" y="978"/>
                    </a:moveTo>
                    <a:lnTo>
                      <a:pt x="539" y="978"/>
                    </a:lnTo>
                    <a:lnTo>
                      <a:pt x="541" y="978"/>
                    </a:lnTo>
                    <a:lnTo>
                      <a:pt x="543" y="980"/>
                    </a:lnTo>
                    <a:lnTo>
                      <a:pt x="543" y="982"/>
                    </a:lnTo>
                    <a:lnTo>
                      <a:pt x="541" y="982"/>
                    </a:lnTo>
                    <a:lnTo>
                      <a:pt x="539" y="980"/>
                    </a:lnTo>
                    <a:lnTo>
                      <a:pt x="538" y="980"/>
                    </a:lnTo>
                    <a:lnTo>
                      <a:pt x="538" y="978"/>
                    </a:lnTo>
                    <a:lnTo>
                      <a:pt x="536" y="978"/>
                    </a:lnTo>
                    <a:lnTo>
                      <a:pt x="538" y="978"/>
                    </a:lnTo>
                    <a:close/>
                    <a:moveTo>
                      <a:pt x="539" y="978"/>
                    </a:moveTo>
                    <a:lnTo>
                      <a:pt x="539" y="976"/>
                    </a:lnTo>
                    <a:lnTo>
                      <a:pt x="539" y="978"/>
                    </a:lnTo>
                    <a:lnTo>
                      <a:pt x="539" y="976"/>
                    </a:lnTo>
                    <a:lnTo>
                      <a:pt x="539" y="978"/>
                    </a:lnTo>
                    <a:lnTo>
                      <a:pt x="539" y="976"/>
                    </a:lnTo>
                    <a:lnTo>
                      <a:pt x="541" y="978"/>
                    </a:lnTo>
                    <a:lnTo>
                      <a:pt x="539" y="978"/>
                    </a:lnTo>
                    <a:lnTo>
                      <a:pt x="538" y="978"/>
                    </a:lnTo>
                    <a:lnTo>
                      <a:pt x="539" y="976"/>
                    </a:lnTo>
                    <a:lnTo>
                      <a:pt x="539" y="978"/>
                    </a:lnTo>
                    <a:close/>
                    <a:moveTo>
                      <a:pt x="401" y="1021"/>
                    </a:moveTo>
                    <a:lnTo>
                      <a:pt x="401" y="1019"/>
                    </a:lnTo>
                    <a:lnTo>
                      <a:pt x="403" y="1019"/>
                    </a:lnTo>
                    <a:lnTo>
                      <a:pt x="401" y="1019"/>
                    </a:lnTo>
                    <a:lnTo>
                      <a:pt x="401" y="1021"/>
                    </a:lnTo>
                    <a:close/>
                    <a:moveTo>
                      <a:pt x="417" y="1013"/>
                    </a:moveTo>
                    <a:lnTo>
                      <a:pt x="417" y="1015"/>
                    </a:lnTo>
                    <a:lnTo>
                      <a:pt x="418" y="1015"/>
                    </a:lnTo>
                    <a:lnTo>
                      <a:pt x="417" y="1015"/>
                    </a:lnTo>
                    <a:lnTo>
                      <a:pt x="415" y="1015"/>
                    </a:lnTo>
                    <a:lnTo>
                      <a:pt x="415" y="1013"/>
                    </a:lnTo>
                    <a:lnTo>
                      <a:pt x="417" y="1013"/>
                    </a:lnTo>
                    <a:close/>
                    <a:moveTo>
                      <a:pt x="530" y="974"/>
                    </a:moveTo>
                    <a:lnTo>
                      <a:pt x="530" y="976"/>
                    </a:lnTo>
                    <a:lnTo>
                      <a:pt x="532" y="976"/>
                    </a:lnTo>
                    <a:lnTo>
                      <a:pt x="532" y="978"/>
                    </a:lnTo>
                    <a:lnTo>
                      <a:pt x="534" y="978"/>
                    </a:lnTo>
                    <a:lnTo>
                      <a:pt x="534" y="980"/>
                    </a:lnTo>
                    <a:lnTo>
                      <a:pt x="534" y="978"/>
                    </a:lnTo>
                    <a:lnTo>
                      <a:pt x="532" y="978"/>
                    </a:lnTo>
                    <a:lnTo>
                      <a:pt x="534" y="978"/>
                    </a:lnTo>
                    <a:lnTo>
                      <a:pt x="532" y="978"/>
                    </a:lnTo>
                    <a:lnTo>
                      <a:pt x="532" y="976"/>
                    </a:lnTo>
                    <a:lnTo>
                      <a:pt x="534" y="978"/>
                    </a:lnTo>
                    <a:lnTo>
                      <a:pt x="536" y="978"/>
                    </a:lnTo>
                    <a:lnTo>
                      <a:pt x="534" y="978"/>
                    </a:lnTo>
                    <a:lnTo>
                      <a:pt x="536" y="978"/>
                    </a:lnTo>
                    <a:lnTo>
                      <a:pt x="536" y="980"/>
                    </a:lnTo>
                    <a:lnTo>
                      <a:pt x="534" y="980"/>
                    </a:lnTo>
                    <a:lnTo>
                      <a:pt x="536" y="980"/>
                    </a:lnTo>
                    <a:lnTo>
                      <a:pt x="538" y="980"/>
                    </a:lnTo>
                    <a:lnTo>
                      <a:pt x="538" y="982"/>
                    </a:lnTo>
                    <a:lnTo>
                      <a:pt x="539" y="982"/>
                    </a:lnTo>
                    <a:lnTo>
                      <a:pt x="538" y="982"/>
                    </a:lnTo>
                    <a:lnTo>
                      <a:pt x="536" y="982"/>
                    </a:lnTo>
                    <a:lnTo>
                      <a:pt x="536" y="980"/>
                    </a:lnTo>
                    <a:lnTo>
                      <a:pt x="534" y="980"/>
                    </a:lnTo>
                    <a:lnTo>
                      <a:pt x="534" y="978"/>
                    </a:lnTo>
                    <a:lnTo>
                      <a:pt x="532" y="978"/>
                    </a:lnTo>
                    <a:lnTo>
                      <a:pt x="530" y="976"/>
                    </a:lnTo>
                    <a:lnTo>
                      <a:pt x="530" y="974"/>
                    </a:lnTo>
                    <a:lnTo>
                      <a:pt x="528" y="974"/>
                    </a:lnTo>
                    <a:lnTo>
                      <a:pt x="530" y="974"/>
                    </a:lnTo>
                    <a:close/>
                    <a:moveTo>
                      <a:pt x="528" y="974"/>
                    </a:moveTo>
                    <a:lnTo>
                      <a:pt x="528" y="976"/>
                    </a:lnTo>
                    <a:lnTo>
                      <a:pt x="528" y="974"/>
                    </a:lnTo>
                    <a:lnTo>
                      <a:pt x="528" y="976"/>
                    </a:lnTo>
                    <a:lnTo>
                      <a:pt x="528" y="974"/>
                    </a:lnTo>
                    <a:lnTo>
                      <a:pt x="530" y="976"/>
                    </a:lnTo>
                    <a:lnTo>
                      <a:pt x="528" y="976"/>
                    </a:lnTo>
                    <a:lnTo>
                      <a:pt x="528" y="974"/>
                    </a:lnTo>
                    <a:close/>
                    <a:moveTo>
                      <a:pt x="459" y="998"/>
                    </a:moveTo>
                    <a:lnTo>
                      <a:pt x="461" y="998"/>
                    </a:lnTo>
                    <a:lnTo>
                      <a:pt x="459" y="998"/>
                    </a:lnTo>
                    <a:close/>
                    <a:moveTo>
                      <a:pt x="528" y="974"/>
                    </a:moveTo>
                    <a:lnTo>
                      <a:pt x="528" y="976"/>
                    </a:lnTo>
                    <a:lnTo>
                      <a:pt x="526" y="976"/>
                    </a:lnTo>
                    <a:lnTo>
                      <a:pt x="526" y="974"/>
                    </a:lnTo>
                    <a:lnTo>
                      <a:pt x="528" y="974"/>
                    </a:lnTo>
                    <a:close/>
                    <a:moveTo>
                      <a:pt x="526" y="973"/>
                    </a:moveTo>
                    <a:lnTo>
                      <a:pt x="528" y="973"/>
                    </a:lnTo>
                    <a:lnTo>
                      <a:pt x="526" y="973"/>
                    </a:lnTo>
                    <a:lnTo>
                      <a:pt x="528" y="973"/>
                    </a:lnTo>
                    <a:lnTo>
                      <a:pt x="530" y="973"/>
                    </a:lnTo>
                    <a:lnTo>
                      <a:pt x="530" y="974"/>
                    </a:lnTo>
                    <a:lnTo>
                      <a:pt x="528" y="974"/>
                    </a:lnTo>
                    <a:lnTo>
                      <a:pt x="526" y="974"/>
                    </a:lnTo>
                    <a:lnTo>
                      <a:pt x="526" y="973"/>
                    </a:lnTo>
                    <a:lnTo>
                      <a:pt x="524" y="973"/>
                    </a:lnTo>
                    <a:lnTo>
                      <a:pt x="526" y="973"/>
                    </a:lnTo>
                    <a:close/>
                    <a:moveTo>
                      <a:pt x="453" y="996"/>
                    </a:moveTo>
                    <a:lnTo>
                      <a:pt x="453" y="998"/>
                    </a:lnTo>
                    <a:lnTo>
                      <a:pt x="451" y="996"/>
                    </a:lnTo>
                    <a:lnTo>
                      <a:pt x="453" y="996"/>
                    </a:lnTo>
                    <a:lnTo>
                      <a:pt x="451" y="996"/>
                    </a:lnTo>
                    <a:lnTo>
                      <a:pt x="453" y="996"/>
                    </a:lnTo>
                    <a:lnTo>
                      <a:pt x="455" y="996"/>
                    </a:lnTo>
                    <a:lnTo>
                      <a:pt x="453" y="996"/>
                    </a:lnTo>
                    <a:close/>
                    <a:moveTo>
                      <a:pt x="430" y="1001"/>
                    </a:moveTo>
                    <a:lnTo>
                      <a:pt x="428" y="1001"/>
                    </a:lnTo>
                    <a:lnTo>
                      <a:pt x="428" y="1003"/>
                    </a:lnTo>
                    <a:lnTo>
                      <a:pt x="430" y="1001"/>
                    </a:lnTo>
                    <a:close/>
                    <a:moveTo>
                      <a:pt x="451" y="996"/>
                    </a:moveTo>
                    <a:lnTo>
                      <a:pt x="449" y="996"/>
                    </a:lnTo>
                    <a:lnTo>
                      <a:pt x="451" y="996"/>
                    </a:lnTo>
                    <a:close/>
                    <a:moveTo>
                      <a:pt x="443" y="998"/>
                    </a:moveTo>
                    <a:lnTo>
                      <a:pt x="441" y="998"/>
                    </a:lnTo>
                    <a:lnTo>
                      <a:pt x="443" y="998"/>
                    </a:lnTo>
                    <a:close/>
                    <a:moveTo>
                      <a:pt x="447" y="996"/>
                    </a:moveTo>
                    <a:lnTo>
                      <a:pt x="445" y="998"/>
                    </a:lnTo>
                    <a:lnTo>
                      <a:pt x="445" y="996"/>
                    </a:lnTo>
                    <a:lnTo>
                      <a:pt x="447" y="996"/>
                    </a:lnTo>
                    <a:close/>
                    <a:moveTo>
                      <a:pt x="449" y="996"/>
                    </a:moveTo>
                    <a:lnTo>
                      <a:pt x="451" y="996"/>
                    </a:lnTo>
                    <a:lnTo>
                      <a:pt x="451" y="998"/>
                    </a:lnTo>
                    <a:lnTo>
                      <a:pt x="449" y="998"/>
                    </a:lnTo>
                    <a:lnTo>
                      <a:pt x="449" y="996"/>
                    </a:lnTo>
                    <a:lnTo>
                      <a:pt x="449" y="998"/>
                    </a:lnTo>
                    <a:lnTo>
                      <a:pt x="449" y="996"/>
                    </a:lnTo>
                    <a:lnTo>
                      <a:pt x="447" y="996"/>
                    </a:lnTo>
                    <a:lnTo>
                      <a:pt x="449" y="996"/>
                    </a:lnTo>
                    <a:lnTo>
                      <a:pt x="449" y="994"/>
                    </a:lnTo>
                    <a:lnTo>
                      <a:pt x="449" y="996"/>
                    </a:lnTo>
                    <a:close/>
                    <a:moveTo>
                      <a:pt x="520" y="969"/>
                    </a:moveTo>
                    <a:lnTo>
                      <a:pt x="522" y="969"/>
                    </a:lnTo>
                    <a:lnTo>
                      <a:pt x="520" y="969"/>
                    </a:lnTo>
                    <a:close/>
                    <a:moveTo>
                      <a:pt x="518" y="969"/>
                    </a:moveTo>
                    <a:lnTo>
                      <a:pt x="518" y="971"/>
                    </a:lnTo>
                    <a:lnTo>
                      <a:pt x="518" y="969"/>
                    </a:lnTo>
                    <a:lnTo>
                      <a:pt x="520" y="969"/>
                    </a:lnTo>
                    <a:lnTo>
                      <a:pt x="520" y="971"/>
                    </a:lnTo>
                    <a:lnTo>
                      <a:pt x="518" y="971"/>
                    </a:lnTo>
                    <a:lnTo>
                      <a:pt x="518" y="969"/>
                    </a:lnTo>
                    <a:close/>
                    <a:moveTo>
                      <a:pt x="518" y="971"/>
                    </a:moveTo>
                    <a:lnTo>
                      <a:pt x="516" y="971"/>
                    </a:lnTo>
                    <a:lnTo>
                      <a:pt x="518" y="971"/>
                    </a:lnTo>
                    <a:close/>
                    <a:moveTo>
                      <a:pt x="518" y="971"/>
                    </a:moveTo>
                    <a:lnTo>
                      <a:pt x="518" y="969"/>
                    </a:lnTo>
                    <a:lnTo>
                      <a:pt x="518" y="971"/>
                    </a:lnTo>
                    <a:close/>
                    <a:moveTo>
                      <a:pt x="514" y="971"/>
                    </a:moveTo>
                    <a:lnTo>
                      <a:pt x="516" y="971"/>
                    </a:lnTo>
                    <a:lnTo>
                      <a:pt x="518" y="973"/>
                    </a:lnTo>
                    <a:lnTo>
                      <a:pt x="516" y="973"/>
                    </a:lnTo>
                    <a:lnTo>
                      <a:pt x="516" y="971"/>
                    </a:lnTo>
                    <a:lnTo>
                      <a:pt x="514" y="971"/>
                    </a:lnTo>
                    <a:close/>
                    <a:moveTo>
                      <a:pt x="514" y="969"/>
                    </a:moveTo>
                    <a:lnTo>
                      <a:pt x="516" y="969"/>
                    </a:lnTo>
                    <a:lnTo>
                      <a:pt x="514" y="969"/>
                    </a:lnTo>
                    <a:close/>
                    <a:moveTo>
                      <a:pt x="516" y="967"/>
                    </a:moveTo>
                    <a:lnTo>
                      <a:pt x="518" y="967"/>
                    </a:lnTo>
                    <a:lnTo>
                      <a:pt x="520" y="967"/>
                    </a:lnTo>
                    <a:lnTo>
                      <a:pt x="520" y="969"/>
                    </a:lnTo>
                    <a:lnTo>
                      <a:pt x="518" y="969"/>
                    </a:lnTo>
                    <a:lnTo>
                      <a:pt x="516" y="969"/>
                    </a:lnTo>
                    <a:lnTo>
                      <a:pt x="516" y="967"/>
                    </a:lnTo>
                    <a:close/>
                    <a:moveTo>
                      <a:pt x="518" y="967"/>
                    </a:moveTo>
                    <a:lnTo>
                      <a:pt x="516" y="967"/>
                    </a:lnTo>
                    <a:lnTo>
                      <a:pt x="518" y="967"/>
                    </a:lnTo>
                    <a:close/>
                    <a:moveTo>
                      <a:pt x="513" y="965"/>
                    </a:moveTo>
                    <a:lnTo>
                      <a:pt x="514" y="965"/>
                    </a:lnTo>
                    <a:lnTo>
                      <a:pt x="514" y="967"/>
                    </a:lnTo>
                    <a:lnTo>
                      <a:pt x="513" y="967"/>
                    </a:lnTo>
                    <a:lnTo>
                      <a:pt x="513" y="965"/>
                    </a:lnTo>
                    <a:close/>
                    <a:moveTo>
                      <a:pt x="499" y="969"/>
                    </a:moveTo>
                    <a:lnTo>
                      <a:pt x="499" y="971"/>
                    </a:lnTo>
                    <a:lnTo>
                      <a:pt x="499" y="969"/>
                    </a:lnTo>
                    <a:lnTo>
                      <a:pt x="501" y="969"/>
                    </a:lnTo>
                    <a:lnTo>
                      <a:pt x="499" y="969"/>
                    </a:lnTo>
                    <a:close/>
                    <a:moveTo>
                      <a:pt x="511" y="965"/>
                    </a:moveTo>
                    <a:lnTo>
                      <a:pt x="513" y="965"/>
                    </a:lnTo>
                    <a:lnTo>
                      <a:pt x="514" y="967"/>
                    </a:lnTo>
                    <a:lnTo>
                      <a:pt x="514" y="969"/>
                    </a:lnTo>
                    <a:lnTo>
                      <a:pt x="514" y="967"/>
                    </a:lnTo>
                    <a:lnTo>
                      <a:pt x="513" y="967"/>
                    </a:lnTo>
                    <a:lnTo>
                      <a:pt x="513" y="969"/>
                    </a:lnTo>
                    <a:lnTo>
                      <a:pt x="514" y="969"/>
                    </a:lnTo>
                    <a:lnTo>
                      <a:pt x="513" y="969"/>
                    </a:lnTo>
                    <a:lnTo>
                      <a:pt x="513" y="967"/>
                    </a:lnTo>
                    <a:lnTo>
                      <a:pt x="511" y="967"/>
                    </a:lnTo>
                    <a:lnTo>
                      <a:pt x="513" y="967"/>
                    </a:lnTo>
                    <a:lnTo>
                      <a:pt x="511" y="965"/>
                    </a:lnTo>
                    <a:close/>
                    <a:moveTo>
                      <a:pt x="509" y="965"/>
                    </a:moveTo>
                    <a:lnTo>
                      <a:pt x="511" y="965"/>
                    </a:lnTo>
                    <a:lnTo>
                      <a:pt x="511" y="967"/>
                    </a:lnTo>
                    <a:lnTo>
                      <a:pt x="513" y="967"/>
                    </a:lnTo>
                    <a:lnTo>
                      <a:pt x="511" y="969"/>
                    </a:lnTo>
                    <a:lnTo>
                      <a:pt x="511" y="967"/>
                    </a:lnTo>
                    <a:lnTo>
                      <a:pt x="509" y="965"/>
                    </a:lnTo>
                    <a:lnTo>
                      <a:pt x="507" y="965"/>
                    </a:lnTo>
                    <a:lnTo>
                      <a:pt x="509" y="965"/>
                    </a:lnTo>
                    <a:close/>
                    <a:moveTo>
                      <a:pt x="507" y="963"/>
                    </a:moveTo>
                    <a:lnTo>
                      <a:pt x="507" y="965"/>
                    </a:lnTo>
                    <a:lnTo>
                      <a:pt x="505" y="965"/>
                    </a:lnTo>
                    <a:lnTo>
                      <a:pt x="507" y="965"/>
                    </a:lnTo>
                    <a:lnTo>
                      <a:pt x="507" y="963"/>
                    </a:lnTo>
                    <a:close/>
                    <a:moveTo>
                      <a:pt x="507" y="963"/>
                    </a:moveTo>
                    <a:lnTo>
                      <a:pt x="509" y="963"/>
                    </a:lnTo>
                    <a:lnTo>
                      <a:pt x="511" y="963"/>
                    </a:lnTo>
                    <a:lnTo>
                      <a:pt x="511" y="965"/>
                    </a:lnTo>
                    <a:lnTo>
                      <a:pt x="509" y="965"/>
                    </a:lnTo>
                    <a:lnTo>
                      <a:pt x="507" y="965"/>
                    </a:lnTo>
                    <a:lnTo>
                      <a:pt x="507" y="963"/>
                    </a:lnTo>
                    <a:close/>
                    <a:moveTo>
                      <a:pt x="507" y="963"/>
                    </a:moveTo>
                    <a:lnTo>
                      <a:pt x="505" y="963"/>
                    </a:lnTo>
                    <a:lnTo>
                      <a:pt x="507" y="963"/>
                    </a:lnTo>
                    <a:close/>
                    <a:moveTo>
                      <a:pt x="507" y="965"/>
                    </a:moveTo>
                    <a:lnTo>
                      <a:pt x="507" y="963"/>
                    </a:lnTo>
                    <a:lnTo>
                      <a:pt x="505" y="963"/>
                    </a:lnTo>
                    <a:lnTo>
                      <a:pt x="507" y="963"/>
                    </a:lnTo>
                    <a:lnTo>
                      <a:pt x="507" y="965"/>
                    </a:lnTo>
                    <a:close/>
                    <a:moveTo>
                      <a:pt x="507" y="961"/>
                    </a:moveTo>
                    <a:lnTo>
                      <a:pt x="509" y="961"/>
                    </a:lnTo>
                    <a:lnTo>
                      <a:pt x="507" y="961"/>
                    </a:lnTo>
                    <a:lnTo>
                      <a:pt x="509" y="961"/>
                    </a:lnTo>
                    <a:lnTo>
                      <a:pt x="507" y="961"/>
                    </a:lnTo>
                    <a:lnTo>
                      <a:pt x="509" y="961"/>
                    </a:lnTo>
                    <a:lnTo>
                      <a:pt x="509" y="963"/>
                    </a:lnTo>
                    <a:lnTo>
                      <a:pt x="511" y="963"/>
                    </a:lnTo>
                    <a:lnTo>
                      <a:pt x="513" y="963"/>
                    </a:lnTo>
                    <a:lnTo>
                      <a:pt x="513" y="965"/>
                    </a:lnTo>
                    <a:lnTo>
                      <a:pt x="511" y="965"/>
                    </a:lnTo>
                    <a:lnTo>
                      <a:pt x="511" y="963"/>
                    </a:lnTo>
                    <a:lnTo>
                      <a:pt x="509" y="963"/>
                    </a:lnTo>
                    <a:lnTo>
                      <a:pt x="507" y="963"/>
                    </a:lnTo>
                    <a:lnTo>
                      <a:pt x="507" y="961"/>
                    </a:lnTo>
                    <a:lnTo>
                      <a:pt x="507" y="963"/>
                    </a:lnTo>
                    <a:lnTo>
                      <a:pt x="509" y="963"/>
                    </a:lnTo>
                    <a:lnTo>
                      <a:pt x="507" y="963"/>
                    </a:lnTo>
                    <a:lnTo>
                      <a:pt x="507" y="961"/>
                    </a:lnTo>
                    <a:close/>
                    <a:moveTo>
                      <a:pt x="507" y="961"/>
                    </a:moveTo>
                    <a:lnTo>
                      <a:pt x="505" y="961"/>
                    </a:lnTo>
                    <a:lnTo>
                      <a:pt x="507" y="961"/>
                    </a:lnTo>
                    <a:close/>
                    <a:moveTo>
                      <a:pt x="507" y="963"/>
                    </a:moveTo>
                    <a:lnTo>
                      <a:pt x="505" y="963"/>
                    </a:lnTo>
                    <a:lnTo>
                      <a:pt x="505" y="961"/>
                    </a:lnTo>
                    <a:lnTo>
                      <a:pt x="505" y="963"/>
                    </a:lnTo>
                    <a:lnTo>
                      <a:pt x="507" y="963"/>
                    </a:lnTo>
                    <a:close/>
                    <a:moveTo>
                      <a:pt x="503" y="961"/>
                    </a:moveTo>
                    <a:lnTo>
                      <a:pt x="505" y="961"/>
                    </a:lnTo>
                    <a:lnTo>
                      <a:pt x="503" y="961"/>
                    </a:lnTo>
                    <a:close/>
                    <a:moveTo>
                      <a:pt x="497" y="961"/>
                    </a:moveTo>
                    <a:lnTo>
                      <a:pt x="499" y="961"/>
                    </a:lnTo>
                    <a:lnTo>
                      <a:pt x="497" y="961"/>
                    </a:lnTo>
                    <a:close/>
                    <a:moveTo>
                      <a:pt x="501" y="961"/>
                    </a:moveTo>
                    <a:lnTo>
                      <a:pt x="501" y="959"/>
                    </a:lnTo>
                    <a:lnTo>
                      <a:pt x="499" y="959"/>
                    </a:lnTo>
                    <a:lnTo>
                      <a:pt x="499" y="957"/>
                    </a:lnTo>
                    <a:lnTo>
                      <a:pt x="501" y="959"/>
                    </a:lnTo>
                    <a:lnTo>
                      <a:pt x="501" y="961"/>
                    </a:lnTo>
                    <a:close/>
                    <a:moveTo>
                      <a:pt x="497" y="957"/>
                    </a:moveTo>
                    <a:lnTo>
                      <a:pt x="499" y="957"/>
                    </a:lnTo>
                    <a:lnTo>
                      <a:pt x="499" y="959"/>
                    </a:lnTo>
                    <a:lnTo>
                      <a:pt x="499" y="957"/>
                    </a:lnTo>
                    <a:lnTo>
                      <a:pt x="499" y="959"/>
                    </a:lnTo>
                    <a:lnTo>
                      <a:pt x="501" y="959"/>
                    </a:lnTo>
                    <a:lnTo>
                      <a:pt x="501" y="961"/>
                    </a:lnTo>
                    <a:lnTo>
                      <a:pt x="503" y="961"/>
                    </a:lnTo>
                    <a:lnTo>
                      <a:pt x="503" y="963"/>
                    </a:lnTo>
                    <a:lnTo>
                      <a:pt x="503" y="961"/>
                    </a:lnTo>
                    <a:lnTo>
                      <a:pt x="503" y="963"/>
                    </a:lnTo>
                    <a:lnTo>
                      <a:pt x="505" y="963"/>
                    </a:lnTo>
                    <a:lnTo>
                      <a:pt x="503" y="963"/>
                    </a:lnTo>
                    <a:lnTo>
                      <a:pt x="501" y="963"/>
                    </a:lnTo>
                    <a:lnTo>
                      <a:pt x="501" y="961"/>
                    </a:lnTo>
                    <a:lnTo>
                      <a:pt x="499" y="961"/>
                    </a:lnTo>
                    <a:lnTo>
                      <a:pt x="499" y="959"/>
                    </a:lnTo>
                    <a:lnTo>
                      <a:pt x="497" y="957"/>
                    </a:lnTo>
                    <a:close/>
                    <a:moveTo>
                      <a:pt x="488" y="959"/>
                    </a:moveTo>
                    <a:lnTo>
                      <a:pt x="486" y="959"/>
                    </a:lnTo>
                    <a:lnTo>
                      <a:pt x="488" y="959"/>
                    </a:lnTo>
                    <a:lnTo>
                      <a:pt x="488" y="957"/>
                    </a:lnTo>
                    <a:lnTo>
                      <a:pt x="490" y="957"/>
                    </a:lnTo>
                    <a:lnTo>
                      <a:pt x="488" y="959"/>
                    </a:lnTo>
                    <a:close/>
                    <a:moveTo>
                      <a:pt x="486" y="957"/>
                    </a:moveTo>
                    <a:lnTo>
                      <a:pt x="488" y="957"/>
                    </a:lnTo>
                    <a:lnTo>
                      <a:pt x="486" y="959"/>
                    </a:lnTo>
                    <a:lnTo>
                      <a:pt x="486" y="957"/>
                    </a:lnTo>
                    <a:lnTo>
                      <a:pt x="486" y="959"/>
                    </a:lnTo>
                    <a:lnTo>
                      <a:pt x="486" y="957"/>
                    </a:lnTo>
                    <a:lnTo>
                      <a:pt x="484" y="957"/>
                    </a:lnTo>
                    <a:lnTo>
                      <a:pt x="486" y="957"/>
                    </a:lnTo>
                    <a:close/>
                    <a:moveTo>
                      <a:pt x="488" y="957"/>
                    </a:moveTo>
                    <a:lnTo>
                      <a:pt x="486" y="957"/>
                    </a:lnTo>
                    <a:lnTo>
                      <a:pt x="488" y="957"/>
                    </a:lnTo>
                    <a:close/>
                    <a:moveTo>
                      <a:pt x="488" y="955"/>
                    </a:moveTo>
                    <a:lnTo>
                      <a:pt x="488" y="957"/>
                    </a:lnTo>
                    <a:lnTo>
                      <a:pt x="490" y="957"/>
                    </a:lnTo>
                    <a:lnTo>
                      <a:pt x="488" y="957"/>
                    </a:lnTo>
                    <a:lnTo>
                      <a:pt x="488" y="955"/>
                    </a:lnTo>
                    <a:close/>
                    <a:moveTo>
                      <a:pt x="486" y="955"/>
                    </a:moveTo>
                    <a:lnTo>
                      <a:pt x="486" y="957"/>
                    </a:lnTo>
                    <a:lnTo>
                      <a:pt x="486" y="955"/>
                    </a:lnTo>
                    <a:close/>
                    <a:moveTo>
                      <a:pt x="488" y="955"/>
                    </a:moveTo>
                    <a:lnTo>
                      <a:pt x="490" y="955"/>
                    </a:lnTo>
                    <a:lnTo>
                      <a:pt x="488" y="955"/>
                    </a:lnTo>
                    <a:lnTo>
                      <a:pt x="486" y="955"/>
                    </a:lnTo>
                    <a:lnTo>
                      <a:pt x="488" y="955"/>
                    </a:lnTo>
                    <a:close/>
                    <a:moveTo>
                      <a:pt x="490" y="953"/>
                    </a:moveTo>
                    <a:lnTo>
                      <a:pt x="491" y="953"/>
                    </a:lnTo>
                    <a:lnTo>
                      <a:pt x="491" y="955"/>
                    </a:lnTo>
                    <a:lnTo>
                      <a:pt x="491" y="953"/>
                    </a:lnTo>
                    <a:lnTo>
                      <a:pt x="493" y="955"/>
                    </a:lnTo>
                    <a:lnTo>
                      <a:pt x="491" y="955"/>
                    </a:lnTo>
                    <a:lnTo>
                      <a:pt x="490" y="955"/>
                    </a:lnTo>
                    <a:lnTo>
                      <a:pt x="490" y="953"/>
                    </a:lnTo>
                    <a:lnTo>
                      <a:pt x="491" y="953"/>
                    </a:lnTo>
                    <a:lnTo>
                      <a:pt x="490" y="953"/>
                    </a:lnTo>
                    <a:lnTo>
                      <a:pt x="488" y="953"/>
                    </a:lnTo>
                    <a:lnTo>
                      <a:pt x="490" y="953"/>
                    </a:lnTo>
                    <a:close/>
                    <a:moveTo>
                      <a:pt x="488" y="953"/>
                    </a:moveTo>
                    <a:lnTo>
                      <a:pt x="490" y="953"/>
                    </a:lnTo>
                    <a:lnTo>
                      <a:pt x="490" y="955"/>
                    </a:lnTo>
                    <a:lnTo>
                      <a:pt x="488" y="953"/>
                    </a:lnTo>
                    <a:lnTo>
                      <a:pt x="488" y="955"/>
                    </a:lnTo>
                    <a:lnTo>
                      <a:pt x="488" y="953"/>
                    </a:lnTo>
                    <a:close/>
                    <a:moveTo>
                      <a:pt x="486" y="953"/>
                    </a:moveTo>
                    <a:lnTo>
                      <a:pt x="486" y="955"/>
                    </a:lnTo>
                    <a:lnTo>
                      <a:pt x="486" y="953"/>
                    </a:lnTo>
                    <a:close/>
                    <a:moveTo>
                      <a:pt x="482" y="955"/>
                    </a:moveTo>
                    <a:lnTo>
                      <a:pt x="480" y="955"/>
                    </a:lnTo>
                    <a:lnTo>
                      <a:pt x="482" y="955"/>
                    </a:lnTo>
                    <a:close/>
                    <a:moveTo>
                      <a:pt x="478" y="955"/>
                    </a:moveTo>
                    <a:lnTo>
                      <a:pt x="480" y="955"/>
                    </a:lnTo>
                    <a:lnTo>
                      <a:pt x="480" y="953"/>
                    </a:lnTo>
                    <a:lnTo>
                      <a:pt x="480" y="955"/>
                    </a:lnTo>
                    <a:lnTo>
                      <a:pt x="482" y="955"/>
                    </a:lnTo>
                    <a:lnTo>
                      <a:pt x="484" y="955"/>
                    </a:lnTo>
                    <a:lnTo>
                      <a:pt x="486" y="955"/>
                    </a:lnTo>
                    <a:lnTo>
                      <a:pt x="486" y="957"/>
                    </a:lnTo>
                    <a:lnTo>
                      <a:pt x="484" y="957"/>
                    </a:lnTo>
                    <a:lnTo>
                      <a:pt x="482" y="957"/>
                    </a:lnTo>
                    <a:lnTo>
                      <a:pt x="482" y="955"/>
                    </a:lnTo>
                    <a:lnTo>
                      <a:pt x="480" y="957"/>
                    </a:lnTo>
                    <a:lnTo>
                      <a:pt x="480" y="955"/>
                    </a:lnTo>
                    <a:lnTo>
                      <a:pt x="478" y="955"/>
                    </a:lnTo>
                    <a:lnTo>
                      <a:pt x="480" y="955"/>
                    </a:lnTo>
                    <a:lnTo>
                      <a:pt x="478" y="955"/>
                    </a:lnTo>
                    <a:lnTo>
                      <a:pt x="480" y="955"/>
                    </a:lnTo>
                    <a:lnTo>
                      <a:pt x="478" y="955"/>
                    </a:lnTo>
                    <a:close/>
                    <a:moveTo>
                      <a:pt x="478" y="953"/>
                    </a:moveTo>
                    <a:lnTo>
                      <a:pt x="476" y="953"/>
                    </a:lnTo>
                    <a:lnTo>
                      <a:pt x="478" y="953"/>
                    </a:lnTo>
                    <a:close/>
                    <a:moveTo>
                      <a:pt x="474" y="953"/>
                    </a:moveTo>
                    <a:lnTo>
                      <a:pt x="474" y="951"/>
                    </a:lnTo>
                    <a:lnTo>
                      <a:pt x="474" y="953"/>
                    </a:lnTo>
                    <a:close/>
                    <a:moveTo>
                      <a:pt x="480" y="951"/>
                    </a:moveTo>
                    <a:lnTo>
                      <a:pt x="478" y="951"/>
                    </a:lnTo>
                    <a:lnTo>
                      <a:pt x="480" y="951"/>
                    </a:lnTo>
                    <a:close/>
                    <a:moveTo>
                      <a:pt x="474" y="953"/>
                    </a:moveTo>
                    <a:lnTo>
                      <a:pt x="472" y="953"/>
                    </a:lnTo>
                    <a:lnTo>
                      <a:pt x="472" y="951"/>
                    </a:lnTo>
                    <a:lnTo>
                      <a:pt x="474" y="951"/>
                    </a:lnTo>
                    <a:lnTo>
                      <a:pt x="474" y="953"/>
                    </a:lnTo>
                    <a:close/>
                    <a:moveTo>
                      <a:pt x="476" y="951"/>
                    </a:moveTo>
                    <a:lnTo>
                      <a:pt x="478" y="949"/>
                    </a:lnTo>
                    <a:lnTo>
                      <a:pt x="478" y="951"/>
                    </a:lnTo>
                    <a:lnTo>
                      <a:pt x="480" y="951"/>
                    </a:lnTo>
                    <a:lnTo>
                      <a:pt x="478" y="953"/>
                    </a:lnTo>
                    <a:lnTo>
                      <a:pt x="480" y="953"/>
                    </a:lnTo>
                    <a:lnTo>
                      <a:pt x="480" y="951"/>
                    </a:lnTo>
                    <a:lnTo>
                      <a:pt x="482" y="951"/>
                    </a:lnTo>
                    <a:lnTo>
                      <a:pt x="480" y="951"/>
                    </a:lnTo>
                    <a:lnTo>
                      <a:pt x="482" y="951"/>
                    </a:lnTo>
                    <a:lnTo>
                      <a:pt x="484" y="951"/>
                    </a:lnTo>
                    <a:lnTo>
                      <a:pt x="484" y="953"/>
                    </a:lnTo>
                    <a:lnTo>
                      <a:pt x="486" y="955"/>
                    </a:lnTo>
                    <a:lnTo>
                      <a:pt x="484" y="955"/>
                    </a:lnTo>
                    <a:lnTo>
                      <a:pt x="484" y="953"/>
                    </a:lnTo>
                    <a:lnTo>
                      <a:pt x="482" y="953"/>
                    </a:lnTo>
                    <a:lnTo>
                      <a:pt x="482" y="955"/>
                    </a:lnTo>
                    <a:lnTo>
                      <a:pt x="482" y="953"/>
                    </a:lnTo>
                    <a:lnTo>
                      <a:pt x="480" y="953"/>
                    </a:lnTo>
                    <a:lnTo>
                      <a:pt x="478" y="953"/>
                    </a:lnTo>
                    <a:lnTo>
                      <a:pt x="480" y="953"/>
                    </a:lnTo>
                    <a:lnTo>
                      <a:pt x="478" y="953"/>
                    </a:lnTo>
                    <a:lnTo>
                      <a:pt x="478" y="951"/>
                    </a:lnTo>
                    <a:lnTo>
                      <a:pt x="476" y="953"/>
                    </a:lnTo>
                    <a:lnTo>
                      <a:pt x="476" y="951"/>
                    </a:lnTo>
                    <a:lnTo>
                      <a:pt x="474" y="951"/>
                    </a:lnTo>
                    <a:lnTo>
                      <a:pt x="476" y="951"/>
                    </a:lnTo>
                    <a:close/>
                    <a:moveTo>
                      <a:pt x="465" y="953"/>
                    </a:moveTo>
                    <a:lnTo>
                      <a:pt x="466" y="953"/>
                    </a:lnTo>
                    <a:lnTo>
                      <a:pt x="465" y="953"/>
                    </a:lnTo>
                    <a:lnTo>
                      <a:pt x="465" y="955"/>
                    </a:lnTo>
                    <a:lnTo>
                      <a:pt x="465" y="953"/>
                    </a:lnTo>
                    <a:close/>
                    <a:moveTo>
                      <a:pt x="468" y="953"/>
                    </a:moveTo>
                    <a:lnTo>
                      <a:pt x="466" y="953"/>
                    </a:lnTo>
                    <a:lnTo>
                      <a:pt x="468" y="951"/>
                    </a:lnTo>
                    <a:lnTo>
                      <a:pt x="468" y="953"/>
                    </a:lnTo>
                    <a:close/>
                    <a:moveTo>
                      <a:pt x="468" y="951"/>
                    </a:moveTo>
                    <a:lnTo>
                      <a:pt x="470" y="951"/>
                    </a:lnTo>
                    <a:lnTo>
                      <a:pt x="468" y="951"/>
                    </a:lnTo>
                    <a:lnTo>
                      <a:pt x="468" y="953"/>
                    </a:lnTo>
                    <a:lnTo>
                      <a:pt x="468" y="951"/>
                    </a:lnTo>
                    <a:close/>
                    <a:moveTo>
                      <a:pt x="463" y="953"/>
                    </a:moveTo>
                    <a:lnTo>
                      <a:pt x="461" y="953"/>
                    </a:lnTo>
                    <a:lnTo>
                      <a:pt x="463" y="953"/>
                    </a:lnTo>
                    <a:close/>
                    <a:moveTo>
                      <a:pt x="465" y="951"/>
                    </a:moveTo>
                    <a:lnTo>
                      <a:pt x="466" y="951"/>
                    </a:lnTo>
                    <a:lnTo>
                      <a:pt x="466" y="953"/>
                    </a:lnTo>
                    <a:lnTo>
                      <a:pt x="465" y="953"/>
                    </a:lnTo>
                    <a:lnTo>
                      <a:pt x="466" y="953"/>
                    </a:lnTo>
                    <a:lnTo>
                      <a:pt x="465" y="953"/>
                    </a:lnTo>
                    <a:lnTo>
                      <a:pt x="466" y="951"/>
                    </a:lnTo>
                    <a:lnTo>
                      <a:pt x="465" y="951"/>
                    </a:lnTo>
                    <a:lnTo>
                      <a:pt x="466" y="951"/>
                    </a:lnTo>
                    <a:lnTo>
                      <a:pt x="465" y="951"/>
                    </a:lnTo>
                    <a:close/>
                    <a:moveTo>
                      <a:pt x="470" y="951"/>
                    </a:moveTo>
                    <a:lnTo>
                      <a:pt x="468" y="951"/>
                    </a:lnTo>
                    <a:lnTo>
                      <a:pt x="468" y="949"/>
                    </a:lnTo>
                    <a:lnTo>
                      <a:pt x="468" y="951"/>
                    </a:lnTo>
                    <a:lnTo>
                      <a:pt x="470" y="951"/>
                    </a:lnTo>
                    <a:close/>
                    <a:moveTo>
                      <a:pt x="468" y="951"/>
                    </a:moveTo>
                    <a:lnTo>
                      <a:pt x="466" y="951"/>
                    </a:lnTo>
                    <a:lnTo>
                      <a:pt x="468" y="951"/>
                    </a:lnTo>
                    <a:close/>
                    <a:moveTo>
                      <a:pt x="463" y="951"/>
                    </a:moveTo>
                    <a:lnTo>
                      <a:pt x="465" y="951"/>
                    </a:lnTo>
                    <a:lnTo>
                      <a:pt x="465" y="953"/>
                    </a:lnTo>
                    <a:lnTo>
                      <a:pt x="463" y="953"/>
                    </a:lnTo>
                    <a:lnTo>
                      <a:pt x="461" y="953"/>
                    </a:lnTo>
                    <a:lnTo>
                      <a:pt x="461" y="951"/>
                    </a:lnTo>
                    <a:lnTo>
                      <a:pt x="463" y="951"/>
                    </a:lnTo>
                    <a:close/>
                    <a:moveTo>
                      <a:pt x="465" y="951"/>
                    </a:moveTo>
                    <a:lnTo>
                      <a:pt x="466" y="951"/>
                    </a:lnTo>
                    <a:lnTo>
                      <a:pt x="465" y="951"/>
                    </a:lnTo>
                    <a:lnTo>
                      <a:pt x="466" y="951"/>
                    </a:lnTo>
                    <a:lnTo>
                      <a:pt x="465" y="951"/>
                    </a:lnTo>
                    <a:close/>
                    <a:moveTo>
                      <a:pt x="461" y="953"/>
                    </a:moveTo>
                    <a:lnTo>
                      <a:pt x="459" y="951"/>
                    </a:lnTo>
                    <a:lnTo>
                      <a:pt x="461" y="951"/>
                    </a:lnTo>
                    <a:lnTo>
                      <a:pt x="461" y="953"/>
                    </a:lnTo>
                    <a:close/>
                    <a:moveTo>
                      <a:pt x="457" y="951"/>
                    </a:moveTo>
                    <a:lnTo>
                      <a:pt x="459" y="953"/>
                    </a:lnTo>
                    <a:lnTo>
                      <a:pt x="461" y="953"/>
                    </a:lnTo>
                    <a:lnTo>
                      <a:pt x="463" y="953"/>
                    </a:lnTo>
                    <a:lnTo>
                      <a:pt x="461" y="953"/>
                    </a:lnTo>
                    <a:lnTo>
                      <a:pt x="463" y="953"/>
                    </a:lnTo>
                    <a:lnTo>
                      <a:pt x="463" y="955"/>
                    </a:lnTo>
                    <a:lnTo>
                      <a:pt x="461" y="955"/>
                    </a:lnTo>
                    <a:lnTo>
                      <a:pt x="459" y="955"/>
                    </a:lnTo>
                    <a:lnTo>
                      <a:pt x="459" y="953"/>
                    </a:lnTo>
                    <a:lnTo>
                      <a:pt x="457" y="953"/>
                    </a:lnTo>
                    <a:lnTo>
                      <a:pt x="457" y="951"/>
                    </a:lnTo>
                    <a:close/>
                    <a:moveTo>
                      <a:pt x="459" y="951"/>
                    </a:moveTo>
                    <a:lnTo>
                      <a:pt x="459" y="953"/>
                    </a:lnTo>
                    <a:lnTo>
                      <a:pt x="459" y="951"/>
                    </a:lnTo>
                    <a:lnTo>
                      <a:pt x="459" y="953"/>
                    </a:lnTo>
                    <a:lnTo>
                      <a:pt x="459" y="951"/>
                    </a:lnTo>
                    <a:close/>
                    <a:moveTo>
                      <a:pt x="463" y="951"/>
                    </a:moveTo>
                    <a:lnTo>
                      <a:pt x="461" y="951"/>
                    </a:lnTo>
                    <a:lnTo>
                      <a:pt x="463" y="951"/>
                    </a:lnTo>
                    <a:close/>
                    <a:moveTo>
                      <a:pt x="463" y="949"/>
                    </a:moveTo>
                    <a:lnTo>
                      <a:pt x="463" y="951"/>
                    </a:lnTo>
                    <a:lnTo>
                      <a:pt x="463" y="949"/>
                    </a:lnTo>
                    <a:lnTo>
                      <a:pt x="465" y="949"/>
                    </a:lnTo>
                    <a:lnTo>
                      <a:pt x="465" y="951"/>
                    </a:lnTo>
                    <a:lnTo>
                      <a:pt x="463" y="951"/>
                    </a:lnTo>
                    <a:lnTo>
                      <a:pt x="463" y="949"/>
                    </a:lnTo>
                    <a:close/>
                    <a:moveTo>
                      <a:pt x="455" y="951"/>
                    </a:moveTo>
                    <a:lnTo>
                      <a:pt x="455" y="949"/>
                    </a:lnTo>
                    <a:lnTo>
                      <a:pt x="455" y="951"/>
                    </a:lnTo>
                    <a:close/>
                    <a:moveTo>
                      <a:pt x="459" y="949"/>
                    </a:moveTo>
                    <a:lnTo>
                      <a:pt x="459" y="951"/>
                    </a:lnTo>
                    <a:lnTo>
                      <a:pt x="461" y="951"/>
                    </a:lnTo>
                    <a:lnTo>
                      <a:pt x="459" y="951"/>
                    </a:lnTo>
                    <a:lnTo>
                      <a:pt x="457" y="951"/>
                    </a:lnTo>
                    <a:lnTo>
                      <a:pt x="457" y="949"/>
                    </a:lnTo>
                    <a:lnTo>
                      <a:pt x="459" y="949"/>
                    </a:lnTo>
                    <a:close/>
                    <a:moveTo>
                      <a:pt x="457" y="949"/>
                    </a:moveTo>
                    <a:lnTo>
                      <a:pt x="457" y="951"/>
                    </a:lnTo>
                    <a:lnTo>
                      <a:pt x="457" y="949"/>
                    </a:lnTo>
                    <a:lnTo>
                      <a:pt x="455" y="949"/>
                    </a:lnTo>
                    <a:lnTo>
                      <a:pt x="457" y="949"/>
                    </a:lnTo>
                    <a:close/>
                    <a:moveTo>
                      <a:pt x="468" y="946"/>
                    </a:moveTo>
                    <a:lnTo>
                      <a:pt x="468" y="948"/>
                    </a:lnTo>
                    <a:lnTo>
                      <a:pt x="468" y="946"/>
                    </a:lnTo>
                    <a:close/>
                    <a:moveTo>
                      <a:pt x="466" y="946"/>
                    </a:moveTo>
                    <a:lnTo>
                      <a:pt x="468" y="948"/>
                    </a:lnTo>
                    <a:lnTo>
                      <a:pt x="466" y="948"/>
                    </a:lnTo>
                    <a:lnTo>
                      <a:pt x="466" y="946"/>
                    </a:lnTo>
                    <a:lnTo>
                      <a:pt x="465" y="946"/>
                    </a:lnTo>
                    <a:lnTo>
                      <a:pt x="466" y="946"/>
                    </a:lnTo>
                    <a:close/>
                    <a:moveTo>
                      <a:pt x="465" y="946"/>
                    </a:moveTo>
                    <a:lnTo>
                      <a:pt x="466" y="946"/>
                    </a:lnTo>
                    <a:lnTo>
                      <a:pt x="465" y="946"/>
                    </a:lnTo>
                    <a:lnTo>
                      <a:pt x="466" y="946"/>
                    </a:lnTo>
                    <a:lnTo>
                      <a:pt x="466" y="948"/>
                    </a:lnTo>
                    <a:lnTo>
                      <a:pt x="465" y="946"/>
                    </a:lnTo>
                    <a:close/>
                    <a:moveTo>
                      <a:pt x="453" y="949"/>
                    </a:moveTo>
                    <a:lnTo>
                      <a:pt x="455" y="949"/>
                    </a:lnTo>
                    <a:lnTo>
                      <a:pt x="455" y="951"/>
                    </a:lnTo>
                    <a:lnTo>
                      <a:pt x="453" y="951"/>
                    </a:lnTo>
                    <a:lnTo>
                      <a:pt x="453" y="949"/>
                    </a:lnTo>
                    <a:close/>
                    <a:moveTo>
                      <a:pt x="457" y="948"/>
                    </a:moveTo>
                    <a:lnTo>
                      <a:pt x="457" y="949"/>
                    </a:lnTo>
                    <a:lnTo>
                      <a:pt x="457" y="948"/>
                    </a:lnTo>
                    <a:close/>
                    <a:moveTo>
                      <a:pt x="455" y="949"/>
                    </a:moveTo>
                    <a:lnTo>
                      <a:pt x="453" y="948"/>
                    </a:lnTo>
                    <a:lnTo>
                      <a:pt x="455" y="949"/>
                    </a:lnTo>
                    <a:close/>
                    <a:moveTo>
                      <a:pt x="455" y="948"/>
                    </a:moveTo>
                    <a:lnTo>
                      <a:pt x="457" y="948"/>
                    </a:lnTo>
                    <a:lnTo>
                      <a:pt x="457" y="949"/>
                    </a:lnTo>
                    <a:lnTo>
                      <a:pt x="455" y="949"/>
                    </a:lnTo>
                    <a:lnTo>
                      <a:pt x="455" y="948"/>
                    </a:lnTo>
                    <a:close/>
                    <a:moveTo>
                      <a:pt x="465" y="944"/>
                    </a:moveTo>
                    <a:lnTo>
                      <a:pt x="463" y="944"/>
                    </a:lnTo>
                    <a:lnTo>
                      <a:pt x="465" y="944"/>
                    </a:lnTo>
                    <a:close/>
                    <a:moveTo>
                      <a:pt x="453" y="949"/>
                    </a:moveTo>
                    <a:lnTo>
                      <a:pt x="453" y="948"/>
                    </a:lnTo>
                    <a:lnTo>
                      <a:pt x="453" y="949"/>
                    </a:lnTo>
                    <a:close/>
                    <a:moveTo>
                      <a:pt x="463" y="944"/>
                    </a:moveTo>
                    <a:lnTo>
                      <a:pt x="465" y="946"/>
                    </a:lnTo>
                    <a:lnTo>
                      <a:pt x="463" y="944"/>
                    </a:lnTo>
                    <a:lnTo>
                      <a:pt x="461" y="944"/>
                    </a:lnTo>
                    <a:lnTo>
                      <a:pt x="463" y="944"/>
                    </a:lnTo>
                    <a:close/>
                    <a:moveTo>
                      <a:pt x="459" y="944"/>
                    </a:moveTo>
                    <a:lnTo>
                      <a:pt x="461" y="944"/>
                    </a:lnTo>
                    <a:lnTo>
                      <a:pt x="461" y="946"/>
                    </a:lnTo>
                    <a:lnTo>
                      <a:pt x="463" y="946"/>
                    </a:lnTo>
                    <a:lnTo>
                      <a:pt x="461" y="946"/>
                    </a:lnTo>
                    <a:lnTo>
                      <a:pt x="459" y="944"/>
                    </a:lnTo>
                    <a:close/>
                    <a:moveTo>
                      <a:pt x="455" y="949"/>
                    </a:moveTo>
                    <a:lnTo>
                      <a:pt x="457" y="949"/>
                    </a:lnTo>
                    <a:lnTo>
                      <a:pt x="457" y="951"/>
                    </a:lnTo>
                    <a:lnTo>
                      <a:pt x="455" y="951"/>
                    </a:lnTo>
                    <a:lnTo>
                      <a:pt x="455" y="949"/>
                    </a:lnTo>
                    <a:lnTo>
                      <a:pt x="453" y="948"/>
                    </a:lnTo>
                    <a:lnTo>
                      <a:pt x="453" y="949"/>
                    </a:lnTo>
                    <a:lnTo>
                      <a:pt x="455" y="949"/>
                    </a:lnTo>
                    <a:close/>
                    <a:moveTo>
                      <a:pt x="466" y="944"/>
                    </a:moveTo>
                    <a:lnTo>
                      <a:pt x="466" y="942"/>
                    </a:lnTo>
                    <a:lnTo>
                      <a:pt x="466" y="944"/>
                    </a:lnTo>
                    <a:close/>
                    <a:moveTo>
                      <a:pt x="466" y="944"/>
                    </a:moveTo>
                    <a:lnTo>
                      <a:pt x="465" y="944"/>
                    </a:lnTo>
                    <a:lnTo>
                      <a:pt x="465" y="942"/>
                    </a:lnTo>
                    <a:lnTo>
                      <a:pt x="465" y="944"/>
                    </a:lnTo>
                    <a:lnTo>
                      <a:pt x="466" y="944"/>
                    </a:lnTo>
                    <a:close/>
                    <a:moveTo>
                      <a:pt x="463" y="944"/>
                    </a:moveTo>
                    <a:lnTo>
                      <a:pt x="465" y="944"/>
                    </a:lnTo>
                    <a:lnTo>
                      <a:pt x="465" y="946"/>
                    </a:lnTo>
                    <a:lnTo>
                      <a:pt x="465" y="944"/>
                    </a:lnTo>
                    <a:lnTo>
                      <a:pt x="463" y="944"/>
                    </a:lnTo>
                    <a:close/>
                    <a:moveTo>
                      <a:pt x="459" y="944"/>
                    </a:moveTo>
                    <a:lnTo>
                      <a:pt x="459" y="946"/>
                    </a:lnTo>
                    <a:lnTo>
                      <a:pt x="459" y="944"/>
                    </a:lnTo>
                    <a:close/>
                    <a:moveTo>
                      <a:pt x="461" y="944"/>
                    </a:moveTo>
                    <a:lnTo>
                      <a:pt x="463" y="944"/>
                    </a:lnTo>
                    <a:lnTo>
                      <a:pt x="461" y="944"/>
                    </a:lnTo>
                    <a:lnTo>
                      <a:pt x="461" y="942"/>
                    </a:lnTo>
                    <a:lnTo>
                      <a:pt x="461" y="944"/>
                    </a:lnTo>
                    <a:close/>
                    <a:moveTo>
                      <a:pt x="466" y="940"/>
                    </a:moveTo>
                    <a:lnTo>
                      <a:pt x="466" y="942"/>
                    </a:lnTo>
                    <a:lnTo>
                      <a:pt x="466" y="940"/>
                    </a:lnTo>
                    <a:lnTo>
                      <a:pt x="468" y="942"/>
                    </a:lnTo>
                    <a:lnTo>
                      <a:pt x="470" y="944"/>
                    </a:lnTo>
                    <a:lnTo>
                      <a:pt x="470" y="946"/>
                    </a:lnTo>
                    <a:lnTo>
                      <a:pt x="468" y="944"/>
                    </a:lnTo>
                    <a:lnTo>
                      <a:pt x="466" y="942"/>
                    </a:lnTo>
                    <a:lnTo>
                      <a:pt x="466" y="940"/>
                    </a:lnTo>
                    <a:lnTo>
                      <a:pt x="466" y="942"/>
                    </a:lnTo>
                    <a:lnTo>
                      <a:pt x="466" y="940"/>
                    </a:lnTo>
                    <a:close/>
                    <a:moveTo>
                      <a:pt x="461" y="942"/>
                    </a:moveTo>
                    <a:lnTo>
                      <a:pt x="463" y="942"/>
                    </a:lnTo>
                    <a:lnTo>
                      <a:pt x="465" y="942"/>
                    </a:lnTo>
                    <a:lnTo>
                      <a:pt x="465" y="944"/>
                    </a:lnTo>
                    <a:lnTo>
                      <a:pt x="463" y="944"/>
                    </a:lnTo>
                    <a:lnTo>
                      <a:pt x="461" y="944"/>
                    </a:lnTo>
                    <a:lnTo>
                      <a:pt x="461" y="942"/>
                    </a:lnTo>
                    <a:lnTo>
                      <a:pt x="463" y="944"/>
                    </a:lnTo>
                    <a:lnTo>
                      <a:pt x="463" y="942"/>
                    </a:lnTo>
                    <a:lnTo>
                      <a:pt x="461" y="942"/>
                    </a:lnTo>
                    <a:close/>
                    <a:moveTo>
                      <a:pt x="453" y="948"/>
                    </a:moveTo>
                    <a:lnTo>
                      <a:pt x="453" y="946"/>
                    </a:lnTo>
                    <a:lnTo>
                      <a:pt x="451" y="946"/>
                    </a:lnTo>
                    <a:lnTo>
                      <a:pt x="453" y="946"/>
                    </a:lnTo>
                    <a:lnTo>
                      <a:pt x="453" y="948"/>
                    </a:lnTo>
                    <a:close/>
                    <a:moveTo>
                      <a:pt x="465" y="942"/>
                    </a:moveTo>
                    <a:lnTo>
                      <a:pt x="463" y="942"/>
                    </a:lnTo>
                    <a:lnTo>
                      <a:pt x="465" y="942"/>
                    </a:lnTo>
                    <a:lnTo>
                      <a:pt x="466" y="942"/>
                    </a:lnTo>
                    <a:lnTo>
                      <a:pt x="466" y="944"/>
                    </a:lnTo>
                    <a:lnTo>
                      <a:pt x="466" y="942"/>
                    </a:lnTo>
                    <a:lnTo>
                      <a:pt x="465" y="942"/>
                    </a:lnTo>
                    <a:lnTo>
                      <a:pt x="463" y="942"/>
                    </a:lnTo>
                    <a:lnTo>
                      <a:pt x="465" y="942"/>
                    </a:lnTo>
                    <a:close/>
                    <a:moveTo>
                      <a:pt x="453" y="944"/>
                    </a:moveTo>
                    <a:lnTo>
                      <a:pt x="453" y="946"/>
                    </a:lnTo>
                    <a:lnTo>
                      <a:pt x="453" y="944"/>
                    </a:lnTo>
                    <a:close/>
                    <a:moveTo>
                      <a:pt x="465" y="940"/>
                    </a:moveTo>
                    <a:lnTo>
                      <a:pt x="466" y="942"/>
                    </a:lnTo>
                    <a:lnTo>
                      <a:pt x="465" y="942"/>
                    </a:lnTo>
                    <a:lnTo>
                      <a:pt x="465" y="940"/>
                    </a:lnTo>
                    <a:close/>
                    <a:moveTo>
                      <a:pt x="455" y="948"/>
                    </a:moveTo>
                    <a:lnTo>
                      <a:pt x="457" y="948"/>
                    </a:lnTo>
                    <a:lnTo>
                      <a:pt x="455" y="948"/>
                    </a:lnTo>
                    <a:lnTo>
                      <a:pt x="453" y="946"/>
                    </a:lnTo>
                    <a:lnTo>
                      <a:pt x="453" y="944"/>
                    </a:lnTo>
                    <a:lnTo>
                      <a:pt x="453" y="946"/>
                    </a:lnTo>
                    <a:lnTo>
                      <a:pt x="455" y="946"/>
                    </a:lnTo>
                    <a:lnTo>
                      <a:pt x="455" y="948"/>
                    </a:lnTo>
                    <a:close/>
                    <a:moveTo>
                      <a:pt x="457" y="944"/>
                    </a:moveTo>
                    <a:lnTo>
                      <a:pt x="457" y="942"/>
                    </a:lnTo>
                    <a:lnTo>
                      <a:pt x="459" y="944"/>
                    </a:lnTo>
                    <a:lnTo>
                      <a:pt x="457" y="944"/>
                    </a:lnTo>
                    <a:lnTo>
                      <a:pt x="459" y="944"/>
                    </a:lnTo>
                    <a:lnTo>
                      <a:pt x="459" y="942"/>
                    </a:lnTo>
                    <a:lnTo>
                      <a:pt x="459" y="944"/>
                    </a:lnTo>
                    <a:lnTo>
                      <a:pt x="461" y="944"/>
                    </a:lnTo>
                    <a:lnTo>
                      <a:pt x="463" y="946"/>
                    </a:lnTo>
                    <a:lnTo>
                      <a:pt x="465" y="946"/>
                    </a:lnTo>
                    <a:lnTo>
                      <a:pt x="465" y="948"/>
                    </a:lnTo>
                    <a:lnTo>
                      <a:pt x="466" y="948"/>
                    </a:lnTo>
                    <a:lnTo>
                      <a:pt x="468" y="948"/>
                    </a:lnTo>
                    <a:lnTo>
                      <a:pt x="468" y="949"/>
                    </a:lnTo>
                    <a:lnTo>
                      <a:pt x="466" y="951"/>
                    </a:lnTo>
                    <a:lnTo>
                      <a:pt x="466" y="949"/>
                    </a:lnTo>
                    <a:lnTo>
                      <a:pt x="465" y="949"/>
                    </a:lnTo>
                    <a:lnTo>
                      <a:pt x="463" y="948"/>
                    </a:lnTo>
                    <a:lnTo>
                      <a:pt x="461" y="948"/>
                    </a:lnTo>
                    <a:lnTo>
                      <a:pt x="461" y="946"/>
                    </a:lnTo>
                    <a:lnTo>
                      <a:pt x="463" y="946"/>
                    </a:lnTo>
                    <a:lnTo>
                      <a:pt x="461" y="946"/>
                    </a:lnTo>
                    <a:lnTo>
                      <a:pt x="463" y="946"/>
                    </a:lnTo>
                    <a:lnTo>
                      <a:pt x="463" y="948"/>
                    </a:lnTo>
                    <a:lnTo>
                      <a:pt x="465" y="949"/>
                    </a:lnTo>
                    <a:lnTo>
                      <a:pt x="465" y="948"/>
                    </a:lnTo>
                    <a:lnTo>
                      <a:pt x="466" y="948"/>
                    </a:lnTo>
                    <a:lnTo>
                      <a:pt x="466" y="949"/>
                    </a:lnTo>
                    <a:lnTo>
                      <a:pt x="466" y="948"/>
                    </a:lnTo>
                    <a:lnTo>
                      <a:pt x="465" y="948"/>
                    </a:lnTo>
                    <a:lnTo>
                      <a:pt x="463" y="948"/>
                    </a:lnTo>
                    <a:lnTo>
                      <a:pt x="463" y="946"/>
                    </a:lnTo>
                    <a:lnTo>
                      <a:pt x="461" y="946"/>
                    </a:lnTo>
                    <a:lnTo>
                      <a:pt x="461" y="944"/>
                    </a:lnTo>
                    <a:lnTo>
                      <a:pt x="459" y="944"/>
                    </a:lnTo>
                    <a:lnTo>
                      <a:pt x="457" y="944"/>
                    </a:lnTo>
                    <a:lnTo>
                      <a:pt x="457" y="942"/>
                    </a:lnTo>
                    <a:lnTo>
                      <a:pt x="457" y="944"/>
                    </a:lnTo>
                    <a:close/>
                    <a:moveTo>
                      <a:pt x="461" y="942"/>
                    </a:moveTo>
                    <a:lnTo>
                      <a:pt x="459" y="942"/>
                    </a:lnTo>
                    <a:lnTo>
                      <a:pt x="461" y="942"/>
                    </a:lnTo>
                    <a:close/>
                    <a:moveTo>
                      <a:pt x="457" y="942"/>
                    </a:moveTo>
                    <a:lnTo>
                      <a:pt x="457" y="944"/>
                    </a:lnTo>
                    <a:lnTo>
                      <a:pt x="455" y="944"/>
                    </a:lnTo>
                    <a:lnTo>
                      <a:pt x="457" y="942"/>
                    </a:lnTo>
                    <a:close/>
                    <a:moveTo>
                      <a:pt x="459" y="942"/>
                    </a:moveTo>
                    <a:lnTo>
                      <a:pt x="457" y="942"/>
                    </a:lnTo>
                    <a:lnTo>
                      <a:pt x="459" y="942"/>
                    </a:lnTo>
                    <a:close/>
                    <a:moveTo>
                      <a:pt x="451" y="944"/>
                    </a:moveTo>
                    <a:lnTo>
                      <a:pt x="453" y="944"/>
                    </a:lnTo>
                    <a:lnTo>
                      <a:pt x="453" y="946"/>
                    </a:lnTo>
                    <a:lnTo>
                      <a:pt x="451" y="944"/>
                    </a:lnTo>
                    <a:close/>
                    <a:moveTo>
                      <a:pt x="453" y="944"/>
                    </a:moveTo>
                    <a:lnTo>
                      <a:pt x="451" y="944"/>
                    </a:lnTo>
                    <a:lnTo>
                      <a:pt x="453" y="944"/>
                    </a:lnTo>
                    <a:close/>
                    <a:moveTo>
                      <a:pt x="455" y="942"/>
                    </a:moveTo>
                    <a:lnTo>
                      <a:pt x="455" y="944"/>
                    </a:lnTo>
                    <a:lnTo>
                      <a:pt x="455" y="942"/>
                    </a:lnTo>
                    <a:close/>
                    <a:moveTo>
                      <a:pt x="453" y="944"/>
                    </a:moveTo>
                    <a:lnTo>
                      <a:pt x="455" y="944"/>
                    </a:lnTo>
                    <a:lnTo>
                      <a:pt x="457" y="944"/>
                    </a:lnTo>
                    <a:lnTo>
                      <a:pt x="459" y="946"/>
                    </a:lnTo>
                    <a:lnTo>
                      <a:pt x="459" y="948"/>
                    </a:lnTo>
                    <a:lnTo>
                      <a:pt x="461" y="948"/>
                    </a:lnTo>
                    <a:lnTo>
                      <a:pt x="459" y="948"/>
                    </a:lnTo>
                    <a:lnTo>
                      <a:pt x="461" y="948"/>
                    </a:lnTo>
                    <a:lnTo>
                      <a:pt x="459" y="948"/>
                    </a:lnTo>
                    <a:lnTo>
                      <a:pt x="459" y="946"/>
                    </a:lnTo>
                    <a:lnTo>
                      <a:pt x="461" y="946"/>
                    </a:lnTo>
                    <a:lnTo>
                      <a:pt x="461" y="948"/>
                    </a:lnTo>
                    <a:lnTo>
                      <a:pt x="463" y="948"/>
                    </a:lnTo>
                    <a:lnTo>
                      <a:pt x="463" y="949"/>
                    </a:lnTo>
                    <a:lnTo>
                      <a:pt x="463" y="951"/>
                    </a:lnTo>
                    <a:lnTo>
                      <a:pt x="461" y="951"/>
                    </a:lnTo>
                    <a:lnTo>
                      <a:pt x="461" y="949"/>
                    </a:lnTo>
                    <a:lnTo>
                      <a:pt x="459" y="949"/>
                    </a:lnTo>
                    <a:lnTo>
                      <a:pt x="457" y="949"/>
                    </a:lnTo>
                    <a:lnTo>
                      <a:pt x="457" y="948"/>
                    </a:lnTo>
                    <a:lnTo>
                      <a:pt x="457" y="949"/>
                    </a:lnTo>
                    <a:lnTo>
                      <a:pt x="457" y="948"/>
                    </a:lnTo>
                    <a:lnTo>
                      <a:pt x="459" y="948"/>
                    </a:lnTo>
                    <a:lnTo>
                      <a:pt x="459" y="949"/>
                    </a:lnTo>
                    <a:lnTo>
                      <a:pt x="461" y="949"/>
                    </a:lnTo>
                    <a:lnTo>
                      <a:pt x="459" y="949"/>
                    </a:lnTo>
                    <a:lnTo>
                      <a:pt x="459" y="948"/>
                    </a:lnTo>
                    <a:lnTo>
                      <a:pt x="457" y="948"/>
                    </a:lnTo>
                    <a:lnTo>
                      <a:pt x="455" y="948"/>
                    </a:lnTo>
                    <a:lnTo>
                      <a:pt x="455" y="946"/>
                    </a:lnTo>
                    <a:lnTo>
                      <a:pt x="453" y="946"/>
                    </a:lnTo>
                    <a:lnTo>
                      <a:pt x="453" y="944"/>
                    </a:lnTo>
                    <a:lnTo>
                      <a:pt x="455" y="944"/>
                    </a:lnTo>
                    <a:lnTo>
                      <a:pt x="453" y="944"/>
                    </a:lnTo>
                    <a:close/>
                    <a:moveTo>
                      <a:pt x="463" y="940"/>
                    </a:moveTo>
                    <a:lnTo>
                      <a:pt x="465" y="940"/>
                    </a:lnTo>
                    <a:lnTo>
                      <a:pt x="463" y="940"/>
                    </a:lnTo>
                    <a:lnTo>
                      <a:pt x="465" y="940"/>
                    </a:lnTo>
                    <a:lnTo>
                      <a:pt x="463" y="940"/>
                    </a:lnTo>
                    <a:close/>
                    <a:moveTo>
                      <a:pt x="455" y="942"/>
                    </a:moveTo>
                    <a:lnTo>
                      <a:pt x="455" y="944"/>
                    </a:lnTo>
                    <a:lnTo>
                      <a:pt x="455" y="942"/>
                    </a:lnTo>
                    <a:lnTo>
                      <a:pt x="453" y="942"/>
                    </a:lnTo>
                    <a:lnTo>
                      <a:pt x="455" y="942"/>
                    </a:lnTo>
                    <a:close/>
                    <a:moveTo>
                      <a:pt x="449" y="944"/>
                    </a:moveTo>
                    <a:lnTo>
                      <a:pt x="451" y="944"/>
                    </a:lnTo>
                    <a:lnTo>
                      <a:pt x="449" y="944"/>
                    </a:lnTo>
                    <a:close/>
                    <a:moveTo>
                      <a:pt x="455" y="944"/>
                    </a:moveTo>
                    <a:lnTo>
                      <a:pt x="455" y="942"/>
                    </a:lnTo>
                    <a:lnTo>
                      <a:pt x="455" y="944"/>
                    </a:lnTo>
                    <a:close/>
                    <a:moveTo>
                      <a:pt x="451" y="944"/>
                    </a:moveTo>
                    <a:lnTo>
                      <a:pt x="449" y="944"/>
                    </a:lnTo>
                    <a:lnTo>
                      <a:pt x="451" y="944"/>
                    </a:lnTo>
                    <a:close/>
                    <a:moveTo>
                      <a:pt x="457" y="942"/>
                    </a:moveTo>
                    <a:lnTo>
                      <a:pt x="455" y="942"/>
                    </a:lnTo>
                    <a:lnTo>
                      <a:pt x="457" y="942"/>
                    </a:lnTo>
                    <a:close/>
                    <a:moveTo>
                      <a:pt x="451" y="942"/>
                    </a:moveTo>
                    <a:lnTo>
                      <a:pt x="453" y="944"/>
                    </a:lnTo>
                    <a:lnTo>
                      <a:pt x="451" y="944"/>
                    </a:lnTo>
                    <a:lnTo>
                      <a:pt x="451" y="942"/>
                    </a:lnTo>
                    <a:close/>
                    <a:moveTo>
                      <a:pt x="461" y="938"/>
                    </a:moveTo>
                    <a:lnTo>
                      <a:pt x="461" y="940"/>
                    </a:lnTo>
                    <a:lnTo>
                      <a:pt x="461" y="938"/>
                    </a:lnTo>
                    <a:close/>
                    <a:moveTo>
                      <a:pt x="459" y="938"/>
                    </a:moveTo>
                    <a:lnTo>
                      <a:pt x="461" y="938"/>
                    </a:lnTo>
                    <a:lnTo>
                      <a:pt x="459" y="938"/>
                    </a:lnTo>
                    <a:close/>
                    <a:moveTo>
                      <a:pt x="453" y="940"/>
                    </a:moveTo>
                    <a:lnTo>
                      <a:pt x="455" y="940"/>
                    </a:lnTo>
                    <a:lnTo>
                      <a:pt x="455" y="942"/>
                    </a:lnTo>
                    <a:lnTo>
                      <a:pt x="453" y="942"/>
                    </a:lnTo>
                    <a:lnTo>
                      <a:pt x="453" y="940"/>
                    </a:lnTo>
                    <a:close/>
                    <a:moveTo>
                      <a:pt x="449" y="942"/>
                    </a:moveTo>
                    <a:lnTo>
                      <a:pt x="449" y="944"/>
                    </a:lnTo>
                    <a:lnTo>
                      <a:pt x="449" y="942"/>
                    </a:lnTo>
                    <a:lnTo>
                      <a:pt x="447" y="942"/>
                    </a:lnTo>
                    <a:lnTo>
                      <a:pt x="447" y="940"/>
                    </a:lnTo>
                    <a:lnTo>
                      <a:pt x="449" y="940"/>
                    </a:lnTo>
                    <a:lnTo>
                      <a:pt x="449" y="942"/>
                    </a:lnTo>
                    <a:close/>
                    <a:moveTo>
                      <a:pt x="457" y="936"/>
                    </a:moveTo>
                    <a:lnTo>
                      <a:pt x="459" y="938"/>
                    </a:lnTo>
                    <a:lnTo>
                      <a:pt x="457" y="938"/>
                    </a:lnTo>
                    <a:lnTo>
                      <a:pt x="457" y="936"/>
                    </a:lnTo>
                    <a:close/>
                    <a:moveTo>
                      <a:pt x="453" y="938"/>
                    </a:moveTo>
                    <a:lnTo>
                      <a:pt x="455" y="938"/>
                    </a:lnTo>
                    <a:lnTo>
                      <a:pt x="455" y="940"/>
                    </a:lnTo>
                    <a:lnTo>
                      <a:pt x="455" y="938"/>
                    </a:lnTo>
                    <a:lnTo>
                      <a:pt x="455" y="940"/>
                    </a:lnTo>
                    <a:lnTo>
                      <a:pt x="457" y="940"/>
                    </a:lnTo>
                    <a:lnTo>
                      <a:pt x="459" y="940"/>
                    </a:lnTo>
                    <a:lnTo>
                      <a:pt x="459" y="942"/>
                    </a:lnTo>
                    <a:lnTo>
                      <a:pt x="457" y="942"/>
                    </a:lnTo>
                    <a:lnTo>
                      <a:pt x="455" y="942"/>
                    </a:lnTo>
                    <a:lnTo>
                      <a:pt x="455" y="940"/>
                    </a:lnTo>
                    <a:lnTo>
                      <a:pt x="453" y="940"/>
                    </a:lnTo>
                    <a:lnTo>
                      <a:pt x="453" y="938"/>
                    </a:lnTo>
                    <a:lnTo>
                      <a:pt x="451" y="938"/>
                    </a:lnTo>
                    <a:lnTo>
                      <a:pt x="453" y="938"/>
                    </a:lnTo>
                    <a:close/>
                    <a:moveTo>
                      <a:pt x="455" y="938"/>
                    </a:moveTo>
                    <a:lnTo>
                      <a:pt x="457" y="938"/>
                    </a:lnTo>
                    <a:lnTo>
                      <a:pt x="459" y="938"/>
                    </a:lnTo>
                    <a:lnTo>
                      <a:pt x="461" y="938"/>
                    </a:lnTo>
                    <a:lnTo>
                      <a:pt x="461" y="940"/>
                    </a:lnTo>
                    <a:lnTo>
                      <a:pt x="463" y="940"/>
                    </a:lnTo>
                    <a:lnTo>
                      <a:pt x="463" y="942"/>
                    </a:lnTo>
                    <a:lnTo>
                      <a:pt x="461" y="942"/>
                    </a:lnTo>
                    <a:lnTo>
                      <a:pt x="459" y="940"/>
                    </a:lnTo>
                    <a:lnTo>
                      <a:pt x="457" y="940"/>
                    </a:lnTo>
                    <a:lnTo>
                      <a:pt x="457" y="938"/>
                    </a:lnTo>
                    <a:lnTo>
                      <a:pt x="457" y="940"/>
                    </a:lnTo>
                    <a:lnTo>
                      <a:pt x="457" y="938"/>
                    </a:lnTo>
                    <a:lnTo>
                      <a:pt x="455" y="938"/>
                    </a:lnTo>
                    <a:lnTo>
                      <a:pt x="457" y="938"/>
                    </a:lnTo>
                    <a:lnTo>
                      <a:pt x="455" y="938"/>
                    </a:lnTo>
                    <a:close/>
                    <a:moveTo>
                      <a:pt x="447" y="940"/>
                    </a:moveTo>
                    <a:lnTo>
                      <a:pt x="445" y="940"/>
                    </a:lnTo>
                    <a:lnTo>
                      <a:pt x="447" y="940"/>
                    </a:lnTo>
                    <a:close/>
                    <a:moveTo>
                      <a:pt x="453" y="938"/>
                    </a:moveTo>
                    <a:lnTo>
                      <a:pt x="455" y="938"/>
                    </a:lnTo>
                    <a:lnTo>
                      <a:pt x="453" y="938"/>
                    </a:lnTo>
                    <a:close/>
                    <a:moveTo>
                      <a:pt x="457" y="938"/>
                    </a:moveTo>
                    <a:lnTo>
                      <a:pt x="455" y="938"/>
                    </a:lnTo>
                    <a:lnTo>
                      <a:pt x="455" y="936"/>
                    </a:lnTo>
                    <a:lnTo>
                      <a:pt x="457" y="938"/>
                    </a:lnTo>
                    <a:close/>
                    <a:moveTo>
                      <a:pt x="453" y="936"/>
                    </a:moveTo>
                    <a:lnTo>
                      <a:pt x="455" y="936"/>
                    </a:lnTo>
                    <a:lnTo>
                      <a:pt x="453" y="936"/>
                    </a:lnTo>
                    <a:close/>
                    <a:moveTo>
                      <a:pt x="451" y="938"/>
                    </a:moveTo>
                    <a:lnTo>
                      <a:pt x="453" y="938"/>
                    </a:lnTo>
                    <a:lnTo>
                      <a:pt x="451" y="938"/>
                    </a:lnTo>
                    <a:close/>
                    <a:moveTo>
                      <a:pt x="449" y="940"/>
                    </a:moveTo>
                    <a:lnTo>
                      <a:pt x="449" y="938"/>
                    </a:lnTo>
                    <a:lnTo>
                      <a:pt x="447" y="938"/>
                    </a:lnTo>
                    <a:lnTo>
                      <a:pt x="449" y="938"/>
                    </a:lnTo>
                    <a:lnTo>
                      <a:pt x="449" y="940"/>
                    </a:lnTo>
                    <a:close/>
                    <a:moveTo>
                      <a:pt x="445" y="938"/>
                    </a:moveTo>
                    <a:lnTo>
                      <a:pt x="445" y="940"/>
                    </a:lnTo>
                    <a:lnTo>
                      <a:pt x="443" y="940"/>
                    </a:lnTo>
                    <a:lnTo>
                      <a:pt x="443" y="938"/>
                    </a:lnTo>
                    <a:lnTo>
                      <a:pt x="445" y="938"/>
                    </a:lnTo>
                    <a:close/>
                    <a:moveTo>
                      <a:pt x="449" y="938"/>
                    </a:moveTo>
                    <a:lnTo>
                      <a:pt x="451" y="938"/>
                    </a:lnTo>
                    <a:lnTo>
                      <a:pt x="449" y="938"/>
                    </a:lnTo>
                    <a:lnTo>
                      <a:pt x="447" y="938"/>
                    </a:lnTo>
                    <a:lnTo>
                      <a:pt x="449" y="938"/>
                    </a:lnTo>
                    <a:close/>
                    <a:moveTo>
                      <a:pt x="449" y="938"/>
                    </a:moveTo>
                    <a:lnTo>
                      <a:pt x="451" y="938"/>
                    </a:lnTo>
                    <a:lnTo>
                      <a:pt x="449" y="938"/>
                    </a:lnTo>
                    <a:lnTo>
                      <a:pt x="449" y="936"/>
                    </a:lnTo>
                    <a:lnTo>
                      <a:pt x="449" y="938"/>
                    </a:lnTo>
                    <a:close/>
                    <a:moveTo>
                      <a:pt x="445" y="938"/>
                    </a:moveTo>
                    <a:lnTo>
                      <a:pt x="447" y="938"/>
                    </a:lnTo>
                    <a:lnTo>
                      <a:pt x="447" y="940"/>
                    </a:lnTo>
                    <a:lnTo>
                      <a:pt x="445" y="940"/>
                    </a:lnTo>
                    <a:lnTo>
                      <a:pt x="445" y="938"/>
                    </a:lnTo>
                    <a:close/>
                    <a:moveTo>
                      <a:pt x="447" y="938"/>
                    </a:moveTo>
                    <a:lnTo>
                      <a:pt x="445" y="938"/>
                    </a:lnTo>
                    <a:lnTo>
                      <a:pt x="447" y="938"/>
                    </a:lnTo>
                    <a:lnTo>
                      <a:pt x="445" y="938"/>
                    </a:lnTo>
                    <a:lnTo>
                      <a:pt x="447" y="938"/>
                    </a:lnTo>
                    <a:close/>
                    <a:moveTo>
                      <a:pt x="449" y="936"/>
                    </a:moveTo>
                    <a:lnTo>
                      <a:pt x="447" y="936"/>
                    </a:lnTo>
                    <a:lnTo>
                      <a:pt x="449" y="936"/>
                    </a:lnTo>
                    <a:close/>
                    <a:moveTo>
                      <a:pt x="447" y="938"/>
                    </a:moveTo>
                    <a:lnTo>
                      <a:pt x="447" y="936"/>
                    </a:lnTo>
                    <a:lnTo>
                      <a:pt x="447" y="938"/>
                    </a:lnTo>
                    <a:close/>
                    <a:moveTo>
                      <a:pt x="451" y="934"/>
                    </a:moveTo>
                    <a:lnTo>
                      <a:pt x="453" y="936"/>
                    </a:lnTo>
                    <a:lnTo>
                      <a:pt x="451" y="936"/>
                    </a:lnTo>
                    <a:lnTo>
                      <a:pt x="451" y="934"/>
                    </a:lnTo>
                    <a:close/>
                    <a:moveTo>
                      <a:pt x="443" y="938"/>
                    </a:moveTo>
                    <a:lnTo>
                      <a:pt x="443" y="936"/>
                    </a:lnTo>
                    <a:lnTo>
                      <a:pt x="443" y="938"/>
                    </a:lnTo>
                    <a:lnTo>
                      <a:pt x="445" y="938"/>
                    </a:lnTo>
                    <a:lnTo>
                      <a:pt x="443" y="938"/>
                    </a:lnTo>
                    <a:lnTo>
                      <a:pt x="441" y="936"/>
                    </a:lnTo>
                    <a:lnTo>
                      <a:pt x="443" y="936"/>
                    </a:lnTo>
                    <a:lnTo>
                      <a:pt x="443" y="938"/>
                    </a:lnTo>
                    <a:close/>
                    <a:moveTo>
                      <a:pt x="441" y="938"/>
                    </a:moveTo>
                    <a:lnTo>
                      <a:pt x="441" y="936"/>
                    </a:lnTo>
                    <a:lnTo>
                      <a:pt x="441" y="938"/>
                    </a:lnTo>
                    <a:close/>
                    <a:moveTo>
                      <a:pt x="445" y="936"/>
                    </a:moveTo>
                    <a:lnTo>
                      <a:pt x="445" y="938"/>
                    </a:lnTo>
                    <a:lnTo>
                      <a:pt x="445" y="936"/>
                    </a:lnTo>
                    <a:lnTo>
                      <a:pt x="445" y="938"/>
                    </a:lnTo>
                    <a:lnTo>
                      <a:pt x="445" y="936"/>
                    </a:lnTo>
                    <a:lnTo>
                      <a:pt x="443" y="936"/>
                    </a:lnTo>
                    <a:lnTo>
                      <a:pt x="445" y="936"/>
                    </a:lnTo>
                    <a:lnTo>
                      <a:pt x="443" y="936"/>
                    </a:lnTo>
                    <a:lnTo>
                      <a:pt x="445" y="936"/>
                    </a:lnTo>
                    <a:close/>
                    <a:moveTo>
                      <a:pt x="441" y="936"/>
                    </a:moveTo>
                    <a:lnTo>
                      <a:pt x="443" y="936"/>
                    </a:lnTo>
                    <a:lnTo>
                      <a:pt x="441" y="936"/>
                    </a:lnTo>
                    <a:close/>
                    <a:moveTo>
                      <a:pt x="441" y="936"/>
                    </a:moveTo>
                    <a:lnTo>
                      <a:pt x="443" y="936"/>
                    </a:lnTo>
                    <a:lnTo>
                      <a:pt x="445" y="936"/>
                    </a:lnTo>
                    <a:lnTo>
                      <a:pt x="443" y="936"/>
                    </a:lnTo>
                    <a:lnTo>
                      <a:pt x="441" y="936"/>
                    </a:lnTo>
                    <a:lnTo>
                      <a:pt x="441" y="934"/>
                    </a:lnTo>
                    <a:lnTo>
                      <a:pt x="441" y="936"/>
                    </a:lnTo>
                    <a:close/>
                    <a:moveTo>
                      <a:pt x="443" y="934"/>
                    </a:moveTo>
                    <a:lnTo>
                      <a:pt x="445" y="934"/>
                    </a:lnTo>
                    <a:lnTo>
                      <a:pt x="445" y="936"/>
                    </a:lnTo>
                    <a:lnTo>
                      <a:pt x="443" y="936"/>
                    </a:lnTo>
                    <a:lnTo>
                      <a:pt x="443" y="934"/>
                    </a:lnTo>
                    <a:close/>
                    <a:moveTo>
                      <a:pt x="443" y="934"/>
                    </a:moveTo>
                    <a:lnTo>
                      <a:pt x="443" y="936"/>
                    </a:lnTo>
                    <a:lnTo>
                      <a:pt x="443" y="934"/>
                    </a:lnTo>
                    <a:lnTo>
                      <a:pt x="441" y="934"/>
                    </a:lnTo>
                    <a:lnTo>
                      <a:pt x="443" y="934"/>
                    </a:lnTo>
                    <a:close/>
                    <a:moveTo>
                      <a:pt x="445" y="934"/>
                    </a:moveTo>
                    <a:lnTo>
                      <a:pt x="447" y="934"/>
                    </a:lnTo>
                    <a:lnTo>
                      <a:pt x="445" y="934"/>
                    </a:lnTo>
                    <a:close/>
                    <a:moveTo>
                      <a:pt x="440" y="936"/>
                    </a:moveTo>
                    <a:lnTo>
                      <a:pt x="441" y="936"/>
                    </a:lnTo>
                    <a:lnTo>
                      <a:pt x="443" y="938"/>
                    </a:lnTo>
                    <a:lnTo>
                      <a:pt x="443" y="940"/>
                    </a:lnTo>
                    <a:lnTo>
                      <a:pt x="443" y="938"/>
                    </a:lnTo>
                    <a:lnTo>
                      <a:pt x="441" y="938"/>
                    </a:lnTo>
                    <a:lnTo>
                      <a:pt x="441" y="936"/>
                    </a:lnTo>
                    <a:lnTo>
                      <a:pt x="440" y="936"/>
                    </a:lnTo>
                    <a:lnTo>
                      <a:pt x="441" y="936"/>
                    </a:lnTo>
                    <a:lnTo>
                      <a:pt x="440" y="936"/>
                    </a:lnTo>
                    <a:lnTo>
                      <a:pt x="440" y="934"/>
                    </a:lnTo>
                    <a:lnTo>
                      <a:pt x="440" y="936"/>
                    </a:lnTo>
                    <a:close/>
                    <a:moveTo>
                      <a:pt x="443" y="934"/>
                    </a:moveTo>
                    <a:lnTo>
                      <a:pt x="441" y="934"/>
                    </a:lnTo>
                    <a:lnTo>
                      <a:pt x="441" y="932"/>
                    </a:lnTo>
                    <a:lnTo>
                      <a:pt x="443" y="934"/>
                    </a:lnTo>
                    <a:close/>
                    <a:moveTo>
                      <a:pt x="441" y="934"/>
                    </a:moveTo>
                    <a:lnTo>
                      <a:pt x="441" y="936"/>
                    </a:lnTo>
                    <a:lnTo>
                      <a:pt x="441" y="934"/>
                    </a:lnTo>
                    <a:close/>
                    <a:moveTo>
                      <a:pt x="443" y="934"/>
                    </a:moveTo>
                    <a:lnTo>
                      <a:pt x="443" y="932"/>
                    </a:lnTo>
                    <a:lnTo>
                      <a:pt x="441" y="932"/>
                    </a:lnTo>
                    <a:lnTo>
                      <a:pt x="443" y="932"/>
                    </a:lnTo>
                    <a:lnTo>
                      <a:pt x="443" y="934"/>
                    </a:lnTo>
                    <a:close/>
                    <a:moveTo>
                      <a:pt x="440" y="934"/>
                    </a:moveTo>
                    <a:lnTo>
                      <a:pt x="441" y="934"/>
                    </a:lnTo>
                    <a:lnTo>
                      <a:pt x="440" y="934"/>
                    </a:lnTo>
                    <a:close/>
                    <a:moveTo>
                      <a:pt x="445" y="932"/>
                    </a:moveTo>
                    <a:lnTo>
                      <a:pt x="445" y="934"/>
                    </a:lnTo>
                    <a:lnTo>
                      <a:pt x="445" y="932"/>
                    </a:lnTo>
                    <a:lnTo>
                      <a:pt x="443" y="932"/>
                    </a:lnTo>
                    <a:lnTo>
                      <a:pt x="445" y="932"/>
                    </a:lnTo>
                    <a:close/>
                    <a:moveTo>
                      <a:pt x="438" y="936"/>
                    </a:moveTo>
                    <a:lnTo>
                      <a:pt x="436" y="936"/>
                    </a:lnTo>
                    <a:lnTo>
                      <a:pt x="436" y="934"/>
                    </a:lnTo>
                    <a:lnTo>
                      <a:pt x="436" y="936"/>
                    </a:lnTo>
                    <a:lnTo>
                      <a:pt x="438" y="936"/>
                    </a:lnTo>
                    <a:close/>
                    <a:moveTo>
                      <a:pt x="438" y="934"/>
                    </a:moveTo>
                    <a:lnTo>
                      <a:pt x="440" y="934"/>
                    </a:lnTo>
                    <a:lnTo>
                      <a:pt x="438" y="934"/>
                    </a:lnTo>
                    <a:close/>
                    <a:moveTo>
                      <a:pt x="443" y="932"/>
                    </a:moveTo>
                    <a:lnTo>
                      <a:pt x="441" y="932"/>
                    </a:lnTo>
                    <a:lnTo>
                      <a:pt x="443" y="932"/>
                    </a:lnTo>
                    <a:close/>
                    <a:moveTo>
                      <a:pt x="445" y="930"/>
                    </a:moveTo>
                    <a:lnTo>
                      <a:pt x="445" y="932"/>
                    </a:lnTo>
                    <a:lnTo>
                      <a:pt x="443" y="930"/>
                    </a:lnTo>
                    <a:lnTo>
                      <a:pt x="445" y="930"/>
                    </a:lnTo>
                    <a:close/>
                    <a:moveTo>
                      <a:pt x="443" y="932"/>
                    </a:moveTo>
                    <a:lnTo>
                      <a:pt x="443" y="930"/>
                    </a:lnTo>
                    <a:lnTo>
                      <a:pt x="443" y="932"/>
                    </a:lnTo>
                    <a:close/>
                    <a:moveTo>
                      <a:pt x="441" y="932"/>
                    </a:moveTo>
                    <a:lnTo>
                      <a:pt x="440" y="932"/>
                    </a:lnTo>
                    <a:lnTo>
                      <a:pt x="441" y="932"/>
                    </a:lnTo>
                    <a:close/>
                    <a:moveTo>
                      <a:pt x="440" y="932"/>
                    </a:moveTo>
                    <a:lnTo>
                      <a:pt x="438" y="932"/>
                    </a:lnTo>
                    <a:lnTo>
                      <a:pt x="440" y="932"/>
                    </a:lnTo>
                    <a:close/>
                    <a:moveTo>
                      <a:pt x="440" y="932"/>
                    </a:moveTo>
                    <a:lnTo>
                      <a:pt x="441" y="932"/>
                    </a:lnTo>
                    <a:lnTo>
                      <a:pt x="440" y="932"/>
                    </a:lnTo>
                    <a:close/>
                    <a:moveTo>
                      <a:pt x="436" y="932"/>
                    </a:moveTo>
                    <a:lnTo>
                      <a:pt x="438" y="934"/>
                    </a:lnTo>
                    <a:lnTo>
                      <a:pt x="440" y="934"/>
                    </a:lnTo>
                    <a:lnTo>
                      <a:pt x="440" y="936"/>
                    </a:lnTo>
                    <a:lnTo>
                      <a:pt x="441" y="936"/>
                    </a:lnTo>
                    <a:lnTo>
                      <a:pt x="441" y="938"/>
                    </a:lnTo>
                    <a:lnTo>
                      <a:pt x="443" y="938"/>
                    </a:lnTo>
                    <a:lnTo>
                      <a:pt x="443" y="940"/>
                    </a:lnTo>
                    <a:lnTo>
                      <a:pt x="445" y="940"/>
                    </a:lnTo>
                    <a:lnTo>
                      <a:pt x="447" y="942"/>
                    </a:lnTo>
                    <a:lnTo>
                      <a:pt x="445" y="940"/>
                    </a:lnTo>
                    <a:lnTo>
                      <a:pt x="447" y="940"/>
                    </a:lnTo>
                    <a:lnTo>
                      <a:pt x="447" y="942"/>
                    </a:lnTo>
                    <a:lnTo>
                      <a:pt x="445" y="942"/>
                    </a:lnTo>
                    <a:lnTo>
                      <a:pt x="445" y="944"/>
                    </a:lnTo>
                    <a:lnTo>
                      <a:pt x="443" y="944"/>
                    </a:lnTo>
                    <a:lnTo>
                      <a:pt x="443" y="942"/>
                    </a:lnTo>
                    <a:lnTo>
                      <a:pt x="441" y="942"/>
                    </a:lnTo>
                    <a:lnTo>
                      <a:pt x="441" y="940"/>
                    </a:lnTo>
                    <a:lnTo>
                      <a:pt x="440" y="938"/>
                    </a:lnTo>
                    <a:lnTo>
                      <a:pt x="440" y="936"/>
                    </a:lnTo>
                    <a:lnTo>
                      <a:pt x="438" y="936"/>
                    </a:lnTo>
                    <a:lnTo>
                      <a:pt x="436" y="936"/>
                    </a:lnTo>
                    <a:lnTo>
                      <a:pt x="436" y="934"/>
                    </a:lnTo>
                    <a:lnTo>
                      <a:pt x="436" y="932"/>
                    </a:lnTo>
                    <a:close/>
                    <a:moveTo>
                      <a:pt x="438" y="932"/>
                    </a:moveTo>
                    <a:lnTo>
                      <a:pt x="436" y="932"/>
                    </a:lnTo>
                    <a:lnTo>
                      <a:pt x="438" y="932"/>
                    </a:lnTo>
                    <a:close/>
                    <a:moveTo>
                      <a:pt x="438" y="932"/>
                    </a:moveTo>
                    <a:lnTo>
                      <a:pt x="436" y="932"/>
                    </a:lnTo>
                    <a:lnTo>
                      <a:pt x="438" y="932"/>
                    </a:lnTo>
                    <a:close/>
                    <a:moveTo>
                      <a:pt x="436" y="932"/>
                    </a:moveTo>
                    <a:lnTo>
                      <a:pt x="434" y="932"/>
                    </a:lnTo>
                    <a:lnTo>
                      <a:pt x="434" y="930"/>
                    </a:lnTo>
                    <a:lnTo>
                      <a:pt x="436" y="932"/>
                    </a:lnTo>
                    <a:close/>
                    <a:moveTo>
                      <a:pt x="440" y="930"/>
                    </a:moveTo>
                    <a:lnTo>
                      <a:pt x="440" y="928"/>
                    </a:lnTo>
                    <a:lnTo>
                      <a:pt x="440" y="930"/>
                    </a:lnTo>
                    <a:close/>
                    <a:moveTo>
                      <a:pt x="440" y="930"/>
                    </a:moveTo>
                    <a:lnTo>
                      <a:pt x="441" y="930"/>
                    </a:lnTo>
                    <a:lnTo>
                      <a:pt x="441" y="932"/>
                    </a:lnTo>
                    <a:lnTo>
                      <a:pt x="440" y="930"/>
                    </a:lnTo>
                    <a:lnTo>
                      <a:pt x="440" y="928"/>
                    </a:lnTo>
                    <a:lnTo>
                      <a:pt x="440" y="930"/>
                    </a:lnTo>
                    <a:close/>
                    <a:moveTo>
                      <a:pt x="436" y="930"/>
                    </a:moveTo>
                    <a:lnTo>
                      <a:pt x="438" y="930"/>
                    </a:lnTo>
                    <a:lnTo>
                      <a:pt x="438" y="932"/>
                    </a:lnTo>
                    <a:lnTo>
                      <a:pt x="436" y="932"/>
                    </a:lnTo>
                    <a:lnTo>
                      <a:pt x="436" y="930"/>
                    </a:lnTo>
                    <a:lnTo>
                      <a:pt x="434" y="930"/>
                    </a:lnTo>
                    <a:lnTo>
                      <a:pt x="436" y="930"/>
                    </a:lnTo>
                    <a:close/>
                    <a:moveTo>
                      <a:pt x="434" y="930"/>
                    </a:moveTo>
                    <a:lnTo>
                      <a:pt x="434" y="932"/>
                    </a:lnTo>
                    <a:lnTo>
                      <a:pt x="432" y="930"/>
                    </a:lnTo>
                    <a:lnTo>
                      <a:pt x="434" y="930"/>
                    </a:lnTo>
                    <a:close/>
                    <a:moveTo>
                      <a:pt x="436" y="930"/>
                    </a:moveTo>
                    <a:lnTo>
                      <a:pt x="434" y="930"/>
                    </a:lnTo>
                    <a:lnTo>
                      <a:pt x="436" y="930"/>
                    </a:lnTo>
                    <a:close/>
                    <a:moveTo>
                      <a:pt x="434" y="930"/>
                    </a:moveTo>
                    <a:lnTo>
                      <a:pt x="432" y="928"/>
                    </a:lnTo>
                    <a:lnTo>
                      <a:pt x="434" y="928"/>
                    </a:lnTo>
                    <a:lnTo>
                      <a:pt x="434" y="930"/>
                    </a:lnTo>
                    <a:close/>
                    <a:moveTo>
                      <a:pt x="432" y="930"/>
                    </a:moveTo>
                    <a:lnTo>
                      <a:pt x="432" y="928"/>
                    </a:lnTo>
                    <a:lnTo>
                      <a:pt x="432" y="930"/>
                    </a:lnTo>
                    <a:close/>
                    <a:moveTo>
                      <a:pt x="438" y="926"/>
                    </a:moveTo>
                    <a:lnTo>
                      <a:pt x="438" y="928"/>
                    </a:lnTo>
                    <a:lnTo>
                      <a:pt x="438" y="926"/>
                    </a:lnTo>
                    <a:close/>
                    <a:moveTo>
                      <a:pt x="438" y="928"/>
                    </a:moveTo>
                    <a:lnTo>
                      <a:pt x="436" y="928"/>
                    </a:lnTo>
                    <a:lnTo>
                      <a:pt x="438" y="928"/>
                    </a:lnTo>
                    <a:lnTo>
                      <a:pt x="436" y="928"/>
                    </a:lnTo>
                    <a:lnTo>
                      <a:pt x="438" y="928"/>
                    </a:lnTo>
                    <a:lnTo>
                      <a:pt x="436" y="928"/>
                    </a:lnTo>
                    <a:lnTo>
                      <a:pt x="438" y="928"/>
                    </a:lnTo>
                    <a:close/>
                    <a:moveTo>
                      <a:pt x="436" y="928"/>
                    </a:moveTo>
                    <a:lnTo>
                      <a:pt x="436" y="930"/>
                    </a:lnTo>
                    <a:lnTo>
                      <a:pt x="436" y="928"/>
                    </a:lnTo>
                    <a:lnTo>
                      <a:pt x="436" y="930"/>
                    </a:lnTo>
                    <a:lnTo>
                      <a:pt x="436" y="928"/>
                    </a:lnTo>
                    <a:lnTo>
                      <a:pt x="434" y="928"/>
                    </a:lnTo>
                    <a:lnTo>
                      <a:pt x="436" y="928"/>
                    </a:lnTo>
                    <a:lnTo>
                      <a:pt x="434" y="928"/>
                    </a:lnTo>
                    <a:lnTo>
                      <a:pt x="436" y="928"/>
                    </a:lnTo>
                    <a:close/>
                    <a:moveTo>
                      <a:pt x="432" y="928"/>
                    </a:moveTo>
                    <a:lnTo>
                      <a:pt x="432" y="930"/>
                    </a:lnTo>
                    <a:lnTo>
                      <a:pt x="432" y="928"/>
                    </a:lnTo>
                    <a:lnTo>
                      <a:pt x="432" y="930"/>
                    </a:lnTo>
                    <a:lnTo>
                      <a:pt x="434" y="930"/>
                    </a:lnTo>
                    <a:lnTo>
                      <a:pt x="432" y="930"/>
                    </a:lnTo>
                    <a:lnTo>
                      <a:pt x="432" y="928"/>
                    </a:lnTo>
                    <a:close/>
                    <a:moveTo>
                      <a:pt x="434" y="928"/>
                    </a:moveTo>
                    <a:lnTo>
                      <a:pt x="434" y="930"/>
                    </a:lnTo>
                    <a:lnTo>
                      <a:pt x="434" y="928"/>
                    </a:lnTo>
                    <a:lnTo>
                      <a:pt x="432" y="928"/>
                    </a:lnTo>
                    <a:lnTo>
                      <a:pt x="434" y="928"/>
                    </a:lnTo>
                    <a:close/>
                    <a:moveTo>
                      <a:pt x="436" y="925"/>
                    </a:moveTo>
                    <a:lnTo>
                      <a:pt x="438" y="926"/>
                    </a:lnTo>
                    <a:lnTo>
                      <a:pt x="436" y="925"/>
                    </a:lnTo>
                    <a:close/>
                    <a:moveTo>
                      <a:pt x="430" y="926"/>
                    </a:moveTo>
                    <a:lnTo>
                      <a:pt x="430" y="928"/>
                    </a:lnTo>
                    <a:lnTo>
                      <a:pt x="430" y="926"/>
                    </a:lnTo>
                    <a:close/>
                    <a:moveTo>
                      <a:pt x="436" y="925"/>
                    </a:moveTo>
                    <a:lnTo>
                      <a:pt x="436" y="926"/>
                    </a:lnTo>
                    <a:lnTo>
                      <a:pt x="438" y="926"/>
                    </a:lnTo>
                    <a:lnTo>
                      <a:pt x="436" y="926"/>
                    </a:lnTo>
                    <a:lnTo>
                      <a:pt x="434" y="926"/>
                    </a:lnTo>
                    <a:lnTo>
                      <a:pt x="434" y="925"/>
                    </a:lnTo>
                    <a:lnTo>
                      <a:pt x="436" y="925"/>
                    </a:lnTo>
                    <a:close/>
                    <a:moveTo>
                      <a:pt x="430" y="926"/>
                    </a:moveTo>
                    <a:lnTo>
                      <a:pt x="428" y="926"/>
                    </a:lnTo>
                    <a:lnTo>
                      <a:pt x="430" y="926"/>
                    </a:lnTo>
                    <a:close/>
                    <a:moveTo>
                      <a:pt x="432" y="925"/>
                    </a:moveTo>
                    <a:lnTo>
                      <a:pt x="434" y="926"/>
                    </a:lnTo>
                    <a:lnTo>
                      <a:pt x="432" y="926"/>
                    </a:lnTo>
                    <a:lnTo>
                      <a:pt x="432" y="925"/>
                    </a:lnTo>
                    <a:lnTo>
                      <a:pt x="434" y="926"/>
                    </a:lnTo>
                    <a:lnTo>
                      <a:pt x="432" y="926"/>
                    </a:lnTo>
                    <a:lnTo>
                      <a:pt x="432" y="925"/>
                    </a:lnTo>
                    <a:close/>
                    <a:moveTo>
                      <a:pt x="432" y="925"/>
                    </a:moveTo>
                    <a:lnTo>
                      <a:pt x="432" y="926"/>
                    </a:lnTo>
                    <a:lnTo>
                      <a:pt x="432" y="925"/>
                    </a:lnTo>
                    <a:close/>
                    <a:moveTo>
                      <a:pt x="430" y="925"/>
                    </a:moveTo>
                    <a:lnTo>
                      <a:pt x="430" y="926"/>
                    </a:lnTo>
                    <a:lnTo>
                      <a:pt x="430" y="925"/>
                    </a:lnTo>
                    <a:lnTo>
                      <a:pt x="430" y="926"/>
                    </a:lnTo>
                    <a:lnTo>
                      <a:pt x="430" y="925"/>
                    </a:lnTo>
                    <a:close/>
                    <a:moveTo>
                      <a:pt x="430" y="926"/>
                    </a:moveTo>
                    <a:lnTo>
                      <a:pt x="428" y="926"/>
                    </a:lnTo>
                    <a:lnTo>
                      <a:pt x="428" y="925"/>
                    </a:lnTo>
                    <a:lnTo>
                      <a:pt x="428" y="926"/>
                    </a:lnTo>
                    <a:lnTo>
                      <a:pt x="430" y="926"/>
                    </a:lnTo>
                    <a:close/>
                    <a:moveTo>
                      <a:pt x="428" y="925"/>
                    </a:moveTo>
                    <a:lnTo>
                      <a:pt x="428" y="926"/>
                    </a:lnTo>
                    <a:lnTo>
                      <a:pt x="426" y="926"/>
                    </a:lnTo>
                    <a:lnTo>
                      <a:pt x="428" y="925"/>
                    </a:lnTo>
                    <a:lnTo>
                      <a:pt x="428" y="926"/>
                    </a:lnTo>
                    <a:lnTo>
                      <a:pt x="426" y="925"/>
                    </a:lnTo>
                    <a:lnTo>
                      <a:pt x="428" y="925"/>
                    </a:lnTo>
                    <a:close/>
                    <a:moveTo>
                      <a:pt x="434" y="923"/>
                    </a:moveTo>
                    <a:lnTo>
                      <a:pt x="436" y="925"/>
                    </a:lnTo>
                    <a:lnTo>
                      <a:pt x="434" y="925"/>
                    </a:lnTo>
                    <a:lnTo>
                      <a:pt x="434" y="926"/>
                    </a:lnTo>
                    <a:lnTo>
                      <a:pt x="434" y="925"/>
                    </a:lnTo>
                    <a:lnTo>
                      <a:pt x="432" y="925"/>
                    </a:lnTo>
                    <a:lnTo>
                      <a:pt x="432" y="923"/>
                    </a:lnTo>
                    <a:lnTo>
                      <a:pt x="434" y="925"/>
                    </a:lnTo>
                    <a:lnTo>
                      <a:pt x="434" y="923"/>
                    </a:lnTo>
                    <a:lnTo>
                      <a:pt x="432" y="923"/>
                    </a:lnTo>
                    <a:lnTo>
                      <a:pt x="434" y="923"/>
                    </a:lnTo>
                    <a:close/>
                    <a:moveTo>
                      <a:pt x="430" y="925"/>
                    </a:moveTo>
                    <a:lnTo>
                      <a:pt x="430" y="923"/>
                    </a:lnTo>
                    <a:lnTo>
                      <a:pt x="430" y="925"/>
                    </a:lnTo>
                    <a:lnTo>
                      <a:pt x="430" y="923"/>
                    </a:lnTo>
                    <a:lnTo>
                      <a:pt x="430" y="925"/>
                    </a:lnTo>
                    <a:close/>
                    <a:moveTo>
                      <a:pt x="428" y="925"/>
                    </a:moveTo>
                    <a:lnTo>
                      <a:pt x="426" y="925"/>
                    </a:lnTo>
                    <a:lnTo>
                      <a:pt x="428" y="925"/>
                    </a:lnTo>
                    <a:close/>
                    <a:moveTo>
                      <a:pt x="432" y="925"/>
                    </a:moveTo>
                    <a:lnTo>
                      <a:pt x="430" y="925"/>
                    </a:lnTo>
                    <a:lnTo>
                      <a:pt x="430" y="923"/>
                    </a:lnTo>
                    <a:lnTo>
                      <a:pt x="432" y="925"/>
                    </a:lnTo>
                    <a:close/>
                    <a:moveTo>
                      <a:pt x="432" y="923"/>
                    </a:moveTo>
                    <a:lnTo>
                      <a:pt x="430" y="923"/>
                    </a:lnTo>
                    <a:lnTo>
                      <a:pt x="430" y="921"/>
                    </a:lnTo>
                    <a:lnTo>
                      <a:pt x="432" y="921"/>
                    </a:lnTo>
                    <a:lnTo>
                      <a:pt x="432" y="923"/>
                    </a:lnTo>
                    <a:close/>
                    <a:moveTo>
                      <a:pt x="426" y="923"/>
                    </a:moveTo>
                    <a:lnTo>
                      <a:pt x="424" y="923"/>
                    </a:lnTo>
                    <a:lnTo>
                      <a:pt x="426" y="923"/>
                    </a:lnTo>
                    <a:lnTo>
                      <a:pt x="424" y="923"/>
                    </a:lnTo>
                    <a:lnTo>
                      <a:pt x="426" y="923"/>
                    </a:lnTo>
                    <a:close/>
                    <a:moveTo>
                      <a:pt x="426" y="923"/>
                    </a:moveTo>
                    <a:lnTo>
                      <a:pt x="428" y="925"/>
                    </a:lnTo>
                    <a:lnTo>
                      <a:pt x="426" y="925"/>
                    </a:lnTo>
                    <a:lnTo>
                      <a:pt x="426" y="923"/>
                    </a:lnTo>
                    <a:lnTo>
                      <a:pt x="424" y="923"/>
                    </a:lnTo>
                    <a:lnTo>
                      <a:pt x="424" y="921"/>
                    </a:lnTo>
                    <a:lnTo>
                      <a:pt x="426" y="923"/>
                    </a:lnTo>
                    <a:close/>
                    <a:moveTo>
                      <a:pt x="432" y="919"/>
                    </a:moveTo>
                    <a:lnTo>
                      <a:pt x="432" y="917"/>
                    </a:lnTo>
                    <a:lnTo>
                      <a:pt x="432" y="919"/>
                    </a:lnTo>
                    <a:close/>
                    <a:moveTo>
                      <a:pt x="426" y="919"/>
                    </a:moveTo>
                    <a:lnTo>
                      <a:pt x="428" y="921"/>
                    </a:lnTo>
                    <a:lnTo>
                      <a:pt x="428" y="923"/>
                    </a:lnTo>
                    <a:lnTo>
                      <a:pt x="428" y="921"/>
                    </a:lnTo>
                    <a:lnTo>
                      <a:pt x="428" y="919"/>
                    </a:lnTo>
                    <a:lnTo>
                      <a:pt x="428" y="921"/>
                    </a:lnTo>
                    <a:lnTo>
                      <a:pt x="430" y="921"/>
                    </a:lnTo>
                    <a:lnTo>
                      <a:pt x="430" y="923"/>
                    </a:lnTo>
                    <a:lnTo>
                      <a:pt x="428" y="923"/>
                    </a:lnTo>
                    <a:lnTo>
                      <a:pt x="428" y="921"/>
                    </a:lnTo>
                    <a:lnTo>
                      <a:pt x="426" y="921"/>
                    </a:lnTo>
                    <a:lnTo>
                      <a:pt x="426" y="919"/>
                    </a:lnTo>
                    <a:close/>
                    <a:moveTo>
                      <a:pt x="428" y="917"/>
                    </a:moveTo>
                    <a:lnTo>
                      <a:pt x="428" y="919"/>
                    </a:lnTo>
                    <a:lnTo>
                      <a:pt x="426" y="917"/>
                    </a:lnTo>
                    <a:lnTo>
                      <a:pt x="428" y="917"/>
                    </a:lnTo>
                    <a:close/>
                    <a:moveTo>
                      <a:pt x="424" y="917"/>
                    </a:moveTo>
                    <a:lnTo>
                      <a:pt x="424" y="919"/>
                    </a:lnTo>
                    <a:lnTo>
                      <a:pt x="424" y="917"/>
                    </a:lnTo>
                    <a:lnTo>
                      <a:pt x="424" y="919"/>
                    </a:lnTo>
                    <a:lnTo>
                      <a:pt x="424" y="917"/>
                    </a:lnTo>
                    <a:close/>
                    <a:moveTo>
                      <a:pt x="424" y="917"/>
                    </a:moveTo>
                    <a:lnTo>
                      <a:pt x="422" y="917"/>
                    </a:lnTo>
                    <a:lnTo>
                      <a:pt x="424" y="917"/>
                    </a:lnTo>
                    <a:close/>
                    <a:moveTo>
                      <a:pt x="428" y="915"/>
                    </a:moveTo>
                    <a:lnTo>
                      <a:pt x="428" y="917"/>
                    </a:lnTo>
                    <a:lnTo>
                      <a:pt x="428" y="915"/>
                    </a:lnTo>
                    <a:close/>
                    <a:moveTo>
                      <a:pt x="428" y="917"/>
                    </a:moveTo>
                    <a:lnTo>
                      <a:pt x="426" y="917"/>
                    </a:lnTo>
                    <a:lnTo>
                      <a:pt x="426" y="915"/>
                    </a:lnTo>
                    <a:lnTo>
                      <a:pt x="428" y="917"/>
                    </a:lnTo>
                    <a:close/>
                    <a:moveTo>
                      <a:pt x="428" y="915"/>
                    </a:moveTo>
                    <a:lnTo>
                      <a:pt x="426" y="913"/>
                    </a:lnTo>
                    <a:lnTo>
                      <a:pt x="428" y="913"/>
                    </a:lnTo>
                    <a:lnTo>
                      <a:pt x="428" y="915"/>
                    </a:lnTo>
                    <a:close/>
                    <a:moveTo>
                      <a:pt x="422" y="917"/>
                    </a:moveTo>
                    <a:lnTo>
                      <a:pt x="422" y="915"/>
                    </a:lnTo>
                    <a:lnTo>
                      <a:pt x="422" y="917"/>
                    </a:lnTo>
                    <a:close/>
                    <a:moveTo>
                      <a:pt x="426" y="911"/>
                    </a:moveTo>
                    <a:lnTo>
                      <a:pt x="428" y="913"/>
                    </a:lnTo>
                    <a:lnTo>
                      <a:pt x="426" y="913"/>
                    </a:lnTo>
                    <a:lnTo>
                      <a:pt x="426" y="911"/>
                    </a:lnTo>
                    <a:lnTo>
                      <a:pt x="426" y="913"/>
                    </a:lnTo>
                    <a:lnTo>
                      <a:pt x="426" y="911"/>
                    </a:lnTo>
                    <a:close/>
                    <a:moveTo>
                      <a:pt x="420" y="913"/>
                    </a:moveTo>
                    <a:lnTo>
                      <a:pt x="420" y="915"/>
                    </a:lnTo>
                    <a:lnTo>
                      <a:pt x="420" y="913"/>
                    </a:lnTo>
                    <a:lnTo>
                      <a:pt x="420" y="915"/>
                    </a:lnTo>
                    <a:lnTo>
                      <a:pt x="420" y="917"/>
                    </a:lnTo>
                    <a:lnTo>
                      <a:pt x="422" y="917"/>
                    </a:lnTo>
                    <a:lnTo>
                      <a:pt x="422" y="919"/>
                    </a:lnTo>
                    <a:lnTo>
                      <a:pt x="420" y="919"/>
                    </a:lnTo>
                    <a:lnTo>
                      <a:pt x="420" y="917"/>
                    </a:lnTo>
                    <a:lnTo>
                      <a:pt x="420" y="915"/>
                    </a:lnTo>
                    <a:lnTo>
                      <a:pt x="420" y="913"/>
                    </a:lnTo>
                    <a:close/>
                    <a:moveTo>
                      <a:pt x="430" y="911"/>
                    </a:moveTo>
                    <a:lnTo>
                      <a:pt x="430" y="913"/>
                    </a:lnTo>
                    <a:lnTo>
                      <a:pt x="428" y="913"/>
                    </a:lnTo>
                    <a:lnTo>
                      <a:pt x="428" y="911"/>
                    </a:lnTo>
                    <a:lnTo>
                      <a:pt x="430" y="911"/>
                    </a:lnTo>
                    <a:close/>
                    <a:moveTo>
                      <a:pt x="420" y="913"/>
                    </a:moveTo>
                    <a:lnTo>
                      <a:pt x="420" y="915"/>
                    </a:lnTo>
                    <a:lnTo>
                      <a:pt x="420" y="913"/>
                    </a:lnTo>
                    <a:close/>
                    <a:moveTo>
                      <a:pt x="424" y="911"/>
                    </a:moveTo>
                    <a:lnTo>
                      <a:pt x="424" y="913"/>
                    </a:lnTo>
                    <a:lnTo>
                      <a:pt x="424" y="915"/>
                    </a:lnTo>
                    <a:lnTo>
                      <a:pt x="424" y="913"/>
                    </a:lnTo>
                    <a:lnTo>
                      <a:pt x="422" y="913"/>
                    </a:lnTo>
                    <a:lnTo>
                      <a:pt x="424" y="911"/>
                    </a:lnTo>
                    <a:close/>
                    <a:moveTo>
                      <a:pt x="420" y="913"/>
                    </a:moveTo>
                    <a:lnTo>
                      <a:pt x="422" y="913"/>
                    </a:lnTo>
                    <a:lnTo>
                      <a:pt x="420" y="913"/>
                    </a:lnTo>
                    <a:close/>
                    <a:moveTo>
                      <a:pt x="426" y="913"/>
                    </a:moveTo>
                    <a:lnTo>
                      <a:pt x="424" y="911"/>
                    </a:lnTo>
                    <a:lnTo>
                      <a:pt x="426" y="913"/>
                    </a:lnTo>
                    <a:close/>
                    <a:moveTo>
                      <a:pt x="418" y="913"/>
                    </a:moveTo>
                    <a:lnTo>
                      <a:pt x="418" y="915"/>
                    </a:lnTo>
                    <a:lnTo>
                      <a:pt x="418" y="913"/>
                    </a:lnTo>
                    <a:close/>
                    <a:moveTo>
                      <a:pt x="420" y="911"/>
                    </a:moveTo>
                    <a:lnTo>
                      <a:pt x="420" y="913"/>
                    </a:lnTo>
                    <a:lnTo>
                      <a:pt x="418" y="911"/>
                    </a:lnTo>
                    <a:lnTo>
                      <a:pt x="420" y="911"/>
                    </a:lnTo>
                    <a:close/>
                    <a:moveTo>
                      <a:pt x="422" y="911"/>
                    </a:moveTo>
                    <a:lnTo>
                      <a:pt x="422" y="913"/>
                    </a:lnTo>
                    <a:lnTo>
                      <a:pt x="422" y="911"/>
                    </a:lnTo>
                    <a:close/>
                    <a:moveTo>
                      <a:pt x="428" y="909"/>
                    </a:moveTo>
                    <a:lnTo>
                      <a:pt x="428" y="911"/>
                    </a:lnTo>
                    <a:lnTo>
                      <a:pt x="428" y="913"/>
                    </a:lnTo>
                    <a:lnTo>
                      <a:pt x="428" y="915"/>
                    </a:lnTo>
                    <a:lnTo>
                      <a:pt x="428" y="913"/>
                    </a:lnTo>
                    <a:lnTo>
                      <a:pt x="428" y="911"/>
                    </a:lnTo>
                    <a:lnTo>
                      <a:pt x="426" y="911"/>
                    </a:lnTo>
                    <a:lnTo>
                      <a:pt x="426" y="909"/>
                    </a:lnTo>
                    <a:lnTo>
                      <a:pt x="428" y="909"/>
                    </a:lnTo>
                    <a:close/>
                    <a:moveTo>
                      <a:pt x="420" y="913"/>
                    </a:moveTo>
                    <a:lnTo>
                      <a:pt x="418" y="913"/>
                    </a:lnTo>
                    <a:lnTo>
                      <a:pt x="418" y="911"/>
                    </a:lnTo>
                    <a:lnTo>
                      <a:pt x="418" y="913"/>
                    </a:lnTo>
                    <a:lnTo>
                      <a:pt x="420" y="913"/>
                    </a:lnTo>
                    <a:close/>
                    <a:moveTo>
                      <a:pt x="424" y="909"/>
                    </a:moveTo>
                    <a:lnTo>
                      <a:pt x="424" y="911"/>
                    </a:lnTo>
                    <a:lnTo>
                      <a:pt x="424" y="909"/>
                    </a:lnTo>
                    <a:lnTo>
                      <a:pt x="424" y="911"/>
                    </a:lnTo>
                    <a:lnTo>
                      <a:pt x="424" y="909"/>
                    </a:lnTo>
                    <a:lnTo>
                      <a:pt x="422" y="909"/>
                    </a:lnTo>
                    <a:lnTo>
                      <a:pt x="424" y="909"/>
                    </a:lnTo>
                    <a:close/>
                    <a:moveTo>
                      <a:pt x="422" y="909"/>
                    </a:moveTo>
                    <a:lnTo>
                      <a:pt x="422" y="911"/>
                    </a:lnTo>
                    <a:lnTo>
                      <a:pt x="422" y="909"/>
                    </a:lnTo>
                    <a:close/>
                    <a:moveTo>
                      <a:pt x="420" y="909"/>
                    </a:moveTo>
                    <a:lnTo>
                      <a:pt x="420" y="911"/>
                    </a:lnTo>
                    <a:lnTo>
                      <a:pt x="422" y="911"/>
                    </a:lnTo>
                    <a:lnTo>
                      <a:pt x="420" y="911"/>
                    </a:lnTo>
                    <a:lnTo>
                      <a:pt x="420" y="909"/>
                    </a:lnTo>
                    <a:close/>
                    <a:moveTo>
                      <a:pt x="422" y="909"/>
                    </a:moveTo>
                    <a:lnTo>
                      <a:pt x="420" y="909"/>
                    </a:lnTo>
                    <a:lnTo>
                      <a:pt x="422" y="909"/>
                    </a:lnTo>
                    <a:close/>
                    <a:moveTo>
                      <a:pt x="424" y="909"/>
                    </a:moveTo>
                    <a:lnTo>
                      <a:pt x="424" y="907"/>
                    </a:lnTo>
                    <a:lnTo>
                      <a:pt x="424" y="909"/>
                    </a:lnTo>
                    <a:close/>
                    <a:moveTo>
                      <a:pt x="426" y="907"/>
                    </a:moveTo>
                    <a:lnTo>
                      <a:pt x="426" y="909"/>
                    </a:lnTo>
                    <a:lnTo>
                      <a:pt x="426" y="907"/>
                    </a:lnTo>
                    <a:lnTo>
                      <a:pt x="424" y="907"/>
                    </a:lnTo>
                    <a:lnTo>
                      <a:pt x="426" y="907"/>
                    </a:lnTo>
                    <a:close/>
                    <a:moveTo>
                      <a:pt x="420" y="907"/>
                    </a:moveTo>
                    <a:lnTo>
                      <a:pt x="420" y="909"/>
                    </a:lnTo>
                    <a:lnTo>
                      <a:pt x="420" y="907"/>
                    </a:lnTo>
                    <a:close/>
                    <a:moveTo>
                      <a:pt x="418" y="909"/>
                    </a:moveTo>
                    <a:lnTo>
                      <a:pt x="418" y="907"/>
                    </a:lnTo>
                    <a:lnTo>
                      <a:pt x="418" y="909"/>
                    </a:lnTo>
                    <a:lnTo>
                      <a:pt x="420" y="909"/>
                    </a:lnTo>
                    <a:lnTo>
                      <a:pt x="418" y="909"/>
                    </a:lnTo>
                    <a:lnTo>
                      <a:pt x="420" y="909"/>
                    </a:lnTo>
                    <a:lnTo>
                      <a:pt x="418" y="909"/>
                    </a:lnTo>
                    <a:lnTo>
                      <a:pt x="418" y="907"/>
                    </a:lnTo>
                    <a:lnTo>
                      <a:pt x="418" y="909"/>
                    </a:lnTo>
                    <a:close/>
                    <a:moveTo>
                      <a:pt x="420" y="907"/>
                    </a:moveTo>
                    <a:lnTo>
                      <a:pt x="420" y="909"/>
                    </a:lnTo>
                    <a:lnTo>
                      <a:pt x="420" y="907"/>
                    </a:lnTo>
                    <a:lnTo>
                      <a:pt x="418" y="907"/>
                    </a:lnTo>
                    <a:lnTo>
                      <a:pt x="420" y="907"/>
                    </a:lnTo>
                    <a:close/>
                    <a:moveTo>
                      <a:pt x="417" y="909"/>
                    </a:moveTo>
                    <a:lnTo>
                      <a:pt x="417" y="907"/>
                    </a:lnTo>
                    <a:lnTo>
                      <a:pt x="417" y="909"/>
                    </a:lnTo>
                    <a:close/>
                    <a:moveTo>
                      <a:pt x="420" y="907"/>
                    </a:moveTo>
                    <a:lnTo>
                      <a:pt x="420" y="905"/>
                    </a:lnTo>
                    <a:lnTo>
                      <a:pt x="420" y="907"/>
                    </a:lnTo>
                    <a:close/>
                    <a:moveTo>
                      <a:pt x="422" y="905"/>
                    </a:moveTo>
                    <a:lnTo>
                      <a:pt x="424" y="907"/>
                    </a:lnTo>
                    <a:lnTo>
                      <a:pt x="422" y="907"/>
                    </a:lnTo>
                    <a:lnTo>
                      <a:pt x="424" y="907"/>
                    </a:lnTo>
                    <a:lnTo>
                      <a:pt x="422" y="907"/>
                    </a:lnTo>
                    <a:lnTo>
                      <a:pt x="424" y="907"/>
                    </a:lnTo>
                    <a:lnTo>
                      <a:pt x="424" y="909"/>
                    </a:lnTo>
                    <a:lnTo>
                      <a:pt x="422" y="909"/>
                    </a:lnTo>
                    <a:lnTo>
                      <a:pt x="422" y="907"/>
                    </a:lnTo>
                    <a:lnTo>
                      <a:pt x="422" y="905"/>
                    </a:lnTo>
                    <a:close/>
                    <a:moveTo>
                      <a:pt x="418" y="907"/>
                    </a:moveTo>
                    <a:lnTo>
                      <a:pt x="418" y="905"/>
                    </a:lnTo>
                    <a:lnTo>
                      <a:pt x="418" y="907"/>
                    </a:lnTo>
                    <a:close/>
                    <a:moveTo>
                      <a:pt x="424" y="907"/>
                    </a:moveTo>
                    <a:lnTo>
                      <a:pt x="426" y="907"/>
                    </a:lnTo>
                    <a:lnTo>
                      <a:pt x="426" y="909"/>
                    </a:lnTo>
                    <a:lnTo>
                      <a:pt x="424" y="909"/>
                    </a:lnTo>
                    <a:lnTo>
                      <a:pt x="426" y="909"/>
                    </a:lnTo>
                    <a:lnTo>
                      <a:pt x="424" y="909"/>
                    </a:lnTo>
                    <a:lnTo>
                      <a:pt x="424" y="907"/>
                    </a:lnTo>
                    <a:lnTo>
                      <a:pt x="424" y="905"/>
                    </a:lnTo>
                    <a:lnTo>
                      <a:pt x="422" y="903"/>
                    </a:lnTo>
                    <a:lnTo>
                      <a:pt x="424" y="903"/>
                    </a:lnTo>
                    <a:lnTo>
                      <a:pt x="424" y="905"/>
                    </a:lnTo>
                    <a:lnTo>
                      <a:pt x="424" y="907"/>
                    </a:lnTo>
                    <a:close/>
                    <a:moveTo>
                      <a:pt x="418" y="907"/>
                    </a:moveTo>
                    <a:lnTo>
                      <a:pt x="418" y="905"/>
                    </a:lnTo>
                    <a:lnTo>
                      <a:pt x="418" y="907"/>
                    </a:lnTo>
                    <a:lnTo>
                      <a:pt x="418" y="905"/>
                    </a:lnTo>
                    <a:lnTo>
                      <a:pt x="418" y="903"/>
                    </a:lnTo>
                    <a:lnTo>
                      <a:pt x="418" y="905"/>
                    </a:lnTo>
                    <a:lnTo>
                      <a:pt x="418" y="907"/>
                    </a:lnTo>
                    <a:close/>
                    <a:moveTo>
                      <a:pt x="417" y="905"/>
                    </a:moveTo>
                    <a:lnTo>
                      <a:pt x="417" y="907"/>
                    </a:lnTo>
                    <a:lnTo>
                      <a:pt x="417" y="905"/>
                    </a:lnTo>
                    <a:lnTo>
                      <a:pt x="417" y="903"/>
                    </a:lnTo>
                    <a:lnTo>
                      <a:pt x="417" y="905"/>
                    </a:lnTo>
                    <a:close/>
                    <a:moveTo>
                      <a:pt x="420" y="903"/>
                    </a:moveTo>
                    <a:lnTo>
                      <a:pt x="420" y="905"/>
                    </a:lnTo>
                    <a:lnTo>
                      <a:pt x="422" y="905"/>
                    </a:lnTo>
                    <a:lnTo>
                      <a:pt x="420" y="905"/>
                    </a:lnTo>
                    <a:lnTo>
                      <a:pt x="420" y="903"/>
                    </a:lnTo>
                    <a:close/>
                    <a:moveTo>
                      <a:pt x="422" y="903"/>
                    </a:moveTo>
                    <a:lnTo>
                      <a:pt x="422" y="901"/>
                    </a:lnTo>
                    <a:lnTo>
                      <a:pt x="422" y="903"/>
                    </a:lnTo>
                    <a:close/>
                    <a:moveTo>
                      <a:pt x="420" y="903"/>
                    </a:moveTo>
                    <a:lnTo>
                      <a:pt x="420" y="901"/>
                    </a:lnTo>
                    <a:lnTo>
                      <a:pt x="420" y="903"/>
                    </a:lnTo>
                    <a:lnTo>
                      <a:pt x="422" y="903"/>
                    </a:lnTo>
                    <a:lnTo>
                      <a:pt x="422" y="905"/>
                    </a:lnTo>
                    <a:lnTo>
                      <a:pt x="420" y="903"/>
                    </a:lnTo>
                    <a:lnTo>
                      <a:pt x="420" y="901"/>
                    </a:lnTo>
                    <a:lnTo>
                      <a:pt x="420" y="903"/>
                    </a:lnTo>
                    <a:close/>
                    <a:moveTo>
                      <a:pt x="422" y="901"/>
                    </a:moveTo>
                    <a:lnTo>
                      <a:pt x="424" y="901"/>
                    </a:lnTo>
                    <a:lnTo>
                      <a:pt x="424" y="903"/>
                    </a:lnTo>
                    <a:lnTo>
                      <a:pt x="422" y="903"/>
                    </a:lnTo>
                    <a:lnTo>
                      <a:pt x="422" y="901"/>
                    </a:lnTo>
                    <a:close/>
                    <a:moveTo>
                      <a:pt x="417" y="903"/>
                    </a:moveTo>
                    <a:lnTo>
                      <a:pt x="418" y="903"/>
                    </a:lnTo>
                    <a:lnTo>
                      <a:pt x="418" y="905"/>
                    </a:lnTo>
                    <a:lnTo>
                      <a:pt x="417" y="903"/>
                    </a:lnTo>
                    <a:close/>
                    <a:moveTo>
                      <a:pt x="418" y="901"/>
                    </a:moveTo>
                    <a:lnTo>
                      <a:pt x="420" y="901"/>
                    </a:lnTo>
                    <a:lnTo>
                      <a:pt x="420" y="903"/>
                    </a:lnTo>
                    <a:lnTo>
                      <a:pt x="418" y="903"/>
                    </a:lnTo>
                    <a:lnTo>
                      <a:pt x="418" y="901"/>
                    </a:lnTo>
                    <a:lnTo>
                      <a:pt x="418" y="903"/>
                    </a:lnTo>
                    <a:lnTo>
                      <a:pt x="418" y="901"/>
                    </a:lnTo>
                    <a:close/>
                    <a:moveTo>
                      <a:pt x="420" y="901"/>
                    </a:moveTo>
                    <a:lnTo>
                      <a:pt x="422" y="901"/>
                    </a:lnTo>
                    <a:lnTo>
                      <a:pt x="422" y="903"/>
                    </a:lnTo>
                    <a:lnTo>
                      <a:pt x="422" y="905"/>
                    </a:lnTo>
                    <a:lnTo>
                      <a:pt x="422" y="903"/>
                    </a:lnTo>
                    <a:lnTo>
                      <a:pt x="422" y="901"/>
                    </a:lnTo>
                    <a:lnTo>
                      <a:pt x="420" y="901"/>
                    </a:lnTo>
                    <a:lnTo>
                      <a:pt x="420" y="900"/>
                    </a:lnTo>
                    <a:lnTo>
                      <a:pt x="420" y="901"/>
                    </a:lnTo>
                    <a:close/>
                    <a:moveTo>
                      <a:pt x="420" y="900"/>
                    </a:moveTo>
                    <a:lnTo>
                      <a:pt x="422" y="900"/>
                    </a:lnTo>
                    <a:lnTo>
                      <a:pt x="422" y="901"/>
                    </a:lnTo>
                    <a:lnTo>
                      <a:pt x="422" y="900"/>
                    </a:lnTo>
                    <a:lnTo>
                      <a:pt x="422" y="901"/>
                    </a:lnTo>
                    <a:lnTo>
                      <a:pt x="420" y="900"/>
                    </a:lnTo>
                    <a:close/>
                    <a:moveTo>
                      <a:pt x="420" y="900"/>
                    </a:moveTo>
                    <a:lnTo>
                      <a:pt x="420" y="901"/>
                    </a:lnTo>
                    <a:lnTo>
                      <a:pt x="418" y="901"/>
                    </a:lnTo>
                    <a:lnTo>
                      <a:pt x="418" y="900"/>
                    </a:lnTo>
                    <a:lnTo>
                      <a:pt x="420" y="900"/>
                    </a:lnTo>
                    <a:lnTo>
                      <a:pt x="420" y="901"/>
                    </a:lnTo>
                    <a:lnTo>
                      <a:pt x="420" y="900"/>
                    </a:lnTo>
                    <a:close/>
                    <a:moveTo>
                      <a:pt x="418" y="900"/>
                    </a:moveTo>
                    <a:lnTo>
                      <a:pt x="418" y="901"/>
                    </a:lnTo>
                    <a:lnTo>
                      <a:pt x="418" y="900"/>
                    </a:lnTo>
                    <a:lnTo>
                      <a:pt x="418" y="901"/>
                    </a:lnTo>
                    <a:lnTo>
                      <a:pt x="418" y="900"/>
                    </a:lnTo>
                    <a:close/>
                    <a:moveTo>
                      <a:pt x="420" y="898"/>
                    </a:moveTo>
                    <a:lnTo>
                      <a:pt x="422" y="898"/>
                    </a:lnTo>
                    <a:lnTo>
                      <a:pt x="420" y="900"/>
                    </a:lnTo>
                    <a:lnTo>
                      <a:pt x="420" y="898"/>
                    </a:lnTo>
                    <a:lnTo>
                      <a:pt x="420" y="900"/>
                    </a:lnTo>
                    <a:lnTo>
                      <a:pt x="420" y="898"/>
                    </a:lnTo>
                    <a:close/>
                    <a:moveTo>
                      <a:pt x="420" y="898"/>
                    </a:moveTo>
                    <a:lnTo>
                      <a:pt x="420" y="900"/>
                    </a:lnTo>
                    <a:lnTo>
                      <a:pt x="420" y="898"/>
                    </a:lnTo>
                    <a:close/>
                    <a:moveTo>
                      <a:pt x="420" y="898"/>
                    </a:moveTo>
                    <a:lnTo>
                      <a:pt x="420" y="900"/>
                    </a:lnTo>
                    <a:lnTo>
                      <a:pt x="420" y="898"/>
                    </a:lnTo>
                    <a:close/>
                    <a:moveTo>
                      <a:pt x="420" y="898"/>
                    </a:moveTo>
                    <a:lnTo>
                      <a:pt x="420" y="896"/>
                    </a:lnTo>
                    <a:lnTo>
                      <a:pt x="420" y="898"/>
                    </a:lnTo>
                    <a:close/>
                    <a:moveTo>
                      <a:pt x="418" y="898"/>
                    </a:moveTo>
                    <a:lnTo>
                      <a:pt x="418" y="896"/>
                    </a:lnTo>
                    <a:lnTo>
                      <a:pt x="420" y="898"/>
                    </a:lnTo>
                    <a:lnTo>
                      <a:pt x="418" y="898"/>
                    </a:lnTo>
                    <a:close/>
                    <a:moveTo>
                      <a:pt x="417" y="898"/>
                    </a:moveTo>
                    <a:lnTo>
                      <a:pt x="415" y="898"/>
                    </a:lnTo>
                    <a:lnTo>
                      <a:pt x="415" y="896"/>
                    </a:lnTo>
                    <a:lnTo>
                      <a:pt x="417" y="898"/>
                    </a:lnTo>
                    <a:close/>
                    <a:moveTo>
                      <a:pt x="420" y="896"/>
                    </a:moveTo>
                    <a:lnTo>
                      <a:pt x="420" y="898"/>
                    </a:lnTo>
                    <a:lnTo>
                      <a:pt x="418" y="896"/>
                    </a:lnTo>
                    <a:lnTo>
                      <a:pt x="418" y="894"/>
                    </a:lnTo>
                    <a:lnTo>
                      <a:pt x="418" y="896"/>
                    </a:lnTo>
                    <a:lnTo>
                      <a:pt x="420" y="896"/>
                    </a:lnTo>
                    <a:close/>
                    <a:moveTo>
                      <a:pt x="420" y="896"/>
                    </a:moveTo>
                    <a:lnTo>
                      <a:pt x="418" y="896"/>
                    </a:lnTo>
                    <a:lnTo>
                      <a:pt x="418" y="894"/>
                    </a:lnTo>
                    <a:lnTo>
                      <a:pt x="420" y="894"/>
                    </a:lnTo>
                    <a:lnTo>
                      <a:pt x="420" y="896"/>
                    </a:lnTo>
                    <a:close/>
                    <a:moveTo>
                      <a:pt x="417" y="892"/>
                    </a:moveTo>
                    <a:lnTo>
                      <a:pt x="417" y="894"/>
                    </a:lnTo>
                    <a:lnTo>
                      <a:pt x="417" y="896"/>
                    </a:lnTo>
                    <a:lnTo>
                      <a:pt x="417" y="898"/>
                    </a:lnTo>
                    <a:lnTo>
                      <a:pt x="417" y="896"/>
                    </a:lnTo>
                    <a:lnTo>
                      <a:pt x="417" y="894"/>
                    </a:lnTo>
                    <a:lnTo>
                      <a:pt x="417" y="896"/>
                    </a:lnTo>
                    <a:lnTo>
                      <a:pt x="417" y="894"/>
                    </a:lnTo>
                    <a:lnTo>
                      <a:pt x="417" y="892"/>
                    </a:lnTo>
                    <a:close/>
                    <a:moveTo>
                      <a:pt x="415" y="894"/>
                    </a:moveTo>
                    <a:lnTo>
                      <a:pt x="415" y="892"/>
                    </a:lnTo>
                    <a:lnTo>
                      <a:pt x="415" y="894"/>
                    </a:lnTo>
                    <a:close/>
                    <a:moveTo>
                      <a:pt x="415" y="892"/>
                    </a:moveTo>
                    <a:lnTo>
                      <a:pt x="415" y="894"/>
                    </a:lnTo>
                    <a:lnTo>
                      <a:pt x="417" y="894"/>
                    </a:lnTo>
                    <a:lnTo>
                      <a:pt x="415" y="894"/>
                    </a:lnTo>
                    <a:lnTo>
                      <a:pt x="415" y="896"/>
                    </a:lnTo>
                    <a:lnTo>
                      <a:pt x="415" y="894"/>
                    </a:lnTo>
                    <a:lnTo>
                      <a:pt x="415" y="892"/>
                    </a:lnTo>
                    <a:close/>
                    <a:moveTo>
                      <a:pt x="418" y="890"/>
                    </a:moveTo>
                    <a:lnTo>
                      <a:pt x="418" y="892"/>
                    </a:lnTo>
                    <a:lnTo>
                      <a:pt x="417" y="890"/>
                    </a:lnTo>
                    <a:lnTo>
                      <a:pt x="418" y="890"/>
                    </a:lnTo>
                    <a:close/>
                    <a:moveTo>
                      <a:pt x="415" y="890"/>
                    </a:moveTo>
                    <a:lnTo>
                      <a:pt x="415" y="892"/>
                    </a:lnTo>
                    <a:lnTo>
                      <a:pt x="415" y="890"/>
                    </a:lnTo>
                    <a:lnTo>
                      <a:pt x="415" y="892"/>
                    </a:lnTo>
                    <a:lnTo>
                      <a:pt x="415" y="890"/>
                    </a:lnTo>
                    <a:close/>
                    <a:moveTo>
                      <a:pt x="415" y="888"/>
                    </a:moveTo>
                    <a:lnTo>
                      <a:pt x="417" y="890"/>
                    </a:lnTo>
                    <a:lnTo>
                      <a:pt x="417" y="892"/>
                    </a:lnTo>
                    <a:lnTo>
                      <a:pt x="418" y="892"/>
                    </a:lnTo>
                    <a:lnTo>
                      <a:pt x="418" y="894"/>
                    </a:lnTo>
                    <a:lnTo>
                      <a:pt x="418" y="892"/>
                    </a:lnTo>
                    <a:lnTo>
                      <a:pt x="417" y="892"/>
                    </a:lnTo>
                    <a:lnTo>
                      <a:pt x="417" y="890"/>
                    </a:lnTo>
                    <a:lnTo>
                      <a:pt x="415" y="890"/>
                    </a:lnTo>
                    <a:lnTo>
                      <a:pt x="415" y="888"/>
                    </a:lnTo>
                    <a:close/>
                    <a:moveTo>
                      <a:pt x="417" y="888"/>
                    </a:moveTo>
                    <a:lnTo>
                      <a:pt x="415" y="888"/>
                    </a:lnTo>
                    <a:lnTo>
                      <a:pt x="417" y="888"/>
                    </a:lnTo>
                    <a:close/>
                    <a:moveTo>
                      <a:pt x="415" y="888"/>
                    </a:moveTo>
                    <a:lnTo>
                      <a:pt x="415" y="886"/>
                    </a:lnTo>
                    <a:lnTo>
                      <a:pt x="415" y="888"/>
                    </a:lnTo>
                    <a:close/>
                    <a:moveTo>
                      <a:pt x="411" y="886"/>
                    </a:moveTo>
                    <a:lnTo>
                      <a:pt x="413" y="886"/>
                    </a:lnTo>
                    <a:lnTo>
                      <a:pt x="411" y="886"/>
                    </a:lnTo>
                    <a:lnTo>
                      <a:pt x="411" y="884"/>
                    </a:lnTo>
                    <a:lnTo>
                      <a:pt x="411" y="886"/>
                    </a:lnTo>
                    <a:close/>
                    <a:moveTo>
                      <a:pt x="409" y="884"/>
                    </a:moveTo>
                    <a:lnTo>
                      <a:pt x="411" y="884"/>
                    </a:lnTo>
                    <a:lnTo>
                      <a:pt x="411" y="886"/>
                    </a:lnTo>
                    <a:lnTo>
                      <a:pt x="413" y="888"/>
                    </a:lnTo>
                    <a:lnTo>
                      <a:pt x="411" y="888"/>
                    </a:lnTo>
                    <a:lnTo>
                      <a:pt x="411" y="886"/>
                    </a:lnTo>
                    <a:lnTo>
                      <a:pt x="409" y="884"/>
                    </a:lnTo>
                    <a:lnTo>
                      <a:pt x="411" y="884"/>
                    </a:lnTo>
                    <a:lnTo>
                      <a:pt x="409" y="884"/>
                    </a:lnTo>
                    <a:close/>
                    <a:moveTo>
                      <a:pt x="413" y="884"/>
                    </a:moveTo>
                    <a:lnTo>
                      <a:pt x="413" y="882"/>
                    </a:lnTo>
                    <a:lnTo>
                      <a:pt x="413" y="884"/>
                    </a:lnTo>
                    <a:close/>
                    <a:moveTo>
                      <a:pt x="409" y="884"/>
                    </a:moveTo>
                    <a:lnTo>
                      <a:pt x="409" y="882"/>
                    </a:lnTo>
                    <a:lnTo>
                      <a:pt x="409" y="884"/>
                    </a:lnTo>
                    <a:close/>
                    <a:moveTo>
                      <a:pt x="409" y="884"/>
                    </a:moveTo>
                    <a:lnTo>
                      <a:pt x="407" y="884"/>
                    </a:lnTo>
                    <a:lnTo>
                      <a:pt x="407" y="882"/>
                    </a:lnTo>
                    <a:lnTo>
                      <a:pt x="409" y="884"/>
                    </a:lnTo>
                    <a:close/>
                    <a:moveTo>
                      <a:pt x="405" y="884"/>
                    </a:moveTo>
                    <a:lnTo>
                      <a:pt x="407" y="884"/>
                    </a:lnTo>
                    <a:lnTo>
                      <a:pt x="407" y="886"/>
                    </a:lnTo>
                    <a:lnTo>
                      <a:pt x="405" y="886"/>
                    </a:lnTo>
                    <a:lnTo>
                      <a:pt x="405" y="884"/>
                    </a:lnTo>
                    <a:lnTo>
                      <a:pt x="403" y="884"/>
                    </a:lnTo>
                    <a:lnTo>
                      <a:pt x="403" y="882"/>
                    </a:lnTo>
                    <a:lnTo>
                      <a:pt x="405" y="884"/>
                    </a:lnTo>
                    <a:close/>
                    <a:moveTo>
                      <a:pt x="411" y="880"/>
                    </a:moveTo>
                    <a:lnTo>
                      <a:pt x="411" y="882"/>
                    </a:lnTo>
                    <a:lnTo>
                      <a:pt x="411" y="880"/>
                    </a:lnTo>
                    <a:close/>
                    <a:moveTo>
                      <a:pt x="411" y="878"/>
                    </a:moveTo>
                    <a:lnTo>
                      <a:pt x="411" y="880"/>
                    </a:lnTo>
                    <a:lnTo>
                      <a:pt x="411" y="882"/>
                    </a:lnTo>
                    <a:lnTo>
                      <a:pt x="411" y="880"/>
                    </a:lnTo>
                    <a:lnTo>
                      <a:pt x="409" y="880"/>
                    </a:lnTo>
                    <a:lnTo>
                      <a:pt x="409" y="878"/>
                    </a:lnTo>
                    <a:lnTo>
                      <a:pt x="411" y="878"/>
                    </a:lnTo>
                    <a:close/>
                    <a:moveTo>
                      <a:pt x="407" y="876"/>
                    </a:moveTo>
                    <a:lnTo>
                      <a:pt x="409" y="876"/>
                    </a:lnTo>
                    <a:lnTo>
                      <a:pt x="409" y="878"/>
                    </a:lnTo>
                    <a:lnTo>
                      <a:pt x="409" y="876"/>
                    </a:lnTo>
                    <a:lnTo>
                      <a:pt x="407" y="876"/>
                    </a:lnTo>
                    <a:close/>
                    <a:moveTo>
                      <a:pt x="405" y="876"/>
                    </a:moveTo>
                    <a:lnTo>
                      <a:pt x="405" y="878"/>
                    </a:lnTo>
                    <a:lnTo>
                      <a:pt x="407" y="880"/>
                    </a:lnTo>
                    <a:lnTo>
                      <a:pt x="407" y="882"/>
                    </a:lnTo>
                    <a:lnTo>
                      <a:pt x="405" y="882"/>
                    </a:lnTo>
                    <a:lnTo>
                      <a:pt x="403" y="880"/>
                    </a:lnTo>
                    <a:lnTo>
                      <a:pt x="403" y="878"/>
                    </a:lnTo>
                    <a:lnTo>
                      <a:pt x="405" y="878"/>
                    </a:lnTo>
                    <a:lnTo>
                      <a:pt x="403" y="878"/>
                    </a:lnTo>
                    <a:lnTo>
                      <a:pt x="405" y="878"/>
                    </a:lnTo>
                    <a:lnTo>
                      <a:pt x="403" y="878"/>
                    </a:lnTo>
                    <a:lnTo>
                      <a:pt x="405" y="878"/>
                    </a:lnTo>
                    <a:lnTo>
                      <a:pt x="405" y="876"/>
                    </a:lnTo>
                    <a:close/>
                    <a:moveTo>
                      <a:pt x="409" y="878"/>
                    </a:moveTo>
                    <a:lnTo>
                      <a:pt x="407" y="876"/>
                    </a:lnTo>
                    <a:lnTo>
                      <a:pt x="409" y="878"/>
                    </a:lnTo>
                    <a:close/>
                    <a:moveTo>
                      <a:pt x="403" y="878"/>
                    </a:moveTo>
                    <a:lnTo>
                      <a:pt x="403" y="876"/>
                    </a:lnTo>
                    <a:lnTo>
                      <a:pt x="403" y="878"/>
                    </a:lnTo>
                    <a:close/>
                    <a:moveTo>
                      <a:pt x="407" y="876"/>
                    </a:moveTo>
                    <a:lnTo>
                      <a:pt x="407" y="878"/>
                    </a:lnTo>
                    <a:lnTo>
                      <a:pt x="409" y="878"/>
                    </a:lnTo>
                    <a:lnTo>
                      <a:pt x="409" y="880"/>
                    </a:lnTo>
                    <a:lnTo>
                      <a:pt x="409" y="882"/>
                    </a:lnTo>
                    <a:lnTo>
                      <a:pt x="407" y="882"/>
                    </a:lnTo>
                    <a:lnTo>
                      <a:pt x="407" y="880"/>
                    </a:lnTo>
                    <a:lnTo>
                      <a:pt x="409" y="880"/>
                    </a:lnTo>
                    <a:lnTo>
                      <a:pt x="407" y="880"/>
                    </a:lnTo>
                    <a:lnTo>
                      <a:pt x="407" y="878"/>
                    </a:lnTo>
                    <a:lnTo>
                      <a:pt x="405" y="878"/>
                    </a:lnTo>
                    <a:lnTo>
                      <a:pt x="407" y="878"/>
                    </a:lnTo>
                    <a:lnTo>
                      <a:pt x="405" y="878"/>
                    </a:lnTo>
                    <a:lnTo>
                      <a:pt x="407" y="878"/>
                    </a:lnTo>
                    <a:lnTo>
                      <a:pt x="405" y="876"/>
                    </a:lnTo>
                    <a:lnTo>
                      <a:pt x="407" y="876"/>
                    </a:lnTo>
                    <a:lnTo>
                      <a:pt x="405" y="876"/>
                    </a:lnTo>
                    <a:lnTo>
                      <a:pt x="405" y="875"/>
                    </a:lnTo>
                    <a:lnTo>
                      <a:pt x="407" y="875"/>
                    </a:lnTo>
                    <a:lnTo>
                      <a:pt x="407" y="876"/>
                    </a:lnTo>
                    <a:close/>
                    <a:moveTo>
                      <a:pt x="405" y="875"/>
                    </a:moveTo>
                    <a:lnTo>
                      <a:pt x="405" y="876"/>
                    </a:lnTo>
                    <a:lnTo>
                      <a:pt x="405" y="875"/>
                    </a:lnTo>
                    <a:close/>
                    <a:moveTo>
                      <a:pt x="405" y="876"/>
                    </a:moveTo>
                    <a:lnTo>
                      <a:pt x="403" y="876"/>
                    </a:lnTo>
                    <a:lnTo>
                      <a:pt x="405" y="876"/>
                    </a:lnTo>
                    <a:lnTo>
                      <a:pt x="403" y="876"/>
                    </a:lnTo>
                    <a:lnTo>
                      <a:pt x="403" y="875"/>
                    </a:lnTo>
                    <a:lnTo>
                      <a:pt x="403" y="876"/>
                    </a:lnTo>
                    <a:lnTo>
                      <a:pt x="405" y="876"/>
                    </a:lnTo>
                    <a:lnTo>
                      <a:pt x="405" y="878"/>
                    </a:lnTo>
                    <a:lnTo>
                      <a:pt x="405" y="876"/>
                    </a:lnTo>
                    <a:close/>
                    <a:moveTo>
                      <a:pt x="401" y="876"/>
                    </a:moveTo>
                    <a:lnTo>
                      <a:pt x="401" y="878"/>
                    </a:lnTo>
                    <a:lnTo>
                      <a:pt x="401" y="876"/>
                    </a:lnTo>
                    <a:close/>
                    <a:moveTo>
                      <a:pt x="405" y="876"/>
                    </a:moveTo>
                    <a:lnTo>
                      <a:pt x="405" y="875"/>
                    </a:lnTo>
                    <a:lnTo>
                      <a:pt x="405" y="876"/>
                    </a:lnTo>
                    <a:close/>
                    <a:moveTo>
                      <a:pt x="405" y="875"/>
                    </a:moveTo>
                    <a:lnTo>
                      <a:pt x="405" y="873"/>
                    </a:lnTo>
                    <a:lnTo>
                      <a:pt x="405" y="875"/>
                    </a:lnTo>
                    <a:close/>
                    <a:moveTo>
                      <a:pt x="401" y="875"/>
                    </a:moveTo>
                    <a:lnTo>
                      <a:pt x="401" y="876"/>
                    </a:lnTo>
                    <a:lnTo>
                      <a:pt x="401" y="875"/>
                    </a:lnTo>
                    <a:close/>
                    <a:moveTo>
                      <a:pt x="403" y="873"/>
                    </a:moveTo>
                    <a:lnTo>
                      <a:pt x="405" y="873"/>
                    </a:lnTo>
                    <a:lnTo>
                      <a:pt x="405" y="875"/>
                    </a:lnTo>
                    <a:lnTo>
                      <a:pt x="403" y="875"/>
                    </a:lnTo>
                    <a:lnTo>
                      <a:pt x="403" y="873"/>
                    </a:lnTo>
                    <a:close/>
                    <a:moveTo>
                      <a:pt x="403" y="873"/>
                    </a:moveTo>
                    <a:lnTo>
                      <a:pt x="405" y="873"/>
                    </a:lnTo>
                    <a:lnTo>
                      <a:pt x="403" y="873"/>
                    </a:lnTo>
                    <a:lnTo>
                      <a:pt x="405" y="873"/>
                    </a:lnTo>
                    <a:lnTo>
                      <a:pt x="407" y="875"/>
                    </a:lnTo>
                    <a:lnTo>
                      <a:pt x="407" y="876"/>
                    </a:lnTo>
                    <a:lnTo>
                      <a:pt x="407" y="875"/>
                    </a:lnTo>
                    <a:lnTo>
                      <a:pt x="405" y="875"/>
                    </a:lnTo>
                    <a:lnTo>
                      <a:pt x="405" y="873"/>
                    </a:lnTo>
                    <a:lnTo>
                      <a:pt x="403" y="873"/>
                    </a:lnTo>
                    <a:close/>
                    <a:moveTo>
                      <a:pt x="399" y="873"/>
                    </a:moveTo>
                    <a:lnTo>
                      <a:pt x="401" y="873"/>
                    </a:lnTo>
                    <a:lnTo>
                      <a:pt x="399" y="873"/>
                    </a:lnTo>
                    <a:lnTo>
                      <a:pt x="401" y="873"/>
                    </a:lnTo>
                    <a:lnTo>
                      <a:pt x="401" y="875"/>
                    </a:lnTo>
                    <a:lnTo>
                      <a:pt x="399" y="875"/>
                    </a:lnTo>
                    <a:lnTo>
                      <a:pt x="399" y="873"/>
                    </a:lnTo>
                    <a:close/>
                    <a:moveTo>
                      <a:pt x="403" y="871"/>
                    </a:moveTo>
                    <a:lnTo>
                      <a:pt x="403" y="873"/>
                    </a:lnTo>
                    <a:lnTo>
                      <a:pt x="403" y="871"/>
                    </a:lnTo>
                    <a:close/>
                    <a:moveTo>
                      <a:pt x="397" y="873"/>
                    </a:moveTo>
                    <a:lnTo>
                      <a:pt x="397" y="875"/>
                    </a:lnTo>
                    <a:lnTo>
                      <a:pt x="397" y="873"/>
                    </a:lnTo>
                    <a:close/>
                    <a:moveTo>
                      <a:pt x="403" y="869"/>
                    </a:moveTo>
                    <a:lnTo>
                      <a:pt x="403" y="871"/>
                    </a:lnTo>
                    <a:lnTo>
                      <a:pt x="403" y="869"/>
                    </a:lnTo>
                    <a:close/>
                    <a:moveTo>
                      <a:pt x="397" y="873"/>
                    </a:moveTo>
                    <a:lnTo>
                      <a:pt x="399" y="873"/>
                    </a:lnTo>
                    <a:lnTo>
                      <a:pt x="397" y="873"/>
                    </a:lnTo>
                    <a:lnTo>
                      <a:pt x="399" y="873"/>
                    </a:lnTo>
                    <a:lnTo>
                      <a:pt x="399" y="875"/>
                    </a:lnTo>
                    <a:lnTo>
                      <a:pt x="401" y="875"/>
                    </a:lnTo>
                    <a:lnTo>
                      <a:pt x="399" y="875"/>
                    </a:lnTo>
                    <a:lnTo>
                      <a:pt x="401" y="875"/>
                    </a:lnTo>
                    <a:lnTo>
                      <a:pt x="399" y="875"/>
                    </a:lnTo>
                    <a:lnTo>
                      <a:pt x="401" y="875"/>
                    </a:lnTo>
                    <a:lnTo>
                      <a:pt x="401" y="876"/>
                    </a:lnTo>
                    <a:lnTo>
                      <a:pt x="399" y="876"/>
                    </a:lnTo>
                    <a:lnTo>
                      <a:pt x="399" y="875"/>
                    </a:lnTo>
                    <a:lnTo>
                      <a:pt x="399" y="876"/>
                    </a:lnTo>
                    <a:lnTo>
                      <a:pt x="399" y="875"/>
                    </a:lnTo>
                    <a:lnTo>
                      <a:pt x="397" y="875"/>
                    </a:lnTo>
                    <a:lnTo>
                      <a:pt x="397" y="873"/>
                    </a:lnTo>
                    <a:lnTo>
                      <a:pt x="397" y="875"/>
                    </a:lnTo>
                    <a:lnTo>
                      <a:pt x="397" y="873"/>
                    </a:lnTo>
                    <a:lnTo>
                      <a:pt x="397" y="875"/>
                    </a:lnTo>
                    <a:lnTo>
                      <a:pt x="399" y="875"/>
                    </a:lnTo>
                    <a:lnTo>
                      <a:pt x="397" y="875"/>
                    </a:lnTo>
                    <a:lnTo>
                      <a:pt x="397" y="873"/>
                    </a:lnTo>
                    <a:lnTo>
                      <a:pt x="395" y="871"/>
                    </a:lnTo>
                    <a:lnTo>
                      <a:pt x="397" y="873"/>
                    </a:lnTo>
                    <a:close/>
                    <a:moveTo>
                      <a:pt x="399" y="871"/>
                    </a:moveTo>
                    <a:lnTo>
                      <a:pt x="401" y="871"/>
                    </a:lnTo>
                    <a:lnTo>
                      <a:pt x="401" y="873"/>
                    </a:lnTo>
                    <a:lnTo>
                      <a:pt x="401" y="875"/>
                    </a:lnTo>
                    <a:lnTo>
                      <a:pt x="401" y="873"/>
                    </a:lnTo>
                    <a:lnTo>
                      <a:pt x="399" y="871"/>
                    </a:lnTo>
                    <a:close/>
                    <a:moveTo>
                      <a:pt x="403" y="871"/>
                    </a:moveTo>
                    <a:lnTo>
                      <a:pt x="403" y="869"/>
                    </a:lnTo>
                    <a:lnTo>
                      <a:pt x="403" y="871"/>
                    </a:lnTo>
                    <a:close/>
                    <a:moveTo>
                      <a:pt x="399" y="869"/>
                    </a:moveTo>
                    <a:lnTo>
                      <a:pt x="399" y="871"/>
                    </a:lnTo>
                    <a:lnTo>
                      <a:pt x="399" y="869"/>
                    </a:lnTo>
                    <a:lnTo>
                      <a:pt x="399" y="871"/>
                    </a:lnTo>
                    <a:lnTo>
                      <a:pt x="401" y="871"/>
                    </a:lnTo>
                    <a:lnTo>
                      <a:pt x="399" y="871"/>
                    </a:lnTo>
                    <a:lnTo>
                      <a:pt x="399" y="869"/>
                    </a:lnTo>
                    <a:close/>
                    <a:moveTo>
                      <a:pt x="399" y="869"/>
                    </a:moveTo>
                    <a:lnTo>
                      <a:pt x="401" y="869"/>
                    </a:lnTo>
                    <a:lnTo>
                      <a:pt x="399" y="869"/>
                    </a:lnTo>
                    <a:close/>
                    <a:moveTo>
                      <a:pt x="864" y="677"/>
                    </a:moveTo>
                    <a:lnTo>
                      <a:pt x="864" y="678"/>
                    </a:lnTo>
                    <a:lnTo>
                      <a:pt x="864" y="677"/>
                    </a:lnTo>
                    <a:close/>
                    <a:moveTo>
                      <a:pt x="397" y="869"/>
                    </a:moveTo>
                    <a:lnTo>
                      <a:pt x="399" y="869"/>
                    </a:lnTo>
                    <a:lnTo>
                      <a:pt x="399" y="871"/>
                    </a:lnTo>
                    <a:lnTo>
                      <a:pt x="397" y="871"/>
                    </a:lnTo>
                    <a:lnTo>
                      <a:pt x="397" y="869"/>
                    </a:lnTo>
                    <a:close/>
                    <a:moveTo>
                      <a:pt x="395" y="869"/>
                    </a:moveTo>
                    <a:lnTo>
                      <a:pt x="397" y="869"/>
                    </a:lnTo>
                    <a:lnTo>
                      <a:pt x="397" y="871"/>
                    </a:lnTo>
                    <a:lnTo>
                      <a:pt x="399" y="871"/>
                    </a:lnTo>
                    <a:lnTo>
                      <a:pt x="399" y="873"/>
                    </a:lnTo>
                    <a:lnTo>
                      <a:pt x="397" y="873"/>
                    </a:lnTo>
                    <a:lnTo>
                      <a:pt x="397" y="871"/>
                    </a:lnTo>
                    <a:lnTo>
                      <a:pt x="395" y="871"/>
                    </a:lnTo>
                    <a:lnTo>
                      <a:pt x="397" y="871"/>
                    </a:lnTo>
                    <a:lnTo>
                      <a:pt x="395" y="871"/>
                    </a:lnTo>
                    <a:lnTo>
                      <a:pt x="395" y="869"/>
                    </a:lnTo>
                    <a:close/>
                    <a:moveTo>
                      <a:pt x="395" y="869"/>
                    </a:moveTo>
                    <a:lnTo>
                      <a:pt x="395" y="871"/>
                    </a:lnTo>
                    <a:lnTo>
                      <a:pt x="397" y="871"/>
                    </a:lnTo>
                    <a:lnTo>
                      <a:pt x="395" y="871"/>
                    </a:lnTo>
                    <a:lnTo>
                      <a:pt x="395" y="869"/>
                    </a:lnTo>
                    <a:lnTo>
                      <a:pt x="393" y="869"/>
                    </a:lnTo>
                    <a:lnTo>
                      <a:pt x="395" y="869"/>
                    </a:lnTo>
                    <a:close/>
                    <a:moveTo>
                      <a:pt x="395" y="867"/>
                    </a:moveTo>
                    <a:lnTo>
                      <a:pt x="397" y="867"/>
                    </a:lnTo>
                    <a:lnTo>
                      <a:pt x="397" y="869"/>
                    </a:lnTo>
                    <a:lnTo>
                      <a:pt x="395" y="869"/>
                    </a:lnTo>
                    <a:lnTo>
                      <a:pt x="395" y="867"/>
                    </a:lnTo>
                    <a:close/>
                    <a:moveTo>
                      <a:pt x="397" y="867"/>
                    </a:moveTo>
                    <a:lnTo>
                      <a:pt x="399" y="867"/>
                    </a:lnTo>
                    <a:lnTo>
                      <a:pt x="399" y="869"/>
                    </a:lnTo>
                    <a:lnTo>
                      <a:pt x="397" y="867"/>
                    </a:lnTo>
                    <a:close/>
                    <a:moveTo>
                      <a:pt x="395" y="867"/>
                    </a:moveTo>
                    <a:lnTo>
                      <a:pt x="395" y="869"/>
                    </a:lnTo>
                    <a:lnTo>
                      <a:pt x="395" y="867"/>
                    </a:lnTo>
                    <a:close/>
                    <a:moveTo>
                      <a:pt x="407" y="863"/>
                    </a:moveTo>
                    <a:lnTo>
                      <a:pt x="405" y="863"/>
                    </a:lnTo>
                    <a:lnTo>
                      <a:pt x="407" y="863"/>
                    </a:lnTo>
                    <a:close/>
                    <a:moveTo>
                      <a:pt x="397" y="865"/>
                    </a:moveTo>
                    <a:lnTo>
                      <a:pt x="397" y="867"/>
                    </a:lnTo>
                    <a:lnTo>
                      <a:pt x="397" y="865"/>
                    </a:lnTo>
                    <a:lnTo>
                      <a:pt x="397" y="867"/>
                    </a:lnTo>
                    <a:lnTo>
                      <a:pt x="397" y="865"/>
                    </a:lnTo>
                    <a:close/>
                    <a:moveTo>
                      <a:pt x="399" y="863"/>
                    </a:moveTo>
                    <a:lnTo>
                      <a:pt x="399" y="865"/>
                    </a:lnTo>
                    <a:lnTo>
                      <a:pt x="399" y="863"/>
                    </a:lnTo>
                    <a:lnTo>
                      <a:pt x="401" y="863"/>
                    </a:lnTo>
                    <a:lnTo>
                      <a:pt x="399" y="865"/>
                    </a:lnTo>
                    <a:lnTo>
                      <a:pt x="397" y="863"/>
                    </a:lnTo>
                    <a:lnTo>
                      <a:pt x="399" y="863"/>
                    </a:lnTo>
                    <a:close/>
                    <a:moveTo>
                      <a:pt x="397" y="867"/>
                    </a:moveTo>
                    <a:lnTo>
                      <a:pt x="395" y="867"/>
                    </a:lnTo>
                    <a:lnTo>
                      <a:pt x="397" y="867"/>
                    </a:lnTo>
                    <a:lnTo>
                      <a:pt x="395" y="867"/>
                    </a:lnTo>
                    <a:lnTo>
                      <a:pt x="395" y="865"/>
                    </a:lnTo>
                    <a:lnTo>
                      <a:pt x="395" y="867"/>
                    </a:lnTo>
                    <a:lnTo>
                      <a:pt x="395" y="865"/>
                    </a:lnTo>
                    <a:lnTo>
                      <a:pt x="397" y="867"/>
                    </a:lnTo>
                    <a:close/>
                    <a:moveTo>
                      <a:pt x="395" y="863"/>
                    </a:moveTo>
                    <a:lnTo>
                      <a:pt x="395" y="865"/>
                    </a:lnTo>
                    <a:lnTo>
                      <a:pt x="397" y="865"/>
                    </a:lnTo>
                    <a:lnTo>
                      <a:pt x="395" y="865"/>
                    </a:lnTo>
                    <a:lnTo>
                      <a:pt x="395" y="863"/>
                    </a:lnTo>
                    <a:lnTo>
                      <a:pt x="395" y="865"/>
                    </a:lnTo>
                    <a:lnTo>
                      <a:pt x="395" y="863"/>
                    </a:lnTo>
                    <a:close/>
                    <a:moveTo>
                      <a:pt x="395" y="863"/>
                    </a:moveTo>
                    <a:lnTo>
                      <a:pt x="395" y="865"/>
                    </a:lnTo>
                    <a:lnTo>
                      <a:pt x="395" y="863"/>
                    </a:lnTo>
                    <a:close/>
                    <a:moveTo>
                      <a:pt x="393" y="863"/>
                    </a:moveTo>
                    <a:lnTo>
                      <a:pt x="393" y="865"/>
                    </a:lnTo>
                    <a:lnTo>
                      <a:pt x="392" y="865"/>
                    </a:lnTo>
                    <a:lnTo>
                      <a:pt x="392" y="863"/>
                    </a:lnTo>
                    <a:lnTo>
                      <a:pt x="392" y="865"/>
                    </a:lnTo>
                    <a:lnTo>
                      <a:pt x="392" y="863"/>
                    </a:lnTo>
                    <a:lnTo>
                      <a:pt x="393" y="863"/>
                    </a:lnTo>
                    <a:close/>
                    <a:moveTo>
                      <a:pt x="392" y="863"/>
                    </a:moveTo>
                    <a:lnTo>
                      <a:pt x="392" y="861"/>
                    </a:lnTo>
                    <a:lnTo>
                      <a:pt x="392" y="863"/>
                    </a:lnTo>
                    <a:close/>
                    <a:moveTo>
                      <a:pt x="395" y="859"/>
                    </a:moveTo>
                    <a:lnTo>
                      <a:pt x="397" y="861"/>
                    </a:lnTo>
                    <a:lnTo>
                      <a:pt x="395" y="861"/>
                    </a:lnTo>
                    <a:lnTo>
                      <a:pt x="395" y="859"/>
                    </a:lnTo>
                    <a:close/>
                    <a:moveTo>
                      <a:pt x="392" y="861"/>
                    </a:moveTo>
                    <a:lnTo>
                      <a:pt x="393" y="861"/>
                    </a:lnTo>
                    <a:lnTo>
                      <a:pt x="392" y="861"/>
                    </a:lnTo>
                    <a:close/>
                    <a:moveTo>
                      <a:pt x="858" y="667"/>
                    </a:moveTo>
                    <a:lnTo>
                      <a:pt x="858" y="669"/>
                    </a:lnTo>
                    <a:lnTo>
                      <a:pt x="858" y="667"/>
                    </a:lnTo>
                    <a:close/>
                    <a:moveTo>
                      <a:pt x="393" y="859"/>
                    </a:moveTo>
                    <a:lnTo>
                      <a:pt x="392" y="861"/>
                    </a:lnTo>
                    <a:lnTo>
                      <a:pt x="392" y="859"/>
                    </a:lnTo>
                    <a:lnTo>
                      <a:pt x="393" y="859"/>
                    </a:lnTo>
                    <a:close/>
                    <a:moveTo>
                      <a:pt x="858" y="667"/>
                    </a:moveTo>
                    <a:lnTo>
                      <a:pt x="856" y="667"/>
                    </a:lnTo>
                    <a:lnTo>
                      <a:pt x="858" y="667"/>
                    </a:lnTo>
                    <a:lnTo>
                      <a:pt x="856" y="667"/>
                    </a:lnTo>
                    <a:lnTo>
                      <a:pt x="858" y="667"/>
                    </a:lnTo>
                    <a:close/>
                    <a:moveTo>
                      <a:pt x="393" y="859"/>
                    </a:moveTo>
                    <a:lnTo>
                      <a:pt x="395" y="859"/>
                    </a:lnTo>
                    <a:lnTo>
                      <a:pt x="395" y="861"/>
                    </a:lnTo>
                    <a:lnTo>
                      <a:pt x="395" y="859"/>
                    </a:lnTo>
                    <a:lnTo>
                      <a:pt x="393" y="859"/>
                    </a:lnTo>
                    <a:lnTo>
                      <a:pt x="395" y="859"/>
                    </a:lnTo>
                    <a:lnTo>
                      <a:pt x="395" y="861"/>
                    </a:lnTo>
                    <a:lnTo>
                      <a:pt x="397" y="861"/>
                    </a:lnTo>
                    <a:lnTo>
                      <a:pt x="397" y="863"/>
                    </a:lnTo>
                    <a:lnTo>
                      <a:pt x="395" y="863"/>
                    </a:lnTo>
                    <a:lnTo>
                      <a:pt x="395" y="861"/>
                    </a:lnTo>
                    <a:lnTo>
                      <a:pt x="393" y="861"/>
                    </a:lnTo>
                    <a:lnTo>
                      <a:pt x="395" y="861"/>
                    </a:lnTo>
                    <a:lnTo>
                      <a:pt x="393" y="861"/>
                    </a:lnTo>
                    <a:lnTo>
                      <a:pt x="393" y="859"/>
                    </a:lnTo>
                    <a:close/>
                    <a:moveTo>
                      <a:pt x="392" y="859"/>
                    </a:moveTo>
                    <a:lnTo>
                      <a:pt x="390" y="859"/>
                    </a:lnTo>
                    <a:lnTo>
                      <a:pt x="392" y="859"/>
                    </a:lnTo>
                    <a:close/>
                    <a:moveTo>
                      <a:pt x="388" y="857"/>
                    </a:moveTo>
                    <a:lnTo>
                      <a:pt x="390" y="857"/>
                    </a:lnTo>
                    <a:lnTo>
                      <a:pt x="388" y="857"/>
                    </a:lnTo>
                    <a:close/>
                    <a:moveTo>
                      <a:pt x="392" y="855"/>
                    </a:moveTo>
                    <a:lnTo>
                      <a:pt x="393" y="855"/>
                    </a:lnTo>
                    <a:lnTo>
                      <a:pt x="393" y="857"/>
                    </a:lnTo>
                    <a:lnTo>
                      <a:pt x="393" y="859"/>
                    </a:lnTo>
                    <a:lnTo>
                      <a:pt x="392" y="857"/>
                    </a:lnTo>
                    <a:lnTo>
                      <a:pt x="392" y="855"/>
                    </a:lnTo>
                    <a:close/>
                    <a:moveTo>
                      <a:pt x="390" y="853"/>
                    </a:moveTo>
                    <a:lnTo>
                      <a:pt x="392" y="855"/>
                    </a:lnTo>
                    <a:lnTo>
                      <a:pt x="390" y="855"/>
                    </a:lnTo>
                    <a:lnTo>
                      <a:pt x="390" y="853"/>
                    </a:lnTo>
                    <a:close/>
                    <a:moveTo>
                      <a:pt x="390" y="853"/>
                    </a:moveTo>
                    <a:lnTo>
                      <a:pt x="390" y="855"/>
                    </a:lnTo>
                    <a:lnTo>
                      <a:pt x="392" y="855"/>
                    </a:lnTo>
                    <a:lnTo>
                      <a:pt x="392" y="857"/>
                    </a:lnTo>
                    <a:lnTo>
                      <a:pt x="392" y="855"/>
                    </a:lnTo>
                    <a:lnTo>
                      <a:pt x="392" y="857"/>
                    </a:lnTo>
                    <a:lnTo>
                      <a:pt x="392" y="859"/>
                    </a:lnTo>
                    <a:lnTo>
                      <a:pt x="392" y="857"/>
                    </a:lnTo>
                    <a:lnTo>
                      <a:pt x="390" y="857"/>
                    </a:lnTo>
                    <a:lnTo>
                      <a:pt x="390" y="855"/>
                    </a:lnTo>
                    <a:lnTo>
                      <a:pt x="390" y="853"/>
                    </a:lnTo>
                    <a:close/>
                    <a:moveTo>
                      <a:pt x="388" y="855"/>
                    </a:moveTo>
                    <a:lnTo>
                      <a:pt x="386" y="855"/>
                    </a:lnTo>
                    <a:lnTo>
                      <a:pt x="386" y="853"/>
                    </a:lnTo>
                    <a:lnTo>
                      <a:pt x="388" y="853"/>
                    </a:lnTo>
                    <a:lnTo>
                      <a:pt x="388" y="855"/>
                    </a:lnTo>
                    <a:close/>
                    <a:moveTo>
                      <a:pt x="849" y="661"/>
                    </a:moveTo>
                    <a:lnTo>
                      <a:pt x="851" y="661"/>
                    </a:lnTo>
                    <a:lnTo>
                      <a:pt x="849" y="661"/>
                    </a:lnTo>
                    <a:close/>
                    <a:moveTo>
                      <a:pt x="384" y="850"/>
                    </a:moveTo>
                    <a:lnTo>
                      <a:pt x="384" y="851"/>
                    </a:lnTo>
                    <a:lnTo>
                      <a:pt x="384" y="850"/>
                    </a:lnTo>
                    <a:lnTo>
                      <a:pt x="384" y="851"/>
                    </a:lnTo>
                    <a:lnTo>
                      <a:pt x="386" y="851"/>
                    </a:lnTo>
                    <a:lnTo>
                      <a:pt x="386" y="850"/>
                    </a:lnTo>
                    <a:lnTo>
                      <a:pt x="386" y="851"/>
                    </a:lnTo>
                    <a:lnTo>
                      <a:pt x="384" y="851"/>
                    </a:lnTo>
                    <a:lnTo>
                      <a:pt x="386" y="851"/>
                    </a:lnTo>
                    <a:lnTo>
                      <a:pt x="386" y="853"/>
                    </a:lnTo>
                    <a:lnTo>
                      <a:pt x="386" y="855"/>
                    </a:lnTo>
                    <a:lnTo>
                      <a:pt x="388" y="855"/>
                    </a:lnTo>
                    <a:lnTo>
                      <a:pt x="386" y="855"/>
                    </a:lnTo>
                    <a:lnTo>
                      <a:pt x="384" y="855"/>
                    </a:lnTo>
                    <a:lnTo>
                      <a:pt x="386" y="853"/>
                    </a:lnTo>
                    <a:lnTo>
                      <a:pt x="386" y="851"/>
                    </a:lnTo>
                    <a:lnTo>
                      <a:pt x="384" y="851"/>
                    </a:lnTo>
                    <a:lnTo>
                      <a:pt x="382" y="851"/>
                    </a:lnTo>
                    <a:lnTo>
                      <a:pt x="382" y="850"/>
                    </a:lnTo>
                    <a:lnTo>
                      <a:pt x="384" y="850"/>
                    </a:lnTo>
                    <a:close/>
                    <a:moveTo>
                      <a:pt x="386" y="850"/>
                    </a:moveTo>
                    <a:lnTo>
                      <a:pt x="388" y="851"/>
                    </a:lnTo>
                    <a:lnTo>
                      <a:pt x="386" y="851"/>
                    </a:lnTo>
                    <a:lnTo>
                      <a:pt x="386" y="850"/>
                    </a:lnTo>
                    <a:lnTo>
                      <a:pt x="384" y="850"/>
                    </a:lnTo>
                    <a:lnTo>
                      <a:pt x="386" y="850"/>
                    </a:lnTo>
                    <a:close/>
                    <a:moveTo>
                      <a:pt x="847" y="657"/>
                    </a:moveTo>
                    <a:lnTo>
                      <a:pt x="847" y="659"/>
                    </a:lnTo>
                    <a:lnTo>
                      <a:pt x="847" y="657"/>
                    </a:lnTo>
                    <a:lnTo>
                      <a:pt x="847" y="659"/>
                    </a:lnTo>
                    <a:lnTo>
                      <a:pt x="847" y="657"/>
                    </a:lnTo>
                    <a:close/>
                    <a:moveTo>
                      <a:pt x="382" y="838"/>
                    </a:moveTo>
                    <a:lnTo>
                      <a:pt x="384" y="838"/>
                    </a:lnTo>
                    <a:lnTo>
                      <a:pt x="382" y="838"/>
                    </a:lnTo>
                    <a:lnTo>
                      <a:pt x="384" y="838"/>
                    </a:lnTo>
                    <a:lnTo>
                      <a:pt x="384" y="840"/>
                    </a:lnTo>
                    <a:lnTo>
                      <a:pt x="382" y="840"/>
                    </a:lnTo>
                    <a:lnTo>
                      <a:pt x="382" y="838"/>
                    </a:lnTo>
                    <a:lnTo>
                      <a:pt x="382" y="836"/>
                    </a:lnTo>
                    <a:lnTo>
                      <a:pt x="382" y="838"/>
                    </a:lnTo>
                    <a:close/>
                    <a:moveTo>
                      <a:pt x="837" y="652"/>
                    </a:moveTo>
                    <a:lnTo>
                      <a:pt x="835" y="652"/>
                    </a:lnTo>
                    <a:lnTo>
                      <a:pt x="837" y="652"/>
                    </a:lnTo>
                    <a:close/>
                    <a:moveTo>
                      <a:pt x="380" y="836"/>
                    </a:moveTo>
                    <a:lnTo>
                      <a:pt x="380" y="838"/>
                    </a:lnTo>
                    <a:lnTo>
                      <a:pt x="382" y="838"/>
                    </a:lnTo>
                    <a:lnTo>
                      <a:pt x="380" y="838"/>
                    </a:lnTo>
                    <a:lnTo>
                      <a:pt x="380" y="836"/>
                    </a:lnTo>
                    <a:close/>
                    <a:moveTo>
                      <a:pt x="376" y="836"/>
                    </a:moveTo>
                    <a:lnTo>
                      <a:pt x="378" y="836"/>
                    </a:lnTo>
                    <a:lnTo>
                      <a:pt x="378" y="838"/>
                    </a:lnTo>
                    <a:lnTo>
                      <a:pt x="376" y="838"/>
                    </a:lnTo>
                    <a:lnTo>
                      <a:pt x="376" y="836"/>
                    </a:lnTo>
                    <a:close/>
                    <a:moveTo>
                      <a:pt x="835" y="650"/>
                    </a:moveTo>
                    <a:lnTo>
                      <a:pt x="833" y="650"/>
                    </a:lnTo>
                    <a:lnTo>
                      <a:pt x="833" y="648"/>
                    </a:lnTo>
                    <a:lnTo>
                      <a:pt x="835" y="648"/>
                    </a:lnTo>
                    <a:lnTo>
                      <a:pt x="835" y="650"/>
                    </a:lnTo>
                    <a:close/>
                    <a:moveTo>
                      <a:pt x="376" y="834"/>
                    </a:moveTo>
                    <a:lnTo>
                      <a:pt x="378" y="834"/>
                    </a:lnTo>
                    <a:lnTo>
                      <a:pt x="378" y="836"/>
                    </a:lnTo>
                    <a:lnTo>
                      <a:pt x="378" y="834"/>
                    </a:lnTo>
                    <a:lnTo>
                      <a:pt x="380" y="836"/>
                    </a:lnTo>
                    <a:lnTo>
                      <a:pt x="380" y="838"/>
                    </a:lnTo>
                    <a:lnTo>
                      <a:pt x="380" y="840"/>
                    </a:lnTo>
                    <a:lnTo>
                      <a:pt x="378" y="840"/>
                    </a:lnTo>
                    <a:lnTo>
                      <a:pt x="378" y="838"/>
                    </a:lnTo>
                    <a:lnTo>
                      <a:pt x="378" y="836"/>
                    </a:lnTo>
                    <a:lnTo>
                      <a:pt x="378" y="838"/>
                    </a:lnTo>
                    <a:lnTo>
                      <a:pt x="378" y="836"/>
                    </a:lnTo>
                    <a:lnTo>
                      <a:pt x="376" y="836"/>
                    </a:lnTo>
                    <a:lnTo>
                      <a:pt x="376" y="834"/>
                    </a:lnTo>
                    <a:lnTo>
                      <a:pt x="376" y="836"/>
                    </a:lnTo>
                    <a:lnTo>
                      <a:pt x="376" y="834"/>
                    </a:lnTo>
                    <a:close/>
                    <a:moveTo>
                      <a:pt x="831" y="646"/>
                    </a:moveTo>
                    <a:lnTo>
                      <a:pt x="833" y="648"/>
                    </a:lnTo>
                    <a:lnTo>
                      <a:pt x="833" y="646"/>
                    </a:lnTo>
                    <a:lnTo>
                      <a:pt x="833" y="648"/>
                    </a:lnTo>
                    <a:lnTo>
                      <a:pt x="831" y="648"/>
                    </a:lnTo>
                    <a:lnTo>
                      <a:pt x="833" y="648"/>
                    </a:lnTo>
                    <a:lnTo>
                      <a:pt x="831" y="648"/>
                    </a:lnTo>
                    <a:lnTo>
                      <a:pt x="831" y="646"/>
                    </a:lnTo>
                    <a:close/>
                    <a:moveTo>
                      <a:pt x="374" y="834"/>
                    </a:moveTo>
                    <a:lnTo>
                      <a:pt x="374" y="832"/>
                    </a:lnTo>
                    <a:lnTo>
                      <a:pt x="374" y="830"/>
                    </a:lnTo>
                    <a:lnTo>
                      <a:pt x="374" y="832"/>
                    </a:lnTo>
                    <a:lnTo>
                      <a:pt x="374" y="834"/>
                    </a:lnTo>
                    <a:close/>
                    <a:moveTo>
                      <a:pt x="378" y="830"/>
                    </a:moveTo>
                    <a:lnTo>
                      <a:pt x="378" y="832"/>
                    </a:lnTo>
                    <a:lnTo>
                      <a:pt x="380" y="832"/>
                    </a:lnTo>
                    <a:lnTo>
                      <a:pt x="380" y="830"/>
                    </a:lnTo>
                    <a:lnTo>
                      <a:pt x="380" y="832"/>
                    </a:lnTo>
                    <a:lnTo>
                      <a:pt x="382" y="832"/>
                    </a:lnTo>
                    <a:lnTo>
                      <a:pt x="384" y="832"/>
                    </a:lnTo>
                    <a:lnTo>
                      <a:pt x="384" y="834"/>
                    </a:lnTo>
                    <a:lnTo>
                      <a:pt x="384" y="836"/>
                    </a:lnTo>
                    <a:lnTo>
                      <a:pt x="382" y="836"/>
                    </a:lnTo>
                    <a:lnTo>
                      <a:pt x="380" y="836"/>
                    </a:lnTo>
                    <a:lnTo>
                      <a:pt x="380" y="834"/>
                    </a:lnTo>
                    <a:lnTo>
                      <a:pt x="378" y="834"/>
                    </a:lnTo>
                    <a:lnTo>
                      <a:pt x="378" y="832"/>
                    </a:lnTo>
                    <a:lnTo>
                      <a:pt x="376" y="832"/>
                    </a:lnTo>
                    <a:lnTo>
                      <a:pt x="376" y="830"/>
                    </a:lnTo>
                    <a:lnTo>
                      <a:pt x="378" y="830"/>
                    </a:lnTo>
                    <a:close/>
                    <a:moveTo>
                      <a:pt x="831" y="644"/>
                    </a:moveTo>
                    <a:lnTo>
                      <a:pt x="831" y="646"/>
                    </a:lnTo>
                    <a:lnTo>
                      <a:pt x="831" y="644"/>
                    </a:lnTo>
                    <a:close/>
                    <a:moveTo>
                      <a:pt x="376" y="828"/>
                    </a:moveTo>
                    <a:lnTo>
                      <a:pt x="376" y="830"/>
                    </a:lnTo>
                    <a:lnTo>
                      <a:pt x="376" y="828"/>
                    </a:lnTo>
                    <a:close/>
                    <a:moveTo>
                      <a:pt x="374" y="828"/>
                    </a:moveTo>
                    <a:lnTo>
                      <a:pt x="376" y="826"/>
                    </a:lnTo>
                    <a:lnTo>
                      <a:pt x="376" y="828"/>
                    </a:lnTo>
                    <a:lnTo>
                      <a:pt x="374" y="830"/>
                    </a:lnTo>
                    <a:lnTo>
                      <a:pt x="374" y="828"/>
                    </a:lnTo>
                    <a:close/>
                    <a:moveTo>
                      <a:pt x="374" y="828"/>
                    </a:moveTo>
                    <a:lnTo>
                      <a:pt x="374" y="826"/>
                    </a:lnTo>
                    <a:lnTo>
                      <a:pt x="374" y="828"/>
                    </a:lnTo>
                    <a:close/>
                    <a:moveTo>
                      <a:pt x="374" y="825"/>
                    </a:moveTo>
                    <a:lnTo>
                      <a:pt x="376" y="826"/>
                    </a:lnTo>
                    <a:lnTo>
                      <a:pt x="374" y="826"/>
                    </a:lnTo>
                    <a:lnTo>
                      <a:pt x="374" y="825"/>
                    </a:lnTo>
                    <a:close/>
                    <a:moveTo>
                      <a:pt x="374" y="825"/>
                    </a:moveTo>
                    <a:lnTo>
                      <a:pt x="374" y="826"/>
                    </a:lnTo>
                    <a:lnTo>
                      <a:pt x="372" y="825"/>
                    </a:lnTo>
                    <a:lnTo>
                      <a:pt x="374" y="825"/>
                    </a:lnTo>
                    <a:close/>
                    <a:moveTo>
                      <a:pt x="828" y="640"/>
                    </a:moveTo>
                    <a:lnTo>
                      <a:pt x="826" y="640"/>
                    </a:lnTo>
                    <a:lnTo>
                      <a:pt x="826" y="638"/>
                    </a:lnTo>
                    <a:lnTo>
                      <a:pt x="826" y="640"/>
                    </a:lnTo>
                    <a:lnTo>
                      <a:pt x="826" y="638"/>
                    </a:lnTo>
                    <a:lnTo>
                      <a:pt x="826" y="640"/>
                    </a:lnTo>
                    <a:lnTo>
                      <a:pt x="828" y="640"/>
                    </a:lnTo>
                    <a:close/>
                    <a:moveTo>
                      <a:pt x="374" y="825"/>
                    </a:moveTo>
                    <a:lnTo>
                      <a:pt x="372" y="825"/>
                    </a:lnTo>
                    <a:lnTo>
                      <a:pt x="372" y="823"/>
                    </a:lnTo>
                    <a:lnTo>
                      <a:pt x="374" y="823"/>
                    </a:lnTo>
                    <a:lnTo>
                      <a:pt x="374" y="825"/>
                    </a:lnTo>
                    <a:close/>
                    <a:moveTo>
                      <a:pt x="824" y="638"/>
                    </a:moveTo>
                    <a:lnTo>
                      <a:pt x="826" y="638"/>
                    </a:lnTo>
                    <a:lnTo>
                      <a:pt x="824" y="638"/>
                    </a:lnTo>
                    <a:close/>
                    <a:moveTo>
                      <a:pt x="370" y="823"/>
                    </a:moveTo>
                    <a:lnTo>
                      <a:pt x="372" y="823"/>
                    </a:lnTo>
                    <a:lnTo>
                      <a:pt x="372" y="825"/>
                    </a:lnTo>
                    <a:lnTo>
                      <a:pt x="372" y="823"/>
                    </a:lnTo>
                    <a:lnTo>
                      <a:pt x="372" y="825"/>
                    </a:lnTo>
                    <a:lnTo>
                      <a:pt x="370" y="825"/>
                    </a:lnTo>
                    <a:lnTo>
                      <a:pt x="370" y="823"/>
                    </a:lnTo>
                    <a:close/>
                    <a:moveTo>
                      <a:pt x="374" y="823"/>
                    </a:moveTo>
                    <a:lnTo>
                      <a:pt x="372" y="823"/>
                    </a:lnTo>
                    <a:lnTo>
                      <a:pt x="372" y="821"/>
                    </a:lnTo>
                    <a:lnTo>
                      <a:pt x="374" y="823"/>
                    </a:lnTo>
                    <a:close/>
                    <a:moveTo>
                      <a:pt x="374" y="821"/>
                    </a:moveTo>
                    <a:lnTo>
                      <a:pt x="376" y="821"/>
                    </a:lnTo>
                    <a:lnTo>
                      <a:pt x="376" y="823"/>
                    </a:lnTo>
                    <a:lnTo>
                      <a:pt x="378" y="823"/>
                    </a:lnTo>
                    <a:lnTo>
                      <a:pt x="378" y="825"/>
                    </a:lnTo>
                    <a:lnTo>
                      <a:pt x="380" y="825"/>
                    </a:lnTo>
                    <a:lnTo>
                      <a:pt x="378" y="826"/>
                    </a:lnTo>
                    <a:lnTo>
                      <a:pt x="378" y="828"/>
                    </a:lnTo>
                    <a:lnTo>
                      <a:pt x="380" y="828"/>
                    </a:lnTo>
                    <a:lnTo>
                      <a:pt x="378" y="828"/>
                    </a:lnTo>
                    <a:lnTo>
                      <a:pt x="378" y="826"/>
                    </a:lnTo>
                    <a:lnTo>
                      <a:pt x="380" y="826"/>
                    </a:lnTo>
                    <a:lnTo>
                      <a:pt x="380" y="828"/>
                    </a:lnTo>
                    <a:lnTo>
                      <a:pt x="382" y="828"/>
                    </a:lnTo>
                    <a:lnTo>
                      <a:pt x="380" y="828"/>
                    </a:lnTo>
                    <a:lnTo>
                      <a:pt x="380" y="830"/>
                    </a:lnTo>
                    <a:lnTo>
                      <a:pt x="378" y="830"/>
                    </a:lnTo>
                    <a:lnTo>
                      <a:pt x="376" y="830"/>
                    </a:lnTo>
                    <a:lnTo>
                      <a:pt x="376" y="828"/>
                    </a:lnTo>
                    <a:lnTo>
                      <a:pt x="378" y="828"/>
                    </a:lnTo>
                    <a:lnTo>
                      <a:pt x="378" y="826"/>
                    </a:lnTo>
                    <a:lnTo>
                      <a:pt x="376" y="825"/>
                    </a:lnTo>
                    <a:lnTo>
                      <a:pt x="378" y="825"/>
                    </a:lnTo>
                    <a:lnTo>
                      <a:pt x="376" y="825"/>
                    </a:lnTo>
                    <a:lnTo>
                      <a:pt x="376" y="823"/>
                    </a:lnTo>
                    <a:lnTo>
                      <a:pt x="376" y="821"/>
                    </a:lnTo>
                    <a:lnTo>
                      <a:pt x="374" y="821"/>
                    </a:lnTo>
                    <a:close/>
                    <a:moveTo>
                      <a:pt x="824" y="636"/>
                    </a:moveTo>
                    <a:lnTo>
                      <a:pt x="824" y="638"/>
                    </a:lnTo>
                    <a:lnTo>
                      <a:pt x="824" y="636"/>
                    </a:lnTo>
                    <a:lnTo>
                      <a:pt x="824" y="638"/>
                    </a:lnTo>
                    <a:lnTo>
                      <a:pt x="824" y="636"/>
                    </a:lnTo>
                    <a:close/>
                    <a:moveTo>
                      <a:pt x="822" y="636"/>
                    </a:moveTo>
                    <a:lnTo>
                      <a:pt x="824" y="636"/>
                    </a:lnTo>
                    <a:lnTo>
                      <a:pt x="822" y="636"/>
                    </a:lnTo>
                    <a:close/>
                    <a:moveTo>
                      <a:pt x="372" y="821"/>
                    </a:moveTo>
                    <a:lnTo>
                      <a:pt x="372" y="823"/>
                    </a:lnTo>
                    <a:lnTo>
                      <a:pt x="370" y="823"/>
                    </a:lnTo>
                    <a:lnTo>
                      <a:pt x="370" y="821"/>
                    </a:lnTo>
                    <a:lnTo>
                      <a:pt x="370" y="819"/>
                    </a:lnTo>
                    <a:lnTo>
                      <a:pt x="370" y="821"/>
                    </a:lnTo>
                    <a:lnTo>
                      <a:pt x="372" y="821"/>
                    </a:lnTo>
                    <a:close/>
                    <a:moveTo>
                      <a:pt x="822" y="634"/>
                    </a:moveTo>
                    <a:lnTo>
                      <a:pt x="822" y="636"/>
                    </a:lnTo>
                    <a:lnTo>
                      <a:pt x="822" y="634"/>
                    </a:lnTo>
                    <a:lnTo>
                      <a:pt x="822" y="636"/>
                    </a:lnTo>
                    <a:lnTo>
                      <a:pt x="824" y="636"/>
                    </a:lnTo>
                    <a:lnTo>
                      <a:pt x="822" y="636"/>
                    </a:lnTo>
                    <a:lnTo>
                      <a:pt x="822" y="634"/>
                    </a:lnTo>
                    <a:close/>
                    <a:moveTo>
                      <a:pt x="368" y="821"/>
                    </a:moveTo>
                    <a:lnTo>
                      <a:pt x="368" y="819"/>
                    </a:lnTo>
                    <a:lnTo>
                      <a:pt x="368" y="821"/>
                    </a:lnTo>
                    <a:close/>
                    <a:moveTo>
                      <a:pt x="368" y="819"/>
                    </a:moveTo>
                    <a:lnTo>
                      <a:pt x="370" y="819"/>
                    </a:lnTo>
                    <a:lnTo>
                      <a:pt x="370" y="821"/>
                    </a:lnTo>
                    <a:lnTo>
                      <a:pt x="368" y="821"/>
                    </a:lnTo>
                    <a:lnTo>
                      <a:pt x="368" y="819"/>
                    </a:lnTo>
                    <a:lnTo>
                      <a:pt x="368" y="817"/>
                    </a:lnTo>
                    <a:lnTo>
                      <a:pt x="368" y="819"/>
                    </a:lnTo>
                    <a:close/>
                    <a:moveTo>
                      <a:pt x="822" y="630"/>
                    </a:moveTo>
                    <a:lnTo>
                      <a:pt x="822" y="632"/>
                    </a:lnTo>
                    <a:lnTo>
                      <a:pt x="822" y="630"/>
                    </a:lnTo>
                    <a:close/>
                    <a:moveTo>
                      <a:pt x="368" y="815"/>
                    </a:moveTo>
                    <a:lnTo>
                      <a:pt x="368" y="817"/>
                    </a:lnTo>
                    <a:lnTo>
                      <a:pt x="370" y="817"/>
                    </a:lnTo>
                    <a:lnTo>
                      <a:pt x="372" y="817"/>
                    </a:lnTo>
                    <a:lnTo>
                      <a:pt x="372" y="819"/>
                    </a:lnTo>
                    <a:lnTo>
                      <a:pt x="372" y="821"/>
                    </a:lnTo>
                    <a:lnTo>
                      <a:pt x="372" y="819"/>
                    </a:lnTo>
                    <a:lnTo>
                      <a:pt x="370" y="819"/>
                    </a:lnTo>
                    <a:lnTo>
                      <a:pt x="370" y="817"/>
                    </a:lnTo>
                    <a:lnTo>
                      <a:pt x="368" y="817"/>
                    </a:lnTo>
                    <a:lnTo>
                      <a:pt x="368" y="815"/>
                    </a:lnTo>
                    <a:lnTo>
                      <a:pt x="367" y="815"/>
                    </a:lnTo>
                    <a:lnTo>
                      <a:pt x="368" y="815"/>
                    </a:lnTo>
                    <a:close/>
                    <a:moveTo>
                      <a:pt x="368" y="815"/>
                    </a:moveTo>
                    <a:lnTo>
                      <a:pt x="368" y="813"/>
                    </a:lnTo>
                    <a:lnTo>
                      <a:pt x="368" y="815"/>
                    </a:lnTo>
                    <a:lnTo>
                      <a:pt x="368" y="813"/>
                    </a:lnTo>
                    <a:lnTo>
                      <a:pt x="370" y="815"/>
                    </a:lnTo>
                    <a:lnTo>
                      <a:pt x="370" y="813"/>
                    </a:lnTo>
                    <a:lnTo>
                      <a:pt x="370" y="815"/>
                    </a:lnTo>
                    <a:lnTo>
                      <a:pt x="372" y="817"/>
                    </a:lnTo>
                    <a:lnTo>
                      <a:pt x="374" y="817"/>
                    </a:lnTo>
                    <a:lnTo>
                      <a:pt x="376" y="817"/>
                    </a:lnTo>
                    <a:lnTo>
                      <a:pt x="374" y="817"/>
                    </a:lnTo>
                    <a:lnTo>
                      <a:pt x="376" y="817"/>
                    </a:lnTo>
                    <a:lnTo>
                      <a:pt x="376" y="819"/>
                    </a:lnTo>
                    <a:lnTo>
                      <a:pt x="376" y="821"/>
                    </a:lnTo>
                    <a:lnTo>
                      <a:pt x="376" y="819"/>
                    </a:lnTo>
                    <a:lnTo>
                      <a:pt x="378" y="821"/>
                    </a:lnTo>
                    <a:lnTo>
                      <a:pt x="376" y="821"/>
                    </a:lnTo>
                    <a:lnTo>
                      <a:pt x="374" y="819"/>
                    </a:lnTo>
                    <a:lnTo>
                      <a:pt x="372" y="817"/>
                    </a:lnTo>
                    <a:lnTo>
                      <a:pt x="370" y="817"/>
                    </a:lnTo>
                    <a:lnTo>
                      <a:pt x="370" y="815"/>
                    </a:lnTo>
                    <a:lnTo>
                      <a:pt x="368" y="815"/>
                    </a:lnTo>
                    <a:lnTo>
                      <a:pt x="368" y="813"/>
                    </a:lnTo>
                    <a:lnTo>
                      <a:pt x="368" y="815"/>
                    </a:lnTo>
                    <a:close/>
                    <a:moveTo>
                      <a:pt x="367" y="813"/>
                    </a:moveTo>
                    <a:lnTo>
                      <a:pt x="367" y="815"/>
                    </a:lnTo>
                    <a:lnTo>
                      <a:pt x="367" y="813"/>
                    </a:lnTo>
                    <a:close/>
                    <a:moveTo>
                      <a:pt x="368" y="811"/>
                    </a:moveTo>
                    <a:lnTo>
                      <a:pt x="368" y="813"/>
                    </a:lnTo>
                    <a:lnTo>
                      <a:pt x="368" y="811"/>
                    </a:lnTo>
                    <a:close/>
                    <a:moveTo>
                      <a:pt x="818" y="628"/>
                    </a:moveTo>
                    <a:lnTo>
                      <a:pt x="818" y="630"/>
                    </a:lnTo>
                    <a:lnTo>
                      <a:pt x="818" y="628"/>
                    </a:lnTo>
                    <a:close/>
                    <a:moveTo>
                      <a:pt x="368" y="811"/>
                    </a:moveTo>
                    <a:lnTo>
                      <a:pt x="368" y="813"/>
                    </a:lnTo>
                    <a:lnTo>
                      <a:pt x="368" y="811"/>
                    </a:lnTo>
                    <a:lnTo>
                      <a:pt x="368" y="813"/>
                    </a:lnTo>
                    <a:lnTo>
                      <a:pt x="367" y="811"/>
                    </a:lnTo>
                    <a:lnTo>
                      <a:pt x="368" y="813"/>
                    </a:lnTo>
                    <a:lnTo>
                      <a:pt x="367" y="811"/>
                    </a:lnTo>
                    <a:lnTo>
                      <a:pt x="368" y="811"/>
                    </a:lnTo>
                    <a:close/>
                    <a:moveTo>
                      <a:pt x="816" y="627"/>
                    </a:moveTo>
                    <a:lnTo>
                      <a:pt x="818" y="627"/>
                    </a:lnTo>
                    <a:lnTo>
                      <a:pt x="818" y="628"/>
                    </a:lnTo>
                    <a:lnTo>
                      <a:pt x="816" y="628"/>
                    </a:lnTo>
                    <a:lnTo>
                      <a:pt x="816" y="627"/>
                    </a:lnTo>
                    <a:close/>
                    <a:moveTo>
                      <a:pt x="370" y="811"/>
                    </a:moveTo>
                    <a:lnTo>
                      <a:pt x="372" y="813"/>
                    </a:lnTo>
                    <a:lnTo>
                      <a:pt x="372" y="815"/>
                    </a:lnTo>
                    <a:lnTo>
                      <a:pt x="370" y="815"/>
                    </a:lnTo>
                    <a:lnTo>
                      <a:pt x="370" y="813"/>
                    </a:lnTo>
                    <a:lnTo>
                      <a:pt x="368" y="813"/>
                    </a:lnTo>
                    <a:lnTo>
                      <a:pt x="368" y="811"/>
                    </a:lnTo>
                    <a:lnTo>
                      <a:pt x="368" y="809"/>
                    </a:lnTo>
                    <a:lnTo>
                      <a:pt x="368" y="811"/>
                    </a:lnTo>
                    <a:lnTo>
                      <a:pt x="370" y="811"/>
                    </a:lnTo>
                    <a:close/>
                    <a:moveTo>
                      <a:pt x="363" y="811"/>
                    </a:moveTo>
                    <a:lnTo>
                      <a:pt x="361" y="811"/>
                    </a:lnTo>
                    <a:lnTo>
                      <a:pt x="363" y="811"/>
                    </a:lnTo>
                    <a:close/>
                    <a:moveTo>
                      <a:pt x="363" y="811"/>
                    </a:moveTo>
                    <a:lnTo>
                      <a:pt x="361" y="809"/>
                    </a:lnTo>
                    <a:lnTo>
                      <a:pt x="363" y="809"/>
                    </a:lnTo>
                    <a:lnTo>
                      <a:pt x="363" y="811"/>
                    </a:lnTo>
                    <a:close/>
                    <a:moveTo>
                      <a:pt x="363" y="809"/>
                    </a:moveTo>
                    <a:lnTo>
                      <a:pt x="365" y="809"/>
                    </a:lnTo>
                    <a:lnTo>
                      <a:pt x="365" y="811"/>
                    </a:lnTo>
                    <a:lnTo>
                      <a:pt x="365" y="809"/>
                    </a:lnTo>
                    <a:lnTo>
                      <a:pt x="363" y="809"/>
                    </a:lnTo>
                    <a:close/>
                    <a:moveTo>
                      <a:pt x="363" y="807"/>
                    </a:moveTo>
                    <a:lnTo>
                      <a:pt x="365" y="807"/>
                    </a:lnTo>
                    <a:lnTo>
                      <a:pt x="363" y="807"/>
                    </a:lnTo>
                    <a:close/>
                    <a:moveTo>
                      <a:pt x="365" y="807"/>
                    </a:moveTo>
                    <a:lnTo>
                      <a:pt x="367" y="807"/>
                    </a:lnTo>
                    <a:lnTo>
                      <a:pt x="367" y="809"/>
                    </a:lnTo>
                    <a:lnTo>
                      <a:pt x="367" y="811"/>
                    </a:lnTo>
                    <a:lnTo>
                      <a:pt x="367" y="809"/>
                    </a:lnTo>
                    <a:lnTo>
                      <a:pt x="365" y="809"/>
                    </a:lnTo>
                    <a:lnTo>
                      <a:pt x="365" y="807"/>
                    </a:lnTo>
                    <a:close/>
                    <a:moveTo>
                      <a:pt x="365" y="807"/>
                    </a:moveTo>
                    <a:lnTo>
                      <a:pt x="363" y="807"/>
                    </a:lnTo>
                    <a:lnTo>
                      <a:pt x="365" y="807"/>
                    </a:lnTo>
                    <a:close/>
                    <a:moveTo>
                      <a:pt x="357" y="803"/>
                    </a:moveTo>
                    <a:lnTo>
                      <a:pt x="357" y="805"/>
                    </a:lnTo>
                    <a:lnTo>
                      <a:pt x="357" y="803"/>
                    </a:lnTo>
                    <a:close/>
                    <a:moveTo>
                      <a:pt x="359" y="801"/>
                    </a:moveTo>
                    <a:lnTo>
                      <a:pt x="361" y="801"/>
                    </a:lnTo>
                    <a:lnTo>
                      <a:pt x="361" y="803"/>
                    </a:lnTo>
                    <a:lnTo>
                      <a:pt x="359" y="803"/>
                    </a:lnTo>
                    <a:lnTo>
                      <a:pt x="359" y="801"/>
                    </a:lnTo>
                    <a:close/>
                    <a:moveTo>
                      <a:pt x="357" y="801"/>
                    </a:moveTo>
                    <a:lnTo>
                      <a:pt x="357" y="803"/>
                    </a:lnTo>
                    <a:lnTo>
                      <a:pt x="357" y="805"/>
                    </a:lnTo>
                    <a:lnTo>
                      <a:pt x="359" y="807"/>
                    </a:lnTo>
                    <a:lnTo>
                      <a:pt x="361" y="809"/>
                    </a:lnTo>
                    <a:lnTo>
                      <a:pt x="359" y="809"/>
                    </a:lnTo>
                    <a:lnTo>
                      <a:pt x="357" y="807"/>
                    </a:lnTo>
                    <a:lnTo>
                      <a:pt x="357" y="805"/>
                    </a:lnTo>
                    <a:lnTo>
                      <a:pt x="355" y="803"/>
                    </a:lnTo>
                    <a:lnTo>
                      <a:pt x="357" y="803"/>
                    </a:lnTo>
                    <a:lnTo>
                      <a:pt x="357" y="801"/>
                    </a:lnTo>
                    <a:lnTo>
                      <a:pt x="357" y="803"/>
                    </a:lnTo>
                    <a:lnTo>
                      <a:pt x="357" y="801"/>
                    </a:lnTo>
                    <a:close/>
                    <a:moveTo>
                      <a:pt x="814" y="615"/>
                    </a:moveTo>
                    <a:lnTo>
                      <a:pt x="812" y="615"/>
                    </a:lnTo>
                    <a:lnTo>
                      <a:pt x="814" y="615"/>
                    </a:lnTo>
                    <a:close/>
                    <a:moveTo>
                      <a:pt x="357" y="801"/>
                    </a:moveTo>
                    <a:lnTo>
                      <a:pt x="355" y="801"/>
                    </a:lnTo>
                    <a:lnTo>
                      <a:pt x="355" y="800"/>
                    </a:lnTo>
                    <a:lnTo>
                      <a:pt x="357" y="801"/>
                    </a:lnTo>
                    <a:close/>
                    <a:moveTo>
                      <a:pt x="359" y="798"/>
                    </a:moveTo>
                    <a:lnTo>
                      <a:pt x="359" y="800"/>
                    </a:lnTo>
                    <a:lnTo>
                      <a:pt x="359" y="798"/>
                    </a:lnTo>
                    <a:close/>
                    <a:moveTo>
                      <a:pt x="355" y="798"/>
                    </a:moveTo>
                    <a:lnTo>
                      <a:pt x="357" y="798"/>
                    </a:lnTo>
                    <a:lnTo>
                      <a:pt x="357" y="800"/>
                    </a:lnTo>
                    <a:lnTo>
                      <a:pt x="355" y="800"/>
                    </a:lnTo>
                    <a:lnTo>
                      <a:pt x="355" y="798"/>
                    </a:lnTo>
                    <a:close/>
                    <a:moveTo>
                      <a:pt x="357" y="796"/>
                    </a:moveTo>
                    <a:lnTo>
                      <a:pt x="357" y="798"/>
                    </a:lnTo>
                    <a:lnTo>
                      <a:pt x="357" y="796"/>
                    </a:lnTo>
                    <a:close/>
                    <a:moveTo>
                      <a:pt x="820" y="605"/>
                    </a:moveTo>
                    <a:lnTo>
                      <a:pt x="820" y="607"/>
                    </a:lnTo>
                    <a:lnTo>
                      <a:pt x="820" y="605"/>
                    </a:lnTo>
                    <a:close/>
                    <a:moveTo>
                      <a:pt x="818" y="605"/>
                    </a:moveTo>
                    <a:lnTo>
                      <a:pt x="820" y="605"/>
                    </a:lnTo>
                    <a:lnTo>
                      <a:pt x="818" y="605"/>
                    </a:lnTo>
                    <a:close/>
                    <a:moveTo>
                      <a:pt x="353" y="794"/>
                    </a:moveTo>
                    <a:lnTo>
                      <a:pt x="353" y="796"/>
                    </a:lnTo>
                    <a:lnTo>
                      <a:pt x="355" y="796"/>
                    </a:lnTo>
                    <a:lnTo>
                      <a:pt x="355" y="798"/>
                    </a:lnTo>
                    <a:lnTo>
                      <a:pt x="353" y="796"/>
                    </a:lnTo>
                    <a:lnTo>
                      <a:pt x="353" y="794"/>
                    </a:lnTo>
                    <a:close/>
                    <a:moveTo>
                      <a:pt x="355" y="794"/>
                    </a:moveTo>
                    <a:lnTo>
                      <a:pt x="355" y="796"/>
                    </a:lnTo>
                    <a:lnTo>
                      <a:pt x="357" y="796"/>
                    </a:lnTo>
                    <a:lnTo>
                      <a:pt x="357" y="798"/>
                    </a:lnTo>
                    <a:lnTo>
                      <a:pt x="355" y="798"/>
                    </a:lnTo>
                    <a:lnTo>
                      <a:pt x="355" y="796"/>
                    </a:lnTo>
                    <a:lnTo>
                      <a:pt x="355" y="794"/>
                    </a:lnTo>
                    <a:close/>
                    <a:moveTo>
                      <a:pt x="355" y="796"/>
                    </a:moveTo>
                    <a:lnTo>
                      <a:pt x="353" y="794"/>
                    </a:lnTo>
                    <a:lnTo>
                      <a:pt x="355" y="794"/>
                    </a:lnTo>
                    <a:lnTo>
                      <a:pt x="355" y="796"/>
                    </a:lnTo>
                    <a:close/>
                    <a:moveTo>
                      <a:pt x="357" y="794"/>
                    </a:moveTo>
                    <a:lnTo>
                      <a:pt x="359" y="794"/>
                    </a:lnTo>
                    <a:lnTo>
                      <a:pt x="359" y="796"/>
                    </a:lnTo>
                    <a:lnTo>
                      <a:pt x="359" y="798"/>
                    </a:lnTo>
                    <a:lnTo>
                      <a:pt x="359" y="800"/>
                    </a:lnTo>
                    <a:lnTo>
                      <a:pt x="359" y="801"/>
                    </a:lnTo>
                    <a:lnTo>
                      <a:pt x="359" y="800"/>
                    </a:lnTo>
                    <a:lnTo>
                      <a:pt x="357" y="800"/>
                    </a:lnTo>
                    <a:lnTo>
                      <a:pt x="357" y="798"/>
                    </a:lnTo>
                    <a:lnTo>
                      <a:pt x="357" y="800"/>
                    </a:lnTo>
                    <a:lnTo>
                      <a:pt x="359" y="800"/>
                    </a:lnTo>
                    <a:lnTo>
                      <a:pt x="357" y="800"/>
                    </a:lnTo>
                    <a:lnTo>
                      <a:pt x="359" y="798"/>
                    </a:lnTo>
                    <a:lnTo>
                      <a:pt x="357" y="798"/>
                    </a:lnTo>
                    <a:lnTo>
                      <a:pt x="357" y="796"/>
                    </a:lnTo>
                    <a:lnTo>
                      <a:pt x="357" y="794"/>
                    </a:lnTo>
                    <a:lnTo>
                      <a:pt x="357" y="792"/>
                    </a:lnTo>
                    <a:lnTo>
                      <a:pt x="357" y="794"/>
                    </a:lnTo>
                    <a:close/>
                    <a:moveTo>
                      <a:pt x="835" y="594"/>
                    </a:moveTo>
                    <a:lnTo>
                      <a:pt x="835" y="592"/>
                    </a:lnTo>
                    <a:lnTo>
                      <a:pt x="835" y="594"/>
                    </a:lnTo>
                    <a:lnTo>
                      <a:pt x="835" y="592"/>
                    </a:lnTo>
                    <a:lnTo>
                      <a:pt x="835" y="594"/>
                    </a:lnTo>
                    <a:close/>
                    <a:moveTo>
                      <a:pt x="839" y="590"/>
                    </a:moveTo>
                    <a:lnTo>
                      <a:pt x="839" y="592"/>
                    </a:lnTo>
                    <a:lnTo>
                      <a:pt x="839" y="590"/>
                    </a:lnTo>
                    <a:lnTo>
                      <a:pt x="839" y="592"/>
                    </a:lnTo>
                    <a:lnTo>
                      <a:pt x="839" y="590"/>
                    </a:lnTo>
                    <a:close/>
                    <a:moveTo>
                      <a:pt x="824" y="600"/>
                    </a:moveTo>
                    <a:lnTo>
                      <a:pt x="824" y="602"/>
                    </a:lnTo>
                    <a:lnTo>
                      <a:pt x="822" y="602"/>
                    </a:lnTo>
                    <a:lnTo>
                      <a:pt x="822" y="600"/>
                    </a:lnTo>
                    <a:lnTo>
                      <a:pt x="824" y="600"/>
                    </a:lnTo>
                    <a:lnTo>
                      <a:pt x="822" y="600"/>
                    </a:lnTo>
                    <a:lnTo>
                      <a:pt x="824" y="600"/>
                    </a:lnTo>
                    <a:close/>
                    <a:moveTo>
                      <a:pt x="837" y="592"/>
                    </a:moveTo>
                    <a:lnTo>
                      <a:pt x="835" y="592"/>
                    </a:lnTo>
                    <a:lnTo>
                      <a:pt x="837" y="592"/>
                    </a:lnTo>
                    <a:close/>
                    <a:moveTo>
                      <a:pt x="841" y="590"/>
                    </a:moveTo>
                    <a:lnTo>
                      <a:pt x="839" y="590"/>
                    </a:lnTo>
                    <a:lnTo>
                      <a:pt x="841" y="590"/>
                    </a:lnTo>
                    <a:close/>
                    <a:moveTo>
                      <a:pt x="839" y="590"/>
                    </a:moveTo>
                    <a:lnTo>
                      <a:pt x="839" y="592"/>
                    </a:lnTo>
                    <a:lnTo>
                      <a:pt x="837" y="592"/>
                    </a:lnTo>
                    <a:lnTo>
                      <a:pt x="837" y="590"/>
                    </a:lnTo>
                    <a:lnTo>
                      <a:pt x="839" y="590"/>
                    </a:lnTo>
                    <a:close/>
                    <a:moveTo>
                      <a:pt x="853" y="582"/>
                    </a:moveTo>
                    <a:lnTo>
                      <a:pt x="855" y="582"/>
                    </a:lnTo>
                    <a:lnTo>
                      <a:pt x="853" y="582"/>
                    </a:lnTo>
                    <a:close/>
                    <a:moveTo>
                      <a:pt x="355" y="790"/>
                    </a:moveTo>
                    <a:lnTo>
                      <a:pt x="355" y="792"/>
                    </a:lnTo>
                    <a:lnTo>
                      <a:pt x="355" y="790"/>
                    </a:lnTo>
                    <a:lnTo>
                      <a:pt x="355" y="792"/>
                    </a:lnTo>
                    <a:lnTo>
                      <a:pt x="357" y="792"/>
                    </a:lnTo>
                    <a:lnTo>
                      <a:pt x="357" y="794"/>
                    </a:lnTo>
                    <a:lnTo>
                      <a:pt x="355" y="794"/>
                    </a:lnTo>
                    <a:lnTo>
                      <a:pt x="355" y="792"/>
                    </a:lnTo>
                    <a:lnTo>
                      <a:pt x="355" y="790"/>
                    </a:lnTo>
                    <a:close/>
                    <a:moveTo>
                      <a:pt x="841" y="588"/>
                    </a:moveTo>
                    <a:lnTo>
                      <a:pt x="841" y="590"/>
                    </a:lnTo>
                    <a:lnTo>
                      <a:pt x="841" y="588"/>
                    </a:lnTo>
                    <a:close/>
                    <a:moveTo>
                      <a:pt x="841" y="588"/>
                    </a:moveTo>
                    <a:lnTo>
                      <a:pt x="841" y="590"/>
                    </a:lnTo>
                    <a:lnTo>
                      <a:pt x="841" y="588"/>
                    </a:lnTo>
                    <a:close/>
                    <a:moveTo>
                      <a:pt x="831" y="594"/>
                    </a:moveTo>
                    <a:lnTo>
                      <a:pt x="833" y="594"/>
                    </a:lnTo>
                    <a:lnTo>
                      <a:pt x="831" y="594"/>
                    </a:lnTo>
                    <a:lnTo>
                      <a:pt x="833" y="594"/>
                    </a:lnTo>
                    <a:lnTo>
                      <a:pt x="831" y="594"/>
                    </a:lnTo>
                    <a:lnTo>
                      <a:pt x="833" y="594"/>
                    </a:lnTo>
                    <a:lnTo>
                      <a:pt x="831" y="594"/>
                    </a:lnTo>
                    <a:close/>
                    <a:moveTo>
                      <a:pt x="828" y="596"/>
                    </a:moveTo>
                    <a:lnTo>
                      <a:pt x="826" y="596"/>
                    </a:lnTo>
                    <a:lnTo>
                      <a:pt x="828" y="596"/>
                    </a:lnTo>
                    <a:close/>
                    <a:moveTo>
                      <a:pt x="853" y="582"/>
                    </a:moveTo>
                    <a:lnTo>
                      <a:pt x="853" y="580"/>
                    </a:lnTo>
                    <a:lnTo>
                      <a:pt x="853" y="582"/>
                    </a:lnTo>
                    <a:close/>
                    <a:moveTo>
                      <a:pt x="828" y="594"/>
                    </a:moveTo>
                    <a:lnTo>
                      <a:pt x="828" y="596"/>
                    </a:lnTo>
                    <a:lnTo>
                      <a:pt x="828" y="594"/>
                    </a:lnTo>
                    <a:close/>
                    <a:moveTo>
                      <a:pt x="849" y="582"/>
                    </a:moveTo>
                    <a:lnTo>
                      <a:pt x="849" y="584"/>
                    </a:lnTo>
                    <a:lnTo>
                      <a:pt x="849" y="582"/>
                    </a:lnTo>
                    <a:close/>
                    <a:moveTo>
                      <a:pt x="843" y="586"/>
                    </a:moveTo>
                    <a:lnTo>
                      <a:pt x="845" y="586"/>
                    </a:lnTo>
                    <a:lnTo>
                      <a:pt x="845" y="588"/>
                    </a:lnTo>
                    <a:lnTo>
                      <a:pt x="843" y="588"/>
                    </a:lnTo>
                    <a:lnTo>
                      <a:pt x="843" y="586"/>
                    </a:lnTo>
                    <a:lnTo>
                      <a:pt x="843" y="588"/>
                    </a:lnTo>
                    <a:lnTo>
                      <a:pt x="843" y="586"/>
                    </a:lnTo>
                    <a:close/>
                    <a:moveTo>
                      <a:pt x="828" y="594"/>
                    </a:moveTo>
                    <a:lnTo>
                      <a:pt x="828" y="596"/>
                    </a:lnTo>
                    <a:lnTo>
                      <a:pt x="828" y="594"/>
                    </a:lnTo>
                    <a:close/>
                    <a:moveTo>
                      <a:pt x="828" y="596"/>
                    </a:moveTo>
                    <a:lnTo>
                      <a:pt x="826" y="596"/>
                    </a:lnTo>
                    <a:lnTo>
                      <a:pt x="828" y="596"/>
                    </a:lnTo>
                    <a:close/>
                    <a:moveTo>
                      <a:pt x="847" y="584"/>
                    </a:moveTo>
                    <a:lnTo>
                      <a:pt x="845" y="584"/>
                    </a:lnTo>
                    <a:lnTo>
                      <a:pt x="847" y="584"/>
                    </a:lnTo>
                    <a:close/>
                    <a:moveTo>
                      <a:pt x="845" y="584"/>
                    </a:moveTo>
                    <a:lnTo>
                      <a:pt x="845" y="586"/>
                    </a:lnTo>
                    <a:lnTo>
                      <a:pt x="845" y="584"/>
                    </a:lnTo>
                    <a:close/>
                    <a:moveTo>
                      <a:pt x="353" y="786"/>
                    </a:moveTo>
                    <a:lnTo>
                      <a:pt x="351" y="786"/>
                    </a:lnTo>
                    <a:lnTo>
                      <a:pt x="351" y="784"/>
                    </a:lnTo>
                    <a:lnTo>
                      <a:pt x="353" y="784"/>
                    </a:lnTo>
                    <a:lnTo>
                      <a:pt x="353" y="786"/>
                    </a:lnTo>
                    <a:close/>
                    <a:moveTo>
                      <a:pt x="392" y="773"/>
                    </a:moveTo>
                    <a:lnTo>
                      <a:pt x="390" y="773"/>
                    </a:lnTo>
                    <a:lnTo>
                      <a:pt x="392" y="773"/>
                    </a:lnTo>
                    <a:close/>
                    <a:moveTo>
                      <a:pt x="353" y="784"/>
                    </a:moveTo>
                    <a:lnTo>
                      <a:pt x="353" y="782"/>
                    </a:lnTo>
                    <a:lnTo>
                      <a:pt x="353" y="784"/>
                    </a:lnTo>
                    <a:close/>
                    <a:moveTo>
                      <a:pt x="853" y="567"/>
                    </a:moveTo>
                    <a:lnTo>
                      <a:pt x="855" y="567"/>
                    </a:lnTo>
                    <a:lnTo>
                      <a:pt x="855" y="565"/>
                    </a:lnTo>
                    <a:lnTo>
                      <a:pt x="855" y="567"/>
                    </a:lnTo>
                    <a:lnTo>
                      <a:pt x="853" y="567"/>
                    </a:lnTo>
                    <a:close/>
                    <a:moveTo>
                      <a:pt x="855" y="565"/>
                    </a:moveTo>
                    <a:lnTo>
                      <a:pt x="855" y="567"/>
                    </a:lnTo>
                    <a:lnTo>
                      <a:pt x="853" y="567"/>
                    </a:lnTo>
                    <a:lnTo>
                      <a:pt x="855" y="567"/>
                    </a:lnTo>
                    <a:lnTo>
                      <a:pt x="855" y="565"/>
                    </a:lnTo>
                    <a:close/>
                    <a:moveTo>
                      <a:pt x="393" y="763"/>
                    </a:moveTo>
                    <a:lnTo>
                      <a:pt x="393" y="765"/>
                    </a:lnTo>
                    <a:lnTo>
                      <a:pt x="392" y="765"/>
                    </a:lnTo>
                    <a:lnTo>
                      <a:pt x="392" y="763"/>
                    </a:lnTo>
                    <a:lnTo>
                      <a:pt x="393" y="763"/>
                    </a:lnTo>
                    <a:close/>
                    <a:moveTo>
                      <a:pt x="847" y="569"/>
                    </a:moveTo>
                    <a:lnTo>
                      <a:pt x="845" y="567"/>
                    </a:lnTo>
                    <a:lnTo>
                      <a:pt x="847" y="567"/>
                    </a:lnTo>
                    <a:lnTo>
                      <a:pt x="847" y="569"/>
                    </a:lnTo>
                    <a:close/>
                    <a:moveTo>
                      <a:pt x="349" y="775"/>
                    </a:moveTo>
                    <a:lnTo>
                      <a:pt x="349" y="776"/>
                    </a:lnTo>
                    <a:lnTo>
                      <a:pt x="351" y="778"/>
                    </a:lnTo>
                    <a:lnTo>
                      <a:pt x="351" y="780"/>
                    </a:lnTo>
                    <a:lnTo>
                      <a:pt x="351" y="782"/>
                    </a:lnTo>
                    <a:lnTo>
                      <a:pt x="351" y="780"/>
                    </a:lnTo>
                    <a:lnTo>
                      <a:pt x="351" y="782"/>
                    </a:lnTo>
                    <a:lnTo>
                      <a:pt x="351" y="784"/>
                    </a:lnTo>
                    <a:lnTo>
                      <a:pt x="351" y="786"/>
                    </a:lnTo>
                    <a:lnTo>
                      <a:pt x="353" y="786"/>
                    </a:lnTo>
                    <a:lnTo>
                      <a:pt x="353" y="788"/>
                    </a:lnTo>
                    <a:lnTo>
                      <a:pt x="353" y="790"/>
                    </a:lnTo>
                    <a:lnTo>
                      <a:pt x="353" y="792"/>
                    </a:lnTo>
                    <a:lnTo>
                      <a:pt x="353" y="794"/>
                    </a:lnTo>
                    <a:lnTo>
                      <a:pt x="353" y="796"/>
                    </a:lnTo>
                    <a:lnTo>
                      <a:pt x="353" y="798"/>
                    </a:lnTo>
                    <a:lnTo>
                      <a:pt x="353" y="800"/>
                    </a:lnTo>
                    <a:lnTo>
                      <a:pt x="355" y="800"/>
                    </a:lnTo>
                    <a:lnTo>
                      <a:pt x="353" y="800"/>
                    </a:lnTo>
                    <a:lnTo>
                      <a:pt x="355" y="800"/>
                    </a:lnTo>
                    <a:lnTo>
                      <a:pt x="353" y="800"/>
                    </a:lnTo>
                    <a:lnTo>
                      <a:pt x="355" y="800"/>
                    </a:lnTo>
                    <a:lnTo>
                      <a:pt x="353" y="800"/>
                    </a:lnTo>
                    <a:lnTo>
                      <a:pt x="353" y="801"/>
                    </a:lnTo>
                    <a:lnTo>
                      <a:pt x="353" y="800"/>
                    </a:lnTo>
                    <a:lnTo>
                      <a:pt x="351" y="800"/>
                    </a:lnTo>
                    <a:lnTo>
                      <a:pt x="353" y="800"/>
                    </a:lnTo>
                    <a:lnTo>
                      <a:pt x="353" y="798"/>
                    </a:lnTo>
                    <a:lnTo>
                      <a:pt x="351" y="798"/>
                    </a:lnTo>
                    <a:lnTo>
                      <a:pt x="351" y="796"/>
                    </a:lnTo>
                    <a:lnTo>
                      <a:pt x="351" y="794"/>
                    </a:lnTo>
                    <a:lnTo>
                      <a:pt x="351" y="796"/>
                    </a:lnTo>
                    <a:lnTo>
                      <a:pt x="349" y="796"/>
                    </a:lnTo>
                    <a:lnTo>
                      <a:pt x="349" y="794"/>
                    </a:lnTo>
                    <a:lnTo>
                      <a:pt x="351" y="794"/>
                    </a:lnTo>
                    <a:lnTo>
                      <a:pt x="351" y="792"/>
                    </a:lnTo>
                    <a:lnTo>
                      <a:pt x="349" y="790"/>
                    </a:lnTo>
                    <a:lnTo>
                      <a:pt x="351" y="790"/>
                    </a:lnTo>
                    <a:lnTo>
                      <a:pt x="351" y="788"/>
                    </a:lnTo>
                    <a:lnTo>
                      <a:pt x="349" y="788"/>
                    </a:lnTo>
                    <a:lnTo>
                      <a:pt x="349" y="786"/>
                    </a:lnTo>
                    <a:lnTo>
                      <a:pt x="349" y="784"/>
                    </a:lnTo>
                    <a:lnTo>
                      <a:pt x="347" y="782"/>
                    </a:lnTo>
                    <a:lnTo>
                      <a:pt x="349" y="780"/>
                    </a:lnTo>
                    <a:lnTo>
                      <a:pt x="349" y="778"/>
                    </a:lnTo>
                    <a:lnTo>
                      <a:pt x="349" y="776"/>
                    </a:lnTo>
                    <a:lnTo>
                      <a:pt x="349" y="775"/>
                    </a:lnTo>
                    <a:close/>
                    <a:moveTo>
                      <a:pt x="855" y="561"/>
                    </a:moveTo>
                    <a:lnTo>
                      <a:pt x="855" y="563"/>
                    </a:lnTo>
                    <a:lnTo>
                      <a:pt x="855" y="561"/>
                    </a:lnTo>
                    <a:close/>
                    <a:moveTo>
                      <a:pt x="843" y="567"/>
                    </a:moveTo>
                    <a:lnTo>
                      <a:pt x="843" y="565"/>
                    </a:lnTo>
                    <a:lnTo>
                      <a:pt x="843" y="567"/>
                    </a:lnTo>
                    <a:close/>
                    <a:moveTo>
                      <a:pt x="853" y="557"/>
                    </a:moveTo>
                    <a:lnTo>
                      <a:pt x="855" y="557"/>
                    </a:lnTo>
                    <a:lnTo>
                      <a:pt x="853" y="557"/>
                    </a:lnTo>
                    <a:close/>
                    <a:moveTo>
                      <a:pt x="851" y="559"/>
                    </a:moveTo>
                    <a:lnTo>
                      <a:pt x="849" y="559"/>
                    </a:lnTo>
                    <a:lnTo>
                      <a:pt x="851" y="559"/>
                    </a:lnTo>
                    <a:close/>
                    <a:moveTo>
                      <a:pt x="365" y="765"/>
                    </a:moveTo>
                    <a:lnTo>
                      <a:pt x="363" y="765"/>
                    </a:lnTo>
                    <a:lnTo>
                      <a:pt x="365" y="765"/>
                    </a:lnTo>
                    <a:close/>
                    <a:moveTo>
                      <a:pt x="1100" y="396"/>
                    </a:moveTo>
                    <a:lnTo>
                      <a:pt x="1099" y="398"/>
                    </a:lnTo>
                    <a:lnTo>
                      <a:pt x="1099" y="396"/>
                    </a:lnTo>
                    <a:lnTo>
                      <a:pt x="1100" y="396"/>
                    </a:lnTo>
                    <a:close/>
                    <a:moveTo>
                      <a:pt x="814" y="577"/>
                    </a:moveTo>
                    <a:lnTo>
                      <a:pt x="812" y="577"/>
                    </a:lnTo>
                    <a:lnTo>
                      <a:pt x="814" y="577"/>
                    </a:lnTo>
                    <a:close/>
                    <a:moveTo>
                      <a:pt x="349" y="771"/>
                    </a:moveTo>
                    <a:lnTo>
                      <a:pt x="349" y="773"/>
                    </a:lnTo>
                    <a:lnTo>
                      <a:pt x="349" y="775"/>
                    </a:lnTo>
                    <a:lnTo>
                      <a:pt x="347" y="775"/>
                    </a:lnTo>
                    <a:lnTo>
                      <a:pt x="347" y="773"/>
                    </a:lnTo>
                    <a:lnTo>
                      <a:pt x="347" y="771"/>
                    </a:lnTo>
                    <a:lnTo>
                      <a:pt x="349" y="769"/>
                    </a:lnTo>
                    <a:lnTo>
                      <a:pt x="347" y="769"/>
                    </a:lnTo>
                    <a:lnTo>
                      <a:pt x="347" y="767"/>
                    </a:lnTo>
                    <a:lnTo>
                      <a:pt x="349" y="767"/>
                    </a:lnTo>
                    <a:lnTo>
                      <a:pt x="349" y="769"/>
                    </a:lnTo>
                    <a:lnTo>
                      <a:pt x="349" y="771"/>
                    </a:lnTo>
                    <a:close/>
                    <a:moveTo>
                      <a:pt x="355" y="765"/>
                    </a:moveTo>
                    <a:lnTo>
                      <a:pt x="357" y="765"/>
                    </a:lnTo>
                    <a:lnTo>
                      <a:pt x="355" y="765"/>
                    </a:lnTo>
                    <a:close/>
                    <a:moveTo>
                      <a:pt x="1108" y="388"/>
                    </a:moveTo>
                    <a:lnTo>
                      <a:pt x="1108" y="390"/>
                    </a:lnTo>
                    <a:lnTo>
                      <a:pt x="1106" y="390"/>
                    </a:lnTo>
                    <a:lnTo>
                      <a:pt x="1104" y="390"/>
                    </a:lnTo>
                    <a:lnTo>
                      <a:pt x="1106" y="390"/>
                    </a:lnTo>
                    <a:lnTo>
                      <a:pt x="1108" y="388"/>
                    </a:lnTo>
                    <a:close/>
                    <a:moveTo>
                      <a:pt x="1104" y="390"/>
                    </a:moveTo>
                    <a:lnTo>
                      <a:pt x="1106" y="390"/>
                    </a:lnTo>
                    <a:lnTo>
                      <a:pt x="1104" y="390"/>
                    </a:lnTo>
                    <a:close/>
                    <a:moveTo>
                      <a:pt x="347" y="765"/>
                    </a:moveTo>
                    <a:lnTo>
                      <a:pt x="347" y="767"/>
                    </a:lnTo>
                    <a:lnTo>
                      <a:pt x="347" y="769"/>
                    </a:lnTo>
                    <a:lnTo>
                      <a:pt x="345" y="769"/>
                    </a:lnTo>
                    <a:lnTo>
                      <a:pt x="345" y="767"/>
                    </a:lnTo>
                    <a:lnTo>
                      <a:pt x="347" y="767"/>
                    </a:lnTo>
                    <a:lnTo>
                      <a:pt x="347" y="765"/>
                    </a:lnTo>
                    <a:close/>
                    <a:moveTo>
                      <a:pt x="853" y="552"/>
                    </a:moveTo>
                    <a:lnTo>
                      <a:pt x="851" y="552"/>
                    </a:lnTo>
                    <a:lnTo>
                      <a:pt x="853" y="552"/>
                    </a:lnTo>
                    <a:close/>
                    <a:moveTo>
                      <a:pt x="1100" y="396"/>
                    </a:moveTo>
                    <a:lnTo>
                      <a:pt x="1099" y="398"/>
                    </a:lnTo>
                    <a:lnTo>
                      <a:pt x="1099" y="396"/>
                    </a:lnTo>
                    <a:lnTo>
                      <a:pt x="1099" y="394"/>
                    </a:lnTo>
                    <a:lnTo>
                      <a:pt x="1099" y="392"/>
                    </a:lnTo>
                    <a:lnTo>
                      <a:pt x="1100" y="392"/>
                    </a:lnTo>
                    <a:lnTo>
                      <a:pt x="1100" y="394"/>
                    </a:lnTo>
                    <a:lnTo>
                      <a:pt x="1102" y="392"/>
                    </a:lnTo>
                    <a:lnTo>
                      <a:pt x="1100" y="394"/>
                    </a:lnTo>
                    <a:lnTo>
                      <a:pt x="1100" y="396"/>
                    </a:lnTo>
                    <a:close/>
                    <a:moveTo>
                      <a:pt x="347" y="763"/>
                    </a:moveTo>
                    <a:lnTo>
                      <a:pt x="349" y="763"/>
                    </a:lnTo>
                    <a:lnTo>
                      <a:pt x="349" y="765"/>
                    </a:lnTo>
                    <a:lnTo>
                      <a:pt x="347" y="765"/>
                    </a:lnTo>
                    <a:lnTo>
                      <a:pt x="347" y="763"/>
                    </a:lnTo>
                    <a:close/>
                    <a:moveTo>
                      <a:pt x="349" y="763"/>
                    </a:moveTo>
                    <a:lnTo>
                      <a:pt x="351" y="763"/>
                    </a:lnTo>
                    <a:lnTo>
                      <a:pt x="351" y="765"/>
                    </a:lnTo>
                    <a:lnTo>
                      <a:pt x="351" y="763"/>
                    </a:lnTo>
                    <a:lnTo>
                      <a:pt x="351" y="765"/>
                    </a:lnTo>
                    <a:lnTo>
                      <a:pt x="351" y="767"/>
                    </a:lnTo>
                    <a:lnTo>
                      <a:pt x="349" y="767"/>
                    </a:lnTo>
                    <a:lnTo>
                      <a:pt x="351" y="767"/>
                    </a:lnTo>
                    <a:lnTo>
                      <a:pt x="351" y="765"/>
                    </a:lnTo>
                    <a:lnTo>
                      <a:pt x="349" y="765"/>
                    </a:lnTo>
                    <a:lnTo>
                      <a:pt x="351" y="767"/>
                    </a:lnTo>
                    <a:lnTo>
                      <a:pt x="349" y="767"/>
                    </a:lnTo>
                    <a:lnTo>
                      <a:pt x="349" y="765"/>
                    </a:lnTo>
                    <a:lnTo>
                      <a:pt x="349" y="763"/>
                    </a:lnTo>
                    <a:close/>
                    <a:moveTo>
                      <a:pt x="351" y="761"/>
                    </a:moveTo>
                    <a:lnTo>
                      <a:pt x="351" y="763"/>
                    </a:lnTo>
                    <a:lnTo>
                      <a:pt x="349" y="763"/>
                    </a:lnTo>
                    <a:lnTo>
                      <a:pt x="351" y="761"/>
                    </a:lnTo>
                    <a:close/>
                    <a:moveTo>
                      <a:pt x="349" y="761"/>
                    </a:moveTo>
                    <a:lnTo>
                      <a:pt x="349" y="759"/>
                    </a:lnTo>
                    <a:lnTo>
                      <a:pt x="351" y="761"/>
                    </a:lnTo>
                    <a:lnTo>
                      <a:pt x="349" y="761"/>
                    </a:lnTo>
                    <a:close/>
                    <a:moveTo>
                      <a:pt x="853" y="546"/>
                    </a:moveTo>
                    <a:lnTo>
                      <a:pt x="855" y="546"/>
                    </a:lnTo>
                    <a:lnTo>
                      <a:pt x="855" y="548"/>
                    </a:lnTo>
                    <a:lnTo>
                      <a:pt x="853" y="548"/>
                    </a:lnTo>
                    <a:lnTo>
                      <a:pt x="853" y="550"/>
                    </a:lnTo>
                    <a:lnTo>
                      <a:pt x="853" y="548"/>
                    </a:lnTo>
                    <a:lnTo>
                      <a:pt x="851" y="548"/>
                    </a:lnTo>
                    <a:lnTo>
                      <a:pt x="853" y="548"/>
                    </a:lnTo>
                    <a:lnTo>
                      <a:pt x="853" y="546"/>
                    </a:lnTo>
                    <a:close/>
                    <a:moveTo>
                      <a:pt x="1125" y="365"/>
                    </a:moveTo>
                    <a:lnTo>
                      <a:pt x="1127" y="367"/>
                    </a:lnTo>
                    <a:lnTo>
                      <a:pt x="1125" y="367"/>
                    </a:lnTo>
                    <a:lnTo>
                      <a:pt x="1125" y="365"/>
                    </a:lnTo>
                    <a:close/>
                    <a:moveTo>
                      <a:pt x="616" y="661"/>
                    </a:moveTo>
                    <a:lnTo>
                      <a:pt x="614" y="661"/>
                    </a:lnTo>
                    <a:lnTo>
                      <a:pt x="616" y="661"/>
                    </a:lnTo>
                    <a:lnTo>
                      <a:pt x="614" y="661"/>
                    </a:lnTo>
                    <a:lnTo>
                      <a:pt x="616" y="661"/>
                    </a:lnTo>
                    <a:close/>
                    <a:moveTo>
                      <a:pt x="357" y="753"/>
                    </a:moveTo>
                    <a:lnTo>
                      <a:pt x="359" y="753"/>
                    </a:lnTo>
                    <a:lnTo>
                      <a:pt x="357" y="755"/>
                    </a:lnTo>
                    <a:lnTo>
                      <a:pt x="357" y="753"/>
                    </a:lnTo>
                    <a:close/>
                    <a:moveTo>
                      <a:pt x="1125" y="365"/>
                    </a:moveTo>
                    <a:lnTo>
                      <a:pt x="1125" y="367"/>
                    </a:lnTo>
                    <a:lnTo>
                      <a:pt x="1125" y="365"/>
                    </a:lnTo>
                    <a:close/>
                    <a:moveTo>
                      <a:pt x="1106" y="379"/>
                    </a:moveTo>
                    <a:lnTo>
                      <a:pt x="1106" y="377"/>
                    </a:lnTo>
                    <a:lnTo>
                      <a:pt x="1108" y="377"/>
                    </a:lnTo>
                    <a:lnTo>
                      <a:pt x="1106" y="379"/>
                    </a:lnTo>
                    <a:close/>
                    <a:moveTo>
                      <a:pt x="853" y="542"/>
                    </a:moveTo>
                    <a:lnTo>
                      <a:pt x="851" y="542"/>
                    </a:lnTo>
                    <a:lnTo>
                      <a:pt x="853" y="542"/>
                    </a:lnTo>
                    <a:close/>
                    <a:moveTo>
                      <a:pt x="1124" y="363"/>
                    </a:moveTo>
                    <a:lnTo>
                      <a:pt x="1125" y="363"/>
                    </a:lnTo>
                    <a:lnTo>
                      <a:pt x="1124" y="363"/>
                    </a:lnTo>
                    <a:close/>
                    <a:moveTo>
                      <a:pt x="359" y="751"/>
                    </a:moveTo>
                    <a:lnTo>
                      <a:pt x="357" y="753"/>
                    </a:lnTo>
                    <a:lnTo>
                      <a:pt x="357" y="751"/>
                    </a:lnTo>
                    <a:lnTo>
                      <a:pt x="359" y="751"/>
                    </a:lnTo>
                    <a:close/>
                    <a:moveTo>
                      <a:pt x="357" y="751"/>
                    </a:moveTo>
                    <a:lnTo>
                      <a:pt x="357" y="753"/>
                    </a:lnTo>
                    <a:lnTo>
                      <a:pt x="357" y="751"/>
                    </a:lnTo>
                    <a:lnTo>
                      <a:pt x="357" y="753"/>
                    </a:lnTo>
                    <a:lnTo>
                      <a:pt x="355" y="753"/>
                    </a:lnTo>
                    <a:lnTo>
                      <a:pt x="357" y="753"/>
                    </a:lnTo>
                    <a:lnTo>
                      <a:pt x="357" y="751"/>
                    </a:lnTo>
                    <a:lnTo>
                      <a:pt x="357" y="753"/>
                    </a:lnTo>
                    <a:lnTo>
                      <a:pt x="355" y="755"/>
                    </a:lnTo>
                    <a:lnTo>
                      <a:pt x="353" y="757"/>
                    </a:lnTo>
                    <a:lnTo>
                      <a:pt x="353" y="759"/>
                    </a:lnTo>
                    <a:lnTo>
                      <a:pt x="351" y="759"/>
                    </a:lnTo>
                    <a:lnTo>
                      <a:pt x="351" y="761"/>
                    </a:lnTo>
                    <a:lnTo>
                      <a:pt x="349" y="761"/>
                    </a:lnTo>
                    <a:lnTo>
                      <a:pt x="349" y="759"/>
                    </a:lnTo>
                    <a:lnTo>
                      <a:pt x="351" y="759"/>
                    </a:lnTo>
                    <a:lnTo>
                      <a:pt x="351" y="757"/>
                    </a:lnTo>
                    <a:lnTo>
                      <a:pt x="353" y="757"/>
                    </a:lnTo>
                    <a:lnTo>
                      <a:pt x="353" y="755"/>
                    </a:lnTo>
                    <a:lnTo>
                      <a:pt x="355" y="755"/>
                    </a:lnTo>
                    <a:lnTo>
                      <a:pt x="355" y="753"/>
                    </a:lnTo>
                    <a:lnTo>
                      <a:pt x="357" y="751"/>
                    </a:lnTo>
                    <a:lnTo>
                      <a:pt x="357" y="750"/>
                    </a:lnTo>
                    <a:lnTo>
                      <a:pt x="357" y="751"/>
                    </a:lnTo>
                    <a:close/>
                    <a:moveTo>
                      <a:pt x="357" y="750"/>
                    </a:moveTo>
                    <a:lnTo>
                      <a:pt x="357" y="751"/>
                    </a:lnTo>
                    <a:lnTo>
                      <a:pt x="357" y="750"/>
                    </a:lnTo>
                    <a:close/>
                    <a:moveTo>
                      <a:pt x="1124" y="359"/>
                    </a:moveTo>
                    <a:lnTo>
                      <a:pt x="1124" y="361"/>
                    </a:lnTo>
                    <a:lnTo>
                      <a:pt x="1124" y="359"/>
                    </a:lnTo>
                    <a:close/>
                    <a:moveTo>
                      <a:pt x="614" y="653"/>
                    </a:moveTo>
                    <a:lnTo>
                      <a:pt x="614" y="655"/>
                    </a:lnTo>
                    <a:lnTo>
                      <a:pt x="614" y="653"/>
                    </a:lnTo>
                    <a:close/>
                    <a:moveTo>
                      <a:pt x="1124" y="359"/>
                    </a:moveTo>
                    <a:lnTo>
                      <a:pt x="1122" y="359"/>
                    </a:lnTo>
                    <a:lnTo>
                      <a:pt x="1124" y="359"/>
                    </a:lnTo>
                    <a:lnTo>
                      <a:pt x="1124" y="357"/>
                    </a:lnTo>
                    <a:lnTo>
                      <a:pt x="1124" y="359"/>
                    </a:lnTo>
                    <a:close/>
                    <a:moveTo>
                      <a:pt x="357" y="750"/>
                    </a:moveTo>
                    <a:lnTo>
                      <a:pt x="357" y="748"/>
                    </a:lnTo>
                    <a:lnTo>
                      <a:pt x="357" y="750"/>
                    </a:lnTo>
                    <a:close/>
                    <a:moveTo>
                      <a:pt x="1122" y="357"/>
                    </a:moveTo>
                    <a:lnTo>
                      <a:pt x="1124" y="357"/>
                    </a:lnTo>
                    <a:lnTo>
                      <a:pt x="1124" y="359"/>
                    </a:lnTo>
                    <a:lnTo>
                      <a:pt x="1122" y="359"/>
                    </a:lnTo>
                    <a:lnTo>
                      <a:pt x="1122" y="357"/>
                    </a:lnTo>
                    <a:close/>
                    <a:moveTo>
                      <a:pt x="862" y="530"/>
                    </a:moveTo>
                    <a:lnTo>
                      <a:pt x="862" y="528"/>
                    </a:lnTo>
                    <a:lnTo>
                      <a:pt x="862" y="530"/>
                    </a:lnTo>
                    <a:close/>
                    <a:moveTo>
                      <a:pt x="1104" y="373"/>
                    </a:moveTo>
                    <a:lnTo>
                      <a:pt x="1102" y="373"/>
                    </a:lnTo>
                    <a:lnTo>
                      <a:pt x="1102" y="371"/>
                    </a:lnTo>
                    <a:lnTo>
                      <a:pt x="1104" y="373"/>
                    </a:lnTo>
                    <a:close/>
                    <a:moveTo>
                      <a:pt x="1102" y="373"/>
                    </a:moveTo>
                    <a:lnTo>
                      <a:pt x="1102" y="371"/>
                    </a:lnTo>
                    <a:lnTo>
                      <a:pt x="1102" y="373"/>
                    </a:lnTo>
                    <a:close/>
                    <a:moveTo>
                      <a:pt x="1122" y="355"/>
                    </a:moveTo>
                    <a:lnTo>
                      <a:pt x="1124" y="355"/>
                    </a:lnTo>
                    <a:lnTo>
                      <a:pt x="1122" y="355"/>
                    </a:lnTo>
                    <a:close/>
                    <a:moveTo>
                      <a:pt x="614" y="652"/>
                    </a:moveTo>
                    <a:lnTo>
                      <a:pt x="614" y="650"/>
                    </a:lnTo>
                    <a:lnTo>
                      <a:pt x="614" y="652"/>
                    </a:lnTo>
                    <a:close/>
                    <a:moveTo>
                      <a:pt x="614" y="650"/>
                    </a:moveTo>
                    <a:lnTo>
                      <a:pt x="614" y="652"/>
                    </a:lnTo>
                    <a:lnTo>
                      <a:pt x="612" y="650"/>
                    </a:lnTo>
                    <a:lnTo>
                      <a:pt x="614" y="650"/>
                    </a:lnTo>
                    <a:close/>
                    <a:moveTo>
                      <a:pt x="1122" y="355"/>
                    </a:moveTo>
                    <a:lnTo>
                      <a:pt x="1120" y="355"/>
                    </a:lnTo>
                    <a:lnTo>
                      <a:pt x="1122" y="355"/>
                    </a:lnTo>
                    <a:close/>
                    <a:moveTo>
                      <a:pt x="1122" y="354"/>
                    </a:moveTo>
                    <a:lnTo>
                      <a:pt x="1122" y="355"/>
                    </a:lnTo>
                    <a:lnTo>
                      <a:pt x="1122" y="354"/>
                    </a:lnTo>
                    <a:close/>
                    <a:moveTo>
                      <a:pt x="1104" y="367"/>
                    </a:moveTo>
                    <a:lnTo>
                      <a:pt x="1104" y="369"/>
                    </a:lnTo>
                    <a:lnTo>
                      <a:pt x="1104" y="367"/>
                    </a:lnTo>
                    <a:close/>
                    <a:moveTo>
                      <a:pt x="1106" y="367"/>
                    </a:moveTo>
                    <a:lnTo>
                      <a:pt x="1104" y="367"/>
                    </a:lnTo>
                    <a:lnTo>
                      <a:pt x="1106" y="365"/>
                    </a:lnTo>
                    <a:lnTo>
                      <a:pt x="1106" y="367"/>
                    </a:lnTo>
                    <a:close/>
                    <a:moveTo>
                      <a:pt x="1104" y="369"/>
                    </a:moveTo>
                    <a:lnTo>
                      <a:pt x="1104" y="367"/>
                    </a:lnTo>
                    <a:lnTo>
                      <a:pt x="1104" y="365"/>
                    </a:lnTo>
                    <a:lnTo>
                      <a:pt x="1106" y="365"/>
                    </a:lnTo>
                    <a:lnTo>
                      <a:pt x="1104" y="367"/>
                    </a:lnTo>
                    <a:lnTo>
                      <a:pt x="1104" y="369"/>
                    </a:lnTo>
                    <a:close/>
                    <a:moveTo>
                      <a:pt x="359" y="742"/>
                    </a:moveTo>
                    <a:lnTo>
                      <a:pt x="359" y="744"/>
                    </a:lnTo>
                    <a:lnTo>
                      <a:pt x="359" y="746"/>
                    </a:lnTo>
                    <a:lnTo>
                      <a:pt x="357" y="748"/>
                    </a:lnTo>
                    <a:lnTo>
                      <a:pt x="357" y="746"/>
                    </a:lnTo>
                    <a:lnTo>
                      <a:pt x="357" y="744"/>
                    </a:lnTo>
                    <a:lnTo>
                      <a:pt x="359" y="744"/>
                    </a:lnTo>
                    <a:lnTo>
                      <a:pt x="359" y="742"/>
                    </a:lnTo>
                    <a:close/>
                    <a:moveTo>
                      <a:pt x="858" y="527"/>
                    </a:moveTo>
                    <a:lnTo>
                      <a:pt x="856" y="527"/>
                    </a:lnTo>
                    <a:lnTo>
                      <a:pt x="858" y="527"/>
                    </a:lnTo>
                    <a:close/>
                    <a:moveTo>
                      <a:pt x="1104" y="365"/>
                    </a:moveTo>
                    <a:lnTo>
                      <a:pt x="1104" y="367"/>
                    </a:lnTo>
                    <a:lnTo>
                      <a:pt x="1104" y="365"/>
                    </a:lnTo>
                    <a:close/>
                    <a:moveTo>
                      <a:pt x="614" y="648"/>
                    </a:moveTo>
                    <a:lnTo>
                      <a:pt x="612" y="648"/>
                    </a:lnTo>
                    <a:lnTo>
                      <a:pt x="614" y="648"/>
                    </a:lnTo>
                    <a:close/>
                    <a:moveTo>
                      <a:pt x="614" y="648"/>
                    </a:moveTo>
                    <a:lnTo>
                      <a:pt x="612" y="648"/>
                    </a:lnTo>
                    <a:lnTo>
                      <a:pt x="614" y="648"/>
                    </a:lnTo>
                    <a:close/>
                    <a:moveTo>
                      <a:pt x="856" y="527"/>
                    </a:moveTo>
                    <a:lnTo>
                      <a:pt x="855" y="527"/>
                    </a:lnTo>
                    <a:lnTo>
                      <a:pt x="856" y="527"/>
                    </a:lnTo>
                    <a:close/>
                    <a:moveTo>
                      <a:pt x="1118" y="352"/>
                    </a:moveTo>
                    <a:lnTo>
                      <a:pt x="1120" y="352"/>
                    </a:lnTo>
                    <a:lnTo>
                      <a:pt x="1120" y="354"/>
                    </a:lnTo>
                    <a:lnTo>
                      <a:pt x="1120" y="352"/>
                    </a:lnTo>
                    <a:lnTo>
                      <a:pt x="1118" y="352"/>
                    </a:lnTo>
                    <a:close/>
                    <a:moveTo>
                      <a:pt x="1118" y="350"/>
                    </a:moveTo>
                    <a:lnTo>
                      <a:pt x="1120" y="352"/>
                    </a:lnTo>
                    <a:lnTo>
                      <a:pt x="1118" y="352"/>
                    </a:lnTo>
                    <a:lnTo>
                      <a:pt x="1118" y="350"/>
                    </a:lnTo>
                    <a:close/>
                    <a:moveTo>
                      <a:pt x="1162" y="315"/>
                    </a:moveTo>
                    <a:lnTo>
                      <a:pt x="1164" y="315"/>
                    </a:lnTo>
                    <a:lnTo>
                      <a:pt x="1162" y="315"/>
                    </a:lnTo>
                    <a:close/>
                    <a:moveTo>
                      <a:pt x="1162" y="315"/>
                    </a:moveTo>
                    <a:lnTo>
                      <a:pt x="1162" y="317"/>
                    </a:lnTo>
                    <a:lnTo>
                      <a:pt x="1160" y="317"/>
                    </a:lnTo>
                    <a:lnTo>
                      <a:pt x="1160" y="319"/>
                    </a:lnTo>
                    <a:lnTo>
                      <a:pt x="1162" y="319"/>
                    </a:lnTo>
                    <a:lnTo>
                      <a:pt x="1162" y="317"/>
                    </a:lnTo>
                    <a:lnTo>
                      <a:pt x="1164" y="317"/>
                    </a:lnTo>
                    <a:lnTo>
                      <a:pt x="1164" y="319"/>
                    </a:lnTo>
                    <a:lnTo>
                      <a:pt x="1164" y="317"/>
                    </a:lnTo>
                    <a:lnTo>
                      <a:pt x="1166" y="319"/>
                    </a:lnTo>
                    <a:lnTo>
                      <a:pt x="1164" y="319"/>
                    </a:lnTo>
                    <a:lnTo>
                      <a:pt x="1164" y="321"/>
                    </a:lnTo>
                    <a:lnTo>
                      <a:pt x="1166" y="321"/>
                    </a:lnTo>
                    <a:lnTo>
                      <a:pt x="1164" y="321"/>
                    </a:lnTo>
                    <a:lnTo>
                      <a:pt x="1164" y="323"/>
                    </a:lnTo>
                    <a:lnTo>
                      <a:pt x="1166" y="323"/>
                    </a:lnTo>
                    <a:lnTo>
                      <a:pt x="1164" y="323"/>
                    </a:lnTo>
                    <a:lnTo>
                      <a:pt x="1164" y="325"/>
                    </a:lnTo>
                    <a:lnTo>
                      <a:pt x="1162" y="325"/>
                    </a:lnTo>
                    <a:lnTo>
                      <a:pt x="1162" y="323"/>
                    </a:lnTo>
                    <a:lnTo>
                      <a:pt x="1160" y="323"/>
                    </a:lnTo>
                    <a:lnTo>
                      <a:pt x="1162" y="321"/>
                    </a:lnTo>
                    <a:lnTo>
                      <a:pt x="1160" y="321"/>
                    </a:lnTo>
                    <a:lnTo>
                      <a:pt x="1158" y="321"/>
                    </a:lnTo>
                    <a:lnTo>
                      <a:pt x="1158" y="319"/>
                    </a:lnTo>
                    <a:lnTo>
                      <a:pt x="1156" y="319"/>
                    </a:lnTo>
                    <a:lnTo>
                      <a:pt x="1158" y="319"/>
                    </a:lnTo>
                    <a:lnTo>
                      <a:pt x="1158" y="317"/>
                    </a:lnTo>
                    <a:lnTo>
                      <a:pt x="1158" y="319"/>
                    </a:lnTo>
                    <a:lnTo>
                      <a:pt x="1160" y="317"/>
                    </a:lnTo>
                    <a:lnTo>
                      <a:pt x="1160" y="315"/>
                    </a:lnTo>
                    <a:lnTo>
                      <a:pt x="1162" y="315"/>
                    </a:lnTo>
                    <a:close/>
                    <a:moveTo>
                      <a:pt x="1118" y="352"/>
                    </a:moveTo>
                    <a:lnTo>
                      <a:pt x="1116" y="352"/>
                    </a:lnTo>
                    <a:lnTo>
                      <a:pt x="1118" y="352"/>
                    </a:lnTo>
                    <a:lnTo>
                      <a:pt x="1118" y="350"/>
                    </a:lnTo>
                    <a:lnTo>
                      <a:pt x="1116" y="350"/>
                    </a:lnTo>
                    <a:lnTo>
                      <a:pt x="1118" y="350"/>
                    </a:lnTo>
                    <a:lnTo>
                      <a:pt x="1118" y="352"/>
                    </a:lnTo>
                    <a:close/>
                    <a:moveTo>
                      <a:pt x="1118" y="350"/>
                    </a:moveTo>
                    <a:lnTo>
                      <a:pt x="1118" y="348"/>
                    </a:lnTo>
                    <a:lnTo>
                      <a:pt x="1118" y="350"/>
                    </a:lnTo>
                    <a:close/>
                    <a:moveTo>
                      <a:pt x="1118" y="350"/>
                    </a:moveTo>
                    <a:lnTo>
                      <a:pt x="1116" y="350"/>
                    </a:lnTo>
                    <a:lnTo>
                      <a:pt x="1118" y="348"/>
                    </a:lnTo>
                    <a:lnTo>
                      <a:pt x="1118" y="350"/>
                    </a:lnTo>
                    <a:close/>
                    <a:moveTo>
                      <a:pt x="1118" y="346"/>
                    </a:moveTo>
                    <a:lnTo>
                      <a:pt x="1118" y="348"/>
                    </a:lnTo>
                    <a:lnTo>
                      <a:pt x="1116" y="348"/>
                    </a:lnTo>
                    <a:lnTo>
                      <a:pt x="1118" y="348"/>
                    </a:lnTo>
                    <a:lnTo>
                      <a:pt x="1118" y="346"/>
                    </a:lnTo>
                    <a:close/>
                    <a:moveTo>
                      <a:pt x="609" y="644"/>
                    </a:moveTo>
                    <a:lnTo>
                      <a:pt x="607" y="644"/>
                    </a:lnTo>
                    <a:lnTo>
                      <a:pt x="607" y="642"/>
                    </a:lnTo>
                    <a:lnTo>
                      <a:pt x="609" y="642"/>
                    </a:lnTo>
                    <a:lnTo>
                      <a:pt x="609" y="644"/>
                    </a:lnTo>
                    <a:close/>
                    <a:moveTo>
                      <a:pt x="607" y="642"/>
                    </a:moveTo>
                    <a:lnTo>
                      <a:pt x="607" y="644"/>
                    </a:lnTo>
                    <a:lnTo>
                      <a:pt x="607" y="642"/>
                    </a:lnTo>
                    <a:close/>
                    <a:moveTo>
                      <a:pt x="856" y="519"/>
                    </a:moveTo>
                    <a:lnTo>
                      <a:pt x="856" y="521"/>
                    </a:lnTo>
                    <a:lnTo>
                      <a:pt x="855" y="519"/>
                    </a:lnTo>
                    <a:lnTo>
                      <a:pt x="856" y="519"/>
                    </a:lnTo>
                    <a:lnTo>
                      <a:pt x="855" y="519"/>
                    </a:lnTo>
                    <a:lnTo>
                      <a:pt x="856" y="519"/>
                    </a:lnTo>
                    <a:lnTo>
                      <a:pt x="856" y="517"/>
                    </a:lnTo>
                    <a:lnTo>
                      <a:pt x="856" y="519"/>
                    </a:lnTo>
                    <a:close/>
                    <a:moveTo>
                      <a:pt x="1158" y="313"/>
                    </a:moveTo>
                    <a:lnTo>
                      <a:pt x="1156" y="313"/>
                    </a:lnTo>
                    <a:lnTo>
                      <a:pt x="1158" y="313"/>
                    </a:lnTo>
                    <a:lnTo>
                      <a:pt x="1160" y="313"/>
                    </a:lnTo>
                    <a:lnTo>
                      <a:pt x="1158" y="313"/>
                    </a:lnTo>
                    <a:close/>
                    <a:moveTo>
                      <a:pt x="1116" y="346"/>
                    </a:moveTo>
                    <a:lnTo>
                      <a:pt x="1116" y="348"/>
                    </a:lnTo>
                    <a:lnTo>
                      <a:pt x="1116" y="346"/>
                    </a:lnTo>
                    <a:lnTo>
                      <a:pt x="1118" y="346"/>
                    </a:lnTo>
                    <a:lnTo>
                      <a:pt x="1118" y="348"/>
                    </a:lnTo>
                    <a:lnTo>
                      <a:pt x="1116" y="348"/>
                    </a:lnTo>
                    <a:lnTo>
                      <a:pt x="1116" y="346"/>
                    </a:lnTo>
                    <a:close/>
                    <a:moveTo>
                      <a:pt x="1154" y="315"/>
                    </a:moveTo>
                    <a:lnTo>
                      <a:pt x="1156" y="315"/>
                    </a:lnTo>
                    <a:lnTo>
                      <a:pt x="1158" y="313"/>
                    </a:lnTo>
                    <a:lnTo>
                      <a:pt x="1158" y="315"/>
                    </a:lnTo>
                    <a:lnTo>
                      <a:pt x="1158" y="313"/>
                    </a:lnTo>
                    <a:lnTo>
                      <a:pt x="1160" y="313"/>
                    </a:lnTo>
                    <a:lnTo>
                      <a:pt x="1160" y="315"/>
                    </a:lnTo>
                    <a:lnTo>
                      <a:pt x="1158" y="317"/>
                    </a:lnTo>
                    <a:lnTo>
                      <a:pt x="1156" y="317"/>
                    </a:lnTo>
                    <a:lnTo>
                      <a:pt x="1158" y="315"/>
                    </a:lnTo>
                    <a:lnTo>
                      <a:pt x="1156" y="315"/>
                    </a:lnTo>
                    <a:lnTo>
                      <a:pt x="1156" y="317"/>
                    </a:lnTo>
                    <a:lnTo>
                      <a:pt x="1156" y="315"/>
                    </a:lnTo>
                    <a:lnTo>
                      <a:pt x="1154" y="317"/>
                    </a:lnTo>
                    <a:lnTo>
                      <a:pt x="1152" y="317"/>
                    </a:lnTo>
                    <a:lnTo>
                      <a:pt x="1154" y="317"/>
                    </a:lnTo>
                    <a:lnTo>
                      <a:pt x="1154" y="315"/>
                    </a:lnTo>
                    <a:close/>
                    <a:moveTo>
                      <a:pt x="858" y="517"/>
                    </a:moveTo>
                    <a:lnTo>
                      <a:pt x="856" y="517"/>
                    </a:lnTo>
                    <a:lnTo>
                      <a:pt x="858" y="517"/>
                    </a:lnTo>
                    <a:lnTo>
                      <a:pt x="858" y="515"/>
                    </a:lnTo>
                    <a:lnTo>
                      <a:pt x="858" y="517"/>
                    </a:lnTo>
                    <a:close/>
                    <a:moveTo>
                      <a:pt x="563" y="661"/>
                    </a:moveTo>
                    <a:lnTo>
                      <a:pt x="561" y="661"/>
                    </a:lnTo>
                    <a:lnTo>
                      <a:pt x="561" y="659"/>
                    </a:lnTo>
                    <a:lnTo>
                      <a:pt x="563" y="659"/>
                    </a:lnTo>
                    <a:lnTo>
                      <a:pt x="563" y="661"/>
                    </a:lnTo>
                    <a:close/>
                    <a:moveTo>
                      <a:pt x="1147" y="321"/>
                    </a:moveTo>
                    <a:lnTo>
                      <a:pt x="1147" y="323"/>
                    </a:lnTo>
                    <a:lnTo>
                      <a:pt x="1145" y="323"/>
                    </a:lnTo>
                    <a:lnTo>
                      <a:pt x="1147" y="323"/>
                    </a:lnTo>
                    <a:lnTo>
                      <a:pt x="1147" y="321"/>
                    </a:lnTo>
                    <a:close/>
                    <a:moveTo>
                      <a:pt x="858" y="517"/>
                    </a:moveTo>
                    <a:lnTo>
                      <a:pt x="856" y="517"/>
                    </a:lnTo>
                    <a:lnTo>
                      <a:pt x="858" y="515"/>
                    </a:lnTo>
                    <a:lnTo>
                      <a:pt x="858" y="517"/>
                    </a:lnTo>
                    <a:close/>
                    <a:moveTo>
                      <a:pt x="826" y="534"/>
                    </a:moveTo>
                    <a:lnTo>
                      <a:pt x="824" y="534"/>
                    </a:lnTo>
                    <a:lnTo>
                      <a:pt x="826" y="534"/>
                    </a:lnTo>
                    <a:close/>
                    <a:moveTo>
                      <a:pt x="1114" y="344"/>
                    </a:moveTo>
                    <a:lnTo>
                      <a:pt x="1114" y="346"/>
                    </a:lnTo>
                    <a:lnTo>
                      <a:pt x="1116" y="346"/>
                    </a:lnTo>
                    <a:lnTo>
                      <a:pt x="1116" y="344"/>
                    </a:lnTo>
                    <a:lnTo>
                      <a:pt x="1116" y="346"/>
                    </a:lnTo>
                    <a:lnTo>
                      <a:pt x="1114" y="346"/>
                    </a:lnTo>
                    <a:lnTo>
                      <a:pt x="1114" y="344"/>
                    </a:lnTo>
                    <a:close/>
                    <a:moveTo>
                      <a:pt x="870" y="507"/>
                    </a:moveTo>
                    <a:lnTo>
                      <a:pt x="872" y="507"/>
                    </a:lnTo>
                    <a:lnTo>
                      <a:pt x="870" y="507"/>
                    </a:lnTo>
                    <a:lnTo>
                      <a:pt x="872" y="507"/>
                    </a:lnTo>
                    <a:lnTo>
                      <a:pt x="870" y="507"/>
                    </a:lnTo>
                    <a:lnTo>
                      <a:pt x="870" y="509"/>
                    </a:lnTo>
                    <a:lnTo>
                      <a:pt x="868" y="507"/>
                    </a:lnTo>
                    <a:lnTo>
                      <a:pt x="870" y="507"/>
                    </a:lnTo>
                    <a:close/>
                    <a:moveTo>
                      <a:pt x="862" y="511"/>
                    </a:moveTo>
                    <a:lnTo>
                      <a:pt x="860" y="513"/>
                    </a:lnTo>
                    <a:lnTo>
                      <a:pt x="860" y="511"/>
                    </a:lnTo>
                    <a:lnTo>
                      <a:pt x="862" y="511"/>
                    </a:lnTo>
                    <a:close/>
                    <a:moveTo>
                      <a:pt x="860" y="511"/>
                    </a:moveTo>
                    <a:lnTo>
                      <a:pt x="860" y="513"/>
                    </a:lnTo>
                    <a:lnTo>
                      <a:pt x="858" y="513"/>
                    </a:lnTo>
                    <a:lnTo>
                      <a:pt x="860" y="511"/>
                    </a:lnTo>
                    <a:close/>
                    <a:moveTo>
                      <a:pt x="605" y="640"/>
                    </a:moveTo>
                    <a:lnTo>
                      <a:pt x="605" y="638"/>
                    </a:lnTo>
                    <a:lnTo>
                      <a:pt x="605" y="640"/>
                    </a:lnTo>
                    <a:lnTo>
                      <a:pt x="603" y="640"/>
                    </a:lnTo>
                    <a:lnTo>
                      <a:pt x="603" y="638"/>
                    </a:lnTo>
                    <a:lnTo>
                      <a:pt x="605" y="640"/>
                    </a:lnTo>
                    <a:close/>
                    <a:moveTo>
                      <a:pt x="1114" y="344"/>
                    </a:moveTo>
                    <a:lnTo>
                      <a:pt x="1112" y="344"/>
                    </a:lnTo>
                    <a:lnTo>
                      <a:pt x="1114" y="344"/>
                    </a:lnTo>
                    <a:lnTo>
                      <a:pt x="1114" y="346"/>
                    </a:lnTo>
                    <a:lnTo>
                      <a:pt x="1114" y="344"/>
                    </a:lnTo>
                    <a:lnTo>
                      <a:pt x="1112" y="344"/>
                    </a:lnTo>
                    <a:lnTo>
                      <a:pt x="1114" y="344"/>
                    </a:lnTo>
                    <a:close/>
                    <a:moveTo>
                      <a:pt x="1127" y="330"/>
                    </a:moveTo>
                    <a:lnTo>
                      <a:pt x="1129" y="330"/>
                    </a:lnTo>
                    <a:lnTo>
                      <a:pt x="1127" y="330"/>
                    </a:lnTo>
                    <a:close/>
                    <a:moveTo>
                      <a:pt x="603" y="638"/>
                    </a:moveTo>
                    <a:lnTo>
                      <a:pt x="605" y="638"/>
                    </a:lnTo>
                    <a:lnTo>
                      <a:pt x="603" y="638"/>
                    </a:lnTo>
                    <a:lnTo>
                      <a:pt x="605" y="638"/>
                    </a:lnTo>
                    <a:lnTo>
                      <a:pt x="603" y="638"/>
                    </a:lnTo>
                    <a:close/>
                    <a:moveTo>
                      <a:pt x="1112" y="342"/>
                    </a:moveTo>
                    <a:lnTo>
                      <a:pt x="1112" y="344"/>
                    </a:lnTo>
                    <a:lnTo>
                      <a:pt x="1112" y="342"/>
                    </a:lnTo>
                    <a:lnTo>
                      <a:pt x="1114" y="342"/>
                    </a:lnTo>
                    <a:lnTo>
                      <a:pt x="1112" y="344"/>
                    </a:lnTo>
                    <a:lnTo>
                      <a:pt x="1112" y="342"/>
                    </a:lnTo>
                    <a:close/>
                    <a:moveTo>
                      <a:pt x="605" y="638"/>
                    </a:moveTo>
                    <a:lnTo>
                      <a:pt x="603" y="638"/>
                    </a:lnTo>
                    <a:lnTo>
                      <a:pt x="603" y="636"/>
                    </a:lnTo>
                    <a:lnTo>
                      <a:pt x="605" y="636"/>
                    </a:lnTo>
                    <a:lnTo>
                      <a:pt x="605" y="638"/>
                    </a:lnTo>
                    <a:close/>
                    <a:moveTo>
                      <a:pt x="1131" y="329"/>
                    </a:moveTo>
                    <a:lnTo>
                      <a:pt x="1133" y="329"/>
                    </a:lnTo>
                    <a:lnTo>
                      <a:pt x="1133" y="327"/>
                    </a:lnTo>
                    <a:lnTo>
                      <a:pt x="1135" y="327"/>
                    </a:lnTo>
                    <a:lnTo>
                      <a:pt x="1135" y="329"/>
                    </a:lnTo>
                    <a:lnTo>
                      <a:pt x="1135" y="327"/>
                    </a:lnTo>
                    <a:lnTo>
                      <a:pt x="1137" y="327"/>
                    </a:lnTo>
                    <a:lnTo>
                      <a:pt x="1135" y="329"/>
                    </a:lnTo>
                    <a:lnTo>
                      <a:pt x="1133" y="329"/>
                    </a:lnTo>
                    <a:lnTo>
                      <a:pt x="1131" y="330"/>
                    </a:lnTo>
                    <a:lnTo>
                      <a:pt x="1129" y="330"/>
                    </a:lnTo>
                    <a:lnTo>
                      <a:pt x="1127" y="330"/>
                    </a:lnTo>
                    <a:lnTo>
                      <a:pt x="1127" y="329"/>
                    </a:lnTo>
                    <a:lnTo>
                      <a:pt x="1127" y="330"/>
                    </a:lnTo>
                    <a:lnTo>
                      <a:pt x="1129" y="329"/>
                    </a:lnTo>
                    <a:lnTo>
                      <a:pt x="1131" y="329"/>
                    </a:lnTo>
                    <a:close/>
                    <a:moveTo>
                      <a:pt x="1097" y="354"/>
                    </a:moveTo>
                    <a:lnTo>
                      <a:pt x="1097" y="352"/>
                    </a:lnTo>
                    <a:lnTo>
                      <a:pt x="1099" y="352"/>
                    </a:lnTo>
                    <a:lnTo>
                      <a:pt x="1097" y="352"/>
                    </a:lnTo>
                    <a:lnTo>
                      <a:pt x="1097" y="354"/>
                    </a:lnTo>
                    <a:lnTo>
                      <a:pt x="1097" y="352"/>
                    </a:lnTo>
                    <a:lnTo>
                      <a:pt x="1097" y="354"/>
                    </a:lnTo>
                    <a:close/>
                    <a:moveTo>
                      <a:pt x="580" y="646"/>
                    </a:moveTo>
                    <a:lnTo>
                      <a:pt x="580" y="648"/>
                    </a:lnTo>
                    <a:lnTo>
                      <a:pt x="580" y="646"/>
                    </a:lnTo>
                    <a:close/>
                    <a:moveTo>
                      <a:pt x="1099" y="350"/>
                    </a:moveTo>
                    <a:lnTo>
                      <a:pt x="1099" y="352"/>
                    </a:lnTo>
                    <a:lnTo>
                      <a:pt x="1099" y="350"/>
                    </a:lnTo>
                    <a:close/>
                    <a:moveTo>
                      <a:pt x="603" y="636"/>
                    </a:moveTo>
                    <a:lnTo>
                      <a:pt x="605" y="636"/>
                    </a:lnTo>
                    <a:lnTo>
                      <a:pt x="603" y="636"/>
                    </a:lnTo>
                    <a:lnTo>
                      <a:pt x="603" y="638"/>
                    </a:lnTo>
                    <a:lnTo>
                      <a:pt x="603" y="636"/>
                    </a:lnTo>
                    <a:close/>
                    <a:moveTo>
                      <a:pt x="1156" y="305"/>
                    </a:moveTo>
                    <a:lnTo>
                      <a:pt x="1154" y="307"/>
                    </a:lnTo>
                    <a:lnTo>
                      <a:pt x="1154" y="309"/>
                    </a:lnTo>
                    <a:lnTo>
                      <a:pt x="1152" y="309"/>
                    </a:lnTo>
                    <a:lnTo>
                      <a:pt x="1154" y="307"/>
                    </a:lnTo>
                    <a:lnTo>
                      <a:pt x="1154" y="305"/>
                    </a:lnTo>
                    <a:lnTo>
                      <a:pt x="1156" y="305"/>
                    </a:lnTo>
                    <a:close/>
                    <a:moveTo>
                      <a:pt x="1160" y="305"/>
                    </a:moveTo>
                    <a:lnTo>
                      <a:pt x="1160" y="304"/>
                    </a:lnTo>
                    <a:lnTo>
                      <a:pt x="1160" y="302"/>
                    </a:lnTo>
                    <a:lnTo>
                      <a:pt x="1160" y="304"/>
                    </a:lnTo>
                    <a:lnTo>
                      <a:pt x="1160" y="305"/>
                    </a:lnTo>
                    <a:close/>
                    <a:moveTo>
                      <a:pt x="1097" y="352"/>
                    </a:moveTo>
                    <a:lnTo>
                      <a:pt x="1097" y="350"/>
                    </a:lnTo>
                    <a:lnTo>
                      <a:pt x="1099" y="350"/>
                    </a:lnTo>
                    <a:lnTo>
                      <a:pt x="1097" y="352"/>
                    </a:lnTo>
                    <a:lnTo>
                      <a:pt x="1097" y="354"/>
                    </a:lnTo>
                    <a:lnTo>
                      <a:pt x="1097" y="352"/>
                    </a:lnTo>
                    <a:lnTo>
                      <a:pt x="1095" y="352"/>
                    </a:lnTo>
                    <a:lnTo>
                      <a:pt x="1097" y="352"/>
                    </a:lnTo>
                    <a:lnTo>
                      <a:pt x="1095" y="352"/>
                    </a:lnTo>
                    <a:lnTo>
                      <a:pt x="1097" y="352"/>
                    </a:lnTo>
                    <a:lnTo>
                      <a:pt x="1097" y="350"/>
                    </a:lnTo>
                    <a:lnTo>
                      <a:pt x="1097" y="352"/>
                    </a:lnTo>
                    <a:close/>
                    <a:moveTo>
                      <a:pt x="601" y="634"/>
                    </a:moveTo>
                    <a:lnTo>
                      <a:pt x="603" y="636"/>
                    </a:lnTo>
                    <a:lnTo>
                      <a:pt x="601" y="636"/>
                    </a:lnTo>
                    <a:lnTo>
                      <a:pt x="601" y="634"/>
                    </a:lnTo>
                    <a:close/>
                    <a:moveTo>
                      <a:pt x="603" y="634"/>
                    </a:moveTo>
                    <a:lnTo>
                      <a:pt x="601" y="634"/>
                    </a:lnTo>
                    <a:lnTo>
                      <a:pt x="603" y="634"/>
                    </a:lnTo>
                    <a:close/>
                    <a:moveTo>
                      <a:pt x="355" y="723"/>
                    </a:moveTo>
                    <a:lnTo>
                      <a:pt x="357" y="725"/>
                    </a:lnTo>
                    <a:lnTo>
                      <a:pt x="355" y="725"/>
                    </a:lnTo>
                    <a:lnTo>
                      <a:pt x="357" y="725"/>
                    </a:lnTo>
                    <a:lnTo>
                      <a:pt x="357" y="726"/>
                    </a:lnTo>
                    <a:lnTo>
                      <a:pt x="355" y="725"/>
                    </a:lnTo>
                    <a:lnTo>
                      <a:pt x="355" y="723"/>
                    </a:lnTo>
                    <a:close/>
                    <a:moveTo>
                      <a:pt x="572" y="648"/>
                    </a:moveTo>
                    <a:lnTo>
                      <a:pt x="572" y="646"/>
                    </a:lnTo>
                    <a:lnTo>
                      <a:pt x="572" y="648"/>
                    </a:lnTo>
                    <a:close/>
                    <a:moveTo>
                      <a:pt x="1106" y="340"/>
                    </a:moveTo>
                    <a:lnTo>
                      <a:pt x="1108" y="340"/>
                    </a:lnTo>
                    <a:lnTo>
                      <a:pt x="1106" y="340"/>
                    </a:lnTo>
                    <a:lnTo>
                      <a:pt x="1108" y="340"/>
                    </a:lnTo>
                    <a:lnTo>
                      <a:pt x="1106" y="340"/>
                    </a:lnTo>
                    <a:close/>
                    <a:moveTo>
                      <a:pt x="1102" y="342"/>
                    </a:moveTo>
                    <a:lnTo>
                      <a:pt x="1102" y="344"/>
                    </a:lnTo>
                    <a:lnTo>
                      <a:pt x="1102" y="342"/>
                    </a:lnTo>
                    <a:close/>
                    <a:moveTo>
                      <a:pt x="1160" y="302"/>
                    </a:moveTo>
                    <a:lnTo>
                      <a:pt x="1158" y="302"/>
                    </a:lnTo>
                    <a:lnTo>
                      <a:pt x="1158" y="300"/>
                    </a:lnTo>
                    <a:lnTo>
                      <a:pt x="1158" y="298"/>
                    </a:lnTo>
                    <a:lnTo>
                      <a:pt x="1158" y="300"/>
                    </a:lnTo>
                    <a:lnTo>
                      <a:pt x="1160" y="300"/>
                    </a:lnTo>
                    <a:lnTo>
                      <a:pt x="1160" y="302"/>
                    </a:lnTo>
                    <a:close/>
                    <a:moveTo>
                      <a:pt x="601" y="632"/>
                    </a:moveTo>
                    <a:lnTo>
                      <a:pt x="601" y="634"/>
                    </a:lnTo>
                    <a:lnTo>
                      <a:pt x="599" y="634"/>
                    </a:lnTo>
                    <a:lnTo>
                      <a:pt x="601" y="634"/>
                    </a:lnTo>
                    <a:lnTo>
                      <a:pt x="601" y="632"/>
                    </a:lnTo>
                    <a:lnTo>
                      <a:pt x="599" y="632"/>
                    </a:lnTo>
                    <a:lnTo>
                      <a:pt x="601" y="632"/>
                    </a:lnTo>
                    <a:close/>
                    <a:moveTo>
                      <a:pt x="1120" y="327"/>
                    </a:moveTo>
                    <a:lnTo>
                      <a:pt x="1122" y="329"/>
                    </a:lnTo>
                    <a:lnTo>
                      <a:pt x="1124" y="329"/>
                    </a:lnTo>
                    <a:lnTo>
                      <a:pt x="1125" y="329"/>
                    </a:lnTo>
                    <a:lnTo>
                      <a:pt x="1127" y="329"/>
                    </a:lnTo>
                    <a:lnTo>
                      <a:pt x="1125" y="329"/>
                    </a:lnTo>
                    <a:lnTo>
                      <a:pt x="1124" y="329"/>
                    </a:lnTo>
                    <a:lnTo>
                      <a:pt x="1124" y="330"/>
                    </a:lnTo>
                    <a:lnTo>
                      <a:pt x="1122" y="330"/>
                    </a:lnTo>
                    <a:lnTo>
                      <a:pt x="1124" y="330"/>
                    </a:lnTo>
                    <a:lnTo>
                      <a:pt x="1125" y="330"/>
                    </a:lnTo>
                    <a:lnTo>
                      <a:pt x="1127" y="330"/>
                    </a:lnTo>
                    <a:lnTo>
                      <a:pt x="1129" y="330"/>
                    </a:lnTo>
                    <a:lnTo>
                      <a:pt x="1131" y="330"/>
                    </a:lnTo>
                    <a:lnTo>
                      <a:pt x="1129" y="330"/>
                    </a:lnTo>
                    <a:lnTo>
                      <a:pt x="1127" y="330"/>
                    </a:lnTo>
                    <a:lnTo>
                      <a:pt x="1125" y="330"/>
                    </a:lnTo>
                    <a:lnTo>
                      <a:pt x="1124" y="330"/>
                    </a:lnTo>
                    <a:lnTo>
                      <a:pt x="1122" y="332"/>
                    </a:lnTo>
                    <a:lnTo>
                      <a:pt x="1124" y="332"/>
                    </a:lnTo>
                    <a:lnTo>
                      <a:pt x="1122" y="332"/>
                    </a:lnTo>
                    <a:lnTo>
                      <a:pt x="1120" y="332"/>
                    </a:lnTo>
                    <a:lnTo>
                      <a:pt x="1120" y="334"/>
                    </a:lnTo>
                    <a:lnTo>
                      <a:pt x="1118" y="334"/>
                    </a:lnTo>
                    <a:lnTo>
                      <a:pt x="1118" y="332"/>
                    </a:lnTo>
                    <a:lnTo>
                      <a:pt x="1118" y="330"/>
                    </a:lnTo>
                    <a:lnTo>
                      <a:pt x="1120" y="330"/>
                    </a:lnTo>
                    <a:lnTo>
                      <a:pt x="1120" y="329"/>
                    </a:lnTo>
                    <a:lnTo>
                      <a:pt x="1120" y="327"/>
                    </a:lnTo>
                    <a:close/>
                    <a:moveTo>
                      <a:pt x="1158" y="296"/>
                    </a:moveTo>
                    <a:lnTo>
                      <a:pt x="1160" y="296"/>
                    </a:lnTo>
                    <a:lnTo>
                      <a:pt x="1162" y="296"/>
                    </a:lnTo>
                    <a:lnTo>
                      <a:pt x="1162" y="298"/>
                    </a:lnTo>
                    <a:lnTo>
                      <a:pt x="1160" y="298"/>
                    </a:lnTo>
                    <a:lnTo>
                      <a:pt x="1160" y="300"/>
                    </a:lnTo>
                    <a:lnTo>
                      <a:pt x="1160" y="298"/>
                    </a:lnTo>
                    <a:lnTo>
                      <a:pt x="1158" y="298"/>
                    </a:lnTo>
                    <a:lnTo>
                      <a:pt x="1158" y="296"/>
                    </a:lnTo>
                    <a:close/>
                    <a:moveTo>
                      <a:pt x="597" y="630"/>
                    </a:moveTo>
                    <a:lnTo>
                      <a:pt x="599" y="630"/>
                    </a:lnTo>
                    <a:lnTo>
                      <a:pt x="599" y="632"/>
                    </a:lnTo>
                    <a:lnTo>
                      <a:pt x="597" y="632"/>
                    </a:lnTo>
                    <a:lnTo>
                      <a:pt x="597" y="630"/>
                    </a:lnTo>
                    <a:close/>
                    <a:moveTo>
                      <a:pt x="426" y="696"/>
                    </a:moveTo>
                    <a:lnTo>
                      <a:pt x="428" y="696"/>
                    </a:lnTo>
                    <a:lnTo>
                      <a:pt x="426" y="696"/>
                    </a:lnTo>
                    <a:close/>
                    <a:moveTo>
                      <a:pt x="407" y="701"/>
                    </a:moveTo>
                    <a:lnTo>
                      <a:pt x="409" y="701"/>
                    </a:lnTo>
                    <a:lnTo>
                      <a:pt x="407" y="701"/>
                    </a:lnTo>
                    <a:close/>
                    <a:moveTo>
                      <a:pt x="597" y="630"/>
                    </a:moveTo>
                    <a:lnTo>
                      <a:pt x="595" y="630"/>
                    </a:lnTo>
                    <a:lnTo>
                      <a:pt x="597" y="630"/>
                    </a:lnTo>
                    <a:close/>
                    <a:moveTo>
                      <a:pt x="1104" y="336"/>
                    </a:moveTo>
                    <a:lnTo>
                      <a:pt x="1106" y="336"/>
                    </a:lnTo>
                    <a:lnTo>
                      <a:pt x="1104" y="336"/>
                    </a:lnTo>
                    <a:close/>
                    <a:moveTo>
                      <a:pt x="595" y="630"/>
                    </a:moveTo>
                    <a:lnTo>
                      <a:pt x="593" y="630"/>
                    </a:lnTo>
                    <a:lnTo>
                      <a:pt x="595" y="630"/>
                    </a:lnTo>
                    <a:close/>
                    <a:moveTo>
                      <a:pt x="593" y="630"/>
                    </a:moveTo>
                    <a:lnTo>
                      <a:pt x="595" y="630"/>
                    </a:lnTo>
                    <a:lnTo>
                      <a:pt x="593" y="630"/>
                    </a:lnTo>
                    <a:close/>
                    <a:moveTo>
                      <a:pt x="1100" y="338"/>
                    </a:moveTo>
                    <a:lnTo>
                      <a:pt x="1100" y="336"/>
                    </a:lnTo>
                    <a:lnTo>
                      <a:pt x="1100" y="338"/>
                    </a:lnTo>
                    <a:close/>
                    <a:moveTo>
                      <a:pt x="876" y="488"/>
                    </a:moveTo>
                    <a:lnTo>
                      <a:pt x="874" y="488"/>
                    </a:lnTo>
                    <a:lnTo>
                      <a:pt x="876" y="488"/>
                    </a:lnTo>
                    <a:lnTo>
                      <a:pt x="876" y="486"/>
                    </a:lnTo>
                    <a:lnTo>
                      <a:pt x="876" y="488"/>
                    </a:lnTo>
                    <a:close/>
                    <a:moveTo>
                      <a:pt x="1156" y="292"/>
                    </a:moveTo>
                    <a:lnTo>
                      <a:pt x="1156" y="294"/>
                    </a:lnTo>
                    <a:lnTo>
                      <a:pt x="1156" y="292"/>
                    </a:lnTo>
                    <a:close/>
                    <a:moveTo>
                      <a:pt x="593" y="628"/>
                    </a:moveTo>
                    <a:lnTo>
                      <a:pt x="593" y="630"/>
                    </a:lnTo>
                    <a:lnTo>
                      <a:pt x="593" y="628"/>
                    </a:lnTo>
                    <a:lnTo>
                      <a:pt x="591" y="628"/>
                    </a:lnTo>
                    <a:lnTo>
                      <a:pt x="593" y="628"/>
                    </a:lnTo>
                    <a:close/>
                    <a:moveTo>
                      <a:pt x="591" y="628"/>
                    </a:moveTo>
                    <a:lnTo>
                      <a:pt x="593" y="628"/>
                    </a:lnTo>
                    <a:lnTo>
                      <a:pt x="591" y="628"/>
                    </a:lnTo>
                    <a:close/>
                    <a:moveTo>
                      <a:pt x="1160" y="288"/>
                    </a:moveTo>
                    <a:lnTo>
                      <a:pt x="1158" y="288"/>
                    </a:lnTo>
                    <a:lnTo>
                      <a:pt x="1158" y="290"/>
                    </a:lnTo>
                    <a:lnTo>
                      <a:pt x="1158" y="292"/>
                    </a:lnTo>
                    <a:lnTo>
                      <a:pt x="1156" y="292"/>
                    </a:lnTo>
                    <a:lnTo>
                      <a:pt x="1156" y="290"/>
                    </a:lnTo>
                    <a:lnTo>
                      <a:pt x="1158" y="290"/>
                    </a:lnTo>
                    <a:lnTo>
                      <a:pt x="1158" y="288"/>
                    </a:lnTo>
                    <a:lnTo>
                      <a:pt x="1160" y="288"/>
                    </a:lnTo>
                    <a:close/>
                    <a:moveTo>
                      <a:pt x="1154" y="294"/>
                    </a:moveTo>
                    <a:lnTo>
                      <a:pt x="1154" y="292"/>
                    </a:lnTo>
                    <a:lnTo>
                      <a:pt x="1154" y="290"/>
                    </a:lnTo>
                    <a:lnTo>
                      <a:pt x="1156" y="292"/>
                    </a:lnTo>
                    <a:lnTo>
                      <a:pt x="1154" y="294"/>
                    </a:lnTo>
                    <a:close/>
                    <a:moveTo>
                      <a:pt x="593" y="625"/>
                    </a:moveTo>
                    <a:lnTo>
                      <a:pt x="593" y="627"/>
                    </a:lnTo>
                    <a:lnTo>
                      <a:pt x="593" y="625"/>
                    </a:lnTo>
                    <a:lnTo>
                      <a:pt x="593" y="627"/>
                    </a:lnTo>
                    <a:lnTo>
                      <a:pt x="591" y="627"/>
                    </a:lnTo>
                    <a:lnTo>
                      <a:pt x="591" y="625"/>
                    </a:lnTo>
                    <a:lnTo>
                      <a:pt x="593" y="625"/>
                    </a:lnTo>
                    <a:close/>
                    <a:moveTo>
                      <a:pt x="591" y="625"/>
                    </a:moveTo>
                    <a:lnTo>
                      <a:pt x="591" y="627"/>
                    </a:lnTo>
                    <a:lnTo>
                      <a:pt x="591" y="625"/>
                    </a:lnTo>
                    <a:close/>
                    <a:moveTo>
                      <a:pt x="591" y="625"/>
                    </a:moveTo>
                    <a:lnTo>
                      <a:pt x="591" y="623"/>
                    </a:lnTo>
                    <a:lnTo>
                      <a:pt x="591" y="625"/>
                    </a:lnTo>
                    <a:lnTo>
                      <a:pt x="591" y="623"/>
                    </a:lnTo>
                    <a:lnTo>
                      <a:pt x="591" y="625"/>
                    </a:lnTo>
                    <a:close/>
                    <a:moveTo>
                      <a:pt x="1158" y="284"/>
                    </a:moveTo>
                    <a:lnTo>
                      <a:pt x="1158" y="286"/>
                    </a:lnTo>
                    <a:lnTo>
                      <a:pt x="1158" y="284"/>
                    </a:lnTo>
                    <a:lnTo>
                      <a:pt x="1156" y="282"/>
                    </a:lnTo>
                    <a:lnTo>
                      <a:pt x="1158" y="282"/>
                    </a:lnTo>
                    <a:lnTo>
                      <a:pt x="1158" y="284"/>
                    </a:lnTo>
                    <a:close/>
                    <a:moveTo>
                      <a:pt x="593" y="623"/>
                    </a:moveTo>
                    <a:lnTo>
                      <a:pt x="591" y="623"/>
                    </a:lnTo>
                    <a:lnTo>
                      <a:pt x="593" y="623"/>
                    </a:lnTo>
                    <a:close/>
                    <a:moveTo>
                      <a:pt x="591" y="623"/>
                    </a:moveTo>
                    <a:lnTo>
                      <a:pt x="591" y="621"/>
                    </a:lnTo>
                    <a:lnTo>
                      <a:pt x="591" y="623"/>
                    </a:lnTo>
                    <a:close/>
                    <a:moveTo>
                      <a:pt x="1156" y="284"/>
                    </a:moveTo>
                    <a:lnTo>
                      <a:pt x="1158" y="284"/>
                    </a:lnTo>
                    <a:lnTo>
                      <a:pt x="1158" y="286"/>
                    </a:lnTo>
                    <a:lnTo>
                      <a:pt x="1160" y="286"/>
                    </a:lnTo>
                    <a:lnTo>
                      <a:pt x="1158" y="288"/>
                    </a:lnTo>
                    <a:lnTo>
                      <a:pt x="1158" y="290"/>
                    </a:lnTo>
                    <a:lnTo>
                      <a:pt x="1156" y="290"/>
                    </a:lnTo>
                    <a:lnTo>
                      <a:pt x="1156" y="288"/>
                    </a:lnTo>
                    <a:lnTo>
                      <a:pt x="1156" y="286"/>
                    </a:lnTo>
                    <a:lnTo>
                      <a:pt x="1158" y="286"/>
                    </a:lnTo>
                    <a:lnTo>
                      <a:pt x="1156" y="284"/>
                    </a:lnTo>
                    <a:lnTo>
                      <a:pt x="1154" y="284"/>
                    </a:lnTo>
                    <a:lnTo>
                      <a:pt x="1154" y="282"/>
                    </a:lnTo>
                    <a:lnTo>
                      <a:pt x="1156" y="284"/>
                    </a:lnTo>
                    <a:close/>
                    <a:moveTo>
                      <a:pt x="378" y="700"/>
                    </a:moveTo>
                    <a:lnTo>
                      <a:pt x="378" y="698"/>
                    </a:lnTo>
                    <a:lnTo>
                      <a:pt x="378" y="700"/>
                    </a:lnTo>
                    <a:close/>
                    <a:moveTo>
                      <a:pt x="872" y="477"/>
                    </a:moveTo>
                    <a:lnTo>
                      <a:pt x="874" y="477"/>
                    </a:lnTo>
                    <a:lnTo>
                      <a:pt x="874" y="478"/>
                    </a:lnTo>
                    <a:lnTo>
                      <a:pt x="872" y="478"/>
                    </a:lnTo>
                    <a:lnTo>
                      <a:pt x="872" y="477"/>
                    </a:lnTo>
                    <a:close/>
                    <a:moveTo>
                      <a:pt x="591" y="617"/>
                    </a:moveTo>
                    <a:lnTo>
                      <a:pt x="591" y="619"/>
                    </a:lnTo>
                    <a:lnTo>
                      <a:pt x="591" y="617"/>
                    </a:lnTo>
                    <a:lnTo>
                      <a:pt x="591" y="619"/>
                    </a:lnTo>
                    <a:lnTo>
                      <a:pt x="591" y="617"/>
                    </a:lnTo>
                    <a:close/>
                    <a:moveTo>
                      <a:pt x="1148" y="284"/>
                    </a:moveTo>
                    <a:lnTo>
                      <a:pt x="1147" y="284"/>
                    </a:lnTo>
                    <a:lnTo>
                      <a:pt x="1148" y="284"/>
                    </a:lnTo>
                    <a:close/>
                    <a:moveTo>
                      <a:pt x="870" y="477"/>
                    </a:moveTo>
                    <a:lnTo>
                      <a:pt x="872" y="477"/>
                    </a:lnTo>
                    <a:lnTo>
                      <a:pt x="870" y="477"/>
                    </a:lnTo>
                    <a:lnTo>
                      <a:pt x="870" y="475"/>
                    </a:lnTo>
                    <a:lnTo>
                      <a:pt x="870" y="477"/>
                    </a:lnTo>
                    <a:close/>
                    <a:moveTo>
                      <a:pt x="1148" y="284"/>
                    </a:moveTo>
                    <a:lnTo>
                      <a:pt x="1150" y="284"/>
                    </a:lnTo>
                    <a:lnTo>
                      <a:pt x="1152" y="284"/>
                    </a:lnTo>
                    <a:lnTo>
                      <a:pt x="1152" y="286"/>
                    </a:lnTo>
                    <a:lnTo>
                      <a:pt x="1150" y="286"/>
                    </a:lnTo>
                    <a:lnTo>
                      <a:pt x="1150" y="284"/>
                    </a:lnTo>
                    <a:lnTo>
                      <a:pt x="1148" y="284"/>
                    </a:lnTo>
                    <a:lnTo>
                      <a:pt x="1147" y="284"/>
                    </a:lnTo>
                    <a:lnTo>
                      <a:pt x="1148" y="284"/>
                    </a:lnTo>
                    <a:close/>
                    <a:moveTo>
                      <a:pt x="1147" y="284"/>
                    </a:moveTo>
                    <a:lnTo>
                      <a:pt x="1145" y="284"/>
                    </a:lnTo>
                    <a:lnTo>
                      <a:pt x="1147" y="284"/>
                    </a:lnTo>
                    <a:close/>
                    <a:moveTo>
                      <a:pt x="589" y="617"/>
                    </a:moveTo>
                    <a:lnTo>
                      <a:pt x="589" y="615"/>
                    </a:lnTo>
                    <a:lnTo>
                      <a:pt x="589" y="617"/>
                    </a:lnTo>
                    <a:close/>
                    <a:moveTo>
                      <a:pt x="588" y="613"/>
                    </a:moveTo>
                    <a:lnTo>
                      <a:pt x="588" y="615"/>
                    </a:lnTo>
                    <a:lnTo>
                      <a:pt x="589" y="615"/>
                    </a:lnTo>
                    <a:lnTo>
                      <a:pt x="588" y="615"/>
                    </a:lnTo>
                    <a:lnTo>
                      <a:pt x="589" y="615"/>
                    </a:lnTo>
                    <a:lnTo>
                      <a:pt x="589" y="617"/>
                    </a:lnTo>
                    <a:lnTo>
                      <a:pt x="588" y="615"/>
                    </a:lnTo>
                    <a:lnTo>
                      <a:pt x="588" y="613"/>
                    </a:lnTo>
                    <a:close/>
                    <a:moveTo>
                      <a:pt x="870" y="471"/>
                    </a:moveTo>
                    <a:lnTo>
                      <a:pt x="870" y="473"/>
                    </a:lnTo>
                    <a:lnTo>
                      <a:pt x="870" y="471"/>
                    </a:lnTo>
                    <a:close/>
                    <a:moveTo>
                      <a:pt x="588" y="611"/>
                    </a:moveTo>
                    <a:lnTo>
                      <a:pt x="589" y="611"/>
                    </a:lnTo>
                    <a:lnTo>
                      <a:pt x="588" y="611"/>
                    </a:lnTo>
                    <a:lnTo>
                      <a:pt x="589" y="611"/>
                    </a:lnTo>
                    <a:lnTo>
                      <a:pt x="589" y="613"/>
                    </a:lnTo>
                    <a:lnTo>
                      <a:pt x="588" y="613"/>
                    </a:lnTo>
                    <a:lnTo>
                      <a:pt x="588" y="611"/>
                    </a:lnTo>
                    <a:close/>
                    <a:moveTo>
                      <a:pt x="1139" y="282"/>
                    </a:moveTo>
                    <a:lnTo>
                      <a:pt x="1141" y="282"/>
                    </a:lnTo>
                    <a:lnTo>
                      <a:pt x="1141" y="284"/>
                    </a:lnTo>
                    <a:lnTo>
                      <a:pt x="1143" y="284"/>
                    </a:lnTo>
                    <a:lnTo>
                      <a:pt x="1141" y="286"/>
                    </a:lnTo>
                    <a:lnTo>
                      <a:pt x="1139" y="286"/>
                    </a:lnTo>
                    <a:lnTo>
                      <a:pt x="1139" y="284"/>
                    </a:lnTo>
                    <a:lnTo>
                      <a:pt x="1139" y="282"/>
                    </a:lnTo>
                    <a:close/>
                    <a:moveTo>
                      <a:pt x="588" y="611"/>
                    </a:moveTo>
                    <a:lnTo>
                      <a:pt x="588" y="613"/>
                    </a:lnTo>
                    <a:lnTo>
                      <a:pt x="586" y="611"/>
                    </a:lnTo>
                    <a:lnTo>
                      <a:pt x="586" y="613"/>
                    </a:lnTo>
                    <a:lnTo>
                      <a:pt x="586" y="611"/>
                    </a:lnTo>
                    <a:lnTo>
                      <a:pt x="588" y="611"/>
                    </a:lnTo>
                    <a:close/>
                    <a:moveTo>
                      <a:pt x="1147" y="277"/>
                    </a:moveTo>
                    <a:lnTo>
                      <a:pt x="1147" y="275"/>
                    </a:lnTo>
                    <a:lnTo>
                      <a:pt x="1147" y="277"/>
                    </a:lnTo>
                    <a:close/>
                    <a:moveTo>
                      <a:pt x="588" y="609"/>
                    </a:moveTo>
                    <a:lnTo>
                      <a:pt x="588" y="611"/>
                    </a:lnTo>
                    <a:lnTo>
                      <a:pt x="586" y="611"/>
                    </a:lnTo>
                    <a:lnTo>
                      <a:pt x="586" y="609"/>
                    </a:lnTo>
                    <a:lnTo>
                      <a:pt x="588" y="611"/>
                    </a:lnTo>
                    <a:lnTo>
                      <a:pt x="588" y="609"/>
                    </a:lnTo>
                    <a:close/>
                    <a:moveTo>
                      <a:pt x="586" y="609"/>
                    </a:moveTo>
                    <a:lnTo>
                      <a:pt x="588" y="609"/>
                    </a:lnTo>
                    <a:lnTo>
                      <a:pt x="586" y="611"/>
                    </a:lnTo>
                    <a:lnTo>
                      <a:pt x="586" y="609"/>
                    </a:lnTo>
                    <a:lnTo>
                      <a:pt x="586" y="611"/>
                    </a:lnTo>
                    <a:lnTo>
                      <a:pt x="586" y="609"/>
                    </a:lnTo>
                    <a:close/>
                    <a:moveTo>
                      <a:pt x="588" y="609"/>
                    </a:moveTo>
                    <a:lnTo>
                      <a:pt x="586" y="609"/>
                    </a:lnTo>
                    <a:lnTo>
                      <a:pt x="588" y="609"/>
                    </a:lnTo>
                    <a:close/>
                    <a:moveTo>
                      <a:pt x="1147" y="277"/>
                    </a:moveTo>
                    <a:lnTo>
                      <a:pt x="1145" y="277"/>
                    </a:lnTo>
                    <a:lnTo>
                      <a:pt x="1145" y="275"/>
                    </a:lnTo>
                    <a:lnTo>
                      <a:pt x="1147" y="275"/>
                    </a:lnTo>
                    <a:lnTo>
                      <a:pt x="1147" y="277"/>
                    </a:lnTo>
                    <a:close/>
                    <a:moveTo>
                      <a:pt x="586" y="607"/>
                    </a:moveTo>
                    <a:lnTo>
                      <a:pt x="586" y="609"/>
                    </a:lnTo>
                    <a:lnTo>
                      <a:pt x="586" y="607"/>
                    </a:lnTo>
                    <a:close/>
                    <a:moveTo>
                      <a:pt x="588" y="607"/>
                    </a:moveTo>
                    <a:lnTo>
                      <a:pt x="588" y="609"/>
                    </a:lnTo>
                    <a:lnTo>
                      <a:pt x="586" y="609"/>
                    </a:lnTo>
                    <a:lnTo>
                      <a:pt x="586" y="607"/>
                    </a:lnTo>
                    <a:lnTo>
                      <a:pt x="588" y="607"/>
                    </a:lnTo>
                    <a:lnTo>
                      <a:pt x="586" y="607"/>
                    </a:lnTo>
                    <a:lnTo>
                      <a:pt x="588" y="607"/>
                    </a:lnTo>
                    <a:close/>
                    <a:moveTo>
                      <a:pt x="355" y="692"/>
                    </a:moveTo>
                    <a:lnTo>
                      <a:pt x="355" y="694"/>
                    </a:lnTo>
                    <a:lnTo>
                      <a:pt x="353" y="694"/>
                    </a:lnTo>
                    <a:lnTo>
                      <a:pt x="353" y="692"/>
                    </a:lnTo>
                    <a:lnTo>
                      <a:pt x="355" y="692"/>
                    </a:lnTo>
                    <a:lnTo>
                      <a:pt x="355" y="690"/>
                    </a:lnTo>
                    <a:lnTo>
                      <a:pt x="355" y="692"/>
                    </a:lnTo>
                    <a:close/>
                    <a:moveTo>
                      <a:pt x="870" y="467"/>
                    </a:moveTo>
                    <a:lnTo>
                      <a:pt x="868" y="467"/>
                    </a:lnTo>
                    <a:lnTo>
                      <a:pt x="868" y="465"/>
                    </a:lnTo>
                    <a:lnTo>
                      <a:pt x="866" y="465"/>
                    </a:lnTo>
                    <a:lnTo>
                      <a:pt x="868" y="465"/>
                    </a:lnTo>
                    <a:lnTo>
                      <a:pt x="870" y="465"/>
                    </a:lnTo>
                    <a:lnTo>
                      <a:pt x="870" y="467"/>
                    </a:lnTo>
                    <a:close/>
                    <a:moveTo>
                      <a:pt x="588" y="605"/>
                    </a:moveTo>
                    <a:lnTo>
                      <a:pt x="588" y="607"/>
                    </a:lnTo>
                    <a:lnTo>
                      <a:pt x="586" y="607"/>
                    </a:lnTo>
                    <a:lnTo>
                      <a:pt x="586" y="605"/>
                    </a:lnTo>
                    <a:lnTo>
                      <a:pt x="588" y="605"/>
                    </a:lnTo>
                    <a:close/>
                    <a:moveTo>
                      <a:pt x="1143" y="271"/>
                    </a:moveTo>
                    <a:lnTo>
                      <a:pt x="1143" y="273"/>
                    </a:lnTo>
                    <a:lnTo>
                      <a:pt x="1143" y="271"/>
                    </a:lnTo>
                    <a:close/>
                    <a:moveTo>
                      <a:pt x="1143" y="273"/>
                    </a:moveTo>
                    <a:lnTo>
                      <a:pt x="1141" y="273"/>
                    </a:lnTo>
                    <a:lnTo>
                      <a:pt x="1141" y="271"/>
                    </a:lnTo>
                    <a:lnTo>
                      <a:pt x="1141" y="273"/>
                    </a:lnTo>
                    <a:lnTo>
                      <a:pt x="1143" y="273"/>
                    </a:lnTo>
                    <a:close/>
                    <a:moveTo>
                      <a:pt x="584" y="603"/>
                    </a:moveTo>
                    <a:lnTo>
                      <a:pt x="586" y="603"/>
                    </a:lnTo>
                    <a:lnTo>
                      <a:pt x="586" y="605"/>
                    </a:lnTo>
                    <a:lnTo>
                      <a:pt x="586" y="603"/>
                    </a:lnTo>
                    <a:lnTo>
                      <a:pt x="584" y="603"/>
                    </a:lnTo>
                    <a:close/>
                    <a:moveTo>
                      <a:pt x="1135" y="277"/>
                    </a:moveTo>
                    <a:lnTo>
                      <a:pt x="1135" y="279"/>
                    </a:lnTo>
                    <a:lnTo>
                      <a:pt x="1133" y="277"/>
                    </a:lnTo>
                    <a:lnTo>
                      <a:pt x="1133" y="275"/>
                    </a:lnTo>
                    <a:lnTo>
                      <a:pt x="1133" y="277"/>
                    </a:lnTo>
                    <a:lnTo>
                      <a:pt x="1135" y="277"/>
                    </a:lnTo>
                    <a:close/>
                    <a:moveTo>
                      <a:pt x="1141" y="271"/>
                    </a:moveTo>
                    <a:lnTo>
                      <a:pt x="1141" y="269"/>
                    </a:lnTo>
                    <a:lnTo>
                      <a:pt x="1141" y="271"/>
                    </a:lnTo>
                    <a:close/>
                    <a:moveTo>
                      <a:pt x="584" y="602"/>
                    </a:moveTo>
                    <a:lnTo>
                      <a:pt x="586" y="602"/>
                    </a:lnTo>
                    <a:lnTo>
                      <a:pt x="584" y="602"/>
                    </a:lnTo>
                    <a:lnTo>
                      <a:pt x="584" y="603"/>
                    </a:lnTo>
                    <a:lnTo>
                      <a:pt x="584" y="602"/>
                    </a:lnTo>
                    <a:close/>
                    <a:moveTo>
                      <a:pt x="862" y="463"/>
                    </a:moveTo>
                    <a:lnTo>
                      <a:pt x="860" y="463"/>
                    </a:lnTo>
                    <a:lnTo>
                      <a:pt x="862" y="463"/>
                    </a:lnTo>
                    <a:close/>
                    <a:moveTo>
                      <a:pt x="1133" y="275"/>
                    </a:moveTo>
                    <a:lnTo>
                      <a:pt x="1133" y="277"/>
                    </a:lnTo>
                    <a:lnTo>
                      <a:pt x="1133" y="275"/>
                    </a:lnTo>
                    <a:close/>
                    <a:moveTo>
                      <a:pt x="862" y="463"/>
                    </a:moveTo>
                    <a:lnTo>
                      <a:pt x="860" y="463"/>
                    </a:lnTo>
                    <a:lnTo>
                      <a:pt x="860" y="461"/>
                    </a:lnTo>
                    <a:lnTo>
                      <a:pt x="862" y="461"/>
                    </a:lnTo>
                    <a:lnTo>
                      <a:pt x="862" y="463"/>
                    </a:lnTo>
                    <a:close/>
                    <a:moveTo>
                      <a:pt x="586" y="602"/>
                    </a:moveTo>
                    <a:lnTo>
                      <a:pt x="584" y="602"/>
                    </a:lnTo>
                    <a:lnTo>
                      <a:pt x="586" y="602"/>
                    </a:lnTo>
                    <a:close/>
                    <a:moveTo>
                      <a:pt x="584" y="602"/>
                    </a:moveTo>
                    <a:lnTo>
                      <a:pt x="584" y="600"/>
                    </a:lnTo>
                    <a:lnTo>
                      <a:pt x="584" y="602"/>
                    </a:lnTo>
                    <a:close/>
                    <a:moveTo>
                      <a:pt x="1131" y="273"/>
                    </a:moveTo>
                    <a:lnTo>
                      <a:pt x="1133" y="275"/>
                    </a:lnTo>
                    <a:lnTo>
                      <a:pt x="1133" y="277"/>
                    </a:lnTo>
                    <a:lnTo>
                      <a:pt x="1133" y="275"/>
                    </a:lnTo>
                    <a:lnTo>
                      <a:pt x="1131" y="275"/>
                    </a:lnTo>
                    <a:lnTo>
                      <a:pt x="1131" y="273"/>
                    </a:lnTo>
                    <a:close/>
                    <a:moveTo>
                      <a:pt x="1133" y="275"/>
                    </a:moveTo>
                    <a:lnTo>
                      <a:pt x="1133" y="273"/>
                    </a:lnTo>
                    <a:lnTo>
                      <a:pt x="1131" y="273"/>
                    </a:lnTo>
                    <a:lnTo>
                      <a:pt x="1133" y="273"/>
                    </a:lnTo>
                    <a:lnTo>
                      <a:pt x="1133" y="275"/>
                    </a:lnTo>
                    <a:close/>
                    <a:moveTo>
                      <a:pt x="1141" y="267"/>
                    </a:moveTo>
                    <a:lnTo>
                      <a:pt x="1143" y="267"/>
                    </a:lnTo>
                    <a:lnTo>
                      <a:pt x="1145" y="267"/>
                    </a:lnTo>
                    <a:lnTo>
                      <a:pt x="1145" y="269"/>
                    </a:lnTo>
                    <a:lnTo>
                      <a:pt x="1143" y="269"/>
                    </a:lnTo>
                    <a:lnTo>
                      <a:pt x="1143" y="271"/>
                    </a:lnTo>
                    <a:lnTo>
                      <a:pt x="1143" y="269"/>
                    </a:lnTo>
                    <a:lnTo>
                      <a:pt x="1141" y="269"/>
                    </a:lnTo>
                    <a:lnTo>
                      <a:pt x="1139" y="269"/>
                    </a:lnTo>
                    <a:lnTo>
                      <a:pt x="1139" y="267"/>
                    </a:lnTo>
                    <a:lnTo>
                      <a:pt x="1141" y="267"/>
                    </a:lnTo>
                    <a:close/>
                    <a:moveTo>
                      <a:pt x="1129" y="271"/>
                    </a:moveTo>
                    <a:lnTo>
                      <a:pt x="1131" y="271"/>
                    </a:lnTo>
                    <a:lnTo>
                      <a:pt x="1131" y="273"/>
                    </a:lnTo>
                    <a:lnTo>
                      <a:pt x="1129" y="271"/>
                    </a:lnTo>
                    <a:close/>
                    <a:moveTo>
                      <a:pt x="860" y="455"/>
                    </a:moveTo>
                    <a:lnTo>
                      <a:pt x="862" y="455"/>
                    </a:lnTo>
                    <a:lnTo>
                      <a:pt x="860" y="457"/>
                    </a:lnTo>
                    <a:lnTo>
                      <a:pt x="860" y="455"/>
                    </a:lnTo>
                    <a:close/>
                    <a:moveTo>
                      <a:pt x="860" y="457"/>
                    </a:moveTo>
                    <a:lnTo>
                      <a:pt x="860" y="459"/>
                    </a:lnTo>
                    <a:lnTo>
                      <a:pt x="860" y="457"/>
                    </a:lnTo>
                    <a:close/>
                    <a:moveTo>
                      <a:pt x="1135" y="265"/>
                    </a:moveTo>
                    <a:lnTo>
                      <a:pt x="1135" y="267"/>
                    </a:lnTo>
                    <a:lnTo>
                      <a:pt x="1135" y="265"/>
                    </a:lnTo>
                    <a:close/>
                    <a:moveTo>
                      <a:pt x="1137" y="265"/>
                    </a:moveTo>
                    <a:lnTo>
                      <a:pt x="1137" y="263"/>
                    </a:lnTo>
                    <a:lnTo>
                      <a:pt x="1137" y="265"/>
                    </a:lnTo>
                    <a:close/>
                    <a:moveTo>
                      <a:pt x="864" y="453"/>
                    </a:moveTo>
                    <a:lnTo>
                      <a:pt x="864" y="455"/>
                    </a:lnTo>
                    <a:lnTo>
                      <a:pt x="862" y="455"/>
                    </a:lnTo>
                    <a:lnTo>
                      <a:pt x="860" y="455"/>
                    </a:lnTo>
                    <a:lnTo>
                      <a:pt x="862" y="455"/>
                    </a:lnTo>
                    <a:lnTo>
                      <a:pt x="864" y="455"/>
                    </a:lnTo>
                    <a:lnTo>
                      <a:pt x="864" y="453"/>
                    </a:lnTo>
                    <a:lnTo>
                      <a:pt x="864" y="452"/>
                    </a:lnTo>
                    <a:lnTo>
                      <a:pt x="864" y="453"/>
                    </a:lnTo>
                    <a:close/>
                    <a:moveTo>
                      <a:pt x="1133" y="263"/>
                    </a:moveTo>
                    <a:lnTo>
                      <a:pt x="1133" y="261"/>
                    </a:lnTo>
                    <a:lnTo>
                      <a:pt x="1133" y="263"/>
                    </a:lnTo>
                    <a:close/>
                    <a:moveTo>
                      <a:pt x="1137" y="259"/>
                    </a:moveTo>
                    <a:lnTo>
                      <a:pt x="1139" y="259"/>
                    </a:lnTo>
                    <a:lnTo>
                      <a:pt x="1139" y="261"/>
                    </a:lnTo>
                    <a:lnTo>
                      <a:pt x="1137" y="261"/>
                    </a:lnTo>
                    <a:lnTo>
                      <a:pt x="1137" y="263"/>
                    </a:lnTo>
                    <a:lnTo>
                      <a:pt x="1137" y="261"/>
                    </a:lnTo>
                    <a:lnTo>
                      <a:pt x="1137" y="259"/>
                    </a:lnTo>
                    <a:close/>
                    <a:moveTo>
                      <a:pt x="363" y="675"/>
                    </a:moveTo>
                    <a:lnTo>
                      <a:pt x="361" y="675"/>
                    </a:lnTo>
                    <a:lnTo>
                      <a:pt x="361" y="673"/>
                    </a:lnTo>
                    <a:lnTo>
                      <a:pt x="363" y="673"/>
                    </a:lnTo>
                    <a:lnTo>
                      <a:pt x="363" y="675"/>
                    </a:lnTo>
                    <a:close/>
                    <a:moveTo>
                      <a:pt x="363" y="673"/>
                    </a:moveTo>
                    <a:lnTo>
                      <a:pt x="363" y="675"/>
                    </a:lnTo>
                    <a:lnTo>
                      <a:pt x="363" y="677"/>
                    </a:lnTo>
                    <a:lnTo>
                      <a:pt x="361" y="677"/>
                    </a:lnTo>
                    <a:lnTo>
                      <a:pt x="361" y="675"/>
                    </a:lnTo>
                    <a:lnTo>
                      <a:pt x="363" y="675"/>
                    </a:lnTo>
                    <a:lnTo>
                      <a:pt x="363" y="673"/>
                    </a:lnTo>
                    <a:lnTo>
                      <a:pt x="363" y="671"/>
                    </a:lnTo>
                    <a:lnTo>
                      <a:pt x="363" y="673"/>
                    </a:lnTo>
                    <a:close/>
                    <a:moveTo>
                      <a:pt x="1116" y="275"/>
                    </a:moveTo>
                    <a:lnTo>
                      <a:pt x="1114" y="275"/>
                    </a:lnTo>
                    <a:lnTo>
                      <a:pt x="1116" y="273"/>
                    </a:lnTo>
                    <a:lnTo>
                      <a:pt x="1116" y="275"/>
                    </a:lnTo>
                    <a:close/>
                    <a:moveTo>
                      <a:pt x="1124" y="265"/>
                    </a:moveTo>
                    <a:lnTo>
                      <a:pt x="1125" y="265"/>
                    </a:lnTo>
                    <a:lnTo>
                      <a:pt x="1125" y="267"/>
                    </a:lnTo>
                    <a:lnTo>
                      <a:pt x="1124" y="267"/>
                    </a:lnTo>
                    <a:lnTo>
                      <a:pt x="1124" y="265"/>
                    </a:lnTo>
                    <a:close/>
                    <a:moveTo>
                      <a:pt x="1139" y="255"/>
                    </a:moveTo>
                    <a:lnTo>
                      <a:pt x="1137" y="255"/>
                    </a:lnTo>
                    <a:lnTo>
                      <a:pt x="1137" y="254"/>
                    </a:lnTo>
                    <a:lnTo>
                      <a:pt x="1139" y="254"/>
                    </a:lnTo>
                    <a:lnTo>
                      <a:pt x="1139" y="255"/>
                    </a:lnTo>
                    <a:close/>
                    <a:moveTo>
                      <a:pt x="1141" y="252"/>
                    </a:moveTo>
                    <a:lnTo>
                      <a:pt x="1139" y="254"/>
                    </a:lnTo>
                    <a:lnTo>
                      <a:pt x="1141" y="252"/>
                    </a:lnTo>
                    <a:close/>
                    <a:moveTo>
                      <a:pt x="1127" y="261"/>
                    </a:moveTo>
                    <a:lnTo>
                      <a:pt x="1127" y="263"/>
                    </a:lnTo>
                    <a:lnTo>
                      <a:pt x="1125" y="263"/>
                    </a:lnTo>
                    <a:lnTo>
                      <a:pt x="1127" y="263"/>
                    </a:lnTo>
                    <a:lnTo>
                      <a:pt x="1127" y="261"/>
                    </a:lnTo>
                    <a:close/>
                    <a:moveTo>
                      <a:pt x="1141" y="250"/>
                    </a:moveTo>
                    <a:lnTo>
                      <a:pt x="1143" y="250"/>
                    </a:lnTo>
                    <a:lnTo>
                      <a:pt x="1141" y="252"/>
                    </a:lnTo>
                    <a:lnTo>
                      <a:pt x="1141" y="250"/>
                    </a:lnTo>
                    <a:lnTo>
                      <a:pt x="1143" y="250"/>
                    </a:lnTo>
                    <a:lnTo>
                      <a:pt x="1141" y="250"/>
                    </a:lnTo>
                    <a:close/>
                    <a:moveTo>
                      <a:pt x="858" y="448"/>
                    </a:moveTo>
                    <a:lnTo>
                      <a:pt x="856" y="448"/>
                    </a:lnTo>
                    <a:lnTo>
                      <a:pt x="858" y="448"/>
                    </a:lnTo>
                    <a:close/>
                    <a:moveTo>
                      <a:pt x="361" y="671"/>
                    </a:moveTo>
                    <a:lnTo>
                      <a:pt x="359" y="671"/>
                    </a:lnTo>
                    <a:lnTo>
                      <a:pt x="359" y="669"/>
                    </a:lnTo>
                    <a:lnTo>
                      <a:pt x="361" y="669"/>
                    </a:lnTo>
                    <a:lnTo>
                      <a:pt x="361" y="671"/>
                    </a:lnTo>
                    <a:close/>
                    <a:moveTo>
                      <a:pt x="1129" y="257"/>
                    </a:moveTo>
                    <a:lnTo>
                      <a:pt x="1129" y="259"/>
                    </a:lnTo>
                    <a:lnTo>
                      <a:pt x="1129" y="257"/>
                    </a:lnTo>
                    <a:close/>
                    <a:moveTo>
                      <a:pt x="1124" y="263"/>
                    </a:moveTo>
                    <a:lnTo>
                      <a:pt x="1124" y="265"/>
                    </a:lnTo>
                    <a:lnTo>
                      <a:pt x="1124" y="263"/>
                    </a:lnTo>
                    <a:close/>
                    <a:moveTo>
                      <a:pt x="1127" y="261"/>
                    </a:moveTo>
                    <a:lnTo>
                      <a:pt x="1125" y="261"/>
                    </a:lnTo>
                    <a:lnTo>
                      <a:pt x="1127" y="261"/>
                    </a:lnTo>
                    <a:close/>
                    <a:moveTo>
                      <a:pt x="1139" y="250"/>
                    </a:moveTo>
                    <a:lnTo>
                      <a:pt x="1139" y="252"/>
                    </a:lnTo>
                    <a:lnTo>
                      <a:pt x="1139" y="250"/>
                    </a:lnTo>
                    <a:close/>
                    <a:moveTo>
                      <a:pt x="1141" y="250"/>
                    </a:moveTo>
                    <a:lnTo>
                      <a:pt x="1141" y="248"/>
                    </a:lnTo>
                    <a:lnTo>
                      <a:pt x="1141" y="250"/>
                    </a:lnTo>
                    <a:close/>
                    <a:moveTo>
                      <a:pt x="858" y="446"/>
                    </a:moveTo>
                    <a:lnTo>
                      <a:pt x="858" y="448"/>
                    </a:lnTo>
                    <a:lnTo>
                      <a:pt x="856" y="448"/>
                    </a:lnTo>
                    <a:lnTo>
                      <a:pt x="856" y="446"/>
                    </a:lnTo>
                    <a:lnTo>
                      <a:pt x="858" y="446"/>
                    </a:lnTo>
                    <a:close/>
                    <a:moveTo>
                      <a:pt x="588" y="582"/>
                    </a:moveTo>
                    <a:lnTo>
                      <a:pt x="588" y="584"/>
                    </a:lnTo>
                    <a:lnTo>
                      <a:pt x="588" y="582"/>
                    </a:lnTo>
                    <a:close/>
                    <a:moveTo>
                      <a:pt x="351" y="669"/>
                    </a:moveTo>
                    <a:lnTo>
                      <a:pt x="349" y="669"/>
                    </a:lnTo>
                    <a:lnTo>
                      <a:pt x="351" y="669"/>
                    </a:lnTo>
                    <a:close/>
                    <a:moveTo>
                      <a:pt x="1141" y="248"/>
                    </a:moveTo>
                    <a:lnTo>
                      <a:pt x="1141" y="246"/>
                    </a:lnTo>
                    <a:lnTo>
                      <a:pt x="1141" y="248"/>
                    </a:lnTo>
                    <a:close/>
                    <a:moveTo>
                      <a:pt x="1122" y="261"/>
                    </a:moveTo>
                    <a:lnTo>
                      <a:pt x="1124" y="261"/>
                    </a:lnTo>
                    <a:lnTo>
                      <a:pt x="1124" y="263"/>
                    </a:lnTo>
                    <a:lnTo>
                      <a:pt x="1124" y="265"/>
                    </a:lnTo>
                    <a:lnTo>
                      <a:pt x="1124" y="263"/>
                    </a:lnTo>
                    <a:lnTo>
                      <a:pt x="1122" y="261"/>
                    </a:lnTo>
                    <a:lnTo>
                      <a:pt x="1124" y="263"/>
                    </a:lnTo>
                    <a:lnTo>
                      <a:pt x="1122" y="263"/>
                    </a:lnTo>
                    <a:lnTo>
                      <a:pt x="1122" y="261"/>
                    </a:lnTo>
                    <a:close/>
                    <a:moveTo>
                      <a:pt x="1139" y="248"/>
                    </a:moveTo>
                    <a:lnTo>
                      <a:pt x="1141" y="248"/>
                    </a:lnTo>
                    <a:lnTo>
                      <a:pt x="1139" y="248"/>
                    </a:lnTo>
                    <a:lnTo>
                      <a:pt x="1141" y="248"/>
                    </a:lnTo>
                    <a:lnTo>
                      <a:pt x="1139" y="248"/>
                    </a:lnTo>
                    <a:lnTo>
                      <a:pt x="1141" y="248"/>
                    </a:lnTo>
                    <a:lnTo>
                      <a:pt x="1139" y="248"/>
                    </a:lnTo>
                    <a:lnTo>
                      <a:pt x="1141" y="248"/>
                    </a:lnTo>
                    <a:lnTo>
                      <a:pt x="1139" y="248"/>
                    </a:lnTo>
                    <a:lnTo>
                      <a:pt x="1141" y="248"/>
                    </a:lnTo>
                    <a:lnTo>
                      <a:pt x="1141" y="250"/>
                    </a:lnTo>
                    <a:lnTo>
                      <a:pt x="1139" y="250"/>
                    </a:lnTo>
                    <a:lnTo>
                      <a:pt x="1139" y="248"/>
                    </a:lnTo>
                    <a:close/>
                    <a:moveTo>
                      <a:pt x="1122" y="261"/>
                    </a:moveTo>
                    <a:lnTo>
                      <a:pt x="1122" y="263"/>
                    </a:lnTo>
                    <a:lnTo>
                      <a:pt x="1122" y="261"/>
                    </a:lnTo>
                    <a:close/>
                    <a:moveTo>
                      <a:pt x="858" y="444"/>
                    </a:moveTo>
                    <a:lnTo>
                      <a:pt x="856" y="444"/>
                    </a:lnTo>
                    <a:lnTo>
                      <a:pt x="858" y="444"/>
                    </a:lnTo>
                    <a:lnTo>
                      <a:pt x="856" y="444"/>
                    </a:lnTo>
                    <a:lnTo>
                      <a:pt x="858" y="444"/>
                    </a:lnTo>
                    <a:close/>
                    <a:moveTo>
                      <a:pt x="855" y="446"/>
                    </a:moveTo>
                    <a:lnTo>
                      <a:pt x="855" y="448"/>
                    </a:lnTo>
                    <a:lnTo>
                      <a:pt x="855" y="446"/>
                    </a:lnTo>
                    <a:close/>
                    <a:moveTo>
                      <a:pt x="1127" y="255"/>
                    </a:moveTo>
                    <a:lnTo>
                      <a:pt x="1127" y="257"/>
                    </a:lnTo>
                    <a:lnTo>
                      <a:pt x="1127" y="255"/>
                    </a:lnTo>
                    <a:close/>
                    <a:moveTo>
                      <a:pt x="1122" y="263"/>
                    </a:moveTo>
                    <a:lnTo>
                      <a:pt x="1122" y="261"/>
                    </a:lnTo>
                    <a:lnTo>
                      <a:pt x="1122" y="263"/>
                    </a:lnTo>
                    <a:lnTo>
                      <a:pt x="1124" y="263"/>
                    </a:lnTo>
                    <a:lnTo>
                      <a:pt x="1122" y="263"/>
                    </a:lnTo>
                    <a:lnTo>
                      <a:pt x="1120" y="263"/>
                    </a:lnTo>
                    <a:lnTo>
                      <a:pt x="1120" y="261"/>
                    </a:lnTo>
                    <a:lnTo>
                      <a:pt x="1122" y="263"/>
                    </a:lnTo>
                    <a:close/>
                    <a:moveTo>
                      <a:pt x="1129" y="255"/>
                    </a:moveTo>
                    <a:lnTo>
                      <a:pt x="1127" y="255"/>
                    </a:lnTo>
                    <a:lnTo>
                      <a:pt x="1129" y="255"/>
                    </a:lnTo>
                    <a:close/>
                    <a:moveTo>
                      <a:pt x="1141" y="246"/>
                    </a:moveTo>
                    <a:lnTo>
                      <a:pt x="1139" y="246"/>
                    </a:lnTo>
                    <a:lnTo>
                      <a:pt x="1141" y="246"/>
                    </a:lnTo>
                    <a:close/>
                    <a:moveTo>
                      <a:pt x="586" y="580"/>
                    </a:moveTo>
                    <a:lnTo>
                      <a:pt x="588" y="580"/>
                    </a:lnTo>
                    <a:lnTo>
                      <a:pt x="588" y="582"/>
                    </a:lnTo>
                    <a:lnTo>
                      <a:pt x="588" y="580"/>
                    </a:lnTo>
                    <a:lnTo>
                      <a:pt x="588" y="582"/>
                    </a:lnTo>
                    <a:lnTo>
                      <a:pt x="586" y="582"/>
                    </a:lnTo>
                    <a:lnTo>
                      <a:pt x="586" y="580"/>
                    </a:lnTo>
                    <a:close/>
                    <a:moveTo>
                      <a:pt x="349" y="669"/>
                    </a:moveTo>
                    <a:lnTo>
                      <a:pt x="347" y="669"/>
                    </a:lnTo>
                    <a:lnTo>
                      <a:pt x="349" y="669"/>
                    </a:lnTo>
                    <a:close/>
                    <a:moveTo>
                      <a:pt x="1141" y="246"/>
                    </a:moveTo>
                    <a:lnTo>
                      <a:pt x="1141" y="244"/>
                    </a:lnTo>
                    <a:lnTo>
                      <a:pt x="1141" y="246"/>
                    </a:lnTo>
                    <a:lnTo>
                      <a:pt x="1141" y="244"/>
                    </a:lnTo>
                    <a:lnTo>
                      <a:pt x="1141" y="246"/>
                    </a:lnTo>
                    <a:close/>
                    <a:moveTo>
                      <a:pt x="1122" y="261"/>
                    </a:moveTo>
                    <a:lnTo>
                      <a:pt x="1120" y="261"/>
                    </a:lnTo>
                    <a:lnTo>
                      <a:pt x="1122" y="261"/>
                    </a:lnTo>
                    <a:close/>
                    <a:moveTo>
                      <a:pt x="1127" y="255"/>
                    </a:moveTo>
                    <a:lnTo>
                      <a:pt x="1127" y="257"/>
                    </a:lnTo>
                    <a:lnTo>
                      <a:pt x="1127" y="255"/>
                    </a:lnTo>
                    <a:lnTo>
                      <a:pt x="1125" y="255"/>
                    </a:lnTo>
                    <a:lnTo>
                      <a:pt x="1127" y="255"/>
                    </a:lnTo>
                    <a:close/>
                    <a:moveTo>
                      <a:pt x="1129" y="254"/>
                    </a:moveTo>
                    <a:lnTo>
                      <a:pt x="1131" y="252"/>
                    </a:lnTo>
                    <a:lnTo>
                      <a:pt x="1133" y="254"/>
                    </a:lnTo>
                    <a:lnTo>
                      <a:pt x="1135" y="254"/>
                    </a:lnTo>
                    <a:lnTo>
                      <a:pt x="1135" y="255"/>
                    </a:lnTo>
                    <a:lnTo>
                      <a:pt x="1135" y="257"/>
                    </a:lnTo>
                    <a:lnTo>
                      <a:pt x="1137" y="257"/>
                    </a:lnTo>
                    <a:lnTo>
                      <a:pt x="1135" y="257"/>
                    </a:lnTo>
                    <a:lnTo>
                      <a:pt x="1137" y="257"/>
                    </a:lnTo>
                    <a:lnTo>
                      <a:pt x="1137" y="259"/>
                    </a:lnTo>
                    <a:lnTo>
                      <a:pt x="1137" y="261"/>
                    </a:lnTo>
                    <a:lnTo>
                      <a:pt x="1137" y="263"/>
                    </a:lnTo>
                    <a:lnTo>
                      <a:pt x="1135" y="265"/>
                    </a:lnTo>
                    <a:lnTo>
                      <a:pt x="1133" y="265"/>
                    </a:lnTo>
                    <a:lnTo>
                      <a:pt x="1135" y="263"/>
                    </a:lnTo>
                    <a:lnTo>
                      <a:pt x="1133" y="263"/>
                    </a:lnTo>
                    <a:lnTo>
                      <a:pt x="1135" y="263"/>
                    </a:lnTo>
                    <a:lnTo>
                      <a:pt x="1135" y="261"/>
                    </a:lnTo>
                    <a:lnTo>
                      <a:pt x="1133" y="261"/>
                    </a:lnTo>
                    <a:lnTo>
                      <a:pt x="1133" y="259"/>
                    </a:lnTo>
                    <a:lnTo>
                      <a:pt x="1131" y="259"/>
                    </a:lnTo>
                    <a:lnTo>
                      <a:pt x="1131" y="257"/>
                    </a:lnTo>
                    <a:lnTo>
                      <a:pt x="1129" y="257"/>
                    </a:lnTo>
                    <a:lnTo>
                      <a:pt x="1129" y="255"/>
                    </a:lnTo>
                    <a:lnTo>
                      <a:pt x="1129" y="254"/>
                    </a:lnTo>
                    <a:close/>
                    <a:moveTo>
                      <a:pt x="1127" y="254"/>
                    </a:moveTo>
                    <a:lnTo>
                      <a:pt x="1127" y="255"/>
                    </a:lnTo>
                    <a:lnTo>
                      <a:pt x="1127" y="254"/>
                    </a:lnTo>
                    <a:close/>
                    <a:moveTo>
                      <a:pt x="1133" y="250"/>
                    </a:moveTo>
                    <a:lnTo>
                      <a:pt x="1133" y="252"/>
                    </a:lnTo>
                    <a:lnTo>
                      <a:pt x="1131" y="252"/>
                    </a:lnTo>
                    <a:lnTo>
                      <a:pt x="1133" y="252"/>
                    </a:lnTo>
                    <a:lnTo>
                      <a:pt x="1131" y="252"/>
                    </a:lnTo>
                    <a:lnTo>
                      <a:pt x="1133" y="250"/>
                    </a:lnTo>
                    <a:close/>
                    <a:moveTo>
                      <a:pt x="1122" y="261"/>
                    </a:moveTo>
                    <a:lnTo>
                      <a:pt x="1120" y="261"/>
                    </a:lnTo>
                    <a:lnTo>
                      <a:pt x="1120" y="259"/>
                    </a:lnTo>
                    <a:lnTo>
                      <a:pt x="1122" y="259"/>
                    </a:lnTo>
                    <a:lnTo>
                      <a:pt x="1122" y="261"/>
                    </a:lnTo>
                    <a:close/>
                    <a:moveTo>
                      <a:pt x="361" y="663"/>
                    </a:moveTo>
                    <a:lnTo>
                      <a:pt x="361" y="665"/>
                    </a:lnTo>
                    <a:lnTo>
                      <a:pt x="361" y="667"/>
                    </a:lnTo>
                    <a:lnTo>
                      <a:pt x="361" y="669"/>
                    </a:lnTo>
                    <a:lnTo>
                      <a:pt x="359" y="669"/>
                    </a:lnTo>
                    <a:lnTo>
                      <a:pt x="359" y="667"/>
                    </a:lnTo>
                    <a:lnTo>
                      <a:pt x="361" y="665"/>
                    </a:lnTo>
                    <a:lnTo>
                      <a:pt x="361" y="663"/>
                    </a:lnTo>
                    <a:close/>
                    <a:moveTo>
                      <a:pt x="1133" y="250"/>
                    </a:moveTo>
                    <a:lnTo>
                      <a:pt x="1133" y="252"/>
                    </a:lnTo>
                    <a:lnTo>
                      <a:pt x="1135" y="252"/>
                    </a:lnTo>
                    <a:lnTo>
                      <a:pt x="1133" y="252"/>
                    </a:lnTo>
                    <a:lnTo>
                      <a:pt x="1133" y="250"/>
                    </a:lnTo>
                    <a:close/>
                    <a:moveTo>
                      <a:pt x="1118" y="263"/>
                    </a:moveTo>
                    <a:lnTo>
                      <a:pt x="1118" y="261"/>
                    </a:lnTo>
                    <a:lnTo>
                      <a:pt x="1118" y="263"/>
                    </a:lnTo>
                    <a:close/>
                    <a:moveTo>
                      <a:pt x="1118" y="261"/>
                    </a:moveTo>
                    <a:lnTo>
                      <a:pt x="1120" y="261"/>
                    </a:lnTo>
                    <a:lnTo>
                      <a:pt x="1120" y="263"/>
                    </a:lnTo>
                    <a:lnTo>
                      <a:pt x="1118" y="261"/>
                    </a:lnTo>
                    <a:close/>
                    <a:moveTo>
                      <a:pt x="1131" y="250"/>
                    </a:moveTo>
                    <a:lnTo>
                      <a:pt x="1131" y="252"/>
                    </a:lnTo>
                    <a:lnTo>
                      <a:pt x="1131" y="250"/>
                    </a:lnTo>
                    <a:close/>
                    <a:moveTo>
                      <a:pt x="1133" y="248"/>
                    </a:moveTo>
                    <a:lnTo>
                      <a:pt x="1135" y="248"/>
                    </a:lnTo>
                    <a:lnTo>
                      <a:pt x="1135" y="250"/>
                    </a:lnTo>
                    <a:lnTo>
                      <a:pt x="1135" y="252"/>
                    </a:lnTo>
                    <a:lnTo>
                      <a:pt x="1133" y="250"/>
                    </a:lnTo>
                    <a:lnTo>
                      <a:pt x="1133" y="248"/>
                    </a:lnTo>
                    <a:close/>
                    <a:moveTo>
                      <a:pt x="1122" y="257"/>
                    </a:moveTo>
                    <a:lnTo>
                      <a:pt x="1122" y="259"/>
                    </a:lnTo>
                    <a:lnTo>
                      <a:pt x="1122" y="257"/>
                    </a:lnTo>
                    <a:close/>
                    <a:moveTo>
                      <a:pt x="588" y="578"/>
                    </a:moveTo>
                    <a:lnTo>
                      <a:pt x="588" y="580"/>
                    </a:lnTo>
                    <a:lnTo>
                      <a:pt x="586" y="580"/>
                    </a:lnTo>
                    <a:lnTo>
                      <a:pt x="586" y="578"/>
                    </a:lnTo>
                    <a:lnTo>
                      <a:pt x="588" y="578"/>
                    </a:lnTo>
                    <a:close/>
                    <a:moveTo>
                      <a:pt x="1116" y="261"/>
                    </a:moveTo>
                    <a:lnTo>
                      <a:pt x="1118" y="261"/>
                    </a:lnTo>
                    <a:lnTo>
                      <a:pt x="1118" y="263"/>
                    </a:lnTo>
                    <a:lnTo>
                      <a:pt x="1116" y="263"/>
                    </a:lnTo>
                    <a:lnTo>
                      <a:pt x="1118" y="263"/>
                    </a:lnTo>
                    <a:lnTo>
                      <a:pt x="1116" y="263"/>
                    </a:lnTo>
                    <a:lnTo>
                      <a:pt x="1116" y="261"/>
                    </a:lnTo>
                    <a:close/>
                    <a:moveTo>
                      <a:pt x="1135" y="248"/>
                    </a:moveTo>
                    <a:lnTo>
                      <a:pt x="1135" y="246"/>
                    </a:lnTo>
                    <a:lnTo>
                      <a:pt x="1135" y="248"/>
                    </a:lnTo>
                    <a:close/>
                    <a:moveTo>
                      <a:pt x="1122" y="259"/>
                    </a:moveTo>
                    <a:lnTo>
                      <a:pt x="1120" y="259"/>
                    </a:lnTo>
                    <a:lnTo>
                      <a:pt x="1120" y="257"/>
                    </a:lnTo>
                    <a:lnTo>
                      <a:pt x="1122" y="259"/>
                    </a:lnTo>
                    <a:close/>
                    <a:moveTo>
                      <a:pt x="363" y="663"/>
                    </a:moveTo>
                    <a:lnTo>
                      <a:pt x="363" y="661"/>
                    </a:lnTo>
                    <a:lnTo>
                      <a:pt x="363" y="663"/>
                    </a:lnTo>
                    <a:close/>
                    <a:moveTo>
                      <a:pt x="1137" y="246"/>
                    </a:moveTo>
                    <a:lnTo>
                      <a:pt x="1135" y="246"/>
                    </a:lnTo>
                    <a:lnTo>
                      <a:pt x="1137" y="246"/>
                    </a:lnTo>
                    <a:close/>
                    <a:moveTo>
                      <a:pt x="1135" y="246"/>
                    </a:moveTo>
                    <a:lnTo>
                      <a:pt x="1135" y="248"/>
                    </a:lnTo>
                    <a:lnTo>
                      <a:pt x="1137" y="248"/>
                    </a:lnTo>
                    <a:lnTo>
                      <a:pt x="1137" y="250"/>
                    </a:lnTo>
                    <a:lnTo>
                      <a:pt x="1139" y="250"/>
                    </a:lnTo>
                    <a:lnTo>
                      <a:pt x="1139" y="252"/>
                    </a:lnTo>
                    <a:lnTo>
                      <a:pt x="1137" y="252"/>
                    </a:lnTo>
                    <a:lnTo>
                      <a:pt x="1137" y="254"/>
                    </a:lnTo>
                    <a:lnTo>
                      <a:pt x="1135" y="254"/>
                    </a:lnTo>
                    <a:lnTo>
                      <a:pt x="1135" y="252"/>
                    </a:lnTo>
                    <a:lnTo>
                      <a:pt x="1135" y="250"/>
                    </a:lnTo>
                    <a:lnTo>
                      <a:pt x="1135" y="248"/>
                    </a:lnTo>
                    <a:lnTo>
                      <a:pt x="1135" y="250"/>
                    </a:lnTo>
                    <a:lnTo>
                      <a:pt x="1135" y="248"/>
                    </a:lnTo>
                    <a:lnTo>
                      <a:pt x="1133" y="248"/>
                    </a:lnTo>
                    <a:lnTo>
                      <a:pt x="1135" y="246"/>
                    </a:lnTo>
                    <a:close/>
                    <a:moveTo>
                      <a:pt x="1118" y="259"/>
                    </a:moveTo>
                    <a:lnTo>
                      <a:pt x="1116" y="259"/>
                    </a:lnTo>
                    <a:lnTo>
                      <a:pt x="1118" y="259"/>
                    </a:lnTo>
                    <a:close/>
                    <a:moveTo>
                      <a:pt x="588" y="577"/>
                    </a:moveTo>
                    <a:lnTo>
                      <a:pt x="588" y="578"/>
                    </a:lnTo>
                    <a:lnTo>
                      <a:pt x="588" y="577"/>
                    </a:lnTo>
                    <a:close/>
                    <a:moveTo>
                      <a:pt x="1118" y="257"/>
                    </a:moveTo>
                    <a:lnTo>
                      <a:pt x="1120" y="257"/>
                    </a:lnTo>
                    <a:lnTo>
                      <a:pt x="1120" y="259"/>
                    </a:lnTo>
                    <a:lnTo>
                      <a:pt x="1118" y="259"/>
                    </a:lnTo>
                    <a:lnTo>
                      <a:pt x="1116" y="259"/>
                    </a:lnTo>
                    <a:lnTo>
                      <a:pt x="1118" y="259"/>
                    </a:lnTo>
                    <a:lnTo>
                      <a:pt x="1118" y="257"/>
                    </a:lnTo>
                    <a:lnTo>
                      <a:pt x="1118" y="259"/>
                    </a:lnTo>
                    <a:lnTo>
                      <a:pt x="1118" y="257"/>
                    </a:lnTo>
                    <a:close/>
                    <a:moveTo>
                      <a:pt x="365" y="659"/>
                    </a:moveTo>
                    <a:lnTo>
                      <a:pt x="363" y="659"/>
                    </a:lnTo>
                    <a:lnTo>
                      <a:pt x="365" y="659"/>
                    </a:lnTo>
                    <a:close/>
                    <a:moveTo>
                      <a:pt x="586" y="575"/>
                    </a:moveTo>
                    <a:lnTo>
                      <a:pt x="588" y="575"/>
                    </a:lnTo>
                    <a:lnTo>
                      <a:pt x="588" y="577"/>
                    </a:lnTo>
                    <a:lnTo>
                      <a:pt x="586" y="578"/>
                    </a:lnTo>
                    <a:lnTo>
                      <a:pt x="588" y="578"/>
                    </a:lnTo>
                    <a:lnTo>
                      <a:pt x="586" y="578"/>
                    </a:lnTo>
                    <a:lnTo>
                      <a:pt x="586" y="577"/>
                    </a:lnTo>
                    <a:lnTo>
                      <a:pt x="586" y="575"/>
                    </a:lnTo>
                    <a:close/>
                    <a:moveTo>
                      <a:pt x="853" y="440"/>
                    </a:moveTo>
                    <a:lnTo>
                      <a:pt x="851" y="440"/>
                    </a:lnTo>
                    <a:lnTo>
                      <a:pt x="851" y="438"/>
                    </a:lnTo>
                    <a:lnTo>
                      <a:pt x="851" y="440"/>
                    </a:lnTo>
                    <a:lnTo>
                      <a:pt x="853" y="440"/>
                    </a:lnTo>
                    <a:close/>
                    <a:moveTo>
                      <a:pt x="1099" y="269"/>
                    </a:moveTo>
                    <a:lnTo>
                      <a:pt x="1100" y="269"/>
                    </a:lnTo>
                    <a:lnTo>
                      <a:pt x="1099" y="269"/>
                    </a:lnTo>
                    <a:close/>
                    <a:moveTo>
                      <a:pt x="1097" y="269"/>
                    </a:moveTo>
                    <a:lnTo>
                      <a:pt x="1099" y="269"/>
                    </a:lnTo>
                    <a:lnTo>
                      <a:pt x="1097" y="269"/>
                    </a:lnTo>
                    <a:close/>
                    <a:moveTo>
                      <a:pt x="365" y="653"/>
                    </a:moveTo>
                    <a:lnTo>
                      <a:pt x="365" y="652"/>
                    </a:lnTo>
                    <a:lnTo>
                      <a:pt x="365" y="653"/>
                    </a:lnTo>
                    <a:close/>
                    <a:moveTo>
                      <a:pt x="588" y="565"/>
                    </a:moveTo>
                    <a:lnTo>
                      <a:pt x="588" y="567"/>
                    </a:lnTo>
                    <a:lnTo>
                      <a:pt x="588" y="565"/>
                    </a:lnTo>
                    <a:close/>
                    <a:moveTo>
                      <a:pt x="847" y="432"/>
                    </a:moveTo>
                    <a:lnTo>
                      <a:pt x="847" y="430"/>
                    </a:lnTo>
                    <a:lnTo>
                      <a:pt x="847" y="432"/>
                    </a:lnTo>
                    <a:close/>
                    <a:moveTo>
                      <a:pt x="588" y="563"/>
                    </a:moveTo>
                    <a:lnTo>
                      <a:pt x="588" y="565"/>
                    </a:lnTo>
                    <a:lnTo>
                      <a:pt x="588" y="563"/>
                    </a:lnTo>
                    <a:close/>
                    <a:moveTo>
                      <a:pt x="1087" y="269"/>
                    </a:moveTo>
                    <a:lnTo>
                      <a:pt x="1085" y="269"/>
                    </a:lnTo>
                    <a:lnTo>
                      <a:pt x="1085" y="267"/>
                    </a:lnTo>
                    <a:lnTo>
                      <a:pt x="1085" y="269"/>
                    </a:lnTo>
                    <a:lnTo>
                      <a:pt x="1087" y="269"/>
                    </a:lnTo>
                    <a:close/>
                    <a:moveTo>
                      <a:pt x="845" y="429"/>
                    </a:moveTo>
                    <a:lnTo>
                      <a:pt x="845" y="427"/>
                    </a:lnTo>
                    <a:lnTo>
                      <a:pt x="845" y="429"/>
                    </a:lnTo>
                    <a:close/>
                    <a:moveTo>
                      <a:pt x="845" y="427"/>
                    </a:moveTo>
                    <a:lnTo>
                      <a:pt x="845" y="425"/>
                    </a:lnTo>
                    <a:lnTo>
                      <a:pt x="845" y="427"/>
                    </a:lnTo>
                    <a:close/>
                    <a:moveTo>
                      <a:pt x="368" y="640"/>
                    </a:moveTo>
                    <a:lnTo>
                      <a:pt x="370" y="638"/>
                    </a:lnTo>
                    <a:lnTo>
                      <a:pt x="370" y="640"/>
                    </a:lnTo>
                    <a:lnTo>
                      <a:pt x="368" y="640"/>
                    </a:lnTo>
                    <a:close/>
                    <a:moveTo>
                      <a:pt x="593" y="555"/>
                    </a:moveTo>
                    <a:lnTo>
                      <a:pt x="593" y="553"/>
                    </a:lnTo>
                    <a:lnTo>
                      <a:pt x="593" y="555"/>
                    </a:lnTo>
                    <a:close/>
                    <a:moveTo>
                      <a:pt x="368" y="638"/>
                    </a:moveTo>
                    <a:lnTo>
                      <a:pt x="368" y="640"/>
                    </a:lnTo>
                    <a:lnTo>
                      <a:pt x="368" y="638"/>
                    </a:lnTo>
                    <a:lnTo>
                      <a:pt x="368" y="640"/>
                    </a:lnTo>
                    <a:lnTo>
                      <a:pt x="367" y="640"/>
                    </a:lnTo>
                    <a:lnTo>
                      <a:pt x="368" y="640"/>
                    </a:lnTo>
                    <a:lnTo>
                      <a:pt x="368" y="638"/>
                    </a:lnTo>
                    <a:close/>
                    <a:moveTo>
                      <a:pt x="591" y="555"/>
                    </a:moveTo>
                    <a:lnTo>
                      <a:pt x="591" y="553"/>
                    </a:lnTo>
                    <a:lnTo>
                      <a:pt x="593" y="555"/>
                    </a:lnTo>
                    <a:lnTo>
                      <a:pt x="591" y="555"/>
                    </a:lnTo>
                    <a:close/>
                    <a:moveTo>
                      <a:pt x="365" y="640"/>
                    </a:moveTo>
                    <a:lnTo>
                      <a:pt x="365" y="642"/>
                    </a:lnTo>
                    <a:lnTo>
                      <a:pt x="365" y="640"/>
                    </a:lnTo>
                    <a:lnTo>
                      <a:pt x="367" y="640"/>
                    </a:lnTo>
                    <a:lnTo>
                      <a:pt x="367" y="642"/>
                    </a:lnTo>
                    <a:lnTo>
                      <a:pt x="365" y="642"/>
                    </a:lnTo>
                    <a:lnTo>
                      <a:pt x="365" y="644"/>
                    </a:lnTo>
                    <a:lnTo>
                      <a:pt x="363" y="644"/>
                    </a:lnTo>
                    <a:lnTo>
                      <a:pt x="361" y="644"/>
                    </a:lnTo>
                    <a:lnTo>
                      <a:pt x="361" y="642"/>
                    </a:lnTo>
                    <a:lnTo>
                      <a:pt x="363" y="642"/>
                    </a:lnTo>
                    <a:lnTo>
                      <a:pt x="363" y="640"/>
                    </a:lnTo>
                    <a:lnTo>
                      <a:pt x="365" y="640"/>
                    </a:lnTo>
                    <a:close/>
                    <a:moveTo>
                      <a:pt x="370" y="638"/>
                    </a:moveTo>
                    <a:lnTo>
                      <a:pt x="370" y="640"/>
                    </a:lnTo>
                    <a:lnTo>
                      <a:pt x="370" y="638"/>
                    </a:lnTo>
                    <a:close/>
                    <a:moveTo>
                      <a:pt x="1074" y="269"/>
                    </a:moveTo>
                    <a:lnTo>
                      <a:pt x="1074" y="271"/>
                    </a:lnTo>
                    <a:lnTo>
                      <a:pt x="1074" y="269"/>
                    </a:lnTo>
                    <a:lnTo>
                      <a:pt x="1074" y="271"/>
                    </a:lnTo>
                    <a:lnTo>
                      <a:pt x="1074" y="269"/>
                    </a:lnTo>
                    <a:lnTo>
                      <a:pt x="1074" y="271"/>
                    </a:lnTo>
                    <a:lnTo>
                      <a:pt x="1072" y="271"/>
                    </a:lnTo>
                    <a:lnTo>
                      <a:pt x="1074" y="271"/>
                    </a:lnTo>
                    <a:lnTo>
                      <a:pt x="1072" y="271"/>
                    </a:lnTo>
                    <a:lnTo>
                      <a:pt x="1072" y="269"/>
                    </a:lnTo>
                    <a:lnTo>
                      <a:pt x="1074" y="269"/>
                    </a:lnTo>
                    <a:close/>
                    <a:moveTo>
                      <a:pt x="845" y="423"/>
                    </a:moveTo>
                    <a:lnTo>
                      <a:pt x="845" y="425"/>
                    </a:lnTo>
                    <a:lnTo>
                      <a:pt x="845" y="423"/>
                    </a:lnTo>
                    <a:lnTo>
                      <a:pt x="843" y="423"/>
                    </a:lnTo>
                    <a:lnTo>
                      <a:pt x="845" y="423"/>
                    </a:lnTo>
                    <a:close/>
                    <a:moveTo>
                      <a:pt x="584" y="555"/>
                    </a:moveTo>
                    <a:lnTo>
                      <a:pt x="586" y="555"/>
                    </a:lnTo>
                    <a:lnTo>
                      <a:pt x="584" y="555"/>
                    </a:lnTo>
                    <a:close/>
                    <a:moveTo>
                      <a:pt x="526" y="580"/>
                    </a:moveTo>
                    <a:lnTo>
                      <a:pt x="526" y="578"/>
                    </a:lnTo>
                    <a:lnTo>
                      <a:pt x="526" y="580"/>
                    </a:lnTo>
                    <a:close/>
                    <a:moveTo>
                      <a:pt x="586" y="553"/>
                    </a:moveTo>
                    <a:lnTo>
                      <a:pt x="586" y="555"/>
                    </a:lnTo>
                    <a:lnTo>
                      <a:pt x="584" y="555"/>
                    </a:lnTo>
                    <a:lnTo>
                      <a:pt x="586" y="555"/>
                    </a:lnTo>
                    <a:lnTo>
                      <a:pt x="584" y="555"/>
                    </a:lnTo>
                    <a:lnTo>
                      <a:pt x="584" y="553"/>
                    </a:lnTo>
                    <a:lnTo>
                      <a:pt x="586" y="553"/>
                    </a:lnTo>
                    <a:lnTo>
                      <a:pt x="584" y="553"/>
                    </a:lnTo>
                    <a:lnTo>
                      <a:pt x="586" y="553"/>
                    </a:lnTo>
                    <a:close/>
                    <a:moveTo>
                      <a:pt x="376" y="632"/>
                    </a:moveTo>
                    <a:lnTo>
                      <a:pt x="376" y="630"/>
                    </a:lnTo>
                    <a:lnTo>
                      <a:pt x="378" y="630"/>
                    </a:lnTo>
                    <a:lnTo>
                      <a:pt x="378" y="632"/>
                    </a:lnTo>
                    <a:lnTo>
                      <a:pt x="376" y="632"/>
                    </a:lnTo>
                    <a:close/>
                    <a:moveTo>
                      <a:pt x="372" y="636"/>
                    </a:moveTo>
                    <a:lnTo>
                      <a:pt x="372" y="634"/>
                    </a:lnTo>
                    <a:lnTo>
                      <a:pt x="374" y="634"/>
                    </a:lnTo>
                    <a:lnTo>
                      <a:pt x="374" y="636"/>
                    </a:lnTo>
                    <a:lnTo>
                      <a:pt x="372" y="636"/>
                    </a:lnTo>
                    <a:lnTo>
                      <a:pt x="372" y="638"/>
                    </a:lnTo>
                    <a:lnTo>
                      <a:pt x="370" y="638"/>
                    </a:lnTo>
                    <a:lnTo>
                      <a:pt x="370" y="640"/>
                    </a:lnTo>
                    <a:lnTo>
                      <a:pt x="370" y="638"/>
                    </a:lnTo>
                    <a:lnTo>
                      <a:pt x="370" y="636"/>
                    </a:lnTo>
                    <a:lnTo>
                      <a:pt x="372" y="636"/>
                    </a:lnTo>
                    <a:lnTo>
                      <a:pt x="372" y="634"/>
                    </a:lnTo>
                    <a:lnTo>
                      <a:pt x="372" y="632"/>
                    </a:lnTo>
                    <a:lnTo>
                      <a:pt x="374" y="632"/>
                    </a:lnTo>
                    <a:lnTo>
                      <a:pt x="372" y="634"/>
                    </a:lnTo>
                    <a:lnTo>
                      <a:pt x="372" y="636"/>
                    </a:lnTo>
                    <a:close/>
                    <a:moveTo>
                      <a:pt x="837" y="421"/>
                    </a:moveTo>
                    <a:lnTo>
                      <a:pt x="835" y="423"/>
                    </a:lnTo>
                    <a:lnTo>
                      <a:pt x="833" y="423"/>
                    </a:lnTo>
                    <a:lnTo>
                      <a:pt x="835" y="421"/>
                    </a:lnTo>
                    <a:lnTo>
                      <a:pt x="837" y="421"/>
                    </a:lnTo>
                    <a:close/>
                    <a:moveTo>
                      <a:pt x="580" y="550"/>
                    </a:moveTo>
                    <a:lnTo>
                      <a:pt x="582" y="550"/>
                    </a:lnTo>
                    <a:lnTo>
                      <a:pt x="580" y="550"/>
                    </a:lnTo>
                    <a:close/>
                    <a:moveTo>
                      <a:pt x="580" y="550"/>
                    </a:moveTo>
                    <a:lnTo>
                      <a:pt x="578" y="550"/>
                    </a:lnTo>
                    <a:lnTo>
                      <a:pt x="580" y="550"/>
                    </a:lnTo>
                    <a:close/>
                    <a:moveTo>
                      <a:pt x="576" y="550"/>
                    </a:moveTo>
                    <a:lnTo>
                      <a:pt x="578" y="550"/>
                    </a:lnTo>
                    <a:lnTo>
                      <a:pt x="576" y="550"/>
                    </a:lnTo>
                    <a:lnTo>
                      <a:pt x="578" y="550"/>
                    </a:lnTo>
                    <a:lnTo>
                      <a:pt x="576" y="550"/>
                    </a:lnTo>
                    <a:close/>
                    <a:moveTo>
                      <a:pt x="378" y="625"/>
                    </a:moveTo>
                    <a:lnTo>
                      <a:pt x="378" y="623"/>
                    </a:lnTo>
                    <a:lnTo>
                      <a:pt x="378" y="625"/>
                    </a:lnTo>
                    <a:lnTo>
                      <a:pt x="378" y="627"/>
                    </a:lnTo>
                    <a:lnTo>
                      <a:pt x="378" y="625"/>
                    </a:lnTo>
                    <a:lnTo>
                      <a:pt x="380" y="625"/>
                    </a:lnTo>
                    <a:lnTo>
                      <a:pt x="380" y="627"/>
                    </a:lnTo>
                    <a:lnTo>
                      <a:pt x="380" y="628"/>
                    </a:lnTo>
                    <a:lnTo>
                      <a:pt x="378" y="630"/>
                    </a:lnTo>
                    <a:lnTo>
                      <a:pt x="376" y="630"/>
                    </a:lnTo>
                    <a:lnTo>
                      <a:pt x="378" y="630"/>
                    </a:lnTo>
                    <a:lnTo>
                      <a:pt x="376" y="630"/>
                    </a:lnTo>
                    <a:lnTo>
                      <a:pt x="378" y="630"/>
                    </a:lnTo>
                    <a:lnTo>
                      <a:pt x="378" y="628"/>
                    </a:lnTo>
                    <a:lnTo>
                      <a:pt x="378" y="627"/>
                    </a:lnTo>
                    <a:lnTo>
                      <a:pt x="378" y="625"/>
                    </a:lnTo>
                    <a:lnTo>
                      <a:pt x="378" y="623"/>
                    </a:lnTo>
                    <a:lnTo>
                      <a:pt x="378" y="625"/>
                    </a:lnTo>
                    <a:close/>
                    <a:moveTo>
                      <a:pt x="576" y="548"/>
                    </a:moveTo>
                    <a:lnTo>
                      <a:pt x="576" y="550"/>
                    </a:lnTo>
                    <a:lnTo>
                      <a:pt x="576" y="548"/>
                    </a:lnTo>
                    <a:close/>
                    <a:moveTo>
                      <a:pt x="835" y="417"/>
                    </a:moveTo>
                    <a:lnTo>
                      <a:pt x="835" y="415"/>
                    </a:lnTo>
                    <a:lnTo>
                      <a:pt x="835" y="417"/>
                    </a:lnTo>
                    <a:close/>
                    <a:moveTo>
                      <a:pt x="833" y="417"/>
                    </a:moveTo>
                    <a:lnTo>
                      <a:pt x="835" y="415"/>
                    </a:lnTo>
                    <a:lnTo>
                      <a:pt x="835" y="417"/>
                    </a:lnTo>
                    <a:lnTo>
                      <a:pt x="833" y="417"/>
                    </a:lnTo>
                    <a:close/>
                    <a:moveTo>
                      <a:pt x="833" y="413"/>
                    </a:moveTo>
                    <a:lnTo>
                      <a:pt x="833" y="415"/>
                    </a:lnTo>
                    <a:lnTo>
                      <a:pt x="833" y="413"/>
                    </a:lnTo>
                    <a:close/>
                    <a:moveTo>
                      <a:pt x="833" y="413"/>
                    </a:moveTo>
                    <a:lnTo>
                      <a:pt x="833" y="411"/>
                    </a:lnTo>
                    <a:lnTo>
                      <a:pt x="833" y="413"/>
                    </a:lnTo>
                    <a:close/>
                    <a:moveTo>
                      <a:pt x="578" y="542"/>
                    </a:moveTo>
                    <a:lnTo>
                      <a:pt x="576" y="542"/>
                    </a:lnTo>
                    <a:lnTo>
                      <a:pt x="578" y="542"/>
                    </a:lnTo>
                    <a:close/>
                    <a:moveTo>
                      <a:pt x="376" y="617"/>
                    </a:moveTo>
                    <a:lnTo>
                      <a:pt x="378" y="617"/>
                    </a:lnTo>
                    <a:lnTo>
                      <a:pt x="376" y="617"/>
                    </a:lnTo>
                    <a:close/>
                    <a:moveTo>
                      <a:pt x="833" y="411"/>
                    </a:moveTo>
                    <a:lnTo>
                      <a:pt x="831" y="411"/>
                    </a:lnTo>
                    <a:lnTo>
                      <a:pt x="833" y="411"/>
                    </a:lnTo>
                    <a:close/>
                    <a:moveTo>
                      <a:pt x="380" y="617"/>
                    </a:moveTo>
                    <a:lnTo>
                      <a:pt x="378" y="617"/>
                    </a:lnTo>
                    <a:lnTo>
                      <a:pt x="376" y="617"/>
                    </a:lnTo>
                    <a:lnTo>
                      <a:pt x="376" y="615"/>
                    </a:lnTo>
                    <a:lnTo>
                      <a:pt x="378" y="615"/>
                    </a:lnTo>
                    <a:lnTo>
                      <a:pt x="378" y="617"/>
                    </a:lnTo>
                    <a:lnTo>
                      <a:pt x="380" y="617"/>
                    </a:lnTo>
                    <a:close/>
                    <a:moveTo>
                      <a:pt x="368" y="617"/>
                    </a:moveTo>
                    <a:lnTo>
                      <a:pt x="370" y="617"/>
                    </a:lnTo>
                    <a:lnTo>
                      <a:pt x="368" y="617"/>
                    </a:lnTo>
                    <a:close/>
                    <a:moveTo>
                      <a:pt x="528" y="559"/>
                    </a:moveTo>
                    <a:lnTo>
                      <a:pt x="526" y="559"/>
                    </a:lnTo>
                    <a:lnTo>
                      <a:pt x="526" y="557"/>
                    </a:lnTo>
                    <a:lnTo>
                      <a:pt x="528" y="557"/>
                    </a:lnTo>
                    <a:lnTo>
                      <a:pt x="528" y="559"/>
                    </a:lnTo>
                    <a:close/>
                    <a:moveTo>
                      <a:pt x="368" y="615"/>
                    </a:moveTo>
                    <a:lnTo>
                      <a:pt x="370" y="615"/>
                    </a:lnTo>
                    <a:lnTo>
                      <a:pt x="368" y="615"/>
                    </a:lnTo>
                    <a:lnTo>
                      <a:pt x="368" y="617"/>
                    </a:lnTo>
                    <a:lnTo>
                      <a:pt x="368" y="615"/>
                    </a:lnTo>
                    <a:close/>
                    <a:moveTo>
                      <a:pt x="831" y="405"/>
                    </a:moveTo>
                    <a:lnTo>
                      <a:pt x="831" y="404"/>
                    </a:lnTo>
                    <a:lnTo>
                      <a:pt x="831" y="405"/>
                    </a:lnTo>
                    <a:close/>
                    <a:moveTo>
                      <a:pt x="368" y="613"/>
                    </a:moveTo>
                    <a:lnTo>
                      <a:pt x="367" y="613"/>
                    </a:lnTo>
                    <a:lnTo>
                      <a:pt x="368" y="613"/>
                    </a:lnTo>
                    <a:close/>
                    <a:moveTo>
                      <a:pt x="526" y="553"/>
                    </a:moveTo>
                    <a:lnTo>
                      <a:pt x="524" y="553"/>
                    </a:lnTo>
                    <a:lnTo>
                      <a:pt x="526" y="553"/>
                    </a:lnTo>
                    <a:lnTo>
                      <a:pt x="526" y="552"/>
                    </a:lnTo>
                    <a:lnTo>
                      <a:pt x="526" y="553"/>
                    </a:lnTo>
                    <a:close/>
                    <a:moveTo>
                      <a:pt x="833" y="400"/>
                    </a:moveTo>
                    <a:lnTo>
                      <a:pt x="831" y="398"/>
                    </a:lnTo>
                    <a:lnTo>
                      <a:pt x="833" y="398"/>
                    </a:lnTo>
                    <a:lnTo>
                      <a:pt x="833" y="400"/>
                    </a:lnTo>
                    <a:close/>
                    <a:moveTo>
                      <a:pt x="380" y="603"/>
                    </a:moveTo>
                    <a:lnTo>
                      <a:pt x="382" y="603"/>
                    </a:lnTo>
                    <a:lnTo>
                      <a:pt x="380" y="603"/>
                    </a:lnTo>
                    <a:lnTo>
                      <a:pt x="378" y="603"/>
                    </a:lnTo>
                    <a:lnTo>
                      <a:pt x="380" y="603"/>
                    </a:lnTo>
                    <a:close/>
                    <a:moveTo>
                      <a:pt x="831" y="398"/>
                    </a:moveTo>
                    <a:lnTo>
                      <a:pt x="831" y="400"/>
                    </a:lnTo>
                    <a:lnTo>
                      <a:pt x="833" y="400"/>
                    </a:lnTo>
                    <a:lnTo>
                      <a:pt x="831" y="400"/>
                    </a:lnTo>
                    <a:lnTo>
                      <a:pt x="831" y="402"/>
                    </a:lnTo>
                    <a:lnTo>
                      <a:pt x="831" y="404"/>
                    </a:lnTo>
                    <a:lnTo>
                      <a:pt x="831" y="405"/>
                    </a:lnTo>
                    <a:lnTo>
                      <a:pt x="833" y="405"/>
                    </a:lnTo>
                    <a:lnTo>
                      <a:pt x="833" y="407"/>
                    </a:lnTo>
                    <a:lnTo>
                      <a:pt x="831" y="407"/>
                    </a:lnTo>
                    <a:lnTo>
                      <a:pt x="831" y="409"/>
                    </a:lnTo>
                    <a:lnTo>
                      <a:pt x="830" y="407"/>
                    </a:lnTo>
                    <a:lnTo>
                      <a:pt x="830" y="405"/>
                    </a:lnTo>
                    <a:lnTo>
                      <a:pt x="828" y="405"/>
                    </a:lnTo>
                    <a:lnTo>
                      <a:pt x="828" y="404"/>
                    </a:lnTo>
                    <a:lnTo>
                      <a:pt x="828" y="402"/>
                    </a:lnTo>
                    <a:lnTo>
                      <a:pt x="828" y="400"/>
                    </a:lnTo>
                    <a:lnTo>
                      <a:pt x="826" y="400"/>
                    </a:lnTo>
                    <a:lnTo>
                      <a:pt x="828" y="400"/>
                    </a:lnTo>
                    <a:lnTo>
                      <a:pt x="830" y="400"/>
                    </a:lnTo>
                    <a:lnTo>
                      <a:pt x="830" y="398"/>
                    </a:lnTo>
                    <a:lnTo>
                      <a:pt x="831" y="398"/>
                    </a:lnTo>
                    <a:lnTo>
                      <a:pt x="831" y="396"/>
                    </a:lnTo>
                    <a:lnTo>
                      <a:pt x="831" y="398"/>
                    </a:lnTo>
                    <a:close/>
                    <a:moveTo>
                      <a:pt x="382" y="602"/>
                    </a:moveTo>
                    <a:lnTo>
                      <a:pt x="384" y="602"/>
                    </a:lnTo>
                    <a:lnTo>
                      <a:pt x="386" y="602"/>
                    </a:lnTo>
                    <a:lnTo>
                      <a:pt x="384" y="602"/>
                    </a:lnTo>
                    <a:lnTo>
                      <a:pt x="382" y="602"/>
                    </a:lnTo>
                    <a:close/>
                    <a:moveTo>
                      <a:pt x="286" y="630"/>
                    </a:moveTo>
                    <a:lnTo>
                      <a:pt x="286" y="628"/>
                    </a:lnTo>
                    <a:lnTo>
                      <a:pt x="286" y="630"/>
                    </a:lnTo>
                    <a:close/>
                    <a:moveTo>
                      <a:pt x="830" y="396"/>
                    </a:moveTo>
                    <a:lnTo>
                      <a:pt x="828" y="396"/>
                    </a:lnTo>
                    <a:lnTo>
                      <a:pt x="830" y="396"/>
                    </a:lnTo>
                    <a:lnTo>
                      <a:pt x="830" y="394"/>
                    </a:lnTo>
                    <a:lnTo>
                      <a:pt x="830" y="396"/>
                    </a:lnTo>
                    <a:close/>
                    <a:moveTo>
                      <a:pt x="831" y="392"/>
                    </a:moveTo>
                    <a:lnTo>
                      <a:pt x="833" y="392"/>
                    </a:lnTo>
                    <a:lnTo>
                      <a:pt x="835" y="392"/>
                    </a:lnTo>
                    <a:lnTo>
                      <a:pt x="835" y="394"/>
                    </a:lnTo>
                    <a:lnTo>
                      <a:pt x="833" y="394"/>
                    </a:lnTo>
                    <a:lnTo>
                      <a:pt x="833" y="396"/>
                    </a:lnTo>
                    <a:lnTo>
                      <a:pt x="831" y="396"/>
                    </a:lnTo>
                    <a:lnTo>
                      <a:pt x="830" y="396"/>
                    </a:lnTo>
                    <a:lnTo>
                      <a:pt x="830" y="398"/>
                    </a:lnTo>
                    <a:lnTo>
                      <a:pt x="828" y="398"/>
                    </a:lnTo>
                    <a:lnTo>
                      <a:pt x="826" y="398"/>
                    </a:lnTo>
                    <a:lnTo>
                      <a:pt x="828" y="396"/>
                    </a:lnTo>
                    <a:lnTo>
                      <a:pt x="830" y="396"/>
                    </a:lnTo>
                    <a:lnTo>
                      <a:pt x="830" y="394"/>
                    </a:lnTo>
                    <a:lnTo>
                      <a:pt x="831" y="392"/>
                    </a:lnTo>
                    <a:close/>
                    <a:moveTo>
                      <a:pt x="839" y="386"/>
                    </a:moveTo>
                    <a:lnTo>
                      <a:pt x="837" y="386"/>
                    </a:lnTo>
                    <a:lnTo>
                      <a:pt x="839" y="386"/>
                    </a:lnTo>
                    <a:close/>
                    <a:moveTo>
                      <a:pt x="837" y="386"/>
                    </a:moveTo>
                    <a:lnTo>
                      <a:pt x="835" y="386"/>
                    </a:lnTo>
                    <a:lnTo>
                      <a:pt x="833" y="388"/>
                    </a:lnTo>
                    <a:lnTo>
                      <a:pt x="833" y="386"/>
                    </a:lnTo>
                    <a:lnTo>
                      <a:pt x="835" y="386"/>
                    </a:lnTo>
                    <a:lnTo>
                      <a:pt x="837" y="386"/>
                    </a:lnTo>
                    <a:close/>
                    <a:moveTo>
                      <a:pt x="835" y="386"/>
                    </a:moveTo>
                    <a:lnTo>
                      <a:pt x="833" y="386"/>
                    </a:lnTo>
                    <a:lnTo>
                      <a:pt x="835" y="386"/>
                    </a:lnTo>
                    <a:close/>
                    <a:moveTo>
                      <a:pt x="843" y="380"/>
                    </a:moveTo>
                    <a:lnTo>
                      <a:pt x="843" y="382"/>
                    </a:lnTo>
                    <a:lnTo>
                      <a:pt x="843" y="380"/>
                    </a:lnTo>
                    <a:close/>
                    <a:moveTo>
                      <a:pt x="395" y="590"/>
                    </a:moveTo>
                    <a:lnTo>
                      <a:pt x="397" y="590"/>
                    </a:lnTo>
                    <a:lnTo>
                      <a:pt x="395" y="590"/>
                    </a:lnTo>
                    <a:close/>
                    <a:moveTo>
                      <a:pt x="1108" y="194"/>
                    </a:moveTo>
                    <a:lnTo>
                      <a:pt x="1110" y="194"/>
                    </a:lnTo>
                    <a:lnTo>
                      <a:pt x="1110" y="192"/>
                    </a:lnTo>
                    <a:lnTo>
                      <a:pt x="1110" y="194"/>
                    </a:lnTo>
                    <a:lnTo>
                      <a:pt x="1108" y="194"/>
                    </a:lnTo>
                    <a:lnTo>
                      <a:pt x="1108" y="196"/>
                    </a:lnTo>
                    <a:lnTo>
                      <a:pt x="1106" y="196"/>
                    </a:lnTo>
                    <a:lnTo>
                      <a:pt x="1104" y="196"/>
                    </a:lnTo>
                    <a:lnTo>
                      <a:pt x="1106" y="196"/>
                    </a:lnTo>
                    <a:lnTo>
                      <a:pt x="1108" y="194"/>
                    </a:lnTo>
                    <a:lnTo>
                      <a:pt x="1106" y="194"/>
                    </a:lnTo>
                    <a:lnTo>
                      <a:pt x="1108" y="194"/>
                    </a:lnTo>
                    <a:close/>
                    <a:moveTo>
                      <a:pt x="570" y="521"/>
                    </a:moveTo>
                    <a:lnTo>
                      <a:pt x="570" y="523"/>
                    </a:lnTo>
                    <a:lnTo>
                      <a:pt x="568" y="523"/>
                    </a:lnTo>
                    <a:lnTo>
                      <a:pt x="570" y="523"/>
                    </a:lnTo>
                    <a:lnTo>
                      <a:pt x="570" y="521"/>
                    </a:lnTo>
                    <a:close/>
                    <a:moveTo>
                      <a:pt x="847" y="379"/>
                    </a:moveTo>
                    <a:lnTo>
                      <a:pt x="845" y="379"/>
                    </a:lnTo>
                    <a:lnTo>
                      <a:pt x="847" y="379"/>
                    </a:lnTo>
                    <a:close/>
                    <a:moveTo>
                      <a:pt x="570" y="521"/>
                    </a:moveTo>
                    <a:lnTo>
                      <a:pt x="570" y="523"/>
                    </a:lnTo>
                    <a:lnTo>
                      <a:pt x="570" y="521"/>
                    </a:lnTo>
                    <a:close/>
                    <a:moveTo>
                      <a:pt x="1095" y="204"/>
                    </a:moveTo>
                    <a:lnTo>
                      <a:pt x="1093" y="204"/>
                    </a:lnTo>
                    <a:lnTo>
                      <a:pt x="1093" y="202"/>
                    </a:lnTo>
                    <a:lnTo>
                      <a:pt x="1095" y="204"/>
                    </a:lnTo>
                    <a:close/>
                    <a:moveTo>
                      <a:pt x="1029" y="252"/>
                    </a:moveTo>
                    <a:lnTo>
                      <a:pt x="1029" y="254"/>
                    </a:lnTo>
                    <a:lnTo>
                      <a:pt x="1029" y="252"/>
                    </a:lnTo>
                    <a:close/>
                    <a:moveTo>
                      <a:pt x="530" y="538"/>
                    </a:moveTo>
                    <a:lnTo>
                      <a:pt x="530" y="536"/>
                    </a:lnTo>
                    <a:lnTo>
                      <a:pt x="530" y="538"/>
                    </a:lnTo>
                    <a:close/>
                    <a:moveTo>
                      <a:pt x="576" y="515"/>
                    </a:moveTo>
                    <a:lnTo>
                      <a:pt x="578" y="515"/>
                    </a:lnTo>
                    <a:lnTo>
                      <a:pt x="580" y="515"/>
                    </a:lnTo>
                    <a:lnTo>
                      <a:pt x="578" y="517"/>
                    </a:lnTo>
                    <a:lnTo>
                      <a:pt x="580" y="517"/>
                    </a:lnTo>
                    <a:lnTo>
                      <a:pt x="578" y="517"/>
                    </a:lnTo>
                    <a:lnTo>
                      <a:pt x="578" y="519"/>
                    </a:lnTo>
                    <a:lnTo>
                      <a:pt x="576" y="517"/>
                    </a:lnTo>
                    <a:lnTo>
                      <a:pt x="576" y="519"/>
                    </a:lnTo>
                    <a:lnTo>
                      <a:pt x="574" y="519"/>
                    </a:lnTo>
                    <a:lnTo>
                      <a:pt x="572" y="517"/>
                    </a:lnTo>
                    <a:lnTo>
                      <a:pt x="574" y="517"/>
                    </a:lnTo>
                    <a:lnTo>
                      <a:pt x="574" y="515"/>
                    </a:lnTo>
                    <a:lnTo>
                      <a:pt x="574" y="517"/>
                    </a:lnTo>
                    <a:lnTo>
                      <a:pt x="574" y="515"/>
                    </a:lnTo>
                    <a:lnTo>
                      <a:pt x="574" y="517"/>
                    </a:lnTo>
                    <a:lnTo>
                      <a:pt x="576" y="515"/>
                    </a:lnTo>
                    <a:close/>
                    <a:moveTo>
                      <a:pt x="574" y="515"/>
                    </a:moveTo>
                    <a:lnTo>
                      <a:pt x="576" y="515"/>
                    </a:lnTo>
                    <a:lnTo>
                      <a:pt x="574" y="515"/>
                    </a:lnTo>
                    <a:close/>
                    <a:moveTo>
                      <a:pt x="845" y="373"/>
                    </a:moveTo>
                    <a:lnTo>
                      <a:pt x="845" y="375"/>
                    </a:lnTo>
                    <a:lnTo>
                      <a:pt x="845" y="373"/>
                    </a:lnTo>
                    <a:lnTo>
                      <a:pt x="845" y="371"/>
                    </a:lnTo>
                    <a:lnTo>
                      <a:pt x="845" y="373"/>
                    </a:lnTo>
                    <a:close/>
                    <a:moveTo>
                      <a:pt x="845" y="369"/>
                    </a:moveTo>
                    <a:lnTo>
                      <a:pt x="845" y="371"/>
                    </a:lnTo>
                    <a:lnTo>
                      <a:pt x="845" y="369"/>
                    </a:lnTo>
                    <a:lnTo>
                      <a:pt x="847" y="367"/>
                    </a:lnTo>
                    <a:lnTo>
                      <a:pt x="847" y="369"/>
                    </a:lnTo>
                    <a:lnTo>
                      <a:pt x="845" y="369"/>
                    </a:lnTo>
                    <a:close/>
                    <a:moveTo>
                      <a:pt x="1089" y="198"/>
                    </a:moveTo>
                    <a:lnTo>
                      <a:pt x="1091" y="198"/>
                    </a:lnTo>
                    <a:lnTo>
                      <a:pt x="1089" y="198"/>
                    </a:lnTo>
                    <a:lnTo>
                      <a:pt x="1089" y="200"/>
                    </a:lnTo>
                    <a:lnTo>
                      <a:pt x="1091" y="200"/>
                    </a:lnTo>
                    <a:lnTo>
                      <a:pt x="1093" y="200"/>
                    </a:lnTo>
                    <a:lnTo>
                      <a:pt x="1093" y="202"/>
                    </a:lnTo>
                    <a:lnTo>
                      <a:pt x="1093" y="200"/>
                    </a:lnTo>
                    <a:lnTo>
                      <a:pt x="1093" y="202"/>
                    </a:lnTo>
                    <a:lnTo>
                      <a:pt x="1091" y="202"/>
                    </a:lnTo>
                    <a:lnTo>
                      <a:pt x="1091" y="200"/>
                    </a:lnTo>
                    <a:lnTo>
                      <a:pt x="1089" y="200"/>
                    </a:lnTo>
                    <a:lnTo>
                      <a:pt x="1087" y="202"/>
                    </a:lnTo>
                    <a:lnTo>
                      <a:pt x="1087" y="200"/>
                    </a:lnTo>
                    <a:lnTo>
                      <a:pt x="1085" y="200"/>
                    </a:lnTo>
                    <a:lnTo>
                      <a:pt x="1087" y="200"/>
                    </a:lnTo>
                    <a:lnTo>
                      <a:pt x="1087" y="198"/>
                    </a:lnTo>
                    <a:lnTo>
                      <a:pt x="1087" y="200"/>
                    </a:lnTo>
                    <a:lnTo>
                      <a:pt x="1087" y="198"/>
                    </a:lnTo>
                    <a:lnTo>
                      <a:pt x="1089" y="198"/>
                    </a:lnTo>
                    <a:close/>
                    <a:moveTo>
                      <a:pt x="929" y="313"/>
                    </a:moveTo>
                    <a:lnTo>
                      <a:pt x="928" y="313"/>
                    </a:lnTo>
                    <a:lnTo>
                      <a:pt x="929" y="313"/>
                    </a:lnTo>
                    <a:lnTo>
                      <a:pt x="928" y="313"/>
                    </a:lnTo>
                    <a:lnTo>
                      <a:pt x="929" y="313"/>
                    </a:lnTo>
                    <a:close/>
                    <a:moveTo>
                      <a:pt x="586" y="503"/>
                    </a:moveTo>
                    <a:lnTo>
                      <a:pt x="586" y="505"/>
                    </a:lnTo>
                    <a:lnTo>
                      <a:pt x="586" y="503"/>
                    </a:lnTo>
                    <a:close/>
                    <a:moveTo>
                      <a:pt x="933" y="307"/>
                    </a:moveTo>
                    <a:lnTo>
                      <a:pt x="933" y="309"/>
                    </a:lnTo>
                    <a:lnTo>
                      <a:pt x="933" y="307"/>
                    </a:lnTo>
                    <a:close/>
                    <a:moveTo>
                      <a:pt x="855" y="359"/>
                    </a:moveTo>
                    <a:lnTo>
                      <a:pt x="855" y="357"/>
                    </a:lnTo>
                    <a:lnTo>
                      <a:pt x="855" y="359"/>
                    </a:lnTo>
                    <a:close/>
                    <a:moveTo>
                      <a:pt x="847" y="363"/>
                    </a:moveTo>
                    <a:lnTo>
                      <a:pt x="845" y="363"/>
                    </a:lnTo>
                    <a:lnTo>
                      <a:pt x="847" y="363"/>
                    </a:lnTo>
                    <a:close/>
                    <a:moveTo>
                      <a:pt x="445" y="555"/>
                    </a:moveTo>
                    <a:lnTo>
                      <a:pt x="445" y="557"/>
                    </a:lnTo>
                    <a:lnTo>
                      <a:pt x="445" y="555"/>
                    </a:lnTo>
                    <a:close/>
                    <a:moveTo>
                      <a:pt x="1064" y="209"/>
                    </a:moveTo>
                    <a:lnTo>
                      <a:pt x="1066" y="209"/>
                    </a:lnTo>
                    <a:lnTo>
                      <a:pt x="1068" y="209"/>
                    </a:lnTo>
                    <a:lnTo>
                      <a:pt x="1070" y="209"/>
                    </a:lnTo>
                    <a:lnTo>
                      <a:pt x="1072" y="209"/>
                    </a:lnTo>
                    <a:lnTo>
                      <a:pt x="1072" y="211"/>
                    </a:lnTo>
                    <a:lnTo>
                      <a:pt x="1070" y="213"/>
                    </a:lnTo>
                    <a:lnTo>
                      <a:pt x="1068" y="213"/>
                    </a:lnTo>
                    <a:lnTo>
                      <a:pt x="1068" y="215"/>
                    </a:lnTo>
                    <a:lnTo>
                      <a:pt x="1068" y="213"/>
                    </a:lnTo>
                    <a:lnTo>
                      <a:pt x="1066" y="213"/>
                    </a:lnTo>
                    <a:lnTo>
                      <a:pt x="1068" y="213"/>
                    </a:lnTo>
                    <a:lnTo>
                      <a:pt x="1068" y="211"/>
                    </a:lnTo>
                    <a:lnTo>
                      <a:pt x="1066" y="211"/>
                    </a:lnTo>
                    <a:lnTo>
                      <a:pt x="1066" y="209"/>
                    </a:lnTo>
                    <a:lnTo>
                      <a:pt x="1064" y="211"/>
                    </a:lnTo>
                    <a:lnTo>
                      <a:pt x="1062" y="211"/>
                    </a:lnTo>
                    <a:lnTo>
                      <a:pt x="1064" y="209"/>
                    </a:lnTo>
                    <a:close/>
                    <a:moveTo>
                      <a:pt x="908" y="321"/>
                    </a:moveTo>
                    <a:lnTo>
                      <a:pt x="908" y="323"/>
                    </a:lnTo>
                    <a:lnTo>
                      <a:pt x="908" y="321"/>
                    </a:lnTo>
                    <a:close/>
                    <a:moveTo>
                      <a:pt x="864" y="352"/>
                    </a:moveTo>
                    <a:lnTo>
                      <a:pt x="862" y="352"/>
                    </a:lnTo>
                    <a:lnTo>
                      <a:pt x="864" y="352"/>
                    </a:lnTo>
                    <a:close/>
                    <a:moveTo>
                      <a:pt x="1083" y="196"/>
                    </a:moveTo>
                    <a:lnTo>
                      <a:pt x="1085" y="196"/>
                    </a:lnTo>
                    <a:lnTo>
                      <a:pt x="1083" y="196"/>
                    </a:lnTo>
                    <a:lnTo>
                      <a:pt x="1083" y="198"/>
                    </a:lnTo>
                    <a:lnTo>
                      <a:pt x="1081" y="198"/>
                    </a:lnTo>
                    <a:lnTo>
                      <a:pt x="1081" y="196"/>
                    </a:lnTo>
                    <a:lnTo>
                      <a:pt x="1079" y="196"/>
                    </a:lnTo>
                    <a:lnTo>
                      <a:pt x="1081" y="196"/>
                    </a:lnTo>
                    <a:lnTo>
                      <a:pt x="1081" y="194"/>
                    </a:lnTo>
                    <a:lnTo>
                      <a:pt x="1081" y="196"/>
                    </a:lnTo>
                    <a:lnTo>
                      <a:pt x="1083" y="196"/>
                    </a:lnTo>
                    <a:close/>
                    <a:moveTo>
                      <a:pt x="856" y="354"/>
                    </a:moveTo>
                    <a:lnTo>
                      <a:pt x="856" y="352"/>
                    </a:lnTo>
                    <a:lnTo>
                      <a:pt x="856" y="354"/>
                    </a:lnTo>
                    <a:close/>
                    <a:moveTo>
                      <a:pt x="895" y="327"/>
                    </a:moveTo>
                    <a:lnTo>
                      <a:pt x="897" y="327"/>
                    </a:lnTo>
                    <a:lnTo>
                      <a:pt x="895" y="327"/>
                    </a:lnTo>
                    <a:lnTo>
                      <a:pt x="895" y="329"/>
                    </a:lnTo>
                    <a:lnTo>
                      <a:pt x="893" y="329"/>
                    </a:lnTo>
                    <a:lnTo>
                      <a:pt x="893" y="327"/>
                    </a:lnTo>
                    <a:lnTo>
                      <a:pt x="895" y="327"/>
                    </a:lnTo>
                    <a:close/>
                    <a:moveTo>
                      <a:pt x="847" y="355"/>
                    </a:moveTo>
                    <a:lnTo>
                      <a:pt x="845" y="357"/>
                    </a:lnTo>
                    <a:lnTo>
                      <a:pt x="845" y="355"/>
                    </a:lnTo>
                    <a:lnTo>
                      <a:pt x="847" y="355"/>
                    </a:lnTo>
                    <a:close/>
                    <a:moveTo>
                      <a:pt x="584" y="494"/>
                    </a:moveTo>
                    <a:lnTo>
                      <a:pt x="584" y="496"/>
                    </a:lnTo>
                    <a:lnTo>
                      <a:pt x="582" y="496"/>
                    </a:lnTo>
                    <a:lnTo>
                      <a:pt x="582" y="494"/>
                    </a:lnTo>
                    <a:lnTo>
                      <a:pt x="584" y="496"/>
                    </a:lnTo>
                    <a:lnTo>
                      <a:pt x="582" y="494"/>
                    </a:lnTo>
                    <a:lnTo>
                      <a:pt x="584" y="494"/>
                    </a:lnTo>
                    <a:close/>
                    <a:moveTo>
                      <a:pt x="282" y="603"/>
                    </a:moveTo>
                    <a:lnTo>
                      <a:pt x="284" y="603"/>
                    </a:lnTo>
                    <a:lnTo>
                      <a:pt x="282" y="603"/>
                    </a:lnTo>
                    <a:close/>
                    <a:moveTo>
                      <a:pt x="449" y="546"/>
                    </a:moveTo>
                    <a:lnTo>
                      <a:pt x="449" y="548"/>
                    </a:lnTo>
                    <a:lnTo>
                      <a:pt x="447" y="548"/>
                    </a:lnTo>
                    <a:lnTo>
                      <a:pt x="447" y="546"/>
                    </a:lnTo>
                    <a:lnTo>
                      <a:pt x="449" y="546"/>
                    </a:lnTo>
                    <a:close/>
                    <a:moveTo>
                      <a:pt x="447" y="546"/>
                    </a:moveTo>
                    <a:lnTo>
                      <a:pt x="447" y="548"/>
                    </a:lnTo>
                    <a:lnTo>
                      <a:pt x="445" y="548"/>
                    </a:lnTo>
                    <a:lnTo>
                      <a:pt x="445" y="546"/>
                    </a:lnTo>
                    <a:lnTo>
                      <a:pt x="447" y="546"/>
                    </a:lnTo>
                    <a:close/>
                    <a:moveTo>
                      <a:pt x="891" y="323"/>
                    </a:moveTo>
                    <a:lnTo>
                      <a:pt x="893" y="323"/>
                    </a:lnTo>
                    <a:lnTo>
                      <a:pt x="891" y="323"/>
                    </a:lnTo>
                    <a:lnTo>
                      <a:pt x="893" y="323"/>
                    </a:lnTo>
                    <a:lnTo>
                      <a:pt x="891" y="323"/>
                    </a:lnTo>
                    <a:close/>
                    <a:moveTo>
                      <a:pt x="449" y="544"/>
                    </a:moveTo>
                    <a:lnTo>
                      <a:pt x="449" y="546"/>
                    </a:lnTo>
                    <a:lnTo>
                      <a:pt x="449" y="544"/>
                    </a:lnTo>
                    <a:lnTo>
                      <a:pt x="451" y="546"/>
                    </a:lnTo>
                    <a:lnTo>
                      <a:pt x="451" y="544"/>
                    </a:lnTo>
                    <a:lnTo>
                      <a:pt x="451" y="546"/>
                    </a:lnTo>
                    <a:lnTo>
                      <a:pt x="449" y="546"/>
                    </a:lnTo>
                    <a:lnTo>
                      <a:pt x="449" y="544"/>
                    </a:lnTo>
                    <a:lnTo>
                      <a:pt x="451" y="544"/>
                    </a:lnTo>
                    <a:lnTo>
                      <a:pt x="449" y="544"/>
                    </a:lnTo>
                    <a:close/>
                    <a:moveTo>
                      <a:pt x="449" y="544"/>
                    </a:moveTo>
                    <a:lnTo>
                      <a:pt x="449" y="546"/>
                    </a:lnTo>
                    <a:lnTo>
                      <a:pt x="449" y="544"/>
                    </a:lnTo>
                    <a:lnTo>
                      <a:pt x="449" y="546"/>
                    </a:lnTo>
                    <a:lnTo>
                      <a:pt x="449" y="544"/>
                    </a:lnTo>
                    <a:close/>
                    <a:moveTo>
                      <a:pt x="443" y="546"/>
                    </a:moveTo>
                    <a:lnTo>
                      <a:pt x="443" y="548"/>
                    </a:lnTo>
                    <a:lnTo>
                      <a:pt x="443" y="546"/>
                    </a:lnTo>
                    <a:close/>
                    <a:moveTo>
                      <a:pt x="488" y="530"/>
                    </a:moveTo>
                    <a:lnTo>
                      <a:pt x="486" y="530"/>
                    </a:lnTo>
                    <a:lnTo>
                      <a:pt x="488" y="530"/>
                    </a:lnTo>
                    <a:close/>
                    <a:moveTo>
                      <a:pt x="847" y="350"/>
                    </a:moveTo>
                    <a:lnTo>
                      <a:pt x="847" y="352"/>
                    </a:lnTo>
                    <a:lnTo>
                      <a:pt x="845" y="352"/>
                    </a:lnTo>
                    <a:lnTo>
                      <a:pt x="847" y="350"/>
                    </a:lnTo>
                    <a:close/>
                    <a:moveTo>
                      <a:pt x="445" y="546"/>
                    </a:moveTo>
                    <a:lnTo>
                      <a:pt x="445" y="548"/>
                    </a:lnTo>
                    <a:lnTo>
                      <a:pt x="443" y="548"/>
                    </a:lnTo>
                    <a:lnTo>
                      <a:pt x="443" y="546"/>
                    </a:lnTo>
                    <a:lnTo>
                      <a:pt x="445" y="546"/>
                    </a:lnTo>
                    <a:close/>
                    <a:moveTo>
                      <a:pt x="578" y="492"/>
                    </a:moveTo>
                    <a:lnTo>
                      <a:pt x="576" y="492"/>
                    </a:lnTo>
                    <a:lnTo>
                      <a:pt x="578" y="492"/>
                    </a:lnTo>
                    <a:close/>
                    <a:moveTo>
                      <a:pt x="486" y="528"/>
                    </a:moveTo>
                    <a:lnTo>
                      <a:pt x="486" y="530"/>
                    </a:lnTo>
                    <a:lnTo>
                      <a:pt x="486" y="528"/>
                    </a:lnTo>
                    <a:close/>
                    <a:moveTo>
                      <a:pt x="503" y="523"/>
                    </a:moveTo>
                    <a:lnTo>
                      <a:pt x="505" y="523"/>
                    </a:lnTo>
                    <a:lnTo>
                      <a:pt x="503" y="523"/>
                    </a:lnTo>
                    <a:lnTo>
                      <a:pt x="501" y="523"/>
                    </a:lnTo>
                    <a:lnTo>
                      <a:pt x="503" y="523"/>
                    </a:lnTo>
                    <a:close/>
                    <a:moveTo>
                      <a:pt x="503" y="521"/>
                    </a:moveTo>
                    <a:lnTo>
                      <a:pt x="505" y="521"/>
                    </a:lnTo>
                    <a:lnTo>
                      <a:pt x="505" y="523"/>
                    </a:lnTo>
                    <a:lnTo>
                      <a:pt x="505" y="521"/>
                    </a:lnTo>
                    <a:lnTo>
                      <a:pt x="503" y="523"/>
                    </a:lnTo>
                    <a:lnTo>
                      <a:pt x="503" y="521"/>
                    </a:lnTo>
                    <a:lnTo>
                      <a:pt x="503" y="523"/>
                    </a:lnTo>
                    <a:lnTo>
                      <a:pt x="503" y="521"/>
                    </a:lnTo>
                    <a:close/>
                    <a:moveTo>
                      <a:pt x="488" y="527"/>
                    </a:moveTo>
                    <a:lnTo>
                      <a:pt x="490" y="527"/>
                    </a:lnTo>
                    <a:lnTo>
                      <a:pt x="488" y="527"/>
                    </a:lnTo>
                    <a:lnTo>
                      <a:pt x="488" y="528"/>
                    </a:lnTo>
                    <a:lnTo>
                      <a:pt x="488" y="527"/>
                    </a:lnTo>
                    <a:close/>
                    <a:moveTo>
                      <a:pt x="858" y="340"/>
                    </a:moveTo>
                    <a:lnTo>
                      <a:pt x="856" y="340"/>
                    </a:lnTo>
                    <a:lnTo>
                      <a:pt x="858" y="340"/>
                    </a:lnTo>
                    <a:close/>
                    <a:moveTo>
                      <a:pt x="490" y="525"/>
                    </a:moveTo>
                    <a:lnTo>
                      <a:pt x="491" y="525"/>
                    </a:lnTo>
                    <a:lnTo>
                      <a:pt x="491" y="523"/>
                    </a:lnTo>
                    <a:lnTo>
                      <a:pt x="491" y="525"/>
                    </a:lnTo>
                    <a:lnTo>
                      <a:pt x="493" y="523"/>
                    </a:lnTo>
                    <a:lnTo>
                      <a:pt x="493" y="525"/>
                    </a:lnTo>
                    <a:lnTo>
                      <a:pt x="491" y="525"/>
                    </a:lnTo>
                    <a:lnTo>
                      <a:pt x="493" y="525"/>
                    </a:lnTo>
                    <a:lnTo>
                      <a:pt x="491" y="525"/>
                    </a:lnTo>
                    <a:lnTo>
                      <a:pt x="493" y="525"/>
                    </a:lnTo>
                    <a:lnTo>
                      <a:pt x="493" y="527"/>
                    </a:lnTo>
                    <a:lnTo>
                      <a:pt x="493" y="528"/>
                    </a:lnTo>
                    <a:lnTo>
                      <a:pt x="491" y="528"/>
                    </a:lnTo>
                    <a:lnTo>
                      <a:pt x="491" y="527"/>
                    </a:lnTo>
                    <a:lnTo>
                      <a:pt x="490" y="527"/>
                    </a:lnTo>
                    <a:lnTo>
                      <a:pt x="488" y="527"/>
                    </a:lnTo>
                    <a:lnTo>
                      <a:pt x="488" y="525"/>
                    </a:lnTo>
                    <a:lnTo>
                      <a:pt x="490" y="525"/>
                    </a:lnTo>
                    <a:close/>
                    <a:moveTo>
                      <a:pt x="491" y="523"/>
                    </a:moveTo>
                    <a:lnTo>
                      <a:pt x="493" y="523"/>
                    </a:lnTo>
                    <a:lnTo>
                      <a:pt x="491" y="523"/>
                    </a:lnTo>
                    <a:close/>
                    <a:moveTo>
                      <a:pt x="576" y="488"/>
                    </a:moveTo>
                    <a:lnTo>
                      <a:pt x="574" y="488"/>
                    </a:lnTo>
                    <a:lnTo>
                      <a:pt x="576" y="488"/>
                    </a:lnTo>
                    <a:close/>
                    <a:moveTo>
                      <a:pt x="570" y="488"/>
                    </a:moveTo>
                    <a:lnTo>
                      <a:pt x="570" y="486"/>
                    </a:lnTo>
                    <a:lnTo>
                      <a:pt x="570" y="488"/>
                    </a:lnTo>
                    <a:close/>
                    <a:moveTo>
                      <a:pt x="490" y="521"/>
                    </a:moveTo>
                    <a:lnTo>
                      <a:pt x="490" y="519"/>
                    </a:lnTo>
                    <a:lnTo>
                      <a:pt x="491" y="519"/>
                    </a:lnTo>
                    <a:lnTo>
                      <a:pt x="491" y="521"/>
                    </a:lnTo>
                    <a:lnTo>
                      <a:pt x="490" y="521"/>
                    </a:lnTo>
                    <a:close/>
                    <a:moveTo>
                      <a:pt x="611" y="469"/>
                    </a:moveTo>
                    <a:lnTo>
                      <a:pt x="609" y="469"/>
                    </a:lnTo>
                    <a:lnTo>
                      <a:pt x="609" y="467"/>
                    </a:lnTo>
                    <a:lnTo>
                      <a:pt x="609" y="469"/>
                    </a:lnTo>
                    <a:lnTo>
                      <a:pt x="611" y="469"/>
                    </a:lnTo>
                    <a:close/>
                    <a:moveTo>
                      <a:pt x="611" y="467"/>
                    </a:moveTo>
                    <a:lnTo>
                      <a:pt x="611" y="469"/>
                    </a:lnTo>
                    <a:lnTo>
                      <a:pt x="611" y="467"/>
                    </a:lnTo>
                    <a:close/>
                    <a:moveTo>
                      <a:pt x="860" y="329"/>
                    </a:moveTo>
                    <a:lnTo>
                      <a:pt x="862" y="329"/>
                    </a:lnTo>
                    <a:lnTo>
                      <a:pt x="860" y="329"/>
                    </a:lnTo>
                    <a:close/>
                    <a:moveTo>
                      <a:pt x="614" y="463"/>
                    </a:moveTo>
                    <a:lnTo>
                      <a:pt x="614" y="465"/>
                    </a:lnTo>
                    <a:lnTo>
                      <a:pt x="612" y="465"/>
                    </a:lnTo>
                    <a:lnTo>
                      <a:pt x="614" y="465"/>
                    </a:lnTo>
                    <a:lnTo>
                      <a:pt x="614" y="463"/>
                    </a:lnTo>
                    <a:close/>
                    <a:moveTo>
                      <a:pt x="862" y="329"/>
                    </a:moveTo>
                    <a:lnTo>
                      <a:pt x="862" y="327"/>
                    </a:lnTo>
                    <a:lnTo>
                      <a:pt x="862" y="329"/>
                    </a:lnTo>
                    <a:close/>
                    <a:moveTo>
                      <a:pt x="887" y="311"/>
                    </a:moveTo>
                    <a:lnTo>
                      <a:pt x="889" y="311"/>
                    </a:lnTo>
                    <a:lnTo>
                      <a:pt x="887" y="311"/>
                    </a:lnTo>
                    <a:close/>
                    <a:moveTo>
                      <a:pt x="611" y="465"/>
                    </a:moveTo>
                    <a:lnTo>
                      <a:pt x="609" y="465"/>
                    </a:lnTo>
                    <a:lnTo>
                      <a:pt x="611" y="465"/>
                    </a:lnTo>
                    <a:close/>
                    <a:moveTo>
                      <a:pt x="434" y="538"/>
                    </a:moveTo>
                    <a:lnTo>
                      <a:pt x="432" y="538"/>
                    </a:lnTo>
                    <a:lnTo>
                      <a:pt x="434" y="538"/>
                    </a:lnTo>
                    <a:close/>
                    <a:moveTo>
                      <a:pt x="580" y="478"/>
                    </a:moveTo>
                    <a:lnTo>
                      <a:pt x="578" y="478"/>
                    </a:lnTo>
                    <a:lnTo>
                      <a:pt x="580" y="478"/>
                    </a:lnTo>
                    <a:close/>
                    <a:moveTo>
                      <a:pt x="564" y="484"/>
                    </a:moveTo>
                    <a:lnTo>
                      <a:pt x="564" y="486"/>
                    </a:lnTo>
                    <a:lnTo>
                      <a:pt x="563" y="484"/>
                    </a:lnTo>
                    <a:lnTo>
                      <a:pt x="564" y="484"/>
                    </a:lnTo>
                    <a:close/>
                    <a:moveTo>
                      <a:pt x="864" y="327"/>
                    </a:moveTo>
                    <a:lnTo>
                      <a:pt x="864" y="325"/>
                    </a:lnTo>
                    <a:lnTo>
                      <a:pt x="864" y="327"/>
                    </a:lnTo>
                    <a:close/>
                    <a:moveTo>
                      <a:pt x="885" y="311"/>
                    </a:moveTo>
                    <a:lnTo>
                      <a:pt x="883" y="311"/>
                    </a:lnTo>
                    <a:lnTo>
                      <a:pt x="885" y="311"/>
                    </a:lnTo>
                    <a:close/>
                    <a:moveTo>
                      <a:pt x="611" y="463"/>
                    </a:moveTo>
                    <a:lnTo>
                      <a:pt x="612" y="463"/>
                    </a:lnTo>
                    <a:lnTo>
                      <a:pt x="611" y="463"/>
                    </a:lnTo>
                    <a:close/>
                    <a:moveTo>
                      <a:pt x="862" y="325"/>
                    </a:moveTo>
                    <a:lnTo>
                      <a:pt x="864" y="325"/>
                    </a:lnTo>
                    <a:lnTo>
                      <a:pt x="864" y="323"/>
                    </a:lnTo>
                    <a:lnTo>
                      <a:pt x="864" y="325"/>
                    </a:lnTo>
                    <a:lnTo>
                      <a:pt x="862" y="325"/>
                    </a:lnTo>
                    <a:lnTo>
                      <a:pt x="862" y="327"/>
                    </a:lnTo>
                    <a:lnTo>
                      <a:pt x="864" y="327"/>
                    </a:lnTo>
                    <a:lnTo>
                      <a:pt x="862" y="327"/>
                    </a:lnTo>
                    <a:lnTo>
                      <a:pt x="862" y="329"/>
                    </a:lnTo>
                    <a:lnTo>
                      <a:pt x="862" y="327"/>
                    </a:lnTo>
                    <a:lnTo>
                      <a:pt x="862" y="325"/>
                    </a:lnTo>
                    <a:lnTo>
                      <a:pt x="864" y="325"/>
                    </a:lnTo>
                    <a:lnTo>
                      <a:pt x="864" y="323"/>
                    </a:lnTo>
                    <a:lnTo>
                      <a:pt x="864" y="325"/>
                    </a:lnTo>
                    <a:lnTo>
                      <a:pt x="862" y="325"/>
                    </a:lnTo>
                    <a:close/>
                    <a:moveTo>
                      <a:pt x="605" y="465"/>
                    </a:moveTo>
                    <a:lnTo>
                      <a:pt x="605" y="467"/>
                    </a:lnTo>
                    <a:lnTo>
                      <a:pt x="605" y="465"/>
                    </a:lnTo>
                    <a:close/>
                    <a:moveTo>
                      <a:pt x="612" y="461"/>
                    </a:moveTo>
                    <a:lnTo>
                      <a:pt x="611" y="461"/>
                    </a:lnTo>
                    <a:lnTo>
                      <a:pt x="612" y="461"/>
                    </a:lnTo>
                    <a:close/>
                    <a:moveTo>
                      <a:pt x="868" y="319"/>
                    </a:moveTo>
                    <a:lnTo>
                      <a:pt x="868" y="321"/>
                    </a:lnTo>
                    <a:lnTo>
                      <a:pt x="866" y="319"/>
                    </a:lnTo>
                    <a:lnTo>
                      <a:pt x="868" y="319"/>
                    </a:lnTo>
                    <a:close/>
                    <a:moveTo>
                      <a:pt x="605" y="463"/>
                    </a:moveTo>
                    <a:lnTo>
                      <a:pt x="605" y="461"/>
                    </a:lnTo>
                    <a:lnTo>
                      <a:pt x="605" y="463"/>
                    </a:lnTo>
                    <a:close/>
                    <a:moveTo>
                      <a:pt x="603" y="463"/>
                    </a:moveTo>
                    <a:lnTo>
                      <a:pt x="603" y="465"/>
                    </a:lnTo>
                    <a:lnTo>
                      <a:pt x="603" y="463"/>
                    </a:lnTo>
                    <a:close/>
                    <a:moveTo>
                      <a:pt x="864" y="321"/>
                    </a:moveTo>
                    <a:lnTo>
                      <a:pt x="864" y="323"/>
                    </a:lnTo>
                    <a:lnTo>
                      <a:pt x="862" y="323"/>
                    </a:lnTo>
                    <a:lnTo>
                      <a:pt x="862" y="325"/>
                    </a:lnTo>
                    <a:lnTo>
                      <a:pt x="862" y="323"/>
                    </a:lnTo>
                    <a:lnTo>
                      <a:pt x="862" y="321"/>
                    </a:lnTo>
                    <a:lnTo>
                      <a:pt x="864" y="321"/>
                    </a:lnTo>
                    <a:lnTo>
                      <a:pt x="864" y="323"/>
                    </a:lnTo>
                    <a:lnTo>
                      <a:pt x="864" y="321"/>
                    </a:lnTo>
                    <a:close/>
                    <a:moveTo>
                      <a:pt x="880" y="309"/>
                    </a:moveTo>
                    <a:lnTo>
                      <a:pt x="881" y="309"/>
                    </a:lnTo>
                    <a:lnTo>
                      <a:pt x="880" y="309"/>
                    </a:lnTo>
                    <a:lnTo>
                      <a:pt x="880" y="311"/>
                    </a:lnTo>
                    <a:lnTo>
                      <a:pt x="880" y="309"/>
                    </a:lnTo>
                    <a:close/>
                    <a:moveTo>
                      <a:pt x="545" y="490"/>
                    </a:moveTo>
                    <a:lnTo>
                      <a:pt x="545" y="488"/>
                    </a:lnTo>
                    <a:lnTo>
                      <a:pt x="545" y="490"/>
                    </a:lnTo>
                    <a:close/>
                    <a:moveTo>
                      <a:pt x="870" y="317"/>
                    </a:moveTo>
                    <a:lnTo>
                      <a:pt x="868" y="317"/>
                    </a:lnTo>
                    <a:lnTo>
                      <a:pt x="870" y="317"/>
                    </a:lnTo>
                    <a:close/>
                    <a:moveTo>
                      <a:pt x="862" y="321"/>
                    </a:moveTo>
                    <a:lnTo>
                      <a:pt x="862" y="319"/>
                    </a:lnTo>
                    <a:lnTo>
                      <a:pt x="862" y="321"/>
                    </a:lnTo>
                    <a:close/>
                    <a:moveTo>
                      <a:pt x="878" y="309"/>
                    </a:moveTo>
                    <a:lnTo>
                      <a:pt x="878" y="311"/>
                    </a:lnTo>
                    <a:lnTo>
                      <a:pt x="878" y="309"/>
                    </a:lnTo>
                    <a:close/>
                    <a:moveTo>
                      <a:pt x="607" y="459"/>
                    </a:moveTo>
                    <a:lnTo>
                      <a:pt x="609" y="459"/>
                    </a:lnTo>
                    <a:lnTo>
                      <a:pt x="609" y="461"/>
                    </a:lnTo>
                    <a:lnTo>
                      <a:pt x="607" y="459"/>
                    </a:lnTo>
                    <a:close/>
                    <a:moveTo>
                      <a:pt x="864" y="321"/>
                    </a:moveTo>
                    <a:lnTo>
                      <a:pt x="864" y="319"/>
                    </a:lnTo>
                    <a:lnTo>
                      <a:pt x="864" y="321"/>
                    </a:lnTo>
                    <a:close/>
                    <a:moveTo>
                      <a:pt x="874" y="313"/>
                    </a:moveTo>
                    <a:lnTo>
                      <a:pt x="872" y="313"/>
                    </a:lnTo>
                    <a:lnTo>
                      <a:pt x="874" y="313"/>
                    </a:lnTo>
                    <a:close/>
                    <a:moveTo>
                      <a:pt x="543" y="488"/>
                    </a:moveTo>
                    <a:lnTo>
                      <a:pt x="545" y="488"/>
                    </a:lnTo>
                    <a:lnTo>
                      <a:pt x="543" y="488"/>
                    </a:lnTo>
                    <a:close/>
                    <a:moveTo>
                      <a:pt x="876" y="311"/>
                    </a:moveTo>
                    <a:lnTo>
                      <a:pt x="878" y="311"/>
                    </a:lnTo>
                    <a:lnTo>
                      <a:pt x="878" y="309"/>
                    </a:lnTo>
                    <a:lnTo>
                      <a:pt x="878" y="311"/>
                    </a:lnTo>
                    <a:lnTo>
                      <a:pt x="880" y="311"/>
                    </a:lnTo>
                    <a:lnTo>
                      <a:pt x="881" y="311"/>
                    </a:lnTo>
                    <a:lnTo>
                      <a:pt x="880" y="311"/>
                    </a:lnTo>
                    <a:lnTo>
                      <a:pt x="878" y="311"/>
                    </a:lnTo>
                    <a:lnTo>
                      <a:pt x="876" y="313"/>
                    </a:lnTo>
                    <a:lnTo>
                      <a:pt x="874" y="313"/>
                    </a:lnTo>
                    <a:lnTo>
                      <a:pt x="874" y="311"/>
                    </a:lnTo>
                    <a:lnTo>
                      <a:pt x="876" y="311"/>
                    </a:lnTo>
                    <a:close/>
                    <a:moveTo>
                      <a:pt x="601" y="461"/>
                    </a:moveTo>
                    <a:lnTo>
                      <a:pt x="603" y="461"/>
                    </a:lnTo>
                    <a:lnTo>
                      <a:pt x="601" y="461"/>
                    </a:lnTo>
                    <a:lnTo>
                      <a:pt x="603" y="461"/>
                    </a:lnTo>
                    <a:lnTo>
                      <a:pt x="601" y="461"/>
                    </a:lnTo>
                    <a:lnTo>
                      <a:pt x="603" y="461"/>
                    </a:lnTo>
                    <a:lnTo>
                      <a:pt x="603" y="463"/>
                    </a:lnTo>
                    <a:lnTo>
                      <a:pt x="601" y="463"/>
                    </a:lnTo>
                    <a:lnTo>
                      <a:pt x="603" y="463"/>
                    </a:lnTo>
                    <a:lnTo>
                      <a:pt x="601" y="461"/>
                    </a:lnTo>
                    <a:close/>
                    <a:moveTo>
                      <a:pt x="864" y="319"/>
                    </a:moveTo>
                    <a:lnTo>
                      <a:pt x="864" y="317"/>
                    </a:lnTo>
                    <a:lnTo>
                      <a:pt x="864" y="319"/>
                    </a:lnTo>
                    <a:close/>
                    <a:moveTo>
                      <a:pt x="547" y="486"/>
                    </a:moveTo>
                    <a:lnTo>
                      <a:pt x="549" y="486"/>
                    </a:lnTo>
                    <a:lnTo>
                      <a:pt x="547" y="486"/>
                    </a:lnTo>
                    <a:close/>
                    <a:moveTo>
                      <a:pt x="599" y="461"/>
                    </a:moveTo>
                    <a:lnTo>
                      <a:pt x="601" y="461"/>
                    </a:lnTo>
                    <a:lnTo>
                      <a:pt x="601" y="463"/>
                    </a:lnTo>
                    <a:lnTo>
                      <a:pt x="599" y="463"/>
                    </a:lnTo>
                    <a:lnTo>
                      <a:pt x="601" y="463"/>
                    </a:lnTo>
                    <a:lnTo>
                      <a:pt x="599" y="463"/>
                    </a:lnTo>
                    <a:lnTo>
                      <a:pt x="597" y="463"/>
                    </a:lnTo>
                    <a:lnTo>
                      <a:pt x="599" y="463"/>
                    </a:lnTo>
                    <a:lnTo>
                      <a:pt x="599" y="461"/>
                    </a:lnTo>
                    <a:close/>
                    <a:moveTo>
                      <a:pt x="543" y="488"/>
                    </a:moveTo>
                    <a:lnTo>
                      <a:pt x="541" y="486"/>
                    </a:lnTo>
                    <a:lnTo>
                      <a:pt x="543" y="486"/>
                    </a:lnTo>
                    <a:lnTo>
                      <a:pt x="543" y="488"/>
                    </a:lnTo>
                    <a:close/>
                    <a:moveTo>
                      <a:pt x="545" y="486"/>
                    </a:moveTo>
                    <a:lnTo>
                      <a:pt x="543" y="486"/>
                    </a:lnTo>
                    <a:lnTo>
                      <a:pt x="545" y="486"/>
                    </a:lnTo>
                    <a:close/>
                    <a:moveTo>
                      <a:pt x="595" y="463"/>
                    </a:moveTo>
                    <a:lnTo>
                      <a:pt x="593" y="463"/>
                    </a:lnTo>
                    <a:lnTo>
                      <a:pt x="595" y="463"/>
                    </a:lnTo>
                    <a:close/>
                    <a:moveTo>
                      <a:pt x="874" y="311"/>
                    </a:moveTo>
                    <a:lnTo>
                      <a:pt x="872" y="311"/>
                    </a:lnTo>
                    <a:lnTo>
                      <a:pt x="874" y="311"/>
                    </a:lnTo>
                    <a:lnTo>
                      <a:pt x="872" y="311"/>
                    </a:lnTo>
                    <a:lnTo>
                      <a:pt x="874" y="311"/>
                    </a:lnTo>
                    <a:close/>
                    <a:moveTo>
                      <a:pt x="636" y="444"/>
                    </a:moveTo>
                    <a:lnTo>
                      <a:pt x="637" y="444"/>
                    </a:lnTo>
                    <a:lnTo>
                      <a:pt x="636" y="444"/>
                    </a:lnTo>
                    <a:close/>
                    <a:moveTo>
                      <a:pt x="864" y="317"/>
                    </a:moveTo>
                    <a:lnTo>
                      <a:pt x="864" y="319"/>
                    </a:lnTo>
                    <a:lnTo>
                      <a:pt x="862" y="319"/>
                    </a:lnTo>
                    <a:lnTo>
                      <a:pt x="864" y="319"/>
                    </a:lnTo>
                    <a:lnTo>
                      <a:pt x="864" y="321"/>
                    </a:lnTo>
                    <a:lnTo>
                      <a:pt x="862" y="321"/>
                    </a:lnTo>
                    <a:lnTo>
                      <a:pt x="862" y="319"/>
                    </a:lnTo>
                    <a:lnTo>
                      <a:pt x="862" y="317"/>
                    </a:lnTo>
                    <a:lnTo>
                      <a:pt x="864" y="317"/>
                    </a:lnTo>
                    <a:close/>
                    <a:moveTo>
                      <a:pt x="876" y="309"/>
                    </a:moveTo>
                    <a:lnTo>
                      <a:pt x="874" y="309"/>
                    </a:lnTo>
                    <a:lnTo>
                      <a:pt x="874" y="311"/>
                    </a:lnTo>
                    <a:lnTo>
                      <a:pt x="874" y="309"/>
                    </a:lnTo>
                    <a:lnTo>
                      <a:pt x="876" y="309"/>
                    </a:lnTo>
                    <a:close/>
                    <a:moveTo>
                      <a:pt x="584" y="469"/>
                    </a:moveTo>
                    <a:lnTo>
                      <a:pt x="582" y="469"/>
                    </a:lnTo>
                    <a:lnTo>
                      <a:pt x="584" y="469"/>
                    </a:lnTo>
                    <a:close/>
                    <a:moveTo>
                      <a:pt x="874" y="309"/>
                    </a:moveTo>
                    <a:lnTo>
                      <a:pt x="876" y="309"/>
                    </a:lnTo>
                    <a:lnTo>
                      <a:pt x="874" y="309"/>
                    </a:lnTo>
                    <a:close/>
                    <a:moveTo>
                      <a:pt x="870" y="313"/>
                    </a:moveTo>
                    <a:lnTo>
                      <a:pt x="870" y="315"/>
                    </a:lnTo>
                    <a:lnTo>
                      <a:pt x="870" y="313"/>
                    </a:lnTo>
                    <a:close/>
                    <a:moveTo>
                      <a:pt x="874" y="309"/>
                    </a:moveTo>
                    <a:lnTo>
                      <a:pt x="874" y="311"/>
                    </a:lnTo>
                    <a:lnTo>
                      <a:pt x="872" y="311"/>
                    </a:lnTo>
                    <a:lnTo>
                      <a:pt x="872" y="309"/>
                    </a:lnTo>
                    <a:lnTo>
                      <a:pt x="874" y="309"/>
                    </a:lnTo>
                    <a:close/>
                    <a:moveTo>
                      <a:pt x="870" y="311"/>
                    </a:moveTo>
                    <a:lnTo>
                      <a:pt x="872" y="311"/>
                    </a:lnTo>
                    <a:lnTo>
                      <a:pt x="870" y="311"/>
                    </a:lnTo>
                    <a:lnTo>
                      <a:pt x="872" y="311"/>
                    </a:lnTo>
                    <a:lnTo>
                      <a:pt x="870" y="313"/>
                    </a:lnTo>
                    <a:lnTo>
                      <a:pt x="872" y="313"/>
                    </a:lnTo>
                    <a:lnTo>
                      <a:pt x="872" y="311"/>
                    </a:lnTo>
                    <a:lnTo>
                      <a:pt x="872" y="313"/>
                    </a:lnTo>
                    <a:lnTo>
                      <a:pt x="870" y="313"/>
                    </a:lnTo>
                    <a:lnTo>
                      <a:pt x="872" y="313"/>
                    </a:lnTo>
                    <a:lnTo>
                      <a:pt x="870" y="313"/>
                    </a:lnTo>
                    <a:lnTo>
                      <a:pt x="870" y="311"/>
                    </a:lnTo>
                    <a:close/>
                    <a:moveTo>
                      <a:pt x="868" y="313"/>
                    </a:moveTo>
                    <a:lnTo>
                      <a:pt x="870" y="313"/>
                    </a:lnTo>
                    <a:lnTo>
                      <a:pt x="868" y="313"/>
                    </a:lnTo>
                    <a:lnTo>
                      <a:pt x="870" y="315"/>
                    </a:lnTo>
                    <a:lnTo>
                      <a:pt x="868" y="315"/>
                    </a:lnTo>
                    <a:lnTo>
                      <a:pt x="866" y="315"/>
                    </a:lnTo>
                    <a:lnTo>
                      <a:pt x="868" y="315"/>
                    </a:lnTo>
                    <a:lnTo>
                      <a:pt x="868" y="313"/>
                    </a:lnTo>
                    <a:lnTo>
                      <a:pt x="868" y="315"/>
                    </a:lnTo>
                    <a:lnTo>
                      <a:pt x="868" y="313"/>
                    </a:lnTo>
                    <a:lnTo>
                      <a:pt x="866" y="315"/>
                    </a:lnTo>
                    <a:lnTo>
                      <a:pt x="866" y="313"/>
                    </a:lnTo>
                    <a:lnTo>
                      <a:pt x="868" y="313"/>
                    </a:lnTo>
                    <a:close/>
                    <a:moveTo>
                      <a:pt x="599" y="459"/>
                    </a:moveTo>
                    <a:lnTo>
                      <a:pt x="601" y="459"/>
                    </a:lnTo>
                    <a:lnTo>
                      <a:pt x="601" y="461"/>
                    </a:lnTo>
                    <a:lnTo>
                      <a:pt x="599" y="461"/>
                    </a:lnTo>
                    <a:lnTo>
                      <a:pt x="599" y="459"/>
                    </a:lnTo>
                    <a:close/>
                    <a:moveTo>
                      <a:pt x="866" y="313"/>
                    </a:moveTo>
                    <a:lnTo>
                      <a:pt x="866" y="311"/>
                    </a:lnTo>
                    <a:lnTo>
                      <a:pt x="866" y="313"/>
                    </a:lnTo>
                    <a:close/>
                    <a:moveTo>
                      <a:pt x="866" y="313"/>
                    </a:moveTo>
                    <a:lnTo>
                      <a:pt x="864" y="313"/>
                    </a:lnTo>
                    <a:lnTo>
                      <a:pt x="866" y="313"/>
                    </a:lnTo>
                    <a:close/>
                    <a:moveTo>
                      <a:pt x="851" y="323"/>
                    </a:moveTo>
                    <a:lnTo>
                      <a:pt x="849" y="323"/>
                    </a:lnTo>
                    <a:lnTo>
                      <a:pt x="851" y="323"/>
                    </a:lnTo>
                    <a:close/>
                    <a:moveTo>
                      <a:pt x="864" y="313"/>
                    </a:moveTo>
                    <a:lnTo>
                      <a:pt x="866" y="313"/>
                    </a:lnTo>
                    <a:lnTo>
                      <a:pt x="864" y="315"/>
                    </a:lnTo>
                    <a:lnTo>
                      <a:pt x="864" y="313"/>
                    </a:lnTo>
                    <a:close/>
                    <a:moveTo>
                      <a:pt x="597" y="459"/>
                    </a:moveTo>
                    <a:lnTo>
                      <a:pt x="599" y="459"/>
                    </a:lnTo>
                    <a:lnTo>
                      <a:pt x="599" y="457"/>
                    </a:lnTo>
                    <a:lnTo>
                      <a:pt x="599" y="459"/>
                    </a:lnTo>
                    <a:lnTo>
                      <a:pt x="597" y="459"/>
                    </a:lnTo>
                    <a:close/>
                    <a:moveTo>
                      <a:pt x="593" y="461"/>
                    </a:moveTo>
                    <a:lnTo>
                      <a:pt x="593" y="463"/>
                    </a:lnTo>
                    <a:lnTo>
                      <a:pt x="595" y="463"/>
                    </a:lnTo>
                    <a:lnTo>
                      <a:pt x="593" y="463"/>
                    </a:lnTo>
                    <a:lnTo>
                      <a:pt x="591" y="463"/>
                    </a:lnTo>
                    <a:lnTo>
                      <a:pt x="593" y="463"/>
                    </a:lnTo>
                    <a:lnTo>
                      <a:pt x="591" y="463"/>
                    </a:lnTo>
                    <a:lnTo>
                      <a:pt x="589" y="463"/>
                    </a:lnTo>
                    <a:lnTo>
                      <a:pt x="589" y="461"/>
                    </a:lnTo>
                    <a:lnTo>
                      <a:pt x="591" y="461"/>
                    </a:lnTo>
                    <a:lnTo>
                      <a:pt x="593" y="461"/>
                    </a:lnTo>
                    <a:close/>
                    <a:moveTo>
                      <a:pt x="609" y="453"/>
                    </a:moveTo>
                    <a:lnTo>
                      <a:pt x="609" y="455"/>
                    </a:lnTo>
                    <a:lnTo>
                      <a:pt x="609" y="453"/>
                    </a:lnTo>
                    <a:lnTo>
                      <a:pt x="609" y="455"/>
                    </a:lnTo>
                    <a:lnTo>
                      <a:pt x="609" y="453"/>
                    </a:lnTo>
                    <a:close/>
                    <a:moveTo>
                      <a:pt x="864" y="313"/>
                    </a:moveTo>
                    <a:lnTo>
                      <a:pt x="862" y="313"/>
                    </a:lnTo>
                    <a:lnTo>
                      <a:pt x="864" y="313"/>
                    </a:lnTo>
                    <a:close/>
                    <a:moveTo>
                      <a:pt x="543" y="482"/>
                    </a:moveTo>
                    <a:lnTo>
                      <a:pt x="545" y="482"/>
                    </a:lnTo>
                    <a:lnTo>
                      <a:pt x="543" y="482"/>
                    </a:lnTo>
                    <a:lnTo>
                      <a:pt x="545" y="482"/>
                    </a:lnTo>
                    <a:lnTo>
                      <a:pt x="543" y="482"/>
                    </a:lnTo>
                    <a:close/>
                    <a:moveTo>
                      <a:pt x="591" y="461"/>
                    </a:moveTo>
                    <a:lnTo>
                      <a:pt x="593" y="461"/>
                    </a:lnTo>
                    <a:lnTo>
                      <a:pt x="593" y="459"/>
                    </a:lnTo>
                    <a:lnTo>
                      <a:pt x="593" y="461"/>
                    </a:lnTo>
                    <a:lnTo>
                      <a:pt x="595" y="461"/>
                    </a:lnTo>
                    <a:lnTo>
                      <a:pt x="595" y="459"/>
                    </a:lnTo>
                    <a:lnTo>
                      <a:pt x="597" y="459"/>
                    </a:lnTo>
                    <a:lnTo>
                      <a:pt x="597" y="461"/>
                    </a:lnTo>
                    <a:lnTo>
                      <a:pt x="599" y="461"/>
                    </a:lnTo>
                    <a:lnTo>
                      <a:pt x="597" y="461"/>
                    </a:lnTo>
                    <a:lnTo>
                      <a:pt x="595" y="461"/>
                    </a:lnTo>
                    <a:lnTo>
                      <a:pt x="593" y="461"/>
                    </a:lnTo>
                    <a:lnTo>
                      <a:pt x="591" y="461"/>
                    </a:lnTo>
                    <a:close/>
                    <a:moveTo>
                      <a:pt x="609" y="453"/>
                    </a:moveTo>
                    <a:lnTo>
                      <a:pt x="609" y="452"/>
                    </a:lnTo>
                    <a:lnTo>
                      <a:pt x="609" y="453"/>
                    </a:lnTo>
                    <a:close/>
                    <a:moveTo>
                      <a:pt x="580" y="465"/>
                    </a:moveTo>
                    <a:lnTo>
                      <a:pt x="580" y="467"/>
                    </a:lnTo>
                    <a:lnTo>
                      <a:pt x="582" y="467"/>
                    </a:lnTo>
                    <a:lnTo>
                      <a:pt x="580" y="467"/>
                    </a:lnTo>
                    <a:lnTo>
                      <a:pt x="578" y="467"/>
                    </a:lnTo>
                    <a:lnTo>
                      <a:pt x="578" y="465"/>
                    </a:lnTo>
                    <a:lnTo>
                      <a:pt x="580" y="465"/>
                    </a:lnTo>
                    <a:close/>
                    <a:moveTo>
                      <a:pt x="847" y="323"/>
                    </a:moveTo>
                    <a:lnTo>
                      <a:pt x="847" y="325"/>
                    </a:lnTo>
                    <a:lnTo>
                      <a:pt x="845" y="323"/>
                    </a:lnTo>
                    <a:lnTo>
                      <a:pt x="847" y="323"/>
                    </a:lnTo>
                    <a:close/>
                    <a:moveTo>
                      <a:pt x="856" y="317"/>
                    </a:moveTo>
                    <a:lnTo>
                      <a:pt x="856" y="315"/>
                    </a:lnTo>
                    <a:lnTo>
                      <a:pt x="856" y="317"/>
                    </a:lnTo>
                    <a:close/>
                    <a:moveTo>
                      <a:pt x="858" y="313"/>
                    </a:moveTo>
                    <a:lnTo>
                      <a:pt x="860" y="313"/>
                    </a:lnTo>
                    <a:lnTo>
                      <a:pt x="862" y="313"/>
                    </a:lnTo>
                    <a:lnTo>
                      <a:pt x="862" y="315"/>
                    </a:lnTo>
                    <a:lnTo>
                      <a:pt x="864" y="315"/>
                    </a:lnTo>
                    <a:lnTo>
                      <a:pt x="862" y="315"/>
                    </a:lnTo>
                    <a:lnTo>
                      <a:pt x="864" y="315"/>
                    </a:lnTo>
                    <a:lnTo>
                      <a:pt x="862" y="315"/>
                    </a:lnTo>
                    <a:lnTo>
                      <a:pt x="862" y="317"/>
                    </a:lnTo>
                    <a:lnTo>
                      <a:pt x="862" y="319"/>
                    </a:lnTo>
                    <a:lnTo>
                      <a:pt x="862" y="321"/>
                    </a:lnTo>
                    <a:lnTo>
                      <a:pt x="862" y="323"/>
                    </a:lnTo>
                    <a:lnTo>
                      <a:pt x="862" y="325"/>
                    </a:lnTo>
                    <a:lnTo>
                      <a:pt x="860" y="325"/>
                    </a:lnTo>
                    <a:lnTo>
                      <a:pt x="860" y="323"/>
                    </a:lnTo>
                    <a:lnTo>
                      <a:pt x="860" y="321"/>
                    </a:lnTo>
                    <a:lnTo>
                      <a:pt x="858" y="321"/>
                    </a:lnTo>
                    <a:lnTo>
                      <a:pt x="856" y="319"/>
                    </a:lnTo>
                    <a:lnTo>
                      <a:pt x="856" y="317"/>
                    </a:lnTo>
                    <a:lnTo>
                      <a:pt x="856" y="315"/>
                    </a:lnTo>
                    <a:lnTo>
                      <a:pt x="858" y="315"/>
                    </a:lnTo>
                    <a:lnTo>
                      <a:pt x="858" y="313"/>
                    </a:lnTo>
                    <a:close/>
                    <a:moveTo>
                      <a:pt x="589" y="461"/>
                    </a:moveTo>
                    <a:lnTo>
                      <a:pt x="591" y="461"/>
                    </a:lnTo>
                    <a:lnTo>
                      <a:pt x="589" y="461"/>
                    </a:lnTo>
                    <a:lnTo>
                      <a:pt x="589" y="463"/>
                    </a:lnTo>
                    <a:lnTo>
                      <a:pt x="588" y="463"/>
                    </a:lnTo>
                    <a:lnTo>
                      <a:pt x="588" y="461"/>
                    </a:lnTo>
                    <a:lnTo>
                      <a:pt x="589" y="461"/>
                    </a:lnTo>
                    <a:close/>
                    <a:moveTo>
                      <a:pt x="860" y="313"/>
                    </a:moveTo>
                    <a:lnTo>
                      <a:pt x="858" y="313"/>
                    </a:lnTo>
                    <a:lnTo>
                      <a:pt x="860" y="313"/>
                    </a:lnTo>
                    <a:close/>
                    <a:moveTo>
                      <a:pt x="555" y="475"/>
                    </a:moveTo>
                    <a:lnTo>
                      <a:pt x="557" y="475"/>
                    </a:lnTo>
                    <a:lnTo>
                      <a:pt x="559" y="475"/>
                    </a:lnTo>
                    <a:lnTo>
                      <a:pt x="557" y="475"/>
                    </a:lnTo>
                    <a:lnTo>
                      <a:pt x="555" y="475"/>
                    </a:lnTo>
                    <a:close/>
                    <a:moveTo>
                      <a:pt x="855" y="317"/>
                    </a:moveTo>
                    <a:lnTo>
                      <a:pt x="853" y="317"/>
                    </a:lnTo>
                    <a:lnTo>
                      <a:pt x="855" y="317"/>
                    </a:lnTo>
                    <a:close/>
                    <a:moveTo>
                      <a:pt x="853" y="317"/>
                    </a:moveTo>
                    <a:lnTo>
                      <a:pt x="853" y="315"/>
                    </a:lnTo>
                    <a:lnTo>
                      <a:pt x="853" y="317"/>
                    </a:lnTo>
                    <a:lnTo>
                      <a:pt x="853" y="315"/>
                    </a:lnTo>
                    <a:lnTo>
                      <a:pt x="853" y="317"/>
                    </a:lnTo>
                    <a:close/>
                    <a:moveTo>
                      <a:pt x="586" y="461"/>
                    </a:moveTo>
                    <a:lnTo>
                      <a:pt x="584" y="461"/>
                    </a:lnTo>
                    <a:lnTo>
                      <a:pt x="586" y="461"/>
                    </a:lnTo>
                    <a:lnTo>
                      <a:pt x="584" y="461"/>
                    </a:lnTo>
                    <a:lnTo>
                      <a:pt x="586" y="461"/>
                    </a:lnTo>
                    <a:close/>
                    <a:moveTo>
                      <a:pt x="856" y="313"/>
                    </a:moveTo>
                    <a:lnTo>
                      <a:pt x="856" y="315"/>
                    </a:lnTo>
                    <a:lnTo>
                      <a:pt x="856" y="313"/>
                    </a:lnTo>
                    <a:lnTo>
                      <a:pt x="856" y="315"/>
                    </a:lnTo>
                    <a:lnTo>
                      <a:pt x="855" y="315"/>
                    </a:lnTo>
                    <a:lnTo>
                      <a:pt x="856" y="315"/>
                    </a:lnTo>
                    <a:lnTo>
                      <a:pt x="856" y="313"/>
                    </a:lnTo>
                    <a:close/>
                    <a:moveTo>
                      <a:pt x="584" y="461"/>
                    </a:moveTo>
                    <a:lnTo>
                      <a:pt x="586" y="461"/>
                    </a:lnTo>
                    <a:lnTo>
                      <a:pt x="584" y="461"/>
                    </a:lnTo>
                    <a:close/>
                    <a:moveTo>
                      <a:pt x="580" y="463"/>
                    </a:moveTo>
                    <a:lnTo>
                      <a:pt x="578" y="463"/>
                    </a:lnTo>
                    <a:lnTo>
                      <a:pt x="580" y="463"/>
                    </a:lnTo>
                    <a:lnTo>
                      <a:pt x="580" y="461"/>
                    </a:lnTo>
                    <a:lnTo>
                      <a:pt x="580" y="463"/>
                    </a:lnTo>
                    <a:close/>
                    <a:moveTo>
                      <a:pt x="858" y="313"/>
                    </a:moveTo>
                    <a:lnTo>
                      <a:pt x="856" y="313"/>
                    </a:lnTo>
                    <a:lnTo>
                      <a:pt x="855" y="313"/>
                    </a:lnTo>
                    <a:lnTo>
                      <a:pt x="856" y="313"/>
                    </a:lnTo>
                    <a:lnTo>
                      <a:pt x="858" y="313"/>
                    </a:lnTo>
                    <a:close/>
                    <a:moveTo>
                      <a:pt x="851" y="315"/>
                    </a:moveTo>
                    <a:lnTo>
                      <a:pt x="851" y="317"/>
                    </a:lnTo>
                    <a:lnTo>
                      <a:pt x="853" y="315"/>
                    </a:lnTo>
                    <a:lnTo>
                      <a:pt x="853" y="317"/>
                    </a:lnTo>
                    <a:lnTo>
                      <a:pt x="851" y="317"/>
                    </a:lnTo>
                    <a:lnTo>
                      <a:pt x="851" y="319"/>
                    </a:lnTo>
                    <a:lnTo>
                      <a:pt x="851" y="317"/>
                    </a:lnTo>
                    <a:lnTo>
                      <a:pt x="851" y="319"/>
                    </a:lnTo>
                    <a:lnTo>
                      <a:pt x="849" y="319"/>
                    </a:lnTo>
                    <a:lnTo>
                      <a:pt x="851" y="319"/>
                    </a:lnTo>
                    <a:lnTo>
                      <a:pt x="849" y="321"/>
                    </a:lnTo>
                    <a:lnTo>
                      <a:pt x="851" y="321"/>
                    </a:lnTo>
                    <a:lnTo>
                      <a:pt x="849" y="323"/>
                    </a:lnTo>
                    <a:lnTo>
                      <a:pt x="851" y="325"/>
                    </a:lnTo>
                    <a:lnTo>
                      <a:pt x="851" y="327"/>
                    </a:lnTo>
                    <a:lnTo>
                      <a:pt x="851" y="329"/>
                    </a:lnTo>
                    <a:lnTo>
                      <a:pt x="849" y="330"/>
                    </a:lnTo>
                    <a:lnTo>
                      <a:pt x="851" y="330"/>
                    </a:lnTo>
                    <a:lnTo>
                      <a:pt x="851" y="332"/>
                    </a:lnTo>
                    <a:lnTo>
                      <a:pt x="849" y="332"/>
                    </a:lnTo>
                    <a:lnTo>
                      <a:pt x="849" y="330"/>
                    </a:lnTo>
                    <a:lnTo>
                      <a:pt x="847" y="330"/>
                    </a:lnTo>
                    <a:lnTo>
                      <a:pt x="847" y="332"/>
                    </a:lnTo>
                    <a:lnTo>
                      <a:pt x="849" y="332"/>
                    </a:lnTo>
                    <a:lnTo>
                      <a:pt x="849" y="330"/>
                    </a:lnTo>
                    <a:lnTo>
                      <a:pt x="849" y="332"/>
                    </a:lnTo>
                    <a:lnTo>
                      <a:pt x="847" y="332"/>
                    </a:lnTo>
                    <a:lnTo>
                      <a:pt x="847" y="334"/>
                    </a:lnTo>
                    <a:lnTo>
                      <a:pt x="845" y="334"/>
                    </a:lnTo>
                    <a:lnTo>
                      <a:pt x="845" y="336"/>
                    </a:lnTo>
                    <a:lnTo>
                      <a:pt x="843" y="336"/>
                    </a:lnTo>
                    <a:lnTo>
                      <a:pt x="841" y="336"/>
                    </a:lnTo>
                    <a:lnTo>
                      <a:pt x="841" y="334"/>
                    </a:lnTo>
                    <a:lnTo>
                      <a:pt x="843" y="334"/>
                    </a:lnTo>
                    <a:lnTo>
                      <a:pt x="843" y="332"/>
                    </a:lnTo>
                    <a:lnTo>
                      <a:pt x="845" y="332"/>
                    </a:lnTo>
                    <a:lnTo>
                      <a:pt x="845" y="330"/>
                    </a:lnTo>
                    <a:lnTo>
                      <a:pt x="843" y="332"/>
                    </a:lnTo>
                    <a:lnTo>
                      <a:pt x="845" y="332"/>
                    </a:lnTo>
                    <a:lnTo>
                      <a:pt x="843" y="332"/>
                    </a:lnTo>
                    <a:lnTo>
                      <a:pt x="843" y="330"/>
                    </a:lnTo>
                    <a:lnTo>
                      <a:pt x="845" y="330"/>
                    </a:lnTo>
                    <a:lnTo>
                      <a:pt x="847" y="330"/>
                    </a:lnTo>
                    <a:lnTo>
                      <a:pt x="845" y="329"/>
                    </a:lnTo>
                    <a:lnTo>
                      <a:pt x="845" y="327"/>
                    </a:lnTo>
                    <a:lnTo>
                      <a:pt x="847" y="327"/>
                    </a:lnTo>
                    <a:lnTo>
                      <a:pt x="847" y="325"/>
                    </a:lnTo>
                    <a:lnTo>
                      <a:pt x="847" y="327"/>
                    </a:lnTo>
                    <a:lnTo>
                      <a:pt x="847" y="329"/>
                    </a:lnTo>
                    <a:lnTo>
                      <a:pt x="847" y="327"/>
                    </a:lnTo>
                    <a:lnTo>
                      <a:pt x="847" y="325"/>
                    </a:lnTo>
                    <a:lnTo>
                      <a:pt x="849" y="325"/>
                    </a:lnTo>
                    <a:lnTo>
                      <a:pt x="849" y="323"/>
                    </a:lnTo>
                    <a:lnTo>
                      <a:pt x="847" y="323"/>
                    </a:lnTo>
                    <a:lnTo>
                      <a:pt x="847" y="321"/>
                    </a:lnTo>
                    <a:lnTo>
                      <a:pt x="849" y="321"/>
                    </a:lnTo>
                    <a:lnTo>
                      <a:pt x="849" y="319"/>
                    </a:lnTo>
                    <a:lnTo>
                      <a:pt x="849" y="317"/>
                    </a:lnTo>
                    <a:lnTo>
                      <a:pt x="849" y="319"/>
                    </a:lnTo>
                    <a:lnTo>
                      <a:pt x="849" y="321"/>
                    </a:lnTo>
                    <a:lnTo>
                      <a:pt x="849" y="319"/>
                    </a:lnTo>
                    <a:lnTo>
                      <a:pt x="851" y="319"/>
                    </a:lnTo>
                    <a:lnTo>
                      <a:pt x="851" y="317"/>
                    </a:lnTo>
                    <a:lnTo>
                      <a:pt x="851" y="315"/>
                    </a:lnTo>
                    <a:close/>
                    <a:moveTo>
                      <a:pt x="849" y="317"/>
                    </a:moveTo>
                    <a:lnTo>
                      <a:pt x="851" y="315"/>
                    </a:lnTo>
                    <a:lnTo>
                      <a:pt x="851" y="317"/>
                    </a:lnTo>
                    <a:lnTo>
                      <a:pt x="849" y="317"/>
                    </a:lnTo>
                    <a:close/>
                    <a:moveTo>
                      <a:pt x="847" y="317"/>
                    </a:moveTo>
                    <a:lnTo>
                      <a:pt x="847" y="319"/>
                    </a:lnTo>
                    <a:lnTo>
                      <a:pt x="849" y="319"/>
                    </a:lnTo>
                    <a:lnTo>
                      <a:pt x="847" y="319"/>
                    </a:lnTo>
                    <a:lnTo>
                      <a:pt x="847" y="317"/>
                    </a:lnTo>
                    <a:close/>
                    <a:moveTo>
                      <a:pt x="849" y="317"/>
                    </a:moveTo>
                    <a:lnTo>
                      <a:pt x="847" y="317"/>
                    </a:lnTo>
                    <a:lnTo>
                      <a:pt x="849" y="317"/>
                    </a:lnTo>
                    <a:close/>
                    <a:moveTo>
                      <a:pt x="853" y="315"/>
                    </a:moveTo>
                    <a:lnTo>
                      <a:pt x="853" y="313"/>
                    </a:lnTo>
                    <a:lnTo>
                      <a:pt x="853" y="315"/>
                    </a:lnTo>
                    <a:lnTo>
                      <a:pt x="853" y="313"/>
                    </a:lnTo>
                    <a:lnTo>
                      <a:pt x="855" y="313"/>
                    </a:lnTo>
                    <a:lnTo>
                      <a:pt x="855" y="315"/>
                    </a:lnTo>
                    <a:lnTo>
                      <a:pt x="853" y="315"/>
                    </a:lnTo>
                    <a:lnTo>
                      <a:pt x="855" y="315"/>
                    </a:lnTo>
                    <a:lnTo>
                      <a:pt x="853" y="315"/>
                    </a:lnTo>
                    <a:lnTo>
                      <a:pt x="851" y="315"/>
                    </a:lnTo>
                    <a:lnTo>
                      <a:pt x="853" y="315"/>
                    </a:lnTo>
                    <a:close/>
                    <a:moveTo>
                      <a:pt x="849" y="317"/>
                    </a:moveTo>
                    <a:lnTo>
                      <a:pt x="849" y="319"/>
                    </a:lnTo>
                    <a:lnTo>
                      <a:pt x="849" y="317"/>
                    </a:lnTo>
                    <a:lnTo>
                      <a:pt x="849" y="315"/>
                    </a:lnTo>
                    <a:lnTo>
                      <a:pt x="849" y="317"/>
                    </a:lnTo>
                    <a:lnTo>
                      <a:pt x="849" y="315"/>
                    </a:lnTo>
                    <a:lnTo>
                      <a:pt x="851" y="315"/>
                    </a:lnTo>
                    <a:lnTo>
                      <a:pt x="849" y="317"/>
                    </a:lnTo>
                    <a:close/>
                    <a:moveTo>
                      <a:pt x="849" y="317"/>
                    </a:moveTo>
                    <a:lnTo>
                      <a:pt x="849" y="315"/>
                    </a:lnTo>
                    <a:lnTo>
                      <a:pt x="849" y="317"/>
                    </a:lnTo>
                    <a:close/>
                    <a:moveTo>
                      <a:pt x="589" y="455"/>
                    </a:moveTo>
                    <a:lnTo>
                      <a:pt x="589" y="457"/>
                    </a:lnTo>
                    <a:lnTo>
                      <a:pt x="588" y="457"/>
                    </a:lnTo>
                    <a:lnTo>
                      <a:pt x="588" y="455"/>
                    </a:lnTo>
                    <a:lnTo>
                      <a:pt x="589" y="455"/>
                    </a:lnTo>
                    <a:close/>
                    <a:moveTo>
                      <a:pt x="547" y="475"/>
                    </a:moveTo>
                    <a:lnTo>
                      <a:pt x="545" y="475"/>
                    </a:lnTo>
                    <a:lnTo>
                      <a:pt x="547" y="475"/>
                    </a:lnTo>
                    <a:close/>
                    <a:moveTo>
                      <a:pt x="853" y="313"/>
                    </a:moveTo>
                    <a:lnTo>
                      <a:pt x="851" y="313"/>
                    </a:lnTo>
                    <a:lnTo>
                      <a:pt x="853" y="313"/>
                    </a:lnTo>
                    <a:close/>
                    <a:moveTo>
                      <a:pt x="582" y="459"/>
                    </a:moveTo>
                    <a:lnTo>
                      <a:pt x="580" y="459"/>
                    </a:lnTo>
                    <a:lnTo>
                      <a:pt x="582" y="459"/>
                    </a:lnTo>
                    <a:close/>
                    <a:moveTo>
                      <a:pt x="755" y="373"/>
                    </a:moveTo>
                    <a:lnTo>
                      <a:pt x="755" y="371"/>
                    </a:lnTo>
                    <a:lnTo>
                      <a:pt x="755" y="373"/>
                    </a:lnTo>
                    <a:close/>
                    <a:moveTo>
                      <a:pt x="605" y="448"/>
                    </a:moveTo>
                    <a:lnTo>
                      <a:pt x="603" y="450"/>
                    </a:lnTo>
                    <a:lnTo>
                      <a:pt x="603" y="448"/>
                    </a:lnTo>
                    <a:lnTo>
                      <a:pt x="605" y="448"/>
                    </a:lnTo>
                    <a:close/>
                    <a:moveTo>
                      <a:pt x="851" y="313"/>
                    </a:moveTo>
                    <a:lnTo>
                      <a:pt x="851" y="315"/>
                    </a:lnTo>
                    <a:lnTo>
                      <a:pt x="851" y="313"/>
                    </a:lnTo>
                    <a:lnTo>
                      <a:pt x="851" y="315"/>
                    </a:lnTo>
                    <a:lnTo>
                      <a:pt x="849" y="315"/>
                    </a:lnTo>
                    <a:lnTo>
                      <a:pt x="849" y="313"/>
                    </a:lnTo>
                    <a:lnTo>
                      <a:pt x="851" y="313"/>
                    </a:lnTo>
                    <a:close/>
                    <a:moveTo>
                      <a:pt x="551" y="471"/>
                    </a:moveTo>
                    <a:lnTo>
                      <a:pt x="551" y="473"/>
                    </a:lnTo>
                    <a:lnTo>
                      <a:pt x="551" y="471"/>
                    </a:lnTo>
                    <a:close/>
                    <a:moveTo>
                      <a:pt x="851" y="313"/>
                    </a:moveTo>
                    <a:lnTo>
                      <a:pt x="849" y="313"/>
                    </a:lnTo>
                    <a:lnTo>
                      <a:pt x="851" y="313"/>
                    </a:lnTo>
                    <a:close/>
                    <a:moveTo>
                      <a:pt x="849" y="315"/>
                    </a:moveTo>
                    <a:lnTo>
                      <a:pt x="847" y="315"/>
                    </a:lnTo>
                    <a:lnTo>
                      <a:pt x="849" y="315"/>
                    </a:lnTo>
                    <a:close/>
                    <a:moveTo>
                      <a:pt x="438" y="519"/>
                    </a:moveTo>
                    <a:lnTo>
                      <a:pt x="440" y="519"/>
                    </a:lnTo>
                    <a:lnTo>
                      <a:pt x="440" y="521"/>
                    </a:lnTo>
                    <a:lnTo>
                      <a:pt x="438" y="519"/>
                    </a:lnTo>
                    <a:lnTo>
                      <a:pt x="440" y="519"/>
                    </a:lnTo>
                    <a:lnTo>
                      <a:pt x="440" y="521"/>
                    </a:lnTo>
                    <a:lnTo>
                      <a:pt x="440" y="519"/>
                    </a:lnTo>
                    <a:lnTo>
                      <a:pt x="438" y="519"/>
                    </a:lnTo>
                    <a:lnTo>
                      <a:pt x="436" y="517"/>
                    </a:lnTo>
                    <a:lnTo>
                      <a:pt x="438" y="517"/>
                    </a:lnTo>
                    <a:lnTo>
                      <a:pt x="438" y="519"/>
                    </a:lnTo>
                    <a:close/>
                    <a:moveTo>
                      <a:pt x="851" y="311"/>
                    </a:moveTo>
                    <a:lnTo>
                      <a:pt x="851" y="313"/>
                    </a:lnTo>
                    <a:lnTo>
                      <a:pt x="851" y="311"/>
                    </a:lnTo>
                    <a:close/>
                    <a:moveTo>
                      <a:pt x="847" y="315"/>
                    </a:moveTo>
                    <a:lnTo>
                      <a:pt x="849" y="315"/>
                    </a:lnTo>
                    <a:lnTo>
                      <a:pt x="847" y="317"/>
                    </a:lnTo>
                    <a:lnTo>
                      <a:pt x="847" y="315"/>
                    </a:lnTo>
                    <a:close/>
                    <a:moveTo>
                      <a:pt x="553" y="469"/>
                    </a:moveTo>
                    <a:lnTo>
                      <a:pt x="553" y="471"/>
                    </a:lnTo>
                    <a:lnTo>
                      <a:pt x="553" y="469"/>
                    </a:lnTo>
                    <a:lnTo>
                      <a:pt x="555" y="469"/>
                    </a:lnTo>
                    <a:lnTo>
                      <a:pt x="553" y="469"/>
                    </a:lnTo>
                    <a:close/>
                    <a:moveTo>
                      <a:pt x="849" y="311"/>
                    </a:moveTo>
                    <a:lnTo>
                      <a:pt x="849" y="313"/>
                    </a:lnTo>
                    <a:lnTo>
                      <a:pt x="849" y="311"/>
                    </a:lnTo>
                    <a:close/>
                    <a:moveTo>
                      <a:pt x="847" y="313"/>
                    </a:moveTo>
                    <a:lnTo>
                      <a:pt x="847" y="315"/>
                    </a:lnTo>
                    <a:lnTo>
                      <a:pt x="847" y="313"/>
                    </a:lnTo>
                    <a:close/>
                    <a:moveTo>
                      <a:pt x="845" y="315"/>
                    </a:moveTo>
                    <a:lnTo>
                      <a:pt x="847" y="315"/>
                    </a:lnTo>
                    <a:lnTo>
                      <a:pt x="847" y="317"/>
                    </a:lnTo>
                    <a:lnTo>
                      <a:pt x="845" y="317"/>
                    </a:lnTo>
                    <a:lnTo>
                      <a:pt x="845" y="315"/>
                    </a:lnTo>
                    <a:close/>
                    <a:moveTo>
                      <a:pt x="849" y="313"/>
                    </a:moveTo>
                    <a:lnTo>
                      <a:pt x="847" y="313"/>
                    </a:lnTo>
                    <a:lnTo>
                      <a:pt x="849" y="313"/>
                    </a:lnTo>
                    <a:lnTo>
                      <a:pt x="847" y="313"/>
                    </a:lnTo>
                    <a:lnTo>
                      <a:pt x="847" y="311"/>
                    </a:lnTo>
                    <a:lnTo>
                      <a:pt x="847" y="313"/>
                    </a:lnTo>
                    <a:lnTo>
                      <a:pt x="849" y="313"/>
                    </a:lnTo>
                    <a:close/>
                    <a:moveTo>
                      <a:pt x="601" y="446"/>
                    </a:moveTo>
                    <a:lnTo>
                      <a:pt x="603" y="446"/>
                    </a:lnTo>
                    <a:lnTo>
                      <a:pt x="601" y="446"/>
                    </a:lnTo>
                    <a:close/>
                    <a:moveTo>
                      <a:pt x="847" y="313"/>
                    </a:moveTo>
                    <a:lnTo>
                      <a:pt x="847" y="311"/>
                    </a:lnTo>
                    <a:lnTo>
                      <a:pt x="847" y="313"/>
                    </a:lnTo>
                    <a:close/>
                    <a:moveTo>
                      <a:pt x="849" y="311"/>
                    </a:moveTo>
                    <a:lnTo>
                      <a:pt x="847" y="311"/>
                    </a:lnTo>
                    <a:lnTo>
                      <a:pt x="849" y="311"/>
                    </a:lnTo>
                    <a:lnTo>
                      <a:pt x="847" y="311"/>
                    </a:lnTo>
                    <a:lnTo>
                      <a:pt x="849" y="311"/>
                    </a:lnTo>
                    <a:close/>
                    <a:moveTo>
                      <a:pt x="849" y="311"/>
                    </a:moveTo>
                    <a:lnTo>
                      <a:pt x="847" y="311"/>
                    </a:lnTo>
                    <a:lnTo>
                      <a:pt x="849" y="311"/>
                    </a:lnTo>
                    <a:close/>
                    <a:moveTo>
                      <a:pt x="415" y="523"/>
                    </a:moveTo>
                    <a:lnTo>
                      <a:pt x="417" y="523"/>
                    </a:lnTo>
                    <a:lnTo>
                      <a:pt x="415" y="523"/>
                    </a:lnTo>
                    <a:close/>
                    <a:moveTo>
                      <a:pt x="620" y="436"/>
                    </a:moveTo>
                    <a:lnTo>
                      <a:pt x="618" y="438"/>
                    </a:lnTo>
                    <a:lnTo>
                      <a:pt x="620" y="436"/>
                    </a:lnTo>
                    <a:close/>
                    <a:moveTo>
                      <a:pt x="841" y="315"/>
                    </a:moveTo>
                    <a:lnTo>
                      <a:pt x="841" y="313"/>
                    </a:lnTo>
                    <a:lnTo>
                      <a:pt x="843" y="313"/>
                    </a:lnTo>
                    <a:lnTo>
                      <a:pt x="843" y="315"/>
                    </a:lnTo>
                    <a:lnTo>
                      <a:pt x="841" y="315"/>
                    </a:lnTo>
                    <a:lnTo>
                      <a:pt x="841" y="313"/>
                    </a:lnTo>
                    <a:lnTo>
                      <a:pt x="841" y="315"/>
                    </a:lnTo>
                    <a:close/>
                    <a:moveTo>
                      <a:pt x="753" y="367"/>
                    </a:moveTo>
                    <a:lnTo>
                      <a:pt x="753" y="369"/>
                    </a:lnTo>
                    <a:lnTo>
                      <a:pt x="753" y="367"/>
                    </a:lnTo>
                    <a:lnTo>
                      <a:pt x="751" y="367"/>
                    </a:lnTo>
                    <a:lnTo>
                      <a:pt x="753" y="367"/>
                    </a:lnTo>
                    <a:close/>
                    <a:moveTo>
                      <a:pt x="624" y="432"/>
                    </a:moveTo>
                    <a:lnTo>
                      <a:pt x="622" y="434"/>
                    </a:lnTo>
                    <a:lnTo>
                      <a:pt x="622" y="432"/>
                    </a:lnTo>
                    <a:lnTo>
                      <a:pt x="624" y="432"/>
                    </a:lnTo>
                    <a:lnTo>
                      <a:pt x="622" y="432"/>
                    </a:lnTo>
                    <a:lnTo>
                      <a:pt x="624" y="432"/>
                    </a:lnTo>
                    <a:close/>
                    <a:moveTo>
                      <a:pt x="745" y="369"/>
                    </a:moveTo>
                    <a:lnTo>
                      <a:pt x="745" y="371"/>
                    </a:lnTo>
                    <a:lnTo>
                      <a:pt x="745" y="369"/>
                    </a:lnTo>
                    <a:lnTo>
                      <a:pt x="743" y="371"/>
                    </a:lnTo>
                    <a:lnTo>
                      <a:pt x="743" y="369"/>
                    </a:lnTo>
                    <a:lnTo>
                      <a:pt x="745" y="369"/>
                    </a:lnTo>
                    <a:close/>
                    <a:moveTo>
                      <a:pt x="839" y="311"/>
                    </a:moveTo>
                    <a:lnTo>
                      <a:pt x="839" y="309"/>
                    </a:lnTo>
                    <a:lnTo>
                      <a:pt x="841" y="309"/>
                    </a:lnTo>
                    <a:lnTo>
                      <a:pt x="839" y="309"/>
                    </a:lnTo>
                    <a:lnTo>
                      <a:pt x="839" y="311"/>
                    </a:lnTo>
                    <a:close/>
                    <a:moveTo>
                      <a:pt x="828" y="311"/>
                    </a:moveTo>
                    <a:lnTo>
                      <a:pt x="828" y="313"/>
                    </a:lnTo>
                    <a:lnTo>
                      <a:pt x="826" y="313"/>
                    </a:lnTo>
                    <a:lnTo>
                      <a:pt x="828" y="313"/>
                    </a:lnTo>
                    <a:lnTo>
                      <a:pt x="828" y="311"/>
                    </a:lnTo>
                    <a:close/>
                    <a:moveTo>
                      <a:pt x="639" y="415"/>
                    </a:moveTo>
                    <a:lnTo>
                      <a:pt x="637" y="415"/>
                    </a:lnTo>
                    <a:lnTo>
                      <a:pt x="639" y="415"/>
                    </a:lnTo>
                    <a:close/>
                    <a:moveTo>
                      <a:pt x="405" y="511"/>
                    </a:moveTo>
                    <a:lnTo>
                      <a:pt x="405" y="513"/>
                    </a:lnTo>
                    <a:lnTo>
                      <a:pt x="405" y="511"/>
                    </a:lnTo>
                    <a:close/>
                    <a:moveTo>
                      <a:pt x="403" y="513"/>
                    </a:moveTo>
                    <a:lnTo>
                      <a:pt x="401" y="513"/>
                    </a:lnTo>
                    <a:lnTo>
                      <a:pt x="403" y="513"/>
                    </a:lnTo>
                    <a:close/>
                    <a:moveTo>
                      <a:pt x="376" y="523"/>
                    </a:moveTo>
                    <a:lnTo>
                      <a:pt x="374" y="523"/>
                    </a:lnTo>
                    <a:lnTo>
                      <a:pt x="376" y="523"/>
                    </a:lnTo>
                    <a:lnTo>
                      <a:pt x="374" y="523"/>
                    </a:lnTo>
                    <a:lnTo>
                      <a:pt x="376" y="523"/>
                    </a:lnTo>
                    <a:close/>
                    <a:moveTo>
                      <a:pt x="495" y="477"/>
                    </a:moveTo>
                    <a:lnTo>
                      <a:pt x="495" y="478"/>
                    </a:lnTo>
                    <a:lnTo>
                      <a:pt x="493" y="478"/>
                    </a:lnTo>
                    <a:lnTo>
                      <a:pt x="493" y="477"/>
                    </a:lnTo>
                    <a:lnTo>
                      <a:pt x="495" y="477"/>
                    </a:lnTo>
                    <a:close/>
                    <a:moveTo>
                      <a:pt x="493" y="477"/>
                    </a:moveTo>
                    <a:lnTo>
                      <a:pt x="493" y="478"/>
                    </a:lnTo>
                    <a:lnTo>
                      <a:pt x="491" y="478"/>
                    </a:lnTo>
                    <a:lnTo>
                      <a:pt x="491" y="477"/>
                    </a:lnTo>
                    <a:lnTo>
                      <a:pt x="493" y="477"/>
                    </a:lnTo>
                    <a:close/>
                    <a:moveTo>
                      <a:pt x="762" y="344"/>
                    </a:moveTo>
                    <a:lnTo>
                      <a:pt x="762" y="346"/>
                    </a:lnTo>
                    <a:lnTo>
                      <a:pt x="762" y="344"/>
                    </a:lnTo>
                    <a:close/>
                    <a:moveTo>
                      <a:pt x="407" y="509"/>
                    </a:moveTo>
                    <a:lnTo>
                      <a:pt x="407" y="507"/>
                    </a:lnTo>
                    <a:lnTo>
                      <a:pt x="409" y="509"/>
                    </a:lnTo>
                    <a:lnTo>
                      <a:pt x="407" y="509"/>
                    </a:lnTo>
                    <a:lnTo>
                      <a:pt x="407" y="507"/>
                    </a:lnTo>
                    <a:lnTo>
                      <a:pt x="407" y="509"/>
                    </a:lnTo>
                    <a:close/>
                    <a:moveTo>
                      <a:pt x="755" y="348"/>
                    </a:moveTo>
                    <a:lnTo>
                      <a:pt x="753" y="348"/>
                    </a:lnTo>
                    <a:lnTo>
                      <a:pt x="755" y="348"/>
                    </a:lnTo>
                    <a:close/>
                    <a:moveTo>
                      <a:pt x="753" y="346"/>
                    </a:moveTo>
                    <a:lnTo>
                      <a:pt x="755" y="346"/>
                    </a:lnTo>
                    <a:lnTo>
                      <a:pt x="755" y="348"/>
                    </a:lnTo>
                    <a:lnTo>
                      <a:pt x="753" y="346"/>
                    </a:lnTo>
                    <a:lnTo>
                      <a:pt x="755" y="348"/>
                    </a:lnTo>
                    <a:lnTo>
                      <a:pt x="753" y="348"/>
                    </a:lnTo>
                    <a:lnTo>
                      <a:pt x="755" y="348"/>
                    </a:lnTo>
                    <a:lnTo>
                      <a:pt x="753" y="348"/>
                    </a:lnTo>
                    <a:lnTo>
                      <a:pt x="753" y="346"/>
                    </a:lnTo>
                    <a:close/>
                    <a:moveTo>
                      <a:pt x="403" y="507"/>
                    </a:moveTo>
                    <a:lnTo>
                      <a:pt x="405" y="507"/>
                    </a:lnTo>
                    <a:lnTo>
                      <a:pt x="403" y="507"/>
                    </a:lnTo>
                    <a:lnTo>
                      <a:pt x="405" y="507"/>
                    </a:lnTo>
                    <a:lnTo>
                      <a:pt x="403" y="507"/>
                    </a:lnTo>
                    <a:close/>
                    <a:moveTo>
                      <a:pt x="407" y="507"/>
                    </a:moveTo>
                    <a:lnTo>
                      <a:pt x="407" y="505"/>
                    </a:lnTo>
                    <a:lnTo>
                      <a:pt x="407" y="507"/>
                    </a:lnTo>
                    <a:close/>
                    <a:moveTo>
                      <a:pt x="401" y="507"/>
                    </a:moveTo>
                    <a:lnTo>
                      <a:pt x="403" y="507"/>
                    </a:lnTo>
                    <a:lnTo>
                      <a:pt x="401" y="507"/>
                    </a:lnTo>
                    <a:close/>
                    <a:moveTo>
                      <a:pt x="401" y="507"/>
                    </a:moveTo>
                    <a:lnTo>
                      <a:pt x="403" y="507"/>
                    </a:lnTo>
                    <a:lnTo>
                      <a:pt x="403" y="509"/>
                    </a:lnTo>
                    <a:lnTo>
                      <a:pt x="405" y="509"/>
                    </a:lnTo>
                    <a:lnTo>
                      <a:pt x="407" y="509"/>
                    </a:lnTo>
                    <a:lnTo>
                      <a:pt x="405" y="509"/>
                    </a:lnTo>
                    <a:lnTo>
                      <a:pt x="405" y="511"/>
                    </a:lnTo>
                    <a:lnTo>
                      <a:pt x="405" y="509"/>
                    </a:lnTo>
                    <a:lnTo>
                      <a:pt x="405" y="511"/>
                    </a:lnTo>
                    <a:lnTo>
                      <a:pt x="403" y="511"/>
                    </a:lnTo>
                    <a:lnTo>
                      <a:pt x="401" y="511"/>
                    </a:lnTo>
                    <a:lnTo>
                      <a:pt x="401" y="509"/>
                    </a:lnTo>
                    <a:lnTo>
                      <a:pt x="399" y="509"/>
                    </a:lnTo>
                    <a:lnTo>
                      <a:pt x="401" y="509"/>
                    </a:lnTo>
                    <a:lnTo>
                      <a:pt x="399" y="509"/>
                    </a:lnTo>
                    <a:lnTo>
                      <a:pt x="399" y="507"/>
                    </a:lnTo>
                    <a:lnTo>
                      <a:pt x="401" y="507"/>
                    </a:lnTo>
                    <a:close/>
                    <a:moveTo>
                      <a:pt x="403" y="507"/>
                    </a:moveTo>
                    <a:lnTo>
                      <a:pt x="403" y="505"/>
                    </a:lnTo>
                    <a:lnTo>
                      <a:pt x="405" y="505"/>
                    </a:lnTo>
                    <a:lnTo>
                      <a:pt x="403" y="505"/>
                    </a:lnTo>
                    <a:lnTo>
                      <a:pt x="405" y="507"/>
                    </a:lnTo>
                    <a:lnTo>
                      <a:pt x="405" y="505"/>
                    </a:lnTo>
                    <a:lnTo>
                      <a:pt x="405" y="507"/>
                    </a:lnTo>
                    <a:lnTo>
                      <a:pt x="407" y="505"/>
                    </a:lnTo>
                    <a:lnTo>
                      <a:pt x="407" y="507"/>
                    </a:lnTo>
                    <a:lnTo>
                      <a:pt x="409" y="507"/>
                    </a:lnTo>
                    <a:lnTo>
                      <a:pt x="407" y="507"/>
                    </a:lnTo>
                    <a:lnTo>
                      <a:pt x="405" y="507"/>
                    </a:lnTo>
                    <a:lnTo>
                      <a:pt x="403" y="507"/>
                    </a:lnTo>
                    <a:lnTo>
                      <a:pt x="401" y="507"/>
                    </a:lnTo>
                    <a:lnTo>
                      <a:pt x="403" y="507"/>
                    </a:lnTo>
                    <a:lnTo>
                      <a:pt x="401" y="507"/>
                    </a:lnTo>
                    <a:lnTo>
                      <a:pt x="403" y="507"/>
                    </a:lnTo>
                    <a:close/>
                    <a:moveTo>
                      <a:pt x="415" y="500"/>
                    </a:moveTo>
                    <a:lnTo>
                      <a:pt x="415" y="502"/>
                    </a:lnTo>
                    <a:lnTo>
                      <a:pt x="415" y="500"/>
                    </a:lnTo>
                    <a:close/>
                    <a:moveTo>
                      <a:pt x="401" y="505"/>
                    </a:moveTo>
                    <a:lnTo>
                      <a:pt x="401" y="507"/>
                    </a:lnTo>
                    <a:lnTo>
                      <a:pt x="399" y="507"/>
                    </a:lnTo>
                    <a:lnTo>
                      <a:pt x="399" y="505"/>
                    </a:lnTo>
                    <a:lnTo>
                      <a:pt x="401" y="505"/>
                    </a:lnTo>
                    <a:close/>
                    <a:moveTo>
                      <a:pt x="401" y="505"/>
                    </a:moveTo>
                    <a:lnTo>
                      <a:pt x="403" y="505"/>
                    </a:lnTo>
                    <a:lnTo>
                      <a:pt x="403" y="503"/>
                    </a:lnTo>
                    <a:lnTo>
                      <a:pt x="403" y="505"/>
                    </a:lnTo>
                    <a:lnTo>
                      <a:pt x="405" y="505"/>
                    </a:lnTo>
                    <a:lnTo>
                      <a:pt x="407" y="505"/>
                    </a:lnTo>
                    <a:lnTo>
                      <a:pt x="407" y="503"/>
                    </a:lnTo>
                    <a:lnTo>
                      <a:pt x="409" y="503"/>
                    </a:lnTo>
                    <a:lnTo>
                      <a:pt x="409" y="505"/>
                    </a:lnTo>
                    <a:lnTo>
                      <a:pt x="407" y="505"/>
                    </a:lnTo>
                    <a:lnTo>
                      <a:pt x="405" y="505"/>
                    </a:lnTo>
                    <a:lnTo>
                      <a:pt x="403" y="505"/>
                    </a:lnTo>
                    <a:lnTo>
                      <a:pt x="401" y="505"/>
                    </a:lnTo>
                    <a:lnTo>
                      <a:pt x="403" y="505"/>
                    </a:lnTo>
                    <a:lnTo>
                      <a:pt x="401" y="505"/>
                    </a:lnTo>
                    <a:close/>
                    <a:moveTo>
                      <a:pt x="753" y="344"/>
                    </a:moveTo>
                    <a:lnTo>
                      <a:pt x="755" y="344"/>
                    </a:lnTo>
                    <a:lnTo>
                      <a:pt x="753" y="344"/>
                    </a:lnTo>
                    <a:lnTo>
                      <a:pt x="755" y="344"/>
                    </a:lnTo>
                    <a:lnTo>
                      <a:pt x="753" y="344"/>
                    </a:lnTo>
                    <a:lnTo>
                      <a:pt x="755" y="344"/>
                    </a:lnTo>
                    <a:lnTo>
                      <a:pt x="753" y="344"/>
                    </a:lnTo>
                    <a:lnTo>
                      <a:pt x="753" y="346"/>
                    </a:lnTo>
                    <a:lnTo>
                      <a:pt x="755" y="346"/>
                    </a:lnTo>
                    <a:lnTo>
                      <a:pt x="753" y="346"/>
                    </a:lnTo>
                    <a:lnTo>
                      <a:pt x="755" y="346"/>
                    </a:lnTo>
                    <a:lnTo>
                      <a:pt x="753" y="346"/>
                    </a:lnTo>
                    <a:lnTo>
                      <a:pt x="755" y="346"/>
                    </a:lnTo>
                    <a:lnTo>
                      <a:pt x="753" y="346"/>
                    </a:lnTo>
                    <a:lnTo>
                      <a:pt x="753" y="344"/>
                    </a:lnTo>
                    <a:lnTo>
                      <a:pt x="751" y="344"/>
                    </a:lnTo>
                    <a:lnTo>
                      <a:pt x="753" y="344"/>
                    </a:lnTo>
                    <a:close/>
                    <a:moveTo>
                      <a:pt x="363" y="519"/>
                    </a:moveTo>
                    <a:lnTo>
                      <a:pt x="365" y="519"/>
                    </a:lnTo>
                    <a:lnTo>
                      <a:pt x="367" y="519"/>
                    </a:lnTo>
                    <a:lnTo>
                      <a:pt x="368" y="519"/>
                    </a:lnTo>
                    <a:lnTo>
                      <a:pt x="370" y="519"/>
                    </a:lnTo>
                    <a:lnTo>
                      <a:pt x="370" y="521"/>
                    </a:lnTo>
                    <a:lnTo>
                      <a:pt x="372" y="521"/>
                    </a:lnTo>
                    <a:lnTo>
                      <a:pt x="372" y="523"/>
                    </a:lnTo>
                    <a:lnTo>
                      <a:pt x="372" y="525"/>
                    </a:lnTo>
                    <a:lnTo>
                      <a:pt x="370" y="525"/>
                    </a:lnTo>
                    <a:lnTo>
                      <a:pt x="370" y="523"/>
                    </a:lnTo>
                    <a:lnTo>
                      <a:pt x="368" y="523"/>
                    </a:lnTo>
                    <a:lnTo>
                      <a:pt x="367" y="523"/>
                    </a:lnTo>
                    <a:lnTo>
                      <a:pt x="367" y="521"/>
                    </a:lnTo>
                    <a:lnTo>
                      <a:pt x="365" y="521"/>
                    </a:lnTo>
                    <a:lnTo>
                      <a:pt x="363" y="519"/>
                    </a:lnTo>
                    <a:close/>
                    <a:moveTo>
                      <a:pt x="411" y="500"/>
                    </a:moveTo>
                    <a:lnTo>
                      <a:pt x="411" y="502"/>
                    </a:lnTo>
                    <a:lnTo>
                      <a:pt x="409" y="502"/>
                    </a:lnTo>
                    <a:lnTo>
                      <a:pt x="411" y="500"/>
                    </a:lnTo>
                    <a:close/>
                    <a:moveTo>
                      <a:pt x="409" y="502"/>
                    </a:moveTo>
                    <a:lnTo>
                      <a:pt x="409" y="503"/>
                    </a:lnTo>
                    <a:lnTo>
                      <a:pt x="407" y="503"/>
                    </a:lnTo>
                    <a:lnTo>
                      <a:pt x="407" y="502"/>
                    </a:lnTo>
                    <a:lnTo>
                      <a:pt x="409" y="502"/>
                    </a:lnTo>
                    <a:close/>
                    <a:moveTo>
                      <a:pt x="399" y="503"/>
                    </a:moveTo>
                    <a:lnTo>
                      <a:pt x="399" y="505"/>
                    </a:lnTo>
                    <a:lnTo>
                      <a:pt x="399" y="503"/>
                    </a:lnTo>
                    <a:close/>
                    <a:moveTo>
                      <a:pt x="409" y="502"/>
                    </a:moveTo>
                    <a:lnTo>
                      <a:pt x="407" y="502"/>
                    </a:lnTo>
                    <a:lnTo>
                      <a:pt x="409" y="502"/>
                    </a:lnTo>
                    <a:close/>
                    <a:moveTo>
                      <a:pt x="411" y="500"/>
                    </a:moveTo>
                    <a:lnTo>
                      <a:pt x="409" y="502"/>
                    </a:lnTo>
                    <a:lnTo>
                      <a:pt x="409" y="500"/>
                    </a:lnTo>
                    <a:lnTo>
                      <a:pt x="411" y="500"/>
                    </a:lnTo>
                    <a:close/>
                    <a:moveTo>
                      <a:pt x="751" y="342"/>
                    </a:moveTo>
                    <a:lnTo>
                      <a:pt x="751" y="344"/>
                    </a:lnTo>
                    <a:lnTo>
                      <a:pt x="751" y="342"/>
                    </a:lnTo>
                    <a:lnTo>
                      <a:pt x="751" y="344"/>
                    </a:lnTo>
                    <a:lnTo>
                      <a:pt x="751" y="342"/>
                    </a:lnTo>
                    <a:close/>
                    <a:moveTo>
                      <a:pt x="405" y="502"/>
                    </a:moveTo>
                    <a:lnTo>
                      <a:pt x="407" y="502"/>
                    </a:lnTo>
                    <a:lnTo>
                      <a:pt x="405" y="502"/>
                    </a:lnTo>
                    <a:close/>
                    <a:moveTo>
                      <a:pt x="359" y="519"/>
                    </a:moveTo>
                    <a:lnTo>
                      <a:pt x="361" y="519"/>
                    </a:lnTo>
                    <a:lnTo>
                      <a:pt x="363" y="519"/>
                    </a:lnTo>
                    <a:lnTo>
                      <a:pt x="363" y="521"/>
                    </a:lnTo>
                    <a:lnTo>
                      <a:pt x="365" y="521"/>
                    </a:lnTo>
                    <a:lnTo>
                      <a:pt x="363" y="521"/>
                    </a:lnTo>
                    <a:lnTo>
                      <a:pt x="361" y="521"/>
                    </a:lnTo>
                    <a:lnTo>
                      <a:pt x="361" y="519"/>
                    </a:lnTo>
                    <a:lnTo>
                      <a:pt x="359" y="519"/>
                    </a:lnTo>
                    <a:close/>
                    <a:moveTo>
                      <a:pt x="413" y="500"/>
                    </a:moveTo>
                    <a:lnTo>
                      <a:pt x="411" y="500"/>
                    </a:lnTo>
                    <a:lnTo>
                      <a:pt x="413" y="500"/>
                    </a:lnTo>
                    <a:close/>
                    <a:moveTo>
                      <a:pt x="415" y="498"/>
                    </a:moveTo>
                    <a:lnTo>
                      <a:pt x="415" y="500"/>
                    </a:lnTo>
                    <a:lnTo>
                      <a:pt x="413" y="500"/>
                    </a:lnTo>
                    <a:lnTo>
                      <a:pt x="415" y="498"/>
                    </a:lnTo>
                    <a:close/>
                    <a:moveTo>
                      <a:pt x="399" y="503"/>
                    </a:moveTo>
                    <a:lnTo>
                      <a:pt x="397" y="503"/>
                    </a:lnTo>
                    <a:lnTo>
                      <a:pt x="399" y="503"/>
                    </a:lnTo>
                    <a:close/>
                    <a:moveTo>
                      <a:pt x="403" y="503"/>
                    </a:moveTo>
                    <a:lnTo>
                      <a:pt x="401" y="503"/>
                    </a:lnTo>
                    <a:lnTo>
                      <a:pt x="403" y="503"/>
                    </a:lnTo>
                    <a:close/>
                    <a:moveTo>
                      <a:pt x="399" y="503"/>
                    </a:moveTo>
                    <a:lnTo>
                      <a:pt x="397" y="503"/>
                    </a:lnTo>
                    <a:lnTo>
                      <a:pt x="399" y="503"/>
                    </a:lnTo>
                    <a:close/>
                    <a:moveTo>
                      <a:pt x="401" y="503"/>
                    </a:moveTo>
                    <a:lnTo>
                      <a:pt x="399" y="503"/>
                    </a:lnTo>
                    <a:lnTo>
                      <a:pt x="401" y="503"/>
                    </a:lnTo>
                    <a:lnTo>
                      <a:pt x="399" y="503"/>
                    </a:lnTo>
                    <a:lnTo>
                      <a:pt x="401" y="503"/>
                    </a:lnTo>
                    <a:close/>
                    <a:moveTo>
                      <a:pt x="401" y="503"/>
                    </a:moveTo>
                    <a:lnTo>
                      <a:pt x="399" y="503"/>
                    </a:lnTo>
                    <a:lnTo>
                      <a:pt x="401" y="503"/>
                    </a:lnTo>
                    <a:close/>
                    <a:moveTo>
                      <a:pt x="764" y="336"/>
                    </a:moveTo>
                    <a:lnTo>
                      <a:pt x="764" y="334"/>
                    </a:lnTo>
                    <a:lnTo>
                      <a:pt x="764" y="336"/>
                    </a:lnTo>
                    <a:close/>
                    <a:moveTo>
                      <a:pt x="755" y="338"/>
                    </a:moveTo>
                    <a:lnTo>
                      <a:pt x="755" y="340"/>
                    </a:lnTo>
                    <a:lnTo>
                      <a:pt x="755" y="338"/>
                    </a:lnTo>
                    <a:close/>
                    <a:moveTo>
                      <a:pt x="397" y="503"/>
                    </a:moveTo>
                    <a:lnTo>
                      <a:pt x="395" y="503"/>
                    </a:lnTo>
                    <a:lnTo>
                      <a:pt x="397" y="503"/>
                    </a:lnTo>
                    <a:close/>
                    <a:moveTo>
                      <a:pt x="403" y="502"/>
                    </a:moveTo>
                    <a:lnTo>
                      <a:pt x="405" y="502"/>
                    </a:lnTo>
                    <a:lnTo>
                      <a:pt x="403" y="502"/>
                    </a:lnTo>
                    <a:lnTo>
                      <a:pt x="403" y="503"/>
                    </a:lnTo>
                    <a:lnTo>
                      <a:pt x="401" y="503"/>
                    </a:lnTo>
                    <a:lnTo>
                      <a:pt x="401" y="502"/>
                    </a:lnTo>
                    <a:lnTo>
                      <a:pt x="403" y="502"/>
                    </a:lnTo>
                    <a:close/>
                    <a:moveTo>
                      <a:pt x="757" y="338"/>
                    </a:moveTo>
                    <a:lnTo>
                      <a:pt x="755" y="338"/>
                    </a:lnTo>
                    <a:lnTo>
                      <a:pt x="757" y="338"/>
                    </a:lnTo>
                    <a:close/>
                    <a:moveTo>
                      <a:pt x="401" y="502"/>
                    </a:moveTo>
                    <a:lnTo>
                      <a:pt x="401" y="503"/>
                    </a:lnTo>
                    <a:lnTo>
                      <a:pt x="399" y="502"/>
                    </a:lnTo>
                    <a:lnTo>
                      <a:pt x="401" y="502"/>
                    </a:lnTo>
                    <a:close/>
                    <a:moveTo>
                      <a:pt x="399" y="502"/>
                    </a:moveTo>
                    <a:lnTo>
                      <a:pt x="399" y="503"/>
                    </a:lnTo>
                    <a:lnTo>
                      <a:pt x="399" y="502"/>
                    </a:lnTo>
                    <a:close/>
                    <a:moveTo>
                      <a:pt x="363" y="515"/>
                    </a:moveTo>
                    <a:lnTo>
                      <a:pt x="361" y="515"/>
                    </a:lnTo>
                    <a:lnTo>
                      <a:pt x="363" y="515"/>
                    </a:lnTo>
                    <a:close/>
                    <a:moveTo>
                      <a:pt x="758" y="336"/>
                    </a:moveTo>
                    <a:lnTo>
                      <a:pt x="757" y="338"/>
                    </a:lnTo>
                    <a:lnTo>
                      <a:pt x="757" y="336"/>
                    </a:lnTo>
                    <a:lnTo>
                      <a:pt x="758" y="336"/>
                    </a:lnTo>
                    <a:close/>
                    <a:moveTo>
                      <a:pt x="415" y="496"/>
                    </a:moveTo>
                    <a:lnTo>
                      <a:pt x="417" y="496"/>
                    </a:lnTo>
                    <a:lnTo>
                      <a:pt x="417" y="498"/>
                    </a:lnTo>
                    <a:lnTo>
                      <a:pt x="415" y="498"/>
                    </a:lnTo>
                    <a:lnTo>
                      <a:pt x="415" y="496"/>
                    </a:lnTo>
                    <a:close/>
                    <a:moveTo>
                      <a:pt x="407" y="500"/>
                    </a:moveTo>
                    <a:lnTo>
                      <a:pt x="405" y="500"/>
                    </a:lnTo>
                    <a:lnTo>
                      <a:pt x="407" y="500"/>
                    </a:lnTo>
                    <a:close/>
                    <a:moveTo>
                      <a:pt x="413" y="498"/>
                    </a:moveTo>
                    <a:lnTo>
                      <a:pt x="415" y="498"/>
                    </a:lnTo>
                    <a:lnTo>
                      <a:pt x="413" y="498"/>
                    </a:lnTo>
                    <a:lnTo>
                      <a:pt x="411" y="498"/>
                    </a:lnTo>
                    <a:lnTo>
                      <a:pt x="413" y="498"/>
                    </a:lnTo>
                    <a:lnTo>
                      <a:pt x="415" y="498"/>
                    </a:lnTo>
                    <a:lnTo>
                      <a:pt x="413" y="498"/>
                    </a:lnTo>
                    <a:lnTo>
                      <a:pt x="415" y="498"/>
                    </a:lnTo>
                    <a:lnTo>
                      <a:pt x="413" y="500"/>
                    </a:lnTo>
                    <a:lnTo>
                      <a:pt x="411" y="498"/>
                    </a:lnTo>
                    <a:lnTo>
                      <a:pt x="409" y="498"/>
                    </a:lnTo>
                    <a:lnTo>
                      <a:pt x="411" y="498"/>
                    </a:lnTo>
                    <a:lnTo>
                      <a:pt x="413" y="498"/>
                    </a:lnTo>
                    <a:close/>
                    <a:moveTo>
                      <a:pt x="401" y="502"/>
                    </a:moveTo>
                    <a:lnTo>
                      <a:pt x="399" y="502"/>
                    </a:lnTo>
                    <a:lnTo>
                      <a:pt x="401" y="502"/>
                    </a:lnTo>
                    <a:close/>
                    <a:moveTo>
                      <a:pt x="397" y="502"/>
                    </a:moveTo>
                    <a:lnTo>
                      <a:pt x="399" y="502"/>
                    </a:lnTo>
                    <a:lnTo>
                      <a:pt x="399" y="503"/>
                    </a:lnTo>
                    <a:lnTo>
                      <a:pt x="397" y="503"/>
                    </a:lnTo>
                    <a:lnTo>
                      <a:pt x="397" y="502"/>
                    </a:lnTo>
                    <a:lnTo>
                      <a:pt x="397" y="503"/>
                    </a:lnTo>
                    <a:lnTo>
                      <a:pt x="397" y="502"/>
                    </a:lnTo>
                    <a:close/>
                    <a:moveTo>
                      <a:pt x="403" y="500"/>
                    </a:moveTo>
                    <a:lnTo>
                      <a:pt x="403" y="502"/>
                    </a:lnTo>
                    <a:lnTo>
                      <a:pt x="405" y="502"/>
                    </a:lnTo>
                    <a:lnTo>
                      <a:pt x="403" y="502"/>
                    </a:lnTo>
                    <a:lnTo>
                      <a:pt x="401" y="502"/>
                    </a:lnTo>
                    <a:lnTo>
                      <a:pt x="399" y="502"/>
                    </a:lnTo>
                    <a:lnTo>
                      <a:pt x="401" y="500"/>
                    </a:lnTo>
                    <a:lnTo>
                      <a:pt x="403" y="500"/>
                    </a:lnTo>
                    <a:close/>
                    <a:moveTo>
                      <a:pt x="409" y="500"/>
                    </a:moveTo>
                    <a:lnTo>
                      <a:pt x="407" y="500"/>
                    </a:lnTo>
                    <a:lnTo>
                      <a:pt x="409" y="500"/>
                    </a:lnTo>
                    <a:lnTo>
                      <a:pt x="411" y="500"/>
                    </a:lnTo>
                    <a:lnTo>
                      <a:pt x="409" y="500"/>
                    </a:lnTo>
                    <a:lnTo>
                      <a:pt x="407" y="502"/>
                    </a:lnTo>
                    <a:lnTo>
                      <a:pt x="405" y="502"/>
                    </a:lnTo>
                    <a:lnTo>
                      <a:pt x="403" y="502"/>
                    </a:lnTo>
                    <a:lnTo>
                      <a:pt x="403" y="500"/>
                    </a:lnTo>
                    <a:lnTo>
                      <a:pt x="405" y="500"/>
                    </a:lnTo>
                    <a:lnTo>
                      <a:pt x="407" y="500"/>
                    </a:lnTo>
                    <a:lnTo>
                      <a:pt x="409" y="500"/>
                    </a:lnTo>
                    <a:lnTo>
                      <a:pt x="409" y="498"/>
                    </a:lnTo>
                    <a:lnTo>
                      <a:pt x="411" y="498"/>
                    </a:lnTo>
                    <a:lnTo>
                      <a:pt x="411" y="500"/>
                    </a:lnTo>
                    <a:lnTo>
                      <a:pt x="409" y="500"/>
                    </a:lnTo>
                    <a:close/>
                    <a:moveTo>
                      <a:pt x="395" y="502"/>
                    </a:moveTo>
                    <a:lnTo>
                      <a:pt x="395" y="503"/>
                    </a:lnTo>
                    <a:lnTo>
                      <a:pt x="395" y="502"/>
                    </a:lnTo>
                    <a:lnTo>
                      <a:pt x="395" y="503"/>
                    </a:lnTo>
                    <a:lnTo>
                      <a:pt x="395" y="502"/>
                    </a:lnTo>
                    <a:close/>
                    <a:moveTo>
                      <a:pt x="397" y="502"/>
                    </a:moveTo>
                    <a:lnTo>
                      <a:pt x="399" y="502"/>
                    </a:lnTo>
                    <a:lnTo>
                      <a:pt x="397" y="502"/>
                    </a:lnTo>
                    <a:close/>
                    <a:moveTo>
                      <a:pt x="757" y="336"/>
                    </a:moveTo>
                    <a:lnTo>
                      <a:pt x="757" y="338"/>
                    </a:lnTo>
                    <a:lnTo>
                      <a:pt x="755" y="338"/>
                    </a:lnTo>
                    <a:lnTo>
                      <a:pt x="755" y="336"/>
                    </a:lnTo>
                    <a:lnTo>
                      <a:pt x="757" y="336"/>
                    </a:lnTo>
                    <a:close/>
                    <a:moveTo>
                      <a:pt x="395" y="502"/>
                    </a:moveTo>
                    <a:lnTo>
                      <a:pt x="397" y="502"/>
                    </a:lnTo>
                    <a:lnTo>
                      <a:pt x="395" y="502"/>
                    </a:lnTo>
                    <a:lnTo>
                      <a:pt x="397" y="502"/>
                    </a:lnTo>
                    <a:lnTo>
                      <a:pt x="395" y="502"/>
                    </a:lnTo>
                    <a:close/>
                    <a:moveTo>
                      <a:pt x="415" y="496"/>
                    </a:moveTo>
                    <a:lnTo>
                      <a:pt x="413" y="496"/>
                    </a:lnTo>
                    <a:lnTo>
                      <a:pt x="415" y="496"/>
                    </a:lnTo>
                    <a:lnTo>
                      <a:pt x="415" y="494"/>
                    </a:lnTo>
                    <a:lnTo>
                      <a:pt x="417" y="494"/>
                    </a:lnTo>
                    <a:lnTo>
                      <a:pt x="418" y="494"/>
                    </a:lnTo>
                    <a:lnTo>
                      <a:pt x="417" y="494"/>
                    </a:lnTo>
                    <a:lnTo>
                      <a:pt x="417" y="496"/>
                    </a:lnTo>
                    <a:lnTo>
                      <a:pt x="415" y="496"/>
                    </a:lnTo>
                    <a:close/>
                    <a:moveTo>
                      <a:pt x="418" y="494"/>
                    </a:moveTo>
                    <a:lnTo>
                      <a:pt x="417" y="494"/>
                    </a:lnTo>
                    <a:lnTo>
                      <a:pt x="417" y="492"/>
                    </a:lnTo>
                    <a:lnTo>
                      <a:pt x="418" y="494"/>
                    </a:lnTo>
                    <a:close/>
                    <a:moveTo>
                      <a:pt x="413" y="496"/>
                    </a:moveTo>
                    <a:lnTo>
                      <a:pt x="411" y="496"/>
                    </a:lnTo>
                    <a:lnTo>
                      <a:pt x="413" y="496"/>
                    </a:lnTo>
                    <a:lnTo>
                      <a:pt x="413" y="494"/>
                    </a:lnTo>
                    <a:lnTo>
                      <a:pt x="413" y="496"/>
                    </a:lnTo>
                    <a:close/>
                    <a:moveTo>
                      <a:pt x="411" y="496"/>
                    </a:moveTo>
                    <a:lnTo>
                      <a:pt x="409" y="496"/>
                    </a:lnTo>
                    <a:lnTo>
                      <a:pt x="411" y="496"/>
                    </a:lnTo>
                    <a:close/>
                    <a:moveTo>
                      <a:pt x="417" y="492"/>
                    </a:moveTo>
                    <a:lnTo>
                      <a:pt x="418" y="492"/>
                    </a:lnTo>
                    <a:lnTo>
                      <a:pt x="417" y="492"/>
                    </a:lnTo>
                    <a:lnTo>
                      <a:pt x="417" y="494"/>
                    </a:lnTo>
                    <a:lnTo>
                      <a:pt x="417" y="492"/>
                    </a:lnTo>
                    <a:close/>
                    <a:moveTo>
                      <a:pt x="401" y="500"/>
                    </a:moveTo>
                    <a:lnTo>
                      <a:pt x="403" y="498"/>
                    </a:lnTo>
                    <a:lnTo>
                      <a:pt x="403" y="500"/>
                    </a:lnTo>
                    <a:lnTo>
                      <a:pt x="401" y="500"/>
                    </a:lnTo>
                    <a:lnTo>
                      <a:pt x="403" y="500"/>
                    </a:lnTo>
                    <a:lnTo>
                      <a:pt x="401" y="500"/>
                    </a:lnTo>
                    <a:lnTo>
                      <a:pt x="399" y="500"/>
                    </a:lnTo>
                    <a:lnTo>
                      <a:pt x="401" y="500"/>
                    </a:lnTo>
                    <a:lnTo>
                      <a:pt x="399" y="500"/>
                    </a:lnTo>
                    <a:lnTo>
                      <a:pt x="401" y="500"/>
                    </a:lnTo>
                    <a:close/>
                    <a:moveTo>
                      <a:pt x="395" y="502"/>
                    </a:moveTo>
                    <a:lnTo>
                      <a:pt x="395" y="500"/>
                    </a:lnTo>
                    <a:lnTo>
                      <a:pt x="395" y="502"/>
                    </a:lnTo>
                    <a:close/>
                    <a:moveTo>
                      <a:pt x="401" y="498"/>
                    </a:moveTo>
                    <a:lnTo>
                      <a:pt x="403" y="498"/>
                    </a:lnTo>
                    <a:lnTo>
                      <a:pt x="405" y="498"/>
                    </a:lnTo>
                    <a:lnTo>
                      <a:pt x="405" y="496"/>
                    </a:lnTo>
                    <a:lnTo>
                      <a:pt x="407" y="496"/>
                    </a:lnTo>
                    <a:lnTo>
                      <a:pt x="409" y="496"/>
                    </a:lnTo>
                    <a:lnTo>
                      <a:pt x="407" y="496"/>
                    </a:lnTo>
                    <a:lnTo>
                      <a:pt x="407" y="498"/>
                    </a:lnTo>
                    <a:lnTo>
                      <a:pt x="407" y="496"/>
                    </a:lnTo>
                    <a:lnTo>
                      <a:pt x="409" y="496"/>
                    </a:lnTo>
                    <a:lnTo>
                      <a:pt x="411" y="496"/>
                    </a:lnTo>
                    <a:lnTo>
                      <a:pt x="411" y="498"/>
                    </a:lnTo>
                    <a:lnTo>
                      <a:pt x="411" y="496"/>
                    </a:lnTo>
                    <a:lnTo>
                      <a:pt x="413" y="496"/>
                    </a:lnTo>
                    <a:lnTo>
                      <a:pt x="413" y="498"/>
                    </a:lnTo>
                    <a:lnTo>
                      <a:pt x="415" y="496"/>
                    </a:lnTo>
                    <a:lnTo>
                      <a:pt x="415" y="498"/>
                    </a:lnTo>
                    <a:lnTo>
                      <a:pt x="413" y="498"/>
                    </a:lnTo>
                    <a:lnTo>
                      <a:pt x="411" y="498"/>
                    </a:lnTo>
                    <a:lnTo>
                      <a:pt x="409" y="498"/>
                    </a:lnTo>
                    <a:lnTo>
                      <a:pt x="407" y="498"/>
                    </a:lnTo>
                    <a:lnTo>
                      <a:pt x="407" y="500"/>
                    </a:lnTo>
                    <a:lnTo>
                      <a:pt x="409" y="498"/>
                    </a:lnTo>
                    <a:lnTo>
                      <a:pt x="409" y="500"/>
                    </a:lnTo>
                    <a:lnTo>
                      <a:pt x="407" y="500"/>
                    </a:lnTo>
                    <a:lnTo>
                      <a:pt x="405" y="500"/>
                    </a:lnTo>
                    <a:lnTo>
                      <a:pt x="403" y="500"/>
                    </a:lnTo>
                    <a:lnTo>
                      <a:pt x="403" y="498"/>
                    </a:lnTo>
                    <a:lnTo>
                      <a:pt x="401" y="498"/>
                    </a:lnTo>
                    <a:close/>
                    <a:moveTo>
                      <a:pt x="359" y="511"/>
                    </a:moveTo>
                    <a:lnTo>
                      <a:pt x="359" y="513"/>
                    </a:lnTo>
                    <a:lnTo>
                      <a:pt x="359" y="511"/>
                    </a:lnTo>
                    <a:lnTo>
                      <a:pt x="359" y="513"/>
                    </a:lnTo>
                    <a:lnTo>
                      <a:pt x="361" y="513"/>
                    </a:lnTo>
                    <a:lnTo>
                      <a:pt x="359" y="513"/>
                    </a:lnTo>
                    <a:lnTo>
                      <a:pt x="359" y="511"/>
                    </a:lnTo>
                    <a:close/>
                    <a:moveTo>
                      <a:pt x="393" y="500"/>
                    </a:moveTo>
                    <a:lnTo>
                      <a:pt x="395" y="500"/>
                    </a:lnTo>
                    <a:lnTo>
                      <a:pt x="393" y="500"/>
                    </a:lnTo>
                    <a:close/>
                    <a:moveTo>
                      <a:pt x="397" y="502"/>
                    </a:moveTo>
                    <a:lnTo>
                      <a:pt x="395" y="502"/>
                    </a:lnTo>
                    <a:lnTo>
                      <a:pt x="397" y="502"/>
                    </a:lnTo>
                    <a:lnTo>
                      <a:pt x="395" y="502"/>
                    </a:lnTo>
                    <a:lnTo>
                      <a:pt x="395" y="500"/>
                    </a:lnTo>
                    <a:lnTo>
                      <a:pt x="397" y="498"/>
                    </a:lnTo>
                    <a:lnTo>
                      <a:pt x="397" y="500"/>
                    </a:lnTo>
                    <a:lnTo>
                      <a:pt x="397" y="498"/>
                    </a:lnTo>
                    <a:lnTo>
                      <a:pt x="397" y="500"/>
                    </a:lnTo>
                    <a:lnTo>
                      <a:pt x="397" y="498"/>
                    </a:lnTo>
                    <a:lnTo>
                      <a:pt x="397" y="500"/>
                    </a:lnTo>
                    <a:lnTo>
                      <a:pt x="399" y="500"/>
                    </a:lnTo>
                    <a:lnTo>
                      <a:pt x="397" y="500"/>
                    </a:lnTo>
                    <a:lnTo>
                      <a:pt x="399" y="500"/>
                    </a:lnTo>
                    <a:lnTo>
                      <a:pt x="401" y="500"/>
                    </a:lnTo>
                    <a:lnTo>
                      <a:pt x="399" y="502"/>
                    </a:lnTo>
                    <a:lnTo>
                      <a:pt x="397" y="502"/>
                    </a:lnTo>
                    <a:close/>
                    <a:moveTo>
                      <a:pt x="407" y="496"/>
                    </a:moveTo>
                    <a:lnTo>
                      <a:pt x="409" y="494"/>
                    </a:lnTo>
                    <a:lnTo>
                      <a:pt x="409" y="496"/>
                    </a:lnTo>
                    <a:lnTo>
                      <a:pt x="409" y="494"/>
                    </a:lnTo>
                    <a:lnTo>
                      <a:pt x="409" y="496"/>
                    </a:lnTo>
                    <a:lnTo>
                      <a:pt x="407" y="496"/>
                    </a:lnTo>
                    <a:lnTo>
                      <a:pt x="405" y="496"/>
                    </a:lnTo>
                    <a:lnTo>
                      <a:pt x="407" y="496"/>
                    </a:lnTo>
                    <a:close/>
                    <a:moveTo>
                      <a:pt x="418" y="492"/>
                    </a:moveTo>
                    <a:lnTo>
                      <a:pt x="418" y="490"/>
                    </a:lnTo>
                    <a:lnTo>
                      <a:pt x="418" y="492"/>
                    </a:lnTo>
                    <a:close/>
                    <a:moveTo>
                      <a:pt x="401" y="498"/>
                    </a:moveTo>
                    <a:lnTo>
                      <a:pt x="399" y="498"/>
                    </a:lnTo>
                    <a:lnTo>
                      <a:pt x="401" y="498"/>
                    </a:lnTo>
                    <a:lnTo>
                      <a:pt x="401" y="500"/>
                    </a:lnTo>
                    <a:lnTo>
                      <a:pt x="399" y="500"/>
                    </a:lnTo>
                    <a:lnTo>
                      <a:pt x="397" y="498"/>
                    </a:lnTo>
                    <a:lnTo>
                      <a:pt x="399" y="498"/>
                    </a:lnTo>
                    <a:lnTo>
                      <a:pt x="401" y="498"/>
                    </a:lnTo>
                    <a:lnTo>
                      <a:pt x="403" y="498"/>
                    </a:lnTo>
                    <a:lnTo>
                      <a:pt x="401" y="498"/>
                    </a:lnTo>
                    <a:close/>
                    <a:moveTo>
                      <a:pt x="403" y="496"/>
                    </a:moveTo>
                    <a:lnTo>
                      <a:pt x="405" y="496"/>
                    </a:lnTo>
                    <a:lnTo>
                      <a:pt x="403" y="496"/>
                    </a:lnTo>
                    <a:lnTo>
                      <a:pt x="405" y="496"/>
                    </a:lnTo>
                    <a:lnTo>
                      <a:pt x="405" y="494"/>
                    </a:lnTo>
                    <a:lnTo>
                      <a:pt x="407" y="494"/>
                    </a:lnTo>
                    <a:lnTo>
                      <a:pt x="407" y="496"/>
                    </a:lnTo>
                    <a:lnTo>
                      <a:pt x="405" y="496"/>
                    </a:lnTo>
                    <a:lnTo>
                      <a:pt x="403" y="498"/>
                    </a:lnTo>
                    <a:lnTo>
                      <a:pt x="401" y="498"/>
                    </a:lnTo>
                    <a:lnTo>
                      <a:pt x="403" y="496"/>
                    </a:lnTo>
                    <a:close/>
                    <a:moveTo>
                      <a:pt x="393" y="500"/>
                    </a:moveTo>
                    <a:lnTo>
                      <a:pt x="392" y="500"/>
                    </a:lnTo>
                    <a:lnTo>
                      <a:pt x="393" y="500"/>
                    </a:lnTo>
                    <a:close/>
                    <a:moveTo>
                      <a:pt x="393" y="498"/>
                    </a:moveTo>
                    <a:lnTo>
                      <a:pt x="395" y="498"/>
                    </a:lnTo>
                    <a:lnTo>
                      <a:pt x="393" y="498"/>
                    </a:lnTo>
                    <a:lnTo>
                      <a:pt x="393" y="500"/>
                    </a:lnTo>
                    <a:lnTo>
                      <a:pt x="393" y="498"/>
                    </a:lnTo>
                    <a:lnTo>
                      <a:pt x="393" y="500"/>
                    </a:lnTo>
                    <a:lnTo>
                      <a:pt x="393" y="498"/>
                    </a:lnTo>
                    <a:close/>
                    <a:moveTo>
                      <a:pt x="395" y="498"/>
                    </a:moveTo>
                    <a:lnTo>
                      <a:pt x="397" y="498"/>
                    </a:lnTo>
                    <a:lnTo>
                      <a:pt x="395" y="498"/>
                    </a:lnTo>
                    <a:close/>
                    <a:moveTo>
                      <a:pt x="286" y="536"/>
                    </a:moveTo>
                    <a:lnTo>
                      <a:pt x="284" y="534"/>
                    </a:lnTo>
                    <a:lnTo>
                      <a:pt x="282" y="534"/>
                    </a:lnTo>
                    <a:lnTo>
                      <a:pt x="284" y="534"/>
                    </a:lnTo>
                    <a:lnTo>
                      <a:pt x="286" y="536"/>
                    </a:lnTo>
                    <a:close/>
                    <a:moveTo>
                      <a:pt x="361" y="509"/>
                    </a:moveTo>
                    <a:lnTo>
                      <a:pt x="361" y="511"/>
                    </a:lnTo>
                    <a:lnTo>
                      <a:pt x="361" y="513"/>
                    </a:lnTo>
                    <a:lnTo>
                      <a:pt x="361" y="511"/>
                    </a:lnTo>
                    <a:lnTo>
                      <a:pt x="359" y="511"/>
                    </a:lnTo>
                    <a:lnTo>
                      <a:pt x="359" y="509"/>
                    </a:lnTo>
                    <a:lnTo>
                      <a:pt x="361" y="509"/>
                    </a:lnTo>
                    <a:close/>
                    <a:moveTo>
                      <a:pt x="397" y="498"/>
                    </a:moveTo>
                    <a:lnTo>
                      <a:pt x="395" y="498"/>
                    </a:lnTo>
                    <a:lnTo>
                      <a:pt x="397" y="498"/>
                    </a:lnTo>
                    <a:close/>
                    <a:moveTo>
                      <a:pt x="390" y="498"/>
                    </a:moveTo>
                    <a:lnTo>
                      <a:pt x="392" y="498"/>
                    </a:lnTo>
                    <a:lnTo>
                      <a:pt x="392" y="500"/>
                    </a:lnTo>
                    <a:lnTo>
                      <a:pt x="392" y="498"/>
                    </a:lnTo>
                    <a:lnTo>
                      <a:pt x="390" y="498"/>
                    </a:lnTo>
                    <a:close/>
                    <a:moveTo>
                      <a:pt x="351" y="513"/>
                    </a:moveTo>
                    <a:lnTo>
                      <a:pt x="349" y="513"/>
                    </a:lnTo>
                    <a:lnTo>
                      <a:pt x="351" y="513"/>
                    </a:lnTo>
                    <a:close/>
                    <a:moveTo>
                      <a:pt x="359" y="511"/>
                    </a:moveTo>
                    <a:lnTo>
                      <a:pt x="357" y="511"/>
                    </a:lnTo>
                    <a:lnTo>
                      <a:pt x="357" y="509"/>
                    </a:lnTo>
                    <a:lnTo>
                      <a:pt x="359" y="509"/>
                    </a:lnTo>
                    <a:lnTo>
                      <a:pt x="359" y="511"/>
                    </a:lnTo>
                    <a:close/>
                    <a:moveTo>
                      <a:pt x="282" y="534"/>
                    </a:moveTo>
                    <a:lnTo>
                      <a:pt x="282" y="532"/>
                    </a:lnTo>
                    <a:lnTo>
                      <a:pt x="282" y="534"/>
                    </a:lnTo>
                    <a:close/>
                    <a:moveTo>
                      <a:pt x="403" y="494"/>
                    </a:moveTo>
                    <a:lnTo>
                      <a:pt x="405" y="494"/>
                    </a:lnTo>
                    <a:lnTo>
                      <a:pt x="403" y="494"/>
                    </a:lnTo>
                    <a:lnTo>
                      <a:pt x="403" y="496"/>
                    </a:lnTo>
                    <a:lnTo>
                      <a:pt x="401" y="496"/>
                    </a:lnTo>
                    <a:lnTo>
                      <a:pt x="403" y="496"/>
                    </a:lnTo>
                    <a:lnTo>
                      <a:pt x="401" y="496"/>
                    </a:lnTo>
                    <a:lnTo>
                      <a:pt x="399" y="496"/>
                    </a:lnTo>
                    <a:lnTo>
                      <a:pt x="401" y="496"/>
                    </a:lnTo>
                    <a:lnTo>
                      <a:pt x="401" y="494"/>
                    </a:lnTo>
                    <a:lnTo>
                      <a:pt x="403" y="494"/>
                    </a:lnTo>
                    <a:close/>
                    <a:moveTo>
                      <a:pt x="745" y="336"/>
                    </a:moveTo>
                    <a:lnTo>
                      <a:pt x="743" y="336"/>
                    </a:lnTo>
                    <a:lnTo>
                      <a:pt x="745" y="336"/>
                    </a:lnTo>
                    <a:close/>
                    <a:moveTo>
                      <a:pt x="395" y="496"/>
                    </a:moveTo>
                    <a:lnTo>
                      <a:pt x="397" y="496"/>
                    </a:lnTo>
                    <a:lnTo>
                      <a:pt x="395" y="496"/>
                    </a:lnTo>
                    <a:lnTo>
                      <a:pt x="397" y="496"/>
                    </a:lnTo>
                    <a:lnTo>
                      <a:pt x="399" y="496"/>
                    </a:lnTo>
                    <a:lnTo>
                      <a:pt x="401" y="496"/>
                    </a:lnTo>
                    <a:lnTo>
                      <a:pt x="403" y="496"/>
                    </a:lnTo>
                    <a:lnTo>
                      <a:pt x="401" y="496"/>
                    </a:lnTo>
                    <a:lnTo>
                      <a:pt x="403" y="496"/>
                    </a:lnTo>
                    <a:lnTo>
                      <a:pt x="401" y="498"/>
                    </a:lnTo>
                    <a:lnTo>
                      <a:pt x="399" y="498"/>
                    </a:lnTo>
                    <a:lnTo>
                      <a:pt x="397" y="498"/>
                    </a:lnTo>
                    <a:lnTo>
                      <a:pt x="397" y="496"/>
                    </a:lnTo>
                    <a:lnTo>
                      <a:pt x="395" y="496"/>
                    </a:lnTo>
                    <a:close/>
                    <a:moveTo>
                      <a:pt x="399" y="494"/>
                    </a:moveTo>
                    <a:lnTo>
                      <a:pt x="399" y="496"/>
                    </a:lnTo>
                    <a:lnTo>
                      <a:pt x="401" y="496"/>
                    </a:lnTo>
                    <a:lnTo>
                      <a:pt x="399" y="496"/>
                    </a:lnTo>
                    <a:lnTo>
                      <a:pt x="397" y="496"/>
                    </a:lnTo>
                    <a:lnTo>
                      <a:pt x="399" y="496"/>
                    </a:lnTo>
                    <a:lnTo>
                      <a:pt x="399" y="494"/>
                    </a:lnTo>
                    <a:close/>
                    <a:moveTo>
                      <a:pt x="415" y="488"/>
                    </a:moveTo>
                    <a:lnTo>
                      <a:pt x="415" y="490"/>
                    </a:lnTo>
                    <a:lnTo>
                      <a:pt x="415" y="488"/>
                    </a:lnTo>
                    <a:close/>
                    <a:moveTo>
                      <a:pt x="390" y="498"/>
                    </a:moveTo>
                    <a:lnTo>
                      <a:pt x="392" y="498"/>
                    </a:lnTo>
                    <a:lnTo>
                      <a:pt x="390" y="498"/>
                    </a:lnTo>
                    <a:lnTo>
                      <a:pt x="392" y="498"/>
                    </a:lnTo>
                    <a:lnTo>
                      <a:pt x="392" y="496"/>
                    </a:lnTo>
                    <a:lnTo>
                      <a:pt x="393" y="496"/>
                    </a:lnTo>
                    <a:lnTo>
                      <a:pt x="395" y="496"/>
                    </a:lnTo>
                    <a:lnTo>
                      <a:pt x="395" y="498"/>
                    </a:lnTo>
                    <a:lnTo>
                      <a:pt x="393" y="498"/>
                    </a:lnTo>
                    <a:lnTo>
                      <a:pt x="392" y="498"/>
                    </a:lnTo>
                    <a:lnTo>
                      <a:pt x="390" y="498"/>
                    </a:lnTo>
                    <a:close/>
                    <a:moveTo>
                      <a:pt x="393" y="496"/>
                    </a:moveTo>
                    <a:lnTo>
                      <a:pt x="392" y="496"/>
                    </a:lnTo>
                    <a:lnTo>
                      <a:pt x="393" y="496"/>
                    </a:lnTo>
                    <a:close/>
                    <a:moveTo>
                      <a:pt x="413" y="488"/>
                    </a:moveTo>
                    <a:lnTo>
                      <a:pt x="415" y="488"/>
                    </a:lnTo>
                    <a:lnTo>
                      <a:pt x="413" y="488"/>
                    </a:lnTo>
                    <a:lnTo>
                      <a:pt x="415" y="488"/>
                    </a:lnTo>
                    <a:lnTo>
                      <a:pt x="413" y="488"/>
                    </a:lnTo>
                    <a:close/>
                    <a:moveTo>
                      <a:pt x="415" y="486"/>
                    </a:moveTo>
                    <a:lnTo>
                      <a:pt x="415" y="488"/>
                    </a:lnTo>
                    <a:lnTo>
                      <a:pt x="415" y="486"/>
                    </a:lnTo>
                    <a:close/>
                    <a:moveTo>
                      <a:pt x="395" y="494"/>
                    </a:moveTo>
                    <a:lnTo>
                      <a:pt x="397" y="494"/>
                    </a:lnTo>
                    <a:lnTo>
                      <a:pt x="395" y="494"/>
                    </a:lnTo>
                    <a:lnTo>
                      <a:pt x="395" y="496"/>
                    </a:lnTo>
                    <a:lnTo>
                      <a:pt x="393" y="496"/>
                    </a:lnTo>
                    <a:lnTo>
                      <a:pt x="393" y="494"/>
                    </a:lnTo>
                    <a:lnTo>
                      <a:pt x="392" y="494"/>
                    </a:lnTo>
                    <a:lnTo>
                      <a:pt x="393" y="494"/>
                    </a:lnTo>
                    <a:lnTo>
                      <a:pt x="395" y="494"/>
                    </a:lnTo>
                    <a:close/>
                    <a:moveTo>
                      <a:pt x="355" y="507"/>
                    </a:moveTo>
                    <a:lnTo>
                      <a:pt x="357" y="507"/>
                    </a:lnTo>
                    <a:lnTo>
                      <a:pt x="357" y="509"/>
                    </a:lnTo>
                    <a:lnTo>
                      <a:pt x="357" y="511"/>
                    </a:lnTo>
                    <a:lnTo>
                      <a:pt x="355" y="511"/>
                    </a:lnTo>
                    <a:lnTo>
                      <a:pt x="355" y="509"/>
                    </a:lnTo>
                    <a:lnTo>
                      <a:pt x="353" y="509"/>
                    </a:lnTo>
                    <a:lnTo>
                      <a:pt x="353" y="507"/>
                    </a:lnTo>
                    <a:lnTo>
                      <a:pt x="353" y="509"/>
                    </a:lnTo>
                    <a:lnTo>
                      <a:pt x="353" y="507"/>
                    </a:lnTo>
                    <a:lnTo>
                      <a:pt x="355" y="507"/>
                    </a:lnTo>
                    <a:close/>
                    <a:moveTo>
                      <a:pt x="393" y="496"/>
                    </a:moveTo>
                    <a:lnTo>
                      <a:pt x="395" y="496"/>
                    </a:lnTo>
                    <a:lnTo>
                      <a:pt x="393" y="496"/>
                    </a:lnTo>
                    <a:lnTo>
                      <a:pt x="392" y="496"/>
                    </a:lnTo>
                    <a:lnTo>
                      <a:pt x="390" y="496"/>
                    </a:lnTo>
                    <a:lnTo>
                      <a:pt x="392" y="494"/>
                    </a:lnTo>
                    <a:lnTo>
                      <a:pt x="390" y="494"/>
                    </a:lnTo>
                    <a:lnTo>
                      <a:pt x="392" y="494"/>
                    </a:lnTo>
                    <a:lnTo>
                      <a:pt x="393" y="494"/>
                    </a:lnTo>
                    <a:lnTo>
                      <a:pt x="393" y="496"/>
                    </a:lnTo>
                    <a:close/>
                    <a:moveTo>
                      <a:pt x="395" y="492"/>
                    </a:moveTo>
                    <a:lnTo>
                      <a:pt x="397" y="492"/>
                    </a:lnTo>
                    <a:lnTo>
                      <a:pt x="397" y="494"/>
                    </a:lnTo>
                    <a:lnTo>
                      <a:pt x="395" y="494"/>
                    </a:lnTo>
                    <a:lnTo>
                      <a:pt x="393" y="494"/>
                    </a:lnTo>
                    <a:lnTo>
                      <a:pt x="392" y="494"/>
                    </a:lnTo>
                    <a:lnTo>
                      <a:pt x="393" y="494"/>
                    </a:lnTo>
                    <a:lnTo>
                      <a:pt x="393" y="492"/>
                    </a:lnTo>
                    <a:lnTo>
                      <a:pt x="395" y="492"/>
                    </a:lnTo>
                    <a:close/>
                    <a:moveTo>
                      <a:pt x="338" y="509"/>
                    </a:moveTo>
                    <a:lnTo>
                      <a:pt x="340" y="509"/>
                    </a:lnTo>
                    <a:lnTo>
                      <a:pt x="340" y="511"/>
                    </a:lnTo>
                    <a:lnTo>
                      <a:pt x="342" y="511"/>
                    </a:lnTo>
                    <a:lnTo>
                      <a:pt x="340" y="511"/>
                    </a:lnTo>
                    <a:lnTo>
                      <a:pt x="338" y="511"/>
                    </a:lnTo>
                    <a:lnTo>
                      <a:pt x="336" y="511"/>
                    </a:lnTo>
                    <a:lnTo>
                      <a:pt x="336" y="509"/>
                    </a:lnTo>
                    <a:lnTo>
                      <a:pt x="338" y="509"/>
                    </a:lnTo>
                    <a:close/>
                    <a:moveTo>
                      <a:pt x="357" y="503"/>
                    </a:moveTo>
                    <a:lnTo>
                      <a:pt x="355" y="503"/>
                    </a:lnTo>
                    <a:lnTo>
                      <a:pt x="357" y="503"/>
                    </a:lnTo>
                    <a:lnTo>
                      <a:pt x="357" y="505"/>
                    </a:lnTo>
                    <a:lnTo>
                      <a:pt x="359" y="507"/>
                    </a:lnTo>
                    <a:lnTo>
                      <a:pt x="357" y="507"/>
                    </a:lnTo>
                    <a:lnTo>
                      <a:pt x="359" y="507"/>
                    </a:lnTo>
                    <a:lnTo>
                      <a:pt x="359" y="509"/>
                    </a:lnTo>
                    <a:lnTo>
                      <a:pt x="357" y="509"/>
                    </a:lnTo>
                    <a:lnTo>
                      <a:pt x="357" y="507"/>
                    </a:lnTo>
                    <a:lnTo>
                      <a:pt x="355" y="507"/>
                    </a:lnTo>
                    <a:lnTo>
                      <a:pt x="355" y="505"/>
                    </a:lnTo>
                    <a:lnTo>
                      <a:pt x="353" y="503"/>
                    </a:lnTo>
                    <a:lnTo>
                      <a:pt x="355" y="503"/>
                    </a:lnTo>
                    <a:lnTo>
                      <a:pt x="357" y="503"/>
                    </a:lnTo>
                    <a:close/>
                    <a:moveTo>
                      <a:pt x="403" y="486"/>
                    </a:moveTo>
                    <a:lnTo>
                      <a:pt x="405" y="486"/>
                    </a:lnTo>
                    <a:lnTo>
                      <a:pt x="403" y="486"/>
                    </a:lnTo>
                    <a:close/>
                    <a:moveTo>
                      <a:pt x="411" y="482"/>
                    </a:moveTo>
                    <a:lnTo>
                      <a:pt x="413" y="482"/>
                    </a:lnTo>
                    <a:lnTo>
                      <a:pt x="411" y="482"/>
                    </a:lnTo>
                    <a:lnTo>
                      <a:pt x="413" y="482"/>
                    </a:lnTo>
                    <a:lnTo>
                      <a:pt x="413" y="484"/>
                    </a:lnTo>
                    <a:lnTo>
                      <a:pt x="413" y="482"/>
                    </a:lnTo>
                    <a:lnTo>
                      <a:pt x="413" y="484"/>
                    </a:lnTo>
                    <a:lnTo>
                      <a:pt x="411" y="484"/>
                    </a:lnTo>
                    <a:lnTo>
                      <a:pt x="413" y="484"/>
                    </a:lnTo>
                    <a:lnTo>
                      <a:pt x="411" y="484"/>
                    </a:lnTo>
                    <a:lnTo>
                      <a:pt x="409" y="484"/>
                    </a:lnTo>
                    <a:lnTo>
                      <a:pt x="411" y="484"/>
                    </a:lnTo>
                    <a:lnTo>
                      <a:pt x="409" y="484"/>
                    </a:lnTo>
                    <a:lnTo>
                      <a:pt x="407" y="484"/>
                    </a:lnTo>
                    <a:lnTo>
                      <a:pt x="409" y="484"/>
                    </a:lnTo>
                    <a:lnTo>
                      <a:pt x="409" y="482"/>
                    </a:lnTo>
                    <a:lnTo>
                      <a:pt x="411" y="482"/>
                    </a:lnTo>
                    <a:lnTo>
                      <a:pt x="409" y="482"/>
                    </a:lnTo>
                    <a:lnTo>
                      <a:pt x="411" y="482"/>
                    </a:lnTo>
                    <a:close/>
                    <a:moveTo>
                      <a:pt x="417" y="480"/>
                    </a:moveTo>
                    <a:lnTo>
                      <a:pt x="415" y="480"/>
                    </a:lnTo>
                    <a:lnTo>
                      <a:pt x="417" y="480"/>
                    </a:lnTo>
                    <a:close/>
                    <a:moveTo>
                      <a:pt x="347" y="503"/>
                    </a:moveTo>
                    <a:lnTo>
                      <a:pt x="349" y="505"/>
                    </a:lnTo>
                    <a:lnTo>
                      <a:pt x="349" y="503"/>
                    </a:lnTo>
                    <a:lnTo>
                      <a:pt x="349" y="505"/>
                    </a:lnTo>
                    <a:lnTo>
                      <a:pt x="349" y="507"/>
                    </a:lnTo>
                    <a:lnTo>
                      <a:pt x="347" y="507"/>
                    </a:lnTo>
                    <a:lnTo>
                      <a:pt x="347" y="509"/>
                    </a:lnTo>
                    <a:lnTo>
                      <a:pt x="347" y="507"/>
                    </a:lnTo>
                    <a:lnTo>
                      <a:pt x="345" y="509"/>
                    </a:lnTo>
                    <a:lnTo>
                      <a:pt x="345" y="507"/>
                    </a:lnTo>
                    <a:lnTo>
                      <a:pt x="345" y="505"/>
                    </a:lnTo>
                    <a:lnTo>
                      <a:pt x="345" y="507"/>
                    </a:lnTo>
                    <a:lnTo>
                      <a:pt x="347" y="505"/>
                    </a:lnTo>
                    <a:lnTo>
                      <a:pt x="347" y="503"/>
                    </a:lnTo>
                    <a:close/>
                    <a:moveTo>
                      <a:pt x="351" y="503"/>
                    </a:moveTo>
                    <a:lnTo>
                      <a:pt x="351" y="505"/>
                    </a:lnTo>
                    <a:lnTo>
                      <a:pt x="349" y="505"/>
                    </a:lnTo>
                    <a:lnTo>
                      <a:pt x="349" y="503"/>
                    </a:lnTo>
                    <a:lnTo>
                      <a:pt x="351" y="503"/>
                    </a:lnTo>
                    <a:close/>
                    <a:moveTo>
                      <a:pt x="382" y="492"/>
                    </a:moveTo>
                    <a:lnTo>
                      <a:pt x="382" y="494"/>
                    </a:lnTo>
                    <a:lnTo>
                      <a:pt x="380" y="492"/>
                    </a:lnTo>
                    <a:lnTo>
                      <a:pt x="380" y="494"/>
                    </a:lnTo>
                    <a:lnTo>
                      <a:pt x="382" y="494"/>
                    </a:lnTo>
                    <a:lnTo>
                      <a:pt x="384" y="494"/>
                    </a:lnTo>
                    <a:lnTo>
                      <a:pt x="386" y="494"/>
                    </a:lnTo>
                    <a:lnTo>
                      <a:pt x="388" y="494"/>
                    </a:lnTo>
                    <a:lnTo>
                      <a:pt x="390" y="494"/>
                    </a:lnTo>
                    <a:lnTo>
                      <a:pt x="390" y="496"/>
                    </a:lnTo>
                    <a:lnTo>
                      <a:pt x="392" y="496"/>
                    </a:lnTo>
                    <a:lnTo>
                      <a:pt x="390" y="498"/>
                    </a:lnTo>
                    <a:lnTo>
                      <a:pt x="388" y="498"/>
                    </a:lnTo>
                    <a:lnTo>
                      <a:pt x="386" y="498"/>
                    </a:lnTo>
                    <a:lnTo>
                      <a:pt x="384" y="496"/>
                    </a:lnTo>
                    <a:lnTo>
                      <a:pt x="382" y="496"/>
                    </a:lnTo>
                    <a:lnTo>
                      <a:pt x="380" y="496"/>
                    </a:lnTo>
                    <a:lnTo>
                      <a:pt x="380" y="494"/>
                    </a:lnTo>
                    <a:lnTo>
                      <a:pt x="380" y="492"/>
                    </a:lnTo>
                    <a:lnTo>
                      <a:pt x="382" y="492"/>
                    </a:lnTo>
                    <a:close/>
                    <a:moveTo>
                      <a:pt x="413" y="482"/>
                    </a:moveTo>
                    <a:lnTo>
                      <a:pt x="411" y="482"/>
                    </a:lnTo>
                    <a:lnTo>
                      <a:pt x="413" y="482"/>
                    </a:lnTo>
                    <a:close/>
                    <a:moveTo>
                      <a:pt x="353" y="502"/>
                    </a:moveTo>
                    <a:lnTo>
                      <a:pt x="355" y="503"/>
                    </a:lnTo>
                    <a:lnTo>
                      <a:pt x="353" y="503"/>
                    </a:lnTo>
                    <a:lnTo>
                      <a:pt x="353" y="505"/>
                    </a:lnTo>
                    <a:lnTo>
                      <a:pt x="353" y="507"/>
                    </a:lnTo>
                    <a:lnTo>
                      <a:pt x="353" y="505"/>
                    </a:lnTo>
                    <a:lnTo>
                      <a:pt x="353" y="507"/>
                    </a:lnTo>
                    <a:lnTo>
                      <a:pt x="351" y="507"/>
                    </a:lnTo>
                    <a:lnTo>
                      <a:pt x="351" y="505"/>
                    </a:lnTo>
                    <a:lnTo>
                      <a:pt x="349" y="505"/>
                    </a:lnTo>
                    <a:lnTo>
                      <a:pt x="351" y="505"/>
                    </a:lnTo>
                    <a:lnTo>
                      <a:pt x="351" y="503"/>
                    </a:lnTo>
                    <a:lnTo>
                      <a:pt x="351" y="502"/>
                    </a:lnTo>
                    <a:lnTo>
                      <a:pt x="353" y="502"/>
                    </a:lnTo>
                    <a:close/>
                    <a:moveTo>
                      <a:pt x="393" y="488"/>
                    </a:moveTo>
                    <a:lnTo>
                      <a:pt x="392" y="488"/>
                    </a:lnTo>
                    <a:lnTo>
                      <a:pt x="393" y="488"/>
                    </a:lnTo>
                    <a:close/>
                    <a:moveTo>
                      <a:pt x="384" y="490"/>
                    </a:moveTo>
                    <a:lnTo>
                      <a:pt x="386" y="490"/>
                    </a:lnTo>
                    <a:lnTo>
                      <a:pt x="388" y="490"/>
                    </a:lnTo>
                    <a:lnTo>
                      <a:pt x="390" y="490"/>
                    </a:lnTo>
                    <a:lnTo>
                      <a:pt x="392" y="490"/>
                    </a:lnTo>
                    <a:lnTo>
                      <a:pt x="393" y="490"/>
                    </a:lnTo>
                    <a:lnTo>
                      <a:pt x="395" y="490"/>
                    </a:lnTo>
                    <a:lnTo>
                      <a:pt x="397" y="490"/>
                    </a:lnTo>
                    <a:lnTo>
                      <a:pt x="397" y="492"/>
                    </a:lnTo>
                    <a:lnTo>
                      <a:pt x="397" y="490"/>
                    </a:lnTo>
                    <a:lnTo>
                      <a:pt x="397" y="492"/>
                    </a:lnTo>
                    <a:lnTo>
                      <a:pt x="397" y="490"/>
                    </a:lnTo>
                    <a:lnTo>
                      <a:pt x="397" y="492"/>
                    </a:lnTo>
                    <a:lnTo>
                      <a:pt x="395" y="492"/>
                    </a:lnTo>
                    <a:lnTo>
                      <a:pt x="393" y="492"/>
                    </a:lnTo>
                    <a:lnTo>
                      <a:pt x="392" y="494"/>
                    </a:lnTo>
                    <a:lnTo>
                      <a:pt x="393" y="494"/>
                    </a:lnTo>
                    <a:lnTo>
                      <a:pt x="392" y="494"/>
                    </a:lnTo>
                    <a:lnTo>
                      <a:pt x="390" y="494"/>
                    </a:lnTo>
                    <a:lnTo>
                      <a:pt x="388" y="494"/>
                    </a:lnTo>
                    <a:lnTo>
                      <a:pt x="386" y="494"/>
                    </a:lnTo>
                    <a:lnTo>
                      <a:pt x="384" y="494"/>
                    </a:lnTo>
                    <a:lnTo>
                      <a:pt x="382" y="494"/>
                    </a:lnTo>
                    <a:lnTo>
                      <a:pt x="384" y="494"/>
                    </a:lnTo>
                    <a:lnTo>
                      <a:pt x="382" y="494"/>
                    </a:lnTo>
                    <a:lnTo>
                      <a:pt x="382" y="492"/>
                    </a:lnTo>
                    <a:lnTo>
                      <a:pt x="384" y="492"/>
                    </a:lnTo>
                    <a:lnTo>
                      <a:pt x="384" y="490"/>
                    </a:lnTo>
                    <a:close/>
                    <a:moveTo>
                      <a:pt x="378" y="492"/>
                    </a:moveTo>
                    <a:lnTo>
                      <a:pt x="378" y="494"/>
                    </a:lnTo>
                    <a:lnTo>
                      <a:pt x="378" y="492"/>
                    </a:lnTo>
                    <a:close/>
                    <a:moveTo>
                      <a:pt x="349" y="503"/>
                    </a:moveTo>
                    <a:lnTo>
                      <a:pt x="347" y="503"/>
                    </a:lnTo>
                    <a:lnTo>
                      <a:pt x="349" y="503"/>
                    </a:lnTo>
                    <a:close/>
                    <a:moveTo>
                      <a:pt x="413" y="480"/>
                    </a:moveTo>
                    <a:lnTo>
                      <a:pt x="411" y="480"/>
                    </a:lnTo>
                    <a:lnTo>
                      <a:pt x="413" y="480"/>
                    </a:lnTo>
                    <a:close/>
                    <a:moveTo>
                      <a:pt x="409" y="482"/>
                    </a:moveTo>
                    <a:lnTo>
                      <a:pt x="411" y="482"/>
                    </a:lnTo>
                    <a:lnTo>
                      <a:pt x="409" y="482"/>
                    </a:lnTo>
                    <a:lnTo>
                      <a:pt x="411" y="482"/>
                    </a:lnTo>
                    <a:lnTo>
                      <a:pt x="413" y="482"/>
                    </a:lnTo>
                    <a:lnTo>
                      <a:pt x="411" y="482"/>
                    </a:lnTo>
                    <a:lnTo>
                      <a:pt x="409" y="482"/>
                    </a:lnTo>
                    <a:lnTo>
                      <a:pt x="409" y="484"/>
                    </a:lnTo>
                    <a:lnTo>
                      <a:pt x="407" y="484"/>
                    </a:lnTo>
                    <a:lnTo>
                      <a:pt x="405" y="484"/>
                    </a:lnTo>
                    <a:lnTo>
                      <a:pt x="407" y="484"/>
                    </a:lnTo>
                    <a:lnTo>
                      <a:pt x="409" y="482"/>
                    </a:lnTo>
                    <a:close/>
                    <a:moveTo>
                      <a:pt x="405" y="484"/>
                    </a:moveTo>
                    <a:lnTo>
                      <a:pt x="403" y="484"/>
                    </a:lnTo>
                    <a:lnTo>
                      <a:pt x="405" y="484"/>
                    </a:lnTo>
                    <a:lnTo>
                      <a:pt x="403" y="484"/>
                    </a:lnTo>
                    <a:lnTo>
                      <a:pt x="403" y="486"/>
                    </a:lnTo>
                    <a:lnTo>
                      <a:pt x="401" y="486"/>
                    </a:lnTo>
                    <a:lnTo>
                      <a:pt x="401" y="488"/>
                    </a:lnTo>
                    <a:lnTo>
                      <a:pt x="399" y="488"/>
                    </a:lnTo>
                    <a:lnTo>
                      <a:pt x="399" y="486"/>
                    </a:lnTo>
                    <a:lnTo>
                      <a:pt x="397" y="486"/>
                    </a:lnTo>
                    <a:lnTo>
                      <a:pt x="399" y="486"/>
                    </a:lnTo>
                    <a:lnTo>
                      <a:pt x="401" y="486"/>
                    </a:lnTo>
                    <a:lnTo>
                      <a:pt x="403" y="486"/>
                    </a:lnTo>
                    <a:lnTo>
                      <a:pt x="403" y="484"/>
                    </a:lnTo>
                    <a:lnTo>
                      <a:pt x="405" y="484"/>
                    </a:lnTo>
                    <a:close/>
                    <a:moveTo>
                      <a:pt x="380" y="492"/>
                    </a:moveTo>
                    <a:lnTo>
                      <a:pt x="380" y="494"/>
                    </a:lnTo>
                    <a:lnTo>
                      <a:pt x="378" y="492"/>
                    </a:lnTo>
                    <a:lnTo>
                      <a:pt x="380" y="492"/>
                    </a:lnTo>
                    <a:close/>
                    <a:moveTo>
                      <a:pt x="374" y="494"/>
                    </a:moveTo>
                    <a:lnTo>
                      <a:pt x="376" y="494"/>
                    </a:lnTo>
                    <a:lnTo>
                      <a:pt x="376" y="496"/>
                    </a:lnTo>
                    <a:lnTo>
                      <a:pt x="374" y="494"/>
                    </a:lnTo>
                    <a:close/>
                    <a:moveTo>
                      <a:pt x="405" y="484"/>
                    </a:moveTo>
                    <a:lnTo>
                      <a:pt x="405" y="482"/>
                    </a:lnTo>
                    <a:lnTo>
                      <a:pt x="405" y="484"/>
                    </a:lnTo>
                    <a:close/>
                    <a:moveTo>
                      <a:pt x="393" y="488"/>
                    </a:moveTo>
                    <a:lnTo>
                      <a:pt x="392" y="488"/>
                    </a:lnTo>
                    <a:lnTo>
                      <a:pt x="393" y="488"/>
                    </a:lnTo>
                    <a:lnTo>
                      <a:pt x="395" y="488"/>
                    </a:lnTo>
                    <a:lnTo>
                      <a:pt x="395" y="486"/>
                    </a:lnTo>
                    <a:lnTo>
                      <a:pt x="397" y="486"/>
                    </a:lnTo>
                    <a:lnTo>
                      <a:pt x="397" y="488"/>
                    </a:lnTo>
                    <a:lnTo>
                      <a:pt x="395" y="488"/>
                    </a:lnTo>
                    <a:lnTo>
                      <a:pt x="393" y="488"/>
                    </a:lnTo>
                    <a:lnTo>
                      <a:pt x="395" y="488"/>
                    </a:lnTo>
                    <a:lnTo>
                      <a:pt x="395" y="490"/>
                    </a:lnTo>
                    <a:lnTo>
                      <a:pt x="395" y="488"/>
                    </a:lnTo>
                    <a:lnTo>
                      <a:pt x="397" y="488"/>
                    </a:lnTo>
                    <a:lnTo>
                      <a:pt x="397" y="486"/>
                    </a:lnTo>
                    <a:lnTo>
                      <a:pt x="399" y="488"/>
                    </a:lnTo>
                    <a:lnTo>
                      <a:pt x="401" y="488"/>
                    </a:lnTo>
                    <a:lnTo>
                      <a:pt x="401" y="486"/>
                    </a:lnTo>
                    <a:lnTo>
                      <a:pt x="401" y="488"/>
                    </a:lnTo>
                    <a:lnTo>
                      <a:pt x="399" y="490"/>
                    </a:lnTo>
                    <a:lnTo>
                      <a:pt x="397" y="490"/>
                    </a:lnTo>
                    <a:lnTo>
                      <a:pt x="395" y="490"/>
                    </a:lnTo>
                    <a:lnTo>
                      <a:pt x="393" y="490"/>
                    </a:lnTo>
                    <a:lnTo>
                      <a:pt x="392" y="490"/>
                    </a:lnTo>
                    <a:lnTo>
                      <a:pt x="390" y="490"/>
                    </a:lnTo>
                    <a:lnTo>
                      <a:pt x="390" y="488"/>
                    </a:lnTo>
                    <a:lnTo>
                      <a:pt x="388" y="488"/>
                    </a:lnTo>
                    <a:lnTo>
                      <a:pt x="390" y="488"/>
                    </a:lnTo>
                    <a:lnTo>
                      <a:pt x="392" y="488"/>
                    </a:lnTo>
                    <a:lnTo>
                      <a:pt x="392" y="490"/>
                    </a:lnTo>
                    <a:lnTo>
                      <a:pt x="392" y="488"/>
                    </a:lnTo>
                    <a:lnTo>
                      <a:pt x="393" y="488"/>
                    </a:lnTo>
                    <a:close/>
                    <a:moveTo>
                      <a:pt x="409" y="482"/>
                    </a:moveTo>
                    <a:lnTo>
                      <a:pt x="407" y="482"/>
                    </a:lnTo>
                    <a:lnTo>
                      <a:pt x="407" y="484"/>
                    </a:lnTo>
                    <a:lnTo>
                      <a:pt x="405" y="484"/>
                    </a:lnTo>
                    <a:lnTo>
                      <a:pt x="405" y="486"/>
                    </a:lnTo>
                    <a:lnTo>
                      <a:pt x="405" y="484"/>
                    </a:lnTo>
                    <a:lnTo>
                      <a:pt x="407" y="482"/>
                    </a:lnTo>
                    <a:lnTo>
                      <a:pt x="409" y="482"/>
                    </a:lnTo>
                    <a:lnTo>
                      <a:pt x="409" y="480"/>
                    </a:lnTo>
                    <a:lnTo>
                      <a:pt x="409" y="482"/>
                    </a:lnTo>
                    <a:close/>
                    <a:moveTo>
                      <a:pt x="413" y="480"/>
                    </a:moveTo>
                    <a:lnTo>
                      <a:pt x="413" y="478"/>
                    </a:lnTo>
                    <a:lnTo>
                      <a:pt x="413" y="480"/>
                    </a:lnTo>
                    <a:lnTo>
                      <a:pt x="415" y="480"/>
                    </a:lnTo>
                    <a:lnTo>
                      <a:pt x="415" y="482"/>
                    </a:lnTo>
                    <a:lnTo>
                      <a:pt x="415" y="480"/>
                    </a:lnTo>
                    <a:lnTo>
                      <a:pt x="413" y="480"/>
                    </a:lnTo>
                    <a:lnTo>
                      <a:pt x="415" y="480"/>
                    </a:lnTo>
                    <a:lnTo>
                      <a:pt x="413" y="482"/>
                    </a:lnTo>
                    <a:lnTo>
                      <a:pt x="413" y="480"/>
                    </a:lnTo>
                    <a:lnTo>
                      <a:pt x="415" y="480"/>
                    </a:lnTo>
                    <a:lnTo>
                      <a:pt x="413" y="480"/>
                    </a:lnTo>
                    <a:lnTo>
                      <a:pt x="411" y="480"/>
                    </a:lnTo>
                    <a:lnTo>
                      <a:pt x="413" y="480"/>
                    </a:lnTo>
                    <a:close/>
                    <a:moveTo>
                      <a:pt x="372" y="494"/>
                    </a:moveTo>
                    <a:lnTo>
                      <a:pt x="374" y="494"/>
                    </a:lnTo>
                    <a:lnTo>
                      <a:pt x="374" y="496"/>
                    </a:lnTo>
                    <a:lnTo>
                      <a:pt x="376" y="496"/>
                    </a:lnTo>
                    <a:lnTo>
                      <a:pt x="374" y="496"/>
                    </a:lnTo>
                    <a:lnTo>
                      <a:pt x="372" y="496"/>
                    </a:lnTo>
                    <a:lnTo>
                      <a:pt x="372" y="494"/>
                    </a:lnTo>
                    <a:lnTo>
                      <a:pt x="370" y="494"/>
                    </a:lnTo>
                    <a:lnTo>
                      <a:pt x="372" y="494"/>
                    </a:lnTo>
                    <a:close/>
                    <a:moveTo>
                      <a:pt x="370" y="496"/>
                    </a:moveTo>
                    <a:lnTo>
                      <a:pt x="370" y="498"/>
                    </a:lnTo>
                    <a:lnTo>
                      <a:pt x="368" y="498"/>
                    </a:lnTo>
                    <a:lnTo>
                      <a:pt x="368" y="496"/>
                    </a:lnTo>
                    <a:lnTo>
                      <a:pt x="367" y="496"/>
                    </a:lnTo>
                    <a:lnTo>
                      <a:pt x="368" y="494"/>
                    </a:lnTo>
                    <a:lnTo>
                      <a:pt x="368" y="496"/>
                    </a:lnTo>
                    <a:lnTo>
                      <a:pt x="370" y="496"/>
                    </a:lnTo>
                    <a:lnTo>
                      <a:pt x="372" y="496"/>
                    </a:lnTo>
                    <a:lnTo>
                      <a:pt x="370" y="496"/>
                    </a:lnTo>
                    <a:close/>
                    <a:moveTo>
                      <a:pt x="390" y="488"/>
                    </a:moveTo>
                    <a:lnTo>
                      <a:pt x="390" y="490"/>
                    </a:lnTo>
                    <a:lnTo>
                      <a:pt x="388" y="490"/>
                    </a:lnTo>
                    <a:lnTo>
                      <a:pt x="386" y="490"/>
                    </a:lnTo>
                    <a:lnTo>
                      <a:pt x="384" y="490"/>
                    </a:lnTo>
                    <a:lnTo>
                      <a:pt x="386" y="490"/>
                    </a:lnTo>
                    <a:lnTo>
                      <a:pt x="386" y="488"/>
                    </a:lnTo>
                    <a:lnTo>
                      <a:pt x="386" y="490"/>
                    </a:lnTo>
                    <a:lnTo>
                      <a:pt x="388" y="488"/>
                    </a:lnTo>
                    <a:lnTo>
                      <a:pt x="390" y="488"/>
                    </a:lnTo>
                    <a:close/>
                    <a:moveTo>
                      <a:pt x="411" y="480"/>
                    </a:moveTo>
                    <a:lnTo>
                      <a:pt x="409" y="480"/>
                    </a:lnTo>
                    <a:lnTo>
                      <a:pt x="407" y="480"/>
                    </a:lnTo>
                    <a:lnTo>
                      <a:pt x="409" y="480"/>
                    </a:lnTo>
                    <a:lnTo>
                      <a:pt x="411" y="480"/>
                    </a:lnTo>
                    <a:close/>
                    <a:moveTo>
                      <a:pt x="265" y="528"/>
                    </a:moveTo>
                    <a:lnTo>
                      <a:pt x="263" y="528"/>
                    </a:lnTo>
                    <a:lnTo>
                      <a:pt x="263" y="527"/>
                    </a:lnTo>
                    <a:lnTo>
                      <a:pt x="263" y="528"/>
                    </a:lnTo>
                    <a:lnTo>
                      <a:pt x="265" y="528"/>
                    </a:lnTo>
                    <a:close/>
                    <a:moveTo>
                      <a:pt x="330" y="509"/>
                    </a:moveTo>
                    <a:lnTo>
                      <a:pt x="328" y="509"/>
                    </a:lnTo>
                    <a:lnTo>
                      <a:pt x="326" y="509"/>
                    </a:lnTo>
                    <a:lnTo>
                      <a:pt x="326" y="507"/>
                    </a:lnTo>
                    <a:lnTo>
                      <a:pt x="328" y="507"/>
                    </a:lnTo>
                    <a:lnTo>
                      <a:pt x="330" y="507"/>
                    </a:lnTo>
                    <a:lnTo>
                      <a:pt x="330" y="509"/>
                    </a:lnTo>
                    <a:close/>
                    <a:moveTo>
                      <a:pt x="374" y="492"/>
                    </a:moveTo>
                    <a:lnTo>
                      <a:pt x="376" y="492"/>
                    </a:lnTo>
                    <a:lnTo>
                      <a:pt x="378" y="492"/>
                    </a:lnTo>
                    <a:lnTo>
                      <a:pt x="378" y="494"/>
                    </a:lnTo>
                    <a:lnTo>
                      <a:pt x="376" y="494"/>
                    </a:lnTo>
                    <a:lnTo>
                      <a:pt x="376" y="492"/>
                    </a:lnTo>
                    <a:lnTo>
                      <a:pt x="376" y="494"/>
                    </a:lnTo>
                    <a:lnTo>
                      <a:pt x="378" y="494"/>
                    </a:lnTo>
                    <a:lnTo>
                      <a:pt x="380" y="494"/>
                    </a:lnTo>
                    <a:lnTo>
                      <a:pt x="378" y="494"/>
                    </a:lnTo>
                    <a:lnTo>
                      <a:pt x="380" y="494"/>
                    </a:lnTo>
                    <a:lnTo>
                      <a:pt x="378" y="494"/>
                    </a:lnTo>
                    <a:lnTo>
                      <a:pt x="378" y="496"/>
                    </a:lnTo>
                    <a:lnTo>
                      <a:pt x="376" y="494"/>
                    </a:lnTo>
                    <a:lnTo>
                      <a:pt x="374" y="494"/>
                    </a:lnTo>
                    <a:lnTo>
                      <a:pt x="372" y="494"/>
                    </a:lnTo>
                    <a:lnTo>
                      <a:pt x="372" y="492"/>
                    </a:lnTo>
                    <a:lnTo>
                      <a:pt x="374" y="492"/>
                    </a:lnTo>
                    <a:close/>
                    <a:moveTo>
                      <a:pt x="409" y="478"/>
                    </a:moveTo>
                    <a:lnTo>
                      <a:pt x="409" y="480"/>
                    </a:lnTo>
                    <a:lnTo>
                      <a:pt x="407" y="480"/>
                    </a:lnTo>
                    <a:lnTo>
                      <a:pt x="407" y="478"/>
                    </a:lnTo>
                    <a:lnTo>
                      <a:pt x="409" y="478"/>
                    </a:lnTo>
                    <a:close/>
                    <a:moveTo>
                      <a:pt x="395" y="482"/>
                    </a:moveTo>
                    <a:lnTo>
                      <a:pt x="397" y="482"/>
                    </a:lnTo>
                    <a:lnTo>
                      <a:pt x="395" y="482"/>
                    </a:lnTo>
                    <a:lnTo>
                      <a:pt x="397" y="482"/>
                    </a:lnTo>
                    <a:lnTo>
                      <a:pt x="395" y="482"/>
                    </a:lnTo>
                    <a:close/>
                    <a:moveTo>
                      <a:pt x="399" y="480"/>
                    </a:moveTo>
                    <a:lnTo>
                      <a:pt x="399" y="482"/>
                    </a:lnTo>
                    <a:lnTo>
                      <a:pt x="397" y="482"/>
                    </a:lnTo>
                    <a:lnTo>
                      <a:pt x="399" y="480"/>
                    </a:lnTo>
                    <a:close/>
                    <a:moveTo>
                      <a:pt x="401" y="480"/>
                    </a:moveTo>
                    <a:lnTo>
                      <a:pt x="399" y="480"/>
                    </a:lnTo>
                    <a:lnTo>
                      <a:pt x="401" y="480"/>
                    </a:lnTo>
                    <a:close/>
                    <a:moveTo>
                      <a:pt x="403" y="478"/>
                    </a:moveTo>
                    <a:lnTo>
                      <a:pt x="401" y="478"/>
                    </a:lnTo>
                    <a:lnTo>
                      <a:pt x="403" y="478"/>
                    </a:lnTo>
                    <a:close/>
                    <a:moveTo>
                      <a:pt x="632" y="380"/>
                    </a:moveTo>
                    <a:lnTo>
                      <a:pt x="634" y="380"/>
                    </a:lnTo>
                    <a:lnTo>
                      <a:pt x="632" y="380"/>
                    </a:lnTo>
                    <a:lnTo>
                      <a:pt x="632" y="382"/>
                    </a:lnTo>
                    <a:lnTo>
                      <a:pt x="632" y="380"/>
                    </a:lnTo>
                    <a:close/>
                    <a:moveTo>
                      <a:pt x="397" y="480"/>
                    </a:moveTo>
                    <a:lnTo>
                      <a:pt x="399" y="480"/>
                    </a:lnTo>
                    <a:lnTo>
                      <a:pt x="397" y="480"/>
                    </a:lnTo>
                    <a:lnTo>
                      <a:pt x="397" y="482"/>
                    </a:lnTo>
                    <a:lnTo>
                      <a:pt x="397" y="480"/>
                    </a:lnTo>
                    <a:lnTo>
                      <a:pt x="399" y="480"/>
                    </a:lnTo>
                    <a:lnTo>
                      <a:pt x="397" y="480"/>
                    </a:lnTo>
                    <a:close/>
                    <a:moveTo>
                      <a:pt x="397" y="480"/>
                    </a:moveTo>
                    <a:lnTo>
                      <a:pt x="395" y="480"/>
                    </a:lnTo>
                    <a:lnTo>
                      <a:pt x="395" y="482"/>
                    </a:lnTo>
                    <a:lnTo>
                      <a:pt x="395" y="480"/>
                    </a:lnTo>
                    <a:lnTo>
                      <a:pt x="395" y="482"/>
                    </a:lnTo>
                    <a:lnTo>
                      <a:pt x="395" y="480"/>
                    </a:lnTo>
                    <a:lnTo>
                      <a:pt x="397" y="480"/>
                    </a:lnTo>
                    <a:close/>
                    <a:moveTo>
                      <a:pt x="393" y="482"/>
                    </a:moveTo>
                    <a:lnTo>
                      <a:pt x="395" y="480"/>
                    </a:lnTo>
                    <a:lnTo>
                      <a:pt x="395" y="482"/>
                    </a:lnTo>
                    <a:lnTo>
                      <a:pt x="393" y="482"/>
                    </a:lnTo>
                    <a:lnTo>
                      <a:pt x="395" y="482"/>
                    </a:lnTo>
                    <a:lnTo>
                      <a:pt x="393" y="482"/>
                    </a:lnTo>
                    <a:lnTo>
                      <a:pt x="395" y="482"/>
                    </a:lnTo>
                    <a:lnTo>
                      <a:pt x="393" y="482"/>
                    </a:lnTo>
                    <a:close/>
                    <a:moveTo>
                      <a:pt x="401" y="478"/>
                    </a:moveTo>
                    <a:lnTo>
                      <a:pt x="401" y="480"/>
                    </a:lnTo>
                    <a:lnTo>
                      <a:pt x="399" y="480"/>
                    </a:lnTo>
                    <a:lnTo>
                      <a:pt x="399" y="478"/>
                    </a:lnTo>
                    <a:lnTo>
                      <a:pt x="401" y="478"/>
                    </a:lnTo>
                    <a:close/>
                    <a:moveTo>
                      <a:pt x="405" y="477"/>
                    </a:moveTo>
                    <a:lnTo>
                      <a:pt x="405" y="478"/>
                    </a:lnTo>
                    <a:lnTo>
                      <a:pt x="403" y="478"/>
                    </a:lnTo>
                    <a:lnTo>
                      <a:pt x="405" y="478"/>
                    </a:lnTo>
                    <a:lnTo>
                      <a:pt x="403" y="478"/>
                    </a:lnTo>
                    <a:lnTo>
                      <a:pt x="405" y="477"/>
                    </a:lnTo>
                    <a:close/>
                    <a:moveTo>
                      <a:pt x="372" y="490"/>
                    </a:moveTo>
                    <a:lnTo>
                      <a:pt x="370" y="492"/>
                    </a:lnTo>
                    <a:lnTo>
                      <a:pt x="370" y="490"/>
                    </a:lnTo>
                    <a:lnTo>
                      <a:pt x="370" y="492"/>
                    </a:lnTo>
                    <a:lnTo>
                      <a:pt x="372" y="492"/>
                    </a:lnTo>
                    <a:lnTo>
                      <a:pt x="370" y="492"/>
                    </a:lnTo>
                    <a:lnTo>
                      <a:pt x="372" y="492"/>
                    </a:lnTo>
                    <a:lnTo>
                      <a:pt x="370" y="494"/>
                    </a:lnTo>
                    <a:lnTo>
                      <a:pt x="368" y="494"/>
                    </a:lnTo>
                    <a:lnTo>
                      <a:pt x="370" y="494"/>
                    </a:lnTo>
                    <a:lnTo>
                      <a:pt x="368" y="494"/>
                    </a:lnTo>
                    <a:lnTo>
                      <a:pt x="367" y="494"/>
                    </a:lnTo>
                    <a:lnTo>
                      <a:pt x="368" y="494"/>
                    </a:lnTo>
                    <a:lnTo>
                      <a:pt x="368" y="492"/>
                    </a:lnTo>
                    <a:lnTo>
                      <a:pt x="368" y="490"/>
                    </a:lnTo>
                    <a:lnTo>
                      <a:pt x="370" y="490"/>
                    </a:lnTo>
                    <a:lnTo>
                      <a:pt x="372" y="490"/>
                    </a:lnTo>
                    <a:close/>
                    <a:moveTo>
                      <a:pt x="393" y="480"/>
                    </a:moveTo>
                    <a:lnTo>
                      <a:pt x="395" y="480"/>
                    </a:lnTo>
                    <a:lnTo>
                      <a:pt x="393" y="480"/>
                    </a:lnTo>
                    <a:lnTo>
                      <a:pt x="395" y="480"/>
                    </a:lnTo>
                    <a:lnTo>
                      <a:pt x="393" y="480"/>
                    </a:lnTo>
                    <a:close/>
                    <a:moveTo>
                      <a:pt x="392" y="482"/>
                    </a:moveTo>
                    <a:lnTo>
                      <a:pt x="390" y="482"/>
                    </a:lnTo>
                    <a:lnTo>
                      <a:pt x="392" y="482"/>
                    </a:lnTo>
                    <a:close/>
                    <a:moveTo>
                      <a:pt x="395" y="480"/>
                    </a:moveTo>
                    <a:lnTo>
                      <a:pt x="393" y="480"/>
                    </a:lnTo>
                    <a:lnTo>
                      <a:pt x="395" y="480"/>
                    </a:lnTo>
                    <a:close/>
                    <a:moveTo>
                      <a:pt x="392" y="480"/>
                    </a:moveTo>
                    <a:lnTo>
                      <a:pt x="392" y="482"/>
                    </a:lnTo>
                    <a:lnTo>
                      <a:pt x="392" y="480"/>
                    </a:lnTo>
                    <a:lnTo>
                      <a:pt x="392" y="482"/>
                    </a:lnTo>
                    <a:lnTo>
                      <a:pt x="392" y="480"/>
                    </a:lnTo>
                    <a:close/>
                    <a:moveTo>
                      <a:pt x="397" y="480"/>
                    </a:moveTo>
                    <a:lnTo>
                      <a:pt x="395" y="480"/>
                    </a:lnTo>
                    <a:lnTo>
                      <a:pt x="397" y="480"/>
                    </a:lnTo>
                    <a:close/>
                    <a:moveTo>
                      <a:pt x="320" y="505"/>
                    </a:moveTo>
                    <a:lnTo>
                      <a:pt x="319" y="505"/>
                    </a:lnTo>
                    <a:lnTo>
                      <a:pt x="320" y="505"/>
                    </a:lnTo>
                    <a:close/>
                    <a:moveTo>
                      <a:pt x="397" y="478"/>
                    </a:moveTo>
                    <a:lnTo>
                      <a:pt x="399" y="478"/>
                    </a:lnTo>
                    <a:lnTo>
                      <a:pt x="397" y="478"/>
                    </a:lnTo>
                    <a:lnTo>
                      <a:pt x="397" y="480"/>
                    </a:lnTo>
                    <a:lnTo>
                      <a:pt x="399" y="478"/>
                    </a:lnTo>
                    <a:lnTo>
                      <a:pt x="397" y="480"/>
                    </a:lnTo>
                    <a:lnTo>
                      <a:pt x="397" y="478"/>
                    </a:lnTo>
                    <a:close/>
                    <a:moveTo>
                      <a:pt x="368" y="488"/>
                    </a:moveTo>
                    <a:lnTo>
                      <a:pt x="368" y="490"/>
                    </a:lnTo>
                    <a:lnTo>
                      <a:pt x="370" y="490"/>
                    </a:lnTo>
                    <a:lnTo>
                      <a:pt x="368" y="490"/>
                    </a:lnTo>
                    <a:lnTo>
                      <a:pt x="367" y="490"/>
                    </a:lnTo>
                    <a:lnTo>
                      <a:pt x="368" y="488"/>
                    </a:lnTo>
                    <a:close/>
                    <a:moveTo>
                      <a:pt x="401" y="478"/>
                    </a:moveTo>
                    <a:lnTo>
                      <a:pt x="399" y="478"/>
                    </a:lnTo>
                    <a:lnTo>
                      <a:pt x="401" y="478"/>
                    </a:lnTo>
                    <a:close/>
                    <a:moveTo>
                      <a:pt x="401" y="477"/>
                    </a:moveTo>
                    <a:lnTo>
                      <a:pt x="401" y="478"/>
                    </a:lnTo>
                    <a:lnTo>
                      <a:pt x="399" y="478"/>
                    </a:lnTo>
                    <a:lnTo>
                      <a:pt x="399" y="477"/>
                    </a:lnTo>
                    <a:lnTo>
                      <a:pt x="401" y="477"/>
                    </a:lnTo>
                    <a:close/>
                    <a:moveTo>
                      <a:pt x="397" y="478"/>
                    </a:moveTo>
                    <a:lnTo>
                      <a:pt x="395" y="478"/>
                    </a:lnTo>
                    <a:lnTo>
                      <a:pt x="397" y="478"/>
                    </a:lnTo>
                    <a:close/>
                    <a:moveTo>
                      <a:pt x="367" y="490"/>
                    </a:moveTo>
                    <a:lnTo>
                      <a:pt x="367" y="492"/>
                    </a:lnTo>
                    <a:lnTo>
                      <a:pt x="367" y="490"/>
                    </a:lnTo>
                    <a:lnTo>
                      <a:pt x="368" y="490"/>
                    </a:lnTo>
                    <a:lnTo>
                      <a:pt x="368" y="492"/>
                    </a:lnTo>
                    <a:lnTo>
                      <a:pt x="367" y="494"/>
                    </a:lnTo>
                    <a:lnTo>
                      <a:pt x="365" y="494"/>
                    </a:lnTo>
                    <a:lnTo>
                      <a:pt x="363" y="496"/>
                    </a:lnTo>
                    <a:lnTo>
                      <a:pt x="363" y="494"/>
                    </a:lnTo>
                    <a:lnTo>
                      <a:pt x="361" y="494"/>
                    </a:lnTo>
                    <a:lnTo>
                      <a:pt x="361" y="492"/>
                    </a:lnTo>
                    <a:lnTo>
                      <a:pt x="363" y="492"/>
                    </a:lnTo>
                    <a:lnTo>
                      <a:pt x="365" y="492"/>
                    </a:lnTo>
                    <a:lnTo>
                      <a:pt x="363" y="492"/>
                    </a:lnTo>
                    <a:lnTo>
                      <a:pt x="365" y="490"/>
                    </a:lnTo>
                    <a:lnTo>
                      <a:pt x="367" y="490"/>
                    </a:lnTo>
                    <a:lnTo>
                      <a:pt x="367" y="488"/>
                    </a:lnTo>
                    <a:lnTo>
                      <a:pt x="368" y="488"/>
                    </a:lnTo>
                    <a:lnTo>
                      <a:pt x="367" y="490"/>
                    </a:lnTo>
                    <a:lnTo>
                      <a:pt x="365" y="490"/>
                    </a:lnTo>
                    <a:lnTo>
                      <a:pt x="367" y="490"/>
                    </a:lnTo>
                    <a:close/>
                    <a:moveTo>
                      <a:pt x="374" y="488"/>
                    </a:moveTo>
                    <a:lnTo>
                      <a:pt x="372" y="488"/>
                    </a:lnTo>
                    <a:lnTo>
                      <a:pt x="372" y="486"/>
                    </a:lnTo>
                    <a:lnTo>
                      <a:pt x="374" y="486"/>
                    </a:lnTo>
                    <a:lnTo>
                      <a:pt x="374" y="488"/>
                    </a:lnTo>
                    <a:close/>
                    <a:moveTo>
                      <a:pt x="403" y="477"/>
                    </a:moveTo>
                    <a:lnTo>
                      <a:pt x="401" y="477"/>
                    </a:lnTo>
                    <a:lnTo>
                      <a:pt x="403" y="477"/>
                    </a:lnTo>
                    <a:lnTo>
                      <a:pt x="403" y="475"/>
                    </a:lnTo>
                    <a:lnTo>
                      <a:pt x="403" y="477"/>
                    </a:lnTo>
                    <a:close/>
                    <a:moveTo>
                      <a:pt x="353" y="494"/>
                    </a:moveTo>
                    <a:lnTo>
                      <a:pt x="351" y="494"/>
                    </a:lnTo>
                    <a:lnTo>
                      <a:pt x="353" y="494"/>
                    </a:lnTo>
                    <a:close/>
                    <a:moveTo>
                      <a:pt x="405" y="475"/>
                    </a:moveTo>
                    <a:lnTo>
                      <a:pt x="407" y="475"/>
                    </a:lnTo>
                    <a:lnTo>
                      <a:pt x="405" y="475"/>
                    </a:lnTo>
                    <a:lnTo>
                      <a:pt x="407" y="475"/>
                    </a:lnTo>
                    <a:lnTo>
                      <a:pt x="405" y="475"/>
                    </a:lnTo>
                    <a:lnTo>
                      <a:pt x="405" y="477"/>
                    </a:lnTo>
                    <a:lnTo>
                      <a:pt x="407" y="475"/>
                    </a:lnTo>
                    <a:lnTo>
                      <a:pt x="407" y="477"/>
                    </a:lnTo>
                    <a:lnTo>
                      <a:pt x="407" y="475"/>
                    </a:lnTo>
                    <a:lnTo>
                      <a:pt x="409" y="475"/>
                    </a:lnTo>
                    <a:lnTo>
                      <a:pt x="409" y="477"/>
                    </a:lnTo>
                    <a:lnTo>
                      <a:pt x="407" y="477"/>
                    </a:lnTo>
                    <a:lnTo>
                      <a:pt x="405" y="477"/>
                    </a:lnTo>
                    <a:lnTo>
                      <a:pt x="405" y="475"/>
                    </a:lnTo>
                    <a:lnTo>
                      <a:pt x="407" y="475"/>
                    </a:lnTo>
                    <a:lnTo>
                      <a:pt x="405" y="475"/>
                    </a:lnTo>
                    <a:close/>
                    <a:moveTo>
                      <a:pt x="392" y="480"/>
                    </a:moveTo>
                    <a:lnTo>
                      <a:pt x="390" y="480"/>
                    </a:lnTo>
                    <a:lnTo>
                      <a:pt x="392" y="480"/>
                    </a:lnTo>
                    <a:lnTo>
                      <a:pt x="390" y="480"/>
                    </a:lnTo>
                    <a:lnTo>
                      <a:pt x="392" y="480"/>
                    </a:lnTo>
                    <a:close/>
                    <a:moveTo>
                      <a:pt x="397" y="477"/>
                    </a:moveTo>
                    <a:lnTo>
                      <a:pt x="397" y="478"/>
                    </a:lnTo>
                    <a:lnTo>
                      <a:pt x="397" y="477"/>
                    </a:lnTo>
                    <a:close/>
                    <a:moveTo>
                      <a:pt x="357" y="492"/>
                    </a:moveTo>
                    <a:lnTo>
                      <a:pt x="355" y="492"/>
                    </a:lnTo>
                    <a:lnTo>
                      <a:pt x="355" y="494"/>
                    </a:lnTo>
                    <a:lnTo>
                      <a:pt x="355" y="492"/>
                    </a:lnTo>
                    <a:lnTo>
                      <a:pt x="355" y="494"/>
                    </a:lnTo>
                    <a:lnTo>
                      <a:pt x="357" y="494"/>
                    </a:lnTo>
                    <a:lnTo>
                      <a:pt x="357" y="492"/>
                    </a:lnTo>
                    <a:lnTo>
                      <a:pt x="359" y="492"/>
                    </a:lnTo>
                    <a:lnTo>
                      <a:pt x="361" y="492"/>
                    </a:lnTo>
                    <a:lnTo>
                      <a:pt x="363" y="492"/>
                    </a:lnTo>
                    <a:lnTo>
                      <a:pt x="363" y="490"/>
                    </a:lnTo>
                    <a:lnTo>
                      <a:pt x="363" y="492"/>
                    </a:lnTo>
                    <a:lnTo>
                      <a:pt x="361" y="492"/>
                    </a:lnTo>
                    <a:lnTo>
                      <a:pt x="361" y="494"/>
                    </a:lnTo>
                    <a:lnTo>
                      <a:pt x="359" y="494"/>
                    </a:lnTo>
                    <a:lnTo>
                      <a:pt x="361" y="494"/>
                    </a:lnTo>
                    <a:lnTo>
                      <a:pt x="359" y="496"/>
                    </a:lnTo>
                    <a:lnTo>
                      <a:pt x="357" y="496"/>
                    </a:lnTo>
                    <a:lnTo>
                      <a:pt x="355" y="496"/>
                    </a:lnTo>
                    <a:lnTo>
                      <a:pt x="357" y="496"/>
                    </a:lnTo>
                    <a:lnTo>
                      <a:pt x="359" y="496"/>
                    </a:lnTo>
                    <a:lnTo>
                      <a:pt x="361" y="496"/>
                    </a:lnTo>
                    <a:lnTo>
                      <a:pt x="363" y="496"/>
                    </a:lnTo>
                    <a:lnTo>
                      <a:pt x="361" y="496"/>
                    </a:lnTo>
                    <a:lnTo>
                      <a:pt x="359" y="498"/>
                    </a:lnTo>
                    <a:lnTo>
                      <a:pt x="361" y="498"/>
                    </a:lnTo>
                    <a:lnTo>
                      <a:pt x="361" y="496"/>
                    </a:lnTo>
                    <a:lnTo>
                      <a:pt x="361" y="498"/>
                    </a:lnTo>
                    <a:lnTo>
                      <a:pt x="359" y="498"/>
                    </a:lnTo>
                    <a:lnTo>
                      <a:pt x="357" y="498"/>
                    </a:lnTo>
                    <a:lnTo>
                      <a:pt x="355" y="498"/>
                    </a:lnTo>
                    <a:lnTo>
                      <a:pt x="353" y="500"/>
                    </a:lnTo>
                    <a:lnTo>
                      <a:pt x="351" y="498"/>
                    </a:lnTo>
                    <a:lnTo>
                      <a:pt x="351" y="496"/>
                    </a:lnTo>
                    <a:lnTo>
                      <a:pt x="353" y="496"/>
                    </a:lnTo>
                    <a:lnTo>
                      <a:pt x="353" y="494"/>
                    </a:lnTo>
                    <a:lnTo>
                      <a:pt x="355" y="494"/>
                    </a:lnTo>
                    <a:lnTo>
                      <a:pt x="355" y="492"/>
                    </a:lnTo>
                    <a:lnTo>
                      <a:pt x="357" y="492"/>
                    </a:lnTo>
                    <a:close/>
                    <a:moveTo>
                      <a:pt x="368" y="488"/>
                    </a:moveTo>
                    <a:lnTo>
                      <a:pt x="370" y="488"/>
                    </a:lnTo>
                    <a:lnTo>
                      <a:pt x="370" y="486"/>
                    </a:lnTo>
                    <a:lnTo>
                      <a:pt x="370" y="488"/>
                    </a:lnTo>
                    <a:lnTo>
                      <a:pt x="370" y="490"/>
                    </a:lnTo>
                    <a:lnTo>
                      <a:pt x="370" y="488"/>
                    </a:lnTo>
                    <a:lnTo>
                      <a:pt x="370" y="490"/>
                    </a:lnTo>
                    <a:lnTo>
                      <a:pt x="370" y="488"/>
                    </a:lnTo>
                    <a:lnTo>
                      <a:pt x="370" y="490"/>
                    </a:lnTo>
                    <a:lnTo>
                      <a:pt x="368" y="488"/>
                    </a:lnTo>
                    <a:lnTo>
                      <a:pt x="367" y="488"/>
                    </a:lnTo>
                    <a:lnTo>
                      <a:pt x="368" y="488"/>
                    </a:lnTo>
                    <a:close/>
                    <a:moveTo>
                      <a:pt x="397" y="478"/>
                    </a:moveTo>
                    <a:lnTo>
                      <a:pt x="395" y="478"/>
                    </a:lnTo>
                    <a:lnTo>
                      <a:pt x="395" y="477"/>
                    </a:lnTo>
                    <a:lnTo>
                      <a:pt x="397" y="477"/>
                    </a:lnTo>
                    <a:lnTo>
                      <a:pt x="397" y="478"/>
                    </a:lnTo>
                    <a:close/>
                    <a:moveTo>
                      <a:pt x="370" y="486"/>
                    </a:moveTo>
                    <a:lnTo>
                      <a:pt x="368" y="486"/>
                    </a:lnTo>
                    <a:lnTo>
                      <a:pt x="370" y="486"/>
                    </a:lnTo>
                    <a:close/>
                    <a:moveTo>
                      <a:pt x="370" y="486"/>
                    </a:moveTo>
                    <a:lnTo>
                      <a:pt x="372" y="486"/>
                    </a:lnTo>
                    <a:lnTo>
                      <a:pt x="374" y="486"/>
                    </a:lnTo>
                    <a:lnTo>
                      <a:pt x="372" y="486"/>
                    </a:lnTo>
                    <a:lnTo>
                      <a:pt x="374" y="486"/>
                    </a:lnTo>
                    <a:lnTo>
                      <a:pt x="372" y="486"/>
                    </a:lnTo>
                    <a:lnTo>
                      <a:pt x="372" y="488"/>
                    </a:lnTo>
                    <a:lnTo>
                      <a:pt x="370" y="488"/>
                    </a:lnTo>
                    <a:lnTo>
                      <a:pt x="370" y="486"/>
                    </a:lnTo>
                    <a:close/>
                    <a:moveTo>
                      <a:pt x="405" y="475"/>
                    </a:moveTo>
                    <a:lnTo>
                      <a:pt x="403" y="475"/>
                    </a:lnTo>
                    <a:lnTo>
                      <a:pt x="405" y="475"/>
                    </a:lnTo>
                    <a:close/>
                    <a:moveTo>
                      <a:pt x="399" y="477"/>
                    </a:moveTo>
                    <a:lnTo>
                      <a:pt x="401" y="477"/>
                    </a:lnTo>
                    <a:lnTo>
                      <a:pt x="399" y="477"/>
                    </a:lnTo>
                    <a:lnTo>
                      <a:pt x="397" y="477"/>
                    </a:lnTo>
                    <a:lnTo>
                      <a:pt x="395" y="477"/>
                    </a:lnTo>
                    <a:lnTo>
                      <a:pt x="397" y="477"/>
                    </a:lnTo>
                    <a:lnTo>
                      <a:pt x="399" y="477"/>
                    </a:lnTo>
                    <a:close/>
                    <a:moveTo>
                      <a:pt x="384" y="480"/>
                    </a:moveTo>
                    <a:lnTo>
                      <a:pt x="384" y="482"/>
                    </a:lnTo>
                    <a:lnTo>
                      <a:pt x="384" y="480"/>
                    </a:lnTo>
                    <a:close/>
                    <a:moveTo>
                      <a:pt x="393" y="478"/>
                    </a:moveTo>
                    <a:lnTo>
                      <a:pt x="395" y="477"/>
                    </a:lnTo>
                    <a:lnTo>
                      <a:pt x="395" y="478"/>
                    </a:lnTo>
                    <a:lnTo>
                      <a:pt x="393" y="478"/>
                    </a:lnTo>
                    <a:close/>
                    <a:moveTo>
                      <a:pt x="372" y="486"/>
                    </a:moveTo>
                    <a:lnTo>
                      <a:pt x="372" y="484"/>
                    </a:lnTo>
                    <a:lnTo>
                      <a:pt x="372" y="486"/>
                    </a:lnTo>
                    <a:close/>
                    <a:moveTo>
                      <a:pt x="326" y="502"/>
                    </a:moveTo>
                    <a:lnTo>
                      <a:pt x="326" y="503"/>
                    </a:lnTo>
                    <a:lnTo>
                      <a:pt x="324" y="503"/>
                    </a:lnTo>
                    <a:lnTo>
                      <a:pt x="324" y="502"/>
                    </a:lnTo>
                    <a:lnTo>
                      <a:pt x="326" y="502"/>
                    </a:lnTo>
                    <a:close/>
                    <a:moveTo>
                      <a:pt x="372" y="486"/>
                    </a:moveTo>
                    <a:lnTo>
                      <a:pt x="370" y="486"/>
                    </a:lnTo>
                    <a:lnTo>
                      <a:pt x="372" y="486"/>
                    </a:lnTo>
                    <a:close/>
                    <a:moveTo>
                      <a:pt x="388" y="480"/>
                    </a:moveTo>
                    <a:lnTo>
                      <a:pt x="388" y="482"/>
                    </a:lnTo>
                    <a:lnTo>
                      <a:pt x="388" y="480"/>
                    </a:lnTo>
                    <a:lnTo>
                      <a:pt x="386" y="482"/>
                    </a:lnTo>
                    <a:lnTo>
                      <a:pt x="386" y="480"/>
                    </a:lnTo>
                    <a:lnTo>
                      <a:pt x="388" y="480"/>
                    </a:lnTo>
                    <a:lnTo>
                      <a:pt x="390" y="480"/>
                    </a:lnTo>
                    <a:lnTo>
                      <a:pt x="390" y="482"/>
                    </a:lnTo>
                    <a:lnTo>
                      <a:pt x="388" y="482"/>
                    </a:lnTo>
                    <a:lnTo>
                      <a:pt x="388" y="480"/>
                    </a:lnTo>
                    <a:lnTo>
                      <a:pt x="388" y="482"/>
                    </a:lnTo>
                    <a:lnTo>
                      <a:pt x="388" y="480"/>
                    </a:lnTo>
                    <a:lnTo>
                      <a:pt x="388" y="482"/>
                    </a:lnTo>
                    <a:lnTo>
                      <a:pt x="388" y="480"/>
                    </a:lnTo>
                    <a:lnTo>
                      <a:pt x="388" y="482"/>
                    </a:lnTo>
                    <a:lnTo>
                      <a:pt x="388" y="480"/>
                    </a:lnTo>
                    <a:close/>
                    <a:moveTo>
                      <a:pt x="401" y="475"/>
                    </a:moveTo>
                    <a:lnTo>
                      <a:pt x="403" y="475"/>
                    </a:lnTo>
                    <a:lnTo>
                      <a:pt x="401" y="475"/>
                    </a:lnTo>
                    <a:lnTo>
                      <a:pt x="403" y="475"/>
                    </a:lnTo>
                    <a:lnTo>
                      <a:pt x="401" y="475"/>
                    </a:lnTo>
                    <a:lnTo>
                      <a:pt x="401" y="477"/>
                    </a:lnTo>
                    <a:lnTo>
                      <a:pt x="399" y="477"/>
                    </a:lnTo>
                    <a:lnTo>
                      <a:pt x="399" y="475"/>
                    </a:lnTo>
                    <a:lnTo>
                      <a:pt x="401" y="475"/>
                    </a:lnTo>
                    <a:lnTo>
                      <a:pt x="399" y="475"/>
                    </a:lnTo>
                    <a:lnTo>
                      <a:pt x="401" y="475"/>
                    </a:lnTo>
                    <a:close/>
                    <a:moveTo>
                      <a:pt x="401" y="475"/>
                    </a:moveTo>
                    <a:lnTo>
                      <a:pt x="403" y="475"/>
                    </a:lnTo>
                    <a:lnTo>
                      <a:pt x="401" y="475"/>
                    </a:lnTo>
                    <a:close/>
                    <a:moveTo>
                      <a:pt x="353" y="492"/>
                    </a:moveTo>
                    <a:lnTo>
                      <a:pt x="355" y="492"/>
                    </a:lnTo>
                    <a:lnTo>
                      <a:pt x="353" y="492"/>
                    </a:lnTo>
                    <a:lnTo>
                      <a:pt x="353" y="494"/>
                    </a:lnTo>
                    <a:lnTo>
                      <a:pt x="353" y="492"/>
                    </a:lnTo>
                    <a:close/>
                    <a:moveTo>
                      <a:pt x="392" y="478"/>
                    </a:moveTo>
                    <a:lnTo>
                      <a:pt x="393" y="478"/>
                    </a:lnTo>
                    <a:lnTo>
                      <a:pt x="395" y="478"/>
                    </a:lnTo>
                    <a:lnTo>
                      <a:pt x="393" y="478"/>
                    </a:lnTo>
                    <a:lnTo>
                      <a:pt x="392" y="478"/>
                    </a:lnTo>
                    <a:lnTo>
                      <a:pt x="393" y="478"/>
                    </a:lnTo>
                    <a:lnTo>
                      <a:pt x="395" y="478"/>
                    </a:lnTo>
                    <a:lnTo>
                      <a:pt x="393" y="480"/>
                    </a:lnTo>
                    <a:lnTo>
                      <a:pt x="393" y="478"/>
                    </a:lnTo>
                    <a:lnTo>
                      <a:pt x="393" y="480"/>
                    </a:lnTo>
                    <a:lnTo>
                      <a:pt x="395" y="478"/>
                    </a:lnTo>
                    <a:lnTo>
                      <a:pt x="395" y="480"/>
                    </a:lnTo>
                    <a:lnTo>
                      <a:pt x="393" y="480"/>
                    </a:lnTo>
                    <a:lnTo>
                      <a:pt x="392" y="480"/>
                    </a:lnTo>
                    <a:lnTo>
                      <a:pt x="390" y="480"/>
                    </a:lnTo>
                    <a:lnTo>
                      <a:pt x="388" y="480"/>
                    </a:lnTo>
                    <a:lnTo>
                      <a:pt x="390" y="480"/>
                    </a:lnTo>
                    <a:lnTo>
                      <a:pt x="390" y="478"/>
                    </a:lnTo>
                    <a:lnTo>
                      <a:pt x="392" y="478"/>
                    </a:lnTo>
                    <a:lnTo>
                      <a:pt x="390" y="478"/>
                    </a:lnTo>
                    <a:lnTo>
                      <a:pt x="392" y="478"/>
                    </a:lnTo>
                    <a:close/>
                    <a:moveTo>
                      <a:pt x="643" y="369"/>
                    </a:moveTo>
                    <a:lnTo>
                      <a:pt x="643" y="371"/>
                    </a:lnTo>
                    <a:lnTo>
                      <a:pt x="643" y="369"/>
                    </a:lnTo>
                    <a:close/>
                    <a:moveTo>
                      <a:pt x="411" y="471"/>
                    </a:moveTo>
                    <a:lnTo>
                      <a:pt x="411" y="473"/>
                    </a:lnTo>
                    <a:lnTo>
                      <a:pt x="409" y="473"/>
                    </a:lnTo>
                    <a:lnTo>
                      <a:pt x="411" y="471"/>
                    </a:lnTo>
                    <a:close/>
                    <a:moveTo>
                      <a:pt x="399" y="475"/>
                    </a:moveTo>
                    <a:lnTo>
                      <a:pt x="399" y="477"/>
                    </a:lnTo>
                    <a:lnTo>
                      <a:pt x="397" y="477"/>
                    </a:lnTo>
                    <a:lnTo>
                      <a:pt x="397" y="475"/>
                    </a:lnTo>
                    <a:lnTo>
                      <a:pt x="399" y="475"/>
                    </a:lnTo>
                    <a:close/>
                    <a:moveTo>
                      <a:pt x="401" y="475"/>
                    </a:moveTo>
                    <a:lnTo>
                      <a:pt x="399" y="475"/>
                    </a:lnTo>
                    <a:lnTo>
                      <a:pt x="401" y="475"/>
                    </a:lnTo>
                    <a:close/>
                    <a:moveTo>
                      <a:pt x="722" y="329"/>
                    </a:moveTo>
                    <a:lnTo>
                      <a:pt x="720" y="329"/>
                    </a:lnTo>
                    <a:lnTo>
                      <a:pt x="722" y="329"/>
                    </a:lnTo>
                    <a:lnTo>
                      <a:pt x="722" y="327"/>
                    </a:lnTo>
                    <a:lnTo>
                      <a:pt x="722" y="329"/>
                    </a:lnTo>
                    <a:lnTo>
                      <a:pt x="722" y="327"/>
                    </a:lnTo>
                    <a:lnTo>
                      <a:pt x="722" y="329"/>
                    </a:lnTo>
                    <a:lnTo>
                      <a:pt x="720" y="329"/>
                    </a:lnTo>
                    <a:lnTo>
                      <a:pt x="722" y="329"/>
                    </a:lnTo>
                    <a:close/>
                    <a:moveTo>
                      <a:pt x="401" y="475"/>
                    </a:moveTo>
                    <a:lnTo>
                      <a:pt x="401" y="473"/>
                    </a:lnTo>
                    <a:lnTo>
                      <a:pt x="401" y="475"/>
                    </a:lnTo>
                    <a:close/>
                    <a:moveTo>
                      <a:pt x="363" y="488"/>
                    </a:moveTo>
                    <a:lnTo>
                      <a:pt x="363" y="486"/>
                    </a:lnTo>
                    <a:lnTo>
                      <a:pt x="363" y="488"/>
                    </a:lnTo>
                    <a:lnTo>
                      <a:pt x="365" y="488"/>
                    </a:lnTo>
                    <a:lnTo>
                      <a:pt x="365" y="486"/>
                    </a:lnTo>
                    <a:lnTo>
                      <a:pt x="367" y="486"/>
                    </a:lnTo>
                    <a:lnTo>
                      <a:pt x="367" y="488"/>
                    </a:lnTo>
                    <a:lnTo>
                      <a:pt x="365" y="488"/>
                    </a:lnTo>
                    <a:lnTo>
                      <a:pt x="365" y="490"/>
                    </a:lnTo>
                    <a:lnTo>
                      <a:pt x="363" y="490"/>
                    </a:lnTo>
                    <a:lnTo>
                      <a:pt x="361" y="492"/>
                    </a:lnTo>
                    <a:lnTo>
                      <a:pt x="359" y="492"/>
                    </a:lnTo>
                    <a:lnTo>
                      <a:pt x="357" y="492"/>
                    </a:lnTo>
                    <a:lnTo>
                      <a:pt x="359" y="492"/>
                    </a:lnTo>
                    <a:lnTo>
                      <a:pt x="359" y="490"/>
                    </a:lnTo>
                    <a:lnTo>
                      <a:pt x="361" y="490"/>
                    </a:lnTo>
                    <a:lnTo>
                      <a:pt x="361" y="488"/>
                    </a:lnTo>
                    <a:lnTo>
                      <a:pt x="361" y="490"/>
                    </a:lnTo>
                    <a:lnTo>
                      <a:pt x="363" y="490"/>
                    </a:lnTo>
                    <a:lnTo>
                      <a:pt x="363" y="488"/>
                    </a:lnTo>
                    <a:lnTo>
                      <a:pt x="363" y="490"/>
                    </a:lnTo>
                    <a:lnTo>
                      <a:pt x="361" y="490"/>
                    </a:lnTo>
                    <a:lnTo>
                      <a:pt x="361" y="488"/>
                    </a:lnTo>
                    <a:lnTo>
                      <a:pt x="363" y="488"/>
                    </a:lnTo>
                    <a:close/>
                    <a:moveTo>
                      <a:pt x="405" y="473"/>
                    </a:moveTo>
                    <a:lnTo>
                      <a:pt x="403" y="473"/>
                    </a:lnTo>
                    <a:lnTo>
                      <a:pt x="405" y="473"/>
                    </a:lnTo>
                    <a:close/>
                    <a:moveTo>
                      <a:pt x="363" y="486"/>
                    </a:moveTo>
                    <a:lnTo>
                      <a:pt x="363" y="488"/>
                    </a:lnTo>
                    <a:lnTo>
                      <a:pt x="363" y="486"/>
                    </a:lnTo>
                    <a:close/>
                    <a:moveTo>
                      <a:pt x="359" y="488"/>
                    </a:moveTo>
                    <a:lnTo>
                      <a:pt x="359" y="490"/>
                    </a:lnTo>
                    <a:lnTo>
                      <a:pt x="357" y="490"/>
                    </a:lnTo>
                    <a:lnTo>
                      <a:pt x="357" y="488"/>
                    </a:lnTo>
                    <a:lnTo>
                      <a:pt x="359" y="488"/>
                    </a:lnTo>
                    <a:close/>
                    <a:moveTo>
                      <a:pt x="386" y="478"/>
                    </a:moveTo>
                    <a:lnTo>
                      <a:pt x="388" y="480"/>
                    </a:lnTo>
                    <a:lnTo>
                      <a:pt x="386" y="480"/>
                    </a:lnTo>
                    <a:lnTo>
                      <a:pt x="384" y="480"/>
                    </a:lnTo>
                    <a:lnTo>
                      <a:pt x="384" y="478"/>
                    </a:lnTo>
                    <a:lnTo>
                      <a:pt x="386" y="478"/>
                    </a:lnTo>
                    <a:close/>
                    <a:moveTo>
                      <a:pt x="380" y="480"/>
                    </a:moveTo>
                    <a:lnTo>
                      <a:pt x="380" y="482"/>
                    </a:lnTo>
                    <a:lnTo>
                      <a:pt x="380" y="480"/>
                    </a:lnTo>
                    <a:close/>
                    <a:moveTo>
                      <a:pt x="78" y="563"/>
                    </a:moveTo>
                    <a:lnTo>
                      <a:pt x="76" y="563"/>
                    </a:lnTo>
                    <a:lnTo>
                      <a:pt x="78" y="563"/>
                    </a:lnTo>
                    <a:close/>
                    <a:moveTo>
                      <a:pt x="353" y="490"/>
                    </a:moveTo>
                    <a:lnTo>
                      <a:pt x="353" y="492"/>
                    </a:lnTo>
                    <a:lnTo>
                      <a:pt x="353" y="494"/>
                    </a:lnTo>
                    <a:lnTo>
                      <a:pt x="351" y="494"/>
                    </a:lnTo>
                    <a:lnTo>
                      <a:pt x="351" y="492"/>
                    </a:lnTo>
                    <a:lnTo>
                      <a:pt x="351" y="490"/>
                    </a:lnTo>
                    <a:lnTo>
                      <a:pt x="353" y="490"/>
                    </a:lnTo>
                    <a:close/>
                    <a:moveTo>
                      <a:pt x="374" y="482"/>
                    </a:moveTo>
                    <a:lnTo>
                      <a:pt x="374" y="484"/>
                    </a:lnTo>
                    <a:lnTo>
                      <a:pt x="372" y="484"/>
                    </a:lnTo>
                    <a:lnTo>
                      <a:pt x="370" y="484"/>
                    </a:lnTo>
                    <a:lnTo>
                      <a:pt x="372" y="484"/>
                    </a:lnTo>
                    <a:lnTo>
                      <a:pt x="372" y="482"/>
                    </a:lnTo>
                    <a:lnTo>
                      <a:pt x="374" y="482"/>
                    </a:lnTo>
                    <a:lnTo>
                      <a:pt x="372" y="482"/>
                    </a:lnTo>
                    <a:lnTo>
                      <a:pt x="374" y="482"/>
                    </a:lnTo>
                    <a:close/>
                    <a:moveTo>
                      <a:pt x="359" y="488"/>
                    </a:moveTo>
                    <a:lnTo>
                      <a:pt x="361" y="488"/>
                    </a:lnTo>
                    <a:lnTo>
                      <a:pt x="359" y="488"/>
                    </a:lnTo>
                    <a:close/>
                    <a:moveTo>
                      <a:pt x="399" y="473"/>
                    </a:moveTo>
                    <a:lnTo>
                      <a:pt x="401" y="473"/>
                    </a:lnTo>
                    <a:lnTo>
                      <a:pt x="399" y="475"/>
                    </a:lnTo>
                    <a:lnTo>
                      <a:pt x="399" y="473"/>
                    </a:lnTo>
                    <a:close/>
                    <a:moveTo>
                      <a:pt x="393" y="477"/>
                    </a:moveTo>
                    <a:lnTo>
                      <a:pt x="395" y="477"/>
                    </a:lnTo>
                    <a:lnTo>
                      <a:pt x="397" y="477"/>
                    </a:lnTo>
                    <a:lnTo>
                      <a:pt x="399" y="477"/>
                    </a:lnTo>
                    <a:lnTo>
                      <a:pt x="397" y="477"/>
                    </a:lnTo>
                    <a:lnTo>
                      <a:pt x="395" y="477"/>
                    </a:lnTo>
                    <a:lnTo>
                      <a:pt x="393" y="477"/>
                    </a:lnTo>
                    <a:lnTo>
                      <a:pt x="393" y="478"/>
                    </a:lnTo>
                    <a:lnTo>
                      <a:pt x="393" y="477"/>
                    </a:lnTo>
                    <a:lnTo>
                      <a:pt x="392" y="477"/>
                    </a:lnTo>
                    <a:lnTo>
                      <a:pt x="392" y="478"/>
                    </a:lnTo>
                    <a:lnTo>
                      <a:pt x="392" y="477"/>
                    </a:lnTo>
                    <a:lnTo>
                      <a:pt x="393" y="477"/>
                    </a:lnTo>
                    <a:close/>
                    <a:moveTo>
                      <a:pt x="376" y="482"/>
                    </a:moveTo>
                    <a:lnTo>
                      <a:pt x="374" y="482"/>
                    </a:lnTo>
                    <a:lnTo>
                      <a:pt x="376" y="482"/>
                    </a:lnTo>
                    <a:close/>
                    <a:moveTo>
                      <a:pt x="378" y="482"/>
                    </a:moveTo>
                    <a:lnTo>
                      <a:pt x="380" y="482"/>
                    </a:lnTo>
                    <a:lnTo>
                      <a:pt x="380" y="480"/>
                    </a:lnTo>
                    <a:lnTo>
                      <a:pt x="382" y="480"/>
                    </a:lnTo>
                    <a:lnTo>
                      <a:pt x="382" y="482"/>
                    </a:lnTo>
                    <a:lnTo>
                      <a:pt x="380" y="482"/>
                    </a:lnTo>
                    <a:lnTo>
                      <a:pt x="380" y="484"/>
                    </a:lnTo>
                    <a:lnTo>
                      <a:pt x="376" y="484"/>
                    </a:lnTo>
                    <a:lnTo>
                      <a:pt x="376" y="486"/>
                    </a:lnTo>
                    <a:lnTo>
                      <a:pt x="374" y="486"/>
                    </a:lnTo>
                    <a:lnTo>
                      <a:pt x="372" y="486"/>
                    </a:lnTo>
                    <a:lnTo>
                      <a:pt x="374" y="484"/>
                    </a:lnTo>
                    <a:lnTo>
                      <a:pt x="374" y="482"/>
                    </a:lnTo>
                    <a:lnTo>
                      <a:pt x="376" y="482"/>
                    </a:lnTo>
                    <a:lnTo>
                      <a:pt x="378" y="482"/>
                    </a:lnTo>
                    <a:lnTo>
                      <a:pt x="378" y="480"/>
                    </a:lnTo>
                    <a:lnTo>
                      <a:pt x="378" y="482"/>
                    </a:lnTo>
                    <a:close/>
                    <a:moveTo>
                      <a:pt x="393" y="475"/>
                    </a:moveTo>
                    <a:lnTo>
                      <a:pt x="393" y="477"/>
                    </a:lnTo>
                    <a:lnTo>
                      <a:pt x="393" y="475"/>
                    </a:lnTo>
                    <a:close/>
                    <a:moveTo>
                      <a:pt x="370" y="484"/>
                    </a:moveTo>
                    <a:lnTo>
                      <a:pt x="372" y="484"/>
                    </a:lnTo>
                    <a:lnTo>
                      <a:pt x="370" y="486"/>
                    </a:lnTo>
                    <a:lnTo>
                      <a:pt x="368" y="486"/>
                    </a:lnTo>
                    <a:lnTo>
                      <a:pt x="368" y="488"/>
                    </a:lnTo>
                    <a:lnTo>
                      <a:pt x="368" y="486"/>
                    </a:lnTo>
                    <a:lnTo>
                      <a:pt x="370" y="486"/>
                    </a:lnTo>
                    <a:lnTo>
                      <a:pt x="368" y="486"/>
                    </a:lnTo>
                    <a:lnTo>
                      <a:pt x="367" y="488"/>
                    </a:lnTo>
                    <a:lnTo>
                      <a:pt x="368" y="488"/>
                    </a:lnTo>
                    <a:lnTo>
                      <a:pt x="367" y="488"/>
                    </a:lnTo>
                    <a:lnTo>
                      <a:pt x="367" y="486"/>
                    </a:lnTo>
                    <a:lnTo>
                      <a:pt x="368" y="486"/>
                    </a:lnTo>
                    <a:lnTo>
                      <a:pt x="368" y="484"/>
                    </a:lnTo>
                    <a:lnTo>
                      <a:pt x="370" y="484"/>
                    </a:lnTo>
                    <a:close/>
                    <a:moveTo>
                      <a:pt x="405" y="471"/>
                    </a:moveTo>
                    <a:lnTo>
                      <a:pt x="407" y="471"/>
                    </a:lnTo>
                    <a:lnTo>
                      <a:pt x="405" y="471"/>
                    </a:lnTo>
                    <a:close/>
                    <a:moveTo>
                      <a:pt x="367" y="484"/>
                    </a:moveTo>
                    <a:lnTo>
                      <a:pt x="367" y="486"/>
                    </a:lnTo>
                    <a:lnTo>
                      <a:pt x="365" y="486"/>
                    </a:lnTo>
                    <a:lnTo>
                      <a:pt x="365" y="488"/>
                    </a:lnTo>
                    <a:lnTo>
                      <a:pt x="363" y="488"/>
                    </a:lnTo>
                    <a:lnTo>
                      <a:pt x="363" y="486"/>
                    </a:lnTo>
                    <a:lnTo>
                      <a:pt x="365" y="486"/>
                    </a:lnTo>
                    <a:lnTo>
                      <a:pt x="365" y="484"/>
                    </a:lnTo>
                    <a:lnTo>
                      <a:pt x="365" y="486"/>
                    </a:lnTo>
                    <a:lnTo>
                      <a:pt x="367" y="484"/>
                    </a:lnTo>
                    <a:close/>
                    <a:moveTo>
                      <a:pt x="365" y="484"/>
                    </a:moveTo>
                    <a:lnTo>
                      <a:pt x="365" y="486"/>
                    </a:lnTo>
                    <a:lnTo>
                      <a:pt x="365" y="484"/>
                    </a:lnTo>
                    <a:close/>
                    <a:moveTo>
                      <a:pt x="380" y="480"/>
                    </a:moveTo>
                    <a:lnTo>
                      <a:pt x="378" y="480"/>
                    </a:lnTo>
                    <a:lnTo>
                      <a:pt x="380" y="480"/>
                    </a:lnTo>
                    <a:close/>
                    <a:moveTo>
                      <a:pt x="344" y="492"/>
                    </a:moveTo>
                    <a:lnTo>
                      <a:pt x="342" y="492"/>
                    </a:lnTo>
                    <a:lnTo>
                      <a:pt x="344" y="492"/>
                    </a:lnTo>
                    <a:lnTo>
                      <a:pt x="342" y="492"/>
                    </a:lnTo>
                    <a:lnTo>
                      <a:pt x="344" y="492"/>
                    </a:lnTo>
                    <a:close/>
                    <a:moveTo>
                      <a:pt x="399" y="473"/>
                    </a:moveTo>
                    <a:lnTo>
                      <a:pt x="399" y="475"/>
                    </a:lnTo>
                    <a:lnTo>
                      <a:pt x="397" y="475"/>
                    </a:lnTo>
                    <a:lnTo>
                      <a:pt x="397" y="473"/>
                    </a:lnTo>
                    <a:lnTo>
                      <a:pt x="399" y="473"/>
                    </a:lnTo>
                    <a:close/>
                    <a:moveTo>
                      <a:pt x="359" y="486"/>
                    </a:moveTo>
                    <a:lnTo>
                      <a:pt x="359" y="488"/>
                    </a:lnTo>
                    <a:lnTo>
                      <a:pt x="359" y="486"/>
                    </a:lnTo>
                    <a:close/>
                    <a:moveTo>
                      <a:pt x="368" y="484"/>
                    </a:moveTo>
                    <a:lnTo>
                      <a:pt x="367" y="484"/>
                    </a:lnTo>
                    <a:lnTo>
                      <a:pt x="368" y="484"/>
                    </a:lnTo>
                    <a:close/>
                    <a:moveTo>
                      <a:pt x="363" y="486"/>
                    </a:moveTo>
                    <a:lnTo>
                      <a:pt x="363" y="484"/>
                    </a:lnTo>
                    <a:lnTo>
                      <a:pt x="363" y="486"/>
                    </a:lnTo>
                    <a:close/>
                    <a:moveTo>
                      <a:pt x="378" y="482"/>
                    </a:moveTo>
                    <a:lnTo>
                      <a:pt x="376" y="482"/>
                    </a:lnTo>
                    <a:lnTo>
                      <a:pt x="376" y="480"/>
                    </a:lnTo>
                    <a:lnTo>
                      <a:pt x="378" y="480"/>
                    </a:lnTo>
                    <a:lnTo>
                      <a:pt x="378" y="482"/>
                    </a:lnTo>
                    <a:close/>
                    <a:moveTo>
                      <a:pt x="376" y="482"/>
                    </a:moveTo>
                    <a:lnTo>
                      <a:pt x="374" y="482"/>
                    </a:lnTo>
                    <a:lnTo>
                      <a:pt x="374" y="480"/>
                    </a:lnTo>
                    <a:lnTo>
                      <a:pt x="376" y="482"/>
                    </a:lnTo>
                    <a:close/>
                    <a:moveTo>
                      <a:pt x="392" y="477"/>
                    </a:moveTo>
                    <a:lnTo>
                      <a:pt x="392" y="478"/>
                    </a:lnTo>
                    <a:lnTo>
                      <a:pt x="390" y="478"/>
                    </a:lnTo>
                    <a:lnTo>
                      <a:pt x="388" y="480"/>
                    </a:lnTo>
                    <a:lnTo>
                      <a:pt x="388" y="478"/>
                    </a:lnTo>
                    <a:lnTo>
                      <a:pt x="388" y="480"/>
                    </a:lnTo>
                    <a:lnTo>
                      <a:pt x="388" y="478"/>
                    </a:lnTo>
                    <a:lnTo>
                      <a:pt x="388" y="480"/>
                    </a:lnTo>
                    <a:lnTo>
                      <a:pt x="386" y="478"/>
                    </a:lnTo>
                    <a:lnTo>
                      <a:pt x="388" y="480"/>
                    </a:lnTo>
                    <a:lnTo>
                      <a:pt x="388" y="478"/>
                    </a:lnTo>
                    <a:lnTo>
                      <a:pt x="386" y="478"/>
                    </a:lnTo>
                    <a:lnTo>
                      <a:pt x="388" y="478"/>
                    </a:lnTo>
                    <a:lnTo>
                      <a:pt x="388" y="477"/>
                    </a:lnTo>
                    <a:lnTo>
                      <a:pt x="390" y="477"/>
                    </a:lnTo>
                    <a:lnTo>
                      <a:pt x="392" y="477"/>
                    </a:lnTo>
                    <a:close/>
                    <a:moveTo>
                      <a:pt x="403" y="471"/>
                    </a:moveTo>
                    <a:lnTo>
                      <a:pt x="403" y="473"/>
                    </a:lnTo>
                    <a:lnTo>
                      <a:pt x="401" y="473"/>
                    </a:lnTo>
                    <a:lnTo>
                      <a:pt x="399" y="471"/>
                    </a:lnTo>
                    <a:lnTo>
                      <a:pt x="401" y="471"/>
                    </a:lnTo>
                    <a:lnTo>
                      <a:pt x="403" y="471"/>
                    </a:lnTo>
                    <a:close/>
                    <a:moveTo>
                      <a:pt x="367" y="484"/>
                    </a:moveTo>
                    <a:lnTo>
                      <a:pt x="365" y="484"/>
                    </a:lnTo>
                    <a:lnTo>
                      <a:pt x="367" y="484"/>
                    </a:lnTo>
                    <a:lnTo>
                      <a:pt x="365" y="484"/>
                    </a:lnTo>
                    <a:lnTo>
                      <a:pt x="367" y="484"/>
                    </a:lnTo>
                    <a:lnTo>
                      <a:pt x="365" y="484"/>
                    </a:lnTo>
                    <a:lnTo>
                      <a:pt x="367" y="484"/>
                    </a:lnTo>
                    <a:close/>
                    <a:moveTo>
                      <a:pt x="367" y="482"/>
                    </a:moveTo>
                    <a:lnTo>
                      <a:pt x="368" y="482"/>
                    </a:lnTo>
                    <a:lnTo>
                      <a:pt x="368" y="484"/>
                    </a:lnTo>
                    <a:lnTo>
                      <a:pt x="367" y="484"/>
                    </a:lnTo>
                    <a:lnTo>
                      <a:pt x="367" y="482"/>
                    </a:lnTo>
                    <a:close/>
                    <a:moveTo>
                      <a:pt x="399" y="473"/>
                    </a:moveTo>
                    <a:lnTo>
                      <a:pt x="397" y="473"/>
                    </a:lnTo>
                    <a:lnTo>
                      <a:pt x="399" y="473"/>
                    </a:lnTo>
                    <a:close/>
                    <a:moveTo>
                      <a:pt x="382" y="477"/>
                    </a:moveTo>
                    <a:lnTo>
                      <a:pt x="384" y="477"/>
                    </a:lnTo>
                    <a:lnTo>
                      <a:pt x="384" y="478"/>
                    </a:lnTo>
                    <a:lnTo>
                      <a:pt x="384" y="480"/>
                    </a:lnTo>
                    <a:lnTo>
                      <a:pt x="382" y="480"/>
                    </a:lnTo>
                    <a:lnTo>
                      <a:pt x="382" y="478"/>
                    </a:lnTo>
                    <a:lnTo>
                      <a:pt x="380" y="478"/>
                    </a:lnTo>
                    <a:lnTo>
                      <a:pt x="378" y="480"/>
                    </a:lnTo>
                    <a:lnTo>
                      <a:pt x="378" y="478"/>
                    </a:lnTo>
                    <a:lnTo>
                      <a:pt x="380" y="478"/>
                    </a:lnTo>
                    <a:lnTo>
                      <a:pt x="382" y="478"/>
                    </a:lnTo>
                    <a:lnTo>
                      <a:pt x="382" y="477"/>
                    </a:lnTo>
                    <a:close/>
                    <a:moveTo>
                      <a:pt x="405" y="471"/>
                    </a:moveTo>
                    <a:lnTo>
                      <a:pt x="407" y="471"/>
                    </a:lnTo>
                    <a:lnTo>
                      <a:pt x="405" y="471"/>
                    </a:lnTo>
                    <a:lnTo>
                      <a:pt x="407" y="471"/>
                    </a:lnTo>
                    <a:lnTo>
                      <a:pt x="405" y="471"/>
                    </a:lnTo>
                    <a:lnTo>
                      <a:pt x="403" y="471"/>
                    </a:lnTo>
                    <a:lnTo>
                      <a:pt x="405" y="471"/>
                    </a:lnTo>
                    <a:lnTo>
                      <a:pt x="403" y="471"/>
                    </a:lnTo>
                    <a:lnTo>
                      <a:pt x="401" y="471"/>
                    </a:lnTo>
                    <a:lnTo>
                      <a:pt x="403" y="471"/>
                    </a:lnTo>
                    <a:lnTo>
                      <a:pt x="405" y="469"/>
                    </a:lnTo>
                    <a:lnTo>
                      <a:pt x="407" y="469"/>
                    </a:lnTo>
                    <a:lnTo>
                      <a:pt x="407" y="471"/>
                    </a:lnTo>
                    <a:lnTo>
                      <a:pt x="405" y="471"/>
                    </a:lnTo>
                    <a:close/>
                    <a:moveTo>
                      <a:pt x="365" y="484"/>
                    </a:moveTo>
                    <a:lnTo>
                      <a:pt x="363" y="484"/>
                    </a:lnTo>
                    <a:lnTo>
                      <a:pt x="365" y="484"/>
                    </a:lnTo>
                    <a:close/>
                    <a:moveTo>
                      <a:pt x="370" y="480"/>
                    </a:moveTo>
                    <a:lnTo>
                      <a:pt x="370" y="482"/>
                    </a:lnTo>
                    <a:lnTo>
                      <a:pt x="368" y="482"/>
                    </a:lnTo>
                    <a:lnTo>
                      <a:pt x="370" y="482"/>
                    </a:lnTo>
                    <a:lnTo>
                      <a:pt x="370" y="480"/>
                    </a:lnTo>
                    <a:close/>
                    <a:moveTo>
                      <a:pt x="405" y="469"/>
                    </a:moveTo>
                    <a:lnTo>
                      <a:pt x="407" y="469"/>
                    </a:lnTo>
                    <a:lnTo>
                      <a:pt x="405" y="469"/>
                    </a:lnTo>
                    <a:close/>
                    <a:moveTo>
                      <a:pt x="380" y="478"/>
                    </a:moveTo>
                    <a:lnTo>
                      <a:pt x="378" y="478"/>
                    </a:lnTo>
                    <a:lnTo>
                      <a:pt x="380" y="478"/>
                    </a:lnTo>
                    <a:close/>
                    <a:moveTo>
                      <a:pt x="397" y="473"/>
                    </a:moveTo>
                    <a:lnTo>
                      <a:pt x="399" y="473"/>
                    </a:lnTo>
                    <a:lnTo>
                      <a:pt x="397" y="473"/>
                    </a:lnTo>
                    <a:lnTo>
                      <a:pt x="395" y="473"/>
                    </a:lnTo>
                    <a:lnTo>
                      <a:pt x="397" y="473"/>
                    </a:lnTo>
                    <a:close/>
                    <a:moveTo>
                      <a:pt x="330" y="496"/>
                    </a:moveTo>
                    <a:lnTo>
                      <a:pt x="332" y="496"/>
                    </a:lnTo>
                    <a:lnTo>
                      <a:pt x="334" y="496"/>
                    </a:lnTo>
                    <a:lnTo>
                      <a:pt x="334" y="498"/>
                    </a:lnTo>
                    <a:lnTo>
                      <a:pt x="334" y="500"/>
                    </a:lnTo>
                    <a:lnTo>
                      <a:pt x="332" y="502"/>
                    </a:lnTo>
                    <a:lnTo>
                      <a:pt x="332" y="500"/>
                    </a:lnTo>
                    <a:lnTo>
                      <a:pt x="330" y="500"/>
                    </a:lnTo>
                    <a:lnTo>
                      <a:pt x="330" y="502"/>
                    </a:lnTo>
                    <a:lnTo>
                      <a:pt x="328" y="502"/>
                    </a:lnTo>
                    <a:lnTo>
                      <a:pt x="328" y="500"/>
                    </a:lnTo>
                    <a:lnTo>
                      <a:pt x="330" y="500"/>
                    </a:lnTo>
                    <a:lnTo>
                      <a:pt x="328" y="498"/>
                    </a:lnTo>
                    <a:lnTo>
                      <a:pt x="328" y="500"/>
                    </a:lnTo>
                    <a:lnTo>
                      <a:pt x="326" y="500"/>
                    </a:lnTo>
                    <a:lnTo>
                      <a:pt x="326" y="498"/>
                    </a:lnTo>
                    <a:lnTo>
                      <a:pt x="326" y="496"/>
                    </a:lnTo>
                    <a:lnTo>
                      <a:pt x="328" y="496"/>
                    </a:lnTo>
                    <a:lnTo>
                      <a:pt x="330" y="496"/>
                    </a:lnTo>
                    <a:close/>
                    <a:moveTo>
                      <a:pt x="361" y="486"/>
                    </a:moveTo>
                    <a:lnTo>
                      <a:pt x="361" y="484"/>
                    </a:lnTo>
                    <a:lnTo>
                      <a:pt x="363" y="484"/>
                    </a:lnTo>
                    <a:lnTo>
                      <a:pt x="361" y="486"/>
                    </a:lnTo>
                    <a:close/>
                    <a:moveTo>
                      <a:pt x="374" y="482"/>
                    </a:moveTo>
                    <a:lnTo>
                      <a:pt x="372" y="482"/>
                    </a:lnTo>
                    <a:lnTo>
                      <a:pt x="370" y="484"/>
                    </a:lnTo>
                    <a:lnTo>
                      <a:pt x="372" y="482"/>
                    </a:lnTo>
                    <a:lnTo>
                      <a:pt x="370" y="484"/>
                    </a:lnTo>
                    <a:lnTo>
                      <a:pt x="370" y="482"/>
                    </a:lnTo>
                    <a:lnTo>
                      <a:pt x="372" y="482"/>
                    </a:lnTo>
                    <a:lnTo>
                      <a:pt x="372" y="480"/>
                    </a:lnTo>
                    <a:lnTo>
                      <a:pt x="374" y="480"/>
                    </a:lnTo>
                    <a:lnTo>
                      <a:pt x="374" y="482"/>
                    </a:lnTo>
                    <a:close/>
                    <a:moveTo>
                      <a:pt x="405" y="469"/>
                    </a:moveTo>
                    <a:lnTo>
                      <a:pt x="403" y="469"/>
                    </a:lnTo>
                    <a:lnTo>
                      <a:pt x="403" y="471"/>
                    </a:lnTo>
                    <a:lnTo>
                      <a:pt x="403" y="469"/>
                    </a:lnTo>
                    <a:lnTo>
                      <a:pt x="405" y="469"/>
                    </a:lnTo>
                    <a:lnTo>
                      <a:pt x="407" y="469"/>
                    </a:lnTo>
                    <a:lnTo>
                      <a:pt x="405" y="469"/>
                    </a:lnTo>
                    <a:close/>
                    <a:moveTo>
                      <a:pt x="351" y="488"/>
                    </a:moveTo>
                    <a:lnTo>
                      <a:pt x="351" y="490"/>
                    </a:lnTo>
                    <a:lnTo>
                      <a:pt x="351" y="492"/>
                    </a:lnTo>
                    <a:lnTo>
                      <a:pt x="349" y="492"/>
                    </a:lnTo>
                    <a:lnTo>
                      <a:pt x="349" y="490"/>
                    </a:lnTo>
                    <a:lnTo>
                      <a:pt x="349" y="488"/>
                    </a:lnTo>
                    <a:lnTo>
                      <a:pt x="351" y="488"/>
                    </a:lnTo>
                    <a:close/>
                    <a:moveTo>
                      <a:pt x="388" y="475"/>
                    </a:moveTo>
                    <a:lnTo>
                      <a:pt x="388" y="477"/>
                    </a:lnTo>
                    <a:lnTo>
                      <a:pt x="388" y="475"/>
                    </a:lnTo>
                    <a:close/>
                    <a:moveTo>
                      <a:pt x="382" y="477"/>
                    </a:moveTo>
                    <a:lnTo>
                      <a:pt x="382" y="478"/>
                    </a:lnTo>
                    <a:lnTo>
                      <a:pt x="380" y="478"/>
                    </a:lnTo>
                    <a:lnTo>
                      <a:pt x="380" y="477"/>
                    </a:lnTo>
                    <a:lnTo>
                      <a:pt x="382" y="477"/>
                    </a:lnTo>
                    <a:close/>
                    <a:moveTo>
                      <a:pt x="378" y="478"/>
                    </a:moveTo>
                    <a:lnTo>
                      <a:pt x="378" y="480"/>
                    </a:lnTo>
                    <a:lnTo>
                      <a:pt x="376" y="480"/>
                    </a:lnTo>
                    <a:lnTo>
                      <a:pt x="376" y="478"/>
                    </a:lnTo>
                    <a:lnTo>
                      <a:pt x="378" y="478"/>
                    </a:lnTo>
                    <a:close/>
                    <a:moveTo>
                      <a:pt x="407" y="469"/>
                    </a:moveTo>
                    <a:lnTo>
                      <a:pt x="407" y="467"/>
                    </a:lnTo>
                    <a:lnTo>
                      <a:pt x="407" y="469"/>
                    </a:lnTo>
                    <a:close/>
                    <a:moveTo>
                      <a:pt x="399" y="471"/>
                    </a:moveTo>
                    <a:lnTo>
                      <a:pt x="397" y="471"/>
                    </a:lnTo>
                    <a:lnTo>
                      <a:pt x="399" y="471"/>
                    </a:lnTo>
                    <a:close/>
                    <a:moveTo>
                      <a:pt x="301" y="503"/>
                    </a:moveTo>
                    <a:lnTo>
                      <a:pt x="303" y="503"/>
                    </a:lnTo>
                    <a:lnTo>
                      <a:pt x="301" y="503"/>
                    </a:lnTo>
                    <a:close/>
                    <a:moveTo>
                      <a:pt x="382" y="477"/>
                    </a:moveTo>
                    <a:lnTo>
                      <a:pt x="380" y="477"/>
                    </a:lnTo>
                    <a:lnTo>
                      <a:pt x="382" y="477"/>
                    </a:lnTo>
                    <a:lnTo>
                      <a:pt x="380" y="477"/>
                    </a:lnTo>
                    <a:lnTo>
                      <a:pt x="380" y="478"/>
                    </a:lnTo>
                    <a:lnTo>
                      <a:pt x="380" y="477"/>
                    </a:lnTo>
                    <a:lnTo>
                      <a:pt x="382" y="477"/>
                    </a:lnTo>
                    <a:close/>
                    <a:moveTo>
                      <a:pt x="397" y="471"/>
                    </a:moveTo>
                    <a:lnTo>
                      <a:pt x="397" y="473"/>
                    </a:lnTo>
                    <a:lnTo>
                      <a:pt x="395" y="473"/>
                    </a:lnTo>
                    <a:lnTo>
                      <a:pt x="395" y="471"/>
                    </a:lnTo>
                    <a:lnTo>
                      <a:pt x="397" y="471"/>
                    </a:lnTo>
                    <a:close/>
                    <a:moveTo>
                      <a:pt x="384" y="475"/>
                    </a:moveTo>
                    <a:lnTo>
                      <a:pt x="384" y="477"/>
                    </a:lnTo>
                    <a:lnTo>
                      <a:pt x="384" y="475"/>
                    </a:lnTo>
                    <a:close/>
                    <a:moveTo>
                      <a:pt x="301" y="503"/>
                    </a:moveTo>
                    <a:lnTo>
                      <a:pt x="299" y="503"/>
                    </a:lnTo>
                    <a:lnTo>
                      <a:pt x="301" y="503"/>
                    </a:lnTo>
                    <a:close/>
                    <a:moveTo>
                      <a:pt x="407" y="467"/>
                    </a:moveTo>
                    <a:lnTo>
                      <a:pt x="407" y="469"/>
                    </a:lnTo>
                    <a:lnTo>
                      <a:pt x="405" y="469"/>
                    </a:lnTo>
                    <a:lnTo>
                      <a:pt x="405" y="467"/>
                    </a:lnTo>
                    <a:lnTo>
                      <a:pt x="407" y="467"/>
                    </a:lnTo>
                    <a:close/>
                    <a:moveTo>
                      <a:pt x="386" y="475"/>
                    </a:moveTo>
                    <a:lnTo>
                      <a:pt x="388" y="477"/>
                    </a:lnTo>
                    <a:lnTo>
                      <a:pt x="386" y="477"/>
                    </a:lnTo>
                    <a:lnTo>
                      <a:pt x="388" y="477"/>
                    </a:lnTo>
                    <a:lnTo>
                      <a:pt x="386" y="477"/>
                    </a:lnTo>
                    <a:lnTo>
                      <a:pt x="386" y="478"/>
                    </a:lnTo>
                    <a:lnTo>
                      <a:pt x="384" y="477"/>
                    </a:lnTo>
                    <a:lnTo>
                      <a:pt x="382" y="477"/>
                    </a:lnTo>
                    <a:lnTo>
                      <a:pt x="384" y="477"/>
                    </a:lnTo>
                    <a:lnTo>
                      <a:pt x="386" y="477"/>
                    </a:lnTo>
                    <a:lnTo>
                      <a:pt x="386" y="475"/>
                    </a:lnTo>
                    <a:lnTo>
                      <a:pt x="386" y="477"/>
                    </a:lnTo>
                    <a:lnTo>
                      <a:pt x="386" y="475"/>
                    </a:lnTo>
                    <a:close/>
                    <a:moveTo>
                      <a:pt x="401" y="471"/>
                    </a:moveTo>
                    <a:lnTo>
                      <a:pt x="399" y="471"/>
                    </a:lnTo>
                    <a:lnTo>
                      <a:pt x="401" y="469"/>
                    </a:lnTo>
                    <a:lnTo>
                      <a:pt x="401" y="471"/>
                    </a:lnTo>
                    <a:close/>
                    <a:moveTo>
                      <a:pt x="309" y="502"/>
                    </a:moveTo>
                    <a:lnTo>
                      <a:pt x="307" y="502"/>
                    </a:lnTo>
                    <a:lnTo>
                      <a:pt x="309" y="502"/>
                    </a:lnTo>
                    <a:close/>
                    <a:moveTo>
                      <a:pt x="403" y="467"/>
                    </a:moveTo>
                    <a:lnTo>
                      <a:pt x="403" y="469"/>
                    </a:lnTo>
                    <a:lnTo>
                      <a:pt x="403" y="467"/>
                    </a:lnTo>
                    <a:lnTo>
                      <a:pt x="405" y="467"/>
                    </a:lnTo>
                    <a:lnTo>
                      <a:pt x="407" y="467"/>
                    </a:lnTo>
                    <a:lnTo>
                      <a:pt x="405" y="467"/>
                    </a:lnTo>
                    <a:lnTo>
                      <a:pt x="405" y="469"/>
                    </a:lnTo>
                    <a:lnTo>
                      <a:pt x="403" y="469"/>
                    </a:lnTo>
                    <a:lnTo>
                      <a:pt x="403" y="467"/>
                    </a:lnTo>
                    <a:close/>
                    <a:moveTo>
                      <a:pt x="405" y="467"/>
                    </a:moveTo>
                    <a:lnTo>
                      <a:pt x="407" y="467"/>
                    </a:lnTo>
                    <a:lnTo>
                      <a:pt x="405" y="467"/>
                    </a:lnTo>
                    <a:close/>
                    <a:moveTo>
                      <a:pt x="399" y="469"/>
                    </a:moveTo>
                    <a:lnTo>
                      <a:pt x="401" y="469"/>
                    </a:lnTo>
                    <a:lnTo>
                      <a:pt x="399" y="469"/>
                    </a:lnTo>
                    <a:close/>
                    <a:moveTo>
                      <a:pt x="399" y="471"/>
                    </a:moveTo>
                    <a:lnTo>
                      <a:pt x="401" y="471"/>
                    </a:lnTo>
                    <a:lnTo>
                      <a:pt x="401" y="469"/>
                    </a:lnTo>
                    <a:lnTo>
                      <a:pt x="403" y="469"/>
                    </a:lnTo>
                    <a:lnTo>
                      <a:pt x="403" y="471"/>
                    </a:lnTo>
                    <a:lnTo>
                      <a:pt x="401" y="471"/>
                    </a:lnTo>
                    <a:lnTo>
                      <a:pt x="399" y="471"/>
                    </a:lnTo>
                    <a:lnTo>
                      <a:pt x="397" y="471"/>
                    </a:lnTo>
                    <a:lnTo>
                      <a:pt x="399" y="471"/>
                    </a:lnTo>
                    <a:close/>
                    <a:moveTo>
                      <a:pt x="388" y="473"/>
                    </a:moveTo>
                    <a:lnTo>
                      <a:pt x="388" y="475"/>
                    </a:lnTo>
                    <a:lnTo>
                      <a:pt x="386" y="475"/>
                    </a:lnTo>
                    <a:lnTo>
                      <a:pt x="386" y="473"/>
                    </a:lnTo>
                    <a:lnTo>
                      <a:pt x="388" y="473"/>
                    </a:lnTo>
                    <a:close/>
                    <a:moveTo>
                      <a:pt x="247" y="519"/>
                    </a:moveTo>
                    <a:lnTo>
                      <a:pt x="247" y="521"/>
                    </a:lnTo>
                    <a:lnTo>
                      <a:pt x="246" y="521"/>
                    </a:lnTo>
                    <a:lnTo>
                      <a:pt x="246" y="519"/>
                    </a:lnTo>
                    <a:lnTo>
                      <a:pt x="247" y="519"/>
                    </a:lnTo>
                    <a:close/>
                    <a:moveTo>
                      <a:pt x="363" y="484"/>
                    </a:moveTo>
                    <a:lnTo>
                      <a:pt x="363" y="482"/>
                    </a:lnTo>
                    <a:lnTo>
                      <a:pt x="363" y="484"/>
                    </a:lnTo>
                    <a:close/>
                    <a:moveTo>
                      <a:pt x="390" y="473"/>
                    </a:moveTo>
                    <a:lnTo>
                      <a:pt x="392" y="473"/>
                    </a:lnTo>
                    <a:lnTo>
                      <a:pt x="390" y="473"/>
                    </a:lnTo>
                    <a:lnTo>
                      <a:pt x="392" y="473"/>
                    </a:lnTo>
                    <a:lnTo>
                      <a:pt x="390" y="473"/>
                    </a:lnTo>
                    <a:lnTo>
                      <a:pt x="392" y="473"/>
                    </a:lnTo>
                    <a:lnTo>
                      <a:pt x="393" y="473"/>
                    </a:lnTo>
                    <a:lnTo>
                      <a:pt x="395" y="473"/>
                    </a:lnTo>
                    <a:lnTo>
                      <a:pt x="397" y="473"/>
                    </a:lnTo>
                    <a:lnTo>
                      <a:pt x="397" y="475"/>
                    </a:lnTo>
                    <a:lnTo>
                      <a:pt x="395" y="475"/>
                    </a:lnTo>
                    <a:lnTo>
                      <a:pt x="395" y="473"/>
                    </a:lnTo>
                    <a:lnTo>
                      <a:pt x="395" y="475"/>
                    </a:lnTo>
                    <a:lnTo>
                      <a:pt x="397" y="475"/>
                    </a:lnTo>
                    <a:lnTo>
                      <a:pt x="399" y="475"/>
                    </a:lnTo>
                    <a:lnTo>
                      <a:pt x="397" y="475"/>
                    </a:lnTo>
                    <a:lnTo>
                      <a:pt x="395" y="477"/>
                    </a:lnTo>
                    <a:lnTo>
                      <a:pt x="395" y="475"/>
                    </a:lnTo>
                    <a:lnTo>
                      <a:pt x="395" y="477"/>
                    </a:lnTo>
                    <a:lnTo>
                      <a:pt x="393" y="477"/>
                    </a:lnTo>
                    <a:lnTo>
                      <a:pt x="393" y="475"/>
                    </a:lnTo>
                    <a:lnTo>
                      <a:pt x="392" y="475"/>
                    </a:lnTo>
                    <a:lnTo>
                      <a:pt x="390" y="475"/>
                    </a:lnTo>
                    <a:lnTo>
                      <a:pt x="392" y="475"/>
                    </a:lnTo>
                    <a:lnTo>
                      <a:pt x="392" y="477"/>
                    </a:lnTo>
                    <a:lnTo>
                      <a:pt x="390" y="477"/>
                    </a:lnTo>
                    <a:lnTo>
                      <a:pt x="390" y="475"/>
                    </a:lnTo>
                    <a:lnTo>
                      <a:pt x="388" y="475"/>
                    </a:lnTo>
                    <a:lnTo>
                      <a:pt x="388" y="473"/>
                    </a:lnTo>
                    <a:lnTo>
                      <a:pt x="390" y="473"/>
                    </a:lnTo>
                    <a:close/>
                    <a:moveTo>
                      <a:pt x="390" y="473"/>
                    </a:moveTo>
                    <a:lnTo>
                      <a:pt x="388" y="473"/>
                    </a:lnTo>
                    <a:lnTo>
                      <a:pt x="390" y="473"/>
                    </a:lnTo>
                    <a:close/>
                    <a:moveTo>
                      <a:pt x="397" y="469"/>
                    </a:moveTo>
                    <a:lnTo>
                      <a:pt x="399" y="469"/>
                    </a:lnTo>
                    <a:lnTo>
                      <a:pt x="401" y="469"/>
                    </a:lnTo>
                    <a:lnTo>
                      <a:pt x="403" y="469"/>
                    </a:lnTo>
                    <a:lnTo>
                      <a:pt x="401" y="469"/>
                    </a:lnTo>
                    <a:lnTo>
                      <a:pt x="399" y="469"/>
                    </a:lnTo>
                    <a:lnTo>
                      <a:pt x="397" y="469"/>
                    </a:lnTo>
                    <a:lnTo>
                      <a:pt x="397" y="471"/>
                    </a:lnTo>
                    <a:lnTo>
                      <a:pt x="395" y="469"/>
                    </a:lnTo>
                    <a:lnTo>
                      <a:pt x="397" y="469"/>
                    </a:lnTo>
                    <a:close/>
                    <a:moveTo>
                      <a:pt x="328" y="492"/>
                    </a:moveTo>
                    <a:lnTo>
                      <a:pt x="328" y="494"/>
                    </a:lnTo>
                    <a:lnTo>
                      <a:pt x="328" y="492"/>
                    </a:lnTo>
                    <a:close/>
                    <a:moveTo>
                      <a:pt x="401" y="467"/>
                    </a:moveTo>
                    <a:lnTo>
                      <a:pt x="403" y="467"/>
                    </a:lnTo>
                    <a:lnTo>
                      <a:pt x="405" y="467"/>
                    </a:lnTo>
                    <a:lnTo>
                      <a:pt x="403" y="467"/>
                    </a:lnTo>
                    <a:lnTo>
                      <a:pt x="403" y="469"/>
                    </a:lnTo>
                    <a:lnTo>
                      <a:pt x="401" y="469"/>
                    </a:lnTo>
                    <a:lnTo>
                      <a:pt x="399" y="469"/>
                    </a:lnTo>
                    <a:lnTo>
                      <a:pt x="397" y="469"/>
                    </a:lnTo>
                    <a:lnTo>
                      <a:pt x="395" y="469"/>
                    </a:lnTo>
                    <a:lnTo>
                      <a:pt x="397" y="469"/>
                    </a:lnTo>
                    <a:lnTo>
                      <a:pt x="399" y="469"/>
                    </a:lnTo>
                    <a:lnTo>
                      <a:pt x="399" y="467"/>
                    </a:lnTo>
                    <a:lnTo>
                      <a:pt x="401" y="467"/>
                    </a:lnTo>
                    <a:close/>
                    <a:moveTo>
                      <a:pt x="363" y="480"/>
                    </a:moveTo>
                    <a:lnTo>
                      <a:pt x="365" y="480"/>
                    </a:lnTo>
                    <a:lnTo>
                      <a:pt x="363" y="480"/>
                    </a:lnTo>
                    <a:lnTo>
                      <a:pt x="363" y="482"/>
                    </a:lnTo>
                    <a:lnTo>
                      <a:pt x="363" y="480"/>
                    </a:lnTo>
                    <a:lnTo>
                      <a:pt x="363" y="482"/>
                    </a:lnTo>
                    <a:lnTo>
                      <a:pt x="363" y="480"/>
                    </a:lnTo>
                    <a:close/>
                    <a:moveTo>
                      <a:pt x="63" y="561"/>
                    </a:moveTo>
                    <a:lnTo>
                      <a:pt x="63" y="559"/>
                    </a:lnTo>
                    <a:lnTo>
                      <a:pt x="63" y="561"/>
                    </a:lnTo>
                    <a:lnTo>
                      <a:pt x="61" y="561"/>
                    </a:lnTo>
                    <a:lnTo>
                      <a:pt x="61" y="559"/>
                    </a:lnTo>
                    <a:lnTo>
                      <a:pt x="61" y="561"/>
                    </a:lnTo>
                    <a:lnTo>
                      <a:pt x="63" y="561"/>
                    </a:lnTo>
                    <a:close/>
                    <a:moveTo>
                      <a:pt x="367" y="478"/>
                    </a:moveTo>
                    <a:lnTo>
                      <a:pt x="367" y="480"/>
                    </a:lnTo>
                    <a:lnTo>
                      <a:pt x="367" y="478"/>
                    </a:lnTo>
                    <a:close/>
                    <a:moveTo>
                      <a:pt x="393" y="469"/>
                    </a:moveTo>
                    <a:lnTo>
                      <a:pt x="395" y="469"/>
                    </a:lnTo>
                    <a:lnTo>
                      <a:pt x="395" y="471"/>
                    </a:lnTo>
                    <a:lnTo>
                      <a:pt x="395" y="469"/>
                    </a:lnTo>
                    <a:lnTo>
                      <a:pt x="393" y="471"/>
                    </a:lnTo>
                    <a:lnTo>
                      <a:pt x="395" y="471"/>
                    </a:lnTo>
                    <a:lnTo>
                      <a:pt x="397" y="471"/>
                    </a:lnTo>
                    <a:lnTo>
                      <a:pt x="395" y="471"/>
                    </a:lnTo>
                    <a:lnTo>
                      <a:pt x="393" y="471"/>
                    </a:lnTo>
                    <a:lnTo>
                      <a:pt x="395" y="471"/>
                    </a:lnTo>
                    <a:lnTo>
                      <a:pt x="397" y="471"/>
                    </a:lnTo>
                    <a:lnTo>
                      <a:pt x="395" y="471"/>
                    </a:lnTo>
                    <a:lnTo>
                      <a:pt x="395" y="473"/>
                    </a:lnTo>
                    <a:lnTo>
                      <a:pt x="393" y="473"/>
                    </a:lnTo>
                    <a:lnTo>
                      <a:pt x="395" y="473"/>
                    </a:lnTo>
                    <a:lnTo>
                      <a:pt x="393" y="473"/>
                    </a:lnTo>
                    <a:lnTo>
                      <a:pt x="392" y="471"/>
                    </a:lnTo>
                    <a:lnTo>
                      <a:pt x="390" y="471"/>
                    </a:lnTo>
                    <a:lnTo>
                      <a:pt x="392" y="471"/>
                    </a:lnTo>
                    <a:lnTo>
                      <a:pt x="393" y="471"/>
                    </a:lnTo>
                    <a:lnTo>
                      <a:pt x="393" y="469"/>
                    </a:lnTo>
                    <a:close/>
                    <a:moveTo>
                      <a:pt x="388" y="473"/>
                    </a:moveTo>
                    <a:lnTo>
                      <a:pt x="388" y="471"/>
                    </a:lnTo>
                    <a:lnTo>
                      <a:pt x="390" y="471"/>
                    </a:lnTo>
                    <a:lnTo>
                      <a:pt x="388" y="473"/>
                    </a:lnTo>
                    <a:lnTo>
                      <a:pt x="386" y="473"/>
                    </a:lnTo>
                    <a:lnTo>
                      <a:pt x="388" y="473"/>
                    </a:lnTo>
                    <a:lnTo>
                      <a:pt x="388" y="471"/>
                    </a:lnTo>
                    <a:lnTo>
                      <a:pt x="388" y="473"/>
                    </a:lnTo>
                    <a:close/>
                    <a:moveTo>
                      <a:pt x="61" y="559"/>
                    </a:moveTo>
                    <a:lnTo>
                      <a:pt x="61" y="561"/>
                    </a:lnTo>
                    <a:lnTo>
                      <a:pt x="61" y="559"/>
                    </a:lnTo>
                    <a:close/>
                    <a:moveTo>
                      <a:pt x="405" y="465"/>
                    </a:moveTo>
                    <a:lnTo>
                      <a:pt x="407" y="465"/>
                    </a:lnTo>
                    <a:lnTo>
                      <a:pt x="405" y="465"/>
                    </a:lnTo>
                    <a:close/>
                    <a:moveTo>
                      <a:pt x="363" y="480"/>
                    </a:moveTo>
                    <a:lnTo>
                      <a:pt x="363" y="482"/>
                    </a:lnTo>
                    <a:lnTo>
                      <a:pt x="361" y="482"/>
                    </a:lnTo>
                    <a:lnTo>
                      <a:pt x="361" y="480"/>
                    </a:lnTo>
                    <a:lnTo>
                      <a:pt x="363" y="480"/>
                    </a:lnTo>
                    <a:close/>
                    <a:moveTo>
                      <a:pt x="407" y="465"/>
                    </a:moveTo>
                    <a:lnTo>
                      <a:pt x="405" y="465"/>
                    </a:lnTo>
                    <a:lnTo>
                      <a:pt x="407" y="465"/>
                    </a:lnTo>
                    <a:lnTo>
                      <a:pt x="405" y="465"/>
                    </a:lnTo>
                    <a:lnTo>
                      <a:pt x="407" y="465"/>
                    </a:lnTo>
                    <a:close/>
                    <a:moveTo>
                      <a:pt x="359" y="482"/>
                    </a:moveTo>
                    <a:lnTo>
                      <a:pt x="357" y="482"/>
                    </a:lnTo>
                    <a:lnTo>
                      <a:pt x="357" y="484"/>
                    </a:lnTo>
                    <a:lnTo>
                      <a:pt x="359" y="484"/>
                    </a:lnTo>
                    <a:lnTo>
                      <a:pt x="357" y="484"/>
                    </a:lnTo>
                    <a:lnTo>
                      <a:pt x="357" y="482"/>
                    </a:lnTo>
                    <a:lnTo>
                      <a:pt x="359" y="482"/>
                    </a:lnTo>
                    <a:lnTo>
                      <a:pt x="359" y="480"/>
                    </a:lnTo>
                    <a:lnTo>
                      <a:pt x="359" y="482"/>
                    </a:lnTo>
                    <a:lnTo>
                      <a:pt x="361" y="482"/>
                    </a:lnTo>
                    <a:lnTo>
                      <a:pt x="361" y="484"/>
                    </a:lnTo>
                    <a:lnTo>
                      <a:pt x="359" y="486"/>
                    </a:lnTo>
                    <a:lnTo>
                      <a:pt x="361" y="486"/>
                    </a:lnTo>
                    <a:lnTo>
                      <a:pt x="361" y="484"/>
                    </a:lnTo>
                    <a:lnTo>
                      <a:pt x="361" y="486"/>
                    </a:lnTo>
                    <a:lnTo>
                      <a:pt x="359" y="486"/>
                    </a:lnTo>
                    <a:lnTo>
                      <a:pt x="361" y="486"/>
                    </a:lnTo>
                    <a:lnTo>
                      <a:pt x="359" y="486"/>
                    </a:lnTo>
                    <a:lnTo>
                      <a:pt x="357" y="486"/>
                    </a:lnTo>
                    <a:lnTo>
                      <a:pt x="357" y="488"/>
                    </a:lnTo>
                    <a:lnTo>
                      <a:pt x="357" y="490"/>
                    </a:lnTo>
                    <a:lnTo>
                      <a:pt x="355" y="490"/>
                    </a:lnTo>
                    <a:lnTo>
                      <a:pt x="355" y="492"/>
                    </a:lnTo>
                    <a:lnTo>
                      <a:pt x="353" y="492"/>
                    </a:lnTo>
                    <a:lnTo>
                      <a:pt x="353" y="490"/>
                    </a:lnTo>
                    <a:lnTo>
                      <a:pt x="351" y="490"/>
                    </a:lnTo>
                    <a:lnTo>
                      <a:pt x="351" y="488"/>
                    </a:lnTo>
                    <a:lnTo>
                      <a:pt x="351" y="486"/>
                    </a:lnTo>
                    <a:lnTo>
                      <a:pt x="353" y="486"/>
                    </a:lnTo>
                    <a:lnTo>
                      <a:pt x="353" y="488"/>
                    </a:lnTo>
                    <a:lnTo>
                      <a:pt x="355" y="488"/>
                    </a:lnTo>
                    <a:lnTo>
                      <a:pt x="355" y="486"/>
                    </a:lnTo>
                    <a:lnTo>
                      <a:pt x="355" y="484"/>
                    </a:lnTo>
                    <a:lnTo>
                      <a:pt x="355" y="482"/>
                    </a:lnTo>
                    <a:lnTo>
                      <a:pt x="355" y="484"/>
                    </a:lnTo>
                    <a:lnTo>
                      <a:pt x="357" y="482"/>
                    </a:lnTo>
                    <a:lnTo>
                      <a:pt x="357" y="480"/>
                    </a:lnTo>
                    <a:lnTo>
                      <a:pt x="359" y="480"/>
                    </a:lnTo>
                    <a:lnTo>
                      <a:pt x="357" y="482"/>
                    </a:lnTo>
                    <a:lnTo>
                      <a:pt x="359" y="482"/>
                    </a:lnTo>
                    <a:close/>
                    <a:moveTo>
                      <a:pt x="401" y="465"/>
                    </a:moveTo>
                    <a:lnTo>
                      <a:pt x="401" y="467"/>
                    </a:lnTo>
                    <a:lnTo>
                      <a:pt x="401" y="465"/>
                    </a:lnTo>
                    <a:close/>
                    <a:moveTo>
                      <a:pt x="382" y="473"/>
                    </a:moveTo>
                    <a:lnTo>
                      <a:pt x="380" y="473"/>
                    </a:lnTo>
                    <a:lnTo>
                      <a:pt x="382" y="473"/>
                    </a:lnTo>
                    <a:close/>
                    <a:moveTo>
                      <a:pt x="386" y="473"/>
                    </a:moveTo>
                    <a:lnTo>
                      <a:pt x="386" y="475"/>
                    </a:lnTo>
                    <a:lnTo>
                      <a:pt x="386" y="473"/>
                    </a:lnTo>
                    <a:lnTo>
                      <a:pt x="384" y="473"/>
                    </a:lnTo>
                    <a:lnTo>
                      <a:pt x="386" y="473"/>
                    </a:lnTo>
                    <a:lnTo>
                      <a:pt x="386" y="475"/>
                    </a:lnTo>
                    <a:lnTo>
                      <a:pt x="384" y="475"/>
                    </a:lnTo>
                    <a:lnTo>
                      <a:pt x="384" y="477"/>
                    </a:lnTo>
                    <a:lnTo>
                      <a:pt x="382" y="477"/>
                    </a:lnTo>
                    <a:lnTo>
                      <a:pt x="382" y="475"/>
                    </a:lnTo>
                    <a:lnTo>
                      <a:pt x="382" y="477"/>
                    </a:lnTo>
                    <a:lnTo>
                      <a:pt x="380" y="477"/>
                    </a:lnTo>
                    <a:lnTo>
                      <a:pt x="382" y="475"/>
                    </a:lnTo>
                    <a:lnTo>
                      <a:pt x="382" y="473"/>
                    </a:lnTo>
                    <a:lnTo>
                      <a:pt x="384" y="473"/>
                    </a:lnTo>
                    <a:lnTo>
                      <a:pt x="382" y="473"/>
                    </a:lnTo>
                    <a:lnTo>
                      <a:pt x="384" y="473"/>
                    </a:lnTo>
                    <a:lnTo>
                      <a:pt x="386" y="473"/>
                    </a:lnTo>
                    <a:close/>
                    <a:moveTo>
                      <a:pt x="405" y="465"/>
                    </a:moveTo>
                    <a:lnTo>
                      <a:pt x="403" y="465"/>
                    </a:lnTo>
                    <a:lnTo>
                      <a:pt x="405" y="465"/>
                    </a:lnTo>
                    <a:close/>
                    <a:moveTo>
                      <a:pt x="397" y="467"/>
                    </a:moveTo>
                    <a:lnTo>
                      <a:pt x="399" y="467"/>
                    </a:lnTo>
                    <a:lnTo>
                      <a:pt x="397" y="467"/>
                    </a:lnTo>
                    <a:lnTo>
                      <a:pt x="399" y="467"/>
                    </a:lnTo>
                    <a:lnTo>
                      <a:pt x="397" y="467"/>
                    </a:lnTo>
                    <a:close/>
                    <a:moveTo>
                      <a:pt x="378" y="475"/>
                    </a:moveTo>
                    <a:lnTo>
                      <a:pt x="380" y="475"/>
                    </a:lnTo>
                    <a:lnTo>
                      <a:pt x="382" y="473"/>
                    </a:lnTo>
                    <a:lnTo>
                      <a:pt x="382" y="475"/>
                    </a:lnTo>
                    <a:lnTo>
                      <a:pt x="380" y="477"/>
                    </a:lnTo>
                    <a:lnTo>
                      <a:pt x="378" y="477"/>
                    </a:lnTo>
                    <a:lnTo>
                      <a:pt x="380" y="477"/>
                    </a:lnTo>
                    <a:lnTo>
                      <a:pt x="378" y="478"/>
                    </a:lnTo>
                    <a:lnTo>
                      <a:pt x="376" y="478"/>
                    </a:lnTo>
                    <a:lnTo>
                      <a:pt x="378" y="478"/>
                    </a:lnTo>
                    <a:lnTo>
                      <a:pt x="376" y="478"/>
                    </a:lnTo>
                    <a:lnTo>
                      <a:pt x="374" y="478"/>
                    </a:lnTo>
                    <a:lnTo>
                      <a:pt x="372" y="478"/>
                    </a:lnTo>
                    <a:lnTo>
                      <a:pt x="372" y="480"/>
                    </a:lnTo>
                    <a:lnTo>
                      <a:pt x="370" y="480"/>
                    </a:lnTo>
                    <a:lnTo>
                      <a:pt x="372" y="478"/>
                    </a:lnTo>
                    <a:lnTo>
                      <a:pt x="370" y="478"/>
                    </a:lnTo>
                    <a:lnTo>
                      <a:pt x="370" y="480"/>
                    </a:lnTo>
                    <a:lnTo>
                      <a:pt x="370" y="478"/>
                    </a:lnTo>
                    <a:lnTo>
                      <a:pt x="370" y="480"/>
                    </a:lnTo>
                    <a:lnTo>
                      <a:pt x="368" y="480"/>
                    </a:lnTo>
                    <a:lnTo>
                      <a:pt x="368" y="482"/>
                    </a:lnTo>
                    <a:lnTo>
                      <a:pt x="367" y="482"/>
                    </a:lnTo>
                    <a:lnTo>
                      <a:pt x="365" y="482"/>
                    </a:lnTo>
                    <a:lnTo>
                      <a:pt x="365" y="484"/>
                    </a:lnTo>
                    <a:lnTo>
                      <a:pt x="363" y="484"/>
                    </a:lnTo>
                    <a:lnTo>
                      <a:pt x="363" y="482"/>
                    </a:lnTo>
                    <a:lnTo>
                      <a:pt x="363" y="480"/>
                    </a:lnTo>
                    <a:lnTo>
                      <a:pt x="365" y="480"/>
                    </a:lnTo>
                    <a:lnTo>
                      <a:pt x="367" y="480"/>
                    </a:lnTo>
                    <a:lnTo>
                      <a:pt x="368" y="480"/>
                    </a:lnTo>
                    <a:lnTo>
                      <a:pt x="368" y="478"/>
                    </a:lnTo>
                    <a:lnTo>
                      <a:pt x="370" y="478"/>
                    </a:lnTo>
                    <a:lnTo>
                      <a:pt x="372" y="478"/>
                    </a:lnTo>
                    <a:lnTo>
                      <a:pt x="370" y="478"/>
                    </a:lnTo>
                    <a:lnTo>
                      <a:pt x="372" y="478"/>
                    </a:lnTo>
                    <a:lnTo>
                      <a:pt x="374" y="478"/>
                    </a:lnTo>
                    <a:lnTo>
                      <a:pt x="374" y="477"/>
                    </a:lnTo>
                    <a:lnTo>
                      <a:pt x="376" y="477"/>
                    </a:lnTo>
                    <a:lnTo>
                      <a:pt x="376" y="475"/>
                    </a:lnTo>
                    <a:lnTo>
                      <a:pt x="378" y="475"/>
                    </a:lnTo>
                    <a:lnTo>
                      <a:pt x="380" y="475"/>
                    </a:lnTo>
                    <a:lnTo>
                      <a:pt x="378" y="475"/>
                    </a:lnTo>
                    <a:close/>
                    <a:moveTo>
                      <a:pt x="403" y="465"/>
                    </a:moveTo>
                    <a:lnTo>
                      <a:pt x="405" y="465"/>
                    </a:lnTo>
                    <a:lnTo>
                      <a:pt x="407" y="465"/>
                    </a:lnTo>
                    <a:lnTo>
                      <a:pt x="405" y="465"/>
                    </a:lnTo>
                    <a:lnTo>
                      <a:pt x="403" y="465"/>
                    </a:lnTo>
                    <a:close/>
                    <a:moveTo>
                      <a:pt x="407" y="463"/>
                    </a:moveTo>
                    <a:lnTo>
                      <a:pt x="407" y="465"/>
                    </a:lnTo>
                    <a:lnTo>
                      <a:pt x="405" y="465"/>
                    </a:lnTo>
                    <a:lnTo>
                      <a:pt x="405" y="463"/>
                    </a:lnTo>
                    <a:lnTo>
                      <a:pt x="407" y="463"/>
                    </a:lnTo>
                    <a:close/>
                    <a:moveTo>
                      <a:pt x="405" y="465"/>
                    </a:moveTo>
                    <a:lnTo>
                      <a:pt x="403" y="465"/>
                    </a:lnTo>
                    <a:lnTo>
                      <a:pt x="405" y="465"/>
                    </a:lnTo>
                    <a:close/>
                    <a:moveTo>
                      <a:pt x="359" y="482"/>
                    </a:moveTo>
                    <a:lnTo>
                      <a:pt x="359" y="480"/>
                    </a:lnTo>
                    <a:lnTo>
                      <a:pt x="357" y="480"/>
                    </a:lnTo>
                    <a:lnTo>
                      <a:pt x="359" y="480"/>
                    </a:lnTo>
                    <a:lnTo>
                      <a:pt x="359" y="482"/>
                    </a:lnTo>
                    <a:close/>
                    <a:moveTo>
                      <a:pt x="340" y="486"/>
                    </a:moveTo>
                    <a:lnTo>
                      <a:pt x="342" y="486"/>
                    </a:lnTo>
                    <a:lnTo>
                      <a:pt x="340" y="486"/>
                    </a:lnTo>
                    <a:close/>
                    <a:moveTo>
                      <a:pt x="405" y="463"/>
                    </a:moveTo>
                    <a:lnTo>
                      <a:pt x="405" y="465"/>
                    </a:lnTo>
                    <a:lnTo>
                      <a:pt x="405" y="463"/>
                    </a:lnTo>
                    <a:close/>
                    <a:moveTo>
                      <a:pt x="395" y="467"/>
                    </a:moveTo>
                    <a:lnTo>
                      <a:pt x="397" y="467"/>
                    </a:lnTo>
                    <a:lnTo>
                      <a:pt x="395" y="467"/>
                    </a:lnTo>
                    <a:close/>
                    <a:moveTo>
                      <a:pt x="374" y="475"/>
                    </a:moveTo>
                    <a:lnTo>
                      <a:pt x="376" y="475"/>
                    </a:lnTo>
                    <a:lnTo>
                      <a:pt x="376" y="477"/>
                    </a:lnTo>
                    <a:lnTo>
                      <a:pt x="374" y="477"/>
                    </a:lnTo>
                    <a:lnTo>
                      <a:pt x="372" y="477"/>
                    </a:lnTo>
                    <a:lnTo>
                      <a:pt x="372" y="478"/>
                    </a:lnTo>
                    <a:lnTo>
                      <a:pt x="370" y="478"/>
                    </a:lnTo>
                    <a:lnTo>
                      <a:pt x="370" y="477"/>
                    </a:lnTo>
                    <a:lnTo>
                      <a:pt x="372" y="477"/>
                    </a:lnTo>
                    <a:lnTo>
                      <a:pt x="372" y="475"/>
                    </a:lnTo>
                    <a:lnTo>
                      <a:pt x="372" y="477"/>
                    </a:lnTo>
                    <a:lnTo>
                      <a:pt x="372" y="475"/>
                    </a:lnTo>
                    <a:lnTo>
                      <a:pt x="374" y="475"/>
                    </a:lnTo>
                    <a:close/>
                    <a:moveTo>
                      <a:pt x="361" y="478"/>
                    </a:moveTo>
                    <a:lnTo>
                      <a:pt x="363" y="478"/>
                    </a:lnTo>
                    <a:lnTo>
                      <a:pt x="365" y="478"/>
                    </a:lnTo>
                    <a:lnTo>
                      <a:pt x="367" y="478"/>
                    </a:lnTo>
                    <a:lnTo>
                      <a:pt x="365" y="480"/>
                    </a:lnTo>
                    <a:lnTo>
                      <a:pt x="363" y="480"/>
                    </a:lnTo>
                    <a:lnTo>
                      <a:pt x="361" y="480"/>
                    </a:lnTo>
                    <a:lnTo>
                      <a:pt x="361" y="478"/>
                    </a:lnTo>
                    <a:close/>
                    <a:moveTo>
                      <a:pt x="295" y="502"/>
                    </a:moveTo>
                    <a:lnTo>
                      <a:pt x="295" y="500"/>
                    </a:lnTo>
                    <a:lnTo>
                      <a:pt x="295" y="502"/>
                    </a:lnTo>
                    <a:close/>
                    <a:moveTo>
                      <a:pt x="405" y="465"/>
                    </a:moveTo>
                    <a:lnTo>
                      <a:pt x="403" y="465"/>
                    </a:lnTo>
                    <a:lnTo>
                      <a:pt x="403" y="463"/>
                    </a:lnTo>
                    <a:lnTo>
                      <a:pt x="405" y="463"/>
                    </a:lnTo>
                    <a:lnTo>
                      <a:pt x="405" y="465"/>
                    </a:lnTo>
                    <a:close/>
                    <a:moveTo>
                      <a:pt x="393" y="467"/>
                    </a:moveTo>
                    <a:lnTo>
                      <a:pt x="395" y="467"/>
                    </a:lnTo>
                    <a:lnTo>
                      <a:pt x="395" y="469"/>
                    </a:lnTo>
                    <a:lnTo>
                      <a:pt x="393" y="469"/>
                    </a:lnTo>
                    <a:lnTo>
                      <a:pt x="392" y="469"/>
                    </a:lnTo>
                    <a:lnTo>
                      <a:pt x="390" y="469"/>
                    </a:lnTo>
                    <a:lnTo>
                      <a:pt x="392" y="469"/>
                    </a:lnTo>
                    <a:lnTo>
                      <a:pt x="393" y="467"/>
                    </a:lnTo>
                    <a:close/>
                    <a:moveTo>
                      <a:pt x="399" y="465"/>
                    </a:moveTo>
                    <a:lnTo>
                      <a:pt x="401" y="465"/>
                    </a:lnTo>
                    <a:lnTo>
                      <a:pt x="399" y="465"/>
                    </a:lnTo>
                    <a:lnTo>
                      <a:pt x="397" y="465"/>
                    </a:lnTo>
                    <a:lnTo>
                      <a:pt x="399" y="465"/>
                    </a:lnTo>
                    <a:close/>
                    <a:moveTo>
                      <a:pt x="393" y="467"/>
                    </a:moveTo>
                    <a:lnTo>
                      <a:pt x="395" y="467"/>
                    </a:lnTo>
                    <a:lnTo>
                      <a:pt x="393" y="467"/>
                    </a:lnTo>
                    <a:close/>
                    <a:moveTo>
                      <a:pt x="386" y="471"/>
                    </a:moveTo>
                    <a:lnTo>
                      <a:pt x="388" y="471"/>
                    </a:lnTo>
                    <a:lnTo>
                      <a:pt x="390" y="471"/>
                    </a:lnTo>
                    <a:lnTo>
                      <a:pt x="390" y="469"/>
                    </a:lnTo>
                    <a:lnTo>
                      <a:pt x="392" y="469"/>
                    </a:lnTo>
                    <a:lnTo>
                      <a:pt x="393" y="469"/>
                    </a:lnTo>
                    <a:lnTo>
                      <a:pt x="395" y="469"/>
                    </a:lnTo>
                    <a:lnTo>
                      <a:pt x="395" y="467"/>
                    </a:lnTo>
                    <a:lnTo>
                      <a:pt x="397" y="467"/>
                    </a:lnTo>
                    <a:lnTo>
                      <a:pt x="397" y="469"/>
                    </a:lnTo>
                    <a:lnTo>
                      <a:pt x="395" y="469"/>
                    </a:lnTo>
                    <a:lnTo>
                      <a:pt x="397" y="469"/>
                    </a:lnTo>
                    <a:lnTo>
                      <a:pt x="397" y="467"/>
                    </a:lnTo>
                    <a:lnTo>
                      <a:pt x="397" y="469"/>
                    </a:lnTo>
                    <a:lnTo>
                      <a:pt x="397" y="467"/>
                    </a:lnTo>
                    <a:lnTo>
                      <a:pt x="399" y="467"/>
                    </a:lnTo>
                    <a:lnTo>
                      <a:pt x="401" y="467"/>
                    </a:lnTo>
                    <a:lnTo>
                      <a:pt x="403" y="467"/>
                    </a:lnTo>
                    <a:lnTo>
                      <a:pt x="405" y="467"/>
                    </a:lnTo>
                    <a:lnTo>
                      <a:pt x="403" y="467"/>
                    </a:lnTo>
                    <a:lnTo>
                      <a:pt x="405" y="467"/>
                    </a:lnTo>
                    <a:lnTo>
                      <a:pt x="403" y="467"/>
                    </a:lnTo>
                    <a:lnTo>
                      <a:pt x="401" y="467"/>
                    </a:lnTo>
                    <a:lnTo>
                      <a:pt x="399" y="467"/>
                    </a:lnTo>
                    <a:lnTo>
                      <a:pt x="399" y="469"/>
                    </a:lnTo>
                    <a:lnTo>
                      <a:pt x="397" y="469"/>
                    </a:lnTo>
                    <a:lnTo>
                      <a:pt x="395" y="469"/>
                    </a:lnTo>
                    <a:lnTo>
                      <a:pt x="393" y="469"/>
                    </a:lnTo>
                    <a:lnTo>
                      <a:pt x="390" y="471"/>
                    </a:lnTo>
                    <a:lnTo>
                      <a:pt x="388" y="471"/>
                    </a:lnTo>
                    <a:lnTo>
                      <a:pt x="386" y="473"/>
                    </a:lnTo>
                    <a:lnTo>
                      <a:pt x="384" y="473"/>
                    </a:lnTo>
                    <a:lnTo>
                      <a:pt x="384" y="471"/>
                    </a:lnTo>
                    <a:lnTo>
                      <a:pt x="386" y="471"/>
                    </a:lnTo>
                    <a:close/>
                    <a:moveTo>
                      <a:pt x="363" y="477"/>
                    </a:moveTo>
                    <a:lnTo>
                      <a:pt x="365" y="477"/>
                    </a:lnTo>
                    <a:lnTo>
                      <a:pt x="365" y="478"/>
                    </a:lnTo>
                    <a:lnTo>
                      <a:pt x="363" y="478"/>
                    </a:lnTo>
                    <a:lnTo>
                      <a:pt x="363" y="477"/>
                    </a:lnTo>
                    <a:close/>
                    <a:moveTo>
                      <a:pt x="403" y="463"/>
                    </a:moveTo>
                    <a:lnTo>
                      <a:pt x="405" y="463"/>
                    </a:lnTo>
                    <a:lnTo>
                      <a:pt x="407" y="463"/>
                    </a:lnTo>
                    <a:lnTo>
                      <a:pt x="405" y="463"/>
                    </a:lnTo>
                    <a:lnTo>
                      <a:pt x="407" y="463"/>
                    </a:lnTo>
                    <a:lnTo>
                      <a:pt x="405" y="463"/>
                    </a:lnTo>
                    <a:lnTo>
                      <a:pt x="403" y="463"/>
                    </a:lnTo>
                    <a:lnTo>
                      <a:pt x="405" y="463"/>
                    </a:lnTo>
                    <a:lnTo>
                      <a:pt x="403" y="463"/>
                    </a:lnTo>
                    <a:close/>
                    <a:moveTo>
                      <a:pt x="397" y="467"/>
                    </a:moveTo>
                    <a:lnTo>
                      <a:pt x="397" y="465"/>
                    </a:lnTo>
                    <a:lnTo>
                      <a:pt x="397" y="467"/>
                    </a:lnTo>
                    <a:lnTo>
                      <a:pt x="395" y="467"/>
                    </a:lnTo>
                    <a:lnTo>
                      <a:pt x="393" y="467"/>
                    </a:lnTo>
                    <a:lnTo>
                      <a:pt x="395" y="467"/>
                    </a:lnTo>
                    <a:lnTo>
                      <a:pt x="397" y="467"/>
                    </a:lnTo>
                    <a:close/>
                    <a:moveTo>
                      <a:pt x="361" y="480"/>
                    </a:moveTo>
                    <a:lnTo>
                      <a:pt x="361" y="478"/>
                    </a:lnTo>
                    <a:lnTo>
                      <a:pt x="363" y="478"/>
                    </a:lnTo>
                    <a:lnTo>
                      <a:pt x="361" y="478"/>
                    </a:lnTo>
                    <a:lnTo>
                      <a:pt x="361" y="480"/>
                    </a:lnTo>
                    <a:close/>
                    <a:moveTo>
                      <a:pt x="282" y="503"/>
                    </a:moveTo>
                    <a:lnTo>
                      <a:pt x="280" y="505"/>
                    </a:lnTo>
                    <a:lnTo>
                      <a:pt x="278" y="505"/>
                    </a:lnTo>
                    <a:lnTo>
                      <a:pt x="280" y="505"/>
                    </a:lnTo>
                    <a:lnTo>
                      <a:pt x="282" y="503"/>
                    </a:lnTo>
                    <a:close/>
                    <a:moveTo>
                      <a:pt x="399" y="465"/>
                    </a:moveTo>
                    <a:lnTo>
                      <a:pt x="401" y="465"/>
                    </a:lnTo>
                    <a:lnTo>
                      <a:pt x="399" y="465"/>
                    </a:lnTo>
                    <a:lnTo>
                      <a:pt x="397" y="465"/>
                    </a:lnTo>
                    <a:lnTo>
                      <a:pt x="399" y="465"/>
                    </a:lnTo>
                    <a:lnTo>
                      <a:pt x="397" y="465"/>
                    </a:lnTo>
                    <a:lnTo>
                      <a:pt x="399" y="465"/>
                    </a:lnTo>
                    <a:close/>
                    <a:moveTo>
                      <a:pt x="370" y="475"/>
                    </a:moveTo>
                    <a:lnTo>
                      <a:pt x="370" y="477"/>
                    </a:lnTo>
                    <a:lnTo>
                      <a:pt x="370" y="475"/>
                    </a:lnTo>
                    <a:close/>
                    <a:moveTo>
                      <a:pt x="359" y="480"/>
                    </a:moveTo>
                    <a:lnTo>
                      <a:pt x="361" y="480"/>
                    </a:lnTo>
                    <a:lnTo>
                      <a:pt x="361" y="482"/>
                    </a:lnTo>
                    <a:lnTo>
                      <a:pt x="359" y="480"/>
                    </a:lnTo>
                    <a:lnTo>
                      <a:pt x="357" y="480"/>
                    </a:lnTo>
                    <a:lnTo>
                      <a:pt x="357" y="478"/>
                    </a:lnTo>
                    <a:lnTo>
                      <a:pt x="359" y="478"/>
                    </a:lnTo>
                    <a:lnTo>
                      <a:pt x="359" y="480"/>
                    </a:lnTo>
                    <a:close/>
                    <a:moveTo>
                      <a:pt x="399" y="465"/>
                    </a:moveTo>
                    <a:lnTo>
                      <a:pt x="401" y="465"/>
                    </a:lnTo>
                    <a:lnTo>
                      <a:pt x="399" y="465"/>
                    </a:lnTo>
                    <a:lnTo>
                      <a:pt x="401" y="463"/>
                    </a:lnTo>
                    <a:lnTo>
                      <a:pt x="401" y="465"/>
                    </a:lnTo>
                    <a:lnTo>
                      <a:pt x="399" y="465"/>
                    </a:lnTo>
                    <a:close/>
                    <a:moveTo>
                      <a:pt x="355" y="480"/>
                    </a:moveTo>
                    <a:lnTo>
                      <a:pt x="357" y="480"/>
                    </a:lnTo>
                    <a:lnTo>
                      <a:pt x="355" y="480"/>
                    </a:lnTo>
                    <a:close/>
                    <a:moveTo>
                      <a:pt x="405" y="463"/>
                    </a:moveTo>
                    <a:lnTo>
                      <a:pt x="403" y="463"/>
                    </a:lnTo>
                    <a:lnTo>
                      <a:pt x="405" y="463"/>
                    </a:lnTo>
                    <a:close/>
                    <a:moveTo>
                      <a:pt x="372" y="475"/>
                    </a:moveTo>
                    <a:lnTo>
                      <a:pt x="372" y="477"/>
                    </a:lnTo>
                    <a:lnTo>
                      <a:pt x="370" y="475"/>
                    </a:lnTo>
                    <a:lnTo>
                      <a:pt x="372" y="475"/>
                    </a:lnTo>
                    <a:close/>
                    <a:moveTo>
                      <a:pt x="286" y="502"/>
                    </a:moveTo>
                    <a:lnTo>
                      <a:pt x="286" y="503"/>
                    </a:lnTo>
                    <a:lnTo>
                      <a:pt x="284" y="503"/>
                    </a:lnTo>
                    <a:lnTo>
                      <a:pt x="282" y="503"/>
                    </a:lnTo>
                    <a:lnTo>
                      <a:pt x="284" y="503"/>
                    </a:lnTo>
                    <a:lnTo>
                      <a:pt x="286" y="502"/>
                    </a:lnTo>
                    <a:close/>
                    <a:moveTo>
                      <a:pt x="393" y="467"/>
                    </a:moveTo>
                    <a:lnTo>
                      <a:pt x="392" y="467"/>
                    </a:lnTo>
                    <a:lnTo>
                      <a:pt x="393" y="467"/>
                    </a:lnTo>
                    <a:close/>
                    <a:moveTo>
                      <a:pt x="242" y="515"/>
                    </a:moveTo>
                    <a:lnTo>
                      <a:pt x="240" y="515"/>
                    </a:lnTo>
                    <a:lnTo>
                      <a:pt x="242" y="515"/>
                    </a:lnTo>
                    <a:close/>
                    <a:moveTo>
                      <a:pt x="374" y="473"/>
                    </a:moveTo>
                    <a:lnTo>
                      <a:pt x="376" y="475"/>
                    </a:lnTo>
                    <a:lnTo>
                      <a:pt x="374" y="475"/>
                    </a:lnTo>
                    <a:lnTo>
                      <a:pt x="372" y="475"/>
                    </a:lnTo>
                    <a:lnTo>
                      <a:pt x="372" y="473"/>
                    </a:lnTo>
                    <a:lnTo>
                      <a:pt x="374" y="473"/>
                    </a:lnTo>
                    <a:close/>
                    <a:moveTo>
                      <a:pt x="392" y="467"/>
                    </a:moveTo>
                    <a:lnTo>
                      <a:pt x="393" y="467"/>
                    </a:lnTo>
                    <a:lnTo>
                      <a:pt x="392" y="469"/>
                    </a:lnTo>
                    <a:lnTo>
                      <a:pt x="390" y="469"/>
                    </a:lnTo>
                    <a:lnTo>
                      <a:pt x="390" y="467"/>
                    </a:lnTo>
                    <a:lnTo>
                      <a:pt x="390" y="469"/>
                    </a:lnTo>
                    <a:lnTo>
                      <a:pt x="390" y="467"/>
                    </a:lnTo>
                    <a:lnTo>
                      <a:pt x="392" y="467"/>
                    </a:lnTo>
                    <a:close/>
                    <a:moveTo>
                      <a:pt x="368" y="477"/>
                    </a:moveTo>
                    <a:lnTo>
                      <a:pt x="368" y="475"/>
                    </a:lnTo>
                    <a:lnTo>
                      <a:pt x="368" y="477"/>
                    </a:lnTo>
                    <a:close/>
                    <a:moveTo>
                      <a:pt x="397" y="465"/>
                    </a:moveTo>
                    <a:lnTo>
                      <a:pt x="395" y="465"/>
                    </a:lnTo>
                    <a:lnTo>
                      <a:pt x="397" y="465"/>
                    </a:lnTo>
                    <a:close/>
                    <a:moveTo>
                      <a:pt x="372" y="475"/>
                    </a:moveTo>
                    <a:lnTo>
                      <a:pt x="372" y="473"/>
                    </a:lnTo>
                    <a:lnTo>
                      <a:pt x="372" y="475"/>
                    </a:lnTo>
                    <a:close/>
                    <a:moveTo>
                      <a:pt x="397" y="465"/>
                    </a:moveTo>
                    <a:lnTo>
                      <a:pt x="395" y="465"/>
                    </a:lnTo>
                    <a:lnTo>
                      <a:pt x="397" y="465"/>
                    </a:lnTo>
                    <a:close/>
                    <a:moveTo>
                      <a:pt x="401" y="463"/>
                    </a:moveTo>
                    <a:lnTo>
                      <a:pt x="399" y="463"/>
                    </a:lnTo>
                    <a:lnTo>
                      <a:pt x="399" y="465"/>
                    </a:lnTo>
                    <a:lnTo>
                      <a:pt x="397" y="465"/>
                    </a:lnTo>
                    <a:lnTo>
                      <a:pt x="399" y="465"/>
                    </a:lnTo>
                    <a:lnTo>
                      <a:pt x="401" y="463"/>
                    </a:lnTo>
                    <a:close/>
                    <a:moveTo>
                      <a:pt x="395" y="465"/>
                    </a:moveTo>
                    <a:lnTo>
                      <a:pt x="397" y="465"/>
                    </a:lnTo>
                    <a:lnTo>
                      <a:pt x="395" y="465"/>
                    </a:lnTo>
                    <a:close/>
                    <a:moveTo>
                      <a:pt x="395" y="465"/>
                    </a:moveTo>
                    <a:lnTo>
                      <a:pt x="395" y="467"/>
                    </a:lnTo>
                    <a:lnTo>
                      <a:pt x="393" y="467"/>
                    </a:lnTo>
                    <a:lnTo>
                      <a:pt x="393" y="465"/>
                    </a:lnTo>
                    <a:lnTo>
                      <a:pt x="395" y="465"/>
                    </a:lnTo>
                    <a:close/>
                    <a:moveTo>
                      <a:pt x="403" y="463"/>
                    </a:moveTo>
                    <a:lnTo>
                      <a:pt x="401" y="463"/>
                    </a:lnTo>
                    <a:lnTo>
                      <a:pt x="403" y="463"/>
                    </a:lnTo>
                    <a:lnTo>
                      <a:pt x="403" y="461"/>
                    </a:lnTo>
                    <a:lnTo>
                      <a:pt x="403" y="463"/>
                    </a:lnTo>
                    <a:close/>
                    <a:moveTo>
                      <a:pt x="294" y="502"/>
                    </a:moveTo>
                    <a:lnTo>
                      <a:pt x="295" y="502"/>
                    </a:lnTo>
                    <a:lnTo>
                      <a:pt x="294" y="502"/>
                    </a:lnTo>
                    <a:lnTo>
                      <a:pt x="292" y="502"/>
                    </a:lnTo>
                    <a:lnTo>
                      <a:pt x="294" y="502"/>
                    </a:lnTo>
                    <a:lnTo>
                      <a:pt x="292" y="502"/>
                    </a:lnTo>
                    <a:lnTo>
                      <a:pt x="290" y="502"/>
                    </a:lnTo>
                    <a:lnTo>
                      <a:pt x="288" y="502"/>
                    </a:lnTo>
                    <a:lnTo>
                      <a:pt x="288" y="500"/>
                    </a:lnTo>
                    <a:lnTo>
                      <a:pt x="290" y="500"/>
                    </a:lnTo>
                    <a:lnTo>
                      <a:pt x="292" y="502"/>
                    </a:lnTo>
                    <a:lnTo>
                      <a:pt x="294" y="502"/>
                    </a:lnTo>
                    <a:close/>
                    <a:moveTo>
                      <a:pt x="393" y="465"/>
                    </a:moveTo>
                    <a:lnTo>
                      <a:pt x="395" y="465"/>
                    </a:lnTo>
                    <a:lnTo>
                      <a:pt x="393" y="465"/>
                    </a:lnTo>
                    <a:close/>
                    <a:moveTo>
                      <a:pt x="357" y="482"/>
                    </a:moveTo>
                    <a:lnTo>
                      <a:pt x="355" y="482"/>
                    </a:lnTo>
                    <a:lnTo>
                      <a:pt x="355" y="480"/>
                    </a:lnTo>
                    <a:lnTo>
                      <a:pt x="357" y="480"/>
                    </a:lnTo>
                    <a:lnTo>
                      <a:pt x="357" y="478"/>
                    </a:lnTo>
                    <a:lnTo>
                      <a:pt x="359" y="478"/>
                    </a:lnTo>
                    <a:lnTo>
                      <a:pt x="357" y="478"/>
                    </a:lnTo>
                    <a:lnTo>
                      <a:pt x="357" y="480"/>
                    </a:lnTo>
                    <a:lnTo>
                      <a:pt x="357" y="482"/>
                    </a:lnTo>
                    <a:close/>
                    <a:moveTo>
                      <a:pt x="392" y="467"/>
                    </a:moveTo>
                    <a:lnTo>
                      <a:pt x="393" y="465"/>
                    </a:lnTo>
                    <a:lnTo>
                      <a:pt x="393" y="467"/>
                    </a:lnTo>
                    <a:lnTo>
                      <a:pt x="392" y="467"/>
                    </a:lnTo>
                    <a:lnTo>
                      <a:pt x="390" y="467"/>
                    </a:lnTo>
                    <a:lnTo>
                      <a:pt x="392" y="467"/>
                    </a:lnTo>
                    <a:close/>
                    <a:moveTo>
                      <a:pt x="355" y="478"/>
                    </a:moveTo>
                    <a:lnTo>
                      <a:pt x="355" y="480"/>
                    </a:lnTo>
                    <a:lnTo>
                      <a:pt x="355" y="478"/>
                    </a:lnTo>
                    <a:close/>
                    <a:moveTo>
                      <a:pt x="374" y="473"/>
                    </a:moveTo>
                    <a:lnTo>
                      <a:pt x="376" y="473"/>
                    </a:lnTo>
                    <a:lnTo>
                      <a:pt x="374" y="473"/>
                    </a:lnTo>
                    <a:lnTo>
                      <a:pt x="372" y="473"/>
                    </a:lnTo>
                    <a:lnTo>
                      <a:pt x="374" y="473"/>
                    </a:lnTo>
                    <a:close/>
                    <a:moveTo>
                      <a:pt x="370" y="473"/>
                    </a:moveTo>
                    <a:lnTo>
                      <a:pt x="372" y="473"/>
                    </a:lnTo>
                    <a:lnTo>
                      <a:pt x="370" y="475"/>
                    </a:lnTo>
                    <a:lnTo>
                      <a:pt x="370" y="477"/>
                    </a:lnTo>
                    <a:lnTo>
                      <a:pt x="368" y="477"/>
                    </a:lnTo>
                    <a:lnTo>
                      <a:pt x="370" y="477"/>
                    </a:lnTo>
                    <a:lnTo>
                      <a:pt x="370" y="478"/>
                    </a:lnTo>
                    <a:lnTo>
                      <a:pt x="368" y="478"/>
                    </a:lnTo>
                    <a:lnTo>
                      <a:pt x="367" y="478"/>
                    </a:lnTo>
                    <a:lnTo>
                      <a:pt x="367" y="477"/>
                    </a:lnTo>
                    <a:lnTo>
                      <a:pt x="368" y="477"/>
                    </a:lnTo>
                    <a:lnTo>
                      <a:pt x="368" y="475"/>
                    </a:lnTo>
                    <a:lnTo>
                      <a:pt x="370" y="473"/>
                    </a:lnTo>
                    <a:close/>
                    <a:moveTo>
                      <a:pt x="401" y="461"/>
                    </a:moveTo>
                    <a:lnTo>
                      <a:pt x="401" y="463"/>
                    </a:lnTo>
                    <a:lnTo>
                      <a:pt x="401" y="461"/>
                    </a:lnTo>
                    <a:lnTo>
                      <a:pt x="403" y="461"/>
                    </a:lnTo>
                    <a:lnTo>
                      <a:pt x="401" y="461"/>
                    </a:lnTo>
                    <a:close/>
                    <a:moveTo>
                      <a:pt x="382" y="469"/>
                    </a:moveTo>
                    <a:lnTo>
                      <a:pt x="380" y="471"/>
                    </a:lnTo>
                    <a:lnTo>
                      <a:pt x="380" y="469"/>
                    </a:lnTo>
                    <a:lnTo>
                      <a:pt x="382" y="469"/>
                    </a:lnTo>
                    <a:lnTo>
                      <a:pt x="380" y="469"/>
                    </a:lnTo>
                    <a:lnTo>
                      <a:pt x="382" y="469"/>
                    </a:lnTo>
                    <a:close/>
                    <a:moveTo>
                      <a:pt x="59" y="557"/>
                    </a:moveTo>
                    <a:lnTo>
                      <a:pt x="57" y="557"/>
                    </a:lnTo>
                    <a:lnTo>
                      <a:pt x="57" y="555"/>
                    </a:lnTo>
                    <a:lnTo>
                      <a:pt x="59" y="555"/>
                    </a:lnTo>
                    <a:lnTo>
                      <a:pt x="59" y="557"/>
                    </a:lnTo>
                    <a:close/>
                    <a:moveTo>
                      <a:pt x="382" y="473"/>
                    </a:moveTo>
                    <a:lnTo>
                      <a:pt x="380" y="473"/>
                    </a:lnTo>
                    <a:lnTo>
                      <a:pt x="380" y="475"/>
                    </a:lnTo>
                    <a:lnTo>
                      <a:pt x="380" y="473"/>
                    </a:lnTo>
                    <a:lnTo>
                      <a:pt x="382" y="473"/>
                    </a:lnTo>
                    <a:lnTo>
                      <a:pt x="382" y="471"/>
                    </a:lnTo>
                    <a:lnTo>
                      <a:pt x="380" y="471"/>
                    </a:lnTo>
                    <a:lnTo>
                      <a:pt x="382" y="471"/>
                    </a:lnTo>
                    <a:lnTo>
                      <a:pt x="380" y="473"/>
                    </a:lnTo>
                    <a:lnTo>
                      <a:pt x="380" y="471"/>
                    </a:lnTo>
                    <a:lnTo>
                      <a:pt x="380" y="473"/>
                    </a:lnTo>
                    <a:lnTo>
                      <a:pt x="378" y="473"/>
                    </a:lnTo>
                    <a:lnTo>
                      <a:pt x="378" y="475"/>
                    </a:lnTo>
                    <a:lnTo>
                      <a:pt x="378" y="473"/>
                    </a:lnTo>
                    <a:lnTo>
                      <a:pt x="378" y="475"/>
                    </a:lnTo>
                    <a:lnTo>
                      <a:pt x="376" y="475"/>
                    </a:lnTo>
                    <a:lnTo>
                      <a:pt x="374" y="475"/>
                    </a:lnTo>
                    <a:lnTo>
                      <a:pt x="376" y="473"/>
                    </a:lnTo>
                    <a:lnTo>
                      <a:pt x="378" y="473"/>
                    </a:lnTo>
                    <a:lnTo>
                      <a:pt x="378" y="471"/>
                    </a:lnTo>
                    <a:lnTo>
                      <a:pt x="380" y="471"/>
                    </a:lnTo>
                    <a:lnTo>
                      <a:pt x="382" y="471"/>
                    </a:lnTo>
                    <a:lnTo>
                      <a:pt x="382" y="469"/>
                    </a:lnTo>
                    <a:lnTo>
                      <a:pt x="384" y="469"/>
                    </a:lnTo>
                    <a:lnTo>
                      <a:pt x="382" y="469"/>
                    </a:lnTo>
                    <a:lnTo>
                      <a:pt x="382" y="471"/>
                    </a:lnTo>
                    <a:lnTo>
                      <a:pt x="382" y="469"/>
                    </a:lnTo>
                    <a:lnTo>
                      <a:pt x="382" y="471"/>
                    </a:lnTo>
                    <a:lnTo>
                      <a:pt x="382" y="469"/>
                    </a:lnTo>
                    <a:lnTo>
                      <a:pt x="384" y="469"/>
                    </a:lnTo>
                    <a:lnTo>
                      <a:pt x="386" y="469"/>
                    </a:lnTo>
                    <a:lnTo>
                      <a:pt x="384" y="469"/>
                    </a:lnTo>
                    <a:lnTo>
                      <a:pt x="386" y="469"/>
                    </a:lnTo>
                    <a:lnTo>
                      <a:pt x="388" y="469"/>
                    </a:lnTo>
                    <a:lnTo>
                      <a:pt x="390" y="469"/>
                    </a:lnTo>
                    <a:lnTo>
                      <a:pt x="392" y="469"/>
                    </a:lnTo>
                    <a:lnTo>
                      <a:pt x="390" y="469"/>
                    </a:lnTo>
                    <a:lnTo>
                      <a:pt x="388" y="471"/>
                    </a:lnTo>
                    <a:lnTo>
                      <a:pt x="386" y="471"/>
                    </a:lnTo>
                    <a:lnTo>
                      <a:pt x="384" y="471"/>
                    </a:lnTo>
                    <a:lnTo>
                      <a:pt x="384" y="473"/>
                    </a:lnTo>
                    <a:lnTo>
                      <a:pt x="382" y="473"/>
                    </a:lnTo>
                    <a:close/>
                    <a:moveTo>
                      <a:pt x="228" y="517"/>
                    </a:moveTo>
                    <a:lnTo>
                      <a:pt x="230" y="517"/>
                    </a:lnTo>
                    <a:lnTo>
                      <a:pt x="232" y="517"/>
                    </a:lnTo>
                    <a:lnTo>
                      <a:pt x="230" y="517"/>
                    </a:lnTo>
                    <a:lnTo>
                      <a:pt x="228" y="517"/>
                    </a:lnTo>
                    <a:lnTo>
                      <a:pt x="226" y="517"/>
                    </a:lnTo>
                    <a:lnTo>
                      <a:pt x="228" y="517"/>
                    </a:lnTo>
                    <a:close/>
                    <a:moveTo>
                      <a:pt x="405" y="461"/>
                    </a:moveTo>
                    <a:lnTo>
                      <a:pt x="403" y="461"/>
                    </a:lnTo>
                    <a:lnTo>
                      <a:pt x="403" y="463"/>
                    </a:lnTo>
                    <a:lnTo>
                      <a:pt x="401" y="463"/>
                    </a:lnTo>
                    <a:lnTo>
                      <a:pt x="403" y="461"/>
                    </a:lnTo>
                    <a:lnTo>
                      <a:pt x="405" y="461"/>
                    </a:lnTo>
                    <a:close/>
                    <a:moveTo>
                      <a:pt x="272" y="503"/>
                    </a:moveTo>
                    <a:lnTo>
                      <a:pt x="274" y="505"/>
                    </a:lnTo>
                    <a:lnTo>
                      <a:pt x="276" y="505"/>
                    </a:lnTo>
                    <a:lnTo>
                      <a:pt x="274" y="505"/>
                    </a:lnTo>
                    <a:lnTo>
                      <a:pt x="276" y="505"/>
                    </a:lnTo>
                    <a:lnTo>
                      <a:pt x="274" y="505"/>
                    </a:lnTo>
                    <a:lnTo>
                      <a:pt x="272" y="505"/>
                    </a:lnTo>
                    <a:lnTo>
                      <a:pt x="271" y="505"/>
                    </a:lnTo>
                    <a:lnTo>
                      <a:pt x="272" y="503"/>
                    </a:lnTo>
                    <a:close/>
                    <a:moveTo>
                      <a:pt x="393" y="465"/>
                    </a:moveTo>
                    <a:lnTo>
                      <a:pt x="395" y="465"/>
                    </a:lnTo>
                    <a:lnTo>
                      <a:pt x="395" y="463"/>
                    </a:lnTo>
                    <a:lnTo>
                      <a:pt x="395" y="465"/>
                    </a:lnTo>
                    <a:lnTo>
                      <a:pt x="395" y="463"/>
                    </a:lnTo>
                    <a:lnTo>
                      <a:pt x="397" y="463"/>
                    </a:lnTo>
                    <a:lnTo>
                      <a:pt x="395" y="465"/>
                    </a:lnTo>
                    <a:lnTo>
                      <a:pt x="397" y="463"/>
                    </a:lnTo>
                    <a:lnTo>
                      <a:pt x="399" y="463"/>
                    </a:lnTo>
                    <a:lnTo>
                      <a:pt x="399" y="465"/>
                    </a:lnTo>
                    <a:lnTo>
                      <a:pt x="397" y="465"/>
                    </a:lnTo>
                    <a:lnTo>
                      <a:pt x="395" y="465"/>
                    </a:lnTo>
                    <a:lnTo>
                      <a:pt x="393" y="465"/>
                    </a:lnTo>
                    <a:lnTo>
                      <a:pt x="392" y="465"/>
                    </a:lnTo>
                    <a:lnTo>
                      <a:pt x="393" y="465"/>
                    </a:lnTo>
                    <a:close/>
                    <a:moveTo>
                      <a:pt x="269" y="505"/>
                    </a:moveTo>
                    <a:lnTo>
                      <a:pt x="271" y="505"/>
                    </a:lnTo>
                    <a:lnTo>
                      <a:pt x="272" y="505"/>
                    </a:lnTo>
                    <a:lnTo>
                      <a:pt x="271" y="505"/>
                    </a:lnTo>
                    <a:lnTo>
                      <a:pt x="269" y="505"/>
                    </a:lnTo>
                    <a:lnTo>
                      <a:pt x="267" y="505"/>
                    </a:lnTo>
                    <a:lnTo>
                      <a:pt x="269" y="505"/>
                    </a:lnTo>
                    <a:close/>
                    <a:moveTo>
                      <a:pt x="395" y="463"/>
                    </a:moveTo>
                    <a:lnTo>
                      <a:pt x="395" y="465"/>
                    </a:lnTo>
                    <a:lnTo>
                      <a:pt x="393" y="465"/>
                    </a:lnTo>
                    <a:lnTo>
                      <a:pt x="393" y="463"/>
                    </a:lnTo>
                    <a:lnTo>
                      <a:pt x="395" y="463"/>
                    </a:lnTo>
                    <a:close/>
                    <a:moveTo>
                      <a:pt x="384" y="469"/>
                    </a:moveTo>
                    <a:lnTo>
                      <a:pt x="382" y="469"/>
                    </a:lnTo>
                    <a:lnTo>
                      <a:pt x="384" y="469"/>
                    </a:lnTo>
                    <a:close/>
                    <a:moveTo>
                      <a:pt x="240" y="513"/>
                    </a:moveTo>
                    <a:lnTo>
                      <a:pt x="238" y="513"/>
                    </a:lnTo>
                    <a:lnTo>
                      <a:pt x="240" y="513"/>
                    </a:lnTo>
                    <a:close/>
                    <a:moveTo>
                      <a:pt x="370" y="473"/>
                    </a:moveTo>
                    <a:lnTo>
                      <a:pt x="368" y="473"/>
                    </a:lnTo>
                    <a:lnTo>
                      <a:pt x="370" y="473"/>
                    </a:lnTo>
                    <a:close/>
                    <a:moveTo>
                      <a:pt x="59" y="555"/>
                    </a:moveTo>
                    <a:lnTo>
                      <a:pt x="61" y="555"/>
                    </a:lnTo>
                    <a:lnTo>
                      <a:pt x="59" y="557"/>
                    </a:lnTo>
                    <a:lnTo>
                      <a:pt x="59" y="555"/>
                    </a:lnTo>
                    <a:lnTo>
                      <a:pt x="57" y="555"/>
                    </a:lnTo>
                    <a:lnTo>
                      <a:pt x="59" y="555"/>
                    </a:lnTo>
                    <a:lnTo>
                      <a:pt x="57" y="555"/>
                    </a:lnTo>
                    <a:lnTo>
                      <a:pt x="59" y="555"/>
                    </a:lnTo>
                    <a:close/>
                    <a:moveTo>
                      <a:pt x="401" y="461"/>
                    </a:moveTo>
                    <a:lnTo>
                      <a:pt x="403" y="461"/>
                    </a:lnTo>
                    <a:lnTo>
                      <a:pt x="401" y="461"/>
                    </a:lnTo>
                    <a:lnTo>
                      <a:pt x="401" y="463"/>
                    </a:lnTo>
                    <a:lnTo>
                      <a:pt x="399" y="463"/>
                    </a:lnTo>
                    <a:lnTo>
                      <a:pt x="397" y="463"/>
                    </a:lnTo>
                    <a:lnTo>
                      <a:pt x="395" y="463"/>
                    </a:lnTo>
                    <a:lnTo>
                      <a:pt x="397" y="463"/>
                    </a:lnTo>
                    <a:lnTo>
                      <a:pt x="397" y="461"/>
                    </a:lnTo>
                    <a:lnTo>
                      <a:pt x="399" y="461"/>
                    </a:lnTo>
                    <a:lnTo>
                      <a:pt x="401" y="461"/>
                    </a:lnTo>
                    <a:close/>
                    <a:moveTo>
                      <a:pt x="403" y="459"/>
                    </a:moveTo>
                    <a:lnTo>
                      <a:pt x="403" y="461"/>
                    </a:lnTo>
                    <a:lnTo>
                      <a:pt x="401" y="461"/>
                    </a:lnTo>
                    <a:lnTo>
                      <a:pt x="403" y="461"/>
                    </a:lnTo>
                    <a:lnTo>
                      <a:pt x="401" y="461"/>
                    </a:lnTo>
                    <a:lnTo>
                      <a:pt x="403" y="459"/>
                    </a:lnTo>
                    <a:close/>
                    <a:moveTo>
                      <a:pt x="269" y="503"/>
                    </a:moveTo>
                    <a:lnTo>
                      <a:pt x="269" y="505"/>
                    </a:lnTo>
                    <a:lnTo>
                      <a:pt x="267" y="505"/>
                    </a:lnTo>
                    <a:lnTo>
                      <a:pt x="267" y="503"/>
                    </a:lnTo>
                    <a:lnTo>
                      <a:pt x="269" y="503"/>
                    </a:lnTo>
                    <a:close/>
                    <a:moveTo>
                      <a:pt x="388" y="465"/>
                    </a:moveTo>
                    <a:lnTo>
                      <a:pt x="386" y="465"/>
                    </a:lnTo>
                    <a:lnTo>
                      <a:pt x="388" y="465"/>
                    </a:lnTo>
                    <a:close/>
                    <a:moveTo>
                      <a:pt x="272" y="503"/>
                    </a:moveTo>
                    <a:lnTo>
                      <a:pt x="271" y="503"/>
                    </a:lnTo>
                    <a:lnTo>
                      <a:pt x="272" y="503"/>
                    </a:lnTo>
                    <a:lnTo>
                      <a:pt x="271" y="503"/>
                    </a:lnTo>
                    <a:lnTo>
                      <a:pt x="272" y="503"/>
                    </a:lnTo>
                    <a:lnTo>
                      <a:pt x="272" y="502"/>
                    </a:lnTo>
                    <a:lnTo>
                      <a:pt x="272" y="503"/>
                    </a:lnTo>
                    <a:close/>
                    <a:moveTo>
                      <a:pt x="265" y="505"/>
                    </a:moveTo>
                    <a:lnTo>
                      <a:pt x="263" y="505"/>
                    </a:lnTo>
                    <a:lnTo>
                      <a:pt x="265" y="505"/>
                    </a:lnTo>
                    <a:close/>
                    <a:moveTo>
                      <a:pt x="342" y="484"/>
                    </a:moveTo>
                    <a:lnTo>
                      <a:pt x="340" y="484"/>
                    </a:lnTo>
                    <a:lnTo>
                      <a:pt x="340" y="486"/>
                    </a:lnTo>
                    <a:lnTo>
                      <a:pt x="342" y="486"/>
                    </a:lnTo>
                    <a:lnTo>
                      <a:pt x="340" y="486"/>
                    </a:lnTo>
                    <a:lnTo>
                      <a:pt x="342" y="486"/>
                    </a:lnTo>
                    <a:lnTo>
                      <a:pt x="340" y="486"/>
                    </a:lnTo>
                    <a:lnTo>
                      <a:pt x="340" y="488"/>
                    </a:lnTo>
                    <a:lnTo>
                      <a:pt x="340" y="486"/>
                    </a:lnTo>
                    <a:lnTo>
                      <a:pt x="338" y="486"/>
                    </a:lnTo>
                    <a:lnTo>
                      <a:pt x="340" y="486"/>
                    </a:lnTo>
                    <a:lnTo>
                      <a:pt x="340" y="484"/>
                    </a:lnTo>
                    <a:lnTo>
                      <a:pt x="338" y="484"/>
                    </a:lnTo>
                    <a:lnTo>
                      <a:pt x="338" y="482"/>
                    </a:lnTo>
                    <a:lnTo>
                      <a:pt x="340" y="482"/>
                    </a:lnTo>
                    <a:lnTo>
                      <a:pt x="342" y="482"/>
                    </a:lnTo>
                    <a:lnTo>
                      <a:pt x="342" y="484"/>
                    </a:lnTo>
                    <a:close/>
                    <a:moveTo>
                      <a:pt x="401" y="459"/>
                    </a:moveTo>
                    <a:lnTo>
                      <a:pt x="401" y="461"/>
                    </a:lnTo>
                    <a:lnTo>
                      <a:pt x="399" y="461"/>
                    </a:lnTo>
                    <a:lnTo>
                      <a:pt x="401" y="461"/>
                    </a:lnTo>
                    <a:lnTo>
                      <a:pt x="401" y="459"/>
                    </a:lnTo>
                    <a:close/>
                    <a:moveTo>
                      <a:pt x="405" y="459"/>
                    </a:moveTo>
                    <a:lnTo>
                      <a:pt x="403" y="459"/>
                    </a:lnTo>
                    <a:lnTo>
                      <a:pt x="405" y="459"/>
                    </a:lnTo>
                    <a:close/>
                    <a:moveTo>
                      <a:pt x="359" y="475"/>
                    </a:moveTo>
                    <a:lnTo>
                      <a:pt x="361" y="475"/>
                    </a:lnTo>
                    <a:lnTo>
                      <a:pt x="361" y="477"/>
                    </a:lnTo>
                    <a:lnTo>
                      <a:pt x="361" y="475"/>
                    </a:lnTo>
                    <a:lnTo>
                      <a:pt x="361" y="477"/>
                    </a:lnTo>
                    <a:lnTo>
                      <a:pt x="361" y="478"/>
                    </a:lnTo>
                    <a:lnTo>
                      <a:pt x="359" y="478"/>
                    </a:lnTo>
                    <a:lnTo>
                      <a:pt x="357" y="478"/>
                    </a:lnTo>
                    <a:lnTo>
                      <a:pt x="355" y="478"/>
                    </a:lnTo>
                    <a:lnTo>
                      <a:pt x="355" y="477"/>
                    </a:lnTo>
                    <a:lnTo>
                      <a:pt x="357" y="477"/>
                    </a:lnTo>
                    <a:lnTo>
                      <a:pt x="359" y="475"/>
                    </a:lnTo>
                    <a:close/>
                    <a:moveTo>
                      <a:pt x="403" y="459"/>
                    </a:moveTo>
                    <a:lnTo>
                      <a:pt x="401" y="459"/>
                    </a:lnTo>
                    <a:lnTo>
                      <a:pt x="403" y="459"/>
                    </a:lnTo>
                    <a:lnTo>
                      <a:pt x="403" y="457"/>
                    </a:lnTo>
                    <a:lnTo>
                      <a:pt x="403" y="459"/>
                    </a:lnTo>
                    <a:close/>
                    <a:moveTo>
                      <a:pt x="397" y="459"/>
                    </a:moveTo>
                    <a:lnTo>
                      <a:pt x="399" y="459"/>
                    </a:lnTo>
                    <a:lnTo>
                      <a:pt x="397" y="459"/>
                    </a:lnTo>
                    <a:lnTo>
                      <a:pt x="399" y="459"/>
                    </a:lnTo>
                    <a:lnTo>
                      <a:pt x="401" y="459"/>
                    </a:lnTo>
                    <a:lnTo>
                      <a:pt x="399" y="459"/>
                    </a:lnTo>
                    <a:lnTo>
                      <a:pt x="397" y="461"/>
                    </a:lnTo>
                    <a:lnTo>
                      <a:pt x="397" y="459"/>
                    </a:lnTo>
                    <a:close/>
                    <a:moveTo>
                      <a:pt x="359" y="475"/>
                    </a:moveTo>
                    <a:lnTo>
                      <a:pt x="357" y="475"/>
                    </a:lnTo>
                    <a:lnTo>
                      <a:pt x="359" y="475"/>
                    </a:lnTo>
                    <a:lnTo>
                      <a:pt x="357" y="475"/>
                    </a:lnTo>
                    <a:lnTo>
                      <a:pt x="357" y="477"/>
                    </a:lnTo>
                    <a:lnTo>
                      <a:pt x="357" y="475"/>
                    </a:lnTo>
                    <a:lnTo>
                      <a:pt x="359" y="475"/>
                    </a:lnTo>
                    <a:close/>
                    <a:moveTo>
                      <a:pt x="403" y="457"/>
                    </a:moveTo>
                    <a:lnTo>
                      <a:pt x="403" y="459"/>
                    </a:lnTo>
                    <a:lnTo>
                      <a:pt x="401" y="459"/>
                    </a:lnTo>
                    <a:lnTo>
                      <a:pt x="401" y="457"/>
                    </a:lnTo>
                    <a:lnTo>
                      <a:pt x="403" y="457"/>
                    </a:lnTo>
                    <a:close/>
                    <a:moveTo>
                      <a:pt x="278" y="502"/>
                    </a:moveTo>
                    <a:lnTo>
                      <a:pt x="280" y="502"/>
                    </a:lnTo>
                    <a:lnTo>
                      <a:pt x="282" y="502"/>
                    </a:lnTo>
                    <a:lnTo>
                      <a:pt x="284" y="502"/>
                    </a:lnTo>
                    <a:lnTo>
                      <a:pt x="282" y="502"/>
                    </a:lnTo>
                    <a:lnTo>
                      <a:pt x="282" y="503"/>
                    </a:lnTo>
                    <a:lnTo>
                      <a:pt x="280" y="503"/>
                    </a:lnTo>
                    <a:lnTo>
                      <a:pt x="278" y="505"/>
                    </a:lnTo>
                    <a:lnTo>
                      <a:pt x="276" y="505"/>
                    </a:lnTo>
                    <a:lnTo>
                      <a:pt x="276" y="503"/>
                    </a:lnTo>
                    <a:lnTo>
                      <a:pt x="278" y="503"/>
                    </a:lnTo>
                    <a:lnTo>
                      <a:pt x="278" y="502"/>
                    </a:lnTo>
                    <a:lnTo>
                      <a:pt x="278" y="503"/>
                    </a:lnTo>
                    <a:lnTo>
                      <a:pt x="276" y="503"/>
                    </a:lnTo>
                    <a:lnTo>
                      <a:pt x="274" y="505"/>
                    </a:lnTo>
                    <a:lnTo>
                      <a:pt x="274" y="503"/>
                    </a:lnTo>
                    <a:lnTo>
                      <a:pt x="272" y="503"/>
                    </a:lnTo>
                    <a:lnTo>
                      <a:pt x="272" y="502"/>
                    </a:lnTo>
                    <a:lnTo>
                      <a:pt x="274" y="502"/>
                    </a:lnTo>
                    <a:lnTo>
                      <a:pt x="276" y="502"/>
                    </a:lnTo>
                    <a:lnTo>
                      <a:pt x="274" y="500"/>
                    </a:lnTo>
                    <a:lnTo>
                      <a:pt x="276" y="500"/>
                    </a:lnTo>
                    <a:lnTo>
                      <a:pt x="276" y="502"/>
                    </a:lnTo>
                    <a:lnTo>
                      <a:pt x="278" y="502"/>
                    </a:lnTo>
                    <a:close/>
                    <a:moveTo>
                      <a:pt x="363" y="473"/>
                    </a:moveTo>
                    <a:lnTo>
                      <a:pt x="365" y="471"/>
                    </a:lnTo>
                    <a:lnTo>
                      <a:pt x="365" y="473"/>
                    </a:lnTo>
                    <a:lnTo>
                      <a:pt x="365" y="475"/>
                    </a:lnTo>
                    <a:lnTo>
                      <a:pt x="363" y="475"/>
                    </a:lnTo>
                    <a:lnTo>
                      <a:pt x="365" y="475"/>
                    </a:lnTo>
                    <a:lnTo>
                      <a:pt x="363" y="475"/>
                    </a:lnTo>
                    <a:lnTo>
                      <a:pt x="365" y="475"/>
                    </a:lnTo>
                    <a:lnTo>
                      <a:pt x="365" y="477"/>
                    </a:lnTo>
                    <a:lnTo>
                      <a:pt x="363" y="477"/>
                    </a:lnTo>
                    <a:lnTo>
                      <a:pt x="363" y="478"/>
                    </a:lnTo>
                    <a:lnTo>
                      <a:pt x="363" y="477"/>
                    </a:lnTo>
                    <a:lnTo>
                      <a:pt x="363" y="478"/>
                    </a:lnTo>
                    <a:lnTo>
                      <a:pt x="361" y="478"/>
                    </a:lnTo>
                    <a:lnTo>
                      <a:pt x="361" y="477"/>
                    </a:lnTo>
                    <a:lnTo>
                      <a:pt x="361" y="475"/>
                    </a:lnTo>
                    <a:lnTo>
                      <a:pt x="363" y="475"/>
                    </a:lnTo>
                    <a:lnTo>
                      <a:pt x="363" y="473"/>
                    </a:lnTo>
                    <a:lnTo>
                      <a:pt x="361" y="473"/>
                    </a:lnTo>
                    <a:lnTo>
                      <a:pt x="363" y="473"/>
                    </a:lnTo>
                    <a:lnTo>
                      <a:pt x="363" y="471"/>
                    </a:lnTo>
                    <a:lnTo>
                      <a:pt x="363" y="473"/>
                    </a:lnTo>
                    <a:close/>
                    <a:moveTo>
                      <a:pt x="397" y="459"/>
                    </a:moveTo>
                    <a:lnTo>
                      <a:pt x="399" y="459"/>
                    </a:lnTo>
                    <a:lnTo>
                      <a:pt x="401" y="459"/>
                    </a:lnTo>
                    <a:lnTo>
                      <a:pt x="399" y="459"/>
                    </a:lnTo>
                    <a:lnTo>
                      <a:pt x="397" y="459"/>
                    </a:lnTo>
                    <a:lnTo>
                      <a:pt x="395" y="461"/>
                    </a:lnTo>
                    <a:lnTo>
                      <a:pt x="395" y="459"/>
                    </a:lnTo>
                    <a:lnTo>
                      <a:pt x="397" y="459"/>
                    </a:lnTo>
                    <a:close/>
                    <a:moveTo>
                      <a:pt x="336" y="480"/>
                    </a:moveTo>
                    <a:lnTo>
                      <a:pt x="338" y="480"/>
                    </a:lnTo>
                    <a:lnTo>
                      <a:pt x="338" y="482"/>
                    </a:lnTo>
                    <a:lnTo>
                      <a:pt x="340" y="482"/>
                    </a:lnTo>
                    <a:lnTo>
                      <a:pt x="338" y="482"/>
                    </a:lnTo>
                    <a:lnTo>
                      <a:pt x="336" y="480"/>
                    </a:lnTo>
                    <a:close/>
                    <a:moveTo>
                      <a:pt x="401" y="457"/>
                    </a:moveTo>
                    <a:lnTo>
                      <a:pt x="401" y="459"/>
                    </a:lnTo>
                    <a:lnTo>
                      <a:pt x="399" y="459"/>
                    </a:lnTo>
                    <a:lnTo>
                      <a:pt x="399" y="457"/>
                    </a:lnTo>
                    <a:lnTo>
                      <a:pt x="401" y="457"/>
                    </a:lnTo>
                    <a:close/>
                    <a:moveTo>
                      <a:pt x="365" y="471"/>
                    </a:moveTo>
                    <a:lnTo>
                      <a:pt x="363" y="471"/>
                    </a:lnTo>
                    <a:lnTo>
                      <a:pt x="365" y="471"/>
                    </a:lnTo>
                    <a:close/>
                    <a:moveTo>
                      <a:pt x="359" y="473"/>
                    </a:moveTo>
                    <a:lnTo>
                      <a:pt x="361" y="473"/>
                    </a:lnTo>
                    <a:lnTo>
                      <a:pt x="363" y="471"/>
                    </a:lnTo>
                    <a:lnTo>
                      <a:pt x="363" y="473"/>
                    </a:lnTo>
                    <a:lnTo>
                      <a:pt x="361" y="473"/>
                    </a:lnTo>
                    <a:lnTo>
                      <a:pt x="363" y="473"/>
                    </a:lnTo>
                    <a:lnTo>
                      <a:pt x="361" y="475"/>
                    </a:lnTo>
                    <a:lnTo>
                      <a:pt x="359" y="475"/>
                    </a:lnTo>
                    <a:lnTo>
                      <a:pt x="359" y="473"/>
                    </a:lnTo>
                    <a:close/>
                    <a:moveTo>
                      <a:pt x="401" y="457"/>
                    </a:moveTo>
                    <a:lnTo>
                      <a:pt x="399" y="457"/>
                    </a:lnTo>
                    <a:lnTo>
                      <a:pt x="401" y="457"/>
                    </a:lnTo>
                    <a:close/>
                    <a:moveTo>
                      <a:pt x="280" y="498"/>
                    </a:moveTo>
                    <a:lnTo>
                      <a:pt x="278" y="498"/>
                    </a:lnTo>
                    <a:lnTo>
                      <a:pt x="280" y="498"/>
                    </a:lnTo>
                    <a:close/>
                    <a:moveTo>
                      <a:pt x="278" y="498"/>
                    </a:moveTo>
                    <a:lnTo>
                      <a:pt x="280" y="498"/>
                    </a:lnTo>
                    <a:lnTo>
                      <a:pt x="278" y="498"/>
                    </a:lnTo>
                    <a:close/>
                    <a:moveTo>
                      <a:pt x="219" y="515"/>
                    </a:moveTo>
                    <a:lnTo>
                      <a:pt x="221" y="515"/>
                    </a:lnTo>
                    <a:lnTo>
                      <a:pt x="222" y="515"/>
                    </a:lnTo>
                    <a:lnTo>
                      <a:pt x="221" y="515"/>
                    </a:lnTo>
                    <a:lnTo>
                      <a:pt x="219" y="515"/>
                    </a:lnTo>
                    <a:close/>
                    <a:moveTo>
                      <a:pt x="221" y="515"/>
                    </a:moveTo>
                    <a:lnTo>
                      <a:pt x="219" y="515"/>
                    </a:lnTo>
                    <a:lnTo>
                      <a:pt x="221" y="515"/>
                    </a:lnTo>
                    <a:close/>
                    <a:moveTo>
                      <a:pt x="393" y="459"/>
                    </a:moveTo>
                    <a:lnTo>
                      <a:pt x="395" y="459"/>
                    </a:lnTo>
                    <a:lnTo>
                      <a:pt x="397" y="459"/>
                    </a:lnTo>
                    <a:lnTo>
                      <a:pt x="397" y="457"/>
                    </a:lnTo>
                    <a:lnTo>
                      <a:pt x="399" y="457"/>
                    </a:lnTo>
                    <a:lnTo>
                      <a:pt x="397" y="459"/>
                    </a:lnTo>
                    <a:lnTo>
                      <a:pt x="399" y="457"/>
                    </a:lnTo>
                    <a:lnTo>
                      <a:pt x="399" y="459"/>
                    </a:lnTo>
                    <a:lnTo>
                      <a:pt x="397" y="459"/>
                    </a:lnTo>
                    <a:lnTo>
                      <a:pt x="395" y="459"/>
                    </a:lnTo>
                    <a:lnTo>
                      <a:pt x="395" y="461"/>
                    </a:lnTo>
                    <a:lnTo>
                      <a:pt x="393" y="461"/>
                    </a:lnTo>
                    <a:lnTo>
                      <a:pt x="392" y="461"/>
                    </a:lnTo>
                    <a:lnTo>
                      <a:pt x="392" y="459"/>
                    </a:lnTo>
                    <a:lnTo>
                      <a:pt x="393" y="459"/>
                    </a:lnTo>
                    <a:lnTo>
                      <a:pt x="392" y="459"/>
                    </a:lnTo>
                    <a:lnTo>
                      <a:pt x="393" y="459"/>
                    </a:lnTo>
                    <a:close/>
                    <a:moveTo>
                      <a:pt x="267" y="502"/>
                    </a:moveTo>
                    <a:lnTo>
                      <a:pt x="269" y="502"/>
                    </a:lnTo>
                    <a:lnTo>
                      <a:pt x="271" y="502"/>
                    </a:lnTo>
                    <a:lnTo>
                      <a:pt x="272" y="502"/>
                    </a:lnTo>
                    <a:lnTo>
                      <a:pt x="271" y="503"/>
                    </a:lnTo>
                    <a:lnTo>
                      <a:pt x="271" y="502"/>
                    </a:lnTo>
                    <a:lnTo>
                      <a:pt x="269" y="502"/>
                    </a:lnTo>
                    <a:lnTo>
                      <a:pt x="267" y="502"/>
                    </a:lnTo>
                    <a:lnTo>
                      <a:pt x="265" y="502"/>
                    </a:lnTo>
                    <a:lnTo>
                      <a:pt x="267" y="502"/>
                    </a:lnTo>
                    <a:close/>
                    <a:moveTo>
                      <a:pt x="59" y="552"/>
                    </a:moveTo>
                    <a:lnTo>
                      <a:pt x="57" y="552"/>
                    </a:lnTo>
                    <a:lnTo>
                      <a:pt x="59" y="552"/>
                    </a:lnTo>
                    <a:close/>
                    <a:moveTo>
                      <a:pt x="363" y="471"/>
                    </a:moveTo>
                    <a:lnTo>
                      <a:pt x="365" y="469"/>
                    </a:lnTo>
                    <a:lnTo>
                      <a:pt x="365" y="471"/>
                    </a:lnTo>
                    <a:lnTo>
                      <a:pt x="363" y="471"/>
                    </a:lnTo>
                    <a:close/>
                    <a:moveTo>
                      <a:pt x="274" y="500"/>
                    </a:moveTo>
                    <a:lnTo>
                      <a:pt x="272" y="502"/>
                    </a:lnTo>
                    <a:lnTo>
                      <a:pt x="271" y="502"/>
                    </a:lnTo>
                    <a:lnTo>
                      <a:pt x="269" y="502"/>
                    </a:lnTo>
                    <a:lnTo>
                      <a:pt x="271" y="500"/>
                    </a:lnTo>
                    <a:lnTo>
                      <a:pt x="272" y="500"/>
                    </a:lnTo>
                    <a:lnTo>
                      <a:pt x="274" y="500"/>
                    </a:lnTo>
                    <a:close/>
                    <a:moveTo>
                      <a:pt x="267" y="502"/>
                    </a:moveTo>
                    <a:lnTo>
                      <a:pt x="269" y="502"/>
                    </a:lnTo>
                    <a:lnTo>
                      <a:pt x="271" y="503"/>
                    </a:lnTo>
                    <a:lnTo>
                      <a:pt x="271" y="505"/>
                    </a:lnTo>
                    <a:lnTo>
                      <a:pt x="269" y="505"/>
                    </a:lnTo>
                    <a:lnTo>
                      <a:pt x="269" y="503"/>
                    </a:lnTo>
                    <a:lnTo>
                      <a:pt x="267" y="503"/>
                    </a:lnTo>
                    <a:lnTo>
                      <a:pt x="267" y="505"/>
                    </a:lnTo>
                    <a:lnTo>
                      <a:pt x="265" y="505"/>
                    </a:lnTo>
                    <a:lnTo>
                      <a:pt x="265" y="503"/>
                    </a:lnTo>
                    <a:lnTo>
                      <a:pt x="267" y="503"/>
                    </a:lnTo>
                    <a:lnTo>
                      <a:pt x="267" y="505"/>
                    </a:lnTo>
                    <a:lnTo>
                      <a:pt x="265" y="503"/>
                    </a:lnTo>
                    <a:lnTo>
                      <a:pt x="263" y="503"/>
                    </a:lnTo>
                    <a:lnTo>
                      <a:pt x="263" y="502"/>
                    </a:lnTo>
                    <a:lnTo>
                      <a:pt x="265" y="502"/>
                    </a:lnTo>
                    <a:lnTo>
                      <a:pt x="267" y="502"/>
                    </a:lnTo>
                    <a:close/>
                    <a:moveTo>
                      <a:pt x="259" y="505"/>
                    </a:moveTo>
                    <a:lnTo>
                      <a:pt x="257" y="505"/>
                    </a:lnTo>
                    <a:lnTo>
                      <a:pt x="255" y="505"/>
                    </a:lnTo>
                    <a:lnTo>
                      <a:pt x="255" y="503"/>
                    </a:lnTo>
                    <a:lnTo>
                      <a:pt x="257" y="503"/>
                    </a:lnTo>
                    <a:lnTo>
                      <a:pt x="259" y="503"/>
                    </a:lnTo>
                    <a:lnTo>
                      <a:pt x="259" y="505"/>
                    </a:lnTo>
                    <a:close/>
                    <a:moveTo>
                      <a:pt x="253" y="505"/>
                    </a:moveTo>
                    <a:lnTo>
                      <a:pt x="253" y="503"/>
                    </a:lnTo>
                    <a:lnTo>
                      <a:pt x="253" y="505"/>
                    </a:lnTo>
                    <a:close/>
                    <a:moveTo>
                      <a:pt x="397" y="457"/>
                    </a:moveTo>
                    <a:lnTo>
                      <a:pt x="395" y="459"/>
                    </a:lnTo>
                    <a:lnTo>
                      <a:pt x="395" y="457"/>
                    </a:lnTo>
                    <a:lnTo>
                      <a:pt x="397" y="457"/>
                    </a:lnTo>
                    <a:close/>
                    <a:moveTo>
                      <a:pt x="399" y="457"/>
                    </a:moveTo>
                    <a:lnTo>
                      <a:pt x="401" y="457"/>
                    </a:lnTo>
                    <a:lnTo>
                      <a:pt x="399" y="457"/>
                    </a:lnTo>
                    <a:lnTo>
                      <a:pt x="397" y="457"/>
                    </a:lnTo>
                    <a:lnTo>
                      <a:pt x="397" y="459"/>
                    </a:lnTo>
                    <a:lnTo>
                      <a:pt x="395" y="459"/>
                    </a:lnTo>
                    <a:lnTo>
                      <a:pt x="397" y="457"/>
                    </a:lnTo>
                    <a:lnTo>
                      <a:pt x="399" y="457"/>
                    </a:lnTo>
                    <a:close/>
                    <a:moveTo>
                      <a:pt x="367" y="469"/>
                    </a:moveTo>
                    <a:lnTo>
                      <a:pt x="367" y="467"/>
                    </a:lnTo>
                    <a:lnTo>
                      <a:pt x="368" y="467"/>
                    </a:lnTo>
                    <a:lnTo>
                      <a:pt x="368" y="469"/>
                    </a:lnTo>
                    <a:lnTo>
                      <a:pt x="367" y="469"/>
                    </a:lnTo>
                    <a:lnTo>
                      <a:pt x="368" y="469"/>
                    </a:lnTo>
                    <a:lnTo>
                      <a:pt x="368" y="471"/>
                    </a:lnTo>
                    <a:lnTo>
                      <a:pt x="368" y="469"/>
                    </a:lnTo>
                    <a:lnTo>
                      <a:pt x="367" y="469"/>
                    </a:lnTo>
                    <a:lnTo>
                      <a:pt x="368" y="469"/>
                    </a:lnTo>
                    <a:lnTo>
                      <a:pt x="368" y="467"/>
                    </a:lnTo>
                    <a:lnTo>
                      <a:pt x="370" y="467"/>
                    </a:lnTo>
                    <a:lnTo>
                      <a:pt x="372" y="469"/>
                    </a:lnTo>
                    <a:lnTo>
                      <a:pt x="370" y="469"/>
                    </a:lnTo>
                    <a:lnTo>
                      <a:pt x="370" y="471"/>
                    </a:lnTo>
                    <a:lnTo>
                      <a:pt x="372" y="471"/>
                    </a:lnTo>
                    <a:lnTo>
                      <a:pt x="370" y="471"/>
                    </a:lnTo>
                    <a:lnTo>
                      <a:pt x="370" y="473"/>
                    </a:lnTo>
                    <a:lnTo>
                      <a:pt x="368" y="473"/>
                    </a:lnTo>
                    <a:lnTo>
                      <a:pt x="368" y="475"/>
                    </a:lnTo>
                    <a:lnTo>
                      <a:pt x="367" y="475"/>
                    </a:lnTo>
                    <a:lnTo>
                      <a:pt x="367" y="477"/>
                    </a:lnTo>
                    <a:lnTo>
                      <a:pt x="368" y="477"/>
                    </a:lnTo>
                    <a:lnTo>
                      <a:pt x="367" y="477"/>
                    </a:lnTo>
                    <a:lnTo>
                      <a:pt x="367" y="478"/>
                    </a:lnTo>
                    <a:lnTo>
                      <a:pt x="365" y="478"/>
                    </a:lnTo>
                    <a:lnTo>
                      <a:pt x="365" y="477"/>
                    </a:lnTo>
                    <a:lnTo>
                      <a:pt x="365" y="475"/>
                    </a:lnTo>
                    <a:lnTo>
                      <a:pt x="365" y="473"/>
                    </a:lnTo>
                    <a:lnTo>
                      <a:pt x="365" y="475"/>
                    </a:lnTo>
                    <a:lnTo>
                      <a:pt x="365" y="473"/>
                    </a:lnTo>
                    <a:lnTo>
                      <a:pt x="365" y="471"/>
                    </a:lnTo>
                    <a:lnTo>
                      <a:pt x="363" y="471"/>
                    </a:lnTo>
                    <a:lnTo>
                      <a:pt x="365" y="471"/>
                    </a:lnTo>
                    <a:lnTo>
                      <a:pt x="365" y="469"/>
                    </a:lnTo>
                    <a:lnTo>
                      <a:pt x="367" y="469"/>
                    </a:lnTo>
                    <a:close/>
                    <a:moveTo>
                      <a:pt x="249" y="505"/>
                    </a:moveTo>
                    <a:lnTo>
                      <a:pt x="251" y="505"/>
                    </a:lnTo>
                    <a:lnTo>
                      <a:pt x="249" y="505"/>
                    </a:lnTo>
                    <a:close/>
                    <a:moveTo>
                      <a:pt x="303" y="488"/>
                    </a:moveTo>
                    <a:lnTo>
                      <a:pt x="301" y="488"/>
                    </a:lnTo>
                    <a:lnTo>
                      <a:pt x="303" y="488"/>
                    </a:lnTo>
                    <a:close/>
                    <a:moveTo>
                      <a:pt x="367" y="467"/>
                    </a:moveTo>
                    <a:lnTo>
                      <a:pt x="365" y="467"/>
                    </a:lnTo>
                    <a:lnTo>
                      <a:pt x="367" y="467"/>
                    </a:lnTo>
                    <a:close/>
                    <a:moveTo>
                      <a:pt x="265" y="500"/>
                    </a:moveTo>
                    <a:lnTo>
                      <a:pt x="267" y="500"/>
                    </a:lnTo>
                    <a:lnTo>
                      <a:pt x="265" y="502"/>
                    </a:lnTo>
                    <a:lnTo>
                      <a:pt x="263" y="502"/>
                    </a:lnTo>
                    <a:lnTo>
                      <a:pt x="263" y="500"/>
                    </a:lnTo>
                    <a:lnTo>
                      <a:pt x="265" y="500"/>
                    </a:lnTo>
                    <a:lnTo>
                      <a:pt x="263" y="500"/>
                    </a:lnTo>
                    <a:lnTo>
                      <a:pt x="265" y="500"/>
                    </a:lnTo>
                    <a:close/>
                    <a:moveTo>
                      <a:pt x="209" y="515"/>
                    </a:moveTo>
                    <a:lnTo>
                      <a:pt x="207" y="515"/>
                    </a:lnTo>
                    <a:lnTo>
                      <a:pt x="209" y="515"/>
                    </a:lnTo>
                    <a:close/>
                    <a:moveTo>
                      <a:pt x="401" y="453"/>
                    </a:moveTo>
                    <a:lnTo>
                      <a:pt x="401" y="455"/>
                    </a:lnTo>
                    <a:lnTo>
                      <a:pt x="399" y="455"/>
                    </a:lnTo>
                    <a:lnTo>
                      <a:pt x="401" y="455"/>
                    </a:lnTo>
                    <a:lnTo>
                      <a:pt x="399" y="455"/>
                    </a:lnTo>
                    <a:lnTo>
                      <a:pt x="399" y="453"/>
                    </a:lnTo>
                    <a:lnTo>
                      <a:pt x="401" y="453"/>
                    </a:lnTo>
                    <a:close/>
                    <a:moveTo>
                      <a:pt x="397" y="455"/>
                    </a:moveTo>
                    <a:lnTo>
                      <a:pt x="399" y="455"/>
                    </a:lnTo>
                    <a:lnTo>
                      <a:pt x="397" y="455"/>
                    </a:lnTo>
                    <a:lnTo>
                      <a:pt x="399" y="455"/>
                    </a:lnTo>
                    <a:lnTo>
                      <a:pt x="397" y="455"/>
                    </a:lnTo>
                    <a:close/>
                    <a:moveTo>
                      <a:pt x="370" y="465"/>
                    </a:moveTo>
                    <a:lnTo>
                      <a:pt x="370" y="467"/>
                    </a:lnTo>
                    <a:lnTo>
                      <a:pt x="368" y="467"/>
                    </a:lnTo>
                    <a:lnTo>
                      <a:pt x="370" y="467"/>
                    </a:lnTo>
                    <a:lnTo>
                      <a:pt x="368" y="467"/>
                    </a:lnTo>
                    <a:lnTo>
                      <a:pt x="367" y="467"/>
                    </a:lnTo>
                    <a:lnTo>
                      <a:pt x="365" y="467"/>
                    </a:lnTo>
                    <a:lnTo>
                      <a:pt x="365" y="469"/>
                    </a:lnTo>
                    <a:lnTo>
                      <a:pt x="365" y="467"/>
                    </a:lnTo>
                    <a:lnTo>
                      <a:pt x="367" y="467"/>
                    </a:lnTo>
                    <a:lnTo>
                      <a:pt x="367" y="465"/>
                    </a:lnTo>
                    <a:lnTo>
                      <a:pt x="368" y="465"/>
                    </a:lnTo>
                    <a:lnTo>
                      <a:pt x="370" y="465"/>
                    </a:lnTo>
                    <a:close/>
                    <a:moveTo>
                      <a:pt x="282" y="496"/>
                    </a:moveTo>
                    <a:lnTo>
                      <a:pt x="282" y="494"/>
                    </a:lnTo>
                    <a:lnTo>
                      <a:pt x="284" y="494"/>
                    </a:lnTo>
                    <a:lnTo>
                      <a:pt x="282" y="496"/>
                    </a:lnTo>
                    <a:close/>
                    <a:moveTo>
                      <a:pt x="393" y="455"/>
                    </a:moveTo>
                    <a:lnTo>
                      <a:pt x="395" y="455"/>
                    </a:lnTo>
                    <a:lnTo>
                      <a:pt x="393" y="455"/>
                    </a:lnTo>
                    <a:lnTo>
                      <a:pt x="393" y="457"/>
                    </a:lnTo>
                    <a:lnTo>
                      <a:pt x="392" y="457"/>
                    </a:lnTo>
                    <a:lnTo>
                      <a:pt x="393" y="455"/>
                    </a:lnTo>
                    <a:close/>
                    <a:moveTo>
                      <a:pt x="282" y="492"/>
                    </a:moveTo>
                    <a:lnTo>
                      <a:pt x="282" y="494"/>
                    </a:lnTo>
                    <a:lnTo>
                      <a:pt x="282" y="492"/>
                    </a:lnTo>
                    <a:lnTo>
                      <a:pt x="284" y="492"/>
                    </a:lnTo>
                    <a:lnTo>
                      <a:pt x="282" y="492"/>
                    </a:lnTo>
                    <a:close/>
                    <a:moveTo>
                      <a:pt x="390" y="457"/>
                    </a:moveTo>
                    <a:lnTo>
                      <a:pt x="392" y="457"/>
                    </a:lnTo>
                    <a:lnTo>
                      <a:pt x="390" y="457"/>
                    </a:lnTo>
                    <a:lnTo>
                      <a:pt x="390" y="459"/>
                    </a:lnTo>
                    <a:lnTo>
                      <a:pt x="388" y="459"/>
                    </a:lnTo>
                    <a:lnTo>
                      <a:pt x="390" y="457"/>
                    </a:lnTo>
                    <a:close/>
                    <a:moveTo>
                      <a:pt x="403" y="453"/>
                    </a:moveTo>
                    <a:lnTo>
                      <a:pt x="401" y="453"/>
                    </a:lnTo>
                    <a:lnTo>
                      <a:pt x="403" y="452"/>
                    </a:lnTo>
                    <a:lnTo>
                      <a:pt x="403" y="453"/>
                    </a:lnTo>
                    <a:close/>
                    <a:moveTo>
                      <a:pt x="392" y="457"/>
                    </a:moveTo>
                    <a:lnTo>
                      <a:pt x="390" y="457"/>
                    </a:lnTo>
                    <a:lnTo>
                      <a:pt x="392" y="457"/>
                    </a:lnTo>
                    <a:close/>
                    <a:moveTo>
                      <a:pt x="340" y="475"/>
                    </a:moveTo>
                    <a:lnTo>
                      <a:pt x="342" y="475"/>
                    </a:lnTo>
                    <a:lnTo>
                      <a:pt x="340" y="475"/>
                    </a:lnTo>
                    <a:lnTo>
                      <a:pt x="340" y="477"/>
                    </a:lnTo>
                    <a:lnTo>
                      <a:pt x="338" y="477"/>
                    </a:lnTo>
                    <a:lnTo>
                      <a:pt x="338" y="478"/>
                    </a:lnTo>
                    <a:lnTo>
                      <a:pt x="338" y="480"/>
                    </a:lnTo>
                    <a:lnTo>
                      <a:pt x="340" y="480"/>
                    </a:lnTo>
                    <a:lnTo>
                      <a:pt x="338" y="480"/>
                    </a:lnTo>
                    <a:lnTo>
                      <a:pt x="336" y="480"/>
                    </a:lnTo>
                    <a:lnTo>
                      <a:pt x="336" y="478"/>
                    </a:lnTo>
                    <a:lnTo>
                      <a:pt x="338" y="478"/>
                    </a:lnTo>
                    <a:lnTo>
                      <a:pt x="338" y="477"/>
                    </a:lnTo>
                    <a:lnTo>
                      <a:pt x="340" y="475"/>
                    </a:lnTo>
                    <a:close/>
                    <a:moveTo>
                      <a:pt x="376" y="461"/>
                    </a:moveTo>
                    <a:lnTo>
                      <a:pt x="376" y="463"/>
                    </a:lnTo>
                    <a:lnTo>
                      <a:pt x="376" y="461"/>
                    </a:lnTo>
                    <a:lnTo>
                      <a:pt x="376" y="463"/>
                    </a:lnTo>
                    <a:lnTo>
                      <a:pt x="374" y="463"/>
                    </a:lnTo>
                    <a:lnTo>
                      <a:pt x="376" y="461"/>
                    </a:lnTo>
                    <a:close/>
                    <a:moveTo>
                      <a:pt x="269" y="496"/>
                    </a:moveTo>
                    <a:lnTo>
                      <a:pt x="267" y="498"/>
                    </a:lnTo>
                    <a:lnTo>
                      <a:pt x="267" y="496"/>
                    </a:lnTo>
                    <a:lnTo>
                      <a:pt x="269" y="496"/>
                    </a:lnTo>
                    <a:close/>
                    <a:moveTo>
                      <a:pt x="242" y="503"/>
                    </a:moveTo>
                    <a:lnTo>
                      <a:pt x="244" y="503"/>
                    </a:lnTo>
                    <a:lnTo>
                      <a:pt x="246" y="503"/>
                    </a:lnTo>
                    <a:lnTo>
                      <a:pt x="244" y="503"/>
                    </a:lnTo>
                    <a:lnTo>
                      <a:pt x="246" y="503"/>
                    </a:lnTo>
                    <a:lnTo>
                      <a:pt x="244" y="503"/>
                    </a:lnTo>
                    <a:lnTo>
                      <a:pt x="242" y="503"/>
                    </a:lnTo>
                    <a:close/>
                    <a:moveTo>
                      <a:pt x="399" y="453"/>
                    </a:moveTo>
                    <a:lnTo>
                      <a:pt x="401" y="453"/>
                    </a:lnTo>
                    <a:lnTo>
                      <a:pt x="401" y="452"/>
                    </a:lnTo>
                    <a:lnTo>
                      <a:pt x="401" y="453"/>
                    </a:lnTo>
                    <a:lnTo>
                      <a:pt x="399" y="453"/>
                    </a:lnTo>
                    <a:lnTo>
                      <a:pt x="397" y="453"/>
                    </a:lnTo>
                    <a:lnTo>
                      <a:pt x="399" y="455"/>
                    </a:lnTo>
                    <a:lnTo>
                      <a:pt x="397" y="455"/>
                    </a:lnTo>
                    <a:lnTo>
                      <a:pt x="395" y="455"/>
                    </a:lnTo>
                    <a:lnTo>
                      <a:pt x="397" y="453"/>
                    </a:lnTo>
                    <a:lnTo>
                      <a:pt x="399" y="453"/>
                    </a:lnTo>
                    <a:close/>
                    <a:moveTo>
                      <a:pt x="403" y="452"/>
                    </a:moveTo>
                    <a:lnTo>
                      <a:pt x="401" y="452"/>
                    </a:lnTo>
                    <a:lnTo>
                      <a:pt x="401" y="453"/>
                    </a:lnTo>
                    <a:lnTo>
                      <a:pt x="401" y="452"/>
                    </a:lnTo>
                    <a:lnTo>
                      <a:pt x="403" y="452"/>
                    </a:lnTo>
                    <a:close/>
                    <a:moveTo>
                      <a:pt x="286" y="490"/>
                    </a:moveTo>
                    <a:lnTo>
                      <a:pt x="284" y="492"/>
                    </a:lnTo>
                    <a:lnTo>
                      <a:pt x="284" y="490"/>
                    </a:lnTo>
                    <a:lnTo>
                      <a:pt x="286" y="490"/>
                    </a:lnTo>
                    <a:close/>
                    <a:moveTo>
                      <a:pt x="259" y="500"/>
                    </a:moveTo>
                    <a:lnTo>
                      <a:pt x="261" y="500"/>
                    </a:lnTo>
                    <a:lnTo>
                      <a:pt x="263" y="500"/>
                    </a:lnTo>
                    <a:lnTo>
                      <a:pt x="263" y="502"/>
                    </a:lnTo>
                    <a:lnTo>
                      <a:pt x="263" y="500"/>
                    </a:lnTo>
                    <a:lnTo>
                      <a:pt x="261" y="500"/>
                    </a:lnTo>
                    <a:lnTo>
                      <a:pt x="259" y="500"/>
                    </a:lnTo>
                    <a:close/>
                    <a:moveTo>
                      <a:pt x="397" y="453"/>
                    </a:moveTo>
                    <a:lnTo>
                      <a:pt x="395" y="453"/>
                    </a:lnTo>
                    <a:lnTo>
                      <a:pt x="397" y="453"/>
                    </a:lnTo>
                    <a:close/>
                    <a:moveTo>
                      <a:pt x="249" y="502"/>
                    </a:moveTo>
                    <a:lnTo>
                      <a:pt x="251" y="502"/>
                    </a:lnTo>
                    <a:lnTo>
                      <a:pt x="251" y="503"/>
                    </a:lnTo>
                    <a:lnTo>
                      <a:pt x="251" y="502"/>
                    </a:lnTo>
                    <a:lnTo>
                      <a:pt x="253" y="502"/>
                    </a:lnTo>
                    <a:lnTo>
                      <a:pt x="251" y="502"/>
                    </a:lnTo>
                    <a:lnTo>
                      <a:pt x="253" y="502"/>
                    </a:lnTo>
                    <a:lnTo>
                      <a:pt x="255" y="502"/>
                    </a:lnTo>
                    <a:lnTo>
                      <a:pt x="257" y="502"/>
                    </a:lnTo>
                    <a:lnTo>
                      <a:pt x="259" y="502"/>
                    </a:lnTo>
                    <a:lnTo>
                      <a:pt x="261" y="502"/>
                    </a:lnTo>
                    <a:lnTo>
                      <a:pt x="263" y="502"/>
                    </a:lnTo>
                    <a:lnTo>
                      <a:pt x="263" y="503"/>
                    </a:lnTo>
                    <a:lnTo>
                      <a:pt x="265" y="503"/>
                    </a:lnTo>
                    <a:lnTo>
                      <a:pt x="267" y="505"/>
                    </a:lnTo>
                    <a:lnTo>
                      <a:pt x="263" y="505"/>
                    </a:lnTo>
                    <a:lnTo>
                      <a:pt x="261" y="505"/>
                    </a:lnTo>
                    <a:lnTo>
                      <a:pt x="261" y="503"/>
                    </a:lnTo>
                    <a:lnTo>
                      <a:pt x="261" y="505"/>
                    </a:lnTo>
                    <a:lnTo>
                      <a:pt x="261" y="503"/>
                    </a:lnTo>
                    <a:lnTo>
                      <a:pt x="259" y="503"/>
                    </a:lnTo>
                    <a:lnTo>
                      <a:pt x="257" y="503"/>
                    </a:lnTo>
                    <a:lnTo>
                      <a:pt x="255" y="503"/>
                    </a:lnTo>
                    <a:lnTo>
                      <a:pt x="253" y="503"/>
                    </a:lnTo>
                    <a:lnTo>
                      <a:pt x="253" y="505"/>
                    </a:lnTo>
                    <a:lnTo>
                      <a:pt x="251" y="505"/>
                    </a:lnTo>
                    <a:lnTo>
                      <a:pt x="251" y="503"/>
                    </a:lnTo>
                    <a:lnTo>
                      <a:pt x="249" y="503"/>
                    </a:lnTo>
                    <a:lnTo>
                      <a:pt x="247" y="505"/>
                    </a:lnTo>
                    <a:lnTo>
                      <a:pt x="247" y="503"/>
                    </a:lnTo>
                    <a:lnTo>
                      <a:pt x="246" y="503"/>
                    </a:lnTo>
                    <a:lnTo>
                      <a:pt x="247" y="503"/>
                    </a:lnTo>
                    <a:lnTo>
                      <a:pt x="247" y="502"/>
                    </a:lnTo>
                    <a:lnTo>
                      <a:pt x="249" y="502"/>
                    </a:lnTo>
                    <a:close/>
                    <a:moveTo>
                      <a:pt x="392" y="455"/>
                    </a:moveTo>
                    <a:lnTo>
                      <a:pt x="390" y="455"/>
                    </a:lnTo>
                    <a:lnTo>
                      <a:pt x="392" y="455"/>
                    </a:lnTo>
                    <a:lnTo>
                      <a:pt x="390" y="455"/>
                    </a:lnTo>
                    <a:lnTo>
                      <a:pt x="392" y="455"/>
                    </a:lnTo>
                    <a:close/>
                    <a:moveTo>
                      <a:pt x="393" y="453"/>
                    </a:moveTo>
                    <a:lnTo>
                      <a:pt x="393" y="455"/>
                    </a:lnTo>
                    <a:lnTo>
                      <a:pt x="392" y="455"/>
                    </a:lnTo>
                    <a:lnTo>
                      <a:pt x="393" y="455"/>
                    </a:lnTo>
                    <a:lnTo>
                      <a:pt x="393" y="453"/>
                    </a:lnTo>
                    <a:close/>
                    <a:moveTo>
                      <a:pt x="63" y="548"/>
                    </a:moveTo>
                    <a:lnTo>
                      <a:pt x="63" y="546"/>
                    </a:lnTo>
                    <a:lnTo>
                      <a:pt x="63" y="548"/>
                    </a:lnTo>
                    <a:close/>
                    <a:moveTo>
                      <a:pt x="292" y="488"/>
                    </a:moveTo>
                    <a:lnTo>
                      <a:pt x="294" y="488"/>
                    </a:lnTo>
                    <a:lnTo>
                      <a:pt x="295" y="488"/>
                    </a:lnTo>
                    <a:lnTo>
                      <a:pt x="297" y="488"/>
                    </a:lnTo>
                    <a:lnTo>
                      <a:pt x="299" y="486"/>
                    </a:lnTo>
                    <a:lnTo>
                      <a:pt x="301" y="486"/>
                    </a:lnTo>
                    <a:lnTo>
                      <a:pt x="303" y="486"/>
                    </a:lnTo>
                    <a:lnTo>
                      <a:pt x="305" y="486"/>
                    </a:lnTo>
                    <a:lnTo>
                      <a:pt x="307" y="486"/>
                    </a:lnTo>
                    <a:lnTo>
                      <a:pt x="307" y="484"/>
                    </a:lnTo>
                    <a:lnTo>
                      <a:pt x="309" y="484"/>
                    </a:lnTo>
                    <a:lnTo>
                      <a:pt x="309" y="482"/>
                    </a:lnTo>
                    <a:lnTo>
                      <a:pt x="311" y="482"/>
                    </a:lnTo>
                    <a:lnTo>
                      <a:pt x="313" y="482"/>
                    </a:lnTo>
                    <a:lnTo>
                      <a:pt x="313" y="484"/>
                    </a:lnTo>
                    <a:lnTo>
                      <a:pt x="315" y="484"/>
                    </a:lnTo>
                    <a:lnTo>
                      <a:pt x="313" y="484"/>
                    </a:lnTo>
                    <a:lnTo>
                      <a:pt x="311" y="484"/>
                    </a:lnTo>
                    <a:lnTo>
                      <a:pt x="309" y="484"/>
                    </a:lnTo>
                    <a:lnTo>
                      <a:pt x="307" y="484"/>
                    </a:lnTo>
                    <a:lnTo>
                      <a:pt x="307" y="486"/>
                    </a:lnTo>
                    <a:lnTo>
                      <a:pt x="305" y="486"/>
                    </a:lnTo>
                    <a:lnTo>
                      <a:pt x="305" y="488"/>
                    </a:lnTo>
                    <a:lnTo>
                      <a:pt x="303" y="488"/>
                    </a:lnTo>
                    <a:lnTo>
                      <a:pt x="303" y="486"/>
                    </a:lnTo>
                    <a:lnTo>
                      <a:pt x="303" y="488"/>
                    </a:lnTo>
                    <a:lnTo>
                      <a:pt x="301" y="488"/>
                    </a:lnTo>
                    <a:lnTo>
                      <a:pt x="299" y="488"/>
                    </a:lnTo>
                    <a:lnTo>
                      <a:pt x="297" y="488"/>
                    </a:lnTo>
                    <a:lnTo>
                      <a:pt x="297" y="490"/>
                    </a:lnTo>
                    <a:lnTo>
                      <a:pt x="295" y="490"/>
                    </a:lnTo>
                    <a:lnTo>
                      <a:pt x="295" y="488"/>
                    </a:lnTo>
                    <a:lnTo>
                      <a:pt x="295" y="490"/>
                    </a:lnTo>
                    <a:lnTo>
                      <a:pt x="295" y="488"/>
                    </a:lnTo>
                    <a:lnTo>
                      <a:pt x="294" y="490"/>
                    </a:lnTo>
                    <a:lnTo>
                      <a:pt x="292" y="490"/>
                    </a:lnTo>
                    <a:lnTo>
                      <a:pt x="292" y="488"/>
                    </a:lnTo>
                    <a:lnTo>
                      <a:pt x="290" y="488"/>
                    </a:lnTo>
                    <a:lnTo>
                      <a:pt x="292" y="488"/>
                    </a:lnTo>
                    <a:close/>
                    <a:moveTo>
                      <a:pt x="251" y="502"/>
                    </a:moveTo>
                    <a:lnTo>
                      <a:pt x="249" y="502"/>
                    </a:lnTo>
                    <a:lnTo>
                      <a:pt x="251" y="502"/>
                    </a:lnTo>
                    <a:lnTo>
                      <a:pt x="251" y="500"/>
                    </a:lnTo>
                    <a:lnTo>
                      <a:pt x="251" y="502"/>
                    </a:lnTo>
                    <a:close/>
                    <a:moveTo>
                      <a:pt x="399" y="453"/>
                    </a:moveTo>
                    <a:lnTo>
                      <a:pt x="397" y="453"/>
                    </a:lnTo>
                    <a:lnTo>
                      <a:pt x="399" y="452"/>
                    </a:lnTo>
                    <a:lnTo>
                      <a:pt x="401" y="452"/>
                    </a:lnTo>
                    <a:lnTo>
                      <a:pt x="401" y="453"/>
                    </a:lnTo>
                    <a:lnTo>
                      <a:pt x="401" y="452"/>
                    </a:lnTo>
                    <a:lnTo>
                      <a:pt x="401" y="453"/>
                    </a:lnTo>
                    <a:lnTo>
                      <a:pt x="399" y="453"/>
                    </a:lnTo>
                    <a:close/>
                    <a:moveTo>
                      <a:pt x="397" y="453"/>
                    </a:moveTo>
                    <a:lnTo>
                      <a:pt x="399" y="452"/>
                    </a:lnTo>
                    <a:lnTo>
                      <a:pt x="397" y="453"/>
                    </a:lnTo>
                    <a:close/>
                    <a:moveTo>
                      <a:pt x="393" y="453"/>
                    </a:moveTo>
                    <a:lnTo>
                      <a:pt x="393" y="455"/>
                    </a:lnTo>
                    <a:lnTo>
                      <a:pt x="393" y="453"/>
                    </a:lnTo>
                    <a:close/>
                    <a:moveTo>
                      <a:pt x="399" y="452"/>
                    </a:moveTo>
                    <a:lnTo>
                      <a:pt x="401" y="452"/>
                    </a:lnTo>
                    <a:lnTo>
                      <a:pt x="399" y="452"/>
                    </a:lnTo>
                    <a:close/>
                    <a:moveTo>
                      <a:pt x="257" y="498"/>
                    </a:moveTo>
                    <a:lnTo>
                      <a:pt x="259" y="500"/>
                    </a:lnTo>
                    <a:lnTo>
                      <a:pt x="257" y="500"/>
                    </a:lnTo>
                    <a:lnTo>
                      <a:pt x="255" y="500"/>
                    </a:lnTo>
                    <a:lnTo>
                      <a:pt x="255" y="498"/>
                    </a:lnTo>
                    <a:lnTo>
                      <a:pt x="257" y="498"/>
                    </a:lnTo>
                    <a:close/>
                    <a:moveTo>
                      <a:pt x="392" y="455"/>
                    </a:moveTo>
                    <a:lnTo>
                      <a:pt x="392" y="453"/>
                    </a:lnTo>
                    <a:lnTo>
                      <a:pt x="392" y="455"/>
                    </a:lnTo>
                    <a:close/>
                    <a:moveTo>
                      <a:pt x="397" y="452"/>
                    </a:moveTo>
                    <a:lnTo>
                      <a:pt x="399" y="452"/>
                    </a:lnTo>
                    <a:lnTo>
                      <a:pt x="397" y="452"/>
                    </a:lnTo>
                    <a:lnTo>
                      <a:pt x="399" y="452"/>
                    </a:lnTo>
                    <a:lnTo>
                      <a:pt x="401" y="452"/>
                    </a:lnTo>
                    <a:lnTo>
                      <a:pt x="399" y="452"/>
                    </a:lnTo>
                    <a:lnTo>
                      <a:pt x="397" y="453"/>
                    </a:lnTo>
                    <a:lnTo>
                      <a:pt x="395" y="453"/>
                    </a:lnTo>
                    <a:lnTo>
                      <a:pt x="397" y="453"/>
                    </a:lnTo>
                    <a:lnTo>
                      <a:pt x="395" y="453"/>
                    </a:lnTo>
                    <a:lnTo>
                      <a:pt x="397" y="452"/>
                    </a:lnTo>
                    <a:close/>
                    <a:moveTo>
                      <a:pt x="392" y="453"/>
                    </a:moveTo>
                    <a:lnTo>
                      <a:pt x="392" y="455"/>
                    </a:lnTo>
                    <a:lnTo>
                      <a:pt x="392" y="453"/>
                    </a:lnTo>
                    <a:lnTo>
                      <a:pt x="392" y="455"/>
                    </a:lnTo>
                    <a:lnTo>
                      <a:pt x="390" y="455"/>
                    </a:lnTo>
                    <a:lnTo>
                      <a:pt x="392" y="453"/>
                    </a:lnTo>
                    <a:close/>
                    <a:moveTo>
                      <a:pt x="63" y="544"/>
                    </a:moveTo>
                    <a:lnTo>
                      <a:pt x="63" y="546"/>
                    </a:lnTo>
                    <a:lnTo>
                      <a:pt x="63" y="544"/>
                    </a:lnTo>
                    <a:close/>
                    <a:moveTo>
                      <a:pt x="288" y="488"/>
                    </a:moveTo>
                    <a:lnTo>
                      <a:pt x="290" y="488"/>
                    </a:lnTo>
                    <a:lnTo>
                      <a:pt x="288" y="488"/>
                    </a:lnTo>
                    <a:lnTo>
                      <a:pt x="288" y="490"/>
                    </a:lnTo>
                    <a:lnTo>
                      <a:pt x="286" y="490"/>
                    </a:lnTo>
                    <a:lnTo>
                      <a:pt x="284" y="490"/>
                    </a:lnTo>
                    <a:lnTo>
                      <a:pt x="286" y="490"/>
                    </a:lnTo>
                    <a:lnTo>
                      <a:pt x="286" y="488"/>
                    </a:lnTo>
                    <a:lnTo>
                      <a:pt x="288" y="488"/>
                    </a:lnTo>
                    <a:close/>
                    <a:moveTo>
                      <a:pt x="267" y="496"/>
                    </a:moveTo>
                    <a:lnTo>
                      <a:pt x="265" y="496"/>
                    </a:lnTo>
                    <a:lnTo>
                      <a:pt x="265" y="494"/>
                    </a:lnTo>
                    <a:lnTo>
                      <a:pt x="267" y="494"/>
                    </a:lnTo>
                    <a:lnTo>
                      <a:pt x="267" y="496"/>
                    </a:lnTo>
                    <a:close/>
                    <a:moveTo>
                      <a:pt x="265" y="496"/>
                    </a:moveTo>
                    <a:lnTo>
                      <a:pt x="263" y="496"/>
                    </a:lnTo>
                    <a:lnTo>
                      <a:pt x="265" y="496"/>
                    </a:lnTo>
                    <a:lnTo>
                      <a:pt x="265" y="494"/>
                    </a:lnTo>
                    <a:lnTo>
                      <a:pt x="265" y="496"/>
                    </a:lnTo>
                    <a:close/>
                    <a:moveTo>
                      <a:pt x="253" y="500"/>
                    </a:moveTo>
                    <a:lnTo>
                      <a:pt x="251" y="500"/>
                    </a:lnTo>
                    <a:lnTo>
                      <a:pt x="253" y="500"/>
                    </a:lnTo>
                    <a:lnTo>
                      <a:pt x="251" y="500"/>
                    </a:lnTo>
                    <a:lnTo>
                      <a:pt x="253" y="500"/>
                    </a:lnTo>
                    <a:lnTo>
                      <a:pt x="251" y="502"/>
                    </a:lnTo>
                    <a:lnTo>
                      <a:pt x="251" y="500"/>
                    </a:lnTo>
                    <a:lnTo>
                      <a:pt x="253" y="498"/>
                    </a:lnTo>
                    <a:lnTo>
                      <a:pt x="253" y="500"/>
                    </a:lnTo>
                    <a:close/>
                    <a:moveTo>
                      <a:pt x="403" y="450"/>
                    </a:moveTo>
                    <a:lnTo>
                      <a:pt x="401" y="450"/>
                    </a:lnTo>
                    <a:lnTo>
                      <a:pt x="403" y="450"/>
                    </a:lnTo>
                    <a:close/>
                    <a:moveTo>
                      <a:pt x="395" y="452"/>
                    </a:moveTo>
                    <a:lnTo>
                      <a:pt x="395" y="453"/>
                    </a:lnTo>
                    <a:lnTo>
                      <a:pt x="393" y="453"/>
                    </a:lnTo>
                    <a:lnTo>
                      <a:pt x="392" y="453"/>
                    </a:lnTo>
                    <a:lnTo>
                      <a:pt x="393" y="453"/>
                    </a:lnTo>
                    <a:lnTo>
                      <a:pt x="393" y="452"/>
                    </a:lnTo>
                    <a:lnTo>
                      <a:pt x="395" y="452"/>
                    </a:lnTo>
                    <a:close/>
                    <a:moveTo>
                      <a:pt x="344" y="471"/>
                    </a:moveTo>
                    <a:lnTo>
                      <a:pt x="342" y="471"/>
                    </a:lnTo>
                    <a:lnTo>
                      <a:pt x="342" y="473"/>
                    </a:lnTo>
                    <a:lnTo>
                      <a:pt x="340" y="475"/>
                    </a:lnTo>
                    <a:lnTo>
                      <a:pt x="338" y="475"/>
                    </a:lnTo>
                    <a:lnTo>
                      <a:pt x="340" y="475"/>
                    </a:lnTo>
                    <a:lnTo>
                      <a:pt x="338" y="475"/>
                    </a:lnTo>
                    <a:lnTo>
                      <a:pt x="338" y="477"/>
                    </a:lnTo>
                    <a:lnTo>
                      <a:pt x="336" y="477"/>
                    </a:lnTo>
                    <a:lnTo>
                      <a:pt x="338" y="477"/>
                    </a:lnTo>
                    <a:lnTo>
                      <a:pt x="338" y="475"/>
                    </a:lnTo>
                    <a:lnTo>
                      <a:pt x="338" y="473"/>
                    </a:lnTo>
                    <a:lnTo>
                      <a:pt x="340" y="473"/>
                    </a:lnTo>
                    <a:lnTo>
                      <a:pt x="342" y="473"/>
                    </a:lnTo>
                    <a:lnTo>
                      <a:pt x="342" y="471"/>
                    </a:lnTo>
                    <a:lnTo>
                      <a:pt x="342" y="473"/>
                    </a:lnTo>
                    <a:lnTo>
                      <a:pt x="340" y="473"/>
                    </a:lnTo>
                    <a:lnTo>
                      <a:pt x="342" y="473"/>
                    </a:lnTo>
                    <a:lnTo>
                      <a:pt x="342" y="471"/>
                    </a:lnTo>
                    <a:lnTo>
                      <a:pt x="342" y="469"/>
                    </a:lnTo>
                    <a:lnTo>
                      <a:pt x="342" y="471"/>
                    </a:lnTo>
                    <a:lnTo>
                      <a:pt x="344" y="471"/>
                    </a:lnTo>
                    <a:close/>
                    <a:moveTo>
                      <a:pt x="263" y="494"/>
                    </a:moveTo>
                    <a:lnTo>
                      <a:pt x="263" y="496"/>
                    </a:lnTo>
                    <a:lnTo>
                      <a:pt x="263" y="494"/>
                    </a:lnTo>
                    <a:close/>
                    <a:moveTo>
                      <a:pt x="246" y="500"/>
                    </a:moveTo>
                    <a:lnTo>
                      <a:pt x="247" y="500"/>
                    </a:lnTo>
                    <a:lnTo>
                      <a:pt x="246" y="500"/>
                    </a:lnTo>
                    <a:close/>
                    <a:moveTo>
                      <a:pt x="207" y="509"/>
                    </a:moveTo>
                    <a:lnTo>
                      <a:pt x="207" y="511"/>
                    </a:lnTo>
                    <a:lnTo>
                      <a:pt x="207" y="509"/>
                    </a:lnTo>
                    <a:lnTo>
                      <a:pt x="207" y="511"/>
                    </a:lnTo>
                    <a:lnTo>
                      <a:pt x="205" y="511"/>
                    </a:lnTo>
                    <a:lnTo>
                      <a:pt x="207" y="509"/>
                    </a:lnTo>
                    <a:close/>
                    <a:moveTo>
                      <a:pt x="344" y="469"/>
                    </a:moveTo>
                    <a:lnTo>
                      <a:pt x="345" y="469"/>
                    </a:lnTo>
                    <a:lnTo>
                      <a:pt x="344" y="469"/>
                    </a:lnTo>
                    <a:lnTo>
                      <a:pt x="345" y="469"/>
                    </a:lnTo>
                    <a:lnTo>
                      <a:pt x="345" y="471"/>
                    </a:lnTo>
                    <a:lnTo>
                      <a:pt x="344" y="471"/>
                    </a:lnTo>
                    <a:lnTo>
                      <a:pt x="344" y="473"/>
                    </a:lnTo>
                    <a:lnTo>
                      <a:pt x="342" y="473"/>
                    </a:lnTo>
                    <a:lnTo>
                      <a:pt x="344" y="473"/>
                    </a:lnTo>
                    <a:lnTo>
                      <a:pt x="342" y="473"/>
                    </a:lnTo>
                    <a:lnTo>
                      <a:pt x="342" y="471"/>
                    </a:lnTo>
                    <a:lnTo>
                      <a:pt x="344" y="471"/>
                    </a:lnTo>
                    <a:lnTo>
                      <a:pt x="344" y="469"/>
                    </a:lnTo>
                    <a:close/>
                    <a:moveTo>
                      <a:pt x="399" y="450"/>
                    </a:moveTo>
                    <a:lnTo>
                      <a:pt x="399" y="452"/>
                    </a:lnTo>
                    <a:lnTo>
                      <a:pt x="397" y="452"/>
                    </a:lnTo>
                    <a:lnTo>
                      <a:pt x="399" y="450"/>
                    </a:lnTo>
                    <a:close/>
                    <a:moveTo>
                      <a:pt x="205" y="509"/>
                    </a:moveTo>
                    <a:lnTo>
                      <a:pt x="207" y="509"/>
                    </a:lnTo>
                    <a:lnTo>
                      <a:pt x="205" y="509"/>
                    </a:lnTo>
                    <a:close/>
                    <a:moveTo>
                      <a:pt x="201" y="511"/>
                    </a:moveTo>
                    <a:lnTo>
                      <a:pt x="203" y="511"/>
                    </a:lnTo>
                    <a:lnTo>
                      <a:pt x="201" y="511"/>
                    </a:lnTo>
                    <a:close/>
                    <a:moveTo>
                      <a:pt x="261" y="496"/>
                    </a:moveTo>
                    <a:lnTo>
                      <a:pt x="259" y="496"/>
                    </a:lnTo>
                    <a:lnTo>
                      <a:pt x="259" y="494"/>
                    </a:lnTo>
                    <a:lnTo>
                      <a:pt x="261" y="496"/>
                    </a:lnTo>
                    <a:close/>
                    <a:moveTo>
                      <a:pt x="261" y="494"/>
                    </a:moveTo>
                    <a:lnTo>
                      <a:pt x="261" y="496"/>
                    </a:lnTo>
                    <a:lnTo>
                      <a:pt x="261" y="494"/>
                    </a:lnTo>
                    <a:close/>
                    <a:moveTo>
                      <a:pt x="399" y="450"/>
                    </a:moveTo>
                    <a:lnTo>
                      <a:pt x="399" y="448"/>
                    </a:lnTo>
                    <a:lnTo>
                      <a:pt x="401" y="450"/>
                    </a:lnTo>
                    <a:lnTo>
                      <a:pt x="399" y="450"/>
                    </a:lnTo>
                    <a:close/>
                    <a:moveTo>
                      <a:pt x="384" y="455"/>
                    </a:moveTo>
                    <a:lnTo>
                      <a:pt x="386" y="455"/>
                    </a:lnTo>
                    <a:lnTo>
                      <a:pt x="384" y="457"/>
                    </a:lnTo>
                    <a:lnTo>
                      <a:pt x="382" y="457"/>
                    </a:lnTo>
                    <a:lnTo>
                      <a:pt x="384" y="457"/>
                    </a:lnTo>
                    <a:lnTo>
                      <a:pt x="386" y="457"/>
                    </a:lnTo>
                    <a:lnTo>
                      <a:pt x="384" y="457"/>
                    </a:lnTo>
                    <a:lnTo>
                      <a:pt x="382" y="457"/>
                    </a:lnTo>
                    <a:lnTo>
                      <a:pt x="384" y="455"/>
                    </a:lnTo>
                    <a:lnTo>
                      <a:pt x="386" y="453"/>
                    </a:lnTo>
                    <a:lnTo>
                      <a:pt x="384" y="455"/>
                    </a:lnTo>
                    <a:close/>
                    <a:moveTo>
                      <a:pt x="211" y="509"/>
                    </a:moveTo>
                    <a:lnTo>
                      <a:pt x="209" y="509"/>
                    </a:lnTo>
                    <a:lnTo>
                      <a:pt x="211" y="509"/>
                    </a:lnTo>
                    <a:lnTo>
                      <a:pt x="211" y="507"/>
                    </a:lnTo>
                    <a:lnTo>
                      <a:pt x="211" y="509"/>
                    </a:lnTo>
                    <a:close/>
                    <a:moveTo>
                      <a:pt x="392" y="452"/>
                    </a:moveTo>
                    <a:lnTo>
                      <a:pt x="393" y="452"/>
                    </a:lnTo>
                    <a:lnTo>
                      <a:pt x="392" y="452"/>
                    </a:lnTo>
                    <a:close/>
                    <a:moveTo>
                      <a:pt x="63" y="542"/>
                    </a:moveTo>
                    <a:lnTo>
                      <a:pt x="61" y="542"/>
                    </a:lnTo>
                    <a:lnTo>
                      <a:pt x="63" y="542"/>
                    </a:lnTo>
                    <a:close/>
                    <a:moveTo>
                      <a:pt x="397" y="450"/>
                    </a:moveTo>
                    <a:lnTo>
                      <a:pt x="397" y="448"/>
                    </a:lnTo>
                    <a:lnTo>
                      <a:pt x="397" y="450"/>
                    </a:lnTo>
                    <a:lnTo>
                      <a:pt x="397" y="452"/>
                    </a:lnTo>
                    <a:lnTo>
                      <a:pt x="397" y="450"/>
                    </a:lnTo>
                    <a:close/>
                    <a:moveTo>
                      <a:pt x="253" y="496"/>
                    </a:moveTo>
                    <a:lnTo>
                      <a:pt x="255" y="496"/>
                    </a:lnTo>
                    <a:lnTo>
                      <a:pt x="253" y="496"/>
                    </a:lnTo>
                    <a:lnTo>
                      <a:pt x="255" y="496"/>
                    </a:lnTo>
                    <a:lnTo>
                      <a:pt x="255" y="498"/>
                    </a:lnTo>
                    <a:lnTo>
                      <a:pt x="253" y="498"/>
                    </a:lnTo>
                    <a:lnTo>
                      <a:pt x="253" y="496"/>
                    </a:lnTo>
                    <a:lnTo>
                      <a:pt x="253" y="498"/>
                    </a:lnTo>
                    <a:lnTo>
                      <a:pt x="253" y="496"/>
                    </a:lnTo>
                    <a:close/>
                    <a:moveTo>
                      <a:pt x="349" y="467"/>
                    </a:moveTo>
                    <a:lnTo>
                      <a:pt x="347" y="467"/>
                    </a:lnTo>
                    <a:lnTo>
                      <a:pt x="347" y="469"/>
                    </a:lnTo>
                    <a:lnTo>
                      <a:pt x="347" y="471"/>
                    </a:lnTo>
                    <a:lnTo>
                      <a:pt x="345" y="471"/>
                    </a:lnTo>
                    <a:lnTo>
                      <a:pt x="345" y="469"/>
                    </a:lnTo>
                    <a:lnTo>
                      <a:pt x="345" y="467"/>
                    </a:lnTo>
                    <a:lnTo>
                      <a:pt x="347" y="467"/>
                    </a:lnTo>
                    <a:lnTo>
                      <a:pt x="349" y="467"/>
                    </a:lnTo>
                    <a:close/>
                    <a:moveTo>
                      <a:pt x="247" y="498"/>
                    </a:moveTo>
                    <a:lnTo>
                      <a:pt x="249" y="498"/>
                    </a:lnTo>
                    <a:lnTo>
                      <a:pt x="247" y="498"/>
                    </a:lnTo>
                    <a:lnTo>
                      <a:pt x="249" y="498"/>
                    </a:lnTo>
                    <a:lnTo>
                      <a:pt x="249" y="500"/>
                    </a:lnTo>
                    <a:lnTo>
                      <a:pt x="247" y="500"/>
                    </a:lnTo>
                    <a:lnTo>
                      <a:pt x="246" y="498"/>
                    </a:lnTo>
                    <a:lnTo>
                      <a:pt x="247" y="498"/>
                    </a:lnTo>
                    <a:close/>
                    <a:moveTo>
                      <a:pt x="399" y="448"/>
                    </a:moveTo>
                    <a:lnTo>
                      <a:pt x="399" y="450"/>
                    </a:lnTo>
                    <a:lnTo>
                      <a:pt x="399" y="448"/>
                    </a:lnTo>
                    <a:close/>
                    <a:moveTo>
                      <a:pt x="397" y="450"/>
                    </a:moveTo>
                    <a:lnTo>
                      <a:pt x="395" y="452"/>
                    </a:lnTo>
                    <a:lnTo>
                      <a:pt x="395" y="450"/>
                    </a:lnTo>
                    <a:lnTo>
                      <a:pt x="397" y="450"/>
                    </a:lnTo>
                    <a:lnTo>
                      <a:pt x="397" y="448"/>
                    </a:lnTo>
                    <a:lnTo>
                      <a:pt x="397" y="450"/>
                    </a:lnTo>
                    <a:close/>
                    <a:moveTo>
                      <a:pt x="393" y="450"/>
                    </a:moveTo>
                    <a:lnTo>
                      <a:pt x="392" y="450"/>
                    </a:lnTo>
                    <a:lnTo>
                      <a:pt x="392" y="452"/>
                    </a:lnTo>
                    <a:lnTo>
                      <a:pt x="392" y="453"/>
                    </a:lnTo>
                    <a:lnTo>
                      <a:pt x="390" y="453"/>
                    </a:lnTo>
                    <a:lnTo>
                      <a:pt x="388" y="455"/>
                    </a:lnTo>
                    <a:lnTo>
                      <a:pt x="386" y="455"/>
                    </a:lnTo>
                    <a:lnTo>
                      <a:pt x="386" y="457"/>
                    </a:lnTo>
                    <a:lnTo>
                      <a:pt x="386" y="455"/>
                    </a:lnTo>
                    <a:lnTo>
                      <a:pt x="386" y="453"/>
                    </a:lnTo>
                    <a:lnTo>
                      <a:pt x="388" y="453"/>
                    </a:lnTo>
                    <a:lnTo>
                      <a:pt x="388" y="452"/>
                    </a:lnTo>
                    <a:lnTo>
                      <a:pt x="390" y="452"/>
                    </a:lnTo>
                    <a:lnTo>
                      <a:pt x="392" y="452"/>
                    </a:lnTo>
                    <a:lnTo>
                      <a:pt x="390" y="452"/>
                    </a:lnTo>
                    <a:lnTo>
                      <a:pt x="392" y="452"/>
                    </a:lnTo>
                    <a:lnTo>
                      <a:pt x="393" y="450"/>
                    </a:lnTo>
                    <a:close/>
                    <a:moveTo>
                      <a:pt x="344" y="469"/>
                    </a:moveTo>
                    <a:lnTo>
                      <a:pt x="344" y="471"/>
                    </a:lnTo>
                    <a:lnTo>
                      <a:pt x="342" y="469"/>
                    </a:lnTo>
                    <a:lnTo>
                      <a:pt x="344" y="467"/>
                    </a:lnTo>
                    <a:lnTo>
                      <a:pt x="344" y="469"/>
                    </a:lnTo>
                    <a:close/>
                    <a:moveTo>
                      <a:pt x="263" y="494"/>
                    </a:moveTo>
                    <a:lnTo>
                      <a:pt x="261" y="494"/>
                    </a:lnTo>
                    <a:lnTo>
                      <a:pt x="261" y="492"/>
                    </a:lnTo>
                    <a:lnTo>
                      <a:pt x="263" y="492"/>
                    </a:lnTo>
                    <a:lnTo>
                      <a:pt x="263" y="494"/>
                    </a:lnTo>
                    <a:close/>
                    <a:moveTo>
                      <a:pt x="397" y="448"/>
                    </a:moveTo>
                    <a:lnTo>
                      <a:pt x="397" y="450"/>
                    </a:lnTo>
                    <a:lnTo>
                      <a:pt x="395" y="450"/>
                    </a:lnTo>
                    <a:lnTo>
                      <a:pt x="395" y="448"/>
                    </a:lnTo>
                    <a:lnTo>
                      <a:pt x="397" y="450"/>
                    </a:lnTo>
                    <a:lnTo>
                      <a:pt x="397" y="448"/>
                    </a:lnTo>
                    <a:close/>
                    <a:moveTo>
                      <a:pt x="211" y="507"/>
                    </a:moveTo>
                    <a:lnTo>
                      <a:pt x="209" y="507"/>
                    </a:lnTo>
                    <a:lnTo>
                      <a:pt x="209" y="509"/>
                    </a:lnTo>
                    <a:lnTo>
                      <a:pt x="207" y="509"/>
                    </a:lnTo>
                    <a:lnTo>
                      <a:pt x="209" y="509"/>
                    </a:lnTo>
                    <a:lnTo>
                      <a:pt x="209" y="507"/>
                    </a:lnTo>
                    <a:lnTo>
                      <a:pt x="211" y="507"/>
                    </a:lnTo>
                    <a:lnTo>
                      <a:pt x="209" y="507"/>
                    </a:lnTo>
                    <a:lnTo>
                      <a:pt x="211" y="507"/>
                    </a:lnTo>
                    <a:close/>
                    <a:moveTo>
                      <a:pt x="207" y="507"/>
                    </a:moveTo>
                    <a:lnTo>
                      <a:pt x="207" y="509"/>
                    </a:lnTo>
                    <a:lnTo>
                      <a:pt x="205" y="509"/>
                    </a:lnTo>
                    <a:lnTo>
                      <a:pt x="207" y="509"/>
                    </a:lnTo>
                    <a:lnTo>
                      <a:pt x="205" y="509"/>
                    </a:lnTo>
                    <a:lnTo>
                      <a:pt x="207" y="509"/>
                    </a:lnTo>
                    <a:lnTo>
                      <a:pt x="205" y="509"/>
                    </a:lnTo>
                    <a:lnTo>
                      <a:pt x="205" y="511"/>
                    </a:lnTo>
                    <a:lnTo>
                      <a:pt x="203" y="511"/>
                    </a:lnTo>
                    <a:lnTo>
                      <a:pt x="201" y="511"/>
                    </a:lnTo>
                    <a:lnTo>
                      <a:pt x="203" y="511"/>
                    </a:lnTo>
                    <a:lnTo>
                      <a:pt x="203" y="509"/>
                    </a:lnTo>
                    <a:lnTo>
                      <a:pt x="205" y="509"/>
                    </a:lnTo>
                    <a:lnTo>
                      <a:pt x="205" y="507"/>
                    </a:lnTo>
                    <a:lnTo>
                      <a:pt x="207" y="507"/>
                    </a:lnTo>
                    <a:close/>
                    <a:moveTo>
                      <a:pt x="393" y="452"/>
                    </a:moveTo>
                    <a:lnTo>
                      <a:pt x="393" y="450"/>
                    </a:lnTo>
                    <a:lnTo>
                      <a:pt x="393" y="452"/>
                    </a:lnTo>
                    <a:close/>
                    <a:moveTo>
                      <a:pt x="393" y="448"/>
                    </a:moveTo>
                    <a:lnTo>
                      <a:pt x="393" y="450"/>
                    </a:lnTo>
                    <a:lnTo>
                      <a:pt x="393" y="448"/>
                    </a:lnTo>
                    <a:close/>
                    <a:moveTo>
                      <a:pt x="386" y="452"/>
                    </a:moveTo>
                    <a:lnTo>
                      <a:pt x="386" y="453"/>
                    </a:lnTo>
                    <a:lnTo>
                      <a:pt x="386" y="452"/>
                    </a:lnTo>
                    <a:close/>
                    <a:moveTo>
                      <a:pt x="395" y="452"/>
                    </a:moveTo>
                    <a:lnTo>
                      <a:pt x="393" y="452"/>
                    </a:lnTo>
                    <a:lnTo>
                      <a:pt x="393" y="453"/>
                    </a:lnTo>
                    <a:lnTo>
                      <a:pt x="393" y="452"/>
                    </a:lnTo>
                    <a:lnTo>
                      <a:pt x="393" y="450"/>
                    </a:lnTo>
                    <a:lnTo>
                      <a:pt x="395" y="450"/>
                    </a:lnTo>
                    <a:lnTo>
                      <a:pt x="393" y="450"/>
                    </a:lnTo>
                    <a:lnTo>
                      <a:pt x="393" y="452"/>
                    </a:lnTo>
                    <a:lnTo>
                      <a:pt x="393" y="450"/>
                    </a:lnTo>
                    <a:lnTo>
                      <a:pt x="393" y="452"/>
                    </a:lnTo>
                    <a:lnTo>
                      <a:pt x="393" y="450"/>
                    </a:lnTo>
                    <a:lnTo>
                      <a:pt x="395" y="450"/>
                    </a:lnTo>
                    <a:lnTo>
                      <a:pt x="393" y="450"/>
                    </a:lnTo>
                    <a:lnTo>
                      <a:pt x="395" y="450"/>
                    </a:lnTo>
                    <a:lnTo>
                      <a:pt x="395" y="448"/>
                    </a:lnTo>
                    <a:lnTo>
                      <a:pt x="395" y="450"/>
                    </a:lnTo>
                    <a:lnTo>
                      <a:pt x="393" y="450"/>
                    </a:lnTo>
                    <a:lnTo>
                      <a:pt x="393" y="448"/>
                    </a:lnTo>
                    <a:lnTo>
                      <a:pt x="395" y="448"/>
                    </a:lnTo>
                    <a:lnTo>
                      <a:pt x="397" y="448"/>
                    </a:lnTo>
                    <a:lnTo>
                      <a:pt x="395" y="448"/>
                    </a:lnTo>
                    <a:lnTo>
                      <a:pt x="395" y="450"/>
                    </a:lnTo>
                    <a:lnTo>
                      <a:pt x="393" y="452"/>
                    </a:lnTo>
                    <a:lnTo>
                      <a:pt x="395" y="452"/>
                    </a:lnTo>
                    <a:lnTo>
                      <a:pt x="395" y="450"/>
                    </a:lnTo>
                    <a:lnTo>
                      <a:pt x="395" y="452"/>
                    </a:lnTo>
                    <a:close/>
                    <a:moveTo>
                      <a:pt x="259" y="492"/>
                    </a:moveTo>
                    <a:lnTo>
                      <a:pt x="261" y="492"/>
                    </a:lnTo>
                    <a:lnTo>
                      <a:pt x="261" y="494"/>
                    </a:lnTo>
                    <a:lnTo>
                      <a:pt x="261" y="492"/>
                    </a:lnTo>
                    <a:lnTo>
                      <a:pt x="261" y="494"/>
                    </a:lnTo>
                    <a:lnTo>
                      <a:pt x="259" y="494"/>
                    </a:lnTo>
                    <a:lnTo>
                      <a:pt x="259" y="492"/>
                    </a:lnTo>
                    <a:close/>
                    <a:moveTo>
                      <a:pt x="251" y="494"/>
                    </a:moveTo>
                    <a:lnTo>
                      <a:pt x="251" y="496"/>
                    </a:lnTo>
                    <a:lnTo>
                      <a:pt x="253" y="496"/>
                    </a:lnTo>
                    <a:lnTo>
                      <a:pt x="253" y="498"/>
                    </a:lnTo>
                    <a:lnTo>
                      <a:pt x="251" y="498"/>
                    </a:lnTo>
                    <a:lnTo>
                      <a:pt x="251" y="500"/>
                    </a:lnTo>
                    <a:lnTo>
                      <a:pt x="249" y="500"/>
                    </a:lnTo>
                    <a:lnTo>
                      <a:pt x="249" y="498"/>
                    </a:lnTo>
                    <a:lnTo>
                      <a:pt x="249" y="496"/>
                    </a:lnTo>
                    <a:lnTo>
                      <a:pt x="251" y="496"/>
                    </a:lnTo>
                    <a:lnTo>
                      <a:pt x="249" y="496"/>
                    </a:lnTo>
                    <a:lnTo>
                      <a:pt x="249" y="494"/>
                    </a:lnTo>
                    <a:lnTo>
                      <a:pt x="251" y="494"/>
                    </a:lnTo>
                    <a:close/>
                    <a:moveTo>
                      <a:pt x="249" y="496"/>
                    </a:moveTo>
                    <a:lnTo>
                      <a:pt x="249" y="494"/>
                    </a:lnTo>
                    <a:lnTo>
                      <a:pt x="249" y="496"/>
                    </a:lnTo>
                    <a:close/>
                    <a:moveTo>
                      <a:pt x="376" y="455"/>
                    </a:moveTo>
                    <a:lnTo>
                      <a:pt x="374" y="455"/>
                    </a:lnTo>
                    <a:lnTo>
                      <a:pt x="376" y="453"/>
                    </a:lnTo>
                    <a:lnTo>
                      <a:pt x="376" y="455"/>
                    </a:lnTo>
                    <a:close/>
                    <a:moveTo>
                      <a:pt x="186" y="511"/>
                    </a:moveTo>
                    <a:lnTo>
                      <a:pt x="186" y="513"/>
                    </a:lnTo>
                    <a:lnTo>
                      <a:pt x="186" y="511"/>
                    </a:lnTo>
                    <a:close/>
                    <a:moveTo>
                      <a:pt x="255" y="494"/>
                    </a:moveTo>
                    <a:lnTo>
                      <a:pt x="253" y="494"/>
                    </a:lnTo>
                    <a:lnTo>
                      <a:pt x="255" y="494"/>
                    </a:lnTo>
                    <a:lnTo>
                      <a:pt x="253" y="494"/>
                    </a:lnTo>
                    <a:lnTo>
                      <a:pt x="253" y="496"/>
                    </a:lnTo>
                    <a:lnTo>
                      <a:pt x="253" y="494"/>
                    </a:lnTo>
                    <a:lnTo>
                      <a:pt x="253" y="496"/>
                    </a:lnTo>
                    <a:lnTo>
                      <a:pt x="253" y="494"/>
                    </a:lnTo>
                    <a:lnTo>
                      <a:pt x="253" y="496"/>
                    </a:lnTo>
                    <a:lnTo>
                      <a:pt x="253" y="494"/>
                    </a:lnTo>
                    <a:lnTo>
                      <a:pt x="253" y="496"/>
                    </a:lnTo>
                    <a:lnTo>
                      <a:pt x="253" y="494"/>
                    </a:lnTo>
                    <a:lnTo>
                      <a:pt x="255" y="494"/>
                    </a:lnTo>
                    <a:close/>
                    <a:moveTo>
                      <a:pt x="257" y="492"/>
                    </a:moveTo>
                    <a:lnTo>
                      <a:pt x="257" y="494"/>
                    </a:lnTo>
                    <a:lnTo>
                      <a:pt x="255" y="494"/>
                    </a:lnTo>
                    <a:lnTo>
                      <a:pt x="255" y="492"/>
                    </a:lnTo>
                    <a:lnTo>
                      <a:pt x="257" y="492"/>
                    </a:lnTo>
                    <a:close/>
                    <a:moveTo>
                      <a:pt x="380" y="453"/>
                    </a:moveTo>
                    <a:lnTo>
                      <a:pt x="380" y="452"/>
                    </a:lnTo>
                    <a:lnTo>
                      <a:pt x="380" y="453"/>
                    </a:lnTo>
                    <a:close/>
                    <a:moveTo>
                      <a:pt x="395" y="448"/>
                    </a:moveTo>
                    <a:lnTo>
                      <a:pt x="393" y="448"/>
                    </a:lnTo>
                    <a:lnTo>
                      <a:pt x="395" y="448"/>
                    </a:lnTo>
                    <a:close/>
                    <a:moveTo>
                      <a:pt x="209" y="507"/>
                    </a:moveTo>
                    <a:lnTo>
                      <a:pt x="207" y="507"/>
                    </a:lnTo>
                    <a:lnTo>
                      <a:pt x="207" y="505"/>
                    </a:lnTo>
                    <a:lnTo>
                      <a:pt x="209" y="505"/>
                    </a:lnTo>
                    <a:lnTo>
                      <a:pt x="209" y="507"/>
                    </a:lnTo>
                    <a:close/>
                    <a:moveTo>
                      <a:pt x="209" y="505"/>
                    </a:moveTo>
                    <a:lnTo>
                      <a:pt x="207" y="505"/>
                    </a:lnTo>
                    <a:lnTo>
                      <a:pt x="209" y="505"/>
                    </a:lnTo>
                    <a:close/>
                    <a:moveTo>
                      <a:pt x="388" y="450"/>
                    </a:moveTo>
                    <a:lnTo>
                      <a:pt x="386" y="450"/>
                    </a:lnTo>
                    <a:lnTo>
                      <a:pt x="388" y="450"/>
                    </a:lnTo>
                    <a:lnTo>
                      <a:pt x="386" y="450"/>
                    </a:lnTo>
                    <a:lnTo>
                      <a:pt x="386" y="452"/>
                    </a:lnTo>
                    <a:lnTo>
                      <a:pt x="386" y="450"/>
                    </a:lnTo>
                    <a:lnTo>
                      <a:pt x="388" y="450"/>
                    </a:lnTo>
                    <a:close/>
                    <a:moveTo>
                      <a:pt x="278" y="486"/>
                    </a:moveTo>
                    <a:lnTo>
                      <a:pt x="278" y="484"/>
                    </a:lnTo>
                    <a:lnTo>
                      <a:pt x="278" y="486"/>
                    </a:lnTo>
                    <a:close/>
                    <a:moveTo>
                      <a:pt x="392" y="448"/>
                    </a:moveTo>
                    <a:lnTo>
                      <a:pt x="393" y="448"/>
                    </a:lnTo>
                    <a:lnTo>
                      <a:pt x="393" y="450"/>
                    </a:lnTo>
                    <a:lnTo>
                      <a:pt x="393" y="448"/>
                    </a:lnTo>
                    <a:lnTo>
                      <a:pt x="392" y="448"/>
                    </a:lnTo>
                    <a:close/>
                    <a:moveTo>
                      <a:pt x="393" y="446"/>
                    </a:moveTo>
                    <a:lnTo>
                      <a:pt x="393" y="448"/>
                    </a:lnTo>
                    <a:lnTo>
                      <a:pt x="393" y="446"/>
                    </a:lnTo>
                    <a:close/>
                    <a:moveTo>
                      <a:pt x="192" y="509"/>
                    </a:moveTo>
                    <a:lnTo>
                      <a:pt x="194" y="509"/>
                    </a:lnTo>
                    <a:lnTo>
                      <a:pt x="196" y="509"/>
                    </a:lnTo>
                    <a:lnTo>
                      <a:pt x="194" y="509"/>
                    </a:lnTo>
                    <a:lnTo>
                      <a:pt x="196" y="509"/>
                    </a:lnTo>
                    <a:lnTo>
                      <a:pt x="196" y="511"/>
                    </a:lnTo>
                    <a:lnTo>
                      <a:pt x="194" y="511"/>
                    </a:lnTo>
                    <a:lnTo>
                      <a:pt x="196" y="513"/>
                    </a:lnTo>
                    <a:lnTo>
                      <a:pt x="194" y="513"/>
                    </a:lnTo>
                    <a:lnTo>
                      <a:pt x="196" y="513"/>
                    </a:lnTo>
                    <a:lnTo>
                      <a:pt x="194" y="513"/>
                    </a:lnTo>
                    <a:lnTo>
                      <a:pt x="194" y="511"/>
                    </a:lnTo>
                    <a:lnTo>
                      <a:pt x="192" y="511"/>
                    </a:lnTo>
                    <a:lnTo>
                      <a:pt x="192" y="509"/>
                    </a:lnTo>
                    <a:close/>
                    <a:moveTo>
                      <a:pt x="192" y="509"/>
                    </a:moveTo>
                    <a:lnTo>
                      <a:pt x="190" y="509"/>
                    </a:lnTo>
                    <a:lnTo>
                      <a:pt x="192" y="509"/>
                    </a:lnTo>
                    <a:lnTo>
                      <a:pt x="192" y="511"/>
                    </a:lnTo>
                    <a:lnTo>
                      <a:pt x="192" y="509"/>
                    </a:lnTo>
                    <a:lnTo>
                      <a:pt x="192" y="511"/>
                    </a:lnTo>
                    <a:lnTo>
                      <a:pt x="190" y="511"/>
                    </a:lnTo>
                    <a:lnTo>
                      <a:pt x="188" y="511"/>
                    </a:lnTo>
                    <a:lnTo>
                      <a:pt x="188" y="509"/>
                    </a:lnTo>
                    <a:lnTo>
                      <a:pt x="190" y="509"/>
                    </a:lnTo>
                    <a:lnTo>
                      <a:pt x="192" y="509"/>
                    </a:lnTo>
                    <a:close/>
                    <a:moveTo>
                      <a:pt x="276" y="484"/>
                    </a:moveTo>
                    <a:lnTo>
                      <a:pt x="276" y="486"/>
                    </a:lnTo>
                    <a:lnTo>
                      <a:pt x="276" y="484"/>
                    </a:lnTo>
                    <a:close/>
                    <a:moveTo>
                      <a:pt x="384" y="455"/>
                    </a:moveTo>
                    <a:lnTo>
                      <a:pt x="384" y="453"/>
                    </a:lnTo>
                    <a:lnTo>
                      <a:pt x="384" y="452"/>
                    </a:lnTo>
                    <a:lnTo>
                      <a:pt x="384" y="450"/>
                    </a:lnTo>
                    <a:lnTo>
                      <a:pt x="386" y="450"/>
                    </a:lnTo>
                    <a:lnTo>
                      <a:pt x="386" y="448"/>
                    </a:lnTo>
                    <a:lnTo>
                      <a:pt x="386" y="450"/>
                    </a:lnTo>
                    <a:lnTo>
                      <a:pt x="386" y="448"/>
                    </a:lnTo>
                    <a:lnTo>
                      <a:pt x="386" y="450"/>
                    </a:lnTo>
                    <a:lnTo>
                      <a:pt x="388" y="450"/>
                    </a:lnTo>
                    <a:lnTo>
                      <a:pt x="386" y="450"/>
                    </a:lnTo>
                    <a:lnTo>
                      <a:pt x="386" y="452"/>
                    </a:lnTo>
                    <a:lnTo>
                      <a:pt x="386" y="453"/>
                    </a:lnTo>
                    <a:lnTo>
                      <a:pt x="384" y="453"/>
                    </a:lnTo>
                    <a:lnTo>
                      <a:pt x="384" y="455"/>
                    </a:lnTo>
                    <a:close/>
                    <a:moveTo>
                      <a:pt x="388" y="448"/>
                    </a:moveTo>
                    <a:lnTo>
                      <a:pt x="388" y="450"/>
                    </a:lnTo>
                    <a:lnTo>
                      <a:pt x="388" y="448"/>
                    </a:lnTo>
                    <a:close/>
                    <a:moveTo>
                      <a:pt x="276" y="484"/>
                    </a:moveTo>
                    <a:lnTo>
                      <a:pt x="276" y="486"/>
                    </a:lnTo>
                    <a:lnTo>
                      <a:pt x="274" y="486"/>
                    </a:lnTo>
                    <a:lnTo>
                      <a:pt x="274" y="484"/>
                    </a:lnTo>
                    <a:lnTo>
                      <a:pt x="276" y="484"/>
                    </a:lnTo>
                    <a:close/>
                    <a:moveTo>
                      <a:pt x="188" y="509"/>
                    </a:moveTo>
                    <a:lnTo>
                      <a:pt x="188" y="511"/>
                    </a:lnTo>
                    <a:lnTo>
                      <a:pt x="186" y="511"/>
                    </a:lnTo>
                    <a:lnTo>
                      <a:pt x="188" y="511"/>
                    </a:lnTo>
                    <a:lnTo>
                      <a:pt x="186" y="511"/>
                    </a:lnTo>
                    <a:lnTo>
                      <a:pt x="188" y="511"/>
                    </a:lnTo>
                    <a:lnTo>
                      <a:pt x="186" y="511"/>
                    </a:lnTo>
                    <a:lnTo>
                      <a:pt x="184" y="511"/>
                    </a:lnTo>
                    <a:lnTo>
                      <a:pt x="184" y="509"/>
                    </a:lnTo>
                    <a:lnTo>
                      <a:pt x="186" y="509"/>
                    </a:lnTo>
                    <a:lnTo>
                      <a:pt x="188" y="509"/>
                    </a:lnTo>
                    <a:lnTo>
                      <a:pt x="186" y="509"/>
                    </a:lnTo>
                    <a:lnTo>
                      <a:pt x="188" y="509"/>
                    </a:lnTo>
                    <a:close/>
                    <a:moveTo>
                      <a:pt x="390" y="446"/>
                    </a:moveTo>
                    <a:lnTo>
                      <a:pt x="392" y="446"/>
                    </a:lnTo>
                    <a:lnTo>
                      <a:pt x="392" y="448"/>
                    </a:lnTo>
                    <a:lnTo>
                      <a:pt x="393" y="448"/>
                    </a:lnTo>
                    <a:lnTo>
                      <a:pt x="393" y="450"/>
                    </a:lnTo>
                    <a:lnTo>
                      <a:pt x="392" y="450"/>
                    </a:lnTo>
                    <a:lnTo>
                      <a:pt x="393" y="450"/>
                    </a:lnTo>
                    <a:lnTo>
                      <a:pt x="392" y="450"/>
                    </a:lnTo>
                    <a:lnTo>
                      <a:pt x="392" y="452"/>
                    </a:lnTo>
                    <a:lnTo>
                      <a:pt x="390" y="452"/>
                    </a:lnTo>
                    <a:lnTo>
                      <a:pt x="388" y="452"/>
                    </a:lnTo>
                    <a:lnTo>
                      <a:pt x="388" y="453"/>
                    </a:lnTo>
                    <a:lnTo>
                      <a:pt x="388" y="452"/>
                    </a:lnTo>
                    <a:lnTo>
                      <a:pt x="388" y="453"/>
                    </a:lnTo>
                    <a:lnTo>
                      <a:pt x="388" y="452"/>
                    </a:lnTo>
                    <a:lnTo>
                      <a:pt x="388" y="453"/>
                    </a:lnTo>
                    <a:lnTo>
                      <a:pt x="388" y="452"/>
                    </a:lnTo>
                    <a:lnTo>
                      <a:pt x="388" y="450"/>
                    </a:lnTo>
                    <a:lnTo>
                      <a:pt x="388" y="448"/>
                    </a:lnTo>
                    <a:lnTo>
                      <a:pt x="390" y="448"/>
                    </a:lnTo>
                    <a:lnTo>
                      <a:pt x="390" y="446"/>
                    </a:lnTo>
                    <a:close/>
                    <a:moveTo>
                      <a:pt x="205" y="503"/>
                    </a:moveTo>
                    <a:lnTo>
                      <a:pt x="205" y="505"/>
                    </a:lnTo>
                    <a:lnTo>
                      <a:pt x="203" y="505"/>
                    </a:lnTo>
                    <a:lnTo>
                      <a:pt x="205" y="503"/>
                    </a:lnTo>
                    <a:close/>
                    <a:moveTo>
                      <a:pt x="384" y="450"/>
                    </a:moveTo>
                    <a:lnTo>
                      <a:pt x="382" y="450"/>
                    </a:lnTo>
                    <a:lnTo>
                      <a:pt x="382" y="452"/>
                    </a:lnTo>
                    <a:lnTo>
                      <a:pt x="380" y="452"/>
                    </a:lnTo>
                    <a:lnTo>
                      <a:pt x="380" y="450"/>
                    </a:lnTo>
                    <a:lnTo>
                      <a:pt x="382" y="450"/>
                    </a:lnTo>
                    <a:lnTo>
                      <a:pt x="384" y="450"/>
                    </a:lnTo>
                    <a:lnTo>
                      <a:pt x="384" y="448"/>
                    </a:lnTo>
                    <a:lnTo>
                      <a:pt x="384" y="450"/>
                    </a:lnTo>
                    <a:close/>
                    <a:moveTo>
                      <a:pt x="203" y="503"/>
                    </a:moveTo>
                    <a:lnTo>
                      <a:pt x="205" y="503"/>
                    </a:lnTo>
                    <a:lnTo>
                      <a:pt x="203" y="503"/>
                    </a:lnTo>
                    <a:close/>
                    <a:moveTo>
                      <a:pt x="386" y="448"/>
                    </a:moveTo>
                    <a:lnTo>
                      <a:pt x="386" y="450"/>
                    </a:lnTo>
                    <a:lnTo>
                      <a:pt x="384" y="450"/>
                    </a:lnTo>
                    <a:lnTo>
                      <a:pt x="384" y="452"/>
                    </a:lnTo>
                    <a:lnTo>
                      <a:pt x="384" y="450"/>
                    </a:lnTo>
                    <a:lnTo>
                      <a:pt x="384" y="448"/>
                    </a:lnTo>
                    <a:lnTo>
                      <a:pt x="386" y="448"/>
                    </a:lnTo>
                    <a:close/>
                    <a:moveTo>
                      <a:pt x="388" y="446"/>
                    </a:moveTo>
                    <a:lnTo>
                      <a:pt x="388" y="448"/>
                    </a:lnTo>
                    <a:lnTo>
                      <a:pt x="388" y="446"/>
                    </a:lnTo>
                    <a:lnTo>
                      <a:pt x="388" y="448"/>
                    </a:lnTo>
                    <a:lnTo>
                      <a:pt x="388" y="446"/>
                    </a:lnTo>
                    <a:lnTo>
                      <a:pt x="388" y="448"/>
                    </a:lnTo>
                    <a:lnTo>
                      <a:pt x="386" y="448"/>
                    </a:lnTo>
                    <a:lnTo>
                      <a:pt x="388" y="448"/>
                    </a:lnTo>
                    <a:lnTo>
                      <a:pt x="388" y="446"/>
                    </a:lnTo>
                    <a:close/>
                    <a:moveTo>
                      <a:pt x="174" y="511"/>
                    </a:moveTo>
                    <a:lnTo>
                      <a:pt x="176" y="511"/>
                    </a:lnTo>
                    <a:lnTo>
                      <a:pt x="174" y="511"/>
                    </a:lnTo>
                    <a:close/>
                    <a:moveTo>
                      <a:pt x="190" y="507"/>
                    </a:moveTo>
                    <a:lnTo>
                      <a:pt x="188" y="507"/>
                    </a:lnTo>
                    <a:lnTo>
                      <a:pt x="190" y="507"/>
                    </a:lnTo>
                    <a:close/>
                    <a:moveTo>
                      <a:pt x="90" y="530"/>
                    </a:moveTo>
                    <a:lnTo>
                      <a:pt x="88" y="530"/>
                    </a:lnTo>
                    <a:lnTo>
                      <a:pt x="90" y="530"/>
                    </a:lnTo>
                    <a:close/>
                    <a:moveTo>
                      <a:pt x="201" y="503"/>
                    </a:moveTo>
                    <a:lnTo>
                      <a:pt x="203" y="503"/>
                    </a:lnTo>
                    <a:lnTo>
                      <a:pt x="203" y="505"/>
                    </a:lnTo>
                    <a:lnTo>
                      <a:pt x="201" y="505"/>
                    </a:lnTo>
                    <a:lnTo>
                      <a:pt x="203" y="505"/>
                    </a:lnTo>
                    <a:lnTo>
                      <a:pt x="201" y="505"/>
                    </a:lnTo>
                    <a:lnTo>
                      <a:pt x="201" y="503"/>
                    </a:lnTo>
                    <a:lnTo>
                      <a:pt x="201" y="505"/>
                    </a:lnTo>
                    <a:lnTo>
                      <a:pt x="199" y="505"/>
                    </a:lnTo>
                    <a:lnTo>
                      <a:pt x="199" y="503"/>
                    </a:lnTo>
                    <a:lnTo>
                      <a:pt x="201" y="503"/>
                    </a:lnTo>
                    <a:close/>
                    <a:moveTo>
                      <a:pt x="198" y="503"/>
                    </a:moveTo>
                    <a:lnTo>
                      <a:pt x="198" y="505"/>
                    </a:lnTo>
                    <a:lnTo>
                      <a:pt x="199" y="505"/>
                    </a:lnTo>
                    <a:lnTo>
                      <a:pt x="199" y="507"/>
                    </a:lnTo>
                    <a:lnTo>
                      <a:pt x="198" y="507"/>
                    </a:lnTo>
                    <a:lnTo>
                      <a:pt x="198" y="505"/>
                    </a:lnTo>
                    <a:lnTo>
                      <a:pt x="198" y="503"/>
                    </a:lnTo>
                    <a:close/>
                    <a:moveTo>
                      <a:pt x="190" y="505"/>
                    </a:moveTo>
                    <a:lnTo>
                      <a:pt x="190" y="507"/>
                    </a:lnTo>
                    <a:lnTo>
                      <a:pt x="190" y="505"/>
                    </a:lnTo>
                    <a:lnTo>
                      <a:pt x="190" y="507"/>
                    </a:lnTo>
                    <a:lnTo>
                      <a:pt x="190" y="505"/>
                    </a:lnTo>
                    <a:close/>
                    <a:moveTo>
                      <a:pt x="198" y="503"/>
                    </a:moveTo>
                    <a:lnTo>
                      <a:pt x="198" y="505"/>
                    </a:lnTo>
                    <a:lnTo>
                      <a:pt x="196" y="505"/>
                    </a:lnTo>
                    <a:lnTo>
                      <a:pt x="196" y="503"/>
                    </a:lnTo>
                    <a:lnTo>
                      <a:pt x="198" y="503"/>
                    </a:lnTo>
                    <a:close/>
                    <a:moveTo>
                      <a:pt x="198" y="503"/>
                    </a:moveTo>
                    <a:lnTo>
                      <a:pt x="199" y="503"/>
                    </a:lnTo>
                    <a:lnTo>
                      <a:pt x="199" y="505"/>
                    </a:lnTo>
                    <a:lnTo>
                      <a:pt x="198" y="505"/>
                    </a:lnTo>
                    <a:lnTo>
                      <a:pt x="198" y="503"/>
                    </a:lnTo>
                    <a:close/>
                    <a:moveTo>
                      <a:pt x="194" y="505"/>
                    </a:moveTo>
                    <a:lnTo>
                      <a:pt x="194" y="507"/>
                    </a:lnTo>
                    <a:lnTo>
                      <a:pt x="194" y="505"/>
                    </a:lnTo>
                    <a:lnTo>
                      <a:pt x="194" y="507"/>
                    </a:lnTo>
                    <a:lnTo>
                      <a:pt x="194" y="505"/>
                    </a:lnTo>
                    <a:lnTo>
                      <a:pt x="192" y="505"/>
                    </a:lnTo>
                    <a:lnTo>
                      <a:pt x="194" y="505"/>
                    </a:lnTo>
                    <a:close/>
                    <a:moveTo>
                      <a:pt x="374" y="450"/>
                    </a:moveTo>
                    <a:lnTo>
                      <a:pt x="376" y="450"/>
                    </a:lnTo>
                    <a:lnTo>
                      <a:pt x="374" y="450"/>
                    </a:lnTo>
                    <a:close/>
                    <a:moveTo>
                      <a:pt x="194" y="505"/>
                    </a:moveTo>
                    <a:lnTo>
                      <a:pt x="194" y="503"/>
                    </a:lnTo>
                    <a:lnTo>
                      <a:pt x="194" y="505"/>
                    </a:lnTo>
                    <a:close/>
                    <a:moveTo>
                      <a:pt x="386" y="444"/>
                    </a:moveTo>
                    <a:lnTo>
                      <a:pt x="388" y="444"/>
                    </a:lnTo>
                    <a:lnTo>
                      <a:pt x="388" y="446"/>
                    </a:lnTo>
                    <a:lnTo>
                      <a:pt x="386" y="446"/>
                    </a:lnTo>
                    <a:lnTo>
                      <a:pt x="386" y="448"/>
                    </a:lnTo>
                    <a:lnTo>
                      <a:pt x="386" y="446"/>
                    </a:lnTo>
                    <a:lnTo>
                      <a:pt x="384" y="448"/>
                    </a:lnTo>
                    <a:lnTo>
                      <a:pt x="384" y="446"/>
                    </a:lnTo>
                    <a:lnTo>
                      <a:pt x="386" y="446"/>
                    </a:lnTo>
                    <a:lnTo>
                      <a:pt x="386" y="444"/>
                    </a:lnTo>
                    <a:lnTo>
                      <a:pt x="388" y="444"/>
                    </a:lnTo>
                    <a:lnTo>
                      <a:pt x="386" y="444"/>
                    </a:lnTo>
                    <a:close/>
                    <a:moveTo>
                      <a:pt x="192" y="503"/>
                    </a:moveTo>
                    <a:lnTo>
                      <a:pt x="192" y="505"/>
                    </a:lnTo>
                    <a:lnTo>
                      <a:pt x="192" y="503"/>
                    </a:lnTo>
                    <a:close/>
                    <a:moveTo>
                      <a:pt x="367" y="452"/>
                    </a:moveTo>
                    <a:lnTo>
                      <a:pt x="367" y="453"/>
                    </a:lnTo>
                    <a:lnTo>
                      <a:pt x="367" y="455"/>
                    </a:lnTo>
                    <a:lnTo>
                      <a:pt x="365" y="455"/>
                    </a:lnTo>
                    <a:lnTo>
                      <a:pt x="365" y="457"/>
                    </a:lnTo>
                    <a:lnTo>
                      <a:pt x="367" y="457"/>
                    </a:lnTo>
                    <a:lnTo>
                      <a:pt x="365" y="457"/>
                    </a:lnTo>
                    <a:lnTo>
                      <a:pt x="365" y="459"/>
                    </a:lnTo>
                    <a:lnTo>
                      <a:pt x="363" y="457"/>
                    </a:lnTo>
                    <a:lnTo>
                      <a:pt x="363" y="459"/>
                    </a:lnTo>
                    <a:lnTo>
                      <a:pt x="361" y="459"/>
                    </a:lnTo>
                    <a:lnTo>
                      <a:pt x="363" y="459"/>
                    </a:lnTo>
                    <a:lnTo>
                      <a:pt x="363" y="457"/>
                    </a:lnTo>
                    <a:lnTo>
                      <a:pt x="365" y="457"/>
                    </a:lnTo>
                    <a:lnTo>
                      <a:pt x="365" y="455"/>
                    </a:lnTo>
                    <a:lnTo>
                      <a:pt x="367" y="455"/>
                    </a:lnTo>
                    <a:lnTo>
                      <a:pt x="367" y="453"/>
                    </a:lnTo>
                    <a:lnTo>
                      <a:pt x="365" y="453"/>
                    </a:lnTo>
                    <a:lnTo>
                      <a:pt x="367" y="452"/>
                    </a:lnTo>
                    <a:close/>
                    <a:moveTo>
                      <a:pt x="194" y="503"/>
                    </a:moveTo>
                    <a:lnTo>
                      <a:pt x="194" y="505"/>
                    </a:lnTo>
                    <a:lnTo>
                      <a:pt x="192" y="503"/>
                    </a:lnTo>
                    <a:lnTo>
                      <a:pt x="194" y="503"/>
                    </a:lnTo>
                    <a:close/>
                    <a:moveTo>
                      <a:pt x="386" y="444"/>
                    </a:moveTo>
                    <a:lnTo>
                      <a:pt x="386" y="446"/>
                    </a:lnTo>
                    <a:lnTo>
                      <a:pt x="384" y="446"/>
                    </a:lnTo>
                    <a:lnTo>
                      <a:pt x="386" y="446"/>
                    </a:lnTo>
                    <a:lnTo>
                      <a:pt x="386" y="444"/>
                    </a:lnTo>
                    <a:close/>
                    <a:moveTo>
                      <a:pt x="340" y="459"/>
                    </a:moveTo>
                    <a:lnTo>
                      <a:pt x="342" y="459"/>
                    </a:lnTo>
                    <a:lnTo>
                      <a:pt x="342" y="461"/>
                    </a:lnTo>
                    <a:lnTo>
                      <a:pt x="340" y="461"/>
                    </a:lnTo>
                    <a:lnTo>
                      <a:pt x="340" y="459"/>
                    </a:lnTo>
                    <a:close/>
                    <a:moveTo>
                      <a:pt x="349" y="457"/>
                    </a:moveTo>
                    <a:lnTo>
                      <a:pt x="349" y="455"/>
                    </a:lnTo>
                    <a:lnTo>
                      <a:pt x="349" y="457"/>
                    </a:lnTo>
                    <a:close/>
                    <a:moveTo>
                      <a:pt x="372" y="448"/>
                    </a:moveTo>
                    <a:lnTo>
                      <a:pt x="370" y="450"/>
                    </a:lnTo>
                    <a:lnTo>
                      <a:pt x="372" y="450"/>
                    </a:lnTo>
                    <a:lnTo>
                      <a:pt x="372" y="448"/>
                    </a:lnTo>
                    <a:lnTo>
                      <a:pt x="374" y="448"/>
                    </a:lnTo>
                    <a:lnTo>
                      <a:pt x="372" y="448"/>
                    </a:lnTo>
                    <a:lnTo>
                      <a:pt x="374" y="448"/>
                    </a:lnTo>
                    <a:lnTo>
                      <a:pt x="374" y="450"/>
                    </a:lnTo>
                    <a:lnTo>
                      <a:pt x="372" y="450"/>
                    </a:lnTo>
                    <a:lnTo>
                      <a:pt x="372" y="452"/>
                    </a:lnTo>
                    <a:lnTo>
                      <a:pt x="370" y="452"/>
                    </a:lnTo>
                    <a:lnTo>
                      <a:pt x="368" y="453"/>
                    </a:lnTo>
                    <a:lnTo>
                      <a:pt x="368" y="455"/>
                    </a:lnTo>
                    <a:lnTo>
                      <a:pt x="367" y="455"/>
                    </a:lnTo>
                    <a:lnTo>
                      <a:pt x="367" y="453"/>
                    </a:lnTo>
                    <a:lnTo>
                      <a:pt x="367" y="452"/>
                    </a:lnTo>
                    <a:lnTo>
                      <a:pt x="368" y="452"/>
                    </a:lnTo>
                    <a:lnTo>
                      <a:pt x="368" y="450"/>
                    </a:lnTo>
                    <a:lnTo>
                      <a:pt x="370" y="450"/>
                    </a:lnTo>
                    <a:lnTo>
                      <a:pt x="370" y="448"/>
                    </a:lnTo>
                    <a:lnTo>
                      <a:pt x="372" y="448"/>
                    </a:lnTo>
                    <a:close/>
                    <a:moveTo>
                      <a:pt x="349" y="455"/>
                    </a:moveTo>
                    <a:lnTo>
                      <a:pt x="349" y="453"/>
                    </a:lnTo>
                    <a:lnTo>
                      <a:pt x="351" y="453"/>
                    </a:lnTo>
                    <a:lnTo>
                      <a:pt x="351" y="455"/>
                    </a:lnTo>
                    <a:lnTo>
                      <a:pt x="349" y="455"/>
                    </a:lnTo>
                    <a:close/>
                    <a:moveTo>
                      <a:pt x="376" y="446"/>
                    </a:moveTo>
                    <a:lnTo>
                      <a:pt x="376" y="444"/>
                    </a:lnTo>
                    <a:lnTo>
                      <a:pt x="376" y="446"/>
                    </a:lnTo>
                    <a:lnTo>
                      <a:pt x="374" y="446"/>
                    </a:lnTo>
                    <a:lnTo>
                      <a:pt x="376" y="446"/>
                    </a:lnTo>
                    <a:close/>
                    <a:moveTo>
                      <a:pt x="380" y="442"/>
                    </a:moveTo>
                    <a:lnTo>
                      <a:pt x="380" y="444"/>
                    </a:lnTo>
                    <a:lnTo>
                      <a:pt x="380" y="442"/>
                    </a:lnTo>
                    <a:close/>
                    <a:moveTo>
                      <a:pt x="53" y="530"/>
                    </a:moveTo>
                    <a:lnTo>
                      <a:pt x="55" y="530"/>
                    </a:lnTo>
                    <a:lnTo>
                      <a:pt x="55" y="532"/>
                    </a:lnTo>
                    <a:lnTo>
                      <a:pt x="53" y="532"/>
                    </a:lnTo>
                    <a:lnTo>
                      <a:pt x="53" y="530"/>
                    </a:lnTo>
                    <a:close/>
                    <a:moveTo>
                      <a:pt x="372" y="446"/>
                    </a:moveTo>
                    <a:lnTo>
                      <a:pt x="374" y="446"/>
                    </a:lnTo>
                    <a:lnTo>
                      <a:pt x="374" y="448"/>
                    </a:lnTo>
                    <a:lnTo>
                      <a:pt x="372" y="448"/>
                    </a:lnTo>
                    <a:lnTo>
                      <a:pt x="370" y="448"/>
                    </a:lnTo>
                    <a:lnTo>
                      <a:pt x="370" y="450"/>
                    </a:lnTo>
                    <a:lnTo>
                      <a:pt x="368" y="448"/>
                    </a:lnTo>
                    <a:lnTo>
                      <a:pt x="370" y="448"/>
                    </a:lnTo>
                    <a:lnTo>
                      <a:pt x="370" y="446"/>
                    </a:lnTo>
                    <a:lnTo>
                      <a:pt x="372" y="446"/>
                    </a:lnTo>
                    <a:close/>
                    <a:moveTo>
                      <a:pt x="376" y="444"/>
                    </a:moveTo>
                    <a:lnTo>
                      <a:pt x="378" y="444"/>
                    </a:lnTo>
                    <a:lnTo>
                      <a:pt x="376" y="444"/>
                    </a:lnTo>
                    <a:close/>
                    <a:moveTo>
                      <a:pt x="374" y="444"/>
                    </a:moveTo>
                    <a:lnTo>
                      <a:pt x="372" y="444"/>
                    </a:lnTo>
                    <a:lnTo>
                      <a:pt x="374" y="444"/>
                    </a:lnTo>
                    <a:close/>
                    <a:moveTo>
                      <a:pt x="338" y="457"/>
                    </a:moveTo>
                    <a:lnTo>
                      <a:pt x="336" y="457"/>
                    </a:lnTo>
                    <a:lnTo>
                      <a:pt x="338" y="457"/>
                    </a:lnTo>
                    <a:close/>
                    <a:moveTo>
                      <a:pt x="378" y="442"/>
                    </a:moveTo>
                    <a:lnTo>
                      <a:pt x="380" y="442"/>
                    </a:lnTo>
                    <a:lnTo>
                      <a:pt x="378" y="442"/>
                    </a:lnTo>
                    <a:lnTo>
                      <a:pt x="380" y="442"/>
                    </a:lnTo>
                    <a:lnTo>
                      <a:pt x="378" y="442"/>
                    </a:lnTo>
                    <a:lnTo>
                      <a:pt x="380" y="442"/>
                    </a:lnTo>
                    <a:lnTo>
                      <a:pt x="378" y="442"/>
                    </a:lnTo>
                    <a:lnTo>
                      <a:pt x="378" y="444"/>
                    </a:lnTo>
                    <a:lnTo>
                      <a:pt x="378" y="442"/>
                    </a:lnTo>
                    <a:close/>
                    <a:moveTo>
                      <a:pt x="76" y="525"/>
                    </a:moveTo>
                    <a:lnTo>
                      <a:pt x="76" y="527"/>
                    </a:lnTo>
                    <a:lnTo>
                      <a:pt x="76" y="525"/>
                    </a:lnTo>
                    <a:close/>
                    <a:moveTo>
                      <a:pt x="376" y="442"/>
                    </a:moveTo>
                    <a:lnTo>
                      <a:pt x="378" y="442"/>
                    </a:lnTo>
                    <a:lnTo>
                      <a:pt x="376" y="442"/>
                    </a:lnTo>
                    <a:lnTo>
                      <a:pt x="376" y="444"/>
                    </a:lnTo>
                    <a:lnTo>
                      <a:pt x="376" y="442"/>
                    </a:lnTo>
                    <a:lnTo>
                      <a:pt x="376" y="444"/>
                    </a:lnTo>
                    <a:lnTo>
                      <a:pt x="374" y="444"/>
                    </a:lnTo>
                    <a:lnTo>
                      <a:pt x="374" y="442"/>
                    </a:lnTo>
                    <a:lnTo>
                      <a:pt x="376" y="442"/>
                    </a:lnTo>
                    <a:lnTo>
                      <a:pt x="376" y="444"/>
                    </a:lnTo>
                    <a:lnTo>
                      <a:pt x="376" y="442"/>
                    </a:lnTo>
                    <a:close/>
                    <a:moveTo>
                      <a:pt x="63" y="528"/>
                    </a:moveTo>
                    <a:lnTo>
                      <a:pt x="61" y="528"/>
                    </a:lnTo>
                    <a:lnTo>
                      <a:pt x="63" y="528"/>
                    </a:lnTo>
                    <a:close/>
                    <a:moveTo>
                      <a:pt x="75" y="525"/>
                    </a:moveTo>
                    <a:lnTo>
                      <a:pt x="73" y="525"/>
                    </a:lnTo>
                    <a:lnTo>
                      <a:pt x="75" y="525"/>
                    </a:lnTo>
                    <a:close/>
                    <a:moveTo>
                      <a:pt x="374" y="442"/>
                    </a:moveTo>
                    <a:lnTo>
                      <a:pt x="374" y="444"/>
                    </a:lnTo>
                    <a:lnTo>
                      <a:pt x="372" y="444"/>
                    </a:lnTo>
                    <a:lnTo>
                      <a:pt x="372" y="446"/>
                    </a:lnTo>
                    <a:lnTo>
                      <a:pt x="372" y="444"/>
                    </a:lnTo>
                    <a:lnTo>
                      <a:pt x="372" y="442"/>
                    </a:lnTo>
                    <a:lnTo>
                      <a:pt x="374" y="442"/>
                    </a:lnTo>
                    <a:close/>
                    <a:moveTo>
                      <a:pt x="69" y="525"/>
                    </a:moveTo>
                    <a:lnTo>
                      <a:pt x="67" y="525"/>
                    </a:lnTo>
                    <a:lnTo>
                      <a:pt x="69" y="525"/>
                    </a:lnTo>
                    <a:close/>
                    <a:moveTo>
                      <a:pt x="71" y="525"/>
                    </a:moveTo>
                    <a:lnTo>
                      <a:pt x="69" y="525"/>
                    </a:lnTo>
                    <a:lnTo>
                      <a:pt x="71" y="525"/>
                    </a:lnTo>
                    <a:close/>
                    <a:moveTo>
                      <a:pt x="267" y="477"/>
                    </a:moveTo>
                    <a:lnTo>
                      <a:pt x="267" y="478"/>
                    </a:lnTo>
                    <a:lnTo>
                      <a:pt x="269" y="478"/>
                    </a:lnTo>
                    <a:lnTo>
                      <a:pt x="269" y="480"/>
                    </a:lnTo>
                    <a:lnTo>
                      <a:pt x="269" y="482"/>
                    </a:lnTo>
                    <a:lnTo>
                      <a:pt x="269" y="480"/>
                    </a:lnTo>
                    <a:lnTo>
                      <a:pt x="267" y="478"/>
                    </a:lnTo>
                    <a:lnTo>
                      <a:pt x="267" y="477"/>
                    </a:lnTo>
                    <a:close/>
                    <a:moveTo>
                      <a:pt x="372" y="440"/>
                    </a:moveTo>
                    <a:lnTo>
                      <a:pt x="374" y="440"/>
                    </a:lnTo>
                    <a:lnTo>
                      <a:pt x="374" y="442"/>
                    </a:lnTo>
                    <a:lnTo>
                      <a:pt x="374" y="440"/>
                    </a:lnTo>
                    <a:lnTo>
                      <a:pt x="374" y="442"/>
                    </a:lnTo>
                    <a:lnTo>
                      <a:pt x="372" y="442"/>
                    </a:lnTo>
                    <a:lnTo>
                      <a:pt x="372" y="440"/>
                    </a:lnTo>
                    <a:close/>
                    <a:moveTo>
                      <a:pt x="367" y="446"/>
                    </a:moveTo>
                    <a:lnTo>
                      <a:pt x="368" y="444"/>
                    </a:lnTo>
                    <a:lnTo>
                      <a:pt x="368" y="442"/>
                    </a:lnTo>
                    <a:lnTo>
                      <a:pt x="370" y="442"/>
                    </a:lnTo>
                    <a:lnTo>
                      <a:pt x="370" y="440"/>
                    </a:lnTo>
                    <a:lnTo>
                      <a:pt x="372" y="440"/>
                    </a:lnTo>
                    <a:lnTo>
                      <a:pt x="374" y="440"/>
                    </a:lnTo>
                    <a:lnTo>
                      <a:pt x="372" y="440"/>
                    </a:lnTo>
                    <a:lnTo>
                      <a:pt x="372" y="442"/>
                    </a:lnTo>
                    <a:lnTo>
                      <a:pt x="370" y="444"/>
                    </a:lnTo>
                    <a:lnTo>
                      <a:pt x="372" y="442"/>
                    </a:lnTo>
                    <a:lnTo>
                      <a:pt x="372" y="444"/>
                    </a:lnTo>
                    <a:lnTo>
                      <a:pt x="370" y="444"/>
                    </a:lnTo>
                    <a:lnTo>
                      <a:pt x="372" y="444"/>
                    </a:lnTo>
                    <a:lnTo>
                      <a:pt x="370" y="446"/>
                    </a:lnTo>
                    <a:lnTo>
                      <a:pt x="368" y="446"/>
                    </a:lnTo>
                    <a:lnTo>
                      <a:pt x="368" y="448"/>
                    </a:lnTo>
                    <a:lnTo>
                      <a:pt x="367" y="448"/>
                    </a:lnTo>
                    <a:lnTo>
                      <a:pt x="367" y="450"/>
                    </a:lnTo>
                    <a:lnTo>
                      <a:pt x="365" y="450"/>
                    </a:lnTo>
                    <a:lnTo>
                      <a:pt x="363" y="450"/>
                    </a:lnTo>
                    <a:lnTo>
                      <a:pt x="363" y="452"/>
                    </a:lnTo>
                    <a:lnTo>
                      <a:pt x="363" y="450"/>
                    </a:lnTo>
                    <a:lnTo>
                      <a:pt x="361" y="450"/>
                    </a:lnTo>
                    <a:lnTo>
                      <a:pt x="363" y="450"/>
                    </a:lnTo>
                    <a:lnTo>
                      <a:pt x="363" y="448"/>
                    </a:lnTo>
                    <a:lnTo>
                      <a:pt x="365" y="448"/>
                    </a:lnTo>
                    <a:lnTo>
                      <a:pt x="367" y="446"/>
                    </a:lnTo>
                    <a:lnTo>
                      <a:pt x="368" y="446"/>
                    </a:lnTo>
                    <a:lnTo>
                      <a:pt x="368" y="444"/>
                    </a:lnTo>
                    <a:lnTo>
                      <a:pt x="370" y="444"/>
                    </a:lnTo>
                    <a:lnTo>
                      <a:pt x="368" y="444"/>
                    </a:lnTo>
                    <a:lnTo>
                      <a:pt x="367" y="446"/>
                    </a:lnTo>
                    <a:close/>
                    <a:moveTo>
                      <a:pt x="171" y="503"/>
                    </a:moveTo>
                    <a:lnTo>
                      <a:pt x="169" y="503"/>
                    </a:lnTo>
                    <a:lnTo>
                      <a:pt x="169" y="502"/>
                    </a:lnTo>
                    <a:lnTo>
                      <a:pt x="171" y="502"/>
                    </a:lnTo>
                    <a:lnTo>
                      <a:pt x="171" y="500"/>
                    </a:lnTo>
                    <a:lnTo>
                      <a:pt x="173" y="500"/>
                    </a:lnTo>
                    <a:lnTo>
                      <a:pt x="173" y="502"/>
                    </a:lnTo>
                    <a:lnTo>
                      <a:pt x="171" y="503"/>
                    </a:lnTo>
                    <a:close/>
                    <a:moveTo>
                      <a:pt x="367" y="442"/>
                    </a:moveTo>
                    <a:lnTo>
                      <a:pt x="365" y="442"/>
                    </a:lnTo>
                    <a:lnTo>
                      <a:pt x="367" y="442"/>
                    </a:lnTo>
                    <a:close/>
                    <a:moveTo>
                      <a:pt x="65" y="525"/>
                    </a:moveTo>
                    <a:lnTo>
                      <a:pt x="63" y="525"/>
                    </a:lnTo>
                    <a:lnTo>
                      <a:pt x="63" y="523"/>
                    </a:lnTo>
                    <a:lnTo>
                      <a:pt x="65" y="525"/>
                    </a:lnTo>
                    <a:close/>
                    <a:moveTo>
                      <a:pt x="367" y="446"/>
                    </a:moveTo>
                    <a:lnTo>
                      <a:pt x="365" y="446"/>
                    </a:lnTo>
                    <a:lnTo>
                      <a:pt x="365" y="448"/>
                    </a:lnTo>
                    <a:lnTo>
                      <a:pt x="363" y="448"/>
                    </a:lnTo>
                    <a:lnTo>
                      <a:pt x="365" y="448"/>
                    </a:lnTo>
                    <a:lnTo>
                      <a:pt x="365" y="446"/>
                    </a:lnTo>
                    <a:lnTo>
                      <a:pt x="365" y="444"/>
                    </a:lnTo>
                    <a:lnTo>
                      <a:pt x="367" y="442"/>
                    </a:lnTo>
                    <a:lnTo>
                      <a:pt x="368" y="440"/>
                    </a:lnTo>
                    <a:lnTo>
                      <a:pt x="370" y="440"/>
                    </a:lnTo>
                    <a:lnTo>
                      <a:pt x="368" y="442"/>
                    </a:lnTo>
                    <a:lnTo>
                      <a:pt x="368" y="444"/>
                    </a:lnTo>
                    <a:lnTo>
                      <a:pt x="367" y="446"/>
                    </a:lnTo>
                    <a:close/>
                    <a:moveTo>
                      <a:pt x="367" y="440"/>
                    </a:moveTo>
                    <a:lnTo>
                      <a:pt x="367" y="442"/>
                    </a:lnTo>
                    <a:lnTo>
                      <a:pt x="367" y="440"/>
                    </a:lnTo>
                    <a:close/>
                    <a:moveTo>
                      <a:pt x="367" y="440"/>
                    </a:moveTo>
                    <a:lnTo>
                      <a:pt x="367" y="442"/>
                    </a:lnTo>
                    <a:lnTo>
                      <a:pt x="365" y="442"/>
                    </a:lnTo>
                    <a:lnTo>
                      <a:pt x="367" y="442"/>
                    </a:lnTo>
                    <a:lnTo>
                      <a:pt x="367" y="440"/>
                    </a:lnTo>
                    <a:close/>
                    <a:moveTo>
                      <a:pt x="351" y="446"/>
                    </a:moveTo>
                    <a:lnTo>
                      <a:pt x="353" y="446"/>
                    </a:lnTo>
                    <a:lnTo>
                      <a:pt x="353" y="448"/>
                    </a:lnTo>
                    <a:lnTo>
                      <a:pt x="351" y="448"/>
                    </a:lnTo>
                    <a:lnTo>
                      <a:pt x="349" y="448"/>
                    </a:lnTo>
                    <a:lnTo>
                      <a:pt x="349" y="446"/>
                    </a:lnTo>
                    <a:lnTo>
                      <a:pt x="351" y="446"/>
                    </a:lnTo>
                    <a:close/>
                    <a:moveTo>
                      <a:pt x="330" y="455"/>
                    </a:moveTo>
                    <a:lnTo>
                      <a:pt x="328" y="453"/>
                    </a:lnTo>
                    <a:lnTo>
                      <a:pt x="330" y="453"/>
                    </a:lnTo>
                    <a:lnTo>
                      <a:pt x="330" y="452"/>
                    </a:lnTo>
                    <a:lnTo>
                      <a:pt x="330" y="453"/>
                    </a:lnTo>
                    <a:lnTo>
                      <a:pt x="330" y="455"/>
                    </a:lnTo>
                    <a:close/>
                    <a:moveTo>
                      <a:pt x="367" y="440"/>
                    </a:moveTo>
                    <a:lnTo>
                      <a:pt x="365" y="440"/>
                    </a:lnTo>
                    <a:lnTo>
                      <a:pt x="365" y="442"/>
                    </a:lnTo>
                    <a:lnTo>
                      <a:pt x="365" y="444"/>
                    </a:lnTo>
                    <a:lnTo>
                      <a:pt x="363" y="444"/>
                    </a:lnTo>
                    <a:lnTo>
                      <a:pt x="365" y="444"/>
                    </a:lnTo>
                    <a:lnTo>
                      <a:pt x="363" y="444"/>
                    </a:lnTo>
                    <a:lnTo>
                      <a:pt x="363" y="446"/>
                    </a:lnTo>
                    <a:lnTo>
                      <a:pt x="363" y="444"/>
                    </a:lnTo>
                    <a:lnTo>
                      <a:pt x="363" y="442"/>
                    </a:lnTo>
                    <a:lnTo>
                      <a:pt x="365" y="442"/>
                    </a:lnTo>
                    <a:lnTo>
                      <a:pt x="365" y="440"/>
                    </a:lnTo>
                    <a:lnTo>
                      <a:pt x="367" y="440"/>
                    </a:lnTo>
                    <a:close/>
                    <a:moveTo>
                      <a:pt x="265" y="473"/>
                    </a:moveTo>
                    <a:lnTo>
                      <a:pt x="265" y="475"/>
                    </a:lnTo>
                    <a:lnTo>
                      <a:pt x="265" y="473"/>
                    </a:lnTo>
                    <a:lnTo>
                      <a:pt x="263" y="473"/>
                    </a:lnTo>
                    <a:lnTo>
                      <a:pt x="265" y="473"/>
                    </a:lnTo>
                    <a:close/>
                    <a:moveTo>
                      <a:pt x="332" y="452"/>
                    </a:moveTo>
                    <a:lnTo>
                      <a:pt x="330" y="452"/>
                    </a:lnTo>
                    <a:lnTo>
                      <a:pt x="330" y="453"/>
                    </a:lnTo>
                    <a:lnTo>
                      <a:pt x="330" y="452"/>
                    </a:lnTo>
                    <a:lnTo>
                      <a:pt x="332" y="452"/>
                    </a:lnTo>
                    <a:close/>
                    <a:moveTo>
                      <a:pt x="367" y="438"/>
                    </a:moveTo>
                    <a:lnTo>
                      <a:pt x="368" y="438"/>
                    </a:lnTo>
                    <a:lnTo>
                      <a:pt x="368" y="440"/>
                    </a:lnTo>
                    <a:lnTo>
                      <a:pt x="368" y="438"/>
                    </a:lnTo>
                    <a:lnTo>
                      <a:pt x="368" y="440"/>
                    </a:lnTo>
                    <a:lnTo>
                      <a:pt x="367" y="440"/>
                    </a:lnTo>
                    <a:lnTo>
                      <a:pt x="367" y="438"/>
                    </a:lnTo>
                    <a:close/>
                    <a:moveTo>
                      <a:pt x="359" y="442"/>
                    </a:moveTo>
                    <a:lnTo>
                      <a:pt x="357" y="442"/>
                    </a:lnTo>
                    <a:lnTo>
                      <a:pt x="359" y="442"/>
                    </a:lnTo>
                    <a:close/>
                    <a:moveTo>
                      <a:pt x="367" y="438"/>
                    </a:moveTo>
                    <a:lnTo>
                      <a:pt x="367" y="440"/>
                    </a:lnTo>
                    <a:lnTo>
                      <a:pt x="367" y="438"/>
                    </a:lnTo>
                    <a:lnTo>
                      <a:pt x="367" y="440"/>
                    </a:lnTo>
                    <a:lnTo>
                      <a:pt x="365" y="440"/>
                    </a:lnTo>
                    <a:lnTo>
                      <a:pt x="365" y="438"/>
                    </a:lnTo>
                    <a:lnTo>
                      <a:pt x="367" y="438"/>
                    </a:lnTo>
                    <a:close/>
                    <a:moveTo>
                      <a:pt x="367" y="438"/>
                    </a:moveTo>
                    <a:lnTo>
                      <a:pt x="365" y="438"/>
                    </a:lnTo>
                    <a:lnTo>
                      <a:pt x="365" y="440"/>
                    </a:lnTo>
                    <a:lnTo>
                      <a:pt x="365" y="438"/>
                    </a:lnTo>
                    <a:lnTo>
                      <a:pt x="367" y="438"/>
                    </a:lnTo>
                    <a:close/>
                    <a:moveTo>
                      <a:pt x="169" y="498"/>
                    </a:moveTo>
                    <a:lnTo>
                      <a:pt x="171" y="498"/>
                    </a:lnTo>
                    <a:lnTo>
                      <a:pt x="171" y="500"/>
                    </a:lnTo>
                    <a:lnTo>
                      <a:pt x="169" y="500"/>
                    </a:lnTo>
                    <a:lnTo>
                      <a:pt x="169" y="498"/>
                    </a:lnTo>
                    <a:close/>
                    <a:moveTo>
                      <a:pt x="365" y="440"/>
                    </a:moveTo>
                    <a:lnTo>
                      <a:pt x="363" y="440"/>
                    </a:lnTo>
                    <a:lnTo>
                      <a:pt x="365" y="440"/>
                    </a:lnTo>
                    <a:lnTo>
                      <a:pt x="363" y="440"/>
                    </a:lnTo>
                    <a:lnTo>
                      <a:pt x="365" y="438"/>
                    </a:lnTo>
                    <a:lnTo>
                      <a:pt x="365" y="440"/>
                    </a:lnTo>
                    <a:close/>
                    <a:moveTo>
                      <a:pt x="670" y="302"/>
                    </a:moveTo>
                    <a:lnTo>
                      <a:pt x="670" y="304"/>
                    </a:lnTo>
                    <a:lnTo>
                      <a:pt x="670" y="302"/>
                    </a:lnTo>
                    <a:lnTo>
                      <a:pt x="670" y="304"/>
                    </a:lnTo>
                    <a:lnTo>
                      <a:pt x="670" y="302"/>
                    </a:lnTo>
                    <a:close/>
                    <a:moveTo>
                      <a:pt x="363" y="438"/>
                    </a:moveTo>
                    <a:lnTo>
                      <a:pt x="365" y="438"/>
                    </a:lnTo>
                    <a:lnTo>
                      <a:pt x="363" y="438"/>
                    </a:lnTo>
                    <a:lnTo>
                      <a:pt x="365" y="438"/>
                    </a:lnTo>
                    <a:lnTo>
                      <a:pt x="363" y="438"/>
                    </a:lnTo>
                    <a:lnTo>
                      <a:pt x="363" y="440"/>
                    </a:lnTo>
                    <a:lnTo>
                      <a:pt x="361" y="440"/>
                    </a:lnTo>
                    <a:lnTo>
                      <a:pt x="361" y="442"/>
                    </a:lnTo>
                    <a:lnTo>
                      <a:pt x="359" y="442"/>
                    </a:lnTo>
                    <a:lnTo>
                      <a:pt x="359" y="444"/>
                    </a:lnTo>
                    <a:lnTo>
                      <a:pt x="357" y="444"/>
                    </a:lnTo>
                    <a:lnTo>
                      <a:pt x="359" y="442"/>
                    </a:lnTo>
                    <a:lnTo>
                      <a:pt x="361" y="440"/>
                    </a:lnTo>
                    <a:lnTo>
                      <a:pt x="363" y="440"/>
                    </a:lnTo>
                    <a:lnTo>
                      <a:pt x="363" y="438"/>
                    </a:lnTo>
                    <a:lnTo>
                      <a:pt x="363" y="440"/>
                    </a:lnTo>
                    <a:lnTo>
                      <a:pt x="361" y="440"/>
                    </a:lnTo>
                    <a:lnTo>
                      <a:pt x="363" y="440"/>
                    </a:lnTo>
                    <a:lnTo>
                      <a:pt x="363" y="438"/>
                    </a:lnTo>
                    <a:close/>
                    <a:moveTo>
                      <a:pt x="263" y="471"/>
                    </a:moveTo>
                    <a:lnTo>
                      <a:pt x="265" y="471"/>
                    </a:lnTo>
                    <a:lnTo>
                      <a:pt x="263" y="471"/>
                    </a:lnTo>
                    <a:close/>
                    <a:moveTo>
                      <a:pt x="171" y="496"/>
                    </a:moveTo>
                    <a:lnTo>
                      <a:pt x="171" y="498"/>
                    </a:lnTo>
                    <a:lnTo>
                      <a:pt x="169" y="498"/>
                    </a:lnTo>
                    <a:lnTo>
                      <a:pt x="169" y="496"/>
                    </a:lnTo>
                    <a:lnTo>
                      <a:pt x="171" y="496"/>
                    </a:lnTo>
                    <a:lnTo>
                      <a:pt x="171" y="494"/>
                    </a:lnTo>
                    <a:lnTo>
                      <a:pt x="171" y="496"/>
                    </a:lnTo>
                    <a:close/>
                    <a:moveTo>
                      <a:pt x="334" y="448"/>
                    </a:moveTo>
                    <a:lnTo>
                      <a:pt x="336" y="448"/>
                    </a:lnTo>
                    <a:lnTo>
                      <a:pt x="334" y="448"/>
                    </a:lnTo>
                    <a:lnTo>
                      <a:pt x="334" y="450"/>
                    </a:lnTo>
                    <a:lnTo>
                      <a:pt x="334" y="448"/>
                    </a:lnTo>
                    <a:lnTo>
                      <a:pt x="336" y="450"/>
                    </a:lnTo>
                    <a:lnTo>
                      <a:pt x="336" y="452"/>
                    </a:lnTo>
                    <a:lnTo>
                      <a:pt x="334" y="452"/>
                    </a:lnTo>
                    <a:lnTo>
                      <a:pt x="332" y="452"/>
                    </a:lnTo>
                    <a:lnTo>
                      <a:pt x="332" y="450"/>
                    </a:lnTo>
                    <a:lnTo>
                      <a:pt x="332" y="448"/>
                    </a:lnTo>
                    <a:lnTo>
                      <a:pt x="332" y="450"/>
                    </a:lnTo>
                    <a:lnTo>
                      <a:pt x="332" y="448"/>
                    </a:lnTo>
                    <a:lnTo>
                      <a:pt x="334" y="448"/>
                    </a:lnTo>
                    <a:close/>
                    <a:moveTo>
                      <a:pt x="361" y="438"/>
                    </a:moveTo>
                    <a:lnTo>
                      <a:pt x="361" y="440"/>
                    </a:lnTo>
                    <a:lnTo>
                      <a:pt x="361" y="438"/>
                    </a:lnTo>
                    <a:lnTo>
                      <a:pt x="363" y="438"/>
                    </a:lnTo>
                    <a:lnTo>
                      <a:pt x="361" y="438"/>
                    </a:lnTo>
                    <a:lnTo>
                      <a:pt x="363" y="438"/>
                    </a:lnTo>
                    <a:lnTo>
                      <a:pt x="361" y="438"/>
                    </a:lnTo>
                    <a:lnTo>
                      <a:pt x="363" y="438"/>
                    </a:lnTo>
                    <a:lnTo>
                      <a:pt x="361" y="438"/>
                    </a:lnTo>
                    <a:lnTo>
                      <a:pt x="363" y="438"/>
                    </a:lnTo>
                    <a:lnTo>
                      <a:pt x="363" y="440"/>
                    </a:lnTo>
                    <a:lnTo>
                      <a:pt x="361" y="440"/>
                    </a:lnTo>
                    <a:lnTo>
                      <a:pt x="359" y="440"/>
                    </a:lnTo>
                    <a:lnTo>
                      <a:pt x="361" y="440"/>
                    </a:lnTo>
                    <a:lnTo>
                      <a:pt x="359" y="440"/>
                    </a:lnTo>
                    <a:lnTo>
                      <a:pt x="359" y="442"/>
                    </a:lnTo>
                    <a:lnTo>
                      <a:pt x="357" y="442"/>
                    </a:lnTo>
                    <a:lnTo>
                      <a:pt x="357" y="440"/>
                    </a:lnTo>
                    <a:lnTo>
                      <a:pt x="359" y="440"/>
                    </a:lnTo>
                    <a:lnTo>
                      <a:pt x="359" y="438"/>
                    </a:lnTo>
                    <a:lnTo>
                      <a:pt x="361" y="438"/>
                    </a:lnTo>
                    <a:close/>
                    <a:moveTo>
                      <a:pt x="361" y="438"/>
                    </a:moveTo>
                    <a:lnTo>
                      <a:pt x="359" y="438"/>
                    </a:lnTo>
                    <a:lnTo>
                      <a:pt x="361" y="438"/>
                    </a:lnTo>
                    <a:close/>
                    <a:moveTo>
                      <a:pt x="359" y="438"/>
                    </a:moveTo>
                    <a:lnTo>
                      <a:pt x="357" y="438"/>
                    </a:lnTo>
                    <a:lnTo>
                      <a:pt x="359" y="438"/>
                    </a:lnTo>
                    <a:close/>
                    <a:moveTo>
                      <a:pt x="351" y="440"/>
                    </a:moveTo>
                    <a:lnTo>
                      <a:pt x="349" y="440"/>
                    </a:lnTo>
                    <a:lnTo>
                      <a:pt x="349" y="442"/>
                    </a:lnTo>
                    <a:lnTo>
                      <a:pt x="349" y="440"/>
                    </a:lnTo>
                    <a:lnTo>
                      <a:pt x="351" y="440"/>
                    </a:lnTo>
                    <a:close/>
                    <a:moveTo>
                      <a:pt x="353" y="440"/>
                    </a:moveTo>
                    <a:lnTo>
                      <a:pt x="355" y="440"/>
                    </a:lnTo>
                    <a:lnTo>
                      <a:pt x="357" y="440"/>
                    </a:lnTo>
                    <a:lnTo>
                      <a:pt x="355" y="440"/>
                    </a:lnTo>
                    <a:lnTo>
                      <a:pt x="357" y="440"/>
                    </a:lnTo>
                    <a:lnTo>
                      <a:pt x="357" y="438"/>
                    </a:lnTo>
                    <a:lnTo>
                      <a:pt x="357" y="440"/>
                    </a:lnTo>
                    <a:lnTo>
                      <a:pt x="357" y="438"/>
                    </a:lnTo>
                    <a:lnTo>
                      <a:pt x="359" y="438"/>
                    </a:lnTo>
                    <a:lnTo>
                      <a:pt x="357" y="440"/>
                    </a:lnTo>
                    <a:lnTo>
                      <a:pt x="357" y="442"/>
                    </a:lnTo>
                    <a:lnTo>
                      <a:pt x="357" y="444"/>
                    </a:lnTo>
                    <a:lnTo>
                      <a:pt x="355" y="444"/>
                    </a:lnTo>
                    <a:lnTo>
                      <a:pt x="355" y="446"/>
                    </a:lnTo>
                    <a:lnTo>
                      <a:pt x="353" y="446"/>
                    </a:lnTo>
                    <a:lnTo>
                      <a:pt x="353" y="444"/>
                    </a:lnTo>
                    <a:lnTo>
                      <a:pt x="353" y="442"/>
                    </a:lnTo>
                    <a:lnTo>
                      <a:pt x="353" y="444"/>
                    </a:lnTo>
                    <a:lnTo>
                      <a:pt x="353" y="446"/>
                    </a:lnTo>
                    <a:lnTo>
                      <a:pt x="351" y="446"/>
                    </a:lnTo>
                    <a:lnTo>
                      <a:pt x="351" y="444"/>
                    </a:lnTo>
                    <a:lnTo>
                      <a:pt x="349" y="444"/>
                    </a:lnTo>
                    <a:lnTo>
                      <a:pt x="351" y="444"/>
                    </a:lnTo>
                    <a:lnTo>
                      <a:pt x="349" y="444"/>
                    </a:lnTo>
                    <a:lnTo>
                      <a:pt x="351" y="444"/>
                    </a:lnTo>
                    <a:lnTo>
                      <a:pt x="351" y="442"/>
                    </a:lnTo>
                    <a:lnTo>
                      <a:pt x="349" y="442"/>
                    </a:lnTo>
                    <a:lnTo>
                      <a:pt x="351" y="442"/>
                    </a:lnTo>
                    <a:lnTo>
                      <a:pt x="349" y="442"/>
                    </a:lnTo>
                    <a:lnTo>
                      <a:pt x="351" y="442"/>
                    </a:lnTo>
                    <a:lnTo>
                      <a:pt x="349" y="442"/>
                    </a:lnTo>
                    <a:lnTo>
                      <a:pt x="351" y="442"/>
                    </a:lnTo>
                    <a:lnTo>
                      <a:pt x="351" y="440"/>
                    </a:lnTo>
                    <a:lnTo>
                      <a:pt x="351" y="442"/>
                    </a:lnTo>
                    <a:lnTo>
                      <a:pt x="353" y="442"/>
                    </a:lnTo>
                    <a:lnTo>
                      <a:pt x="351" y="440"/>
                    </a:lnTo>
                    <a:lnTo>
                      <a:pt x="353" y="440"/>
                    </a:lnTo>
                    <a:close/>
                    <a:moveTo>
                      <a:pt x="315" y="452"/>
                    </a:moveTo>
                    <a:lnTo>
                      <a:pt x="315" y="453"/>
                    </a:lnTo>
                    <a:lnTo>
                      <a:pt x="313" y="453"/>
                    </a:lnTo>
                    <a:lnTo>
                      <a:pt x="313" y="452"/>
                    </a:lnTo>
                    <a:lnTo>
                      <a:pt x="315" y="452"/>
                    </a:lnTo>
                    <a:close/>
                    <a:moveTo>
                      <a:pt x="359" y="436"/>
                    </a:moveTo>
                    <a:lnTo>
                      <a:pt x="359" y="438"/>
                    </a:lnTo>
                    <a:lnTo>
                      <a:pt x="359" y="436"/>
                    </a:lnTo>
                    <a:close/>
                    <a:moveTo>
                      <a:pt x="359" y="436"/>
                    </a:moveTo>
                    <a:lnTo>
                      <a:pt x="359" y="438"/>
                    </a:lnTo>
                    <a:lnTo>
                      <a:pt x="359" y="436"/>
                    </a:lnTo>
                    <a:lnTo>
                      <a:pt x="361" y="436"/>
                    </a:lnTo>
                    <a:lnTo>
                      <a:pt x="361" y="438"/>
                    </a:lnTo>
                    <a:lnTo>
                      <a:pt x="359" y="438"/>
                    </a:lnTo>
                    <a:lnTo>
                      <a:pt x="359" y="436"/>
                    </a:lnTo>
                    <a:close/>
                    <a:moveTo>
                      <a:pt x="666" y="300"/>
                    </a:moveTo>
                    <a:lnTo>
                      <a:pt x="668" y="302"/>
                    </a:lnTo>
                    <a:lnTo>
                      <a:pt x="670" y="302"/>
                    </a:lnTo>
                    <a:lnTo>
                      <a:pt x="668" y="302"/>
                    </a:lnTo>
                    <a:lnTo>
                      <a:pt x="670" y="302"/>
                    </a:lnTo>
                    <a:lnTo>
                      <a:pt x="668" y="302"/>
                    </a:lnTo>
                    <a:lnTo>
                      <a:pt x="670" y="302"/>
                    </a:lnTo>
                    <a:lnTo>
                      <a:pt x="668" y="302"/>
                    </a:lnTo>
                    <a:lnTo>
                      <a:pt x="668" y="300"/>
                    </a:lnTo>
                    <a:lnTo>
                      <a:pt x="666" y="300"/>
                    </a:lnTo>
                    <a:close/>
                    <a:moveTo>
                      <a:pt x="351" y="438"/>
                    </a:moveTo>
                    <a:lnTo>
                      <a:pt x="351" y="440"/>
                    </a:lnTo>
                    <a:lnTo>
                      <a:pt x="349" y="440"/>
                    </a:lnTo>
                    <a:lnTo>
                      <a:pt x="349" y="438"/>
                    </a:lnTo>
                    <a:lnTo>
                      <a:pt x="351" y="438"/>
                    </a:lnTo>
                    <a:close/>
                    <a:moveTo>
                      <a:pt x="340" y="442"/>
                    </a:moveTo>
                    <a:lnTo>
                      <a:pt x="340" y="444"/>
                    </a:lnTo>
                    <a:lnTo>
                      <a:pt x="338" y="444"/>
                    </a:lnTo>
                    <a:lnTo>
                      <a:pt x="340" y="442"/>
                    </a:lnTo>
                    <a:lnTo>
                      <a:pt x="338" y="442"/>
                    </a:lnTo>
                    <a:lnTo>
                      <a:pt x="340" y="442"/>
                    </a:lnTo>
                    <a:lnTo>
                      <a:pt x="338" y="442"/>
                    </a:lnTo>
                    <a:lnTo>
                      <a:pt x="340" y="442"/>
                    </a:lnTo>
                    <a:close/>
                    <a:moveTo>
                      <a:pt x="353" y="438"/>
                    </a:moveTo>
                    <a:lnTo>
                      <a:pt x="353" y="440"/>
                    </a:lnTo>
                    <a:lnTo>
                      <a:pt x="351" y="440"/>
                    </a:lnTo>
                    <a:lnTo>
                      <a:pt x="351" y="438"/>
                    </a:lnTo>
                    <a:lnTo>
                      <a:pt x="353" y="438"/>
                    </a:lnTo>
                    <a:close/>
                    <a:moveTo>
                      <a:pt x="355" y="436"/>
                    </a:moveTo>
                    <a:lnTo>
                      <a:pt x="357" y="436"/>
                    </a:lnTo>
                    <a:lnTo>
                      <a:pt x="359" y="436"/>
                    </a:lnTo>
                    <a:lnTo>
                      <a:pt x="359" y="438"/>
                    </a:lnTo>
                    <a:lnTo>
                      <a:pt x="357" y="438"/>
                    </a:lnTo>
                    <a:lnTo>
                      <a:pt x="355" y="438"/>
                    </a:lnTo>
                    <a:lnTo>
                      <a:pt x="355" y="440"/>
                    </a:lnTo>
                    <a:lnTo>
                      <a:pt x="353" y="440"/>
                    </a:lnTo>
                    <a:lnTo>
                      <a:pt x="353" y="438"/>
                    </a:lnTo>
                    <a:lnTo>
                      <a:pt x="353" y="436"/>
                    </a:lnTo>
                    <a:lnTo>
                      <a:pt x="355" y="436"/>
                    </a:lnTo>
                    <a:close/>
                    <a:moveTo>
                      <a:pt x="342" y="442"/>
                    </a:moveTo>
                    <a:lnTo>
                      <a:pt x="342" y="440"/>
                    </a:lnTo>
                    <a:lnTo>
                      <a:pt x="342" y="442"/>
                    </a:lnTo>
                    <a:close/>
                    <a:moveTo>
                      <a:pt x="261" y="465"/>
                    </a:moveTo>
                    <a:lnTo>
                      <a:pt x="261" y="467"/>
                    </a:lnTo>
                    <a:lnTo>
                      <a:pt x="263" y="467"/>
                    </a:lnTo>
                    <a:lnTo>
                      <a:pt x="263" y="469"/>
                    </a:lnTo>
                    <a:lnTo>
                      <a:pt x="261" y="469"/>
                    </a:lnTo>
                    <a:lnTo>
                      <a:pt x="263" y="469"/>
                    </a:lnTo>
                    <a:lnTo>
                      <a:pt x="263" y="471"/>
                    </a:lnTo>
                    <a:lnTo>
                      <a:pt x="261" y="469"/>
                    </a:lnTo>
                    <a:lnTo>
                      <a:pt x="261" y="467"/>
                    </a:lnTo>
                    <a:lnTo>
                      <a:pt x="261" y="465"/>
                    </a:lnTo>
                    <a:close/>
                    <a:moveTo>
                      <a:pt x="311" y="448"/>
                    </a:moveTo>
                    <a:lnTo>
                      <a:pt x="311" y="450"/>
                    </a:lnTo>
                    <a:lnTo>
                      <a:pt x="311" y="448"/>
                    </a:lnTo>
                    <a:lnTo>
                      <a:pt x="311" y="450"/>
                    </a:lnTo>
                    <a:lnTo>
                      <a:pt x="311" y="448"/>
                    </a:lnTo>
                    <a:close/>
                    <a:moveTo>
                      <a:pt x="261" y="463"/>
                    </a:moveTo>
                    <a:lnTo>
                      <a:pt x="263" y="463"/>
                    </a:lnTo>
                    <a:lnTo>
                      <a:pt x="263" y="465"/>
                    </a:lnTo>
                    <a:lnTo>
                      <a:pt x="261" y="465"/>
                    </a:lnTo>
                    <a:lnTo>
                      <a:pt x="261" y="463"/>
                    </a:lnTo>
                    <a:close/>
                    <a:moveTo>
                      <a:pt x="305" y="450"/>
                    </a:moveTo>
                    <a:lnTo>
                      <a:pt x="303" y="450"/>
                    </a:lnTo>
                    <a:lnTo>
                      <a:pt x="305" y="450"/>
                    </a:lnTo>
                    <a:close/>
                    <a:moveTo>
                      <a:pt x="263" y="463"/>
                    </a:moveTo>
                    <a:lnTo>
                      <a:pt x="263" y="461"/>
                    </a:lnTo>
                    <a:lnTo>
                      <a:pt x="265" y="461"/>
                    </a:lnTo>
                    <a:lnTo>
                      <a:pt x="263" y="461"/>
                    </a:lnTo>
                    <a:lnTo>
                      <a:pt x="265" y="461"/>
                    </a:lnTo>
                    <a:lnTo>
                      <a:pt x="263" y="463"/>
                    </a:lnTo>
                    <a:close/>
                    <a:moveTo>
                      <a:pt x="305" y="448"/>
                    </a:moveTo>
                    <a:lnTo>
                      <a:pt x="303" y="448"/>
                    </a:lnTo>
                    <a:lnTo>
                      <a:pt x="305" y="448"/>
                    </a:lnTo>
                    <a:close/>
                    <a:moveTo>
                      <a:pt x="614" y="321"/>
                    </a:moveTo>
                    <a:lnTo>
                      <a:pt x="614" y="323"/>
                    </a:lnTo>
                    <a:lnTo>
                      <a:pt x="614" y="321"/>
                    </a:lnTo>
                    <a:lnTo>
                      <a:pt x="612" y="321"/>
                    </a:lnTo>
                    <a:lnTo>
                      <a:pt x="614" y="321"/>
                    </a:lnTo>
                    <a:close/>
                    <a:moveTo>
                      <a:pt x="90" y="503"/>
                    </a:moveTo>
                    <a:lnTo>
                      <a:pt x="88" y="503"/>
                    </a:lnTo>
                    <a:lnTo>
                      <a:pt x="88" y="505"/>
                    </a:lnTo>
                    <a:lnTo>
                      <a:pt x="88" y="503"/>
                    </a:lnTo>
                    <a:lnTo>
                      <a:pt x="90" y="503"/>
                    </a:lnTo>
                    <a:close/>
                    <a:moveTo>
                      <a:pt x="614" y="319"/>
                    </a:moveTo>
                    <a:lnTo>
                      <a:pt x="614" y="321"/>
                    </a:lnTo>
                    <a:lnTo>
                      <a:pt x="616" y="321"/>
                    </a:lnTo>
                    <a:lnTo>
                      <a:pt x="614" y="321"/>
                    </a:lnTo>
                    <a:lnTo>
                      <a:pt x="614" y="319"/>
                    </a:lnTo>
                    <a:lnTo>
                      <a:pt x="614" y="321"/>
                    </a:lnTo>
                    <a:lnTo>
                      <a:pt x="614" y="319"/>
                    </a:lnTo>
                    <a:close/>
                    <a:moveTo>
                      <a:pt x="311" y="444"/>
                    </a:moveTo>
                    <a:lnTo>
                      <a:pt x="313" y="444"/>
                    </a:lnTo>
                    <a:lnTo>
                      <a:pt x="311" y="444"/>
                    </a:lnTo>
                    <a:lnTo>
                      <a:pt x="311" y="446"/>
                    </a:lnTo>
                    <a:lnTo>
                      <a:pt x="311" y="444"/>
                    </a:lnTo>
                    <a:close/>
                    <a:moveTo>
                      <a:pt x="317" y="444"/>
                    </a:moveTo>
                    <a:lnTo>
                      <a:pt x="315" y="444"/>
                    </a:lnTo>
                    <a:lnTo>
                      <a:pt x="315" y="446"/>
                    </a:lnTo>
                    <a:lnTo>
                      <a:pt x="315" y="448"/>
                    </a:lnTo>
                    <a:lnTo>
                      <a:pt x="315" y="450"/>
                    </a:lnTo>
                    <a:lnTo>
                      <a:pt x="317" y="450"/>
                    </a:lnTo>
                    <a:lnTo>
                      <a:pt x="317" y="452"/>
                    </a:lnTo>
                    <a:lnTo>
                      <a:pt x="317" y="450"/>
                    </a:lnTo>
                    <a:lnTo>
                      <a:pt x="317" y="452"/>
                    </a:lnTo>
                    <a:lnTo>
                      <a:pt x="315" y="452"/>
                    </a:lnTo>
                    <a:lnTo>
                      <a:pt x="315" y="450"/>
                    </a:lnTo>
                    <a:lnTo>
                      <a:pt x="315" y="452"/>
                    </a:lnTo>
                    <a:lnTo>
                      <a:pt x="313" y="450"/>
                    </a:lnTo>
                    <a:lnTo>
                      <a:pt x="311" y="450"/>
                    </a:lnTo>
                    <a:lnTo>
                      <a:pt x="313" y="450"/>
                    </a:lnTo>
                    <a:lnTo>
                      <a:pt x="313" y="448"/>
                    </a:lnTo>
                    <a:lnTo>
                      <a:pt x="315" y="446"/>
                    </a:lnTo>
                    <a:lnTo>
                      <a:pt x="313" y="444"/>
                    </a:lnTo>
                    <a:lnTo>
                      <a:pt x="315" y="444"/>
                    </a:lnTo>
                    <a:lnTo>
                      <a:pt x="313" y="444"/>
                    </a:lnTo>
                    <a:lnTo>
                      <a:pt x="315" y="444"/>
                    </a:lnTo>
                    <a:lnTo>
                      <a:pt x="317" y="444"/>
                    </a:lnTo>
                    <a:close/>
                    <a:moveTo>
                      <a:pt x="303" y="446"/>
                    </a:moveTo>
                    <a:lnTo>
                      <a:pt x="305" y="446"/>
                    </a:lnTo>
                    <a:lnTo>
                      <a:pt x="305" y="448"/>
                    </a:lnTo>
                    <a:lnTo>
                      <a:pt x="303" y="448"/>
                    </a:lnTo>
                    <a:lnTo>
                      <a:pt x="305" y="448"/>
                    </a:lnTo>
                    <a:lnTo>
                      <a:pt x="303" y="448"/>
                    </a:lnTo>
                    <a:lnTo>
                      <a:pt x="303" y="446"/>
                    </a:lnTo>
                    <a:close/>
                    <a:moveTo>
                      <a:pt x="614" y="319"/>
                    </a:moveTo>
                    <a:lnTo>
                      <a:pt x="616" y="319"/>
                    </a:lnTo>
                    <a:lnTo>
                      <a:pt x="614" y="319"/>
                    </a:lnTo>
                    <a:close/>
                    <a:moveTo>
                      <a:pt x="614" y="319"/>
                    </a:moveTo>
                    <a:lnTo>
                      <a:pt x="614" y="321"/>
                    </a:lnTo>
                    <a:lnTo>
                      <a:pt x="614" y="319"/>
                    </a:lnTo>
                    <a:lnTo>
                      <a:pt x="614" y="321"/>
                    </a:lnTo>
                    <a:lnTo>
                      <a:pt x="612" y="321"/>
                    </a:lnTo>
                    <a:lnTo>
                      <a:pt x="614" y="321"/>
                    </a:lnTo>
                    <a:lnTo>
                      <a:pt x="612" y="321"/>
                    </a:lnTo>
                    <a:lnTo>
                      <a:pt x="612" y="319"/>
                    </a:lnTo>
                    <a:lnTo>
                      <a:pt x="614" y="321"/>
                    </a:lnTo>
                    <a:lnTo>
                      <a:pt x="612" y="319"/>
                    </a:lnTo>
                    <a:lnTo>
                      <a:pt x="614" y="319"/>
                    </a:lnTo>
                    <a:close/>
                    <a:moveTo>
                      <a:pt x="614" y="317"/>
                    </a:moveTo>
                    <a:lnTo>
                      <a:pt x="616" y="317"/>
                    </a:lnTo>
                    <a:lnTo>
                      <a:pt x="616" y="319"/>
                    </a:lnTo>
                    <a:lnTo>
                      <a:pt x="616" y="317"/>
                    </a:lnTo>
                    <a:lnTo>
                      <a:pt x="614" y="317"/>
                    </a:lnTo>
                    <a:close/>
                    <a:moveTo>
                      <a:pt x="265" y="457"/>
                    </a:moveTo>
                    <a:lnTo>
                      <a:pt x="263" y="457"/>
                    </a:lnTo>
                    <a:lnTo>
                      <a:pt x="263" y="459"/>
                    </a:lnTo>
                    <a:lnTo>
                      <a:pt x="263" y="457"/>
                    </a:lnTo>
                    <a:lnTo>
                      <a:pt x="265" y="457"/>
                    </a:lnTo>
                    <a:close/>
                    <a:moveTo>
                      <a:pt x="612" y="319"/>
                    </a:moveTo>
                    <a:lnTo>
                      <a:pt x="614" y="319"/>
                    </a:lnTo>
                    <a:lnTo>
                      <a:pt x="612" y="319"/>
                    </a:lnTo>
                    <a:close/>
                    <a:moveTo>
                      <a:pt x="319" y="442"/>
                    </a:moveTo>
                    <a:lnTo>
                      <a:pt x="317" y="442"/>
                    </a:lnTo>
                    <a:lnTo>
                      <a:pt x="317" y="440"/>
                    </a:lnTo>
                    <a:lnTo>
                      <a:pt x="319" y="442"/>
                    </a:lnTo>
                    <a:close/>
                    <a:moveTo>
                      <a:pt x="614" y="317"/>
                    </a:moveTo>
                    <a:lnTo>
                      <a:pt x="614" y="319"/>
                    </a:lnTo>
                    <a:lnTo>
                      <a:pt x="614" y="317"/>
                    </a:lnTo>
                    <a:lnTo>
                      <a:pt x="614" y="319"/>
                    </a:lnTo>
                    <a:lnTo>
                      <a:pt x="612" y="317"/>
                    </a:lnTo>
                    <a:lnTo>
                      <a:pt x="614" y="317"/>
                    </a:lnTo>
                    <a:close/>
                    <a:moveTo>
                      <a:pt x="612" y="319"/>
                    </a:moveTo>
                    <a:lnTo>
                      <a:pt x="614" y="319"/>
                    </a:lnTo>
                    <a:lnTo>
                      <a:pt x="612" y="319"/>
                    </a:lnTo>
                    <a:lnTo>
                      <a:pt x="612" y="317"/>
                    </a:lnTo>
                    <a:lnTo>
                      <a:pt x="612" y="319"/>
                    </a:lnTo>
                    <a:close/>
                    <a:moveTo>
                      <a:pt x="265" y="457"/>
                    </a:moveTo>
                    <a:lnTo>
                      <a:pt x="265" y="455"/>
                    </a:lnTo>
                    <a:lnTo>
                      <a:pt x="265" y="457"/>
                    </a:lnTo>
                    <a:close/>
                    <a:moveTo>
                      <a:pt x="614" y="317"/>
                    </a:moveTo>
                    <a:lnTo>
                      <a:pt x="616" y="317"/>
                    </a:lnTo>
                    <a:lnTo>
                      <a:pt x="614" y="317"/>
                    </a:lnTo>
                    <a:lnTo>
                      <a:pt x="616" y="317"/>
                    </a:lnTo>
                    <a:lnTo>
                      <a:pt x="614" y="317"/>
                    </a:lnTo>
                    <a:close/>
                    <a:moveTo>
                      <a:pt x="274" y="453"/>
                    </a:moveTo>
                    <a:lnTo>
                      <a:pt x="272" y="453"/>
                    </a:lnTo>
                    <a:lnTo>
                      <a:pt x="274" y="453"/>
                    </a:lnTo>
                    <a:close/>
                    <a:moveTo>
                      <a:pt x="263" y="455"/>
                    </a:moveTo>
                    <a:lnTo>
                      <a:pt x="261" y="457"/>
                    </a:lnTo>
                    <a:lnTo>
                      <a:pt x="261" y="459"/>
                    </a:lnTo>
                    <a:lnTo>
                      <a:pt x="261" y="461"/>
                    </a:lnTo>
                    <a:lnTo>
                      <a:pt x="261" y="463"/>
                    </a:lnTo>
                    <a:lnTo>
                      <a:pt x="261" y="461"/>
                    </a:lnTo>
                    <a:lnTo>
                      <a:pt x="261" y="459"/>
                    </a:lnTo>
                    <a:lnTo>
                      <a:pt x="261" y="457"/>
                    </a:lnTo>
                    <a:lnTo>
                      <a:pt x="261" y="455"/>
                    </a:lnTo>
                    <a:lnTo>
                      <a:pt x="263" y="455"/>
                    </a:lnTo>
                    <a:close/>
                    <a:moveTo>
                      <a:pt x="272" y="455"/>
                    </a:moveTo>
                    <a:lnTo>
                      <a:pt x="274" y="457"/>
                    </a:lnTo>
                    <a:lnTo>
                      <a:pt x="272" y="457"/>
                    </a:lnTo>
                    <a:lnTo>
                      <a:pt x="272" y="459"/>
                    </a:lnTo>
                    <a:lnTo>
                      <a:pt x="271" y="459"/>
                    </a:lnTo>
                    <a:lnTo>
                      <a:pt x="272" y="457"/>
                    </a:lnTo>
                    <a:lnTo>
                      <a:pt x="271" y="457"/>
                    </a:lnTo>
                    <a:lnTo>
                      <a:pt x="271" y="455"/>
                    </a:lnTo>
                    <a:lnTo>
                      <a:pt x="272" y="455"/>
                    </a:lnTo>
                    <a:lnTo>
                      <a:pt x="272" y="457"/>
                    </a:lnTo>
                    <a:lnTo>
                      <a:pt x="272" y="455"/>
                    </a:lnTo>
                    <a:lnTo>
                      <a:pt x="272" y="453"/>
                    </a:lnTo>
                    <a:lnTo>
                      <a:pt x="274" y="453"/>
                    </a:lnTo>
                    <a:lnTo>
                      <a:pt x="274" y="455"/>
                    </a:lnTo>
                    <a:lnTo>
                      <a:pt x="272" y="455"/>
                    </a:lnTo>
                    <a:close/>
                    <a:moveTo>
                      <a:pt x="267" y="455"/>
                    </a:moveTo>
                    <a:lnTo>
                      <a:pt x="265" y="455"/>
                    </a:lnTo>
                    <a:lnTo>
                      <a:pt x="267" y="455"/>
                    </a:lnTo>
                    <a:close/>
                    <a:moveTo>
                      <a:pt x="292" y="446"/>
                    </a:moveTo>
                    <a:lnTo>
                      <a:pt x="292" y="448"/>
                    </a:lnTo>
                    <a:lnTo>
                      <a:pt x="292" y="446"/>
                    </a:lnTo>
                    <a:close/>
                    <a:moveTo>
                      <a:pt x="269" y="453"/>
                    </a:moveTo>
                    <a:lnTo>
                      <a:pt x="267" y="453"/>
                    </a:lnTo>
                    <a:lnTo>
                      <a:pt x="269" y="453"/>
                    </a:lnTo>
                    <a:close/>
                    <a:moveTo>
                      <a:pt x="288" y="446"/>
                    </a:moveTo>
                    <a:lnTo>
                      <a:pt x="286" y="448"/>
                    </a:lnTo>
                    <a:lnTo>
                      <a:pt x="286" y="446"/>
                    </a:lnTo>
                    <a:lnTo>
                      <a:pt x="288" y="446"/>
                    </a:lnTo>
                    <a:close/>
                    <a:moveTo>
                      <a:pt x="265" y="453"/>
                    </a:moveTo>
                    <a:lnTo>
                      <a:pt x="265" y="455"/>
                    </a:lnTo>
                    <a:lnTo>
                      <a:pt x="263" y="455"/>
                    </a:lnTo>
                    <a:lnTo>
                      <a:pt x="265" y="455"/>
                    </a:lnTo>
                    <a:lnTo>
                      <a:pt x="263" y="455"/>
                    </a:lnTo>
                    <a:lnTo>
                      <a:pt x="265" y="453"/>
                    </a:lnTo>
                    <a:close/>
                    <a:moveTo>
                      <a:pt x="278" y="450"/>
                    </a:moveTo>
                    <a:lnTo>
                      <a:pt x="280" y="450"/>
                    </a:lnTo>
                    <a:lnTo>
                      <a:pt x="278" y="450"/>
                    </a:lnTo>
                    <a:lnTo>
                      <a:pt x="278" y="448"/>
                    </a:lnTo>
                    <a:lnTo>
                      <a:pt x="280" y="448"/>
                    </a:lnTo>
                    <a:lnTo>
                      <a:pt x="278" y="448"/>
                    </a:lnTo>
                    <a:lnTo>
                      <a:pt x="278" y="450"/>
                    </a:lnTo>
                    <a:close/>
                    <a:moveTo>
                      <a:pt x="272" y="450"/>
                    </a:moveTo>
                    <a:lnTo>
                      <a:pt x="272" y="452"/>
                    </a:lnTo>
                    <a:lnTo>
                      <a:pt x="271" y="452"/>
                    </a:lnTo>
                    <a:lnTo>
                      <a:pt x="272" y="452"/>
                    </a:lnTo>
                    <a:lnTo>
                      <a:pt x="271" y="453"/>
                    </a:lnTo>
                    <a:lnTo>
                      <a:pt x="269" y="453"/>
                    </a:lnTo>
                    <a:lnTo>
                      <a:pt x="271" y="453"/>
                    </a:lnTo>
                    <a:lnTo>
                      <a:pt x="269" y="453"/>
                    </a:lnTo>
                    <a:lnTo>
                      <a:pt x="271" y="453"/>
                    </a:lnTo>
                    <a:lnTo>
                      <a:pt x="269" y="453"/>
                    </a:lnTo>
                    <a:lnTo>
                      <a:pt x="269" y="452"/>
                    </a:lnTo>
                    <a:lnTo>
                      <a:pt x="271" y="452"/>
                    </a:lnTo>
                    <a:lnTo>
                      <a:pt x="269" y="452"/>
                    </a:lnTo>
                    <a:lnTo>
                      <a:pt x="271" y="452"/>
                    </a:lnTo>
                    <a:lnTo>
                      <a:pt x="271" y="450"/>
                    </a:lnTo>
                    <a:lnTo>
                      <a:pt x="272" y="450"/>
                    </a:lnTo>
                    <a:close/>
                    <a:moveTo>
                      <a:pt x="280" y="448"/>
                    </a:moveTo>
                    <a:lnTo>
                      <a:pt x="280" y="446"/>
                    </a:lnTo>
                    <a:lnTo>
                      <a:pt x="280" y="448"/>
                    </a:lnTo>
                    <a:close/>
                    <a:moveTo>
                      <a:pt x="278" y="448"/>
                    </a:moveTo>
                    <a:lnTo>
                      <a:pt x="276" y="448"/>
                    </a:lnTo>
                    <a:lnTo>
                      <a:pt x="278" y="448"/>
                    </a:lnTo>
                    <a:close/>
                    <a:moveTo>
                      <a:pt x="280" y="446"/>
                    </a:moveTo>
                    <a:lnTo>
                      <a:pt x="280" y="448"/>
                    </a:lnTo>
                    <a:lnTo>
                      <a:pt x="278" y="448"/>
                    </a:lnTo>
                    <a:lnTo>
                      <a:pt x="278" y="446"/>
                    </a:lnTo>
                    <a:lnTo>
                      <a:pt x="280" y="446"/>
                    </a:lnTo>
                    <a:close/>
                    <a:moveTo>
                      <a:pt x="286" y="444"/>
                    </a:moveTo>
                    <a:lnTo>
                      <a:pt x="286" y="446"/>
                    </a:lnTo>
                    <a:lnTo>
                      <a:pt x="284" y="446"/>
                    </a:lnTo>
                    <a:lnTo>
                      <a:pt x="284" y="444"/>
                    </a:lnTo>
                    <a:lnTo>
                      <a:pt x="286" y="444"/>
                    </a:lnTo>
                    <a:close/>
                    <a:moveTo>
                      <a:pt x="286" y="444"/>
                    </a:moveTo>
                    <a:lnTo>
                      <a:pt x="286" y="446"/>
                    </a:lnTo>
                    <a:lnTo>
                      <a:pt x="286" y="444"/>
                    </a:lnTo>
                    <a:lnTo>
                      <a:pt x="286" y="446"/>
                    </a:lnTo>
                    <a:lnTo>
                      <a:pt x="286" y="444"/>
                    </a:lnTo>
                    <a:close/>
                    <a:moveTo>
                      <a:pt x="276" y="448"/>
                    </a:moveTo>
                    <a:lnTo>
                      <a:pt x="276" y="446"/>
                    </a:lnTo>
                    <a:lnTo>
                      <a:pt x="276" y="448"/>
                    </a:lnTo>
                    <a:close/>
                    <a:moveTo>
                      <a:pt x="274" y="448"/>
                    </a:moveTo>
                    <a:lnTo>
                      <a:pt x="276" y="448"/>
                    </a:lnTo>
                    <a:lnTo>
                      <a:pt x="276" y="450"/>
                    </a:lnTo>
                    <a:lnTo>
                      <a:pt x="274" y="450"/>
                    </a:lnTo>
                    <a:lnTo>
                      <a:pt x="274" y="452"/>
                    </a:lnTo>
                    <a:lnTo>
                      <a:pt x="274" y="450"/>
                    </a:lnTo>
                    <a:lnTo>
                      <a:pt x="276" y="450"/>
                    </a:lnTo>
                    <a:lnTo>
                      <a:pt x="276" y="452"/>
                    </a:lnTo>
                    <a:lnTo>
                      <a:pt x="274" y="452"/>
                    </a:lnTo>
                    <a:lnTo>
                      <a:pt x="276" y="452"/>
                    </a:lnTo>
                    <a:lnTo>
                      <a:pt x="278" y="452"/>
                    </a:lnTo>
                    <a:lnTo>
                      <a:pt x="276" y="453"/>
                    </a:lnTo>
                    <a:lnTo>
                      <a:pt x="278" y="453"/>
                    </a:lnTo>
                    <a:lnTo>
                      <a:pt x="276" y="453"/>
                    </a:lnTo>
                    <a:lnTo>
                      <a:pt x="276" y="452"/>
                    </a:lnTo>
                    <a:lnTo>
                      <a:pt x="276" y="453"/>
                    </a:lnTo>
                    <a:lnTo>
                      <a:pt x="276" y="455"/>
                    </a:lnTo>
                    <a:lnTo>
                      <a:pt x="274" y="455"/>
                    </a:lnTo>
                    <a:lnTo>
                      <a:pt x="274" y="453"/>
                    </a:lnTo>
                    <a:lnTo>
                      <a:pt x="274" y="452"/>
                    </a:lnTo>
                    <a:lnTo>
                      <a:pt x="272" y="452"/>
                    </a:lnTo>
                    <a:lnTo>
                      <a:pt x="272" y="450"/>
                    </a:lnTo>
                    <a:lnTo>
                      <a:pt x="274" y="450"/>
                    </a:lnTo>
                    <a:lnTo>
                      <a:pt x="272" y="450"/>
                    </a:lnTo>
                    <a:lnTo>
                      <a:pt x="272" y="448"/>
                    </a:lnTo>
                    <a:lnTo>
                      <a:pt x="274" y="448"/>
                    </a:lnTo>
                    <a:close/>
                    <a:moveTo>
                      <a:pt x="271" y="448"/>
                    </a:moveTo>
                    <a:lnTo>
                      <a:pt x="269" y="450"/>
                    </a:lnTo>
                    <a:lnTo>
                      <a:pt x="269" y="448"/>
                    </a:lnTo>
                    <a:lnTo>
                      <a:pt x="271" y="448"/>
                    </a:lnTo>
                    <a:close/>
                    <a:moveTo>
                      <a:pt x="286" y="442"/>
                    </a:moveTo>
                    <a:lnTo>
                      <a:pt x="288" y="442"/>
                    </a:lnTo>
                    <a:lnTo>
                      <a:pt x="286" y="442"/>
                    </a:lnTo>
                    <a:close/>
                    <a:moveTo>
                      <a:pt x="271" y="446"/>
                    </a:moveTo>
                    <a:lnTo>
                      <a:pt x="271" y="448"/>
                    </a:lnTo>
                    <a:lnTo>
                      <a:pt x="271" y="446"/>
                    </a:lnTo>
                    <a:lnTo>
                      <a:pt x="269" y="448"/>
                    </a:lnTo>
                    <a:lnTo>
                      <a:pt x="271" y="448"/>
                    </a:lnTo>
                    <a:lnTo>
                      <a:pt x="269" y="448"/>
                    </a:lnTo>
                    <a:lnTo>
                      <a:pt x="271" y="448"/>
                    </a:lnTo>
                    <a:lnTo>
                      <a:pt x="269" y="448"/>
                    </a:lnTo>
                    <a:lnTo>
                      <a:pt x="271" y="448"/>
                    </a:lnTo>
                    <a:lnTo>
                      <a:pt x="269" y="448"/>
                    </a:lnTo>
                    <a:lnTo>
                      <a:pt x="269" y="446"/>
                    </a:lnTo>
                    <a:lnTo>
                      <a:pt x="271" y="446"/>
                    </a:lnTo>
                    <a:close/>
                    <a:moveTo>
                      <a:pt x="271" y="446"/>
                    </a:moveTo>
                    <a:lnTo>
                      <a:pt x="272" y="446"/>
                    </a:lnTo>
                    <a:lnTo>
                      <a:pt x="271" y="446"/>
                    </a:lnTo>
                    <a:close/>
                    <a:moveTo>
                      <a:pt x="288" y="442"/>
                    </a:moveTo>
                    <a:lnTo>
                      <a:pt x="288" y="440"/>
                    </a:lnTo>
                    <a:lnTo>
                      <a:pt x="288" y="442"/>
                    </a:lnTo>
                    <a:close/>
                    <a:moveTo>
                      <a:pt x="255" y="450"/>
                    </a:moveTo>
                    <a:lnTo>
                      <a:pt x="255" y="452"/>
                    </a:lnTo>
                    <a:lnTo>
                      <a:pt x="257" y="452"/>
                    </a:lnTo>
                    <a:lnTo>
                      <a:pt x="257" y="450"/>
                    </a:lnTo>
                    <a:lnTo>
                      <a:pt x="257" y="452"/>
                    </a:lnTo>
                    <a:lnTo>
                      <a:pt x="257" y="450"/>
                    </a:lnTo>
                    <a:lnTo>
                      <a:pt x="257" y="452"/>
                    </a:lnTo>
                    <a:lnTo>
                      <a:pt x="255" y="452"/>
                    </a:lnTo>
                    <a:lnTo>
                      <a:pt x="255" y="450"/>
                    </a:lnTo>
                    <a:close/>
                    <a:moveTo>
                      <a:pt x="290" y="438"/>
                    </a:moveTo>
                    <a:lnTo>
                      <a:pt x="290" y="440"/>
                    </a:lnTo>
                    <a:lnTo>
                      <a:pt x="288" y="440"/>
                    </a:lnTo>
                    <a:lnTo>
                      <a:pt x="288" y="438"/>
                    </a:lnTo>
                    <a:lnTo>
                      <a:pt x="290" y="438"/>
                    </a:lnTo>
                    <a:close/>
                    <a:moveTo>
                      <a:pt x="290" y="438"/>
                    </a:moveTo>
                    <a:lnTo>
                      <a:pt x="288" y="438"/>
                    </a:lnTo>
                    <a:lnTo>
                      <a:pt x="290" y="438"/>
                    </a:lnTo>
                    <a:close/>
                    <a:moveTo>
                      <a:pt x="255" y="448"/>
                    </a:moveTo>
                    <a:lnTo>
                      <a:pt x="257" y="448"/>
                    </a:lnTo>
                    <a:lnTo>
                      <a:pt x="255" y="448"/>
                    </a:lnTo>
                    <a:lnTo>
                      <a:pt x="255" y="450"/>
                    </a:lnTo>
                    <a:lnTo>
                      <a:pt x="255" y="448"/>
                    </a:lnTo>
                    <a:lnTo>
                      <a:pt x="255" y="450"/>
                    </a:lnTo>
                    <a:lnTo>
                      <a:pt x="255" y="448"/>
                    </a:lnTo>
                    <a:close/>
                    <a:moveTo>
                      <a:pt x="290" y="436"/>
                    </a:moveTo>
                    <a:lnTo>
                      <a:pt x="292" y="436"/>
                    </a:lnTo>
                    <a:lnTo>
                      <a:pt x="294" y="438"/>
                    </a:lnTo>
                    <a:lnTo>
                      <a:pt x="292" y="438"/>
                    </a:lnTo>
                    <a:lnTo>
                      <a:pt x="290" y="438"/>
                    </a:lnTo>
                    <a:lnTo>
                      <a:pt x="290" y="436"/>
                    </a:lnTo>
                    <a:close/>
                    <a:moveTo>
                      <a:pt x="286" y="438"/>
                    </a:moveTo>
                    <a:lnTo>
                      <a:pt x="284" y="438"/>
                    </a:lnTo>
                    <a:lnTo>
                      <a:pt x="286" y="438"/>
                    </a:lnTo>
                    <a:lnTo>
                      <a:pt x="284" y="438"/>
                    </a:lnTo>
                    <a:lnTo>
                      <a:pt x="286" y="438"/>
                    </a:lnTo>
                    <a:close/>
                    <a:moveTo>
                      <a:pt x="290" y="436"/>
                    </a:moveTo>
                    <a:lnTo>
                      <a:pt x="290" y="438"/>
                    </a:lnTo>
                    <a:lnTo>
                      <a:pt x="288" y="436"/>
                    </a:lnTo>
                    <a:lnTo>
                      <a:pt x="290" y="436"/>
                    </a:lnTo>
                    <a:close/>
                    <a:moveTo>
                      <a:pt x="288" y="438"/>
                    </a:moveTo>
                    <a:lnTo>
                      <a:pt x="288" y="440"/>
                    </a:lnTo>
                    <a:lnTo>
                      <a:pt x="286" y="440"/>
                    </a:lnTo>
                    <a:lnTo>
                      <a:pt x="286" y="442"/>
                    </a:lnTo>
                    <a:lnTo>
                      <a:pt x="288" y="442"/>
                    </a:lnTo>
                    <a:lnTo>
                      <a:pt x="286" y="442"/>
                    </a:lnTo>
                    <a:lnTo>
                      <a:pt x="286" y="444"/>
                    </a:lnTo>
                    <a:lnTo>
                      <a:pt x="284" y="444"/>
                    </a:lnTo>
                    <a:lnTo>
                      <a:pt x="284" y="442"/>
                    </a:lnTo>
                    <a:lnTo>
                      <a:pt x="284" y="440"/>
                    </a:lnTo>
                    <a:lnTo>
                      <a:pt x="284" y="442"/>
                    </a:lnTo>
                    <a:lnTo>
                      <a:pt x="284" y="440"/>
                    </a:lnTo>
                    <a:lnTo>
                      <a:pt x="284" y="442"/>
                    </a:lnTo>
                    <a:lnTo>
                      <a:pt x="284" y="444"/>
                    </a:lnTo>
                    <a:lnTo>
                      <a:pt x="282" y="444"/>
                    </a:lnTo>
                    <a:lnTo>
                      <a:pt x="280" y="444"/>
                    </a:lnTo>
                    <a:lnTo>
                      <a:pt x="280" y="442"/>
                    </a:lnTo>
                    <a:lnTo>
                      <a:pt x="280" y="444"/>
                    </a:lnTo>
                    <a:lnTo>
                      <a:pt x="278" y="442"/>
                    </a:lnTo>
                    <a:lnTo>
                      <a:pt x="278" y="444"/>
                    </a:lnTo>
                    <a:lnTo>
                      <a:pt x="278" y="442"/>
                    </a:lnTo>
                    <a:lnTo>
                      <a:pt x="280" y="442"/>
                    </a:lnTo>
                    <a:lnTo>
                      <a:pt x="282" y="440"/>
                    </a:lnTo>
                    <a:lnTo>
                      <a:pt x="284" y="440"/>
                    </a:lnTo>
                    <a:lnTo>
                      <a:pt x="284" y="438"/>
                    </a:lnTo>
                    <a:lnTo>
                      <a:pt x="284" y="440"/>
                    </a:lnTo>
                    <a:lnTo>
                      <a:pt x="284" y="438"/>
                    </a:lnTo>
                    <a:lnTo>
                      <a:pt x="286" y="440"/>
                    </a:lnTo>
                    <a:lnTo>
                      <a:pt x="286" y="438"/>
                    </a:lnTo>
                    <a:lnTo>
                      <a:pt x="286" y="440"/>
                    </a:lnTo>
                    <a:lnTo>
                      <a:pt x="288" y="440"/>
                    </a:lnTo>
                    <a:lnTo>
                      <a:pt x="288" y="438"/>
                    </a:lnTo>
                    <a:lnTo>
                      <a:pt x="286" y="438"/>
                    </a:lnTo>
                    <a:lnTo>
                      <a:pt x="288" y="438"/>
                    </a:lnTo>
                    <a:lnTo>
                      <a:pt x="286" y="438"/>
                    </a:lnTo>
                    <a:lnTo>
                      <a:pt x="288" y="438"/>
                    </a:lnTo>
                    <a:lnTo>
                      <a:pt x="288" y="436"/>
                    </a:lnTo>
                    <a:lnTo>
                      <a:pt x="288" y="438"/>
                    </a:lnTo>
                    <a:lnTo>
                      <a:pt x="290" y="438"/>
                    </a:lnTo>
                    <a:lnTo>
                      <a:pt x="288" y="438"/>
                    </a:lnTo>
                    <a:close/>
                    <a:moveTo>
                      <a:pt x="288" y="436"/>
                    </a:moveTo>
                    <a:lnTo>
                      <a:pt x="286" y="436"/>
                    </a:lnTo>
                    <a:lnTo>
                      <a:pt x="286" y="438"/>
                    </a:lnTo>
                    <a:lnTo>
                      <a:pt x="284" y="438"/>
                    </a:lnTo>
                    <a:lnTo>
                      <a:pt x="282" y="438"/>
                    </a:lnTo>
                    <a:lnTo>
                      <a:pt x="284" y="438"/>
                    </a:lnTo>
                    <a:lnTo>
                      <a:pt x="282" y="440"/>
                    </a:lnTo>
                    <a:lnTo>
                      <a:pt x="280" y="440"/>
                    </a:lnTo>
                    <a:lnTo>
                      <a:pt x="282" y="440"/>
                    </a:lnTo>
                    <a:lnTo>
                      <a:pt x="282" y="438"/>
                    </a:lnTo>
                    <a:lnTo>
                      <a:pt x="284" y="438"/>
                    </a:lnTo>
                    <a:lnTo>
                      <a:pt x="286" y="436"/>
                    </a:lnTo>
                    <a:lnTo>
                      <a:pt x="288" y="436"/>
                    </a:lnTo>
                    <a:close/>
                    <a:moveTo>
                      <a:pt x="255" y="446"/>
                    </a:moveTo>
                    <a:lnTo>
                      <a:pt x="257" y="446"/>
                    </a:lnTo>
                    <a:lnTo>
                      <a:pt x="255" y="446"/>
                    </a:lnTo>
                    <a:close/>
                    <a:moveTo>
                      <a:pt x="605" y="305"/>
                    </a:moveTo>
                    <a:lnTo>
                      <a:pt x="605" y="307"/>
                    </a:lnTo>
                    <a:lnTo>
                      <a:pt x="605" y="305"/>
                    </a:lnTo>
                    <a:close/>
                    <a:moveTo>
                      <a:pt x="255" y="444"/>
                    </a:moveTo>
                    <a:lnTo>
                      <a:pt x="255" y="446"/>
                    </a:lnTo>
                    <a:lnTo>
                      <a:pt x="253" y="446"/>
                    </a:lnTo>
                    <a:lnTo>
                      <a:pt x="253" y="444"/>
                    </a:lnTo>
                    <a:lnTo>
                      <a:pt x="255" y="444"/>
                    </a:lnTo>
                    <a:close/>
                    <a:moveTo>
                      <a:pt x="2" y="486"/>
                    </a:moveTo>
                    <a:lnTo>
                      <a:pt x="0" y="486"/>
                    </a:lnTo>
                    <a:lnTo>
                      <a:pt x="0" y="484"/>
                    </a:lnTo>
                    <a:lnTo>
                      <a:pt x="2" y="484"/>
                    </a:lnTo>
                    <a:lnTo>
                      <a:pt x="2" y="486"/>
                    </a:lnTo>
                    <a:close/>
                    <a:moveTo>
                      <a:pt x="105" y="465"/>
                    </a:moveTo>
                    <a:lnTo>
                      <a:pt x="105" y="463"/>
                    </a:lnTo>
                    <a:lnTo>
                      <a:pt x="105" y="465"/>
                    </a:lnTo>
                    <a:close/>
                    <a:moveTo>
                      <a:pt x="103" y="463"/>
                    </a:moveTo>
                    <a:lnTo>
                      <a:pt x="105" y="463"/>
                    </a:lnTo>
                    <a:lnTo>
                      <a:pt x="103" y="463"/>
                    </a:lnTo>
                    <a:lnTo>
                      <a:pt x="101" y="463"/>
                    </a:lnTo>
                    <a:lnTo>
                      <a:pt x="101" y="465"/>
                    </a:lnTo>
                    <a:lnTo>
                      <a:pt x="101" y="467"/>
                    </a:lnTo>
                    <a:lnTo>
                      <a:pt x="103" y="467"/>
                    </a:lnTo>
                    <a:lnTo>
                      <a:pt x="101" y="467"/>
                    </a:lnTo>
                    <a:lnTo>
                      <a:pt x="100" y="465"/>
                    </a:lnTo>
                    <a:lnTo>
                      <a:pt x="101" y="465"/>
                    </a:lnTo>
                    <a:lnTo>
                      <a:pt x="101" y="463"/>
                    </a:lnTo>
                    <a:lnTo>
                      <a:pt x="103" y="463"/>
                    </a:lnTo>
                    <a:close/>
                    <a:moveTo>
                      <a:pt x="48" y="473"/>
                    </a:moveTo>
                    <a:lnTo>
                      <a:pt x="48" y="475"/>
                    </a:lnTo>
                    <a:lnTo>
                      <a:pt x="48" y="473"/>
                    </a:lnTo>
                    <a:lnTo>
                      <a:pt x="48" y="475"/>
                    </a:lnTo>
                    <a:lnTo>
                      <a:pt x="48" y="473"/>
                    </a:lnTo>
                    <a:close/>
                    <a:moveTo>
                      <a:pt x="34" y="459"/>
                    </a:moveTo>
                    <a:lnTo>
                      <a:pt x="36" y="459"/>
                    </a:lnTo>
                    <a:lnTo>
                      <a:pt x="36" y="461"/>
                    </a:lnTo>
                    <a:lnTo>
                      <a:pt x="34" y="463"/>
                    </a:lnTo>
                    <a:lnTo>
                      <a:pt x="34" y="461"/>
                    </a:lnTo>
                    <a:lnTo>
                      <a:pt x="34" y="463"/>
                    </a:lnTo>
                    <a:lnTo>
                      <a:pt x="34" y="461"/>
                    </a:lnTo>
                    <a:lnTo>
                      <a:pt x="34" y="459"/>
                    </a:lnTo>
                    <a:lnTo>
                      <a:pt x="34" y="461"/>
                    </a:lnTo>
                    <a:lnTo>
                      <a:pt x="34" y="459"/>
                    </a:lnTo>
                    <a:close/>
                    <a:moveTo>
                      <a:pt x="622" y="248"/>
                    </a:moveTo>
                    <a:lnTo>
                      <a:pt x="620" y="248"/>
                    </a:lnTo>
                    <a:lnTo>
                      <a:pt x="622" y="248"/>
                    </a:lnTo>
                    <a:lnTo>
                      <a:pt x="620" y="248"/>
                    </a:lnTo>
                    <a:lnTo>
                      <a:pt x="622" y="248"/>
                    </a:lnTo>
                    <a:close/>
                    <a:moveTo>
                      <a:pt x="568" y="271"/>
                    </a:moveTo>
                    <a:lnTo>
                      <a:pt x="566" y="271"/>
                    </a:lnTo>
                    <a:lnTo>
                      <a:pt x="568" y="271"/>
                    </a:lnTo>
                    <a:close/>
                    <a:moveTo>
                      <a:pt x="601" y="252"/>
                    </a:moveTo>
                    <a:lnTo>
                      <a:pt x="599" y="254"/>
                    </a:lnTo>
                    <a:lnTo>
                      <a:pt x="601" y="254"/>
                    </a:lnTo>
                    <a:lnTo>
                      <a:pt x="601" y="252"/>
                    </a:lnTo>
                    <a:close/>
                    <a:moveTo>
                      <a:pt x="605" y="252"/>
                    </a:moveTo>
                    <a:lnTo>
                      <a:pt x="603" y="252"/>
                    </a:lnTo>
                    <a:lnTo>
                      <a:pt x="605" y="252"/>
                    </a:lnTo>
                    <a:close/>
                    <a:moveTo>
                      <a:pt x="630" y="230"/>
                    </a:moveTo>
                    <a:lnTo>
                      <a:pt x="630" y="232"/>
                    </a:lnTo>
                    <a:lnTo>
                      <a:pt x="630" y="230"/>
                    </a:lnTo>
                    <a:close/>
                    <a:moveTo>
                      <a:pt x="639" y="225"/>
                    </a:moveTo>
                    <a:lnTo>
                      <a:pt x="641" y="225"/>
                    </a:lnTo>
                    <a:lnTo>
                      <a:pt x="641" y="227"/>
                    </a:lnTo>
                    <a:lnTo>
                      <a:pt x="641" y="225"/>
                    </a:lnTo>
                    <a:lnTo>
                      <a:pt x="641" y="227"/>
                    </a:lnTo>
                    <a:lnTo>
                      <a:pt x="639" y="227"/>
                    </a:lnTo>
                    <a:lnTo>
                      <a:pt x="641" y="225"/>
                    </a:lnTo>
                    <a:lnTo>
                      <a:pt x="639" y="227"/>
                    </a:lnTo>
                    <a:lnTo>
                      <a:pt x="639" y="225"/>
                    </a:lnTo>
                    <a:close/>
                    <a:moveTo>
                      <a:pt x="639" y="227"/>
                    </a:moveTo>
                    <a:lnTo>
                      <a:pt x="641" y="227"/>
                    </a:lnTo>
                    <a:lnTo>
                      <a:pt x="639" y="227"/>
                    </a:lnTo>
                    <a:lnTo>
                      <a:pt x="641" y="227"/>
                    </a:lnTo>
                    <a:lnTo>
                      <a:pt x="639" y="227"/>
                    </a:lnTo>
                    <a:lnTo>
                      <a:pt x="641" y="227"/>
                    </a:lnTo>
                    <a:lnTo>
                      <a:pt x="639" y="227"/>
                    </a:lnTo>
                    <a:lnTo>
                      <a:pt x="639" y="229"/>
                    </a:lnTo>
                    <a:lnTo>
                      <a:pt x="639" y="227"/>
                    </a:lnTo>
                    <a:close/>
                    <a:moveTo>
                      <a:pt x="568" y="227"/>
                    </a:moveTo>
                    <a:lnTo>
                      <a:pt x="570" y="227"/>
                    </a:lnTo>
                    <a:lnTo>
                      <a:pt x="570" y="229"/>
                    </a:lnTo>
                    <a:lnTo>
                      <a:pt x="568" y="227"/>
                    </a:lnTo>
                    <a:close/>
                    <a:moveTo>
                      <a:pt x="570" y="227"/>
                    </a:moveTo>
                    <a:lnTo>
                      <a:pt x="568" y="227"/>
                    </a:lnTo>
                    <a:lnTo>
                      <a:pt x="570" y="227"/>
                    </a:lnTo>
                    <a:close/>
                    <a:moveTo>
                      <a:pt x="505" y="254"/>
                    </a:moveTo>
                    <a:lnTo>
                      <a:pt x="507" y="254"/>
                    </a:lnTo>
                    <a:lnTo>
                      <a:pt x="507" y="255"/>
                    </a:lnTo>
                    <a:lnTo>
                      <a:pt x="505" y="255"/>
                    </a:lnTo>
                    <a:lnTo>
                      <a:pt x="503" y="255"/>
                    </a:lnTo>
                    <a:lnTo>
                      <a:pt x="505" y="255"/>
                    </a:lnTo>
                    <a:lnTo>
                      <a:pt x="503" y="255"/>
                    </a:lnTo>
                    <a:lnTo>
                      <a:pt x="505" y="255"/>
                    </a:lnTo>
                    <a:lnTo>
                      <a:pt x="505" y="254"/>
                    </a:lnTo>
                    <a:close/>
                    <a:moveTo>
                      <a:pt x="507" y="254"/>
                    </a:moveTo>
                    <a:lnTo>
                      <a:pt x="505" y="254"/>
                    </a:lnTo>
                    <a:lnTo>
                      <a:pt x="507" y="254"/>
                    </a:lnTo>
                    <a:close/>
                    <a:moveTo>
                      <a:pt x="570" y="209"/>
                    </a:moveTo>
                    <a:lnTo>
                      <a:pt x="570" y="207"/>
                    </a:lnTo>
                    <a:lnTo>
                      <a:pt x="570" y="209"/>
                    </a:lnTo>
                    <a:close/>
                    <a:moveTo>
                      <a:pt x="563" y="207"/>
                    </a:moveTo>
                    <a:lnTo>
                      <a:pt x="564" y="207"/>
                    </a:lnTo>
                    <a:lnTo>
                      <a:pt x="564" y="209"/>
                    </a:lnTo>
                    <a:lnTo>
                      <a:pt x="563" y="209"/>
                    </a:lnTo>
                    <a:lnTo>
                      <a:pt x="563" y="211"/>
                    </a:lnTo>
                    <a:lnTo>
                      <a:pt x="561" y="211"/>
                    </a:lnTo>
                    <a:lnTo>
                      <a:pt x="561" y="209"/>
                    </a:lnTo>
                    <a:lnTo>
                      <a:pt x="563" y="209"/>
                    </a:lnTo>
                    <a:lnTo>
                      <a:pt x="563" y="207"/>
                    </a:lnTo>
                    <a:close/>
                    <a:moveTo>
                      <a:pt x="526" y="225"/>
                    </a:moveTo>
                    <a:lnTo>
                      <a:pt x="526" y="227"/>
                    </a:lnTo>
                    <a:lnTo>
                      <a:pt x="526" y="225"/>
                    </a:lnTo>
                    <a:close/>
                    <a:moveTo>
                      <a:pt x="768" y="84"/>
                    </a:moveTo>
                    <a:lnTo>
                      <a:pt x="766" y="84"/>
                    </a:lnTo>
                    <a:lnTo>
                      <a:pt x="766" y="86"/>
                    </a:lnTo>
                    <a:lnTo>
                      <a:pt x="768" y="84"/>
                    </a:lnTo>
                    <a:lnTo>
                      <a:pt x="768" y="86"/>
                    </a:lnTo>
                    <a:lnTo>
                      <a:pt x="768" y="84"/>
                    </a:lnTo>
                    <a:lnTo>
                      <a:pt x="768" y="86"/>
                    </a:lnTo>
                    <a:lnTo>
                      <a:pt x="770" y="88"/>
                    </a:lnTo>
                    <a:lnTo>
                      <a:pt x="768" y="90"/>
                    </a:lnTo>
                    <a:lnTo>
                      <a:pt x="768" y="88"/>
                    </a:lnTo>
                    <a:lnTo>
                      <a:pt x="768" y="90"/>
                    </a:lnTo>
                    <a:lnTo>
                      <a:pt x="766" y="90"/>
                    </a:lnTo>
                    <a:lnTo>
                      <a:pt x="764" y="90"/>
                    </a:lnTo>
                    <a:lnTo>
                      <a:pt x="764" y="88"/>
                    </a:lnTo>
                    <a:lnTo>
                      <a:pt x="764" y="86"/>
                    </a:lnTo>
                    <a:lnTo>
                      <a:pt x="766" y="86"/>
                    </a:lnTo>
                    <a:lnTo>
                      <a:pt x="768" y="84"/>
                    </a:lnTo>
                    <a:close/>
                    <a:moveTo>
                      <a:pt x="516" y="227"/>
                    </a:moveTo>
                    <a:lnTo>
                      <a:pt x="516" y="229"/>
                    </a:lnTo>
                    <a:lnTo>
                      <a:pt x="516" y="227"/>
                    </a:lnTo>
                    <a:lnTo>
                      <a:pt x="518" y="227"/>
                    </a:lnTo>
                    <a:lnTo>
                      <a:pt x="516" y="227"/>
                    </a:lnTo>
                    <a:close/>
                    <a:moveTo>
                      <a:pt x="835" y="2"/>
                    </a:moveTo>
                    <a:lnTo>
                      <a:pt x="837" y="2"/>
                    </a:lnTo>
                    <a:lnTo>
                      <a:pt x="837" y="0"/>
                    </a:lnTo>
                    <a:lnTo>
                      <a:pt x="837" y="2"/>
                    </a:lnTo>
                    <a:lnTo>
                      <a:pt x="835" y="2"/>
                    </a:lnTo>
                    <a:close/>
                    <a:moveTo>
                      <a:pt x="807" y="7"/>
                    </a:moveTo>
                    <a:lnTo>
                      <a:pt x="805" y="9"/>
                    </a:lnTo>
                    <a:lnTo>
                      <a:pt x="803" y="9"/>
                    </a:lnTo>
                    <a:lnTo>
                      <a:pt x="805" y="9"/>
                    </a:lnTo>
                    <a:lnTo>
                      <a:pt x="805" y="7"/>
                    </a:lnTo>
                    <a:lnTo>
                      <a:pt x="803" y="7"/>
                    </a:lnTo>
                    <a:lnTo>
                      <a:pt x="805" y="7"/>
                    </a:lnTo>
                    <a:lnTo>
                      <a:pt x="805" y="6"/>
                    </a:lnTo>
                    <a:lnTo>
                      <a:pt x="807" y="6"/>
                    </a:lnTo>
                    <a:lnTo>
                      <a:pt x="807" y="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108">
                <a:extLst>
                  <a:ext uri="{FF2B5EF4-FFF2-40B4-BE49-F238E27FC236}">
                    <a16:creationId xmlns="" xmlns:a16="http://schemas.microsoft.com/office/drawing/2014/main" id="{3AC76E63-FC0D-41FE-BE9F-0193F3D3DB0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35600" y="1935163"/>
                <a:ext cx="1801813" cy="1373188"/>
              </a:xfrm>
              <a:custGeom>
                <a:avLst/>
                <a:gdLst>
                  <a:gd name="T0" fmla="*/ 434 w 1135"/>
                  <a:gd name="T1" fmla="*/ 842 h 865"/>
                  <a:gd name="T2" fmla="*/ 463 w 1135"/>
                  <a:gd name="T3" fmla="*/ 803 h 865"/>
                  <a:gd name="T4" fmla="*/ 440 w 1135"/>
                  <a:gd name="T5" fmla="*/ 790 h 865"/>
                  <a:gd name="T6" fmla="*/ 422 w 1135"/>
                  <a:gd name="T7" fmla="*/ 778 h 865"/>
                  <a:gd name="T8" fmla="*/ 407 w 1135"/>
                  <a:gd name="T9" fmla="*/ 769 h 865"/>
                  <a:gd name="T10" fmla="*/ 393 w 1135"/>
                  <a:gd name="T11" fmla="*/ 746 h 865"/>
                  <a:gd name="T12" fmla="*/ 376 w 1135"/>
                  <a:gd name="T13" fmla="*/ 715 h 865"/>
                  <a:gd name="T14" fmla="*/ 830 w 1135"/>
                  <a:gd name="T15" fmla="*/ 511 h 865"/>
                  <a:gd name="T16" fmla="*/ 357 w 1135"/>
                  <a:gd name="T17" fmla="*/ 684 h 865"/>
                  <a:gd name="T18" fmla="*/ 334 w 1135"/>
                  <a:gd name="T19" fmla="*/ 651 h 865"/>
                  <a:gd name="T20" fmla="*/ 826 w 1135"/>
                  <a:gd name="T21" fmla="*/ 428 h 865"/>
                  <a:gd name="T22" fmla="*/ 372 w 1135"/>
                  <a:gd name="T23" fmla="*/ 609 h 865"/>
                  <a:gd name="T24" fmla="*/ 1097 w 1135"/>
                  <a:gd name="T25" fmla="*/ 201 h 865"/>
                  <a:gd name="T26" fmla="*/ 841 w 1135"/>
                  <a:gd name="T27" fmla="*/ 357 h 865"/>
                  <a:gd name="T28" fmla="*/ 1085 w 1135"/>
                  <a:gd name="T29" fmla="*/ 186 h 865"/>
                  <a:gd name="T30" fmla="*/ 411 w 1135"/>
                  <a:gd name="T31" fmla="*/ 538 h 865"/>
                  <a:gd name="T32" fmla="*/ 845 w 1135"/>
                  <a:gd name="T33" fmla="*/ 315 h 865"/>
                  <a:gd name="T34" fmla="*/ 1114 w 1135"/>
                  <a:gd name="T35" fmla="*/ 101 h 865"/>
                  <a:gd name="T36" fmla="*/ 830 w 1135"/>
                  <a:gd name="T37" fmla="*/ 292 h 865"/>
                  <a:gd name="T38" fmla="*/ 1112 w 1135"/>
                  <a:gd name="T39" fmla="*/ 92 h 865"/>
                  <a:gd name="T40" fmla="*/ 1093 w 1135"/>
                  <a:gd name="T41" fmla="*/ 103 h 865"/>
                  <a:gd name="T42" fmla="*/ 340 w 1135"/>
                  <a:gd name="T43" fmla="*/ 492 h 865"/>
                  <a:gd name="T44" fmla="*/ 1056 w 1135"/>
                  <a:gd name="T45" fmla="*/ 101 h 865"/>
                  <a:gd name="T46" fmla="*/ 499 w 1135"/>
                  <a:gd name="T47" fmla="*/ 399 h 865"/>
                  <a:gd name="T48" fmla="*/ 355 w 1135"/>
                  <a:gd name="T49" fmla="*/ 448 h 865"/>
                  <a:gd name="T50" fmla="*/ 797 w 1135"/>
                  <a:gd name="T51" fmla="*/ 228 h 865"/>
                  <a:gd name="T52" fmla="*/ 885 w 1135"/>
                  <a:gd name="T53" fmla="*/ 169 h 865"/>
                  <a:gd name="T54" fmla="*/ 974 w 1135"/>
                  <a:gd name="T55" fmla="*/ 94 h 865"/>
                  <a:gd name="T56" fmla="*/ 466 w 1135"/>
                  <a:gd name="T57" fmla="*/ 367 h 865"/>
                  <a:gd name="T58" fmla="*/ 576 w 1135"/>
                  <a:gd name="T59" fmla="*/ 307 h 865"/>
                  <a:gd name="T60" fmla="*/ 835 w 1135"/>
                  <a:gd name="T61" fmla="*/ 159 h 865"/>
                  <a:gd name="T62" fmla="*/ 526 w 1135"/>
                  <a:gd name="T63" fmla="*/ 319 h 865"/>
                  <a:gd name="T64" fmla="*/ 388 w 1135"/>
                  <a:gd name="T65" fmla="*/ 369 h 865"/>
                  <a:gd name="T66" fmla="*/ 730 w 1135"/>
                  <a:gd name="T67" fmla="*/ 190 h 865"/>
                  <a:gd name="T68" fmla="*/ 370 w 1135"/>
                  <a:gd name="T69" fmla="*/ 348 h 865"/>
                  <a:gd name="T70" fmla="*/ 368 w 1135"/>
                  <a:gd name="T71" fmla="*/ 344 h 865"/>
                  <a:gd name="T72" fmla="*/ 365 w 1135"/>
                  <a:gd name="T73" fmla="*/ 344 h 865"/>
                  <a:gd name="T74" fmla="*/ 349 w 1135"/>
                  <a:gd name="T75" fmla="*/ 342 h 865"/>
                  <a:gd name="T76" fmla="*/ 728 w 1135"/>
                  <a:gd name="T77" fmla="*/ 167 h 865"/>
                  <a:gd name="T78" fmla="*/ 716 w 1135"/>
                  <a:gd name="T79" fmla="*/ 169 h 865"/>
                  <a:gd name="T80" fmla="*/ 355 w 1135"/>
                  <a:gd name="T81" fmla="*/ 330 h 865"/>
                  <a:gd name="T82" fmla="*/ 616 w 1135"/>
                  <a:gd name="T83" fmla="*/ 217 h 865"/>
                  <a:gd name="T84" fmla="*/ 222 w 1135"/>
                  <a:gd name="T85" fmla="*/ 367 h 865"/>
                  <a:gd name="T86" fmla="*/ 666 w 1135"/>
                  <a:gd name="T87" fmla="*/ 184 h 865"/>
                  <a:gd name="T88" fmla="*/ 313 w 1135"/>
                  <a:gd name="T89" fmla="*/ 332 h 865"/>
                  <a:gd name="T90" fmla="*/ 378 w 1135"/>
                  <a:gd name="T91" fmla="*/ 305 h 865"/>
                  <a:gd name="T92" fmla="*/ 340 w 1135"/>
                  <a:gd name="T93" fmla="*/ 315 h 865"/>
                  <a:gd name="T94" fmla="*/ 236 w 1135"/>
                  <a:gd name="T95" fmla="*/ 342 h 865"/>
                  <a:gd name="T96" fmla="*/ 157 w 1135"/>
                  <a:gd name="T97" fmla="*/ 359 h 865"/>
                  <a:gd name="T98" fmla="*/ 357 w 1135"/>
                  <a:gd name="T99" fmla="*/ 290 h 865"/>
                  <a:gd name="T100" fmla="*/ 347 w 1135"/>
                  <a:gd name="T101" fmla="*/ 286 h 865"/>
                  <a:gd name="T102" fmla="*/ 142 w 1135"/>
                  <a:gd name="T103" fmla="*/ 344 h 865"/>
                  <a:gd name="T104" fmla="*/ 645 w 1135"/>
                  <a:gd name="T105" fmla="*/ 148 h 865"/>
                  <a:gd name="T106" fmla="*/ 315 w 1135"/>
                  <a:gd name="T107" fmla="*/ 292 h 865"/>
                  <a:gd name="T108" fmla="*/ 297 w 1135"/>
                  <a:gd name="T109" fmla="*/ 296 h 865"/>
                  <a:gd name="T110" fmla="*/ 593 w 1135"/>
                  <a:gd name="T111" fmla="*/ 163 h 865"/>
                  <a:gd name="T112" fmla="*/ 591 w 1135"/>
                  <a:gd name="T113" fmla="*/ 161 h 865"/>
                  <a:gd name="T114" fmla="*/ 263 w 1135"/>
                  <a:gd name="T115" fmla="*/ 288 h 865"/>
                  <a:gd name="T116" fmla="*/ 480 w 1135"/>
                  <a:gd name="T117" fmla="*/ 194 h 865"/>
                  <a:gd name="T118" fmla="*/ 599 w 1135"/>
                  <a:gd name="T119" fmla="*/ 88 h 865"/>
                  <a:gd name="T120" fmla="*/ 624 w 1135"/>
                  <a:gd name="T121" fmla="*/ 67 h 865"/>
                  <a:gd name="T122" fmla="*/ 572 w 1135"/>
                  <a:gd name="T123" fmla="*/ 57 h 8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35" h="865">
                    <a:moveTo>
                      <a:pt x="526" y="830"/>
                    </a:moveTo>
                    <a:lnTo>
                      <a:pt x="526" y="832"/>
                    </a:lnTo>
                    <a:lnTo>
                      <a:pt x="526" y="830"/>
                    </a:lnTo>
                    <a:close/>
                    <a:moveTo>
                      <a:pt x="520" y="828"/>
                    </a:moveTo>
                    <a:lnTo>
                      <a:pt x="520" y="830"/>
                    </a:lnTo>
                    <a:lnTo>
                      <a:pt x="520" y="828"/>
                    </a:lnTo>
                    <a:close/>
                    <a:moveTo>
                      <a:pt x="520" y="828"/>
                    </a:moveTo>
                    <a:lnTo>
                      <a:pt x="520" y="830"/>
                    </a:lnTo>
                    <a:lnTo>
                      <a:pt x="520" y="828"/>
                    </a:lnTo>
                    <a:close/>
                    <a:moveTo>
                      <a:pt x="518" y="828"/>
                    </a:moveTo>
                    <a:lnTo>
                      <a:pt x="516" y="828"/>
                    </a:lnTo>
                    <a:lnTo>
                      <a:pt x="518" y="828"/>
                    </a:lnTo>
                    <a:close/>
                    <a:moveTo>
                      <a:pt x="514" y="828"/>
                    </a:moveTo>
                    <a:lnTo>
                      <a:pt x="516" y="828"/>
                    </a:lnTo>
                    <a:lnTo>
                      <a:pt x="514" y="828"/>
                    </a:lnTo>
                    <a:close/>
                    <a:moveTo>
                      <a:pt x="513" y="824"/>
                    </a:moveTo>
                    <a:lnTo>
                      <a:pt x="511" y="824"/>
                    </a:lnTo>
                    <a:lnTo>
                      <a:pt x="513" y="824"/>
                    </a:lnTo>
                    <a:close/>
                    <a:moveTo>
                      <a:pt x="451" y="844"/>
                    </a:moveTo>
                    <a:lnTo>
                      <a:pt x="451" y="845"/>
                    </a:lnTo>
                    <a:lnTo>
                      <a:pt x="449" y="845"/>
                    </a:lnTo>
                    <a:lnTo>
                      <a:pt x="451" y="844"/>
                    </a:lnTo>
                    <a:close/>
                    <a:moveTo>
                      <a:pt x="380" y="865"/>
                    </a:moveTo>
                    <a:lnTo>
                      <a:pt x="378" y="865"/>
                    </a:lnTo>
                    <a:lnTo>
                      <a:pt x="380" y="865"/>
                    </a:lnTo>
                    <a:close/>
                    <a:moveTo>
                      <a:pt x="382" y="863"/>
                    </a:moveTo>
                    <a:lnTo>
                      <a:pt x="384" y="863"/>
                    </a:lnTo>
                    <a:lnTo>
                      <a:pt x="382" y="863"/>
                    </a:lnTo>
                    <a:close/>
                    <a:moveTo>
                      <a:pt x="392" y="861"/>
                    </a:moveTo>
                    <a:lnTo>
                      <a:pt x="390" y="861"/>
                    </a:lnTo>
                    <a:lnTo>
                      <a:pt x="392" y="861"/>
                    </a:lnTo>
                    <a:close/>
                    <a:moveTo>
                      <a:pt x="505" y="820"/>
                    </a:moveTo>
                    <a:lnTo>
                      <a:pt x="505" y="822"/>
                    </a:lnTo>
                    <a:lnTo>
                      <a:pt x="505" y="820"/>
                    </a:lnTo>
                    <a:close/>
                    <a:moveTo>
                      <a:pt x="434" y="844"/>
                    </a:moveTo>
                    <a:lnTo>
                      <a:pt x="434" y="842"/>
                    </a:lnTo>
                    <a:lnTo>
                      <a:pt x="434" y="844"/>
                    </a:lnTo>
                    <a:close/>
                    <a:moveTo>
                      <a:pt x="501" y="817"/>
                    </a:moveTo>
                    <a:lnTo>
                      <a:pt x="503" y="817"/>
                    </a:lnTo>
                    <a:lnTo>
                      <a:pt x="501" y="817"/>
                    </a:lnTo>
                    <a:close/>
                    <a:moveTo>
                      <a:pt x="405" y="847"/>
                    </a:moveTo>
                    <a:lnTo>
                      <a:pt x="403" y="847"/>
                    </a:lnTo>
                    <a:lnTo>
                      <a:pt x="405" y="847"/>
                    </a:lnTo>
                    <a:close/>
                    <a:moveTo>
                      <a:pt x="424" y="842"/>
                    </a:moveTo>
                    <a:lnTo>
                      <a:pt x="424" y="840"/>
                    </a:lnTo>
                    <a:lnTo>
                      <a:pt x="424" y="842"/>
                    </a:lnTo>
                    <a:close/>
                    <a:moveTo>
                      <a:pt x="472" y="824"/>
                    </a:moveTo>
                    <a:lnTo>
                      <a:pt x="472" y="822"/>
                    </a:lnTo>
                    <a:lnTo>
                      <a:pt x="472" y="824"/>
                    </a:lnTo>
                    <a:close/>
                    <a:moveTo>
                      <a:pt x="497" y="815"/>
                    </a:moveTo>
                    <a:lnTo>
                      <a:pt x="495" y="815"/>
                    </a:lnTo>
                    <a:lnTo>
                      <a:pt x="497" y="815"/>
                    </a:lnTo>
                    <a:close/>
                    <a:moveTo>
                      <a:pt x="493" y="817"/>
                    </a:moveTo>
                    <a:lnTo>
                      <a:pt x="491" y="817"/>
                    </a:lnTo>
                    <a:lnTo>
                      <a:pt x="493" y="817"/>
                    </a:lnTo>
                    <a:close/>
                    <a:moveTo>
                      <a:pt x="491" y="815"/>
                    </a:moveTo>
                    <a:lnTo>
                      <a:pt x="491" y="817"/>
                    </a:lnTo>
                    <a:lnTo>
                      <a:pt x="491" y="815"/>
                    </a:lnTo>
                    <a:close/>
                    <a:moveTo>
                      <a:pt x="486" y="813"/>
                    </a:moveTo>
                    <a:lnTo>
                      <a:pt x="486" y="811"/>
                    </a:lnTo>
                    <a:lnTo>
                      <a:pt x="486" y="813"/>
                    </a:lnTo>
                    <a:close/>
                    <a:moveTo>
                      <a:pt x="488" y="809"/>
                    </a:moveTo>
                    <a:lnTo>
                      <a:pt x="488" y="811"/>
                    </a:lnTo>
                    <a:lnTo>
                      <a:pt x="488" y="809"/>
                    </a:lnTo>
                    <a:close/>
                    <a:moveTo>
                      <a:pt x="478" y="807"/>
                    </a:moveTo>
                    <a:lnTo>
                      <a:pt x="476" y="807"/>
                    </a:lnTo>
                    <a:lnTo>
                      <a:pt x="478" y="807"/>
                    </a:lnTo>
                    <a:close/>
                    <a:moveTo>
                      <a:pt x="478" y="807"/>
                    </a:moveTo>
                    <a:lnTo>
                      <a:pt x="478" y="805"/>
                    </a:lnTo>
                    <a:lnTo>
                      <a:pt x="478" y="807"/>
                    </a:lnTo>
                    <a:close/>
                    <a:moveTo>
                      <a:pt x="463" y="801"/>
                    </a:moveTo>
                    <a:lnTo>
                      <a:pt x="463" y="803"/>
                    </a:lnTo>
                    <a:lnTo>
                      <a:pt x="463" y="801"/>
                    </a:lnTo>
                    <a:close/>
                    <a:moveTo>
                      <a:pt x="461" y="799"/>
                    </a:moveTo>
                    <a:lnTo>
                      <a:pt x="463" y="799"/>
                    </a:lnTo>
                    <a:lnTo>
                      <a:pt x="461" y="799"/>
                    </a:lnTo>
                    <a:close/>
                    <a:moveTo>
                      <a:pt x="465" y="799"/>
                    </a:moveTo>
                    <a:lnTo>
                      <a:pt x="463" y="799"/>
                    </a:lnTo>
                    <a:lnTo>
                      <a:pt x="465" y="799"/>
                    </a:lnTo>
                    <a:close/>
                    <a:moveTo>
                      <a:pt x="457" y="797"/>
                    </a:moveTo>
                    <a:lnTo>
                      <a:pt x="457" y="795"/>
                    </a:lnTo>
                    <a:lnTo>
                      <a:pt x="457" y="797"/>
                    </a:lnTo>
                    <a:close/>
                    <a:moveTo>
                      <a:pt x="440" y="801"/>
                    </a:moveTo>
                    <a:lnTo>
                      <a:pt x="438" y="801"/>
                    </a:lnTo>
                    <a:lnTo>
                      <a:pt x="440" y="801"/>
                    </a:lnTo>
                    <a:close/>
                    <a:moveTo>
                      <a:pt x="443" y="797"/>
                    </a:moveTo>
                    <a:lnTo>
                      <a:pt x="443" y="799"/>
                    </a:lnTo>
                    <a:lnTo>
                      <a:pt x="443" y="797"/>
                    </a:lnTo>
                    <a:close/>
                    <a:moveTo>
                      <a:pt x="445" y="797"/>
                    </a:moveTo>
                    <a:lnTo>
                      <a:pt x="443" y="797"/>
                    </a:lnTo>
                    <a:lnTo>
                      <a:pt x="445" y="797"/>
                    </a:lnTo>
                    <a:close/>
                    <a:moveTo>
                      <a:pt x="438" y="795"/>
                    </a:moveTo>
                    <a:lnTo>
                      <a:pt x="440" y="795"/>
                    </a:lnTo>
                    <a:lnTo>
                      <a:pt x="438" y="795"/>
                    </a:lnTo>
                    <a:close/>
                    <a:moveTo>
                      <a:pt x="443" y="795"/>
                    </a:moveTo>
                    <a:lnTo>
                      <a:pt x="443" y="794"/>
                    </a:lnTo>
                    <a:lnTo>
                      <a:pt x="443" y="795"/>
                    </a:lnTo>
                    <a:close/>
                    <a:moveTo>
                      <a:pt x="438" y="795"/>
                    </a:moveTo>
                    <a:lnTo>
                      <a:pt x="438" y="794"/>
                    </a:lnTo>
                    <a:lnTo>
                      <a:pt x="438" y="795"/>
                    </a:lnTo>
                    <a:close/>
                    <a:moveTo>
                      <a:pt x="434" y="795"/>
                    </a:moveTo>
                    <a:lnTo>
                      <a:pt x="432" y="795"/>
                    </a:lnTo>
                    <a:lnTo>
                      <a:pt x="434" y="795"/>
                    </a:lnTo>
                    <a:close/>
                    <a:moveTo>
                      <a:pt x="443" y="792"/>
                    </a:moveTo>
                    <a:lnTo>
                      <a:pt x="441" y="792"/>
                    </a:lnTo>
                    <a:lnTo>
                      <a:pt x="443" y="792"/>
                    </a:lnTo>
                    <a:close/>
                    <a:moveTo>
                      <a:pt x="440" y="792"/>
                    </a:moveTo>
                    <a:lnTo>
                      <a:pt x="440" y="790"/>
                    </a:lnTo>
                    <a:lnTo>
                      <a:pt x="440" y="792"/>
                    </a:lnTo>
                    <a:close/>
                    <a:moveTo>
                      <a:pt x="441" y="792"/>
                    </a:moveTo>
                    <a:lnTo>
                      <a:pt x="441" y="790"/>
                    </a:lnTo>
                    <a:lnTo>
                      <a:pt x="441" y="792"/>
                    </a:lnTo>
                    <a:close/>
                    <a:moveTo>
                      <a:pt x="426" y="794"/>
                    </a:moveTo>
                    <a:lnTo>
                      <a:pt x="428" y="794"/>
                    </a:lnTo>
                    <a:lnTo>
                      <a:pt x="426" y="794"/>
                    </a:lnTo>
                    <a:close/>
                    <a:moveTo>
                      <a:pt x="436" y="790"/>
                    </a:moveTo>
                    <a:lnTo>
                      <a:pt x="434" y="790"/>
                    </a:lnTo>
                    <a:lnTo>
                      <a:pt x="436" y="790"/>
                    </a:lnTo>
                    <a:close/>
                    <a:moveTo>
                      <a:pt x="428" y="790"/>
                    </a:moveTo>
                    <a:lnTo>
                      <a:pt x="428" y="792"/>
                    </a:lnTo>
                    <a:lnTo>
                      <a:pt x="428" y="790"/>
                    </a:lnTo>
                    <a:close/>
                    <a:moveTo>
                      <a:pt x="432" y="788"/>
                    </a:moveTo>
                    <a:lnTo>
                      <a:pt x="430" y="788"/>
                    </a:lnTo>
                    <a:lnTo>
                      <a:pt x="432" y="788"/>
                    </a:lnTo>
                    <a:close/>
                    <a:moveTo>
                      <a:pt x="426" y="790"/>
                    </a:moveTo>
                    <a:lnTo>
                      <a:pt x="426" y="788"/>
                    </a:lnTo>
                    <a:lnTo>
                      <a:pt x="426" y="790"/>
                    </a:lnTo>
                    <a:close/>
                    <a:moveTo>
                      <a:pt x="428" y="784"/>
                    </a:moveTo>
                    <a:lnTo>
                      <a:pt x="428" y="786"/>
                    </a:lnTo>
                    <a:lnTo>
                      <a:pt x="428" y="784"/>
                    </a:lnTo>
                    <a:close/>
                    <a:moveTo>
                      <a:pt x="426" y="784"/>
                    </a:moveTo>
                    <a:lnTo>
                      <a:pt x="424" y="784"/>
                    </a:lnTo>
                    <a:lnTo>
                      <a:pt x="426" y="784"/>
                    </a:lnTo>
                    <a:close/>
                    <a:moveTo>
                      <a:pt x="424" y="780"/>
                    </a:moveTo>
                    <a:lnTo>
                      <a:pt x="424" y="782"/>
                    </a:lnTo>
                    <a:lnTo>
                      <a:pt x="424" y="780"/>
                    </a:lnTo>
                    <a:lnTo>
                      <a:pt x="422" y="780"/>
                    </a:lnTo>
                    <a:lnTo>
                      <a:pt x="424" y="780"/>
                    </a:lnTo>
                    <a:close/>
                    <a:moveTo>
                      <a:pt x="426" y="776"/>
                    </a:moveTo>
                    <a:lnTo>
                      <a:pt x="426" y="778"/>
                    </a:lnTo>
                    <a:lnTo>
                      <a:pt x="426" y="776"/>
                    </a:lnTo>
                    <a:close/>
                    <a:moveTo>
                      <a:pt x="422" y="778"/>
                    </a:moveTo>
                    <a:lnTo>
                      <a:pt x="420" y="778"/>
                    </a:lnTo>
                    <a:lnTo>
                      <a:pt x="422" y="778"/>
                    </a:lnTo>
                    <a:close/>
                    <a:moveTo>
                      <a:pt x="418" y="778"/>
                    </a:moveTo>
                    <a:lnTo>
                      <a:pt x="418" y="776"/>
                    </a:lnTo>
                    <a:lnTo>
                      <a:pt x="418" y="778"/>
                    </a:lnTo>
                    <a:close/>
                    <a:moveTo>
                      <a:pt x="411" y="780"/>
                    </a:moveTo>
                    <a:lnTo>
                      <a:pt x="411" y="778"/>
                    </a:lnTo>
                    <a:lnTo>
                      <a:pt x="411" y="780"/>
                    </a:lnTo>
                    <a:close/>
                    <a:moveTo>
                      <a:pt x="430" y="772"/>
                    </a:moveTo>
                    <a:lnTo>
                      <a:pt x="428" y="772"/>
                    </a:lnTo>
                    <a:lnTo>
                      <a:pt x="430" y="772"/>
                    </a:lnTo>
                    <a:close/>
                    <a:moveTo>
                      <a:pt x="418" y="776"/>
                    </a:moveTo>
                    <a:lnTo>
                      <a:pt x="418" y="774"/>
                    </a:lnTo>
                    <a:lnTo>
                      <a:pt x="418" y="776"/>
                    </a:lnTo>
                    <a:close/>
                    <a:moveTo>
                      <a:pt x="436" y="769"/>
                    </a:moveTo>
                    <a:lnTo>
                      <a:pt x="434" y="769"/>
                    </a:lnTo>
                    <a:lnTo>
                      <a:pt x="436" y="769"/>
                    </a:lnTo>
                    <a:close/>
                    <a:moveTo>
                      <a:pt x="415" y="774"/>
                    </a:moveTo>
                    <a:lnTo>
                      <a:pt x="413" y="774"/>
                    </a:lnTo>
                    <a:lnTo>
                      <a:pt x="415" y="774"/>
                    </a:lnTo>
                    <a:close/>
                    <a:moveTo>
                      <a:pt x="416" y="772"/>
                    </a:moveTo>
                    <a:lnTo>
                      <a:pt x="416" y="774"/>
                    </a:lnTo>
                    <a:lnTo>
                      <a:pt x="415" y="772"/>
                    </a:lnTo>
                    <a:lnTo>
                      <a:pt x="416" y="772"/>
                    </a:lnTo>
                    <a:close/>
                    <a:moveTo>
                      <a:pt x="415" y="772"/>
                    </a:moveTo>
                    <a:lnTo>
                      <a:pt x="413" y="772"/>
                    </a:lnTo>
                    <a:lnTo>
                      <a:pt x="415" y="772"/>
                    </a:lnTo>
                    <a:close/>
                    <a:moveTo>
                      <a:pt x="407" y="774"/>
                    </a:moveTo>
                    <a:lnTo>
                      <a:pt x="405" y="774"/>
                    </a:lnTo>
                    <a:lnTo>
                      <a:pt x="407" y="774"/>
                    </a:lnTo>
                    <a:close/>
                    <a:moveTo>
                      <a:pt x="407" y="774"/>
                    </a:moveTo>
                    <a:lnTo>
                      <a:pt x="407" y="772"/>
                    </a:lnTo>
                    <a:lnTo>
                      <a:pt x="407" y="774"/>
                    </a:lnTo>
                    <a:close/>
                    <a:moveTo>
                      <a:pt x="407" y="771"/>
                    </a:moveTo>
                    <a:lnTo>
                      <a:pt x="407" y="772"/>
                    </a:lnTo>
                    <a:lnTo>
                      <a:pt x="407" y="771"/>
                    </a:lnTo>
                    <a:close/>
                    <a:moveTo>
                      <a:pt x="407" y="771"/>
                    </a:moveTo>
                    <a:lnTo>
                      <a:pt x="407" y="769"/>
                    </a:lnTo>
                    <a:lnTo>
                      <a:pt x="407" y="771"/>
                    </a:lnTo>
                    <a:close/>
                    <a:moveTo>
                      <a:pt x="403" y="765"/>
                    </a:moveTo>
                    <a:lnTo>
                      <a:pt x="403" y="763"/>
                    </a:lnTo>
                    <a:lnTo>
                      <a:pt x="403" y="765"/>
                    </a:lnTo>
                    <a:close/>
                    <a:moveTo>
                      <a:pt x="395" y="767"/>
                    </a:moveTo>
                    <a:lnTo>
                      <a:pt x="395" y="765"/>
                    </a:lnTo>
                    <a:lnTo>
                      <a:pt x="395" y="767"/>
                    </a:lnTo>
                    <a:close/>
                    <a:moveTo>
                      <a:pt x="401" y="761"/>
                    </a:moveTo>
                    <a:lnTo>
                      <a:pt x="403" y="761"/>
                    </a:lnTo>
                    <a:lnTo>
                      <a:pt x="401" y="761"/>
                    </a:lnTo>
                    <a:close/>
                    <a:moveTo>
                      <a:pt x="403" y="761"/>
                    </a:moveTo>
                    <a:lnTo>
                      <a:pt x="403" y="759"/>
                    </a:lnTo>
                    <a:lnTo>
                      <a:pt x="403" y="761"/>
                    </a:lnTo>
                    <a:close/>
                    <a:moveTo>
                      <a:pt x="395" y="763"/>
                    </a:moveTo>
                    <a:lnTo>
                      <a:pt x="395" y="761"/>
                    </a:lnTo>
                    <a:lnTo>
                      <a:pt x="395" y="763"/>
                    </a:lnTo>
                    <a:close/>
                    <a:moveTo>
                      <a:pt x="401" y="759"/>
                    </a:moveTo>
                    <a:lnTo>
                      <a:pt x="401" y="761"/>
                    </a:lnTo>
                    <a:lnTo>
                      <a:pt x="401" y="759"/>
                    </a:lnTo>
                    <a:close/>
                    <a:moveTo>
                      <a:pt x="397" y="761"/>
                    </a:moveTo>
                    <a:lnTo>
                      <a:pt x="397" y="759"/>
                    </a:lnTo>
                    <a:lnTo>
                      <a:pt x="397" y="761"/>
                    </a:lnTo>
                    <a:close/>
                    <a:moveTo>
                      <a:pt x="849" y="572"/>
                    </a:moveTo>
                    <a:lnTo>
                      <a:pt x="849" y="571"/>
                    </a:lnTo>
                    <a:lnTo>
                      <a:pt x="849" y="572"/>
                    </a:lnTo>
                    <a:close/>
                    <a:moveTo>
                      <a:pt x="399" y="757"/>
                    </a:moveTo>
                    <a:lnTo>
                      <a:pt x="399" y="759"/>
                    </a:lnTo>
                    <a:lnTo>
                      <a:pt x="399" y="757"/>
                    </a:lnTo>
                    <a:close/>
                    <a:moveTo>
                      <a:pt x="395" y="757"/>
                    </a:moveTo>
                    <a:lnTo>
                      <a:pt x="395" y="755"/>
                    </a:lnTo>
                    <a:lnTo>
                      <a:pt x="395" y="757"/>
                    </a:lnTo>
                    <a:close/>
                    <a:moveTo>
                      <a:pt x="393" y="755"/>
                    </a:moveTo>
                    <a:lnTo>
                      <a:pt x="395" y="757"/>
                    </a:lnTo>
                    <a:lnTo>
                      <a:pt x="393" y="755"/>
                    </a:lnTo>
                    <a:close/>
                    <a:moveTo>
                      <a:pt x="395" y="746"/>
                    </a:moveTo>
                    <a:lnTo>
                      <a:pt x="393" y="746"/>
                    </a:lnTo>
                    <a:lnTo>
                      <a:pt x="395" y="746"/>
                    </a:lnTo>
                    <a:close/>
                    <a:moveTo>
                      <a:pt x="386" y="730"/>
                    </a:moveTo>
                    <a:lnTo>
                      <a:pt x="388" y="730"/>
                    </a:lnTo>
                    <a:lnTo>
                      <a:pt x="386" y="730"/>
                    </a:lnTo>
                    <a:close/>
                    <a:moveTo>
                      <a:pt x="386" y="730"/>
                    </a:moveTo>
                    <a:lnTo>
                      <a:pt x="388" y="730"/>
                    </a:lnTo>
                    <a:lnTo>
                      <a:pt x="386" y="730"/>
                    </a:lnTo>
                    <a:close/>
                    <a:moveTo>
                      <a:pt x="424" y="719"/>
                    </a:moveTo>
                    <a:lnTo>
                      <a:pt x="424" y="717"/>
                    </a:lnTo>
                    <a:lnTo>
                      <a:pt x="424" y="719"/>
                    </a:lnTo>
                    <a:close/>
                    <a:moveTo>
                      <a:pt x="434" y="711"/>
                    </a:moveTo>
                    <a:lnTo>
                      <a:pt x="434" y="713"/>
                    </a:lnTo>
                    <a:lnTo>
                      <a:pt x="434" y="711"/>
                    </a:lnTo>
                    <a:close/>
                    <a:moveTo>
                      <a:pt x="386" y="726"/>
                    </a:moveTo>
                    <a:lnTo>
                      <a:pt x="384" y="726"/>
                    </a:lnTo>
                    <a:lnTo>
                      <a:pt x="386" y="726"/>
                    </a:lnTo>
                    <a:close/>
                    <a:moveTo>
                      <a:pt x="399" y="719"/>
                    </a:moveTo>
                    <a:lnTo>
                      <a:pt x="399" y="721"/>
                    </a:lnTo>
                    <a:lnTo>
                      <a:pt x="399" y="719"/>
                    </a:lnTo>
                    <a:close/>
                    <a:moveTo>
                      <a:pt x="382" y="724"/>
                    </a:moveTo>
                    <a:lnTo>
                      <a:pt x="384" y="724"/>
                    </a:lnTo>
                    <a:lnTo>
                      <a:pt x="382" y="724"/>
                    </a:lnTo>
                    <a:close/>
                    <a:moveTo>
                      <a:pt x="378" y="724"/>
                    </a:moveTo>
                    <a:lnTo>
                      <a:pt x="378" y="726"/>
                    </a:lnTo>
                    <a:lnTo>
                      <a:pt x="378" y="724"/>
                    </a:lnTo>
                    <a:close/>
                    <a:moveTo>
                      <a:pt x="378" y="721"/>
                    </a:moveTo>
                    <a:lnTo>
                      <a:pt x="378" y="722"/>
                    </a:lnTo>
                    <a:lnTo>
                      <a:pt x="378" y="721"/>
                    </a:lnTo>
                    <a:close/>
                    <a:moveTo>
                      <a:pt x="374" y="721"/>
                    </a:moveTo>
                    <a:lnTo>
                      <a:pt x="372" y="721"/>
                    </a:lnTo>
                    <a:lnTo>
                      <a:pt x="374" y="721"/>
                    </a:lnTo>
                    <a:close/>
                    <a:moveTo>
                      <a:pt x="380" y="717"/>
                    </a:moveTo>
                    <a:lnTo>
                      <a:pt x="378" y="717"/>
                    </a:lnTo>
                    <a:lnTo>
                      <a:pt x="380" y="717"/>
                    </a:lnTo>
                    <a:close/>
                    <a:moveTo>
                      <a:pt x="378" y="715"/>
                    </a:moveTo>
                    <a:lnTo>
                      <a:pt x="376" y="715"/>
                    </a:lnTo>
                    <a:lnTo>
                      <a:pt x="378" y="715"/>
                    </a:lnTo>
                    <a:close/>
                    <a:moveTo>
                      <a:pt x="374" y="715"/>
                    </a:moveTo>
                    <a:lnTo>
                      <a:pt x="372" y="715"/>
                    </a:lnTo>
                    <a:lnTo>
                      <a:pt x="374" y="715"/>
                    </a:lnTo>
                    <a:close/>
                    <a:moveTo>
                      <a:pt x="372" y="715"/>
                    </a:moveTo>
                    <a:lnTo>
                      <a:pt x="370" y="715"/>
                    </a:lnTo>
                    <a:lnTo>
                      <a:pt x="372" y="715"/>
                    </a:lnTo>
                    <a:close/>
                    <a:moveTo>
                      <a:pt x="837" y="521"/>
                    </a:moveTo>
                    <a:lnTo>
                      <a:pt x="837" y="523"/>
                    </a:lnTo>
                    <a:lnTo>
                      <a:pt x="837" y="521"/>
                    </a:lnTo>
                    <a:close/>
                    <a:moveTo>
                      <a:pt x="374" y="711"/>
                    </a:moveTo>
                    <a:lnTo>
                      <a:pt x="374" y="713"/>
                    </a:lnTo>
                    <a:lnTo>
                      <a:pt x="374" y="711"/>
                    </a:lnTo>
                    <a:lnTo>
                      <a:pt x="374" y="713"/>
                    </a:lnTo>
                    <a:lnTo>
                      <a:pt x="374" y="711"/>
                    </a:lnTo>
                    <a:close/>
                    <a:moveTo>
                      <a:pt x="370" y="709"/>
                    </a:moveTo>
                    <a:lnTo>
                      <a:pt x="368" y="709"/>
                    </a:lnTo>
                    <a:lnTo>
                      <a:pt x="370" y="709"/>
                    </a:lnTo>
                    <a:close/>
                    <a:moveTo>
                      <a:pt x="370" y="709"/>
                    </a:moveTo>
                    <a:lnTo>
                      <a:pt x="368" y="709"/>
                    </a:lnTo>
                    <a:lnTo>
                      <a:pt x="370" y="709"/>
                    </a:lnTo>
                    <a:close/>
                    <a:moveTo>
                      <a:pt x="372" y="709"/>
                    </a:moveTo>
                    <a:lnTo>
                      <a:pt x="372" y="707"/>
                    </a:lnTo>
                    <a:lnTo>
                      <a:pt x="372" y="709"/>
                    </a:lnTo>
                    <a:close/>
                    <a:moveTo>
                      <a:pt x="365" y="705"/>
                    </a:moveTo>
                    <a:lnTo>
                      <a:pt x="367" y="705"/>
                    </a:lnTo>
                    <a:lnTo>
                      <a:pt x="365" y="705"/>
                    </a:lnTo>
                    <a:close/>
                    <a:moveTo>
                      <a:pt x="830" y="511"/>
                    </a:moveTo>
                    <a:lnTo>
                      <a:pt x="830" y="513"/>
                    </a:lnTo>
                    <a:lnTo>
                      <a:pt x="830" y="511"/>
                    </a:lnTo>
                    <a:close/>
                    <a:moveTo>
                      <a:pt x="830" y="511"/>
                    </a:moveTo>
                    <a:lnTo>
                      <a:pt x="830" y="513"/>
                    </a:lnTo>
                    <a:lnTo>
                      <a:pt x="830" y="511"/>
                    </a:lnTo>
                    <a:close/>
                    <a:moveTo>
                      <a:pt x="830" y="511"/>
                    </a:moveTo>
                    <a:lnTo>
                      <a:pt x="830" y="513"/>
                    </a:lnTo>
                    <a:lnTo>
                      <a:pt x="830" y="511"/>
                    </a:lnTo>
                    <a:close/>
                    <a:moveTo>
                      <a:pt x="830" y="511"/>
                    </a:moveTo>
                    <a:lnTo>
                      <a:pt x="830" y="513"/>
                    </a:lnTo>
                    <a:lnTo>
                      <a:pt x="830" y="511"/>
                    </a:lnTo>
                    <a:close/>
                    <a:moveTo>
                      <a:pt x="830" y="511"/>
                    </a:moveTo>
                    <a:lnTo>
                      <a:pt x="830" y="513"/>
                    </a:lnTo>
                    <a:lnTo>
                      <a:pt x="830" y="511"/>
                    </a:lnTo>
                    <a:close/>
                    <a:moveTo>
                      <a:pt x="830" y="511"/>
                    </a:moveTo>
                    <a:lnTo>
                      <a:pt x="830" y="513"/>
                    </a:lnTo>
                    <a:lnTo>
                      <a:pt x="830" y="511"/>
                    </a:lnTo>
                    <a:close/>
                    <a:moveTo>
                      <a:pt x="830" y="511"/>
                    </a:moveTo>
                    <a:lnTo>
                      <a:pt x="830" y="509"/>
                    </a:lnTo>
                    <a:lnTo>
                      <a:pt x="830" y="511"/>
                    </a:lnTo>
                    <a:close/>
                    <a:moveTo>
                      <a:pt x="828" y="509"/>
                    </a:moveTo>
                    <a:lnTo>
                      <a:pt x="830" y="509"/>
                    </a:lnTo>
                    <a:lnTo>
                      <a:pt x="828" y="509"/>
                    </a:lnTo>
                    <a:close/>
                    <a:moveTo>
                      <a:pt x="826" y="507"/>
                    </a:moveTo>
                    <a:lnTo>
                      <a:pt x="828" y="507"/>
                    </a:lnTo>
                    <a:lnTo>
                      <a:pt x="826" y="507"/>
                    </a:lnTo>
                    <a:close/>
                    <a:moveTo>
                      <a:pt x="824" y="507"/>
                    </a:moveTo>
                    <a:lnTo>
                      <a:pt x="824" y="505"/>
                    </a:lnTo>
                    <a:lnTo>
                      <a:pt x="824" y="507"/>
                    </a:lnTo>
                    <a:close/>
                    <a:moveTo>
                      <a:pt x="824" y="505"/>
                    </a:moveTo>
                    <a:lnTo>
                      <a:pt x="822" y="505"/>
                    </a:lnTo>
                    <a:lnTo>
                      <a:pt x="824" y="505"/>
                    </a:lnTo>
                    <a:close/>
                    <a:moveTo>
                      <a:pt x="359" y="696"/>
                    </a:moveTo>
                    <a:lnTo>
                      <a:pt x="357" y="696"/>
                    </a:lnTo>
                    <a:lnTo>
                      <a:pt x="359" y="696"/>
                    </a:lnTo>
                    <a:close/>
                    <a:moveTo>
                      <a:pt x="812" y="499"/>
                    </a:moveTo>
                    <a:lnTo>
                      <a:pt x="812" y="498"/>
                    </a:lnTo>
                    <a:lnTo>
                      <a:pt x="812" y="499"/>
                    </a:lnTo>
                    <a:close/>
                    <a:moveTo>
                      <a:pt x="357" y="682"/>
                    </a:moveTo>
                    <a:lnTo>
                      <a:pt x="357" y="684"/>
                    </a:lnTo>
                    <a:lnTo>
                      <a:pt x="357" y="682"/>
                    </a:lnTo>
                    <a:close/>
                    <a:moveTo>
                      <a:pt x="357" y="684"/>
                    </a:moveTo>
                    <a:lnTo>
                      <a:pt x="357" y="682"/>
                    </a:lnTo>
                    <a:lnTo>
                      <a:pt x="357" y="684"/>
                    </a:lnTo>
                    <a:close/>
                    <a:moveTo>
                      <a:pt x="810" y="496"/>
                    </a:moveTo>
                    <a:lnTo>
                      <a:pt x="810" y="498"/>
                    </a:lnTo>
                    <a:lnTo>
                      <a:pt x="810" y="496"/>
                    </a:lnTo>
                    <a:close/>
                    <a:moveTo>
                      <a:pt x="351" y="682"/>
                    </a:moveTo>
                    <a:lnTo>
                      <a:pt x="351" y="680"/>
                    </a:lnTo>
                    <a:lnTo>
                      <a:pt x="351" y="682"/>
                    </a:lnTo>
                    <a:close/>
                    <a:moveTo>
                      <a:pt x="805" y="488"/>
                    </a:moveTo>
                    <a:lnTo>
                      <a:pt x="803" y="488"/>
                    </a:lnTo>
                    <a:lnTo>
                      <a:pt x="805" y="488"/>
                    </a:lnTo>
                    <a:close/>
                    <a:moveTo>
                      <a:pt x="799" y="484"/>
                    </a:moveTo>
                    <a:lnTo>
                      <a:pt x="799" y="482"/>
                    </a:lnTo>
                    <a:lnTo>
                      <a:pt x="799" y="484"/>
                    </a:lnTo>
                    <a:close/>
                    <a:moveTo>
                      <a:pt x="799" y="484"/>
                    </a:moveTo>
                    <a:lnTo>
                      <a:pt x="799" y="482"/>
                    </a:lnTo>
                    <a:lnTo>
                      <a:pt x="799" y="484"/>
                    </a:lnTo>
                    <a:close/>
                    <a:moveTo>
                      <a:pt x="347" y="667"/>
                    </a:moveTo>
                    <a:lnTo>
                      <a:pt x="345" y="667"/>
                    </a:lnTo>
                    <a:lnTo>
                      <a:pt x="347" y="667"/>
                    </a:lnTo>
                    <a:close/>
                    <a:moveTo>
                      <a:pt x="343" y="659"/>
                    </a:moveTo>
                    <a:lnTo>
                      <a:pt x="342" y="659"/>
                    </a:lnTo>
                    <a:lnTo>
                      <a:pt x="343" y="659"/>
                    </a:lnTo>
                    <a:close/>
                    <a:moveTo>
                      <a:pt x="351" y="653"/>
                    </a:moveTo>
                    <a:lnTo>
                      <a:pt x="349" y="655"/>
                    </a:lnTo>
                    <a:lnTo>
                      <a:pt x="349" y="653"/>
                    </a:lnTo>
                    <a:lnTo>
                      <a:pt x="351" y="653"/>
                    </a:lnTo>
                    <a:close/>
                    <a:moveTo>
                      <a:pt x="353" y="653"/>
                    </a:moveTo>
                    <a:lnTo>
                      <a:pt x="351" y="653"/>
                    </a:lnTo>
                    <a:lnTo>
                      <a:pt x="353" y="653"/>
                    </a:lnTo>
                    <a:close/>
                    <a:moveTo>
                      <a:pt x="343" y="657"/>
                    </a:moveTo>
                    <a:lnTo>
                      <a:pt x="342" y="657"/>
                    </a:lnTo>
                    <a:lnTo>
                      <a:pt x="343" y="657"/>
                    </a:lnTo>
                    <a:close/>
                    <a:moveTo>
                      <a:pt x="336" y="653"/>
                    </a:moveTo>
                    <a:lnTo>
                      <a:pt x="334" y="653"/>
                    </a:lnTo>
                    <a:lnTo>
                      <a:pt x="336" y="653"/>
                    </a:lnTo>
                    <a:close/>
                    <a:moveTo>
                      <a:pt x="334" y="653"/>
                    </a:moveTo>
                    <a:lnTo>
                      <a:pt x="334" y="651"/>
                    </a:lnTo>
                    <a:lnTo>
                      <a:pt x="334" y="653"/>
                    </a:lnTo>
                    <a:close/>
                    <a:moveTo>
                      <a:pt x="791" y="457"/>
                    </a:moveTo>
                    <a:lnTo>
                      <a:pt x="791" y="455"/>
                    </a:lnTo>
                    <a:lnTo>
                      <a:pt x="791" y="457"/>
                    </a:lnTo>
                    <a:close/>
                    <a:moveTo>
                      <a:pt x="328" y="644"/>
                    </a:moveTo>
                    <a:lnTo>
                      <a:pt x="330" y="644"/>
                    </a:lnTo>
                    <a:lnTo>
                      <a:pt x="328" y="644"/>
                    </a:lnTo>
                    <a:close/>
                    <a:moveTo>
                      <a:pt x="795" y="453"/>
                    </a:moveTo>
                    <a:lnTo>
                      <a:pt x="793" y="453"/>
                    </a:lnTo>
                    <a:lnTo>
                      <a:pt x="795" y="453"/>
                    </a:lnTo>
                    <a:close/>
                    <a:moveTo>
                      <a:pt x="814" y="438"/>
                    </a:moveTo>
                    <a:lnTo>
                      <a:pt x="812" y="438"/>
                    </a:lnTo>
                    <a:lnTo>
                      <a:pt x="814" y="438"/>
                    </a:lnTo>
                    <a:close/>
                    <a:moveTo>
                      <a:pt x="799" y="446"/>
                    </a:moveTo>
                    <a:lnTo>
                      <a:pt x="797" y="446"/>
                    </a:lnTo>
                    <a:lnTo>
                      <a:pt x="799" y="446"/>
                    </a:lnTo>
                    <a:close/>
                    <a:moveTo>
                      <a:pt x="820" y="434"/>
                    </a:moveTo>
                    <a:lnTo>
                      <a:pt x="818" y="434"/>
                    </a:lnTo>
                    <a:lnTo>
                      <a:pt x="820" y="434"/>
                    </a:lnTo>
                    <a:close/>
                    <a:moveTo>
                      <a:pt x="818" y="434"/>
                    </a:moveTo>
                    <a:lnTo>
                      <a:pt x="820" y="434"/>
                    </a:lnTo>
                    <a:lnTo>
                      <a:pt x="818" y="434"/>
                    </a:lnTo>
                    <a:close/>
                    <a:moveTo>
                      <a:pt x="818" y="434"/>
                    </a:moveTo>
                    <a:lnTo>
                      <a:pt x="820" y="432"/>
                    </a:lnTo>
                    <a:lnTo>
                      <a:pt x="820" y="434"/>
                    </a:lnTo>
                    <a:lnTo>
                      <a:pt x="818" y="434"/>
                    </a:lnTo>
                    <a:close/>
                    <a:moveTo>
                      <a:pt x="357" y="628"/>
                    </a:moveTo>
                    <a:lnTo>
                      <a:pt x="355" y="628"/>
                    </a:lnTo>
                    <a:lnTo>
                      <a:pt x="357" y="628"/>
                    </a:lnTo>
                    <a:close/>
                    <a:moveTo>
                      <a:pt x="801" y="442"/>
                    </a:moveTo>
                    <a:lnTo>
                      <a:pt x="801" y="444"/>
                    </a:lnTo>
                    <a:lnTo>
                      <a:pt x="801" y="442"/>
                    </a:lnTo>
                    <a:close/>
                    <a:moveTo>
                      <a:pt x="826" y="428"/>
                    </a:moveTo>
                    <a:lnTo>
                      <a:pt x="826" y="430"/>
                    </a:lnTo>
                    <a:lnTo>
                      <a:pt x="826" y="428"/>
                    </a:lnTo>
                    <a:close/>
                    <a:moveTo>
                      <a:pt x="826" y="428"/>
                    </a:moveTo>
                    <a:lnTo>
                      <a:pt x="826" y="430"/>
                    </a:lnTo>
                    <a:lnTo>
                      <a:pt x="826" y="428"/>
                    </a:lnTo>
                    <a:close/>
                    <a:moveTo>
                      <a:pt x="826" y="428"/>
                    </a:moveTo>
                    <a:lnTo>
                      <a:pt x="826" y="430"/>
                    </a:lnTo>
                    <a:lnTo>
                      <a:pt x="826" y="428"/>
                    </a:lnTo>
                    <a:close/>
                    <a:moveTo>
                      <a:pt x="820" y="430"/>
                    </a:moveTo>
                    <a:lnTo>
                      <a:pt x="820" y="432"/>
                    </a:lnTo>
                    <a:lnTo>
                      <a:pt x="820" y="430"/>
                    </a:lnTo>
                    <a:close/>
                    <a:moveTo>
                      <a:pt x="822" y="430"/>
                    </a:moveTo>
                    <a:lnTo>
                      <a:pt x="820" y="430"/>
                    </a:lnTo>
                    <a:lnTo>
                      <a:pt x="822" y="430"/>
                    </a:lnTo>
                    <a:close/>
                    <a:moveTo>
                      <a:pt x="828" y="428"/>
                    </a:moveTo>
                    <a:lnTo>
                      <a:pt x="826" y="428"/>
                    </a:lnTo>
                    <a:lnTo>
                      <a:pt x="828" y="428"/>
                    </a:lnTo>
                    <a:close/>
                    <a:moveTo>
                      <a:pt x="820" y="432"/>
                    </a:moveTo>
                    <a:lnTo>
                      <a:pt x="820" y="430"/>
                    </a:lnTo>
                    <a:lnTo>
                      <a:pt x="820" y="432"/>
                    </a:lnTo>
                    <a:close/>
                    <a:moveTo>
                      <a:pt x="805" y="440"/>
                    </a:moveTo>
                    <a:lnTo>
                      <a:pt x="803" y="440"/>
                    </a:lnTo>
                    <a:lnTo>
                      <a:pt x="805" y="440"/>
                    </a:lnTo>
                    <a:close/>
                    <a:moveTo>
                      <a:pt x="820" y="430"/>
                    </a:moveTo>
                    <a:lnTo>
                      <a:pt x="820" y="432"/>
                    </a:lnTo>
                    <a:lnTo>
                      <a:pt x="820" y="430"/>
                    </a:lnTo>
                    <a:lnTo>
                      <a:pt x="820" y="432"/>
                    </a:lnTo>
                    <a:lnTo>
                      <a:pt x="820" y="430"/>
                    </a:lnTo>
                    <a:close/>
                    <a:moveTo>
                      <a:pt x="330" y="634"/>
                    </a:moveTo>
                    <a:lnTo>
                      <a:pt x="328" y="634"/>
                    </a:lnTo>
                    <a:lnTo>
                      <a:pt x="328" y="632"/>
                    </a:lnTo>
                    <a:lnTo>
                      <a:pt x="330" y="634"/>
                    </a:lnTo>
                    <a:close/>
                    <a:moveTo>
                      <a:pt x="822" y="423"/>
                    </a:moveTo>
                    <a:lnTo>
                      <a:pt x="820" y="423"/>
                    </a:lnTo>
                    <a:lnTo>
                      <a:pt x="822" y="423"/>
                    </a:lnTo>
                    <a:close/>
                    <a:moveTo>
                      <a:pt x="828" y="413"/>
                    </a:moveTo>
                    <a:lnTo>
                      <a:pt x="828" y="415"/>
                    </a:lnTo>
                    <a:lnTo>
                      <a:pt x="828" y="413"/>
                    </a:lnTo>
                    <a:close/>
                    <a:moveTo>
                      <a:pt x="372" y="609"/>
                    </a:moveTo>
                    <a:lnTo>
                      <a:pt x="370" y="609"/>
                    </a:lnTo>
                    <a:lnTo>
                      <a:pt x="372" y="609"/>
                    </a:lnTo>
                    <a:close/>
                    <a:moveTo>
                      <a:pt x="322" y="621"/>
                    </a:moveTo>
                    <a:lnTo>
                      <a:pt x="322" y="619"/>
                    </a:lnTo>
                    <a:lnTo>
                      <a:pt x="322" y="621"/>
                    </a:lnTo>
                    <a:close/>
                    <a:moveTo>
                      <a:pt x="797" y="421"/>
                    </a:moveTo>
                    <a:lnTo>
                      <a:pt x="799" y="423"/>
                    </a:lnTo>
                    <a:lnTo>
                      <a:pt x="797" y="421"/>
                    </a:lnTo>
                    <a:close/>
                    <a:moveTo>
                      <a:pt x="595" y="517"/>
                    </a:moveTo>
                    <a:lnTo>
                      <a:pt x="595" y="519"/>
                    </a:lnTo>
                    <a:lnTo>
                      <a:pt x="595" y="517"/>
                    </a:lnTo>
                    <a:close/>
                    <a:moveTo>
                      <a:pt x="330" y="611"/>
                    </a:moveTo>
                    <a:lnTo>
                      <a:pt x="328" y="611"/>
                    </a:lnTo>
                    <a:lnTo>
                      <a:pt x="330" y="611"/>
                    </a:lnTo>
                    <a:close/>
                    <a:moveTo>
                      <a:pt x="1074" y="242"/>
                    </a:moveTo>
                    <a:lnTo>
                      <a:pt x="1074" y="240"/>
                    </a:lnTo>
                    <a:lnTo>
                      <a:pt x="1074" y="242"/>
                    </a:lnTo>
                    <a:close/>
                    <a:moveTo>
                      <a:pt x="1100" y="213"/>
                    </a:moveTo>
                    <a:lnTo>
                      <a:pt x="1100" y="211"/>
                    </a:lnTo>
                    <a:lnTo>
                      <a:pt x="1100" y="213"/>
                    </a:lnTo>
                    <a:close/>
                    <a:moveTo>
                      <a:pt x="1083" y="225"/>
                    </a:moveTo>
                    <a:lnTo>
                      <a:pt x="1081" y="225"/>
                    </a:lnTo>
                    <a:lnTo>
                      <a:pt x="1083" y="225"/>
                    </a:lnTo>
                    <a:close/>
                    <a:moveTo>
                      <a:pt x="1099" y="207"/>
                    </a:moveTo>
                    <a:lnTo>
                      <a:pt x="1100" y="209"/>
                    </a:lnTo>
                    <a:lnTo>
                      <a:pt x="1099" y="209"/>
                    </a:lnTo>
                    <a:lnTo>
                      <a:pt x="1100" y="209"/>
                    </a:lnTo>
                    <a:lnTo>
                      <a:pt x="1099" y="209"/>
                    </a:lnTo>
                    <a:lnTo>
                      <a:pt x="1099" y="207"/>
                    </a:lnTo>
                    <a:close/>
                    <a:moveTo>
                      <a:pt x="1099" y="207"/>
                    </a:moveTo>
                    <a:lnTo>
                      <a:pt x="1100" y="207"/>
                    </a:lnTo>
                    <a:lnTo>
                      <a:pt x="1099" y="207"/>
                    </a:lnTo>
                    <a:close/>
                    <a:moveTo>
                      <a:pt x="1099" y="205"/>
                    </a:moveTo>
                    <a:lnTo>
                      <a:pt x="1099" y="207"/>
                    </a:lnTo>
                    <a:lnTo>
                      <a:pt x="1099" y="205"/>
                    </a:lnTo>
                    <a:close/>
                    <a:moveTo>
                      <a:pt x="1097" y="201"/>
                    </a:moveTo>
                    <a:lnTo>
                      <a:pt x="1097" y="203"/>
                    </a:lnTo>
                    <a:lnTo>
                      <a:pt x="1097" y="201"/>
                    </a:lnTo>
                    <a:close/>
                    <a:moveTo>
                      <a:pt x="1097" y="200"/>
                    </a:moveTo>
                    <a:lnTo>
                      <a:pt x="1097" y="201"/>
                    </a:lnTo>
                    <a:lnTo>
                      <a:pt x="1097" y="200"/>
                    </a:lnTo>
                    <a:close/>
                    <a:moveTo>
                      <a:pt x="1095" y="196"/>
                    </a:moveTo>
                    <a:lnTo>
                      <a:pt x="1095" y="198"/>
                    </a:lnTo>
                    <a:lnTo>
                      <a:pt x="1095" y="196"/>
                    </a:lnTo>
                    <a:close/>
                    <a:moveTo>
                      <a:pt x="1093" y="196"/>
                    </a:moveTo>
                    <a:lnTo>
                      <a:pt x="1093" y="198"/>
                    </a:lnTo>
                    <a:lnTo>
                      <a:pt x="1093" y="196"/>
                    </a:lnTo>
                    <a:close/>
                    <a:moveTo>
                      <a:pt x="587" y="490"/>
                    </a:moveTo>
                    <a:lnTo>
                      <a:pt x="587" y="492"/>
                    </a:lnTo>
                    <a:lnTo>
                      <a:pt x="586" y="490"/>
                    </a:lnTo>
                    <a:lnTo>
                      <a:pt x="587" y="490"/>
                    </a:lnTo>
                    <a:close/>
                    <a:moveTo>
                      <a:pt x="584" y="490"/>
                    </a:moveTo>
                    <a:lnTo>
                      <a:pt x="584" y="492"/>
                    </a:lnTo>
                    <a:lnTo>
                      <a:pt x="584" y="490"/>
                    </a:lnTo>
                    <a:close/>
                    <a:moveTo>
                      <a:pt x="1093" y="194"/>
                    </a:moveTo>
                    <a:lnTo>
                      <a:pt x="1093" y="196"/>
                    </a:lnTo>
                    <a:lnTo>
                      <a:pt x="1093" y="194"/>
                    </a:lnTo>
                    <a:close/>
                    <a:moveTo>
                      <a:pt x="793" y="386"/>
                    </a:moveTo>
                    <a:lnTo>
                      <a:pt x="795" y="386"/>
                    </a:lnTo>
                    <a:lnTo>
                      <a:pt x="793" y="386"/>
                    </a:lnTo>
                    <a:close/>
                    <a:moveTo>
                      <a:pt x="1093" y="192"/>
                    </a:moveTo>
                    <a:lnTo>
                      <a:pt x="1091" y="192"/>
                    </a:lnTo>
                    <a:lnTo>
                      <a:pt x="1093" y="192"/>
                    </a:lnTo>
                    <a:close/>
                    <a:moveTo>
                      <a:pt x="584" y="488"/>
                    </a:moveTo>
                    <a:lnTo>
                      <a:pt x="582" y="488"/>
                    </a:lnTo>
                    <a:lnTo>
                      <a:pt x="584" y="488"/>
                    </a:lnTo>
                    <a:close/>
                    <a:moveTo>
                      <a:pt x="791" y="386"/>
                    </a:moveTo>
                    <a:lnTo>
                      <a:pt x="793" y="386"/>
                    </a:lnTo>
                    <a:lnTo>
                      <a:pt x="791" y="386"/>
                    </a:lnTo>
                    <a:close/>
                    <a:moveTo>
                      <a:pt x="841" y="357"/>
                    </a:moveTo>
                    <a:lnTo>
                      <a:pt x="843" y="357"/>
                    </a:lnTo>
                    <a:lnTo>
                      <a:pt x="841" y="357"/>
                    </a:lnTo>
                    <a:close/>
                    <a:moveTo>
                      <a:pt x="1091" y="192"/>
                    </a:moveTo>
                    <a:lnTo>
                      <a:pt x="1089" y="192"/>
                    </a:lnTo>
                    <a:lnTo>
                      <a:pt x="1091" y="192"/>
                    </a:lnTo>
                    <a:close/>
                    <a:moveTo>
                      <a:pt x="538" y="505"/>
                    </a:moveTo>
                    <a:lnTo>
                      <a:pt x="536" y="505"/>
                    </a:lnTo>
                    <a:lnTo>
                      <a:pt x="538" y="505"/>
                    </a:lnTo>
                    <a:close/>
                    <a:moveTo>
                      <a:pt x="839" y="357"/>
                    </a:moveTo>
                    <a:lnTo>
                      <a:pt x="841" y="357"/>
                    </a:lnTo>
                    <a:lnTo>
                      <a:pt x="839" y="357"/>
                    </a:lnTo>
                    <a:close/>
                    <a:moveTo>
                      <a:pt x="332" y="578"/>
                    </a:moveTo>
                    <a:lnTo>
                      <a:pt x="332" y="576"/>
                    </a:lnTo>
                    <a:lnTo>
                      <a:pt x="332" y="578"/>
                    </a:lnTo>
                    <a:close/>
                    <a:moveTo>
                      <a:pt x="1089" y="192"/>
                    </a:moveTo>
                    <a:lnTo>
                      <a:pt x="1089" y="190"/>
                    </a:lnTo>
                    <a:lnTo>
                      <a:pt x="1089" y="192"/>
                    </a:lnTo>
                    <a:close/>
                    <a:moveTo>
                      <a:pt x="582" y="486"/>
                    </a:moveTo>
                    <a:lnTo>
                      <a:pt x="580" y="486"/>
                    </a:lnTo>
                    <a:lnTo>
                      <a:pt x="582" y="486"/>
                    </a:lnTo>
                    <a:close/>
                    <a:moveTo>
                      <a:pt x="1106" y="175"/>
                    </a:moveTo>
                    <a:lnTo>
                      <a:pt x="1108" y="175"/>
                    </a:lnTo>
                    <a:lnTo>
                      <a:pt x="1106" y="175"/>
                    </a:lnTo>
                    <a:close/>
                    <a:moveTo>
                      <a:pt x="1100" y="178"/>
                    </a:moveTo>
                    <a:lnTo>
                      <a:pt x="1099" y="178"/>
                    </a:lnTo>
                    <a:lnTo>
                      <a:pt x="1100" y="178"/>
                    </a:lnTo>
                    <a:close/>
                    <a:moveTo>
                      <a:pt x="1074" y="198"/>
                    </a:moveTo>
                    <a:lnTo>
                      <a:pt x="1072" y="198"/>
                    </a:lnTo>
                    <a:lnTo>
                      <a:pt x="1074" y="198"/>
                    </a:lnTo>
                    <a:close/>
                    <a:moveTo>
                      <a:pt x="1099" y="176"/>
                    </a:moveTo>
                    <a:lnTo>
                      <a:pt x="1099" y="178"/>
                    </a:lnTo>
                    <a:lnTo>
                      <a:pt x="1099" y="176"/>
                    </a:lnTo>
                    <a:close/>
                    <a:moveTo>
                      <a:pt x="1085" y="188"/>
                    </a:moveTo>
                    <a:lnTo>
                      <a:pt x="1083" y="188"/>
                    </a:lnTo>
                    <a:lnTo>
                      <a:pt x="1085" y="188"/>
                    </a:lnTo>
                    <a:close/>
                    <a:moveTo>
                      <a:pt x="1085" y="186"/>
                    </a:moveTo>
                    <a:lnTo>
                      <a:pt x="1085" y="188"/>
                    </a:lnTo>
                    <a:lnTo>
                      <a:pt x="1085" y="186"/>
                    </a:lnTo>
                    <a:close/>
                    <a:moveTo>
                      <a:pt x="553" y="490"/>
                    </a:moveTo>
                    <a:lnTo>
                      <a:pt x="553" y="492"/>
                    </a:lnTo>
                    <a:lnTo>
                      <a:pt x="553" y="490"/>
                    </a:lnTo>
                    <a:close/>
                    <a:moveTo>
                      <a:pt x="1135" y="148"/>
                    </a:moveTo>
                    <a:lnTo>
                      <a:pt x="1135" y="146"/>
                    </a:lnTo>
                    <a:lnTo>
                      <a:pt x="1135" y="148"/>
                    </a:lnTo>
                    <a:close/>
                    <a:moveTo>
                      <a:pt x="551" y="490"/>
                    </a:moveTo>
                    <a:lnTo>
                      <a:pt x="549" y="490"/>
                    </a:lnTo>
                    <a:lnTo>
                      <a:pt x="551" y="490"/>
                    </a:lnTo>
                    <a:close/>
                    <a:moveTo>
                      <a:pt x="397" y="546"/>
                    </a:moveTo>
                    <a:lnTo>
                      <a:pt x="395" y="546"/>
                    </a:lnTo>
                    <a:lnTo>
                      <a:pt x="397" y="546"/>
                    </a:lnTo>
                    <a:close/>
                    <a:moveTo>
                      <a:pt x="386" y="549"/>
                    </a:moveTo>
                    <a:lnTo>
                      <a:pt x="386" y="547"/>
                    </a:lnTo>
                    <a:lnTo>
                      <a:pt x="386" y="549"/>
                    </a:lnTo>
                    <a:close/>
                    <a:moveTo>
                      <a:pt x="399" y="542"/>
                    </a:moveTo>
                    <a:lnTo>
                      <a:pt x="399" y="544"/>
                    </a:lnTo>
                    <a:lnTo>
                      <a:pt x="399" y="542"/>
                    </a:lnTo>
                    <a:close/>
                    <a:moveTo>
                      <a:pt x="401" y="542"/>
                    </a:moveTo>
                    <a:lnTo>
                      <a:pt x="399" y="542"/>
                    </a:lnTo>
                    <a:lnTo>
                      <a:pt x="401" y="542"/>
                    </a:lnTo>
                    <a:close/>
                    <a:moveTo>
                      <a:pt x="1077" y="186"/>
                    </a:moveTo>
                    <a:lnTo>
                      <a:pt x="1075" y="186"/>
                    </a:lnTo>
                    <a:lnTo>
                      <a:pt x="1077" y="186"/>
                    </a:lnTo>
                    <a:close/>
                    <a:moveTo>
                      <a:pt x="405" y="540"/>
                    </a:moveTo>
                    <a:lnTo>
                      <a:pt x="405" y="542"/>
                    </a:lnTo>
                    <a:lnTo>
                      <a:pt x="405" y="540"/>
                    </a:lnTo>
                    <a:close/>
                    <a:moveTo>
                      <a:pt x="332" y="565"/>
                    </a:moveTo>
                    <a:lnTo>
                      <a:pt x="330" y="565"/>
                    </a:lnTo>
                    <a:lnTo>
                      <a:pt x="332" y="565"/>
                    </a:lnTo>
                    <a:close/>
                    <a:moveTo>
                      <a:pt x="411" y="538"/>
                    </a:moveTo>
                    <a:lnTo>
                      <a:pt x="409" y="538"/>
                    </a:lnTo>
                    <a:lnTo>
                      <a:pt x="411" y="538"/>
                    </a:lnTo>
                    <a:close/>
                    <a:moveTo>
                      <a:pt x="411" y="538"/>
                    </a:moveTo>
                    <a:lnTo>
                      <a:pt x="409" y="538"/>
                    </a:lnTo>
                    <a:lnTo>
                      <a:pt x="411" y="538"/>
                    </a:lnTo>
                    <a:close/>
                    <a:moveTo>
                      <a:pt x="1079" y="182"/>
                    </a:moveTo>
                    <a:lnTo>
                      <a:pt x="1077" y="182"/>
                    </a:lnTo>
                    <a:lnTo>
                      <a:pt x="1079" y="182"/>
                    </a:lnTo>
                    <a:close/>
                    <a:moveTo>
                      <a:pt x="568" y="473"/>
                    </a:moveTo>
                    <a:lnTo>
                      <a:pt x="568" y="474"/>
                    </a:lnTo>
                    <a:lnTo>
                      <a:pt x="568" y="473"/>
                    </a:lnTo>
                    <a:close/>
                    <a:moveTo>
                      <a:pt x="568" y="473"/>
                    </a:moveTo>
                    <a:lnTo>
                      <a:pt x="566" y="473"/>
                    </a:lnTo>
                    <a:lnTo>
                      <a:pt x="568" y="473"/>
                    </a:lnTo>
                    <a:close/>
                    <a:moveTo>
                      <a:pt x="568" y="473"/>
                    </a:moveTo>
                    <a:lnTo>
                      <a:pt x="566" y="473"/>
                    </a:lnTo>
                    <a:lnTo>
                      <a:pt x="568" y="473"/>
                    </a:lnTo>
                    <a:close/>
                    <a:moveTo>
                      <a:pt x="566" y="473"/>
                    </a:moveTo>
                    <a:lnTo>
                      <a:pt x="568" y="473"/>
                    </a:lnTo>
                    <a:lnTo>
                      <a:pt x="566" y="473"/>
                    </a:lnTo>
                    <a:close/>
                    <a:moveTo>
                      <a:pt x="330" y="561"/>
                    </a:moveTo>
                    <a:lnTo>
                      <a:pt x="330" y="559"/>
                    </a:lnTo>
                    <a:lnTo>
                      <a:pt x="330" y="561"/>
                    </a:lnTo>
                    <a:close/>
                    <a:moveTo>
                      <a:pt x="566" y="471"/>
                    </a:moveTo>
                    <a:lnTo>
                      <a:pt x="566" y="469"/>
                    </a:lnTo>
                    <a:lnTo>
                      <a:pt x="566" y="471"/>
                    </a:lnTo>
                    <a:close/>
                    <a:moveTo>
                      <a:pt x="566" y="465"/>
                    </a:moveTo>
                    <a:lnTo>
                      <a:pt x="566" y="463"/>
                    </a:lnTo>
                    <a:lnTo>
                      <a:pt x="566" y="465"/>
                    </a:lnTo>
                    <a:close/>
                    <a:moveTo>
                      <a:pt x="1125" y="126"/>
                    </a:moveTo>
                    <a:lnTo>
                      <a:pt x="1125" y="128"/>
                    </a:lnTo>
                    <a:lnTo>
                      <a:pt x="1125" y="126"/>
                    </a:lnTo>
                    <a:close/>
                    <a:moveTo>
                      <a:pt x="564" y="459"/>
                    </a:moveTo>
                    <a:lnTo>
                      <a:pt x="564" y="461"/>
                    </a:lnTo>
                    <a:lnTo>
                      <a:pt x="564" y="459"/>
                    </a:lnTo>
                    <a:close/>
                    <a:moveTo>
                      <a:pt x="563" y="459"/>
                    </a:moveTo>
                    <a:lnTo>
                      <a:pt x="563" y="461"/>
                    </a:lnTo>
                    <a:lnTo>
                      <a:pt x="563" y="459"/>
                    </a:lnTo>
                    <a:close/>
                    <a:moveTo>
                      <a:pt x="845" y="315"/>
                    </a:moveTo>
                    <a:lnTo>
                      <a:pt x="845" y="313"/>
                    </a:lnTo>
                    <a:lnTo>
                      <a:pt x="845" y="315"/>
                    </a:lnTo>
                    <a:close/>
                    <a:moveTo>
                      <a:pt x="359" y="532"/>
                    </a:moveTo>
                    <a:lnTo>
                      <a:pt x="357" y="532"/>
                    </a:lnTo>
                    <a:lnTo>
                      <a:pt x="359" y="532"/>
                    </a:lnTo>
                    <a:close/>
                    <a:moveTo>
                      <a:pt x="563" y="455"/>
                    </a:moveTo>
                    <a:lnTo>
                      <a:pt x="563" y="453"/>
                    </a:lnTo>
                    <a:lnTo>
                      <a:pt x="563" y="455"/>
                    </a:lnTo>
                    <a:close/>
                    <a:moveTo>
                      <a:pt x="563" y="453"/>
                    </a:moveTo>
                    <a:lnTo>
                      <a:pt x="561" y="453"/>
                    </a:lnTo>
                    <a:lnTo>
                      <a:pt x="563" y="453"/>
                    </a:lnTo>
                    <a:close/>
                    <a:moveTo>
                      <a:pt x="561" y="453"/>
                    </a:moveTo>
                    <a:lnTo>
                      <a:pt x="563" y="453"/>
                    </a:lnTo>
                    <a:lnTo>
                      <a:pt x="561" y="453"/>
                    </a:lnTo>
                    <a:close/>
                    <a:moveTo>
                      <a:pt x="1116" y="121"/>
                    </a:moveTo>
                    <a:lnTo>
                      <a:pt x="1118" y="121"/>
                    </a:lnTo>
                    <a:lnTo>
                      <a:pt x="1116" y="121"/>
                    </a:lnTo>
                    <a:close/>
                    <a:moveTo>
                      <a:pt x="561" y="453"/>
                    </a:moveTo>
                    <a:lnTo>
                      <a:pt x="561" y="451"/>
                    </a:lnTo>
                    <a:lnTo>
                      <a:pt x="561" y="453"/>
                    </a:lnTo>
                    <a:close/>
                    <a:moveTo>
                      <a:pt x="561" y="449"/>
                    </a:moveTo>
                    <a:lnTo>
                      <a:pt x="561" y="448"/>
                    </a:lnTo>
                    <a:lnTo>
                      <a:pt x="561" y="449"/>
                    </a:lnTo>
                    <a:close/>
                    <a:moveTo>
                      <a:pt x="351" y="526"/>
                    </a:moveTo>
                    <a:lnTo>
                      <a:pt x="349" y="526"/>
                    </a:lnTo>
                    <a:lnTo>
                      <a:pt x="349" y="524"/>
                    </a:lnTo>
                    <a:lnTo>
                      <a:pt x="351" y="526"/>
                    </a:lnTo>
                    <a:close/>
                    <a:moveTo>
                      <a:pt x="559" y="448"/>
                    </a:moveTo>
                    <a:lnTo>
                      <a:pt x="559" y="446"/>
                    </a:lnTo>
                    <a:lnTo>
                      <a:pt x="559" y="448"/>
                    </a:lnTo>
                    <a:close/>
                    <a:moveTo>
                      <a:pt x="561" y="440"/>
                    </a:moveTo>
                    <a:lnTo>
                      <a:pt x="561" y="442"/>
                    </a:lnTo>
                    <a:lnTo>
                      <a:pt x="561" y="440"/>
                    </a:lnTo>
                    <a:close/>
                    <a:moveTo>
                      <a:pt x="1114" y="109"/>
                    </a:moveTo>
                    <a:lnTo>
                      <a:pt x="1112" y="109"/>
                    </a:lnTo>
                    <a:lnTo>
                      <a:pt x="1112" y="107"/>
                    </a:lnTo>
                    <a:lnTo>
                      <a:pt x="1114" y="109"/>
                    </a:lnTo>
                    <a:close/>
                    <a:moveTo>
                      <a:pt x="1114" y="101"/>
                    </a:moveTo>
                    <a:lnTo>
                      <a:pt x="1114" y="103"/>
                    </a:lnTo>
                    <a:lnTo>
                      <a:pt x="1114" y="101"/>
                    </a:lnTo>
                    <a:close/>
                    <a:moveTo>
                      <a:pt x="1114" y="101"/>
                    </a:moveTo>
                    <a:lnTo>
                      <a:pt x="1112" y="101"/>
                    </a:lnTo>
                    <a:lnTo>
                      <a:pt x="1114" y="101"/>
                    </a:lnTo>
                    <a:close/>
                    <a:moveTo>
                      <a:pt x="561" y="432"/>
                    </a:moveTo>
                    <a:lnTo>
                      <a:pt x="561" y="434"/>
                    </a:lnTo>
                    <a:lnTo>
                      <a:pt x="561" y="432"/>
                    </a:lnTo>
                    <a:lnTo>
                      <a:pt x="561" y="434"/>
                    </a:lnTo>
                    <a:lnTo>
                      <a:pt x="561" y="432"/>
                    </a:lnTo>
                    <a:close/>
                    <a:moveTo>
                      <a:pt x="336" y="517"/>
                    </a:moveTo>
                    <a:lnTo>
                      <a:pt x="336" y="515"/>
                    </a:lnTo>
                    <a:lnTo>
                      <a:pt x="336" y="517"/>
                    </a:lnTo>
                    <a:close/>
                    <a:moveTo>
                      <a:pt x="1102" y="107"/>
                    </a:moveTo>
                    <a:lnTo>
                      <a:pt x="1102" y="109"/>
                    </a:lnTo>
                    <a:lnTo>
                      <a:pt x="1102" y="107"/>
                    </a:lnTo>
                    <a:close/>
                    <a:moveTo>
                      <a:pt x="1102" y="107"/>
                    </a:moveTo>
                    <a:lnTo>
                      <a:pt x="1102" y="109"/>
                    </a:lnTo>
                    <a:lnTo>
                      <a:pt x="1102" y="107"/>
                    </a:lnTo>
                    <a:lnTo>
                      <a:pt x="1102" y="109"/>
                    </a:lnTo>
                    <a:lnTo>
                      <a:pt x="1102" y="107"/>
                    </a:lnTo>
                    <a:close/>
                    <a:moveTo>
                      <a:pt x="1102" y="103"/>
                    </a:moveTo>
                    <a:lnTo>
                      <a:pt x="1104" y="103"/>
                    </a:lnTo>
                    <a:lnTo>
                      <a:pt x="1102" y="103"/>
                    </a:lnTo>
                    <a:lnTo>
                      <a:pt x="1104" y="103"/>
                    </a:lnTo>
                    <a:lnTo>
                      <a:pt x="1102" y="103"/>
                    </a:lnTo>
                    <a:close/>
                    <a:moveTo>
                      <a:pt x="1099" y="105"/>
                    </a:moveTo>
                    <a:lnTo>
                      <a:pt x="1099" y="107"/>
                    </a:lnTo>
                    <a:lnTo>
                      <a:pt x="1099" y="105"/>
                    </a:lnTo>
                    <a:close/>
                    <a:moveTo>
                      <a:pt x="1099" y="107"/>
                    </a:moveTo>
                    <a:lnTo>
                      <a:pt x="1097" y="107"/>
                    </a:lnTo>
                    <a:lnTo>
                      <a:pt x="1099" y="107"/>
                    </a:lnTo>
                    <a:close/>
                    <a:moveTo>
                      <a:pt x="1104" y="101"/>
                    </a:moveTo>
                    <a:lnTo>
                      <a:pt x="1102" y="101"/>
                    </a:lnTo>
                    <a:lnTo>
                      <a:pt x="1104" y="101"/>
                    </a:lnTo>
                    <a:close/>
                    <a:moveTo>
                      <a:pt x="830" y="292"/>
                    </a:moveTo>
                    <a:lnTo>
                      <a:pt x="828" y="292"/>
                    </a:lnTo>
                    <a:lnTo>
                      <a:pt x="830" y="292"/>
                    </a:lnTo>
                    <a:close/>
                    <a:moveTo>
                      <a:pt x="1100" y="103"/>
                    </a:moveTo>
                    <a:lnTo>
                      <a:pt x="1102" y="103"/>
                    </a:lnTo>
                    <a:lnTo>
                      <a:pt x="1100" y="103"/>
                    </a:lnTo>
                    <a:lnTo>
                      <a:pt x="1102" y="103"/>
                    </a:lnTo>
                    <a:lnTo>
                      <a:pt x="1100" y="103"/>
                    </a:lnTo>
                    <a:close/>
                    <a:moveTo>
                      <a:pt x="1099" y="105"/>
                    </a:moveTo>
                    <a:lnTo>
                      <a:pt x="1097" y="105"/>
                    </a:lnTo>
                    <a:lnTo>
                      <a:pt x="1099" y="105"/>
                    </a:lnTo>
                    <a:close/>
                    <a:moveTo>
                      <a:pt x="1108" y="98"/>
                    </a:moveTo>
                    <a:lnTo>
                      <a:pt x="1108" y="96"/>
                    </a:lnTo>
                    <a:lnTo>
                      <a:pt x="1108" y="98"/>
                    </a:lnTo>
                    <a:close/>
                    <a:moveTo>
                      <a:pt x="1104" y="100"/>
                    </a:moveTo>
                    <a:lnTo>
                      <a:pt x="1102" y="100"/>
                    </a:lnTo>
                    <a:lnTo>
                      <a:pt x="1104" y="100"/>
                    </a:lnTo>
                    <a:close/>
                    <a:moveTo>
                      <a:pt x="338" y="509"/>
                    </a:moveTo>
                    <a:lnTo>
                      <a:pt x="336" y="509"/>
                    </a:lnTo>
                    <a:lnTo>
                      <a:pt x="338" y="509"/>
                    </a:lnTo>
                    <a:close/>
                    <a:moveTo>
                      <a:pt x="1114" y="92"/>
                    </a:moveTo>
                    <a:lnTo>
                      <a:pt x="1114" y="90"/>
                    </a:lnTo>
                    <a:lnTo>
                      <a:pt x="1114" y="92"/>
                    </a:lnTo>
                    <a:lnTo>
                      <a:pt x="1114" y="90"/>
                    </a:lnTo>
                    <a:lnTo>
                      <a:pt x="1114" y="92"/>
                    </a:lnTo>
                    <a:close/>
                    <a:moveTo>
                      <a:pt x="1114" y="90"/>
                    </a:moveTo>
                    <a:lnTo>
                      <a:pt x="1116" y="90"/>
                    </a:lnTo>
                    <a:lnTo>
                      <a:pt x="1114" y="90"/>
                    </a:lnTo>
                    <a:close/>
                    <a:moveTo>
                      <a:pt x="1112" y="94"/>
                    </a:moveTo>
                    <a:lnTo>
                      <a:pt x="1110" y="94"/>
                    </a:lnTo>
                    <a:lnTo>
                      <a:pt x="1112" y="94"/>
                    </a:lnTo>
                    <a:close/>
                    <a:moveTo>
                      <a:pt x="1114" y="90"/>
                    </a:moveTo>
                    <a:lnTo>
                      <a:pt x="1116" y="90"/>
                    </a:lnTo>
                    <a:lnTo>
                      <a:pt x="1114" y="90"/>
                    </a:lnTo>
                    <a:close/>
                    <a:moveTo>
                      <a:pt x="1112" y="92"/>
                    </a:moveTo>
                    <a:lnTo>
                      <a:pt x="1112" y="94"/>
                    </a:lnTo>
                    <a:lnTo>
                      <a:pt x="1112" y="92"/>
                    </a:lnTo>
                    <a:close/>
                    <a:moveTo>
                      <a:pt x="1106" y="96"/>
                    </a:moveTo>
                    <a:lnTo>
                      <a:pt x="1106" y="98"/>
                    </a:lnTo>
                    <a:lnTo>
                      <a:pt x="1106" y="96"/>
                    </a:lnTo>
                    <a:close/>
                    <a:moveTo>
                      <a:pt x="1083" y="115"/>
                    </a:moveTo>
                    <a:lnTo>
                      <a:pt x="1081" y="115"/>
                    </a:lnTo>
                    <a:lnTo>
                      <a:pt x="1083" y="115"/>
                    </a:lnTo>
                    <a:close/>
                    <a:moveTo>
                      <a:pt x="1110" y="92"/>
                    </a:moveTo>
                    <a:lnTo>
                      <a:pt x="1110" y="94"/>
                    </a:lnTo>
                    <a:lnTo>
                      <a:pt x="1110" y="92"/>
                    </a:lnTo>
                    <a:close/>
                    <a:moveTo>
                      <a:pt x="1081" y="115"/>
                    </a:moveTo>
                    <a:lnTo>
                      <a:pt x="1083" y="115"/>
                    </a:lnTo>
                    <a:lnTo>
                      <a:pt x="1081" y="115"/>
                    </a:lnTo>
                    <a:close/>
                    <a:moveTo>
                      <a:pt x="1112" y="90"/>
                    </a:moveTo>
                    <a:lnTo>
                      <a:pt x="1112" y="92"/>
                    </a:lnTo>
                    <a:lnTo>
                      <a:pt x="1112" y="90"/>
                    </a:lnTo>
                    <a:close/>
                    <a:moveTo>
                      <a:pt x="564" y="423"/>
                    </a:moveTo>
                    <a:lnTo>
                      <a:pt x="563" y="423"/>
                    </a:lnTo>
                    <a:lnTo>
                      <a:pt x="564" y="423"/>
                    </a:lnTo>
                    <a:close/>
                    <a:moveTo>
                      <a:pt x="1108" y="92"/>
                    </a:moveTo>
                    <a:lnTo>
                      <a:pt x="1110" y="92"/>
                    </a:lnTo>
                    <a:lnTo>
                      <a:pt x="1108" y="92"/>
                    </a:lnTo>
                    <a:close/>
                    <a:moveTo>
                      <a:pt x="1087" y="109"/>
                    </a:moveTo>
                    <a:lnTo>
                      <a:pt x="1087" y="111"/>
                    </a:lnTo>
                    <a:lnTo>
                      <a:pt x="1087" y="109"/>
                    </a:lnTo>
                    <a:close/>
                    <a:moveTo>
                      <a:pt x="1112" y="88"/>
                    </a:moveTo>
                    <a:lnTo>
                      <a:pt x="1112" y="90"/>
                    </a:lnTo>
                    <a:lnTo>
                      <a:pt x="1112" y="88"/>
                    </a:lnTo>
                    <a:close/>
                    <a:moveTo>
                      <a:pt x="1083" y="113"/>
                    </a:moveTo>
                    <a:lnTo>
                      <a:pt x="1083" y="111"/>
                    </a:lnTo>
                    <a:lnTo>
                      <a:pt x="1083" y="113"/>
                    </a:lnTo>
                    <a:close/>
                    <a:moveTo>
                      <a:pt x="1083" y="113"/>
                    </a:moveTo>
                    <a:lnTo>
                      <a:pt x="1081" y="113"/>
                    </a:lnTo>
                    <a:lnTo>
                      <a:pt x="1083" y="113"/>
                    </a:lnTo>
                    <a:close/>
                    <a:moveTo>
                      <a:pt x="1091" y="105"/>
                    </a:moveTo>
                    <a:lnTo>
                      <a:pt x="1091" y="103"/>
                    </a:lnTo>
                    <a:lnTo>
                      <a:pt x="1093" y="103"/>
                    </a:lnTo>
                    <a:lnTo>
                      <a:pt x="1091" y="105"/>
                    </a:lnTo>
                    <a:close/>
                    <a:moveTo>
                      <a:pt x="1077" y="113"/>
                    </a:moveTo>
                    <a:lnTo>
                      <a:pt x="1075" y="113"/>
                    </a:lnTo>
                    <a:lnTo>
                      <a:pt x="1077" y="113"/>
                    </a:lnTo>
                    <a:close/>
                    <a:moveTo>
                      <a:pt x="1066" y="119"/>
                    </a:moveTo>
                    <a:lnTo>
                      <a:pt x="1066" y="121"/>
                    </a:lnTo>
                    <a:lnTo>
                      <a:pt x="1066" y="119"/>
                    </a:lnTo>
                    <a:close/>
                    <a:moveTo>
                      <a:pt x="1066" y="119"/>
                    </a:moveTo>
                    <a:lnTo>
                      <a:pt x="1068" y="119"/>
                    </a:lnTo>
                    <a:lnTo>
                      <a:pt x="1066" y="119"/>
                    </a:lnTo>
                    <a:close/>
                    <a:moveTo>
                      <a:pt x="1070" y="115"/>
                    </a:moveTo>
                    <a:lnTo>
                      <a:pt x="1070" y="117"/>
                    </a:lnTo>
                    <a:lnTo>
                      <a:pt x="1070" y="115"/>
                    </a:lnTo>
                    <a:close/>
                    <a:moveTo>
                      <a:pt x="824" y="282"/>
                    </a:moveTo>
                    <a:lnTo>
                      <a:pt x="824" y="284"/>
                    </a:lnTo>
                    <a:lnTo>
                      <a:pt x="824" y="282"/>
                    </a:lnTo>
                    <a:close/>
                    <a:moveTo>
                      <a:pt x="1070" y="117"/>
                    </a:moveTo>
                    <a:lnTo>
                      <a:pt x="1068" y="117"/>
                    </a:lnTo>
                    <a:lnTo>
                      <a:pt x="1070" y="117"/>
                    </a:lnTo>
                    <a:close/>
                    <a:moveTo>
                      <a:pt x="1068" y="117"/>
                    </a:moveTo>
                    <a:lnTo>
                      <a:pt x="1066" y="117"/>
                    </a:lnTo>
                    <a:lnTo>
                      <a:pt x="1068" y="117"/>
                    </a:lnTo>
                    <a:close/>
                    <a:moveTo>
                      <a:pt x="1062" y="117"/>
                    </a:moveTo>
                    <a:lnTo>
                      <a:pt x="1064" y="117"/>
                    </a:lnTo>
                    <a:lnTo>
                      <a:pt x="1062" y="117"/>
                    </a:lnTo>
                    <a:close/>
                    <a:moveTo>
                      <a:pt x="1064" y="117"/>
                    </a:moveTo>
                    <a:lnTo>
                      <a:pt x="1062" y="117"/>
                    </a:lnTo>
                    <a:lnTo>
                      <a:pt x="1064" y="117"/>
                    </a:lnTo>
                    <a:close/>
                    <a:moveTo>
                      <a:pt x="343" y="494"/>
                    </a:moveTo>
                    <a:lnTo>
                      <a:pt x="342" y="496"/>
                    </a:lnTo>
                    <a:lnTo>
                      <a:pt x="343" y="494"/>
                    </a:lnTo>
                    <a:close/>
                    <a:moveTo>
                      <a:pt x="568" y="407"/>
                    </a:moveTo>
                    <a:lnTo>
                      <a:pt x="566" y="407"/>
                    </a:lnTo>
                    <a:lnTo>
                      <a:pt x="568" y="405"/>
                    </a:lnTo>
                    <a:lnTo>
                      <a:pt x="568" y="407"/>
                    </a:lnTo>
                    <a:close/>
                    <a:moveTo>
                      <a:pt x="340" y="492"/>
                    </a:moveTo>
                    <a:lnTo>
                      <a:pt x="340" y="490"/>
                    </a:lnTo>
                    <a:lnTo>
                      <a:pt x="340" y="492"/>
                    </a:lnTo>
                    <a:close/>
                    <a:moveTo>
                      <a:pt x="338" y="490"/>
                    </a:moveTo>
                    <a:lnTo>
                      <a:pt x="338" y="492"/>
                    </a:lnTo>
                    <a:lnTo>
                      <a:pt x="338" y="490"/>
                    </a:lnTo>
                    <a:close/>
                    <a:moveTo>
                      <a:pt x="342" y="488"/>
                    </a:moveTo>
                    <a:lnTo>
                      <a:pt x="342" y="490"/>
                    </a:lnTo>
                    <a:lnTo>
                      <a:pt x="342" y="488"/>
                    </a:lnTo>
                    <a:close/>
                    <a:moveTo>
                      <a:pt x="820" y="275"/>
                    </a:moveTo>
                    <a:lnTo>
                      <a:pt x="820" y="273"/>
                    </a:lnTo>
                    <a:lnTo>
                      <a:pt x="820" y="275"/>
                    </a:lnTo>
                    <a:close/>
                    <a:moveTo>
                      <a:pt x="568" y="401"/>
                    </a:moveTo>
                    <a:lnTo>
                      <a:pt x="566" y="401"/>
                    </a:lnTo>
                    <a:lnTo>
                      <a:pt x="568" y="401"/>
                    </a:lnTo>
                    <a:close/>
                    <a:moveTo>
                      <a:pt x="343" y="486"/>
                    </a:moveTo>
                    <a:lnTo>
                      <a:pt x="342" y="486"/>
                    </a:lnTo>
                    <a:lnTo>
                      <a:pt x="343" y="486"/>
                    </a:lnTo>
                    <a:close/>
                    <a:moveTo>
                      <a:pt x="343" y="486"/>
                    </a:moveTo>
                    <a:lnTo>
                      <a:pt x="342" y="486"/>
                    </a:lnTo>
                    <a:lnTo>
                      <a:pt x="343" y="486"/>
                    </a:lnTo>
                    <a:close/>
                    <a:moveTo>
                      <a:pt x="820" y="271"/>
                    </a:moveTo>
                    <a:lnTo>
                      <a:pt x="820" y="273"/>
                    </a:lnTo>
                    <a:lnTo>
                      <a:pt x="820" y="271"/>
                    </a:lnTo>
                    <a:close/>
                    <a:moveTo>
                      <a:pt x="1060" y="105"/>
                    </a:moveTo>
                    <a:lnTo>
                      <a:pt x="1060" y="107"/>
                    </a:lnTo>
                    <a:lnTo>
                      <a:pt x="1060" y="105"/>
                    </a:lnTo>
                    <a:close/>
                    <a:moveTo>
                      <a:pt x="349" y="478"/>
                    </a:moveTo>
                    <a:lnTo>
                      <a:pt x="349" y="480"/>
                    </a:lnTo>
                    <a:lnTo>
                      <a:pt x="349" y="478"/>
                    </a:lnTo>
                    <a:close/>
                    <a:moveTo>
                      <a:pt x="561" y="398"/>
                    </a:moveTo>
                    <a:lnTo>
                      <a:pt x="561" y="399"/>
                    </a:lnTo>
                    <a:lnTo>
                      <a:pt x="561" y="398"/>
                    </a:lnTo>
                    <a:close/>
                    <a:moveTo>
                      <a:pt x="503" y="423"/>
                    </a:moveTo>
                    <a:lnTo>
                      <a:pt x="501" y="423"/>
                    </a:lnTo>
                    <a:lnTo>
                      <a:pt x="503" y="423"/>
                    </a:lnTo>
                    <a:close/>
                    <a:moveTo>
                      <a:pt x="1056" y="101"/>
                    </a:moveTo>
                    <a:lnTo>
                      <a:pt x="1054" y="101"/>
                    </a:lnTo>
                    <a:lnTo>
                      <a:pt x="1056" y="101"/>
                    </a:lnTo>
                    <a:close/>
                    <a:moveTo>
                      <a:pt x="353" y="473"/>
                    </a:moveTo>
                    <a:lnTo>
                      <a:pt x="351" y="473"/>
                    </a:lnTo>
                    <a:lnTo>
                      <a:pt x="353" y="473"/>
                    </a:lnTo>
                    <a:close/>
                    <a:moveTo>
                      <a:pt x="551" y="396"/>
                    </a:moveTo>
                    <a:lnTo>
                      <a:pt x="551" y="394"/>
                    </a:lnTo>
                    <a:lnTo>
                      <a:pt x="551" y="396"/>
                    </a:lnTo>
                    <a:close/>
                    <a:moveTo>
                      <a:pt x="351" y="469"/>
                    </a:moveTo>
                    <a:lnTo>
                      <a:pt x="351" y="471"/>
                    </a:lnTo>
                    <a:lnTo>
                      <a:pt x="351" y="469"/>
                    </a:lnTo>
                    <a:lnTo>
                      <a:pt x="351" y="471"/>
                    </a:lnTo>
                    <a:lnTo>
                      <a:pt x="351" y="469"/>
                    </a:lnTo>
                    <a:close/>
                    <a:moveTo>
                      <a:pt x="551" y="390"/>
                    </a:moveTo>
                    <a:lnTo>
                      <a:pt x="551" y="392"/>
                    </a:lnTo>
                    <a:lnTo>
                      <a:pt x="551" y="390"/>
                    </a:lnTo>
                    <a:close/>
                    <a:moveTo>
                      <a:pt x="347" y="465"/>
                    </a:moveTo>
                    <a:lnTo>
                      <a:pt x="347" y="463"/>
                    </a:lnTo>
                    <a:lnTo>
                      <a:pt x="347" y="465"/>
                    </a:lnTo>
                    <a:close/>
                    <a:moveTo>
                      <a:pt x="343" y="463"/>
                    </a:moveTo>
                    <a:lnTo>
                      <a:pt x="343" y="461"/>
                    </a:lnTo>
                    <a:lnTo>
                      <a:pt x="343" y="463"/>
                    </a:lnTo>
                    <a:close/>
                    <a:moveTo>
                      <a:pt x="551" y="384"/>
                    </a:moveTo>
                    <a:lnTo>
                      <a:pt x="549" y="384"/>
                    </a:lnTo>
                    <a:lnTo>
                      <a:pt x="551" y="384"/>
                    </a:lnTo>
                    <a:close/>
                    <a:moveTo>
                      <a:pt x="343" y="461"/>
                    </a:moveTo>
                    <a:lnTo>
                      <a:pt x="345" y="461"/>
                    </a:lnTo>
                    <a:lnTo>
                      <a:pt x="343" y="461"/>
                    </a:lnTo>
                    <a:close/>
                    <a:moveTo>
                      <a:pt x="351" y="457"/>
                    </a:moveTo>
                    <a:lnTo>
                      <a:pt x="349" y="457"/>
                    </a:lnTo>
                    <a:lnTo>
                      <a:pt x="351" y="457"/>
                    </a:lnTo>
                    <a:close/>
                    <a:moveTo>
                      <a:pt x="803" y="251"/>
                    </a:moveTo>
                    <a:lnTo>
                      <a:pt x="803" y="250"/>
                    </a:lnTo>
                    <a:lnTo>
                      <a:pt x="803" y="251"/>
                    </a:lnTo>
                    <a:close/>
                    <a:moveTo>
                      <a:pt x="501" y="399"/>
                    </a:moveTo>
                    <a:lnTo>
                      <a:pt x="499" y="399"/>
                    </a:lnTo>
                    <a:lnTo>
                      <a:pt x="501" y="399"/>
                    </a:lnTo>
                    <a:close/>
                    <a:moveTo>
                      <a:pt x="1045" y="84"/>
                    </a:moveTo>
                    <a:lnTo>
                      <a:pt x="1043" y="84"/>
                    </a:lnTo>
                    <a:lnTo>
                      <a:pt x="1045" y="84"/>
                    </a:lnTo>
                    <a:close/>
                    <a:moveTo>
                      <a:pt x="1043" y="84"/>
                    </a:moveTo>
                    <a:lnTo>
                      <a:pt x="1043" y="82"/>
                    </a:lnTo>
                    <a:lnTo>
                      <a:pt x="1043" y="84"/>
                    </a:lnTo>
                    <a:close/>
                    <a:moveTo>
                      <a:pt x="345" y="451"/>
                    </a:moveTo>
                    <a:lnTo>
                      <a:pt x="345" y="453"/>
                    </a:lnTo>
                    <a:lnTo>
                      <a:pt x="345" y="451"/>
                    </a:lnTo>
                    <a:close/>
                    <a:moveTo>
                      <a:pt x="363" y="446"/>
                    </a:moveTo>
                    <a:lnTo>
                      <a:pt x="363" y="448"/>
                    </a:lnTo>
                    <a:lnTo>
                      <a:pt x="363" y="446"/>
                    </a:lnTo>
                    <a:close/>
                    <a:moveTo>
                      <a:pt x="345" y="451"/>
                    </a:moveTo>
                    <a:lnTo>
                      <a:pt x="345" y="453"/>
                    </a:lnTo>
                    <a:lnTo>
                      <a:pt x="345" y="451"/>
                    </a:lnTo>
                    <a:close/>
                    <a:moveTo>
                      <a:pt x="351" y="449"/>
                    </a:moveTo>
                    <a:lnTo>
                      <a:pt x="351" y="451"/>
                    </a:lnTo>
                    <a:lnTo>
                      <a:pt x="351" y="449"/>
                    </a:lnTo>
                    <a:close/>
                    <a:moveTo>
                      <a:pt x="347" y="451"/>
                    </a:moveTo>
                    <a:lnTo>
                      <a:pt x="345" y="451"/>
                    </a:lnTo>
                    <a:lnTo>
                      <a:pt x="347" y="451"/>
                    </a:lnTo>
                    <a:close/>
                    <a:moveTo>
                      <a:pt x="349" y="449"/>
                    </a:moveTo>
                    <a:lnTo>
                      <a:pt x="347" y="449"/>
                    </a:lnTo>
                    <a:lnTo>
                      <a:pt x="349" y="449"/>
                    </a:lnTo>
                    <a:close/>
                    <a:moveTo>
                      <a:pt x="353" y="448"/>
                    </a:moveTo>
                    <a:lnTo>
                      <a:pt x="353" y="449"/>
                    </a:lnTo>
                    <a:lnTo>
                      <a:pt x="353" y="448"/>
                    </a:lnTo>
                    <a:close/>
                    <a:moveTo>
                      <a:pt x="357" y="448"/>
                    </a:moveTo>
                    <a:lnTo>
                      <a:pt x="359" y="448"/>
                    </a:lnTo>
                    <a:lnTo>
                      <a:pt x="357" y="448"/>
                    </a:lnTo>
                    <a:close/>
                    <a:moveTo>
                      <a:pt x="353" y="449"/>
                    </a:moveTo>
                    <a:lnTo>
                      <a:pt x="353" y="448"/>
                    </a:lnTo>
                    <a:lnTo>
                      <a:pt x="353" y="449"/>
                    </a:lnTo>
                    <a:close/>
                    <a:moveTo>
                      <a:pt x="357" y="448"/>
                    </a:moveTo>
                    <a:lnTo>
                      <a:pt x="355" y="448"/>
                    </a:lnTo>
                    <a:lnTo>
                      <a:pt x="357" y="448"/>
                    </a:lnTo>
                    <a:close/>
                    <a:moveTo>
                      <a:pt x="555" y="363"/>
                    </a:moveTo>
                    <a:lnTo>
                      <a:pt x="555" y="365"/>
                    </a:lnTo>
                    <a:lnTo>
                      <a:pt x="555" y="363"/>
                    </a:lnTo>
                    <a:close/>
                    <a:moveTo>
                      <a:pt x="822" y="225"/>
                    </a:moveTo>
                    <a:lnTo>
                      <a:pt x="822" y="223"/>
                    </a:lnTo>
                    <a:lnTo>
                      <a:pt x="822" y="225"/>
                    </a:lnTo>
                    <a:close/>
                    <a:moveTo>
                      <a:pt x="551" y="365"/>
                    </a:moveTo>
                    <a:lnTo>
                      <a:pt x="549" y="365"/>
                    </a:lnTo>
                    <a:lnTo>
                      <a:pt x="551" y="365"/>
                    </a:lnTo>
                    <a:close/>
                    <a:moveTo>
                      <a:pt x="559" y="361"/>
                    </a:moveTo>
                    <a:lnTo>
                      <a:pt x="557" y="361"/>
                    </a:lnTo>
                    <a:lnTo>
                      <a:pt x="559" y="361"/>
                    </a:lnTo>
                    <a:close/>
                    <a:moveTo>
                      <a:pt x="559" y="359"/>
                    </a:moveTo>
                    <a:lnTo>
                      <a:pt x="559" y="361"/>
                    </a:lnTo>
                    <a:lnTo>
                      <a:pt x="559" y="359"/>
                    </a:lnTo>
                    <a:close/>
                    <a:moveTo>
                      <a:pt x="420" y="415"/>
                    </a:moveTo>
                    <a:lnTo>
                      <a:pt x="420" y="413"/>
                    </a:lnTo>
                    <a:lnTo>
                      <a:pt x="420" y="415"/>
                    </a:lnTo>
                    <a:close/>
                    <a:moveTo>
                      <a:pt x="820" y="221"/>
                    </a:moveTo>
                    <a:lnTo>
                      <a:pt x="822" y="221"/>
                    </a:lnTo>
                    <a:lnTo>
                      <a:pt x="820" y="221"/>
                    </a:lnTo>
                    <a:close/>
                    <a:moveTo>
                      <a:pt x="820" y="221"/>
                    </a:moveTo>
                    <a:lnTo>
                      <a:pt x="820" y="219"/>
                    </a:lnTo>
                    <a:lnTo>
                      <a:pt x="820" y="221"/>
                    </a:lnTo>
                    <a:close/>
                    <a:moveTo>
                      <a:pt x="1024" y="78"/>
                    </a:moveTo>
                    <a:lnTo>
                      <a:pt x="1026" y="78"/>
                    </a:lnTo>
                    <a:lnTo>
                      <a:pt x="1024" y="78"/>
                    </a:lnTo>
                    <a:close/>
                    <a:moveTo>
                      <a:pt x="420" y="411"/>
                    </a:moveTo>
                    <a:lnTo>
                      <a:pt x="420" y="413"/>
                    </a:lnTo>
                    <a:lnTo>
                      <a:pt x="420" y="411"/>
                    </a:lnTo>
                    <a:close/>
                    <a:moveTo>
                      <a:pt x="563" y="351"/>
                    </a:moveTo>
                    <a:lnTo>
                      <a:pt x="561" y="351"/>
                    </a:lnTo>
                    <a:lnTo>
                      <a:pt x="563" y="351"/>
                    </a:lnTo>
                    <a:close/>
                    <a:moveTo>
                      <a:pt x="799" y="228"/>
                    </a:moveTo>
                    <a:lnTo>
                      <a:pt x="797" y="228"/>
                    </a:lnTo>
                    <a:lnTo>
                      <a:pt x="799" y="228"/>
                    </a:lnTo>
                    <a:close/>
                    <a:moveTo>
                      <a:pt x="822" y="215"/>
                    </a:moveTo>
                    <a:lnTo>
                      <a:pt x="822" y="213"/>
                    </a:lnTo>
                    <a:lnTo>
                      <a:pt x="822" y="215"/>
                    </a:lnTo>
                    <a:close/>
                    <a:moveTo>
                      <a:pt x="893" y="167"/>
                    </a:moveTo>
                    <a:lnTo>
                      <a:pt x="893" y="169"/>
                    </a:lnTo>
                    <a:lnTo>
                      <a:pt x="893" y="167"/>
                    </a:lnTo>
                    <a:close/>
                    <a:moveTo>
                      <a:pt x="899" y="163"/>
                    </a:moveTo>
                    <a:lnTo>
                      <a:pt x="899" y="165"/>
                    </a:lnTo>
                    <a:lnTo>
                      <a:pt x="899" y="163"/>
                    </a:lnTo>
                    <a:close/>
                    <a:moveTo>
                      <a:pt x="899" y="165"/>
                    </a:moveTo>
                    <a:lnTo>
                      <a:pt x="899" y="163"/>
                    </a:lnTo>
                    <a:lnTo>
                      <a:pt x="899" y="165"/>
                    </a:lnTo>
                    <a:close/>
                    <a:moveTo>
                      <a:pt x="903" y="161"/>
                    </a:moveTo>
                    <a:lnTo>
                      <a:pt x="904" y="161"/>
                    </a:lnTo>
                    <a:lnTo>
                      <a:pt x="903" y="161"/>
                    </a:lnTo>
                    <a:close/>
                    <a:moveTo>
                      <a:pt x="904" y="161"/>
                    </a:moveTo>
                    <a:lnTo>
                      <a:pt x="904" y="159"/>
                    </a:lnTo>
                    <a:lnTo>
                      <a:pt x="904" y="161"/>
                    </a:lnTo>
                    <a:close/>
                    <a:moveTo>
                      <a:pt x="904" y="159"/>
                    </a:moveTo>
                    <a:lnTo>
                      <a:pt x="904" y="161"/>
                    </a:lnTo>
                    <a:lnTo>
                      <a:pt x="903" y="161"/>
                    </a:lnTo>
                    <a:lnTo>
                      <a:pt x="904" y="159"/>
                    </a:lnTo>
                    <a:close/>
                    <a:moveTo>
                      <a:pt x="1014" y="80"/>
                    </a:moveTo>
                    <a:lnTo>
                      <a:pt x="1014" y="78"/>
                    </a:lnTo>
                    <a:lnTo>
                      <a:pt x="1014" y="80"/>
                    </a:lnTo>
                    <a:close/>
                    <a:moveTo>
                      <a:pt x="885" y="169"/>
                    </a:moveTo>
                    <a:lnTo>
                      <a:pt x="883" y="171"/>
                    </a:lnTo>
                    <a:lnTo>
                      <a:pt x="883" y="169"/>
                    </a:lnTo>
                    <a:lnTo>
                      <a:pt x="885" y="169"/>
                    </a:lnTo>
                    <a:close/>
                    <a:moveTo>
                      <a:pt x="885" y="169"/>
                    </a:moveTo>
                    <a:lnTo>
                      <a:pt x="883" y="169"/>
                    </a:lnTo>
                    <a:lnTo>
                      <a:pt x="885" y="169"/>
                    </a:lnTo>
                    <a:close/>
                    <a:moveTo>
                      <a:pt x="885" y="169"/>
                    </a:moveTo>
                    <a:lnTo>
                      <a:pt x="885" y="167"/>
                    </a:lnTo>
                    <a:lnTo>
                      <a:pt x="885" y="169"/>
                    </a:lnTo>
                    <a:close/>
                    <a:moveTo>
                      <a:pt x="422" y="401"/>
                    </a:moveTo>
                    <a:lnTo>
                      <a:pt x="420" y="401"/>
                    </a:lnTo>
                    <a:lnTo>
                      <a:pt x="422" y="401"/>
                    </a:lnTo>
                    <a:close/>
                    <a:moveTo>
                      <a:pt x="489" y="374"/>
                    </a:moveTo>
                    <a:lnTo>
                      <a:pt x="488" y="374"/>
                    </a:lnTo>
                    <a:lnTo>
                      <a:pt x="489" y="374"/>
                    </a:lnTo>
                    <a:close/>
                    <a:moveTo>
                      <a:pt x="420" y="401"/>
                    </a:moveTo>
                    <a:lnTo>
                      <a:pt x="422" y="401"/>
                    </a:lnTo>
                    <a:lnTo>
                      <a:pt x="420" y="401"/>
                    </a:lnTo>
                    <a:lnTo>
                      <a:pt x="422" y="401"/>
                    </a:lnTo>
                    <a:lnTo>
                      <a:pt x="420" y="401"/>
                    </a:lnTo>
                    <a:close/>
                    <a:moveTo>
                      <a:pt x="1004" y="82"/>
                    </a:moveTo>
                    <a:lnTo>
                      <a:pt x="1002" y="82"/>
                    </a:lnTo>
                    <a:lnTo>
                      <a:pt x="1004" y="82"/>
                    </a:lnTo>
                    <a:close/>
                    <a:moveTo>
                      <a:pt x="1002" y="82"/>
                    </a:moveTo>
                    <a:lnTo>
                      <a:pt x="1004" y="82"/>
                    </a:lnTo>
                    <a:lnTo>
                      <a:pt x="1002" y="82"/>
                    </a:lnTo>
                    <a:close/>
                    <a:moveTo>
                      <a:pt x="924" y="138"/>
                    </a:moveTo>
                    <a:lnTo>
                      <a:pt x="924" y="140"/>
                    </a:lnTo>
                    <a:lnTo>
                      <a:pt x="924" y="138"/>
                    </a:lnTo>
                    <a:close/>
                    <a:moveTo>
                      <a:pt x="422" y="399"/>
                    </a:moveTo>
                    <a:lnTo>
                      <a:pt x="422" y="398"/>
                    </a:lnTo>
                    <a:lnTo>
                      <a:pt x="422" y="399"/>
                    </a:lnTo>
                    <a:close/>
                    <a:moveTo>
                      <a:pt x="422" y="396"/>
                    </a:moveTo>
                    <a:lnTo>
                      <a:pt x="422" y="398"/>
                    </a:lnTo>
                    <a:lnTo>
                      <a:pt x="422" y="396"/>
                    </a:lnTo>
                    <a:close/>
                    <a:moveTo>
                      <a:pt x="422" y="396"/>
                    </a:moveTo>
                    <a:lnTo>
                      <a:pt x="424" y="396"/>
                    </a:lnTo>
                    <a:lnTo>
                      <a:pt x="422" y="396"/>
                    </a:lnTo>
                    <a:close/>
                    <a:moveTo>
                      <a:pt x="830" y="194"/>
                    </a:moveTo>
                    <a:lnTo>
                      <a:pt x="830" y="196"/>
                    </a:lnTo>
                    <a:lnTo>
                      <a:pt x="830" y="194"/>
                    </a:lnTo>
                    <a:close/>
                    <a:moveTo>
                      <a:pt x="981" y="90"/>
                    </a:moveTo>
                    <a:lnTo>
                      <a:pt x="981" y="92"/>
                    </a:lnTo>
                    <a:lnTo>
                      <a:pt x="981" y="90"/>
                    </a:lnTo>
                    <a:close/>
                    <a:moveTo>
                      <a:pt x="974" y="94"/>
                    </a:moveTo>
                    <a:lnTo>
                      <a:pt x="976" y="94"/>
                    </a:lnTo>
                    <a:lnTo>
                      <a:pt x="974" y="94"/>
                    </a:lnTo>
                    <a:close/>
                    <a:moveTo>
                      <a:pt x="874" y="163"/>
                    </a:moveTo>
                    <a:lnTo>
                      <a:pt x="874" y="165"/>
                    </a:lnTo>
                    <a:lnTo>
                      <a:pt x="874" y="163"/>
                    </a:lnTo>
                    <a:close/>
                    <a:moveTo>
                      <a:pt x="868" y="169"/>
                    </a:moveTo>
                    <a:lnTo>
                      <a:pt x="866" y="169"/>
                    </a:lnTo>
                    <a:lnTo>
                      <a:pt x="868" y="169"/>
                    </a:lnTo>
                    <a:close/>
                    <a:moveTo>
                      <a:pt x="420" y="392"/>
                    </a:moveTo>
                    <a:lnTo>
                      <a:pt x="420" y="394"/>
                    </a:lnTo>
                    <a:lnTo>
                      <a:pt x="420" y="392"/>
                    </a:lnTo>
                    <a:close/>
                    <a:moveTo>
                      <a:pt x="416" y="394"/>
                    </a:moveTo>
                    <a:lnTo>
                      <a:pt x="418" y="394"/>
                    </a:lnTo>
                    <a:lnTo>
                      <a:pt x="416" y="394"/>
                    </a:lnTo>
                    <a:close/>
                    <a:moveTo>
                      <a:pt x="424" y="390"/>
                    </a:moveTo>
                    <a:lnTo>
                      <a:pt x="424" y="392"/>
                    </a:lnTo>
                    <a:lnTo>
                      <a:pt x="424" y="390"/>
                    </a:lnTo>
                    <a:close/>
                    <a:moveTo>
                      <a:pt x="968" y="100"/>
                    </a:moveTo>
                    <a:lnTo>
                      <a:pt x="966" y="100"/>
                    </a:lnTo>
                    <a:lnTo>
                      <a:pt x="968" y="100"/>
                    </a:lnTo>
                    <a:close/>
                    <a:moveTo>
                      <a:pt x="424" y="390"/>
                    </a:moveTo>
                    <a:lnTo>
                      <a:pt x="424" y="392"/>
                    </a:lnTo>
                    <a:lnTo>
                      <a:pt x="424" y="390"/>
                    </a:lnTo>
                    <a:close/>
                    <a:moveTo>
                      <a:pt x="553" y="338"/>
                    </a:moveTo>
                    <a:lnTo>
                      <a:pt x="551" y="338"/>
                    </a:lnTo>
                    <a:lnTo>
                      <a:pt x="553" y="338"/>
                    </a:lnTo>
                    <a:close/>
                    <a:moveTo>
                      <a:pt x="418" y="392"/>
                    </a:moveTo>
                    <a:lnTo>
                      <a:pt x="418" y="390"/>
                    </a:lnTo>
                    <a:lnTo>
                      <a:pt x="418" y="392"/>
                    </a:lnTo>
                    <a:close/>
                    <a:moveTo>
                      <a:pt x="461" y="373"/>
                    </a:moveTo>
                    <a:lnTo>
                      <a:pt x="461" y="374"/>
                    </a:lnTo>
                    <a:lnTo>
                      <a:pt x="461" y="373"/>
                    </a:lnTo>
                    <a:close/>
                    <a:moveTo>
                      <a:pt x="866" y="159"/>
                    </a:moveTo>
                    <a:lnTo>
                      <a:pt x="866" y="161"/>
                    </a:lnTo>
                    <a:lnTo>
                      <a:pt x="866" y="159"/>
                    </a:lnTo>
                    <a:close/>
                    <a:moveTo>
                      <a:pt x="466" y="367"/>
                    </a:moveTo>
                    <a:lnTo>
                      <a:pt x="466" y="365"/>
                    </a:lnTo>
                    <a:lnTo>
                      <a:pt x="466" y="367"/>
                    </a:lnTo>
                    <a:close/>
                    <a:moveTo>
                      <a:pt x="843" y="175"/>
                    </a:moveTo>
                    <a:lnTo>
                      <a:pt x="841" y="173"/>
                    </a:lnTo>
                    <a:lnTo>
                      <a:pt x="843" y="173"/>
                    </a:lnTo>
                    <a:lnTo>
                      <a:pt x="843" y="175"/>
                    </a:lnTo>
                    <a:close/>
                    <a:moveTo>
                      <a:pt x="409" y="384"/>
                    </a:moveTo>
                    <a:lnTo>
                      <a:pt x="409" y="386"/>
                    </a:lnTo>
                    <a:lnTo>
                      <a:pt x="409" y="384"/>
                    </a:lnTo>
                    <a:close/>
                    <a:moveTo>
                      <a:pt x="407" y="384"/>
                    </a:moveTo>
                    <a:lnTo>
                      <a:pt x="409" y="384"/>
                    </a:lnTo>
                    <a:lnTo>
                      <a:pt x="407" y="384"/>
                    </a:lnTo>
                    <a:close/>
                    <a:moveTo>
                      <a:pt x="409" y="384"/>
                    </a:moveTo>
                    <a:lnTo>
                      <a:pt x="407" y="384"/>
                    </a:lnTo>
                    <a:lnTo>
                      <a:pt x="409" y="384"/>
                    </a:lnTo>
                    <a:close/>
                    <a:moveTo>
                      <a:pt x="409" y="384"/>
                    </a:moveTo>
                    <a:lnTo>
                      <a:pt x="407" y="384"/>
                    </a:lnTo>
                    <a:lnTo>
                      <a:pt x="409" y="384"/>
                    </a:lnTo>
                    <a:close/>
                    <a:moveTo>
                      <a:pt x="578" y="311"/>
                    </a:moveTo>
                    <a:lnTo>
                      <a:pt x="578" y="313"/>
                    </a:lnTo>
                    <a:lnTo>
                      <a:pt x="578" y="311"/>
                    </a:lnTo>
                    <a:close/>
                    <a:moveTo>
                      <a:pt x="595" y="303"/>
                    </a:moveTo>
                    <a:lnTo>
                      <a:pt x="593" y="303"/>
                    </a:lnTo>
                    <a:lnTo>
                      <a:pt x="595" y="303"/>
                    </a:lnTo>
                    <a:close/>
                    <a:moveTo>
                      <a:pt x="520" y="338"/>
                    </a:moveTo>
                    <a:lnTo>
                      <a:pt x="520" y="336"/>
                    </a:lnTo>
                    <a:lnTo>
                      <a:pt x="520" y="338"/>
                    </a:lnTo>
                    <a:close/>
                    <a:moveTo>
                      <a:pt x="580" y="309"/>
                    </a:moveTo>
                    <a:lnTo>
                      <a:pt x="578" y="309"/>
                    </a:lnTo>
                    <a:lnTo>
                      <a:pt x="580" y="309"/>
                    </a:lnTo>
                    <a:close/>
                    <a:moveTo>
                      <a:pt x="520" y="334"/>
                    </a:moveTo>
                    <a:lnTo>
                      <a:pt x="518" y="334"/>
                    </a:lnTo>
                    <a:lnTo>
                      <a:pt x="520" y="334"/>
                    </a:lnTo>
                    <a:close/>
                    <a:moveTo>
                      <a:pt x="576" y="307"/>
                    </a:moveTo>
                    <a:lnTo>
                      <a:pt x="576" y="309"/>
                    </a:lnTo>
                    <a:lnTo>
                      <a:pt x="576" y="307"/>
                    </a:lnTo>
                    <a:close/>
                    <a:moveTo>
                      <a:pt x="518" y="332"/>
                    </a:moveTo>
                    <a:lnTo>
                      <a:pt x="516" y="332"/>
                    </a:lnTo>
                    <a:lnTo>
                      <a:pt x="518" y="332"/>
                    </a:lnTo>
                    <a:close/>
                    <a:moveTo>
                      <a:pt x="845" y="159"/>
                    </a:moveTo>
                    <a:lnTo>
                      <a:pt x="843" y="159"/>
                    </a:lnTo>
                    <a:lnTo>
                      <a:pt x="845" y="159"/>
                    </a:lnTo>
                    <a:close/>
                    <a:moveTo>
                      <a:pt x="847" y="157"/>
                    </a:moveTo>
                    <a:lnTo>
                      <a:pt x="845" y="157"/>
                    </a:lnTo>
                    <a:lnTo>
                      <a:pt x="847" y="157"/>
                    </a:lnTo>
                    <a:close/>
                    <a:moveTo>
                      <a:pt x="847" y="155"/>
                    </a:moveTo>
                    <a:lnTo>
                      <a:pt x="847" y="157"/>
                    </a:lnTo>
                    <a:lnTo>
                      <a:pt x="847" y="155"/>
                    </a:lnTo>
                    <a:close/>
                    <a:moveTo>
                      <a:pt x="847" y="157"/>
                    </a:moveTo>
                    <a:lnTo>
                      <a:pt x="845" y="157"/>
                    </a:lnTo>
                    <a:lnTo>
                      <a:pt x="845" y="155"/>
                    </a:lnTo>
                    <a:lnTo>
                      <a:pt x="847" y="157"/>
                    </a:lnTo>
                    <a:close/>
                    <a:moveTo>
                      <a:pt x="586" y="301"/>
                    </a:moveTo>
                    <a:lnTo>
                      <a:pt x="584" y="301"/>
                    </a:lnTo>
                    <a:lnTo>
                      <a:pt x="586" y="301"/>
                    </a:lnTo>
                    <a:close/>
                    <a:moveTo>
                      <a:pt x="547" y="317"/>
                    </a:moveTo>
                    <a:lnTo>
                      <a:pt x="549" y="317"/>
                    </a:lnTo>
                    <a:lnTo>
                      <a:pt x="547" y="317"/>
                    </a:lnTo>
                    <a:close/>
                    <a:moveTo>
                      <a:pt x="584" y="299"/>
                    </a:moveTo>
                    <a:lnTo>
                      <a:pt x="584" y="301"/>
                    </a:lnTo>
                    <a:lnTo>
                      <a:pt x="584" y="299"/>
                    </a:lnTo>
                    <a:close/>
                    <a:moveTo>
                      <a:pt x="843" y="157"/>
                    </a:moveTo>
                    <a:lnTo>
                      <a:pt x="841" y="157"/>
                    </a:lnTo>
                    <a:lnTo>
                      <a:pt x="843" y="157"/>
                    </a:lnTo>
                    <a:close/>
                    <a:moveTo>
                      <a:pt x="401" y="376"/>
                    </a:moveTo>
                    <a:lnTo>
                      <a:pt x="399" y="376"/>
                    </a:lnTo>
                    <a:lnTo>
                      <a:pt x="401" y="376"/>
                    </a:lnTo>
                    <a:close/>
                    <a:moveTo>
                      <a:pt x="826" y="167"/>
                    </a:moveTo>
                    <a:lnTo>
                      <a:pt x="826" y="169"/>
                    </a:lnTo>
                    <a:lnTo>
                      <a:pt x="826" y="167"/>
                    </a:lnTo>
                    <a:close/>
                    <a:moveTo>
                      <a:pt x="837" y="159"/>
                    </a:moveTo>
                    <a:lnTo>
                      <a:pt x="835" y="159"/>
                    </a:lnTo>
                    <a:lnTo>
                      <a:pt x="837" y="159"/>
                    </a:lnTo>
                    <a:close/>
                    <a:moveTo>
                      <a:pt x="837" y="157"/>
                    </a:moveTo>
                    <a:lnTo>
                      <a:pt x="837" y="159"/>
                    </a:lnTo>
                    <a:lnTo>
                      <a:pt x="837" y="157"/>
                    </a:lnTo>
                    <a:close/>
                    <a:moveTo>
                      <a:pt x="831" y="159"/>
                    </a:moveTo>
                    <a:lnTo>
                      <a:pt x="833" y="159"/>
                    </a:lnTo>
                    <a:lnTo>
                      <a:pt x="831" y="159"/>
                    </a:lnTo>
                    <a:close/>
                    <a:moveTo>
                      <a:pt x="563" y="305"/>
                    </a:moveTo>
                    <a:lnTo>
                      <a:pt x="561" y="305"/>
                    </a:lnTo>
                    <a:lnTo>
                      <a:pt x="563" y="305"/>
                    </a:lnTo>
                    <a:close/>
                    <a:moveTo>
                      <a:pt x="555" y="307"/>
                    </a:moveTo>
                    <a:lnTo>
                      <a:pt x="557" y="307"/>
                    </a:lnTo>
                    <a:lnTo>
                      <a:pt x="555" y="307"/>
                    </a:lnTo>
                    <a:close/>
                    <a:moveTo>
                      <a:pt x="413" y="367"/>
                    </a:moveTo>
                    <a:lnTo>
                      <a:pt x="415" y="367"/>
                    </a:lnTo>
                    <a:lnTo>
                      <a:pt x="413" y="367"/>
                    </a:lnTo>
                    <a:close/>
                    <a:moveTo>
                      <a:pt x="559" y="307"/>
                    </a:moveTo>
                    <a:lnTo>
                      <a:pt x="557" y="307"/>
                    </a:lnTo>
                    <a:lnTo>
                      <a:pt x="559" y="307"/>
                    </a:lnTo>
                    <a:close/>
                    <a:moveTo>
                      <a:pt x="564" y="303"/>
                    </a:moveTo>
                    <a:lnTo>
                      <a:pt x="563" y="303"/>
                    </a:lnTo>
                    <a:lnTo>
                      <a:pt x="564" y="303"/>
                    </a:lnTo>
                    <a:close/>
                    <a:moveTo>
                      <a:pt x="563" y="303"/>
                    </a:moveTo>
                    <a:lnTo>
                      <a:pt x="561" y="303"/>
                    </a:lnTo>
                    <a:lnTo>
                      <a:pt x="563" y="303"/>
                    </a:lnTo>
                    <a:close/>
                    <a:moveTo>
                      <a:pt x="547" y="309"/>
                    </a:moveTo>
                    <a:lnTo>
                      <a:pt x="547" y="311"/>
                    </a:lnTo>
                    <a:lnTo>
                      <a:pt x="547" y="309"/>
                    </a:lnTo>
                    <a:close/>
                    <a:moveTo>
                      <a:pt x="828" y="159"/>
                    </a:moveTo>
                    <a:lnTo>
                      <a:pt x="826" y="161"/>
                    </a:lnTo>
                    <a:lnTo>
                      <a:pt x="826" y="159"/>
                    </a:lnTo>
                    <a:lnTo>
                      <a:pt x="828" y="159"/>
                    </a:lnTo>
                    <a:close/>
                    <a:moveTo>
                      <a:pt x="618" y="275"/>
                    </a:moveTo>
                    <a:lnTo>
                      <a:pt x="618" y="276"/>
                    </a:lnTo>
                    <a:lnTo>
                      <a:pt x="618" y="275"/>
                    </a:lnTo>
                    <a:close/>
                    <a:moveTo>
                      <a:pt x="526" y="319"/>
                    </a:moveTo>
                    <a:lnTo>
                      <a:pt x="524" y="319"/>
                    </a:lnTo>
                    <a:lnTo>
                      <a:pt x="526" y="319"/>
                    </a:lnTo>
                    <a:close/>
                    <a:moveTo>
                      <a:pt x="578" y="294"/>
                    </a:moveTo>
                    <a:lnTo>
                      <a:pt x="578" y="296"/>
                    </a:lnTo>
                    <a:lnTo>
                      <a:pt x="576" y="296"/>
                    </a:lnTo>
                    <a:lnTo>
                      <a:pt x="578" y="296"/>
                    </a:lnTo>
                    <a:lnTo>
                      <a:pt x="576" y="296"/>
                    </a:lnTo>
                    <a:lnTo>
                      <a:pt x="578" y="294"/>
                    </a:lnTo>
                    <a:close/>
                    <a:moveTo>
                      <a:pt x="555" y="305"/>
                    </a:moveTo>
                    <a:lnTo>
                      <a:pt x="553" y="305"/>
                    </a:lnTo>
                    <a:lnTo>
                      <a:pt x="555" y="305"/>
                    </a:lnTo>
                    <a:close/>
                    <a:moveTo>
                      <a:pt x="826" y="157"/>
                    </a:moveTo>
                    <a:lnTo>
                      <a:pt x="826" y="159"/>
                    </a:lnTo>
                    <a:lnTo>
                      <a:pt x="826" y="157"/>
                    </a:lnTo>
                    <a:close/>
                    <a:moveTo>
                      <a:pt x="797" y="176"/>
                    </a:moveTo>
                    <a:lnTo>
                      <a:pt x="795" y="176"/>
                    </a:lnTo>
                    <a:lnTo>
                      <a:pt x="797" y="176"/>
                    </a:lnTo>
                    <a:close/>
                    <a:moveTo>
                      <a:pt x="576" y="294"/>
                    </a:moveTo>
                    <a:lnTo>
                      <a:pt x="576" y="296"/>
                    </a:lnTo>
                    <a:lnTo>
                      <a:pt x="576" y="294"/>
                    </a:lnTo>
                    <a:close/>
                    <a:moveTo>
                      <a:pt x="528" y="317"/>
                    </a:moveTo>
                    <a:lnTo>
                      <a:pt x="526" y="317"/>
                    </a:lnTo>
                    <a:lnTo>
                      <a:pt x="528" y="317"/>
                    </a:lnTo>
                    <a:close/>
                    <a:moveTo>
                      <a:pt x="822" y="159"/>
                    </a:moveTo>
                    <a:lnTo>
                      <a:pt x="822" y="161"/>
                    </a:lnTo>
                    <a:lnTo>
                      <a:pt x="822" y="159"/>
                    </a:lnTo>
                    <a:close/>
                    <a:moveTo>
                      <a:pt x="826" y="159"/>
                    </a:moveTo>
                    <a:lnTo>
                      <a:pt x="826" y="157"/>
                    </a:lnTo>
                    <a:lnTo>
                      <a:pt x="826" y="159"/>
                    </a:lnTo>
                    <a:close/>
                    <a:moveTo>
                      <a:pt x="820" y="161"/>
                    </a:moveTo>
                    <a:lnTo>
                      <a:pt x="822" y="161"/>
                    </a:lnTo>
                    <a:lnTo>
                      <a:pt x="820" y="161"/>
                    </a:lnTo>
                    <a:close/>
                    <a:moveTo>
                      <a:pt x="820" y="161"/>
                    </a:moveTo>
                    <a:lnTo>
                      <a:pt x="820" y="159"/>
                    </a:lnTo>
                    <a:lnTo>
                      <a:pt x="820" y="161"/>
                    </a:lnTo>
                    <a:close/>
                    <a:moveTo>
                      <a:pt x="388" y="369"/>
                    </a:moveTo>
                    <a:lnTo>
                      <a:pt x="388" y="371"/>
                    </a:lnTo>
                    <a:lnTo>
                      <a:pt x="388" y="369"/>
                    </a:lnTo>
                    <a:close/>
                    <a:moveTo>
                      <a:pt x="799" y="173"/>
                    </a:moveTo>
                    <a:lnTo>
                      <a:pt x="799" y="171"/>
                    </a:lnTo>
                    <a:lnTo>
                      <a:pt x="799" y="173"/>
                    </a:lnTo>
                    <a:close/>
                    <a:moveTo>
                      <a:pt x="820" y="159"/>
                    </a:moveTo>
                    <a:lnTo>
                      <a:pt x="818" y="159"/>
                    </a:lnTo>
                    <a:lnTo>
                      <a:pt x="820" y="159"/>
                    </a:lnTo>
                    <a:close/>
                    <a:moveTo>
                      <a:pt x="390" y="365"/>
                    </a:moveTo>
                    <a:lnTo>
                      <a:pt x="390" y="367"/>
                    </a:lnTo>
                    <a:lnTo>
                      <a:pt x="390" y="365"/>
                    </a:lnTo>
                    <a:close/>
                    <a:moveTo>
                      <a:pt x="597" y="280"/>
                    </a:moveTo>
                    <a:lnTo>
                      <a:pt x="597" y="278"/>
                    </a:lnTo>
                    <a:lnTo>
                      <a:pt x="597" y="280"/>
                    </a:lnTo>
                    <a:close/>
                    <a:moveTo>
                      <a:pt x="611" y="267"/>
                    </a:moveTo>
                    <a:lnTo>
                      <a:pt x="612" y="267"/>
                    </a:lnTo>
                    <a:lnTo>
                      <a:pt x="611" y="267"/>
                    </a:lnTo>
                    <a:close/>
                    <a:moveTo>
                      <a:pt x="347" y="373"/>
                    </a:moveTo>
                    <a:lnTo>
                      <a:pt x="349" y="373"/>
                    </a:lnTo>
                    <a:lnTo>
                      <a:pt x="347" y="373"/>
                    </a:lnTo>
                    <a:close/>
                    <a:moveTo>
                      <a:pt x="595" y="273"/>
                    </a:moveTo>
                    <a:lnTo>
                      <a:pt x="593" y="273"/>
                    </a:lnTo>
                    <a:lnTo>
                      <a:pt x="595" y="273"/>
                    </a:lnTo>
                    <a:close/>
                    <a:moveTo>
                      <a:pt x="468" y="324"/>
                    </a:moveTo>
                    <a:lnTo>
                      <a:pt x="466" y="324"/>
                    </a:lnTo>
                    <a:lnTo>
                      <a:pt x="468" y="324"/>
                    </a:lnTo>
                    <a:close/>
                    <a:moveTo>
                      <a:pt x="712" y="203"/>
                    </a:moveTo>
                    <a:lnTo>
                      <a:pt x="714" y="203"/>
                    </a:lnTo>
                    <a:lnTo>
                      <a:pt x="712" y="203"/>
                    </a:lnTo>
                    <a:close/>
                    <a:moveTo>
                      <a:pt x="730" y="192"/>
                    </a:moveTo>
                    <a:lnTo>
                      <a:pt x="728" y="192"/>
                    </a:lnTo>
                    <a:lnTo>
                      <a:pt x="730" y="192"/>
                    </a:lnTo>
                    <a:close/>
                    <a:moveTo>
                      <a:pt x="728" y="192"/>
                    </a:moveTo>
                    <a:lnTo>
                      <a:pt x="730" y="192"/>
                    </a:lnTo>
                    <a:lnTo>
                      <a:pt x="728" y="192"/>
                    </a:lnTo>
                    <a:close/>
                    <a:moveTo>
                      <a:pt x="730" y="190"/>
                    </a:moveTo>
                    <a:lnTo>
                      <a:pt x="728" y="190"/>
                    </a:lnTo>
                    <a:lnTo>
                      <a:pt x="730" y="190"/>
                    </a:lnTo>
                    <a:close/>
                    <a:moveTo>
                      <a:pt x="272" y="386"/>
                    </a:moveTo>
                    <a:lnTo>
                      <a:pt x="270" y="386"/>
                    </a:lnTo>
                    <a:lnTo>
                      <a:pt x="272" y="386"/>
                    </a:lnTo>
                    <a:close/>
                    <a:moveTo>
                      <a:pt x="726" y="188"/>
                    </a:moveTo>
                    <a:lnTo>
                      <a:pt x="726" y="190"/>
                    </a:lnTo>
                    <a:lnTo>
                      <a:pt x="726" y="188"/>
                    </a:lnTo>
                    <a:close/>
                    <a:moveTo>
                      <a:pt x="726" y="188"/>
                    </a:moveTo>
                    <a:lnTo>
                      <a:pt x="726" y="190"/>
                    </a:lnTo>
                    <a:lnTo>
                      <a:pt x="726" y="188"/>
                    </a:lnTo>
                    <a:close/>
                    <a:moveTo>
                      <a:pt x="334" y="365"/>
                    </a:moveTo>
                    <a:lnTo>
                      <a:pt x="332" y="365"/>
                    </a:lnTo>
                    <a:lnTo>
                      <a:pt x="334" y="365"/>
                    </a:lnTo>
                    <a:close/>
                    <a:moveTo>
                      <a:pt x="368" y="351"/>
                    </a:moveTo>
                    <a:lnTo>
                      <a:pt x="370" y="351"/>
                    </a:lnTo>
                    <a:lnTo>
                      <a:pt x="368" y="351"/>
                    </a:lnTo>
                    <a:close/>
                    <a:moveTo>
                      <a:pt x="386" y="346"/>
                    </a:moveTo>
                    <a:lnTo>
                      <a:pt x="388" y="346"/>
                    </a:lnTo>
                    <a:lnTo>
                      <a:pt x="386" y="346"/>
                    </a:lnTo>
                    <a:close/>
                    <a:moveTo>
                      <a:pt x="376" y="349"/>
                    </a:moveTo>
                    <a:lnTo>
                      <a:pt x="374" y="349"/>
                    </a:lnTo>
                    <a:lnTo>
                      <a:pt x="376" y="349"/>
                    </a:lnTo>
                    <a:close/>
                    <a:moveTo>
                      <a:pt x="332" y="363"/>
                    </a:moveTo>
                    <a:lnTo>
                      <a:pt x="330" y="363"/>
                    </a:lnTo>
                    <a:lnTo>
                      <a:pt x="332" y="363"/>
                    </a:lnTo>
                    <a:close/>
                    <a:moveTo>
                      <a:pt x="382" y="346"/>
                    </a:moveTo>
                    <a:lnTo>
                      <a:pt x="380" y="346"/>
                    </a:lnTo>
                    <a:lnTo>
                      <a:pt x="382" y="346"/>
                    </a:lnTo>
                    <a:close/>
                    <a:moveTo>
                      <a:pt x="386" y="344"/>
                    </a:moveTo>
                    <a:lnTo>
                      <a:pt x="384" y="344"/>
                    </a:lnTo>
                    <a:lnTo>
                      <a:pt x="386" y="344"/>
                    </a:lnTo>
                    <a:close/>
                    <a:moveTo>
                      <a:pt x="370" y="348"/>
                    </a:moveTo>
                    <a:lnTo>
                      <a:pt x="370" y="349"/>
                    </a:lnTo>
                    <a:lnTo>
                      <a:pt x="370" y="348"/>
                    </a:lnTo>
                    <a:close/>
                    <a:moveTo>
                      <a:pt x="370" y="348"/>
                    </a:moveTo>
                    <a:lnTo>
                      <a:pt x="370" y="349"/>
                    </a:lnTo>
                    <a:lnTo>
                      <a:pt x="370" y="348"/>
                    </a:lnTo>
                    <a:lnTo>
                      <a:pt x="370" y="349"/>
                    </a:lnTo>
                    <a:lnTo>
                      <a:pt x="370" y="348"/>
                    </a:lnTo>
                    <a:close/>
                    <a:moveTo>
                      <a:pt x="393" y="338"/>
                    </a:moveTo>
                    <a:lnTo>
                      <a:pt x="393" y="340"/>
                    </a:lnTo>
                    <a:lnTo>
                      <a:pt x="393" y="338"/>
                    </a:lnTo>
                    <a:close/>
                    <a:moveTo>
                      <a:pt x="368" y="346"/>
                    </a:moveTo>
                    <a:lnTo>
                      <a:pt x="368" y="348"/>
                    </a:lnTo>
                    <a:lnTo>
                      <a:pt x="368" y="346"/>
                    </a:lnTo>
                    <a:close/>
                    <a:moveTo>
                      <a:pt x="732" y="180"/>
                    </a:moveTo>
                    <a:lnTo>
                      <a:pt x="730" y="180"/>
                    </a:lnTo>
                    <a:lnTo>
                      <a:pt x="732" y="180"/>
                    </a:lnTo>
                    <a:close/>
                    <a:moveTo>
                      <a:pt x="376" y="344"/>
                    </a:moveTo>
                    <a:lnTo>
                      <a:pt x="374" y="344"/>
                    </a:lnTo>
                    <a:lnTo>
                      <a:pt x="376" y="344"/>
                    </a:lnTo>
                    <a:close/>
                    <a:moveTo>
                      <a:pt x="368" y="346"/>
                    </a:moveTo>
                    <a:lnTo>
                      <a:pt x="367" y="346"/>
                    </a:lnTo>
                    <a:lnTo>
                      <a:pt x="368" y="346"/>
                    </a:lnTo>
                    <a:close/>
                    <a:moveTo>
                      <a:pt x="372" y="344"/>
                    </a:moveTo>
                    <a:lnTo>
                      <a:pt x="370" y="344"/>
                    </a:lnTo>
                    <a:lnTo>
                      <a:pt x="372" y="344"/>
                    </a:lnTo>
                    <a:close/>
                    <a:moveTo>
                      <a:pt x="370" y="346"/>
                    </a:moveTo>
                    <a:lnTo>
                      <a:pt x="368" y="346"/>
                    </a:lnTo>
                    <a:lnTo>
                      <a:pt x="370" y="346"/>
                    </a:lnTo>
                    <a:close/>
                    <a:moveTo>
                      <a:pt x="368" y="344"/>
                    </a:moveTo>
                    <a:lnTo>
                      <a:pt x="368" y="346"/>
                    </a:lnTo>
                    <a:lnTo>
                      <a:pt x="368" y="344"/>
                    </a:lnTo>
                    <a:lnTo>
                      <a:pt x="370" y="344"/>
                    </a:lnTo>
                    <a:lnTo>
                      <a:pt x="368" y="346"/>
                    </a:lnTo>
                    <a:lnTo>
                      <a:pt x="368" y="344"/>
                    </a:lnTo>
                    <a:close/>
                    <a:moveTo>
                      <a:pt x="370" y="344"/>
                    </a:moveTo>
                    <a:lnTo>
                      <a:pt x="368" y="344"/>
                    </a:lnTo>
                    <a:lnTo>
                      <a:pt x="370" y="344"/>
                    </a:lnTo>
                    <a:close/>
                    <a:moveTo>
                      <a:pt x="370" y="344"/>
                    </a:moveTo>
                    <a:lnTo>
                      <a:pt x="368" y="344"/>
                    </a:lnTo>
                    <a:lnTo>
                      <a:pt x="370" y="344"/>
                    </a:lnTo>
                    <a:close/>
                    <a:moveTo>
                      <a:pt x="368" y="344"/>
                    </a:moveTo>
                    <a:lnTo>
                      <a:pt x="370" y="344"/>
                    </a:lnTo>
                    <a:lnTo>
                      <a:pt x="368" y="344"/>
                    </a:lnTo>
                    <a:close/>
                    <a:moveTo>
                      <a:pt x="370" y="342"/>
                    </a:moveTo>
                    <a:lnTo>
                      <a:pt x="370" y="344"/>
                    </a:lnTo>
                    <a:lnTo>
                      <a:pt x="370" y="342"/>
                    </a:lnTo>
                    <a:close/>
                    <a:moveTo>
                      <a:pt x="382" y="340"/>
                    </a:moveTo>
                    <a:lnTo>
                      <a:pt x="382" y="338"/>
                    </a:lnTo>
                    <a:lnTo>
                      <a:pt x="382" y="340"/>
                    </a:lnTo>
                    <a:close/>
                    <a:moveTo>
                      <a:pt x="367" y="344"/>
                    </a:moveTo>
                    <a:lnTo>
                      <a:pt x="368" y="344"/>
                    </a:lnTo>
                    <a:lnTo>
                      <a:pt x="367" y="344"/>
                    </a:lnTo>
                    <a:close/>
                    <a:moveTo>
                      <a:pt x="370" y="344"/>
                    </a:moveTo>
                    <a:lnTo>
                      <a:pt x="370" y="342"/>
                    </a:lnTo>
                    <a:lnTo>
                      <a:pt x="370" y="344"/>
                    </a:lnTo>
                    <a:close/>
                    <a:moveTo>
                      <a:pt x="370" y="342"/>
                    </a:moveTo>
                    <a:lnTo>
                      <a:pt x="368" y="342"/>
                    </a:lnTo>
                    <a:lnTo>
                      <a:pt x="370" y="342"/>
                    </a:lnTo>
                    <a:close/>
                    <a:moveTo>
                      <a:pt x="388" y="336"/>
                    </a:moveTo>
                    <a:lnTo>
                      <a:pt x="390" y="336"/>
                    </a:lnTo>
                    <a:lnTo>
                      <a:pt x="388" y="336"/>
                    </a:lnTo>
                    <a:close/>
                    <a:moveTo>
                      <a:pt x="370" y="342"/>
                    </a:moveTo>
                    <a:lnTo>
                      <a:pt x="372" y="342"/>
                    </a:lnTo>
                    <a:lnTo>
                      <a:pt x="370" y="342"/>
                    </a:lnTo>
                    <a:close/>
                    <a:moveTo>
                      <a:pt x="374" y="340"/>
                    </a:moveTo>
                    <a:lnTo>
                      <a:pt x="372" y="342"/>
                    </a:lnTo>
                    <a:lnTo>
                      <a:pt x="374" y="340"/>
                    </a:lnTo>
                    <a:close/>
                    <a:moveTo>
                      <a:pt x="388" y="334"/>
                    </a:moveTo>
                    <a:lnTo>
                      <a:pt x="388" y="336"/>
                    </a:lnTo>
                    <a:lnTo>
                      <a:pt x="388" y="334"/>
                    </a:lnTo>
                    <a:close/>
                    <a:moveTo>
                      <a:pt x="368" y="342"/>
                    </a:moveTo>
                    <a:lnTo>
                      <a:pt x="367" y="342"/>
                    </a:lnTo>
                    <a:lnTo>
                      <a:pt x="368" y="342"/>
                    </a:lnTo>
                    <a:close/>
                    <a:moveTo>
                      <a:pt x="367" y="344"/>
                    </a:moveTo>
                    <a:lnTo>
                      <a:pt x="365" y="344"/>
                    </a:lnTo>
                    <a:lnTo>
                      <a:pt x="367" y="344"/>
                    </a:lnTo>
                    <a:close/>
                    <a:moveTo>
                      <a:pt x="741" y="169"/>
                    </a:moveTo>
                    <a:lnTo>
                      <a:pt x="741" y="171"/>
                    </a:lnTo>
                    <a:lnTo>
                      <a:pt x="741" y="169"/>
                    </a:lnTo>
                    <a:close/>
                    <a:moveTo>
                      <a:pt x="392" y="334"/>
                    </a:moveTo>
                    <a:lnTo>
                      <a:pt x="392" y="332"/>
                    </a:lnTo>
                    <a:lnTo>
                      <a:pt x="392" y="334"/>
                    </a:lnTo>
                    <a:close/>
                    <a:moveTo>
                      <a:pt x="780" y="146"/>
                    </a:moveTo>
                    <a:lnTo>
                      <a:pt x="782" y="146"/>
                    </a:lnTo>
                    <a:lnTo>
                      <a:pt x="780" y="146"/>
                    </a:lnTo>
                    <a:close/>
                    <a:moveTo>
                      <a:pt x="392" y="332"/>
                    </a:moveTo>
                    <a:lnTo>
                      <a:pt x="392" y="334"/>
                    </a:lnTo>
                    <a:lnTo>
                      <a:pt x="392" y="332"/>
                    </a:lnTo>
                    <a:close/>
                    <a:moveTo>
                      <a:pt x="392" y="332"/>
                    </a:moveTo>
                    <a:lnTo>
                      <a:pt x="392" y="334"/>
                    </a:lnTo>
                    <a:lnTo>
                      <a:pt x="392" y="332"/>
                    </a:lnTo>
                    <a:close/>
                    <a:moveTo>
                      <a:pt x="390" y="334"/>
                    </a:moveTo>
                    <a:lnTo>
                      <a:pt x="388" y="334"/>
                    </a:lnTo>
                    <a:lnTo>
                      <a:pt x="390" y="334"/>
                    </a:lnTo>
                    <a:close/>
                    <a:moveTo>
                      <a:pt x="687" y="200"/>
                    </a:moveTo>
                    <a:lnTo>
                      <a:pt x="687" y="198"/>
                    </a:lnTo>
                    <a:lnTo>
                      <a:pt x="687" y="200"/>
                    </a:lnTo>
                    <a:close/>
                    <a:moveTo>
                      <a:pt x="388" y="332"/>
                    </a:moveTo>
                    <a:lnTo>
                      <a:pt x="388" y="334"/>
                    </a:lnTo>
                    <a:lnTo>
                      <a:pt x="388" y="332"/>
                    </a:lnTo>
                    <a:close/>
                    <a:moveTo>
                      <a:pt x="390" y="332"/>
                    </a:moveTo>
                    <a:lnTo>
                      <a:pt x="388" y="332"/>
                    </a:lnTo>
                    <a:lnTo>
                      <a:pt x="390" y="332"/>
                    </a:lnTo>
                    <a:close/>
                    <a:moveTo>
                      <a:pt x="737" y="163"/>
                    </a:moveTo>
                    <a:lnTo>
                      <a:pt x="737" y="165"/>
                    </a:lnTo>
                    <a:lnTo>
                      <a:pt x="737" y="163"/>
                    </a:lnTo>
                    <a:close/>
                    <a:moveTo>
                      <a:pt x="368" y="336"/>
                    </a:moveTo>
                    <a:lnTo>
                      <a:pt x="367" y="336"/>
                    </a:lnTo>
                    <a:lnTo>
                      <a:pt x="368" y="336"/>
                    </a:lnTo>
                    <a:close/>
                    <a:moveTo>
                      <a:pt x="351" y="342"/>
                    </a:moveTo>
                    <a:lnTo>
                      <a:pt x="349" y="342"/>
                    </a:lnTo>
                    <a:lnTo>
                      <a:pt x="351" y="342"/>
                    </a:lnTo>
                    <a:close/>
                    <a:moveTo>
                      <a:pt x="737" y="163"/>
                    </a:moveTo>
                    <a:lnTo>
                      <a:pt x="737" y="165"/>
                    </a:lnTo>
                    <a:lnTo>
                      <a:pt x="737" y="163"/>
                    </a:lnTo>
                    <a:close/>
                    <a:moveTo>
                      <a:pt x="737" y="163"/>
                    </a:moveTo>
                    <a:lnTo>
                      <a:pt x="735" y="163"/>
                    </a:lnTo>
                    <a:lnTo>
                      <a:pt x="737" y="163"/>
                    </a:lnTo>
                    <a:close/>
                    <a:moveTo>
                      <a:pt x="388" y="328"/>
                    </a:moveTo>
                    <a:lnTo>
                      <a:pt x="388" y="326"/>
                    </a:lnTo>
                    <a:lnTo>
                      <a:pt x="388" y="328"/>
                    </a:lnTo>
                    <a:close/>
                    <a:moveTo>
                      <a:pt x="388" y="326"/>
                    </a:moveTo>
                    <a:lnTo>
                      <a:pt x="388" y="328"/>
                    </a:lnTo>
                    <a:lnTo>
                      <a:pt x="388" y="326"/>
                    </a:lnTo>
                    <a:close/>
                    <a:moveTo>
                      <a:pt x="388" y="326"/>
                    </a:moveTo>
                    <a:lnTo>
                      <a:pt x="388" y="328"/>
                    </a:lnTo>
                    <a:lnTo>
                      <a:pt x="388" y="326"/>
                    </a:lnTo>
                    <a:close/>
                    <a:moveTo>
                      <a:pt x="370" y="334"/>
                    </a:moveTo>
                    <a:lnTo>
                      <a:pt x="368" y="334"/>
                    </a:lnTo>
                    <a:lnTo>
                      <a:pt x="370" y="334"/>
                    </a:lnTo>
                    <a:close/>
                    <a:moveTo>
                      <a:pt x="388" y="326"/>
                    </a:moveTo>
                    <a:lnTo>
                      <a:pt x="390" y="326"/>
                    </a:lnTo>
                    <a:lnTo>
                      <a:pt x="388" y="326"/>
                    </a:lnTo>
                    <a:close/>
                    <a:moveTo>
                      <a:pt x="730" y="165"/>
                    </a:moveTo>
                    <a:lnTo>
                      <a:pt x="730" y="167"/>
                    </a:lnTo>
                    <a:lnTo>
                      <a:pt x="730" y="165"/>
                    </a:lnTo>
                    <a:close/>
                    <a:moveTo>
                      <a:pt x="730" y="165"/>
                    </a:moveTo>
                    <a:lnTo>
                      <a:pt x="730" y="167"/>
                    </a:lnTo>
                    <a:lnTo>
                      <a:pt x="730" y="165"/>
                    </a:lnTo>
                    <a:close/>
                    <a:moveTo>
                      <a:pt x="728" y="165"/>
                    </a:moveTo>
                    <a:lnTo>
                      <a:pt x="730" y="167"/>
                    </a:lnTo>
                    <a:lnTo>
                      <a:pt x="730" y="165"/>
                    </a:lnTo>
                    <a:lnTo>
                      <a:pt x="728" y="165"/>
                    </a:lnTo>
                    <a:close/>
                    <a:moveTo>
                      <a:pt x="728" y="165"/>
                    </a:moveTo>
                    <a:lnTo>
                      <a:pt x="728" y="167"/>
                    </a:lnTo>
                    <a:lnTo>
                      <a:pt x="728" y="165"/>
                    </a:lnTo>
                    <a:close/>
                    <a:moveTo>
                      <a:pt x="728" y="167"/>
                    </a:moveTo>
                    <a:lnTo>
                      <a:pt x="728" y="165"/>
                    </a:lnTo>
                    <a:lnTo>
                      <a:pt x="728" y="167"/>
                    </a:lnTo>
                    <a:close/>
                    <a:moveTo>
                      <a:pt x="728" y="165"/>
                    </a:moveTo>
                    <a:lnTo>
                      <a:pt x="728" y="167"/>
                    </a:lnTo>
                    <a:lnTo>
                      <a:pt x="728" y="165"/>
                    </a:lnTo>
                    <a:close/>
                    <a:moveTo>
                      <a:pt x="728" y="167"/>
                    </a:moveTo>
                    <a:lnTo>
                      <a:pt x="726" y="167"/>
                    </a:lnTo>
                    <a:lnTo>
                      <a:pt x="728" y="167"/>
                    </a:lnTo>
                    <a:close/>
                    <a:moveTo>
                      <a:pt x="386" y="326"/>
                    </a:moveTo>
                    <a:lnTo>
                      <a:pt x="384" y="326"/>
                    </a:lnTo>
                    <a:lnTo>
                      <a:pt x="386" y="326"/>
                    </a:lnTo>
                    <a:close/>
                    <a:moveTo>
                      <a:pt x="301" y="353"/>
                    </a:moveTo>
                    <a:lnTo>
                      <a:pt x="301" y="355"/>
                    </a:lnTo>
                    <a:lnTo>
                      <a:pt x="301" y="353"/>
                    </a:lnTo>
                    <a:close/>
                    <a:moveTo>
                      <a:pt x="722" y="167"/>
                    </a:moveTo>
                    <a:lnTo>
                      <a:pt x="724" y="167"/>
                    </a:lnTo>
                    <a:lnTo>
                      <a:pt x="722" y="167"/>
                    </a:lnTo>
                    <a:close/>
                    <a:moveTo>
                      <a:pt x="720" y="167"/>
                    </a:moveTo>
                    <a:lnTo>
                      <a:pt x="718" y="167"/>
                    </a:lnTo>
                    <a:lnTo>
                      <a:pt x="720" y="167"/>
                    </a:lnTo>
                    <a:close/>
                    <a:moveTo>
                      <a:pt x="370" y="328"/>
                    </a:moveTo>
                    <a:lnTo>
                      <a:pt x="368" y="328"/>
                    </a:lnTo>
                    <a:lnTo>
                      <a:pt x="370" y="328"/>
                    </a:lnTo>
                    <a:close/>
                    <a:moveTo>
                      <a:pt x="370" y="328"/>
                    </a:moveTo>
                    <a:lnTo>
                      <a:pt x="368" y="328"/>
                    </a:lnTo>
                    <a:lnTo>
                      <a:pt x="370" y="328"/>
                    </a:lnTo>
                    <a:close/>
                    <a:moveTo>
                      <a:pt x="718" y="167"/>
                    </a:moveTo>
                    <a:lnTo>
                      <a:pt x="718" y="169"/>
                    </a:lnTo>
                    <a:lnTo>
                      <a:pt x="718" y="167"/>
                    </a:lnTo>
                    <a:close/>
                    <a:moveTo>
                      <a:pt x="376" y="324"/>
                    </a:moveTo>
                    <a:lnTo>
                      <a:pt x="376" y="326"/>
                    </a:lnTo>
                    <a:lnTo>
                      <a:pt x="376" y="324"/>
                    </a:lnTo>
                    <a:close/>
                    <a:moveTo>
                      <a:pt x="319" y="346"/>
                    </a:moveTo>
                    <a:lnTo>
                      <a:pt x="317" y="346"/>
                    </a:lnTo>
                    <a:lnTo>
                      <a:pt x="319" y="346"/>
                    </a:lnTo>
                    <a:close/>
                    <a:moveTo>
                      <a:pt x="716" y="169"/>
                    </a:moveTo>
                    <a:lnTo>
                      <a:pt x="714" y="169"/>
                    </a:lnTo>
                    <a:lnTo>
                      <a:pt x="716" y="169"/>
                    </a:lnTo>
                    <a:close/>
                    <a:moveTo>
                      <a:pt x="714" y="169"/>
                    </a:moveTo>
                    <a:lnTo>
                      <a:pt x="716" y="169"/>
                    </a:lnTo>
                    <a:lnTo>
                      <a:pt x="714" y="169"/>
                    </a:lnTo>
                    <a:close/>
                    <a:moveTo>
                      <a:pt x="317" y="346"/>
                    </a:moveTo>
                    <a:lnTo>
                      <a:pt x="315" y="346"/>
                    </a:lnTo>
                    <a:lnTo>
                      <a:pt x="317" y="346"/>
                    </a:lnTo>
                    <a:close/>
                    <a:moveTo>
                      <a:pt x="342" y="334"/>
                    </a:moveTo>
                    <a:lnTo>
                      <a:pt x="342" y="336"/>
                    </a:lnTo>
                    <a:lnTo>
                      <a:pt x="342" y="334"/>
                    </a:lnTo>
                    <a:close/>
                    <a:moveTo>
                      <a:pt x="374" y="324"/>
                    </a:moveTo>
                    <a:lnTo>
                      <a:pt x="372" y="324"/>
                    </a:lnTo>
                    <a:lnTo>
                      <a:pt x="374" y="324"/>
                    </a:lnTo>
                    <a:close/>
                    <a:moveTo>
                      <a:pt x="374" y="323"/>
                    </a:moveTo>
                    <a:lnTo>
                      <a:pt x="372" y="323"/>
                    </a:lnTo>
                    <a:lnTo>
                      <a:pt x="374" y="323"/>
                    </a:lnTo>
                    <a:close/>
                    <a:moveTo>
                      <a:pt x="353" y="330"/>
                    </a:moveTo>
                    <a:lnTo>
                      <a:pt x="351" y="330"/>
                    </a:lnTo>
                    <a:lnTo>
                      <a:pt x="353" y="330"/>
                    </a:lnTo>
                    <a:close/>
                    <a:moveTo>
                      <a:pt x="705" y="171"/>
                    </a:moveTo>
                    <a:lnTo>
                      <a:pt x="707" y="171"/>
                    </a:lnTo>
                    <a:lnTo>
                      <a:pt x="705" y="171"/>
                    </a:lnTo>
                    <a:close/>
                    <a:moveTo>
                      <a:pt x="328" y="338"/>
                    </a:moveTo>
                    <a:lnTo>
                      <a:pt x="328" y="340"/>
                    </a:lnTo>
                    <a:lnTo>
                      <a:pt x="328" y="338"/>
                    </a:lnTo>
                    <a:close/>
                    <a:moveTo>
                      <a:pt x="322" y="340"/>
                    </a:moveTo>
                    <a:lnTo>
                      <a:pt x="322" y="342"/>
                    </a:lnTo>
                    <a:lnTo>
                      <a:pt x="322" y="340"/>
                    </a:lnTo>
                    <a:close/>
                    <a:moveTo>
                      <a:pt x="322" y="340"/>
                    </a:moveTo>
                    <a:lnTo>
                      <a:pt x="320" y="340"/>
                    </a:lnTo>
                    <a:lnTo>
                      <a:pt x="322" y="340"/>
                    </a:lnTo>
                    <a:close/>
                    <a:moveTo>
                      <a:pt x="320" y="340"/>
                    </a:moveTo>
                    <a:lnTo>
                      <a:pt x="320" y="342"/>
                    </a:lnTo>
                    <a:lnTo>
                      <a:pt x="320" y="340"/>
                    </a:lnTo>
                    <a:close/>
                    <a:moveTo>
                      <a:pt x="355" y="330"/>
                    </a:moveTo>
                    <a:lnTo>
                      <a:pt x="355" y="328"/>
                    </a:lnTo>
                    <a:lnTo>
                      <a:pt x="355" y="330"/>
                    </a:lnTo>
                    <a:close/>
                    <a:moveTo>
                      <a:pt x="320" y="340"/>
                    </a:moveTo>
                    <a:lnTo>
                      <a:pt x="320" y="342"/>
                    </a:lnTo>
                    <a:lnTo>
                      <a:pt x="320" y="340"/>
                    </a:lnTo>
                    <a:close/>
                    <a:moveTo>
                      <a:pt x="605" y="223"/>
                    </a:moveTo>
                    <a:lnTo>
                      <a:pt x="605" y="225"/>
                    </a:lnTo>
                    <a:lnTo>
                      <a:pt x="605" y="223"/>
                    </a:lnTo>
                    <a:close/>
                    <a:moveTo>
                      <a:pt x="370" y="323"/>
                    </a:moveTo>
                    <a:lnTo>
                      <a:pt x="372" y="323"/>
                    </a:lnTo>
                    <a:lnTo>
                      <a:pt x="370" y="323"/>
                    </a:lnTo>
                    <a:close/>
                    <a:moveTo>
                      <a:pt x="290" y="349"/>
                    </a:moveTo>
                    <a:lnTo>
                      <a:pt x="290" y="351"/>
                    </a:lnTo>
                    <a:lnTo>
                      <a:pt x="290" y="349"/>
                    </a:lnTo>
                    <a:close/>
                    <a:moveTo>
                      <a:pt x="359" y="328"/>
                    </a:moveTo>
                    <a:lnTo>
                      <a:pt x="357" y="328"/>
                    </a:lnTo>
                    <a:lnTo>
                      <a:pt x="359" y="328"/>
                    </a:lnTo>
                    <a:close/>
                    <a:moveTo>
                      <a:pt x="294" y="349"/>
                    </a:moveTo>
                    <a:lnTo>
                      <a:pt x="292" y="349"/>
                    </a:lnTo>
                    <a:lnTo>
                      <a:pt x="294" y="349"/>
                    </a:lnTo>
                    <a:close/>
                    <a:moveTo>
                      <a:pt x="319" y="340"/>
                    </a:moveTo>
                    <a:lnTo>
                      <a:pt x="319" y="342"/>
                    </a:lnTo>
                    <a:lnTo>
                      <a:pt x="319" y="340"/>
                    </a:lnTo>
                    <a:close/>
                    <a:moveTo>
                      <a:pt x="372" y="323"/>
                    </a:moveTo>
                    <a:lnTo>
                      <a:pt x="370" y="323"/>
                    </a:lnTo>
                    <a:lnTo>
                      <a:pt x="372" y="323"/>
                    </a:lnTo>
                    <a:close/>
                    <a:moveTo>
                      <a:pt x="697" y="173"/>
                    </a:moveTo>
                    <a:lnTo>
                      <a:pt x="697" y="175"/>
                    </a:lnTo>
                    <a:lnTo>
                      <a:pt x="697" y="173"/>
                    </a:lnTo>
                    <a:close/>
                    <a:moveTo>
                      <a:pt x="376" y="321"/>
                    </a:moveTo>
                    <a:lnTo>
                      <a:pt x="374" y="321"/>
                    </a:lnTo>
                    <a:lnTo>
                      <a:pt x="376" y="321"/>
                    </a:lnTo>
                    <a:close/>
                    <a:moveTo>
                      <a:pt x="53" y="409"/>
                    </a:moveTo>
                    <a:lnTo>
                      <a:pt x="55" y="409"/>
                    </a:lnTo>
                    <a:lnTo>
                      <a:pt x="53" y="409"/>
                    </a:lnTo>
                    <a:close/>
                    <a:moveTo>
                      <a:pt x="616" y="217"/>
                    </a:moveTo>
                    <a:lnTo>
                      <a:pt x="614" y="217"/>
                    </a:lnTo>
                    <a:lnTo>
                      <a:pt x="616" y="217"/>
                    </a:lnTo>
                    <a:close/>
                    <a:moveTo>
                      <a:pt x="695" y="175"/>
                    </a:moveTo>
                    <a:lnTo>
                      <a:pt x="693" y="175"/>
                    </a:lnTo>
                    <a:lnTo>
                      <a:pt x="695" y="175"/>
                    </a:lnTo>
                    <a:close/>
                    <a:moveTo>
                      <a:pt x="355" y="326"/>
                    </a:moveTo>
                    <a:lnTo>
                      <a:pt x="357" y="326"/>
                    </a:lnTo>
                    <a:lnTo>
                      <a:pt x="355" y="326"/>
                    </a:lnTo>
                    <a:close/>
                    <a:moveTo>
                      <a:pt x="343" y="330"/>
                    </a:moveTo>
                    <a:lnTo>
                      <a:pt x="342" y="330"/>
                    </a:lnTo>
                    <a:lnTo>
                      <a:pt x="343" y="330"/>
                    </a:lnTo>
                    <a:close/>
                    <a:moveTo>
                      <a:pt x="691" y="175"/>
                    </a:moveTo>
                    <a:lnTo>
                      <a:pt x="689" y="176"/>
                    </a:lnTo>
                    <a:lnTo>
                      <a:pt x="691" y="175"/>
                    </a:lnTo>
                    <a:close/>
                    <a:moveTo>
                      <a:pt x="689" y="175"/>
                    </a:moveTo>
                    <a:lnTo>
                      <a:pt x="689" y="176"/>
                    </a:lnTo>
                    <a:lnTo>
                      <a:pt x="689" y="175"/>
                    </a:lnTo>
                    <a:close/>
                    <a:moveTo>
                      <a:pt x="317" y="338"/>
                    </a:moveTo>
                    <a:lnTo>
                      <a:pt x="319" y="338"/>
                    </a:lnTo>
                    <a:lnTo>
                      <a:pt x="317" y="338"/>
                    </a:lnTo>
                    <a:lnTo>
                      <a:pt x="319" y="338"/>
                    </a:lnTo>
                    <a:lnTo>
                      <a:pt x="317" y="338"/>
                    </a:lnTo>
                    <a:close/>
                    <a:moveTo>
                      <a:pt x="284" y="349"/>
                    </a:moveTo>
                    <a:lnTo>
                      <a:pt x="282" y="349"/>
                    </a:lnTo>
                    <a:lnTo>
                      <a:pt x="284" y="349"/>
                    </a:lnTo>
                    <a:close/>
                    <a:moveTo>
                      <a:pt x="284" y="348"/>
                    </a:moveTo>
                    <a:lnTo>
                      <a:pt x="284" y="349"/>
                    </a:lnTo>
                    <a:lnTo>
                      <a:pt x="284" y="348"/>
                    </a:lnTo>
                    <a:close/>
                    <a:moveTo>
                      <a:pt x="351" y="326"/>
                    </a:moveTo>
                    <a:lnTo>
                      <a:pt x="349" y="326"/>
                    </a:lnTo>
                    <a:lnTo>
                      <a:pt x="351" y="326"/>
                    </a:lnTo>
                    <a:close/>
                    <a:moveTo>
                      <a:pt x="342" y="330"/>
                    </a:moveTo>
                    <a:lnTo>
                      <a:pt x="342" y="328"/>
                    </a:lnTo>
                    <a:lnTo>
                      <a:pt x="342" y="330"/>
                    </a:lnTo>
                    <a:close/>
                    <a:moveTo>
                      <a:pt x="222" y="365"/>
                    </a:moveTo>
                    <a:lnTo>
                      <a:pt x="222" y="367"/>
                    </a:lnTo>
                    <a:lnTo>
                      <a:pt x="222" y="365"/>
                    </a:lnTo>
                    <a:close/>
                    <a:moveTo>
                      <a:pt x="349" y="326"/>
                    </a:moveTo>
                    <a:lnTo>
                      <a:pt x="351" y="326"/>
                    </a:lnTo>
                    <a:lnTo>
                      <a:pt x="349" y="326"/>
                    </a:lnTo>
                    <a:close/>
                    <a:moveTo>
                      <a:pt x="42" y="409"/>
                    </a:moveTo>
                    <a:lnTo>
                      <a:pt x="42" y="407"/>
                    </a:lnTo>
                    <a:lnTo>
                      <a:pt x="42" y="409"/>
                    </a:lnTo>
                    <a:close/>
                    <a:moveTo>
                      <a:pt x="42" y="409"/>
                    </a:moveTo>
                    <a:lnTo>
                      <a:pt x="42" y="407"/>
                    </a:lnTo>
                    <a:lnTo>
                      <a:pt x="42" y="409"/>
                    </a:lnTo>
                    <a:close/>
                    <a:moveTo>
                      <a:pt x="326" y="332"/>
                    </a:moveTo>
                    <a:lnTo>
                      <a:pt x="326" y="334"/>
                    </a:lnTo>
                    <a:lnTo>
                      <a:pt x="326" y="332"/>
                    </a:lnTo>
                    <a:close/>
                    <a:moveTo>
                      <a:pt x="326" y="332"/>
                    </a:moveTo>
                    <a:lnTo>
                      <a:pt x="326" y="334"/>
                    </a:lnTo>
                    <a:lnTo>
                      <a:pt x="326" y="332"/>
                    </a:lnTo>
                    <a:close/>
                    <a:moveTo>
                      <a:pt x="363" y="321"/>
                    </a:moveTo>
                    <a:lnTo>
                      <a:pt x="361" y="321"/>
                    </a:lnTo>
                    <a:lnTo>
                      <a:pt x="363" y="321"/>
                    </a:lnTo>
                    <a:close/>
                    <a:moveTo>
                      <a:pt x="367" y="319"/>
                    </a:moveTo>
                    <a:lnTo>
                      <a:pt x="368" y="319"/>
                    </a:lnTo>
                    <a:lnTo>
                      <a:pt x="367" y="319"/>
                    </a:lnTo>
                    <a:lnTo>
                      <a:pt x="368" y="319"/>
                    </a:lnTo>
                    <a:lnTo>
                      <a:pt x="367" y="319"/>
                    </a:lnTo>
                    <a:close/>
                    <a:moveTo>
                      <a:pt x="328" y="332"/>
                    </a:moveTo>
                    <a:lnTo>
                      <a:pt x="326" y="332"/>
                    </a:lnTo>
                    <a:lnTo>
                      <a:pt x="328" y="332"/>
                    </a:lnTo>
                    <a:close/>
                    <a:moveTo>
                      <a:pt x="363" y="319"/>
                    </a:moveTo>
                    <a:lnTo>
                      <a:pt x="363" y="321"/>
                    </a:lnTo>
                    <a:lnTo>
                      <a:pt x="363" y="319"/>
                    </a:lnTo>
                    <a:close/>
                    <a:moveTo>
                      <a:pt x="343" y="324"/>
                    </a:moveTo>
                    <a:lnTo>
                      <a:pt x="343" y="326"/>
                    </a:lnTo>
                    <a:lnTo>
                      <a:pt x="343" y="324"/>
                    </a:lnTo>
                    <a:close/>
                    <a:moveTo>
                      <a:pt x="666" y="184"/>
                    </a:moveTo>
                    <a:lnTo>
                      <a:pt x="664" y="184"/>
                    </a:lnTo>
                    <a:lnTo>
                      <a:pt x="666" y="184"/>
                    </a:lnTo>
                    <a:close/>
                    <a:moveTo>
                      <a:pt x="326" y="330"/>
                    </a:moveTo>
                    <a:lnTo>
                      <a:pt x="326" y="332"/>
                    </a:lnTo>
                    <a:lnTo>
                      <a:pt x="326" y="330"/>
                    </a:lnTo>
                    <a:close/>
                    <a:moveTo>
                      <a:pt x="342" y="326"/>
                    </a:moveTo>
                    <a:lnTo>
                      <a:pt x="340" y="326"/>
                    </a:lnTo>
                    <a:lnTo>
                      <a:pt x="342" y="326"/>
                    </a:lnTo>
                    <a:close/>
                    <a:moveTo>
                      <a:pt x="342" y="326"/>
                    </a:moveTo>
                    <a:lnTo>
                      <a:pt x="340" y="326"/>
                    </a:lnTo>
                    <a:lnTo>
                      <a:pt x="342" y="326"/>
                    </a:lnTo>
                    <a:close/>
                    <a:moveTo>
                      <a:pt x="326" y="328"/>
                    </a:moveTo>
                    <a:lnTo>
                      <a:pt x="326" y="330"/>
                    </a:lnTo>
                    <a:lnTo>
                      <a:pt x="326" y="328"/>
                    </a:lnTo>
                    <a:close/>
                    <a:moveTo>
                      <a:pt x="269" y="348"/>
                    </a:moveTo>
                    <a:lnTo>
                      <a:pt x="267" y="348"/>
                    </a:lnTo>
                    <a:lnTo>
                      <a:pt x="269" y="348"/>
                    </a:lnTo>
                    <a:close/>
                    <a:moveTo>
                      <a:pt x="317" y="332"/>
                    </a:moveTo>
                    <a:lnTo>
                      <a:pt x="315" y="332"/>
                    </a:lnTo>
                    <a:lnTo>
                      <a:pt x="317" y="332"/>
                    </a:lnTo>
                    <a:close/>
                    <a:moveTo>
                      <a:pt x="34" y="403"/>
                    </a:moveTo>
                    <a:lnTo>
                      <a:pt x="34" y="405"/>
                    </a:lnTo>
                    <a:lnTo>
                      <a:pt x="34" y="403"/>
                    </a:lnTo>
                    <a:close/>
                    <a:moveTo>
                      <a:pt x="217" y="361"/>
                    </a:moveTo>
                    <a:lnTo>
                      <a:pt x="217" y="363"/>
                    </a:lnTo>
                    <a:lnTo>
                      <a:pt x="217" y="361"/>
                    </a:lnTo>
                    <a:close/>
                    <a:moveTo>
                      <a:pt x="330" y="326"/>
                    </a:moveTo>
                    <a:lnTo>
                      <a:pt x="330" y="324"/>
                    </a:lnTo>
                    <a:lnTo>
                      <a:pt x="330" y="326"/>
                    </a:lnTo>
                    <a:close/>
                    <a:moveTo>
                      <a:pt x="363" y="315"/>
                    </a:moveTo>
                    <a:lnTo>
                      <a:pt x="365" y="315"/>
                    </a:lnTo>
                    <a:lnTo>
                      <a:pt x="363" y="315"/>
                    </a:lnTo>
                    <a:close/>
                    <a:moveTo>
                      <a:pt x="363" y="313"/>
                    </a:moveTo>
                    <a:lnTo>
                      <a:pt x="363" y="315"/>
                    </a:lnTo>
                    <a:lnTo>
                      <a:pt x="363" y="313"/>
                    </a:lnTo>
                    <a:close/>
                    <a:moveTo>
                      <a:pt x="313" y="332"/>
                    </a:moveTo>
                    <a:lnTo>
                      <a:pt x="311" y="332"/>
                    </a:lnTo>
                    <a:lnTo>
                      <a:pt x="313" y="332"/>
                    </a:lnTo>
                    <a:close/>
                    <a:moveTo>
                      <a:pt x="36" y="403"/>
                    </a:moveTo>
                    <a:lnTo>
                      <a:pt x="34" y="403"/>
                    </a:lnTo>
                    <a:lnTo>
                      <a:pt x="36" y="403"/>
                    </a:lnTo>
                    <a:close/>
                    <a:moveTo>
                      <a:pt x="367" y="311"/>
                    </a:moveTo>
                    <a:lnTo>
                      <a:pt x="368" y="311"/>
                    </a:lnTo>
                    <a:lnTo>
                      <a:pt x="368" y="313"/>
                    </a:lnTo>
                    <a:lnTo>
                      <a:pt x="367" y="313"/>
                    </a:lnTo>
                    <a:lnTo>
                      <a:pt x="367" y="311"/>
                    </a:lnTo>
                    <a:close/>
                    <a:moveTo>
                      <a:pt x="32" y="401"/>
                    </a:moveTo>
                    <a:lnTo>
                      <a:pt x="32" y="403"/>
                    </a:lnTo>
                    <a:lnTo>
                      <a:pt x="32" y="401"/>
                    </a:lnTo>
                    <a:close/>
                    <a:moveTo>
                      <a:pt x="34" y="401"/>
                    </a:moveTo>
                    <a:lnTo>
                      <a:pt x="36" y="401"/>
                    </a:lnTo>
                    <a:lnTo>
                      <a:pt x="34" y="401"/>
                    </a:lnTo>
                    <a:close/>
                    <a:moveTo>
                      <a:pt x="361" y="313"/>
                    </a:moveTo>
                    <a:lnTo>
                      <a:pt x="359" y="313"/>
                    </a:lnTo>
                    <a:lnTo>
                      <a:pt x="361" y="313"/>
                    </a:lnTo>
                    <a:close/>
                    <a:moveTo>
                      <a:pt x="370" y="311"/>
                    </a:moveTo>
                    <a:lnTo>
                      <a:pt x="368" y="311"/>
                    </a:lnTo>
                    <a:lnTo>
                      <a:pt x="370" y="311"/>
                    </a:lnTo>
                    <a:close/>
                    <a:moveTo>
                      <a:pt x="353" y="315"/>
                    </a:moveTo>
                    <a:lnTo>
                      <a:pt x="353" y="317"/>
                    </a:lnTo>
                    <a:lnTo>
                      <a:pt x="353" y="315"/>
                    </a:lnTo>
                    <a:close/>
                    <a:moveTo>
                      <a:pt x="359" y="313"/>
                    </a:moveTo>
                    <a:lnTo>
                      <a:pt x="359" y="315"/>
                    </a:lnTo>
                    <a:lnTo>
                      <a:pt x="359" y="313"/>
                    </a:lnTo>
                    <a:close/>
                    <a:moveTo>
                      <a:pt x="353" y="315"/>
                    </a:moveTo>
                    <a:lnTo>
                      <a:pt x="353" y="317"/>
                    </a:lnTo>
                    <a:lnTo>
                      <a:pt x="353" y="315"/>
                    </a:lnTo>
                    <a:close/>
                    <a:moveTo>
                      <a:pt x="336" y="321"/>
                    </a:moveTo>
                    <a:lnTo>
                      <a:pt x="336" y="323"/>
                    </a:lnTo>
                    <a:lnTo>
                      <a:pt x="336" y="321"/>
                    </a:lnTo>
                    <a:close/>
                    <a:moveTo>
                      <a:pt x="378" y="305"/>
                    </a:moveTo>
                    <a:lnTo>
                      <a:pt x="376" y="305"/>
                    </a:lnTo>
                    <a:lnTo>
                      <a:pt x="378" y="305"/>
                    </a:lnTo>
                    <a:close/>
                    <a:moveTo>
                      <a:pt x="378" y="305"/>
                    </a:moveTo>
                    <a:lnTo>
                      <a:pt x="376" y="305"/>
                    </a:lnTo>
                    <a:lnTo>
                      <a:pt x="378" y="305"/>
                    </a:lnTo>
                    <a:close/>
                    <a:moveTo>
                      <a:pt x="320" y="324"/>
                    </a:moveTo>
                    <a:lnTo>
                      <a:pt x="320" y="326"/>
                    </a:lnTo>
                    <a:lnTo>
                      <a:pt x="320" y="324"/>
                    </a:lnTo>
                    <a:close/>
                    <a:moveTo>
                      <a:pt x="332" y="323"/>
                    </a:moveTo>
                    <a:lnTo>
                      <a:pt x="332" y="321"/>
                    </a:lnTo>
                    <a:lnTo>
                      <a:pt x="332" y="323"/>
                    </a:lnTo>
                    <a:close/>
                    <a:moveTo>
                      <a:pt x="313" y="326"/>
                    </a:moveTo>
                    <a:lnTo>
                      <a:pt x="315" y="326"/>
                    </a:lnTo>
                    <a:lnTo>
                      <a:pt x="313" y="326"/>
                    </a:lnTo>
                    <a:close/>
                    <a:moveTo>
                      <a:pt x="338" y="317"/>
                    </a:moveTo>
                    <a:lnTo>
                      <a:pt x="336" y="317"/>
                    </a:lnTo>
                    <a:lnTo>
                      <a:pt x="338" y="317"/>
                    </a:lnTo>
                    <a:close/>
                    <a:moveTo>
                      <a:pt x="240" y="348"/>
                    </a:moveTo>
                    <a:lnTo>
                      <a:pt x="242" y="348"/>
                    </a:lnTo>
                    <a:lnTo>
                      <a:pt x="240" y="348"/>
                    </a:lnTo>
                    <a:close/>
                    <a:moveTo>
                      <a:pt x="319" y="324"/>
                    </a:moveTo>
                    <a:lnTo>
                      <a:pt x="319" y="323"/>
                    </a:lnTo>
                    <a:lnTo>
                      <a:pt x="319" y="324"/>
                    </a:lnTo>
                    <a:close/>
                    <a:moveTo>
                      <a:pt x="228" y="351"/>
                    </a:moveTo>
                    <a:lnTo>
                      <a:pt x="226" y="351"/>
                    </a:lnTo>
                    <a:lnTo>
                      <a:pt x="228" y="351"/>
                    </a:lnTo>
                    <a:close/>
                    <a:moveTo>
                      <a:pt x="224" y="351"/>
                    </a:moveTo>
                    <a:lnTo>
                      <a:pt x="222" y="351"/>
                    </a:lnTo>
                    <a:lnTo>
                      <a:pt x="224" y="351"/>
                    </a:lnTo>
                    <a:close/>
                    <a:moveTo>
                      <a:pt x="319" y="321"/>
                    </a:moveTo>
                    <a:lnTo>
                      <a:pt x="319" y="323"/>
                    </a:lnTo>
                    <a:lnTo>
                      <a:pt x="319" y="321"/>
                    </a:lnTo>
                    <a:close/>
                    <a:moveTo>
                      <a:pt x="342" y="313"/>
                    </a:moveTo>
                    <a:lnTo>
                      <a:pt x="342" y="315"/>
                    </a:lnTo>
                    <a:lnTo>
                      <a:pt x="342" y="313"/>
                    </a:lnTo>
                    <a:close/>
                    <a:moveTo>
                      <a:pt x="342" y="313"/>
                    </a:moveTo>
                    <a:lnTo>
                      <a:pt x="342" y="315"/>
                    </a:lnTo>
                    <a:lnTo>
                      <a:pt x="342" y="313"/>
                    </a:lnTo>
                    <a:close/>
                    <a:moveTo>
                      <a:pt x="340" y="315"/>
                    </a:moveTo>
                    <a:lnTo>
                      <a:pt x="342" y="315"/>
                    </a:lnTo>
                    <a:lnTo>
                      <a:pt x="340" y="315"/>
                    </a:lnTo>
                    <a:close/>
                    <a:moveTo>
                      <a:pt x="376" y="301"/>
                    </a:moveTo>
                    <a:lnTo>
                      <a:pt x="374" y="301"/>
                    </a:lnTo>
                    <a:lnTo>
                      <a:pt x="376" y="301"/>
                    </a:lnTo>
                    <a:close/>
                    <a:moveTo>
                      <a:pt x="221" y="349"/>
                    </a:moveTo>
                    <a:lnTo>
                      <a:pt x="221" y="351"/>
                    </a:lnTo>
                    <a:lnTo>
                      <a:pt x="221" y="349"/>
                    </a:lnTo>
                    <a:close/>
                    <a:moveTo>
                      <a:pt x="221" y="349"/>
                    </a:moveTo>
                    <a:lnTo>
                      <a:pt x="221" y="351"/>
                    </a:lnTo>
                    <a:lnTo>
                      <a:pt x="221" y="349"/>
                    </a:lnTo>
                    <a:close/>
                    <a:moveTo>
                      <a:pt x="357" y="305"/>
                    </a:moveTo>
                    <a:lnTo>
                      <a:pt x="359" y="305"/>
                    </a:lnTo>
                    <a:lnTo>
                      <a:pt x="357" y="305"/>
                    </a:lnTo>
                    <a:close/>
                    <a:moveTo>
                      <a:pt x="219" y="351"/>
                    </a:moveTo>
                    <a:lnTo>
                      <a:pt x="219" y="349"/>
                    </a:lnTo>
                    <a:lnTo>
                      <a:pt x="219" y="351"/>
                    </a:lnTo>
                    <a:close/>
                    <a:moveTo>
                      <a:pt x="219" y="349"/>
                    </a:moveTo>
                    <a:lnTo>
                      <a:pt x="217" y="349"/>
                    </a:lnTo>
                    <a:lnTo>
                      <a:pt x="219" y="349"/>
                    </a:lnTo>
                    <a:close/>
                    <a:moveTo>
                      <a:pt x="217" y="349"/>
                    </a:moveTo>
                    <a:lnTo>
                      <a:pt x="215" y="349"/>
                    </a:lnTo>
                    <a:lnTo>
                      <a:pt x="217" y="349"/>
                    </a:lnTo>
                    <a:close/>
                    <a:moveTo>
                      <a:pt x="75" y="384"/>
                    </a:moveTo>
                    <a:lnTo>
                      <a:pt x="73" y="384"/>
                    </a:lnTo>
                    <a:lnTo>
                      <a:pt x="75" y="384"/>
                    </a:lnTo>
                    <a:close/>
                    <a:moveTo>
                      <a:pt x="76" y="382"/>
                    </a:moveTo>
                    <a:lnTo>
                      <a:pt x="75" y="382"/>
                    </a:lnTo>
                    <a:lnTo>
                      <a:pt x="76" y="382"/>
                    </a:lnTo>
                    <a:close/>
                    <a:moveTo>
                      <a:pt x="378" y="296"/>
                    </a:moveTo>
                    <a:lnTo>
                      <a:pt x="376" y="296"/>
                    </a:lnTo>
                    <a:lnTo>
                      <a:pt x="378" y="296"/>
                    </a:lnTo>
                    <a:close/>
                    <a:moveTo>
                      <a:pt x="372" y="298"/>
                    </a:moveTo>
                    <a:lnTo>
                      <a:pt x="370" y="298"/>
                    </a:lnTo>
                    <a:lnTo>
                      <a:pt x="372" y="298"/>
                    </a:lnTo>
                    <a:close/>
                    <a:moveTo>
                      <a:pt x="236" y="342"/>
                    </a:moveTo>
                    <a:lnTo>
                      <a:pt x="234" y="342"/>
                    </a:lnTo>
                    <a:lnTo>
                      <a:pt x="236" y="342"/>
                    </a:lnTo>
                    <a:close/>
                    <a:moveTo>
                      <a:pt x="228" y="342"/>
                    </a:moveTo>
                    <a:lnTo>
                      <a:pt x="228" y="344"/>
                    </a:lnTo>
                    <a:lnTo>
                      <a:pt x="228" y="342"/>
                    </a:lnTo>
                    <a:close/>
                    <a:moveTo>
                      <a:pt x="374" y="296"/>
                    </a:moveTo>
                    <a:lnTo>
                      <a:pt x="374" y="294"/>
                    </a:lnTo>
                    <a:lnTo>
                      <a:pt x="374" y="296"/>
                    </a:lnTo>
                    <a:close/>
                    <a:moveTo>
                      <a:pt x="372" y="296"/>
                    </a:moveTo>
                    <a:lnTo>
                      <a:pt x="370" y="296"/>
                    </a:lnTo>
                    <a:lnTo>
                      <a:pt x="372" y="296"/>
                    </a:lnTo>
                    <a:close/>
                    <a:moveTo>
                      <a:pt x="317" y="313"/>
                    </a:moveTo>
                    <a:lnTo>
                      <a:pt x="319" y="313"/>
                    </a:lnTo>
                    <a:lnTo>
                      <a:pt x="317" y="313"/>
                    </a:lnTo>
                    <a:close/>
                    <a:moveTo>
                      <a:pt x="222" y="344"/>
                    </a:moveTo>
                    <a:lnTo>
                      <a:pt x="222" y="342"/>
                    </a:lnTo>
                    <a:lnTo>
                      <a:pt x="222" y="344"/>
                    </a:lnTo>
                    <a:close/>
                    <a:moveTo>
                      <a:pt x="224" y="344"/>
                    </a:moveTo>
                    <a:lnTo>
                      <a:pt x="222" y="344"/>
                    </a:lnTo>
                    <a:lnTo>
                      <a:pt x="222" y="342"/>
                    </a:lnTo>
                    <a:lnTo>
                      <a:pt x="224" y="344"/>
                    </a:lnTo>
                    <a:close/>
                    <a:moveTo>
                      <a:pt x="372" y="294"/>
                    </a:moveTo>
                    <a:lnTo>
                      <a:pt x="370" y="294"/>
                    </a:lnTo>
                    <a:lnTo>
                      <a:pt x="372" y="294"/>
                    </a:lnTo>
                    <a:close/>
                    <a:moveTo>
                      <a:pt x="372" y="294"/>
                    </a:moveTo>
                    <a:lnTo>
                      <a:pt x="370" y="294"/>
                    </a:lnTo>
                    <a:lnTo>
                      <a:pt x="372" y="294"/>
                    </a:lnTo>
                    <a:close/>
                    <a:moveTo>
                      <a:pt x="228" y="340"/>
                    </a:moveTo>
                    <a:lnTo>
                      <a:pt x="226" y="340"/>
                    </a:lnTo>
                    <a:lnTo>
                      <a:pt x="228" y="340"/>
                    </a:lnTo>
                    <a:close/>
                    <a:moveTo>
                      <a:pt x="361" y="298"/>
                    </a:moveTo>
                    <a:lnTo>
                      <a:pt x="361" y="296"/>
                    </a:lnTo>
                    <a:lnTo>
                      <a:pt x="361" y="298"/>
                    </a:lnTo>
                    <a:close/>
                    <a:moveTo>
                      <a:pt x="157" y="359"/>
                    </a:moveTo>
                    <a:lnTo>
                      <a:pt x="159" y="359"/>
                    </a:lnTo>
                    <a:lnTo>
                      <a:pt x="157" y="359"/>
                    </a:lnTo>
                    <a:lnTo>
                      <a:pt x="157" y="357"/>
                    </a:lnTo>
                    <a:lnTo>
                      <a:pt x="157" y="359"/>
                    </a:lnTo>
                    <a:close/>
                    <a:moveTo>
                      <a:pt x="174" y="353"/>
                    </a:moveTo>
                    <a:lnTo>
                      <a:pt x="176" y="353"/>
                    </a:lnTo>
                    <a:lnTo>
                      <a:pt x="174" y="353"/>
                    </a:lnTo>
                    <a:close/>
                    <a:moveTo>
                      <a:pt x="253" y="330"/>
                    </a:moveTo>
                    <a:lnTo>
                      <a:pt x="251" y="330"/>
                    </a:lnTo>
                    <a:lnTo>
                      <a:pt x="253" y="330"/>
                    </a:lnTo>
                    <a:close/>
                    <a:moveTo>
                      <a:pt x="249" y="332"/>
                    </a:moveTo>
                    <a:lnTo>
                      <a:pt x="247" y="332"/>
                    </a:lnTo>
                    <a:lnTo>
                      <a:pt x="249" y="332"/>
                    </a:lnTo>
                    <a:close/>
                    <a:moveTo>
                      <a:pt x="343" y="301"/>
                    </a:moveTo>
                    <a:lnTo>
                      <a:pt x="342" y="301"/>
                    </a:lnTo>
                    <a:lnTo>
                      <a:pt x="343" y="301"/>
                    </a:lnTo>
                    <a:close/>
                    <a:moveTo>
                      <a:pt x="363" y="292"/>
                    </a:moveTo>
                    <a:lnTo>
                      <a:pt x="361" y="292"/>
                    </a:lnTo>
                    <a:lnTo>
                      <a:pt x="363" y="292"/>
                    </a:lnTo>
                    <a:close/>
                    <a:moveTo>
                      <a:pt x="247" y="330"/>
                    </a:moveTo>
                    <a:lnTo>
                      <a:pt x="246" y="330"/>
                    </a:lnTo>
                    <a:lnTo>
                      <a:pt x="247" y="330"/>
                    </a:lnTo>
                    <a:close/>
                    <a:moveTo>
                      <a:pt x="361" y="292"/>
                    </a:moveTo>
                    <a:lnTo>
                      <a:pt x="361" y="290"/>
                    </a:lnTo>
                    <a:lnTo>
                      <a:pt x="361" y="292"/>
                    </a:lnTo>
                    <a:close/>
                    <a:moveTo>
                      <a:pt x="361" y="290"/>
                    </a:moveTo>
                    <a:lnTo>
                      <a:pt x="359" y="290"/>
                    </a:lnTo>
                    <a:lnTo>
                      <a:pt x="361" y="290"/>
                    </a:lnTo>
                    <a:close/>
                    <a:moveTo>
                      <a:pt x="307" y="307"/>
                    </a:moveTo>
                    <a:lnTo>
                      <a:pt x="305" y="307"/>
                    </a:lnTo>
                    <a:lnTo>
                      <a:pt x="307" y="307"/>
                    </a:lnTo>
                    <a:close/>
                    <a:moveTo>
                      <a:pt x="307" y="307"/>
                    </a:moveTo>
                    <a:lnTo>
                      <a:pt x="305" y="307"/>
                    </a:lnTo>
                    <a:lnTo>
                      <a:pt x="307" y="307"/>
                    </a:lnTo>
                    <a:close/>
                    <a:moveTo>
                      <a:pt x="357" y="288"/>
                    </a:moveTo>
                    <a:lnTo>
                      <a:pt x="357" y="290"/>
                    </a:lnTo>
                    <a:lnTo>
                      <a:pt x="357" y="288"/>
                    </a:lnTo>
                    <a:lnTo>
                      <a:pt x="357" y="290"/>
                    </a:lnTo>
                    <a:lnTo>
                      <a:pt x="357" y="288"/>
                    </a:lnTo>
                    <a:close/>
                    <a:moveTo>
                      <a:pt x="355" y="290"/>
                    </a:moveTo>
                    <a:lnTo>
                      <a:pt x="353" y="290"/>
                    </a:lnTo>
                    <a:lnTo>
                      <a:pt x="355" y="290"/>
                    </a:lnTo>
                    <a:close/>
                    <a:moveTo>
                      <a:pt x="355" y="290"/>
                    </a:moveTo>
                    <a:lnTo>
                      <a:pt x="355" y="288"/>
                    </a:lnTo>
                    <a:lnTo>
                      <a:pt x="355" y="290"/>
                    </a:lnTo>
                    <a:close/>
                    <a:moveTo>
                      <a:pt x="30" y="376"/>
                    </a:moveTo>
                    <a:lnTo>
                      <a:pt x="32" y="376"/>
                    </a:lnTo>
                    <a:lnTo>
                      <a:pt x="30" y="376"/>
                    </a:lnTo>
                    <a:close/>
                    <a:moveTo>
                      <a:pt x="355" y="288"/>
                    </a:moveTo>
                    <a:lnTo>
                      <a:pt x="355" y="290"/>
                    </a:lnTo>
                    <a:lnTo>
                      <a:pt x="355" y="288"/>
                    </a:lnTo>
                    <a:lnTo>
                      <a:pt x="355" y="290"/>
                    </a:lnTo>
                    <a:lnTo>
                      <a:pt x="355" y="288"/>
                    </a:lnTo>
                    <a:close/>
                    <a:moveTo>
                      <a:pt x="353" y="288"/>
                    </a:moveTo>
                    <a:lnTo>
                      <a:pt x="355" y="290"/>
                    </a:lnTo>
                    <a:lnTo>
                      <a:pt x="353" y="290"/>
                    </a:lnTo>
                    <a:lnTo>
                      <a:pt x="353" y="288"/>
                    </a:lnTo>
                    <a:close/>
                    <a:moveTo>
                      <a:pt x="353" y="290"/>
                    </a:moveTo>
                    <a:lnTo>
                      <a:pt x="353" y="288"/>
                    </a:lnTo>
                    <a:lnTo>
                      <a:pt x="353" y="290"/>
                    </a:lnTo>
                    <a:close/>
                    <a:moveTo>
                      <a:pt x="353" y="288"/>
                    </a:moveTo>
                    <a:lnTo>
                      <a:pt x="353" y="290"/>
                    </a:lnTo>
                    <a:lnTo>
                      <a:pt x="353" y="288"/>
                    </a:lnTo>
                    <a:close/>
                    <a:moveTo>
                      <a:pt x="320" y="299"/>
                    </a:moveTo>
                    <a:lnTo>
                      <a:pt x="319" y="299"/>
                    </a:lnTo>
                    <a:lnTo>
                      <a:pt x="320" y="299"/>
                    </a:lnTo>
                    <a:close/>
                    <a:moveTo>
                      <a:pt x="317" y="298"/>
                    </a:moveTo>
                    <a:lnTo>
                      <a:pt x="315" y="298"/>
                    </a:lnTo>
                    <a:lnTo>
                      <a:pt x="317" y="298"/>
                    </a:lnTo>
                    <a:close/>
                    <a:moveTo>
                      <a:pt x="347" y="286"/>
                    </a:moveTo>
                    <a:lnTo>
                      <a:pt x="347" y="288"/>
                    </a:lnTo>
                    <a:lnTo>
                      <a:pt x="347" y="286"/>
                    </a:lnTo>
                    <a:close/>
                    <a:moveTo>
                      <a:pt x="349" y="286"/>
                    </a:moveTo>
                    <a:lnTo>
                      <a:pt x="347" y="286"/>
                    </a:lnTo>
                    <a:lnTo>
                      <a:pt x="349" y="286"/>
                    </a:lnTo>
                    <a:close/>
                    <a:moveTo>
                      <a:pt x="342" y="288"/>
                    </a:moveTo>
                    <a:lnTo>
                      <a:pt x="340" y="288"/>
                    </a:lnTo>
                    <a:lnTo>
                      <a:pt x="342" y="288"/>
                    </a:lnTo>
                    <a:close/>
                    <a:moveTo>
                      <a:pt x="343" y="286"/>
                    </a:moveTo>
                    <a:lnTo>
                      <a:pt x="342" y="286"/>
                    </a:lnTo>
                    <a:lnTo>
                      <a:pt x="343" y="286"/>
                    </a:lnTo>
                    <a:close/>
                    <a:moveTo>
                      <a:pt x="345" y="284"/>
                    </a:moveTo>
                    <a:lnTo>
                      <a:pt x="345" y="286"/>
                    </a:lnTo>
                    <a:lnTo>
                      <a:pt x="345" y="284"/>
                    </a:lnTo>
                    <a:close/>
                    <a:moveTo>
                      <a:pt x="311" y="296"/>
                    </a:moveTo>
                    <a:lnTo>
                      <a:pt x="311" y="298"/>
                    </a:lnTo>
                    <a:lnTo>
                      <a:pt x="311" y="296"/>
                    </a:lnTo>
                    <a:close/>
                    <a:moveTo>
                      <a:pt x="343" y="286"/>
                    </a:moveTo>
                    <a:lnTo>
                      <a:pt x="345" y="286"/>
                    </a:lnTo>
                    <a:lnTo>
                      <a:pt x="343" y="286"/>
                    </a:lnTo>
                    <a:close/>
                    <a:moveTo>
                      <a:pt x="332" y="288"/>
                    </a:moveTo>
                    <a:lnTo>
                      <a:pt x="332" y="290"/>
                    </a:lnTo>
                    <a:lnTo>
                      <a:pt x="332" y="288"/>
                    </a:lnTo>
                    <a:close/>
                    <a:moveTo>
                      <a:pt x="332" y="290"/>
                    </a:moveTo>
                    <a:lnTo>
                      <a:pt x="332" y="288"/>
                    </a:lnTo>
                    <a:lnTo>
                      <a:pt x="332" y="290"/>
                    </a:lnTo>
                    <a:close/>
                    <a:moveTo>
                      <a:pt x="647" y="151"/>
                    </a:moveTo>
                    <a:lnTo>
                      <a:pt x="645" y="151"/>
                    </a:lnTo>
                    <a:lnTo>
                      <a:pt x="647" y="151"/>
                    </a:lnTo>
                    <a:close/>
                    <a:moveTo>
                      <a:pt x="340" y="286"/>
                    </a:moveTo>
                    <a:lnTo>
                      <a:pt x="338" y="286"/>
                    </a:lnTo>
                    <a:lnTo>
                      <a:pt x="340" y="286"/>
                    </a:lnTo>
                    <a:close/>
                    <a:moveTo>
                      <a:pt x="315" y="294"/>
                    </a:moveTo>
                    <a:lnTo>
                      <a:pt x="315" y="296"/>
                    </a:lnTo>
                    <a:lnTo>
                      <a:pt x="315" y="294"/>
                    </a:lnTo>
                    <a:close/>
                    <a:moveTo>
                      <a:pt x="645" y="151"/>
                    </a:moveTo>
                    <a:lnTo>
                      <a:pt x="645" y="150"/>
                    </a:lnTo>
                    <a:lnTo>
                      <a:pt x="645" y="151"/>
                    </a:lnTo>
                    <a:close/>
                    <a:moveTo>
                      <a:pt x="144" y="344"/>
                    </a:moveTo>
                    <a:lnTo>
                      <a:pt x="142" y="344"/>
                    </a:lnTo>
                    <a:lnTo>
                      <a:pt x="144" y="344"/>
                    </a:lnTo>
                    <a:close/>
                    <a:moveTo>
                      <a:pt x="342" y="284"/>
                    </a:moveTo>
                    <a:lnTo>
                      <a:pt x="343" y="284"/>
                    </a:lnTo>
                    <a:lnTo>
                      <a:pt x="342" y="284"/>
                    </a:lnTo>
                    <a:close/>
                    <a:moveTo>
                      <a:pt x="307" y="296"/>
                    </a:moveTo>
                    <a:lnTo>
                      <a:pt x="307" y="298"/>
                    </a:lnTo>
                    <a:lnTo>
                      <a:pt x="307" y="296"/>
                    </a:lnTo>
                    <a:close/>
                    <a:moveTo>
                      <a:pt x="340" y="284"/>
                    </a:moveTo>
                    <a:lnTo>
                      <a:pt x="340" y="286"/>
                    </a:lnTo>
                    <a:lnTo>
                      <a:pt x="340" y="284"/>
                    </a:lnTo>
                    <a:close/>
                    <a:moveTo>
                      <a:pt x="144" y="344"/>
                    </a:moveTo>
                    <a:lnTo>
                      <a:pt x="142" y="344"/>
                    </a:lnTo>
                    <a:lnTo>
                      <a:pt x="144" y="344"/>
                    </a:lnTo>
                    <a:close/>
                    <a:moveTo>
                      <a:pt x="305" y="296"/>
                    </a:moveTo>
                    <a:lnTo>
                      <a:pt x="305" y="298"/>
                    </a:lnTo>
                    <a:lnTo>
                      <a:pt x="305" y="296"/>
                    </a:lnTo>
                    <a:close/>
                    <a:moveTo>
                      <a:pt x="342" y="284"/>
                    </a:moveTo>
                    <a:lnTo>
                      <a:pt x="340" y="284"/>
                    </a:lnTo>
                    <a:lnTo>
                      <a:pt x="342" y="284"/>
                    </a:lnTo>
                    <a:close/>
                    <a:moveTo>
                      <a:pt x="328" y="288"/>
                    </a:moveTo>
                    <a:lnTo>
                      <a:pt x="328" y="290"/>
                    </a:lnTo>
                    <a:lnTo>
                      <a:pt x="328" y="288"/>
                    </a:lnTo>
                    <a:close/>
                    <a:moveTo>
                      <a:pt x="311" y="294"/>
                    </a:moveTo>
                    <a:lnTo>
                      <a:pt x="311" y="296"/>
                    </a:lnTo>
                    <a:lnTo>
                      <a:pt x="311" y="294"/>
                    </a:lnTo>
                    <a:close/>
                    <a:moveTo>
                      <a:pt x="342" y="284"/>
                    </a:moveTo>
                    <a:lnTo>
                      <a:pt x="340" y="284"/>
                    </a:lnTo>
                    <a:lnTo>
                      <a:pt x="342" y="284"/>
                    </a:lnTo>
                    <a:close/>
                    <a:moveTo>
                      <a:pt x="340" y="284"/>
                    </a:moveTo>
                    <a:lnTo>
                      <a:pt x="342" y="284"/>
                    </a:lnTo>
                    <a:lnTo>
                      <a:pt x="340" y="284"/>
                    </a:lnTo>
                    <a:close/>
                    <a:moveTo>
                      <a:pt x="340" y="284"/>
                    </a:moveTo>
                    <a:lnTo>
                      <a:pt x="342" y="284"/>
                    </a:lnTo>
                    <a:lnTo>
                      <a:pt x="340" y="284"/>
                    </a:lnTo>
                    <a:close/>
                    <a:moveTo>
                      <a:pt x="645" y="150"/>
                    </a:moveTo>
                    <a:lnTo>
                      <a:pt x="645" y="148"/>
                    </a:lnTo>
                    <a:lnTo>
                      <a:pt x="645" y="150"/>
                    </a:lnTo>
                    <a:close/>
                    <a:moveTo>
                      <a:pt x="295" y="298"/>
                    </a:moveTo>
                    <a:lnTo>
                      <a:pt x="295" y="299"/>
                    </a:lnTo>
                    <a:lnTo>
                      <a:pt x="295" y="298"/>
                    </a:lnTo>
                    <a:close/>
                    <a:moveTo>
                      <a:pt x="342" y="284"/>
                    </a:moveTo>
                    <a:lnTo>
                      <a:pt x="342" y="282"/>
                    </a:lnTo>
                    <a:lnTo>
                      <a:pt x="342" y="284"/>
                    </a:lnTo>
                    <a:close/>
                    <a:moveTo>
                      <a:pt x="342" y="284"/>
                    </a:moveTo>
                    <a:lnTo>
                      <a:pt x="342" y="282"/>
                    </a:lnTo>
                    <a:lnTo>
                      <a:pt x="342" y="284"/>
                    </a:lnTo>
                    <a:close/>
                    <a:moveTo>
                      <a:pt x="295" y="298"/>
                    </a:moveTo>
                    <a:lnTo>
                      <a:pt x="295" y="299"/>
                    </a:lnTo>
                    <a:lnTo>
                      <a:pt x="295" y="298"/>
                    </a:lnTo>
                    <a:close/>
                    <a:moveTo>
                      <a:pt x="148" y="340"/>
                    </a:moveTo>
                    <a:lnTo>
                      <a:pt x="148" y="342"/>
                    </a:lnTo>
                    <a:lnTo>
                      <a:pt x="148" y="340"/>
                    </a:lnTo>
                    <a:close/>
                    <a:moveTo>
                      <a:pt x="338" y="284"/>
                    </a:moveTo>
                    <a:lnTo>
                      <a:pt x="340" y="284"/>
                    </a:lnTo>
                    <a:lnTo>
                      <a:pt x="338" y="284"/>
                    </a:lnTo>
                    <a:close/>
                    <a:moveTo>
                      <a:pt x="338" y="284"/>
                    </a:moveTo>
                    <a:lnTo>
                      <a:pt x="340" y="284"/>
                    </a:lnTo>
                    <a:lnTo>
                      <a:pt x="338" y="284"/>
                    </a:lnTo>
                    <a:close/>
                    <a:moveTo>
                      <a:pt x="148" y="342"/>
                    </a:moveTo>
                    <a:lnTo>
                      <a:pt x="146" y="342"/>
                    </a:lnTo>
                    <a:lnTo>
                      <a:pt x="148" y="342"/>
                    </a:lnTo>
                    <a:close/>
                    <a:moveTo>
                      <a:pt x="148" y="340"/>
                    </a:moveTo>
                    <a:lnTo>
                      <a:pt x="148" y="342"/>
                    </a:lnTo>
                    <a:lnTo>
                      <a:pt x="148" y="340"/>
                    </a:lnTo>
                    <a:close/>
                    <a:moveTo>
                      <a:pt x="317" y="292"/>
                    </a:moveTo>
                    <a:lnTo>
                      <a:pt x="315" y="292"/>
                    </a:lnTo>
                    <a:lnTo>
                      <a:pt x="317" y="292"/>
                    </a:lnTo>
                    <a:close/>
                    <a:moveTo>
                      <a:pt x="340" y="284"/>
                    </a:moveTo>
                    <a:lnTo>
                      <a:pt x="340" y="282"/>
                    </a:lnTo>
                    <a:lnTo>
                      <a:pt x="340" y="284"/>
                    </a:lnTo>
                    <a:close/>
                    <a:moveTo>
                      <a:pt x="317" y="292"/>
                    </a:moveTo>
                    <a:lnTo>
                      <a:pt x="315" y="292"/>
                    </a:lnTo>
                    <a:lnTo>
                      <a:pt x="317" y="292"/>
                    </a:lnTo>
                    <a:close/>
                    <a:moveTo>
                      <a:pt x="338" y="282"/>
                    </a:moveTo>
                    <a:lnTo>
                      <a:pt x="338" y="284"/>
                    </a:lnTo>
                    <a:lnTo>
                      <a:pt x="338" y="282"/>
                    </a:lnTo>
                    <a:close/>
                    <a:moveTo>
                      <a:pt x="338" y="282"/>
                    </a:moveTo>
                    <a:lnTo>
                      <a:pt x="338" y="284"/>
                    </a:lnTo>
                    <a:lnTo>
                      <a:pt x="338" y="282"/>
                    </a:lnTo>
                    <a:close/>
                    <a:moveTo>
                      <a:pt x="338" y="282"/>
                    </a:moveTo>
                    <a:lnTo>
                      <a:pt x="338" y="284"/>
                    </a:lnTo>
                    <a:lnTo>
                      <a:pt x="338" y="282"/>
                    </a:lnTo>
                    <a:close/>
                    <a:moveTo>
                      <a:pt x="645" y="148"/>
                    </a:moveTo>
                    <a:lnTo>
                      <a:pt x="643" y="148"/>
                    </a:lnTo>
                    <a:lnTo>
                      <a:pt x="645" y="148"/>
                    </a:lnTo>
                    <a:lnTo>
                      <a:pt x="643" y="148"/>
                    </a:lnTo>
                    <a:lnTo>
                      <a:pt x="645" y="148"/>
                    </a:lnTo>
                    <a:close/>
                    <a:moveTo>
                      <a:pt x="338" y="284"/>
                    </a:moveTo>
                    <a:lnTo>
                      <a:pt x="338" y="282"/>
                    </a:lnTo>
                    <a:lnTo>
                      <a:pt x="338" y="284"/>
                    </a:lnTo>
                    <a:close/>
                    <a:moveTo>
                      <a:pt x="332" y="284"/>
                    </a:moveTo>
                    <a:lnTo>
                      <a:pt x="332" y="286"/>
                    </a:lnTo>
                    <a:lnTo>
                      <a:pt x="332" y="284"/>
                    </a:lnTo>
                    <a:close/>
                    <a:moveTo>
                      <a:pt x="330" y="284"/>
                    </a:moveTo>
                    <a:lnTo>
                      <a:pt x="330" y="286"/>
                    </a:lnTo>
                    <a:lnTo>
                      <a:pt x="330" y="284"/>
                    </a:lnTo>
                    <a:close/>
                    <a:moveTo>
                      <a:pt x="336" y="284"/>
                    </a:moveTo>
                    <a:lnTo>
                      <a:pt x="336" y="282"/>
                    </a:lnTo>
                    <a:lnTo>
                      <a:pt x="336" y="284"/>
                    </a:lnTo>
                    <a:close/>
                    <a:moveTo>
                      <a:pt x="336" y="282"/>
                    </a:moveTo>
                    <a:lnTo>
                      <a:pt x="336" y="284"/>
                    </a:lnTo>
                    <a:lnTo>
                      <a:pt x="336" y="282"/>
                    </a:lnTo>
                    <a:close/>
                    <a:moveTo>
                      <a:pt x="292" y="298"/>
                    </a:moveTo>
                    <a:lnTo>
                      <a:pt x="290" y="298"/>
                    </a:lnTo>
                    <a:lnTo>
                      <a:pt x="292" y="298"/>
                    </a:lnTo>
                    <a:close/>
                    <a:moveTo>
                      <a:pt x="297" y="296"/>
                    </a:moveTo>
                    <a:lnTo>
                      <a:pt x="295" y="296"/>
                    </a:lnTo>
                    <a:lnTo>
                      <a:pt x="297" y="296"/>
                    </a:lnTo>
                    <a:close/>
                    <a:moveTo>
                      <a:pt x="146" y="340"/>
                    </a:moveTo>
                    <a:lnTo>
                      <a:pt x="144" y="340"/>
                    </a:lnTo>
                    <a:lnTo>
                      <a:pt x="146" y="340"/>
                    </a:lnTo>
                    <a:close/>
                    <a:moveTo>
                      <a:pt x="334" y="282"/>
                    </a:moveTo>
                    <a:lnTo>
                      <a:pt x="332" y="282"/>
                    </a:lnTo>
                    <a:lnTo>
                      <a:pt x="334" y="282"/>
                    </a:lnTo>
                    <a:close/>
                    <a:moveTo>
                      <a:pt x="320" y="286"/>
                    </a:moveTo>
                    <a:lnTo>
                      <a:pt x="319" y="286"/>
                    </a:lnTo>
                    <a:lnTo>
                      <a:pt x="320" y="286"/>
                    </a:lnTo>
                    <a:close/>
                    <a:moveTo>
                      <a:pt x="322" y="286"/>
                    </a:moveTo>
                    <a:lnTo>
                      <a:pt x="320" y="286"/>
                    </a:lnTo>
                    <a:lnTo>
                      <a:pt x="322" y="286"/>
                    </a:lnTo>
                    <a:close/>
                    <a:moveTo>
                      <a:pt x="288" y="298"/>
                    </a:moveTo>
                    <a:lnTo>
                      <a:pt x="286" y="298"/>
                    </a:lnTo>
                    <a:lnTo>
                      <a:pt x="288" y="298"/>
                    </a:lnTo>
                    <a:close/>
                    <a:moveTo>
                      <a:pt x="589" y="167"/>
                    </a:moveTo>
                    <a:lnTo>
                      <a:pt x="589" y="169"/>
                    </a:lnTo>
                    <a:lnTo>
                      <a:pt x="589" y="167"/>
                    </a:lnTo>
                    <a:close/>
                    <a:moveTo>
                      <a:pt x="591" y="167"/>
                    </a:moveTo>
                    <a:lnTo>
                      <a:pt x="589" y="167"/>
                    </a:lnTo>
                    <a:lnTo>
                      <a:pt x="591" y="167"/>
                    </a:lnTo>
                    <a:close/>
                    <a:moveTo>
                      <a:pt x="591" y="167"/>
                    </a:moveTo>
                    <a:lnTo>
                      <a:pt x="589" y="167"/>
                    </a:lnTo>
                    <a:lnTo>
                      <a:pt x="591" y="167"/>
                    </a:lnTo>
                    <a:close/>
                    <a:moveTo>
                      <a:pt x="589" y="167"/>
                    </a:moveTo>
                    <a:lnTo>
                      <a:pt x="587" y="167"/>
                    </a:lnTo>
                    <a:lnTo>
                      <a:pt x="589" y="167"/>
                    </a:lnTo>
                    <a:close/>
                    <a:moveTo>
                      <a:pt x="589" y="167"/>
                    </a:moveTo>
                    <a:lnTo>
                      <a:pt x="587" y="167"/>
                    </a:lnTo>
                    <a:lnTo>
                      <a:pt x="589" y="167"/>
                    </a:lnTo>
                    <a:close/>
                    <a:moveTo>
                      <a:pt x="589" y="167"/>
                    </a:moveTo>
                    <a:lnTo>
                      <a:pt x="587" y="167"/>
                    </a:lnTo>
                    <a:lnTo>
                      <a:pt x="589" y="167"/>
                    </a:lnTo>
                    <a:close/>
                    <a:moveTo>
                      <a:pt x="593" y="163"/>
                    </a:moveTo>
                    <a:lnTo>
                      <a:pt x="593" y="165"/>
                    </a:lnTo>
                    <a:lnTo>
                      <a:pt x="593" y="163"/>
                    </a:lnTo>
                    <a:close/>
                    <a:moveTo>
                      <a:pt x="591" y="165"/>
                    </a:moveTo>
                    <a:lnTo>
                      <a:pt x="593" y="165"/>
                    </a:lnTo>
                    <a:lnTo>
                      <a:pt x="591" y="165"/>
                    </a:lnTo>
                    <a:close/>
                    <a:moveTo>
                      <a:pt x="591" y="163"/>
                    </a:moveTo>
                    <a:lnTo>
                      <a:pt x="591" y="165"/>
                    </a:lnTo>
                    <a:lnTo>
                      <a:pt x="591" y="163"/>
                    </a:lnTo>
                    <a:close/>
                    <a:moveTo>
                      <a:pt x="591" y="165"/>
                    </a:moveTo>
                    <a:lnTo>
                      <a:pt x="589" y="165"/>
                    </a:lnTo>
                    <a:lnTo>
                      <a:pt x="591" y="165"/>
                    </a:lnTo>
                    <a:close/>
                    <a:moveTo>
                      <a:pt x="591" y="163"/>
                    </a:moveTo>
                    <a:lnTo>
                      <a:pt x="591" y="165"/>
                    </a:lnTo>
                    <a:lnTo>
                      <a:pt x="591" y="163"/>
                    </a:lnTo>
                    <a:close/>
                    <a:moveTo>
                      <a:pt x="591" y="163"/>
                    </a:moveTo>
                    <a:lnTo>
                      <a:pt x="591" y="165"/>
                    </a:lnTo>
                    <a:lnTo>
                      <a:pt x="591" y="163"/>
                    </a:lnTo>
                    <a:close/>
                    <a:moveTo>
                      <a:pt x="591" y="163"/>
                    </a:moveTo>
                    <a:lnTo>
                      <a:pt x="591" y="165"/>
                    </a:lnTo>
                    <a:lnTo>
                      <a:pt x="591" y="163"/>
                    </a:lnTo>
                    <a:close/>
                    <a:moveTo>
                      <a:pt x="587" y="165"/>
                    </a:moveTo>
                    <a:lnTo>
                      <a:pt x="589" y="165"/>
                    </a:lnTo>
                    <a:lnTo>
                      <a:pt x="587" y="165"/>
                    </a:lnTo>
                    <a:close/>
                    <a:moveTo>
                      <a:pt x="589" y="165"/>
                    </a:moveTo>
                    <a:lnTo>
                      <a:pt x="589" y="163"/>
                    </a:lnTo>
                    <a:lnTo>
                      <a:pt x="589" y="165"/>
                    </a:lnTo>
                    <a:lnTo>
                      <a:pt x="589" y="163"/>
                    </a:lnTo>
                    <a:lnTo>
                      <a:pt x="589" y="165"/>
                    </a:lnTo>
                    <a:close/>
                    <a:moveTo>
                      <a:pt x="589" y="165"/>
                    </a:moveTo>
                    <a:lnTo>
                      <a:pt x="589" y="163"/>
                    </a:lnTo>
                    <a:lnTo>
                      <a:pt x="589" y="165"/>
                    </a:lnTo>
                    <a:close/>
                    <a:moveTo>
                      <a:pt x="589" y="163"/>
                    </a:moveTo>
                    <a:lnTo>
                      <a:pt x="589" y="165"/>
                    </a:lnTo>
                    <a:lnTo>
                      <a:pt x="589" y="163"/>
                    </a:lnTo>
                    <a:close/>
                    <a:moveTo>
                      <a:pt x="84" y="344"/>
                    </a:moveTo>
                    <a:lnTo>
                      <a:pt x="82" y="344"/>
                    </a:lnTo>
                    <a:lnTo>
                      <a:pt x="84" y="344"/>
                    </a:lnTo>
                    <a:close/>
                    <a:moveTo>
                      <a:pt x="591" y="161"/>
                    </a:moveTo>
                    <a:lnTo>
                      <a:pt x="591" y="163"/>
                    </a:lnTo>
                    <a:lnTo>
                      <a:pt x="591" y="161"/>
                    </a:lnTo>
                    <a:close/>
                    <a:moveTo>
                      <a:pt x="591" y="163"/>
                    </a:moveTo>
                    <a:lnTo>
                      <a:pt x="589" y="163"/>
                    </a:lnTo>
                    <a:lnTo>
                      <a:pt x="591" y="163"/>
                    </a:lnTo>
                    <a:close/>
                    <a:moveTo>
                      <a:pt x="591" y="161"/>
                    </a:moveTo>
                    <a:lnTo>
                      <a:pt x="591" y="163"/>
                    </a:lnTo>
                    <a:lnTo>
                      <a:pt x="591" y="161"/>
                    </a:lnTo>
                    <a:close/>
                    <a:moveTo>
                      <a:pt x="269" y="292"/>
                    </a:moveTo>
                    <a:lnTo>
                      <a:pt x="269" y="294"/>
                    </a:lnTo>
                    <a:lnTo>
                      <a:pt x="269" y="292"/>
                    </a:lnTo>
                    <a:close/>
                    <a:moveTo>
                      <a:pt x="589" y="163"/>
                    </a:moveTo>
                    <a:lnTo>
                      <a:pt x="587" y="163"/>
                    </a:lnTo>
                    <a:lnTo>
                      <a:pt x="589" y="163"/>
                    </a:lnTo>
                    <a:close/>
                    <a:moveTo>
                      <a:pt x="589" y="161"/>
                    </a:moveTo>
                    <a:lnTo>
                      <a:pt x="589" y="163"/>
                    </a:lnTo>
                    <a:lnTo>
                      <a:pt x="589" y="161"/>
                    </a:lnTo>
                    <a:close/>
                    <a:moveTo>
                      <a:pt x="587" y="163"/>
                    </a:moveTo>
                    <a:lnTo>
                      <a:pt x="589" y="163"/>
                    </a:lnTo>
                    <a:lnTo>
                      <a:pt x="589" y="161"/>
                    </a:lnTo>
                    <a:lnTo>
                      <a:pt x="589" y="163"/>
                    </a:lnTo>
                    <a:lnTo>
                      <a:pt x="587" y="163"/>
                    </a:lnTo>
                    <a:lnTo>
                      <a:pt x="587" y="161"/>
                    </a:lnTo>
                    <a:lnTo>
                      <a:pt x="587" y="163"/>
                    </a:lnTo>
                    <a:close/>
                    <a:moveTo>
                      <a:pt x="591" y="161"/>
                    </a:moveTo>
                    <a:lnTo>
                      <a:pt x="589" y="161"/>
                    </a:lnTo>
                    <a:lnTo>
                      <a:pt x="591" y="161"/>
                    </a:lnTo>
                    <a:close/>
                    <a:moveTo>
                      <a:pt x="587" y="161"/>
                    </a:moveTo>
                    <a:lnTo>
                      <a:pt x="587" y="163"/>
                    </a:lnTo>
                    <a:lnTo>
                      <a:pt x="587" y="161"/>
                    </a:lnTo>
                    <a:close/>
                    <a:moveTo>
                      <a:pt x="261" y="290"/>
                    </a:moveTo>
                    <a:lnTo>
                      <a:pt x="259" y="290"/>
                    </a:lnTo>
                    <a:lnTo>
                      <a:pt x="261" y="290"/>
                    </a:lnTo>
                    <a:close/>
                    <a:moveTo>
                      <a:pt x="263" y="288"/>
                    </a:moveTo>
                    <a:lnTo>
                      <a:pt x="261" y="288"/>
                    </a:lnTo>
                    <a:lnTo>
                      <a:pt x="263" y="288"/>
                    </a:lnTo>
                    <a:close/>
                    <a:moveTo>
                      <a:pt x="263" y="288"/>
                    </a:moveTo>
                    <a:lnTo>
                      <a:pt x="261" y="288"/>
                    </a:lnTo>
                    <a:lnTo>
                      <a:pt x="263" y="288"/>
                    </a:lnTo>
                    <a:close/>
                    <a:moveTo>
                      <a:pt x="249" y="290"/>
                    </a:moveTo>
                    <a:lnTo>
                      <a:pt x="249" y="292"/>
                    </a:lnTo>
                    <a:lnTo>
                      <a:pt x="249" y="290"/>
                    </a:lnTo>
                    <a:close/>
                    <a:moveTo>
                      <a:pt x="578" y="157"/>
                    </a:moveTo>
                    <a:lnTo>
                      <a:pt x="576" y="157"/>
                    </a:lnTo>
                    <a:lnTo>
                      <a:pt x="578" y="157"/>
                    </a:lnTo>
                    <a:close/>
                    <a:moveTo>
                      <a:pt x="265" y="282"/>
                    </a:moveTo>
                    <a:lnTo>
                      <a:pt x="265" y="284"/>
                    </a:lnTo>
                    <a:lnTo>
                      <a:pt x="265" y="282"/>
                    </a:lnTo>
                    <a:close/>
                    <a:moveTo>
                      <a:pt x="265" y="282"/>
                    </a:moveTo>
                    <a:lnTo>
                      <a:pt x="265" y="284"/>
                    </a:lnTo>
                    <a:lnTo>
                      <a:pt x="265" y="282"/>
                    </a:lnTo>
                    <a:lnTo>
                      <a:pt x="265" y="284"/>
                    </a:lnTo>
                    <a:lnTo>
                      <a:pt x="265" y="282"/>
                    </a:lnTo>
                    <a:close/>
                    <a:moveTo>
                      <a:pt x="576" y="157"/>
                    </a:moveTo>
                    <a:lnTo>
                      <a:pt x="574" y="157"/>
                    </a:lnTo>
                    <a:lnTo>
                      <a:pt x="576" y="157"/>
                    </a:lnTo>
                    <a:lnTo>
                      <a:pt x="574" y="157"/>
                    </a:lnTo>
                    <a:lnTo>
                      <a:pt x="576" y="157"/>
                    </a:lnTo>
                    <a:close/>
                    <a:moveTo>
                      <a:pt x="578" y="155"/>
                    </a:moveTo>
                    <a:lnTo>
                      <a:pt x="576" y="155"/>
                    </a:lnTo>
                    <a:lnTo>
                      <a:pt x="578" y="155"/>
                    </a:lnTo>
                    <a:close/>
                    <a:moveTo>
                      <a:pt x="576" y="155"/>
                    </a:moveTo>
                    <a:lnTo>
                      <a:pt x="576" y="157"/>
                    </a:lnTo>
                    <a:lnTo>
                      <a:pt x="576" y="155"/>
                    </a:lnTo>
                    <a:close/>
                    <a:moveTo>
                      <a:pt x="491" y="192"/>
                    </a:moveTo>
                    <a:lnTo>
                      <a:pt x="489" y="192"/>
                    </a:lnTo>
                    <a:lnTo>
                      <a:pt x="491" y="192"/>
                    </a:lnTo>
                    <a:close/>
                    <a:moveTo>
                      <a:pt x="482" y="194"/>
                    </a:moveTo>
                    <a:lnTo>
                      <a:pt x="482" y="196"/>
                    </a:lnTo>
                    <a:lnTo>
                      <a:pt x="482" y="194"/>
                    </a:lnTo>
                    <a:close/>
                    <a:moveTo>
                      <a:pt x="478" y="194"/>
                    </a:moveTo>
                    <a:lnTo>
                      <a:pt x="480" y="194"/>
                    </a:lnTo>
                    <a:lnTo>
                      <a:pt x="478" y="194"/>
                    </a:lnTo>
                    <a:close/>
                    <a:moveTo>
                      <a:pt x="478" y="194"/>
                    </a:moveTo>
                    <a:lnTo>
                      <a:pt x="480" y="194"/>
                    </a:lnTo>
                    <a:lnTo>
                      <a:pt x="478" y="194"/>
                    </a:lnTo>
                    <a:close/>
                    <a:moveTo>
                      <a:pt x="2" y="336"/>
                    </a:moveTo>
                    <a:lnTo>
                      <a:pt x="0" y="336"/>
                    </a:lnTo>
                    <a:lnTo>
                      <a:pt x="2" y="336"/>
                    </a:lnTo>
                    <a:close/>
                    <a:moveTo>
                      <a:pt x="580" y="136"/>
                    </a:moveTo>
                    <a:lnTo>
                      <a:pt x="580" y="138"/>
                    </a:lnTo>
                    <a:lnTo>
                      <a:pt x="580" y="136"/>
                    </a:lnTo>
                    <a:close/>
                    <a:moveTo>
                      <a:pt x="578" y="136"/>
                    </a:moveTo>
                    <a:lnTo>
                      <a:pt x="578" y="138"/>
                    </a:lnTo>
                    <a:lnTo>
                      <a:pt x="578" y="136"/>
                    </a:lnTo>
                    <a:close/>
                    <a:moveTo>
                      <a:pt x="23" y="321"/>
                    </a:moveTo>
                    <a:lnTo>
                      <a:pt x="23" y="323"/>
                    </a:lnTo>
                    <a:lnTo>
                      <a:pt x="23" y="321"/>
                    </a:lnTo>
                    <a:close/>
                    <a:moveTo>
                      <a:pt x="23" y="315"/>
                    </a:moveTo>
                    <a:lnTo>
                      <a:pt x="23" y="317"/>
                    </a:lnTo>
                    <a:lnTo>
                      <a:pt x="21" y="317"/>
                    </a:lnTo>
                    <a:lnTo>
                      <a:pt x="23" y="317"/>
                    </a:lnTo>
                    <a:lnTo>
                      <a:pt x="23" y="315"/>
                    </a:lnTo>
                    <a:close/>
                    <a:moveTo>
                      <a:pt x="0" y="315"/>
                    </a:moveTo>
                    <a:lnTo>
                      <a:pt x="2" y="315"/>
                    </a:lnTo>
                    <a:lnTo>
                      <a:pt x="0" y="315"/>
                    </a:lnTo>
                    <a:close/>
                    <a:moveTo>
                      <a:pt x="9" y="305"/>
                    </a:moveTo>
                    <a:lnTo>
                      <a:pt x="9" y="307"/>
                    </a:lnTo>
                    <a:lnTo>
                      <a:pt x="9" y="305"/>
                    </a:lnTo>
                    <a:close/>
                    <a:moveTo>
                      <a:pt x="593" y="98"/>
                    </a:moveTo>
                    <a:lnTo>
                      <a:pt x="595" y="98"/>
                    </a:lnTo>
                    <a:lnTo>
                      <a:pt x="593" y="98"/>
                    </a:lnTo>
                    <a:close/>
                    <a:moveTo>
                      <a:pt x="595" y="94"/>
                    </a:moveTo>
                    <a:lnTo>
                      <a:pt x="595" y="96"/>
                    </a:lnTo>
                    <a:lnTo>
                      <a:pt x="595" y="94"/>
                    </a:lnTo>
                    <a:close/>
                    <a:moveTo>
                      <a:pt x="601" y="88"/>
                    </a:moveTo>
                    <a:lnTo>
                      <a:pt x="601" y="90"/>
                    </a:lnTo>
                    <a:lnTo>
                      <a:pt x="599" y="88"/>
                    </a:lnTo>
                    <a:lnTo>
                      <a:pt x="601" y="88"/>
                    </a:lnTo>
                    <a:close/>
                    <a:moveTo>
                      <a:pt x="539" y="117"/>
                    </a:moveTo>
                    <a:lnTo>
                      <a:pt x="538" y="117"/>
                    </a:lnTo>
                    <a:lnTo>
                      <a:pt x="539" y="117"/>
                    </a:lnTo>
                    <a:close/>
                    <a:moveTo>
                      <a:pt x="616" y="73"/>
                    </a:moveTo>
                    <a:lnTo>
                      <a:pt x="618" y="73"/>
                    </a:lnTo>
                    <a:lnTo>
                      <a:pt x="616" y="73"/>
                    </a:lnTo>
                    <a:close/>
                    <a:moveTo>
                      <a:pt x="616" y="73"/>
                    </a:moveTo>
                    <a:lnTo>
                      <a:pt x="614" y="73"/>
                    </a:lnTo>
                    <a:lnTo>
                      <a:pt x="616" y="73"/>
                    </a:lnTo>
                    <a:close/>
                    <a:moveTo>
                      <a:pt x="618" y="73"/>
                    </a:moveTo>
                    <a:lnTo>
                      <a:pt x="618" y="71"/>
                    </a:lnTo>
                    <a:lnTo>
                      <a:pt x="618" y="73"/>
                    </a:lnTo>
                    <a:close/>
                    <a:moveTo>
                      <a:pt x="616" y="71"/>
                    </a:moveTo>
                    <a:lnTo>
                      <a:pt x="618" y="71"/>
                    </a:lnTo>
                    <a:lnTo>
                      <a:pt x="616" y="71"/>
                    </a:lnTo>
                    <a:close/>
                    <a:moveTo>
                      <a:pt x="616" y="73"/>
                    </a:moveTo>
                    <a:lnTo>
                      <a:pt x="614" y="73"/>
                    </a:lnTo>
                    <a:lnTo>
                      <a:pt x="616" y="73"/>
                    </a:lnTo>
                    <a:close/>
                    <a:moveTo>
                      <a:pt x="614" y="73"/>
                    </a:moveTo>
                    <a:lnTo>
                      <a:pt x="616" y="73"/>
                    </a:lnTo>
                    <a:lnTo>
                      <a:pt x="614" y="73"/>
                    </a:lnTo>
                    <a:close/>
                    <a:moveTo>
                      <a:pt x="616" y="73"/>
                    </a:moveTo>
                    <a:lnTo>
                      <a:pt x="614" y="73"/>
                    </a:lnTo>
                    <a:lnTo>
                      <a:pt x="616" y="73"/>
                    </a:lnTo>
                    <a:close/>
                    <a:moveTo>
                      <a:pt x="622" y="67"/>
                    </a:moveTo>
                    <a:lnTo>
                      <a:pt x="622" y="69"/>
                    </a:lnTo>
                    <a:lnTo>
                      <a:pt x="622" y="67"/>
                    </a:lnTo>
                    <a:close/>
                    <a:moveTo>
                      <a:pt x="622" y="69"/>
                    </a:moveTo>
                    <a:lnTo>
                      <a:pt x="622" y="67"/>
                    </a:lnTo>
                    <a:lnTo>
                      <a:pt x="622" y="69"/>
                    </a:lnTo>
                    <a:close/>
                    <a:moveTo>
                      <a:pt x="624" y="67"/>
                    </a:moveTo>
                    <a:lnTo>
                      <a:pt x="622" y="67"/>
                    </a:lnTo>
                    <a:lnTo>
                      <a:pt x="624" y="67"/>
                    </a:lnTo>
                    <a:close/>
                    <a:moveTo>
                      <a:pt x="624" y="65"/>
                    </a:moveTo>
                    <a:lnTo>
                      <a:pt x="624" y="67"/>
                    </a:lnTo>
                    <a:lnTo>
                      <a:pt x="624" y="65"/>
                    </a:lnTo>
                    <a:close/>
                    <a:moveTo>
                      <a:pt x="624" y="67"/>
                    </a:moveTo>
                    <a:lnTo>
                      <a:pt x="622" y="67"/>
                    </a:lnTo>
                    <a:lnTo>
                      <a:pt x="624" y="67"/>
                    </a:lnTo>
                    <a:close/>
                    <a:moveTo>
                      <a:pt x="732" y="0"/>
                    </a:moveTo>
                    <a:lnTo>
                      <a:pt x="732" y="2"/>
                    </a:lnTo>
                    <a:lnTo>
                      <a:pt x="732" y="0"/>
                    </a:lnTo>
                    <a:close/>
                    <a:moveTo>
                      <a:pt x="689" y="19"/>
                    </a:moveTo>
                    <a:lnTo>
                      <a:pt x="689" y="21"/>
                    </a:lnTo>
                    <a:lnTo>
                      <a:pt x="689" y="19"/>
                    </a:lnTo>
                    <a:close/>
                    <a:moveTo>
                      <a:pt x="626" y="53"/>
                    </a:moveTo>
                    <a:lnTo>
                      <a:pt x="626" y="55"/>
                    </a:lnTo>
                    <a:lnTo>
                      <a:pt x="626" y="53"/>
                    </a:lnTo>
                    <a:close/>
                    <a:moveTo>
                      <a:pt x="693" y="17"/>
                    </a:moveTo>
                    <a:lnTo>
                      <a:pt x="693" y="15"/>
                    </a:lnTo>
                    <a:lnTo>
                      <a:pt x="693" y="17"/>
                    </a:lnTo>
                    <a:close/>
                    <a:moveTo>
                      <a:pt x="624" y="53"/>
                    </a:moveTo>
                    <a:lnTo>
                      <a:pt x="624" y="51"/>
                    </a:lnTo>
                    <a:lnTo>
                      <a:pt x="624" y="53"/>
                    </a:lnTo>
                    <a:close/>
                    <a:moveTo>
                      <a:pt x="624" y="51"/>
                    </a:moveTo>
                    <a:lnTo>
                      <a:pt x="624" y="53"/>
                    </a:lnTo>
                    <a:lnTo>
                      <a:pt x="622" y="53"/>
                    </a:lnTo>
                    <a:lnTo>
                      <a:pt x="622" y="51"/>
                    </a:lnTo>
                    <a:lnTo>
                      <a:pt x="624" y="51"/>
                    </a:lnTo>
                    <a:close/>
                    <a:moveTo>
                      <a:pt x="649" y="36"/>
                    </a:moveTo>
                    <a:lnTo>
                      <a:pt x="647" y="36"/>
                    </a:lnTo>
                    <a:lnTo>
                      <a:pt x="649" y="36"/>
                    </a:lnTo>
                    <a:close/>
                    <a:moveTo>
                      <a:pt x="649" y="26"/>
                    </a:moveTo>
                    <a:lnTo>
                      <a:pt x="649" y="28"/>
                    </a:lnTo>
                    <a:lnTo>
                      <a:pt x="649" y="26"/>
                    </a:lnTo>
                    <a:close/>
                    <a:moveTo>
                      <a:pt x="545" y="73"/>
                    </a:moveTo>
                    <a:lnTo>
                      <a:pt x="545" y="75"/>
                    </a:lnTo>
                    <a:lnTo>
                      <a:pt x="545" y="73"/>
                    </a:lnTo>
                    <a:close/>
                    <a:moveTo>
                      <a:pt x="572" y="57"/>
                    </a:moveTo>
                    <a:lnTo>
                      <a:pt x="572" y="59"/>
                    </a:lnTo>
                    <a:lnTo>
                      <a:pt x="572" y="57"/>
                    </a:lnTo>
                    <a:close/>
                    <a:moveTo>
                      <a:pt x="480" y="101"/>
                    </a:moveTo>
                    <a:lnTo>
                      <a:pt x="478" y="101"/>
                    </a:lnTo>
                    <a:lnTo>
                      <a:pt x="480" y="101"/>
                    </a:lnTo>
                    <a:close/>
                    <a:moveTo>
                      <a:pt x="482" y="100"/>
                    </a:moveTo>
                    <a:lnTo>
                      <a:pt x="480" y="100"/>
                    </a:lnTo>
                    <a:lnTo>
                      <a:pt x="482" y="100"/>
                    </a:lnTo>
                    <a:close/>
                    <a:moveTo>
                      <a:pt x="478" y="98"/>
                    </a:moveTo>
                    <a:lnTo>
                      <a:pt x="478" y="100"/>
                    </a:lnTo>
                    <a:lnTo>
                      <a:pt x="478" y="98"/>
                    </a:lnTo>
                    <a:close/>
                    <a:moveTo>
                      <a:pt x="482" y="86"/>
                    </a:moveTo>
                    <a:lnTo>
                      <a:pt x="484" y="86"/>
                    </a:lnTo>
                    <a:lnTo>
                      <a:pt x="482" y="86"/>
                    </a:lnTo>
                    <a:close/>
                    <a:moveTo>
                      <a:pt x="482" y="86"/>
                    </a:moveTo>
                    <a:lnTo>
                      <a:pt x="484" y="86"/>
                    </a:lnTo>
                    <a:lnTo>
                      <a:pt x="482" y="86"/>
                    </a:lnTo>
                    <a:close/>
                    <a:moveTo>
                      <a:pt x="536" y="57"/>
                    </a:moveTo>
                    <a:lnTo>
                      <a:pt x="538" y="57"/>
                    </a:lnTo>
                    <a:lnTo>
                      <a:pt x="536" y="57"/>
                    </a:lnTo>
                    <a:close/>
                    <a:moveTo>
                      <a:pt x="539" y="53"/>
                    </a:moveTo>
                    <a:lnTo>
                      <a:pt x="539" y="55"/>
                    </a:lnTo>
                    <a:lnTo>
                      <a:pt x="539" y="53"/>
                    </a:lnTo>
                    <a:close/>
                    <a:moveTo>
                      <a:pt x="493" y="71"/>
                    </a:moveTo>
                    <a:lnTo>
                      <a:pt x="493" y="73"/>
                    </a:lnTo>
                    <a:lnTo>
                      <a:pt x="493" y="7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109">
                <a:extLst>
                  <a:ext uri="{FF2B5EF4-FFF2-40B4-BE49-F238E27FC236}">
                    <a16:creationId xmlns="" xmlns:a16="http://schemas.microsoft.com/office/drawing/2014/main" id="{D9C8F3FA-4053-46B8-9CCC-757AE90C83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65275" y="4803776"/>
                <a:ext cx="130175" cy="115888"/>
              </a:xfrm>
              <a:custGeom>
                <a:avLst/>
                <a:gdLst>
                  <a:gd name="T0" fmla="*/ 76 w 82"/>
                  <a:gd name="T1" fmla="*/ 27 h 73"/>
                  <a:gd name="T2" fmla="*/ 73 w 82"/>
                  <a:gd name="T3" fmla="*/ 23 h 73"/>
                  <a:gd name="T4" fmla="*/ 67 w 82"/>
                  <a:gd name="T5" fmla="*/ 23 h 73"/>
                  <a:gd name="T6" fmla="*/ 63 w 82"/>
                  <a:gd name="T7" fmla="*/ 19 h 73"/>
                  <a:gd name="T8" fmla="*/ 59 w 82"/>
                  <a:gd name="T9" fmla="*/ 23 h 73"/>
                  <a:gd name="T10" fmla="*/ 57 w 82"/>
                  <a:gd name="T11" fmla="*/ 29 h 73"/>
                  <a:gd name="T12" fmla="*/ 59 w 82"/>
                  <a:gd name="T13" fmla="*/ 34 h 73"/>
                  <a:gd name="T14" fmla="*/ 55 w 82"/>
                  <a:gd name="T15" fmla="*/ 44 h 73"/>
                  <a:gd name="T16" fmla="*/ 57 w 82"/>
                  <a:gd name="T17" fmla="*/ 46 h 73"/>
                  <a:gd name="T18" fmla="*/ 59 w 82"/>
                  <a:gd name="T19" fmla="*/ 44 h 73"/>
                  <a:gd name="T20" fmla="*/ 59 w 82"/>
                  <a:gd name="T21" fmla="*/ 46 h 73"/>
                  <a:gd name="T22" fmla="*/ 59 w 82"/>
                  <a:gd name="T23" fmla="*/ 52 h 73"/>
                  <a:gd name="T24" fmla="*/ 61 w 82"/>
                  <a:gd name="T25" fmla="*/ 55 h 73"/>
                  <a:gd name="T26" fmla="*/ 61 w 82"/>
                  <a:gd name="T27" fmla="*/ 61 h 73"/>
                  <a:gd name="T28" fmla="*/ 57 w 82"/>
                  <a:gd name="T29" fmla="*/ 67 h 73"/>
                  <a:gd name="T30" fmla="*/ 52 w 82"/>
                  <a:gd name="T31" fmla="*/ 69 h 73"/>
                  <a:gd name="T32" fmla="*/ 48 w 82"/>
                  <a:gd name="T33" fmla="*/ 69 h 73"/>
                  <a:gd name="T34" fmla="*/ 44 w 82"/>
                  <a:gd name="T35" fmla="*/ 63 h 73"/>
                  <a:gd name="T36" fmla="*/ 42 w 82"/>
                  <a:gd name="T37" fmla="*/ 71 h 73"/>
                  <a:gd name="T38" fmla="*/ 38 w 82"/>
                  <a:gd name="T39" fmla="*/ 69 h 73"/>
                  <a:gd name="T40" fmla="*/ 34 w 82"/>
                  <a:gd name="T41" fmla="*/ 73 h 73"/>
                  <a:gd name="T42" fmla="*/ 30 w 82"/>
                  <a:gd name="T43" fmla="*/ 69 h 73"/>
                  <a:gd name="T44" fmla="*/ 27 w 82"/>
                  <a:gd name="T45" fmla="*/ 69 h 73"/>
                  <a:gd name="T46" fmla="*/ 21 w 82"/>
                  <a:gd name="T47" fmla="*/ 71 h 73"/>
                  <a:gd name="T48" fmla="*/ 15 w 82"/>
                  <a:gd name="T49" fmla="*/ 69 h 73"/>
                  <a:gd name="T50" fmla="*/ 7 w 82"/>
                  <a:gd name="T51" fmla="*/ 69 h 73"/>
                  <a:gd name="T52" fmla="*/ 3 w 82"/>
                  <a:gd name="T53" fmla="*/ 63 h 73"/>
                  <a:gd name="T54" fmla="*/ 2 w 82"/>
                  <a:gd name="T55" fmla="*/ 61 h 73"/>
                  <a:gd name="T56" fmla="*/ 7 w 82"/>
                  <a:gd name="T57" fmla="*/ 57 h 73"/>
                  <a:gd name="T58" fmla="*/ 7 w 82"/>
                  <a:gd name="T59" fmla="*/ 52 h 73"/>
                  <a:gd name="T60" fmla="*/ 5 w 82"/>
                  <a:gd name="T61" fmla="*/ 46 h 73"/>
                  <a:gd name="T62" fmla="*/ 3 w 82"/>
                  <a:gd name="T63" fmla="*/ 40 h 73"/>
                  <a:gd name="T64" fmla="*/ 2 w 82"/>
                  <a:gd name="T65" fmla="*/ 36 h 73"/>
                  <a:gd name="T66" fmla="*/ 7 w 82"/>
                  <a:gd name="T67" fmla="*/ 36 h 73"/>
                  <a:gd name="T68" fmla="*/ 11 w 82"/>
                  <a:gd name="T69" fmla="*/ 36 h 73"/>
                  <a:gd name="T70" fmla="*/ 13 w 82"/>
                  <a:gd name="T71" fmla="*/ 32 h 73"/>
                  <a:gd name="T72" fmla="*/ 21 w 82"/>
                  <a:gd name="T73" fmla="*/ 30 h 73"/>
                  <a:gd name="T74" fmla="*/ 25 w 82"/>
                  <a:gd name="T75" fmla="*/ 27 h 73"/>
                  <a:gd name="T76" fmla="*/ 28 w 82"/>
                  <a:gd name="T77" fmla="*/ 23 h 73"/>
                  <a:gd name="T78" fmla="*/ 30 w 82"/>
                  <a:gd name="T79" fmla="*/ 25 h 73"/>
                  <a:gd name="T80" fmla="*/ 34 w 82"/>
                  <a:gd name="T81" fmla="*/ 29 h 73"/>
                  <a:gd name="T82" fmla="*/ 36 w 82"/>
                  <a:gd name="T83" fmla="*/ 30 h 73"/>
                  <a:gd name="T84" fmla="*/ 40 w 82"/>
                  <a:gd name="T85" fmla="*/ 23 h 73"/>
                  <a:gd name="T86" fmla="*/ 46 w 82"/>
                  <a:gd name="T87" fmla="*/ 19 h 73"/>
                  <a:gd name="T88" fmla="*/ 44 w 82"/>
                  <a:gd name="T89" fmla="*/ 25 h 73"/>
                  <a:gd name="T90" fmla="*/ 52 w 82"/>
                  <a:gd name="T91" fmla="*/ 23 h 73"/>
                  <a:gd name="T92" fmla="*/ 53 w 82"/>
                  <a:gd name="T93" fmla="*/ 27 h 73"/>
                  <a:gd name="T94" fmla="*/ 55 w 82"/>
                  <a:gd name="T95" fmla="*/ 27 h 73"/>
                  <a:gd name="T96" fmla="*/ 59 w 82"/>
                  <a:gd name="T97" fmla="*/ 21 h 73"/>
                  <a:gd name="T98" fmla="*/ 63 w 82"/>
                  <a:gd name="T99" fmla="*/ 15 h 73"/>
                  <a:gd name="T100" fmla="*/ 63 w 82"/>
                  <a:gd name="T101" fmla="*/ 11 h 73"/>
                  <a:gd name="T102" fmla="*/ 63 w 82"/>
                  <a:gd name="T103" fmla="*/ 11 h 73"/>
                  <a:gd name="T104" fmla="*/ 59 w 82"/>
                  <a:gd name="T105" fmla="*/ 7 h 73"/>
                  <a:gd name="T106" fmla="*/ 63 w 82"/>
                  <a:gd name="T107" fmla="*/ 2 h 73"/>
                  <a:gd name="T108" fmla="*/ 73 w 82"/>
                  <a:gd name="T109" fmla="*/ 5 h 73"/>
                  <a:gd name="T110" fmla="*/ 78 w 82"/>
                  <a:gd name="T111" fmla="*/ 7 h 73"/>
                  <a:gd name="T112" fmla="*/ 78 w 82"/>
                  <a:gd name="T113" fmla="*/ 17 h 73"/>
                  <a:gd name="T114" fmla="*/ 80 w 82"/>
                  <a:gd name="T115" fmla="*/ 19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82" h="73">
                    <a:moveTo>
                      <a:pt x="78" y="19"/>
                    </a:moveTo>
                    <a:lnTo>
                      <a:pt x="78" y="21"/>
                    </a:lnTo>
                    <a:lnTo>
                      <a:pt x="76" y="25"/>
                    </a:lnTo>
                    <a:lnTo>
                      <a:pt x="76" y="27"/>
                    </a:lnTo>
                    <a:lnTo>
                      <a:pt x="76" y="25"/>
                    </a:lnTo>
                    <a:lnTo>
                      <a:pt x="75" y="27"/>
                    </a:lnTo>
                    <a:lnTo>
                      <a:pt x="75" y="25"/>
                    </a:lnTo>
                    <a:lnTo>
                      <a:pt x="73" y="23"/>
                    </a:lnTo>
                    <a:lnTo>
                      <a:pt x="71" y="23"/>
                    </a:lnTo>
                    <a:lnTo>
                      <a:pt x="71" y="25"/>
                    </a:lnTo>
                    <a:lnTo>
                      <a:pt x="69" y="25"/>
                    </a:lnTo>
                    <a:lnTo>
                      <a:pt x="67" y="23"/>
                    </a:lnTo>
                    <a:lnTo>
                      <a:pt x="69" y="21"/>
                    </a:lnTo>
                    <a:lnTo>
                      <a:pt x="69" y="19"/>
                    </a:lnTo>
                    <a:lnTo>
                      <a:pt x="65" y="19"/>
                    </a:lnTo>
                    <a:lnTo>
                      <a:pt x="63" y="19"/>
                    </a:lnTo>
                    <a:lnTo>
                      <a:pt x="63" y="21"/>
                    </a:lnTo>
                    <a:lnTo>
                      <a:pt x="63" y="23"/>
                    </a:lnTo>
                    <a:lnTo>
                      <a:pt x="61" y="23"/>
                    </a:lnTo>
                    <a:lnTo>
                      <a:pt x="59" y="23"/>
                    </a:lnTo>
                    <a:lnTo>
                      <a:pt x="61" y="25"/>
                    </a:lnTo>
                    <a:lnTo>
                      <a:pt x="59" y="25"/>
                    </a:lnTo>
                    <a:lnTo>
                      <a:pt x="59" y="27"/>
                    </a:lnTo>
                    <a:lnTo>
                      <a:pt x="57" y="29"/>
                    </a:lnTo>
                    <a:lnTo>
                      <a:pt x="57" y="30"/>
                    </a:lnTo>
                    <a:lnTo>
                      <a:pt x="59" y="30"/>
                    </a:lnTo>
                    <a:lnTo>
                      <a:pt x="61" y="30"/>
                    </a:lnTo>
                    <a:lnTo>
                      <a:pt x="59" y="34"/>
                    </a:lnTo>
                    <a:lnTo>
                      <a:pt x="55" y="38"/>
                    </a:lnTo>
                    <a:lnTo>
                      <a:pt x="53" y="42"/>
                    </a:lnTo>
                    <a:lnTo>
                      <a:pt x="55" y="42"/>
                    </a:lnTo>
                    <a:lnTo>
                      <a:pt x="55" y="44"/>
                    </a:lnTo>
                    <a:lnTo>
                      <a:pt x="55" y="42"/>
                    </a:lnTo>
                    <a:lnTo>
                      <a:pt x="55" y="44"/>
                    </a:lnTo>
                    <a:lnTo>
                      <a:pt x="57" y="44"/>
                    </a:lnTo>
                    <a:lnTo>
                      <a:pt x="57" y="46"/>
                    </a:lnTo>
                    <a:lnTo>
                      <a:pt x="57" y="44"/>
                    </a:lnTo>
                    <a:lnTo>
                      <a:pt x="57" y="46"/>
                    </a:lnTo>
                    <a:lnTo>
                      <a:pt x="59" y="46"/>
                    </a:lnTo>
                    <a:lnTo>
                      <a:pt x="59" y="44"/>
                    </a:lnTo>
                    <a:lnTo>
                      <a:pt x="57" y="44"/>
                    </a:lnTo>
                    <a:lnTo>
                      <a:pt x="59" y="40"/>
                    </a:lnTo>
                    <a:lnTo>
                      <a:pt x="59" y="42"/>
                    </a:lnTo>
                    <a:lnTo>
                      <a:pt x="59" y="46"/>
                    </a:lnTo>
                    <a:lnTo>
                      <a:pt x="59" y="50"/>
                    </a:lnTo>
                    <a:lnTo>
                      <a:pt x="61" y="50"/>
                    </a:lnTo>
                    <a:lnTo>
                      <a:pt x="59" y="50"/>
                    </a:lnTo>
                    <a:lnTo>
                      <a:pt x="59" y="52"/>
                    </a:lnTo>
                    <a:lnTo>
                      <a:pt x="61" y="52"/>
                    </a:lnTo>
                    <a:lnTo>
                      <a:pt x="61" y="54"/>
                    </a:lnTo>
                    <a:lnTo>
                      <a:pt x="59" y="54"/>
                    </a:lnTo>
                    <a:lnTo>
                      <a:pt x="61" y="55"/>
                    </a:lnTo>
                    <a:lnTo>
                      <a:pt x="61" y="57"/>
                    </a:lnTo>
                    <a:lnTo>
                      <a:pt x="61" y="59"/>
                    </a:lnTo>
                    <a:lnTo>
                      <a:pt x="63" y="61"/>
                    </a:lnTo>
                    <a:lnTo>
                      <a:pt x="61" y="61"/>
                    </a:lnTo>
                    <a:lnTo>
                      <a:pt x="59" y="63"/>
                    </a:lnTo>
                    <a:lnTo>
                      <a:pt x="59" y="65"/>
                    </a:lnTo>
                    <a:lnTo>
                      <a:pt x="59" y="67"/>
                    </a:lnTo>
                    <a:lnTo>
                      <a:pt x="57" y="67"/>
                    </a:lnTo>
                    <a:lnTo>
                      <a:pt x="55" y="67"/>
                    </a:lnTo>
                    <a:lnTo>
                      <a:pt x="53" y="69"/>
                    </a:lnTo>
                    <a:lnTo>
                      <a:pt x="52" y="71"/>
                    </a:lnTo>
                    <a:lnTo>
                      <a:pt x="52" y="69"/>
                    </a:lnTo>
                    <a:lnTo>
                      <a:pt x="52" y="71"/>
                    </a:lnTo>
                    <a:lnTo>
                      <a:pt x="50" y="71"/>
                    </a:lnTo>
                    <a:lnTo>
                      <a:pt x="50" y="69"/>
                    </a:lnTo>
                    <a:lnTo>
                      <a:pt x="48" y="69"/>
                    </a:lnTo>
                    <a:lnTo>
                      <a:pt x="48" y="67"/>
                    </a:lnTo>
                    <a:lnTo>
                      <a:pt x="46" y="67"/>
                    </a:lnTo>
                    <a:lnTo>
                      <a:pt x="46" y="65"/>
                    </a:lnTo>
                    <a:lnTo>
                      <a:pt x="44" y="63"/>
                    </a:lnTo>
                    <a:lnTo>
                      <a:pt x="44" y="65"/>
                    </a:lnTo>
                    <a:lnTo>
                      <a:pt x="44" y="67"/>
                    </a:lnTo>
                    <a:lnTo>
                      <a:pt x="44" y="69"/>
                    </a:lnTo>
                    <a:lnTo>
                      <a:pt x="42" y="71"/>
                    </a:lnTo>
                    <a:lnTo>
                      <a:pt x="42" y="73"/>
                    </a:lnTo>
                    <a:lnTo>
                      <a:pt x="40" y="73"/>
                    </a:lnTo>
                    <a:lnTo>
                      <a:pt x="38" y="71"/>
                    </a:lnTo>
                    <a:lnTo>
                      <a:pt x="38" y="69"/>
                    </a:lnTo>
                    <a:lnTo>
                      <a:pt x="36" y="69"/>
                    </a:lnTo>
                    <a:lnTo>
                      <a:pt x="36" y="71"/>
                    </a:lnTo>
                    <a:lnTo>
                      <a:pt x="34" y="71"/>
                    </a:lnTo>
                    <a:lnTo>
                      <a:pt x="34" y="73"/>
                    </a:lnTo>
                    <a:lnTo>
                      <a:pt x="32" y="71"/>
                    </a:lnTo>
                    <a:lnTo>
                      <a:pt x="30" y="69"/>
                    </a:lnTo>
                    <a:lnTo>
                      <a:pt x="30" y="71"/>
                    </a:lnTo>
                    <a:lnTo>
                      <a:pt x="30" y="69"/>
                    </a:lnTo>
                    <a:lnTo>
                      <a:pt x="28" y="69"/>
                    </a:lnTo>
                    <a:lnTo>
                      <a:pt x="28" y="67"/>
                    </a:lnTo>
                    <a:lnTo>
                      <a:pt x="27" y="67"/>
                    </a:lnTo>
                    <a:lnTo>
                      <a:pt x="27" y="69"/>
                    </a:lnTo>
                    <a:lnTo>
                      <a:pt x="25" y="69"/>
                    </a:lnTo>
                    <a:lnTo>
                      <a:pt x="23" y="69"/>
                    </a:lnTo>
                    <a:lnTo>
                      <a:pt x="23" y="71"/>
                    </a:lnTo>
                    <a:lnTo>
                      <a:pt x="21" y="71"/>
                    </a:lnTo>
                    <a:lnTo>
                      <a:pt x="19" y="71"/>
                    </a:lnTo>
                    <a:lnTo>
                      <a:pt x="17" y="71"/>
                    </a:lnTo>
                    <a:lnTo>
                      <a:pt x="17" y="69"/>
                    </a:lnTo>
                    <a:lnTo>
                      <a:pt x="15" y="69"/>
                    </a:lnTo>
                    <a:lnTo>
                      <a:pt x="13" y="69"/>
                    </a:lnTo>
                    <a:lnTo>
                      <a:pt x="11" y="69"/>
                    </a:lnTo>
                    <a:lnTo>
                      <a:pt x="9" y="71"/>
                    </a:lnTo>
                    <a:lnTo>
                      <a:pt x="7" y="69"/>
                    </a:lnTo>
                    <a:lnTo>
                      <a:pt x="7" y="67"/>
                    </a:lnTo>
                    <a:lnTo>
                      <a:pt x="7" y="65"/>
                    </a:lnTo>
                    <a:lnTo>
                      <a:pt x="5" y="65"/>
                    </a:lnTo>
                    <a:lnTo>
                      <a:pt x="3" y="63"/>
                    </a:lnTo>
                    <a:lnTo>
                      <a:pt x="3" y="65"/>
                    </a:lnTo>
                    <a:lnTo>
                      <a:pt x="3" y="63"/>
                    </a:lnTo>
                    <a:lnTo>
                      <a:pt x="3" y="61"/>
                    </a:lnTo>
                    <a:lnTo>
                      <a:pt x="2" y="61"/>
                    </a:lnTo>
                    <a:lnTo>
                      <a:pt x="2" y="59"/>
                    </a:lnTo>
                    <a:lnTo>
                      <a:pt x="3" y="59"/>
                    </a:lnTo>
                    <a:lnTo>
                      <a:pt x="5" y="59"/>
                    </a:lnTo>
                    <a:lnTo>
                      <a:pt x="7" y="57"/>
                    </a:lnTo>
                    <a:lnTo>
                      <a:pt x="9" y="57"/>
                    </a:lnTo>
                    <a:lnTo>
                      <a:pt x="9" y="55"/>
                    </a:lnTo>
                    <a:lnTo>
                      <a:pt x="9" y="54"/>
                    </a:lnTo>
                    <a:lnTo>
                      <a:pt x="7" y="52"/>
                    </a:lnTo>
                    <a:lnTo>
                      <a:pt x="7" y="50"/>
                    </a:lnTo>
                    <a:lnTo>
                      <a:pt x="5" y="50"/>
                    </a:lnTo>
                    <a:lnTo>
                      <a:pt x="5" y="48"/>
                    </a:lnTo>
                    <a:lnTo>
                      <a:pt x="5" y="46"/>
                    </a:lnTo>
                    <a:lnTo>
                      <a:pt x="5" y="44"/>
                    </a:lnTo>
                    <a:lnTo>
                      <a:pt x="5" y="42"/>
                    </a:lnTo>
                    <a:lnTo>
                      <a:pt x="3" y="42"/>
                    </a:lnTo>
                    <a:lnTo>
                      <a:pt x="3" y="40"/>
                    </a:lnTo>
                    <a:lnTo>
                      <a:pt x="2" y="40"/>
                    </a:lnTo>
                    <a:lnTo>
                      <a:pt x="2" y="38"/>
                    </a:lnTo>
                    <a:lnTo>
                      <a:pt x="0" y="38"/>
                    </a:lnTo>
                    <a:lnTo>
                      <a:pt x="2" y="36"/>
                    </a:lnTo>
                    <a:lnTo>
                      <a:pt x="3" y="34"/>
                    </a:lnTo>
                    <a:lnTo>
                      <a:pt x="5" y="34"/>
                    </a:lnTo>
                    <a:lnTo>
                      <a:pt x="5" y="36"/>
                    </a:lnTo>
                    <a:lnTo>
                      <a:pt x="7" y="36"/>
                    </a:lnTo>
                    <a:lnTo>
                      <a:pt x="7" y="38"/>
                    </a:lnTo>
                    <a:lnTo>
                      <a:pt x="9" y="38"/>
                    </a:lnTo>
                    <a:lnTo>
                      <a:pt x="9" y="36"/>
                    </a:lnTo>
                    <a:lnTo>
                      <a:pt x="11" y="36"/>
                    </a:lnTo>
                    <a:lnTo>
                      <a:pt x="13" y="34"/>
                    </a:lnTo>
                    <a:lnTo>
                      <a:pt x="13" y="32"/>
                    </a:lnTo>
                    <a:lnTo>
                      <a:pt x="13" y="34"/>
                    </a:lnTo>
                    <a:lnTo>
                      <a:pt x="13" y="32"/>
                    </a:lnTo>
                    <a:lnTo>
                      <a:pt x="15" y="32"/>
                    </a:lnTo>
                    <a:lnTo>
                      <a:pt x="17" y="30"/>
                    </a:lnTo>
                    <a:lnTo>
                      <a:pt x="19" y="30"/>
                    </a:lnTo>
                    <a:lnTo>
                      <a:pt x="21" y="30"/>
                    </a:lnTo>
                    <a:lnTo>
                      <a:pt x="23" y="29"/>
                    </a:lnTo>
                    <a:lnTo>
                      <a:pt x="21" y="29"/>
                    </a:lnTo>
                    <a:lnTo>
                      <a:pt x="23" y="27"/>
                    </a:lnTo>
                    <a:lnTo>
                      <a:pt x="25" y="27"/>
                    </a:lnTo>
                    <a:lnTo>
                      <a:pt x="25" y="25"/>
                    </a:lnTo>
                    <a:lnTo>
                      <a:pt x="27" y="25"/>
                    </a:lnTo>
                    <a:lnTo>
                      <a:pt x="27" y="23"/>
                    </a:lnTo>
                    <a:lnTo>
                      <a:pt x="28" y="23"/>
                    </a:lnTo>
                    <a:lnTo>
                      <a:pt x="28" y="21"/>
                    </a:lnTo>
                    <a:lnTo>
                      <a:pt x="30" y="21"/>
                    </a:lnTo>
                    <a:lnTo>
                      <a:pt x="30" y="23"/>
                    </a:lnTo>
                    <a:lnTo>
                      <a:pt x="30" y="25"/>
                    </a:lnTo>
                    <a:lnTo>
                      <a:pt x="30" y="27"/>
                    </a:lnTo>
                    <a:lnTo>
                      <a:pt x="32" y="27"/>
                    </a:lnTo>
                    <a:lnTo>
                      <a:pt x="34" y="25"/>
                    </a:lnTo>
                    <a:lnTo>
                      <a:pt x="34" y="29"/>
                    </a:lnTo>
                    <a:lnTo>
                      <a:pt x="32" y="29"/>
                    </a:lnTo>
                    <a:lnTo>
                      <a:pt x="32" y="32"/>
                    </a:lnTo>
                    <a:lnTo>
                      <a:pt x="34" y="30"/>
                    </a:lnTo>
                    <a:lnTo>
                      <a:pt x="36" y="30"/>
                    </a:lnTo>
                    <a:lnTo>
                      <a:pt x="38" y="30"/>
                    </a:lnTo>
                    <a:lnTo>
                      <a:pt x="38" y="29"/>
                    </a:lnTo>
                    <a:lnTo>
                      <a:pt x="38" y="23"/>
                    </a:lnTo>
                    <a:lnTo>
                      <a:pt x="40" y="23"/>
                    </a:lnTo>
                    <a:lnTo>
                      <a:pt x="42" y="21"/>
                    </a:lnTo>
                    <a:lnTo>
                      <a:pt x="44" y="21"/>
                    </a:lnTo>
                    <a:lnTo>
                      <a:pt x="44" y="19"/>
                    </a:lnTo>
                    <a:lnTo>
                      <a:pt x="46" y="19"/>
                    </a:lnTo>
                    <a:lnTo>
                      <a:pt x="46" y="21"/>
                    </a:lnTo>
                    <a:lnTo>
                      <a:pt x="46" y="23"/>
                    </a:lnTo>
                    <a:lnTo>
                      <a:pt x="46" y="25"/>
                    </a:lnTo>
                    <a:lnTo>
                      <a:pt x="44" y="25"/>
                    </a:lnTo>
                    <a:lnTo>
                      <a:pt x="44" y="27"/>
                    </a:lnTo>
                    <a:lnTo>
                      <a:pt x="48" y="25"/>
                    </a:lnTo>
                    <a:lnTo>
                      <a:pt x="50" y="25"/>
                    </a:lnTo>
                    <a:lnTo>
                      <a:pt x="52" y="23"/>
                    </a:lnTo>
                    <a:lnTo>
                      <a:pt x="53" y="23"/>
                    </a:lnTo>
                    <a:lnTo>
                      <a:pt x="53" y="25"/>
                    </a:lnTo>
                    <a:lnTo>
                      <a:pt x="52" y="27"/>
                    </a:lnTo>
                    <a:lnTo>
                      <a:pt x="53" y="27"/>
                    </a:lnTo>
                    <a:lnTo>
                      <a:pt x="52" y="29"/>
                    </a:lnTo>
                    <a:lnTo>
                      <a:pt x="53" y="29"/>
                    </a:lnTo>
                    <a:lnTo>
                      <a:pt x="53" y="27"/>
                    </a:lnTo>
                    <a:lnTo>
                      <a:pt x="55" y="27"/>
                    </a:lnTo>
                    <a:lnTo>
                      <a:pt x="55" y="25"/>
                    </a:lnTo>
                    <a:lnTo>
                      <a:pt x="57" y="25"/>
                    </a:lnTo>
                    <a:lnTo>
                      <a:pt x="59" y="23"/>
                    </a:lnTo>
                    <a:lnTo>
                      <a:pt x="59" y="21"/>
                    </a:lnTo>
                    <a:lnTo>
                      <a:pt x="61" y="21"/>
                    </a:lnTo>
                    <a:lnTo>
                      <a:pt x="61" y="19"/>
                    </a:lnTo>
                    <a:lnTo>
                      <a:pt x="61" y="17"/>
                    </a:lnTo>
                    <a:lnTo>
                      <a:pt x="63" y="15"/>
                    </a:lnTo>
                    <a:lnTo>
                      <a:pt x="63" y="13"/>
                    </a:lnTo>
                    <a:lnTo>
                      <a:pt x="65" y="13"/>
                    </a:lnTo>
                    <a:lnTo>
                      <a:pt x="65" y="11"/>
                    </a:lnTo>
                    <a:lnTo>
                      <a:pt x="63" y="11"/>
                    </a:lnTo>
                    <a:lnTo>
                      <a:pt x="63" y="9"/>
                    </a:lnTo>
                    <a:lnTo>
                      <a:pt x="63" y="11"/>
                    </a:lnTo>
                    <a:lnTo>
                      <a:pt x="63" y="9"/>
                    </a:lnTo>
                    <a:lnTo>
                      <a:pt x="63" y="11"/>
                    </a:lnTo>
                    <a:lnTo>
                      <a:pt x="61" y="11"/>
                    </a:lnTo>
                    <a:lnTo>
                      <a:pt x="61" y="9"/>
                    </a:lnTo>
                    <a:lnTo>
                      <a:pt x="59" y="9"/>
                    </a:lnTo>
                    <a:lnTo>
                      <a:pt x="59" y="7"/>
                    </a:lnTo>
                    <a:lnTo>
                      <a:pt x="61" y="5"/>
                    </a:lnTo>
                    <a:lnTo>
                      <a:pt x="61" y="4"/>
                    </a:lnTo>
                    <a:lnTo>
                      <a:pt x="63" y="0"/>
                    </a:lnTo>
                    <a:lnTo>
                      <a:pt x="63" y="2"/>
                    </a:lnTo>
                    <a:lnTo>
                      <a:pt x="65" y="2"/>
                    </a:lnTo>
                    <a:lnTo>
                      <a:pt x="67" y="4"/>
                    </a:lnTo>
                    <a:lnTo>
                      <a:pt x="71" y="5"/>
                    </a:lnTo>
                    <a:lnTo>
                      <a:pt x="73" y="5"/>
                    </a:lnTo>
                    <a:lnTo>
                      <a:pt x="75" y="5"/>
                    </a:lnTo>
                    <a:lnTo>
                      <a:pt x="76" y="5"/>
                    </a:lnTo>
                    <a:lnTo>
                      <a:pt x="76" y="7"/>
                    </a:lnTo>
                    <a:lnTo>
                      <a:pt x="78" y="7"/>
                    </a:lnTo>
                    <a:lnTo>
                      <a:pt x="80" y="7"/>
                    </a:lnTo>
                    <a:lnTo>
                      <a:pt x="78" y="9"/>
                    </a:lnTo>
                    <a:lnTo>
                      <a:pt x="82" y="11"/>
                    </a:lnTo>
                    <a:lnTo>
                      <a:pt x="78" y="17"/>
                    </a:lnTo>
                    <a:lnTo>
                      <a:pt x="80" y="17"/>
                    </a:lnTo>
                    <a:lnTo>
                      <a:pt x="80" y="19"/>
                    </a:lnTo>
                    <a:lnTo>
                      <a:pt x="80" y="17"/>
                    </a:lnTo>
                    <a:lnTo>
                      <a:pt x="80" y="19"/>
                    </a:lnTo>
                    <a:lnTo>
                      <a:pt x="78" y="1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110">
                <a:extLst>
                  <a:ext uri="{FF2B5EF4-FFF2-40B4-BE49-F238E27FC236}">
                    <a16:creationId xmlns="" xmlns:a16="http://schemas.microsoft.com/office/drawing/2014/main" id="{7E83F33A-0898-400C-97B6-1A3875467C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3950" y="3719513"/>
                <a:ext cx="384175" cy="336550"/>
              </a:xfrm>
              <a:custGeom>
                <a:avLst/>
                <a:gdLst>
                  <a:gd name="T0" fmla="*/ 163 w 242"/>
                  <a:gd name="T1" fmla="*/ 60 h 212"/>
                  <a:gd name="T2" fmla="*/ 175 w 242"/>
                  <a:gd name="T3" fmla="*/ 64 h 212"/>
                  <a:gd name="T4" fmla="*/ 183 w 242"/>
                  <a:gd name="T5" fmla="*/ 71 h 212"/>
                  <a:gd name="T6" fmla="*/ 190 w 242"/>
                  <a:gd name="T7" fmla="*/ 66 h 212"/>
                  <a:gd name="T8" fmla="*/ 202 w 242"/>
                  <a:gd name="T9" fmla="*/ 73 h 212"/>
                  <a:gd name="T10" fmla="*/ 213 w 242"/>
                  <a:gd name="T11" fmla="*/ 69 h 212"/>
                  <a:gd name="T12" fmla="*/ 212 w 242"/>
                  <a:gd name="T13" fmla="*/ 58 h 212"/>
                  <a:gd name="T14" fmla="*/ 223 w 242"/>
                  <a:gd name="T15" fmla="*/ 48 h 212"/>
                  <a:gd name="T16" fmla="*/ 223 w 242"/>
                  <a:gd name="T17" fmla="*/ 58 h 212"/>
                  <a:gd name="T18" fmla="*/ 217 w 242"/>
                  <a:gd name="T19" fmla="*/ 68 h 212"/>
                  <a:gd name="T20" fmla="*/ 221 w 242"/>
                  <a:gd name="T21" fmla="*/ 75 h 212"/>
                  <a:gd name="T22" fmla="*/ 231 w 242"/>
                  <a:gd name="T23" fmla="*/ 69 h 212"/>
                  <a:gd name="T24" fmla="*/ 229 w 242"/>
                  <a:gd name="T25" fmla="*/ 81 h 212"/>
                  <a:gd name="T26" fmla="*/ 217 w 242"/>
                  <a:gd name="T27" fmla="*/ 91 h 212"/>
                  <a:gd name="T28" fmla="*/ 235 w 242"/>
                  <a:gd name="T29" fmla="*/ 100 h 212"/>
                  <a:gd name="T30" fmla="*/ 236 w 242"/>
                  <a:gd name="T31" fmla="*/ 110 h 212"/>
                  <a:gd name="T32" fmla="*/ 238 w 242"/>
                  <a:gd name="T33" fmla="*/ 118 h 212"/>
                  <a:gd name="T34" fmla="*/ 221 w 242"/>
                  <a:gd name="T35" fmla="*/ 129 h 212"/>
                  <a:gd name="T36" fmla="*/ 202 w 242"/>
                  <a:gd name="T37" fmla="*/ 135 h 212"/>
                  <a:gd name="T38" fmla="*/ 196 w 242"/>
                  <a:gd name="T39" fmla="*/ 146 h 212"/>
                  <a:gd name="T40" fmla="*/ 200 w 242"/>
                  <a:gd name="T41" fmla="*/ 158 h 212"/>
                  <a:gd name="T42" fmla="*/ 192 w 242"/>
                  <a:gd name="T43" fmla="*/ 171 h 212"/>
                  <a:gd name="T44" fmla="*/ 181 w 242"/>
                  <a:gd name="T45" fmla="*/ 181 h 212"/>
                  <a:gd name="T46" fmla="*/ 175 w 242"/>
                  <a:gd name="T47" fmla="*/ 202 h 212"/>
                  <a:gd name="T48" fmla="*/ 165 w 242"/>
                  <a:gd name="T49" fmla="*/ 200 h 212"/>
                  <a:gd name="T50" fmla="*/ 162 w 242"/>
                  <a:gd name="T51" fmla="*/ 189 h 212"/>
                  <a:gd name="T52" fmla="*/ 165 w 242"/>
                  <a:gd name="T53" fmla="*/ 187 h 212"/>
                  <a:gd name="T54" fmla="*/ 150 w 242"/>
                  <a:gd name="T55" fmla="*/ 173 h 212"/>
                  <a:gd name="T56" fmla="*/ 142 w 242"/>
                  <a:gd name="T57" fmla="*/ 169 h 212"/>
                  <a:gd name="T58" fmla="*/ 135 w 242"/>
                  <a:gd name="T59" fmla="*/ 164 h 212"/>
                  <a:gd name="T60" fmla="*/ 133 w 242"/>
                  <a:gd name="T61" fmla="*/ 152 h 212"/>
                  <a:gd name="T62" fmla="*/ 125 w 242"/>
                  <a:gd name="T63" fmla="*/ 141 h 212"/>
                  <a:gd name="T64" fmla="*/ 106 w 242"/>
                  <a:gd name="T65" fmla="*/ 148 h 212"/>
                  <a:gd name="T66" fmla="*/ 90 w 242"/>
                  <a:gd name="T67" fmla="*/ 148 h 212"/>
                  <a:gd name="T68" fmla="*/ 81 w 242"/>
                  <a:gd name="T69" fmla="*/ 131 h 212"/>
                  <a:gd name="T70" fmla="*/ 69 w 242"/>
                  <a:gd name="T71" fmla="*/ 112 h 212"/>
                  <a:gd name="T72" fmla="*/ 69 w 242"/>
                  <a:gd name="T73" fmla="*/ 98 h 212"/>
                  <a:gd name="T74" fmla="*/ 48 w 242"/>
                  <a:gd name="T75" fmla="*/ 106 h 212"/>
                  <a:gd name="T76" fmla="*/ 27 w 242"/>
                  <a:gd name="T77" fmla="*/ 87 h 212"/>
                  <a:gd name="T78" fmla="*/ 16 w 242"/>
                  <a:gd name="T79" fmla="*/ 81 h 212"/>
                  <a:gd name="T80" fmla="*/ 0 w 242"/>
                  <a:gd name="T81" fmla="*/ 87 h 212"/>
                  <a:gd name="T82" fmla="*/ 12 w 242"/>
                  <a:gd name="T83" fmla="*/ 69 h 212"/>
                  <a:gd name="T84" fmla="*/ 21 w 242"/>
                  <a:gd name="T85" fmla="*/ 73 h 212"/>
                  <a:gd name="T86" fmla="*/ 31 w 242"/>
                  <a:gd name="T87" fmla="*/ 71 h 212"/>
                  <a:gd name="T88" fmla="*/ 39 w 242"/>
                  <a:gd name="T89" fmla="*/ 62 h 212"/>
                  <a:gd name="T90" fmla="*/ 37 w 242"/>
                  <a:gd name="T91" fmla="*/ 52 h 212"/>
                  <a:gd name="T92" fmla="*/ 37 w 242"/>
                  <a:gd name="T93" fmla="*/ 43 h 212"/>
                  <a:gd name="T94" fmla="*/ 50 w 242"/>
                  <a:gd name="T95" fmla="*/ 37 h 212"/>
                  <a:gd name="T96" fmla="*/ 58 w 242"/>
                  <a:gd name="T97" fmla="*/ 29 h 212"/>
                  <a:gd name="T98" fmla="*/ 71 w 242"/>
                  <a:gd name="T99" fmla="*/ 25 h 212"/>
                  <a:gd name="T100" fmla="*/ 87 w 242"/>
                  <a:gd name="T101" fmla="*/ 16 h 212"/>
                  <a:gd name="T102" fmla="*/ 100 w 242"/>
                  <a:gd name="T103" fmla="*/ 8 h 212"/>
                  <a:gd name="T104" fmla="*/ 114 w 242"/>
                  <a:gd name="T105" fmla="*/ 6 h 212"/>
                  <a:gd name="T106" fmla="*/ 121 w 242"/>
                  <a:gd name="T107" fmla="*/ 2 h 212"/>
                  <a:gd name="T108" fmla="*/ 133 w 242"/>
                  <a:gd name="T109" fmla="*/ 10 h 212"/>
                  <a:gd name="T110" fmla="*/ 144 w 242"/>
                  <a:gd name="T111" fmla="*/ 8 h 212"/>
                  <a:gd name="T112" fmla="*/ 154 w 242"/>
                  <a:gd name="T113" fmla="*/ 2 h 212"/>
                  <a:gd name="T114" fmla="*/ 154 w 242"/>
                  <a:gd name="T115" fmla="*/ 14 h 212"/>
                  <a:gd name="T116" fmla="*/ 158 w 242"/>
                  <a:gd name="T117" fmla="*/ 27 h 212"/>
                  <a:gd name="T118" fmla="*/ 158 w 242"/>
                  <a:gd name="T119" fmla="*/ 43 h 212"/>
                  <a:gd name="T120" fmla="*/ 167 w 242"/>
                  <a:gd name="T121" fmla="*/ 5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42" h="212">
                    <a:moveTo>
                      <a:pt x="169" y="50"/>
                    </a:moveTo>
                    <a:lnTo>
                      <a:pt x="173" y="52"/>
                    </a:lnTo>
                    <a:lnTo>
                      <a:pt x="175" y="52"/>
                    </a:lnTo>
                    <a:lnTo>
                      <a:pt x="175" y="54"/>
                    </a:lnTo>
                    <a:lnTo>
                      <a:pt x="175" y="56"/>
                    </a:lnTo>
                    <a:lnTo>
                      <a:pt x="173" y="56"/>
                    </a:lnTo>
                    <a:lnTo>
                      <a:pt x="171" y="56"/>
                    </a:lnTo>
                    <a:lnTo>
                      <a:pt x="171" y="54"/>
                    </a:lnTo>
                    <a:lnTo>
                      <a:pt x="171" y="56"/>
                    </a:lnTo>
                    <a:lnTo>
                      <a:pt x="169" y="54"/>
                    </a:lnTo>
                    <a:lnTo>
                      <a:pt x="169" y="56"/>
                    </a:lnTo>
                    <a:lnTo>
                      <a:pt x="167" y="56"/>
                    </a:lnTo>
                    <a:lnTo>
                      <a:pt x="165" y="56"/>
                    </a:lnTo>
                    <a:lnTo>
                      <a:pt x="165" y="58"/>
                    </a:lnTo>
                    <a:lnTo>
                      <a:pt x="165" y="60"/>
                    </a:lnTo>
                    <a:lnTo>
                      <a:pt x="163" y="60"/>
                    </a:lnTo>
                    <a:lnTo>
                      <a:pt x="163" y="62"/>
                    </a:lnTo>
                    <a:lnTo>
                      <a:pt x="165" y="62"/>
                    </a:lnTo>
                    <a:lnTo>
                      <a:pt x="165" y="64"/>
                    </a:lnTo>
                    <a:lnTo>
                      <a:pt x="167" y="64"/>
                    </a:lnTo>
                    <a:lnTo>
                      <a:pt x="167" y="62"/>
                    </a:lnTo>
                    <a:lnTo>
                      <a:pt x="169" y="62"/>
                    </a:lnTo>
                    <a:lnTo>
                      <a:pt x="169" y="64"/>
                    </a:lnTo>
                    <a:lnTo>
                      <a:pt x="171" y="64"/>
                    </a:lnTo>
                    <a:lnTo>
                      <a:pt x="171" y="62"/>
                    </a:lnTo>
                    <a:lnTo>
                      <a:pt x="171" y="64"/>
                    </a:lnTo>
                    <a:lnTo>
                      <a:pt x="171" y="62"/>
                    </a:lnTo>
                    <a:lnTo>
                      <a:pt x="171" y="64"/>
                    </a:lnTo>
                    <a:lnTo>
                      <a:pt x="171" y="66"/>
                    </a:lnTo>
                    <a:lnTo>
                      <a:pt x="173" y="66"/>
                    </a:lnTo>
                    <a:lnTo>
                      <a:pt x="173" y="64"/>
                    </a:lnTo>
                    <a:lnTo>
                      <a:pt x="175" y="64"/>
                    </a:lnTo>
                    <a:lnTo>
                      <a:pt x="175" y="66"/>
                    </a:lnTo>
                    <a:lnTo>
                      <a:pt x="173" y="66"/>
                    </a:lnTo>
                    <a:lnTo>
                      <a:pt x="173" y="68"/>
                    </a:lnTo>
                    <a:lnTo>
                      <a:pt x="175" y="68"/>
                    </a:lnTo>
                    <a:lnTo>
                      <a:pt x="173" y="68"/>
                    </a:lnTo>
                    <a:lnTo>
                      <a:pt x="173" y="69"/>
                    </a:lnTo>
                    <a:lnTo>
                      <a:pt x="175" y="69"/>
                    </a:lnTo>
                    <a:lnTo>
                      <a:pt x="175" y="68"/>
                    </a:lnTo>
                    <a:lnTo>
                      <a:pt x="177" y="68"/>
                    </a:lnTo>
                    <a:lnTo>
                      <a:pt x="177" y="69"/>
                    </a:lnTo>
                    <a:lnTo>
                      <a:pt x="179" y="68"/>
                    </a:lnTo>
                    <a:lnTo>
                      <a:pt x="181" y="66"/>
                    </a:lnTo>
                    <a:lnTo>
                      <a:pt x="181" y="68"/>
                    </a:lnTo>
                    <a:lnTo>
                      <a:pt x="183" y="68"/>
                    </a:lnTo>
                    <a:lnTo>
                      <a:pt x="183" y="69"/>
                    </a:lnTo>
                    <a:lnTo>
                      <a:pt x="183" y="71"/>
                    </a:lnTo>
                    <a:lnTo>
                      <a:pt x="181" y="73"/>
                    </a:lnTo>
                    <a:lnTo>
                      <a:pt x="183" y="73"/>
                    </a:lnTo>
                    <a:lnTo>
                      <a:pt x="185" y="75"/>
                    </a:lnTo>
                    <a:lnTo>
                      <a:pt x="185" y="73"/>
                    </a:lnTo>
                    <a:lnTo>
                      <a:pt x="187" y="73"/>
                    </a:lnTo>
                    <a:lnTo>
                      <a:pt x="187" y="71"/>
                    </a:lnTo>
                    <a:lnTo>
                      <a:pt x="188" y="73"/>
                    </a:lnTo>
                    <a:lnTo>
                      <a:pt x="188" y="71"/>
                    </a:lnTo>
                    <a:lnTo>
                      <a:pt x="188" y="69"/>
                    </a:lnTo>
                    <a:lnTo>
                      <a:pt x="188" y="68"/>
                    </a:lnTo>
                    <a:lnTo>
                      <a:pt x="190" y="68"/>
                    </a:lnTo>
                    <a:lnTo>
                      <a:pt x="192" y="68"/>
                    </a:lnTo>
                    <a:lnTo>
                      <a:pt x="190" y="68"/>
                    </a:lnTo>
                    <a:lnTo>
                      <a:pt x="192" y="68"/>
                    </a:lnTo>
                    <a:lnTo>
                      <a:pt x="192" y="66"/>
                    </a:lnTo>
                    <a:lnTo>
                      <a:pt x="190" y="66"/>
                    </a:lnTo>
                    <a:lnTo>
                      <a:pt x="190" y="64"/>
                    </a:lnTo>
                    <a:lnTo>
                      <a:pt x="190" y="66"/>
                    </a:lnTo>
                    <a:lnTo>
                      <a:pt x="192" y="64"/>
                    </a:lnTo>
                    <a:lnTo>
                      <a:pt x="192" y="66"/>
                    </a:lnTo>
                    <a:lnTo>
                      <a:pt x="194" y="66"/>
                    </a:lnTo>
                    <a:lnTo>
                      <a:pt x="194" y="68"/>
                    </a:lnTo>
                    <a:lnTo>
                      <a:pt x="194" y="69"/>
                    </a:lnTo>
                    <a:lnTo>
                      <a:pt x="196" y="69"/>
                    </a:lnTo>
                    <a:lnTo>
                      <a:pt x="196" y="71"/>
                    </a:lnTo>
                    <a:lnTo>
                      <a:pt x="198" y="71"/>
                    </a:lnTo>
                    <a:lnTo>
                      <a:pt x="198" y="69"/>
                    </a:lnTo>
                    <a:lnTo>
                      <a:pt x="198" y="68"/>
                    </a:lnTo>
                    <a:lnTo>
                      <a:pt x="200" y="68"/>
                    </a:lnTo>
                    <a:lnTo>
                      <a:pt x="200" y="69"/>
                    </a:lnTo>
                    <a:lnTo>
                      <a:pt x="202" y="71"/>
                    </a:lnTo>
                    <a:lnTo>
                      <a:pt x="202" y="73"/>
                    </a:lnTo>
                    <a:lnTo>
                      <a:pt x="204" y="75"/>
                    </a:lnTo>
                    <a:lnTo>
                      <a:pt x="204" y="77"/>
                    </a:lnTo>
                    <a:lnTo>
                      <a:pt x="206" y="77"/>
                    </a:lnTo>
                    <a:lnTo>
                      <a:pt x="206" y="75"/>
                    </a:lnTo>
                    <a:lnTo>
                      <a:pt x="208" y="73"/>
                    </a:lnTo>
                    <a:lnTo>
                      <a:pt x="208" y="71"/>
                    </a:lnTo>
                    <a:lnTo>
                      <a:pt x="208" y="69"/>
                    </a:lnTo>
                    <a:lnTo>
                      <a:pt x="208" y="68"/>
                    </a:lnTo>
                    <a:lnTo>
                      <a:pt x="208" y="69"/>
                    </a:lnTo>
                    <a:lnTo>
                      <a:pt x="210" y="69"/>
                    </a:lnTo>
                    <a:lnTo>
                      <a:pt x="210" y="71"/>
                    </a:lnTo>
                    <a:lnTo>
                      <a:pt x="210" y="73"/>
                    </a:lnTo>
                    <a:lnTo>
                      <a:pt x="212" y="71"/>
                    </a:lnTo>
                    <a:lnTo>
                      <a:pt x="210" y="69"/>
                    </a:lnTo>
                    <a:lnTo>
                      <a:pt x="212" y="69"/>
                    </a:lnTo>
                    <a:lnTo>
                      <a:pt x="213" y="69"/>
                    </a:lnTo>
                    <a:lnTo>
                      <a:pt x="213" y="68"/>
                    </a:lnTo>
                    <a:lnTo>
                      <a:pt x="212" y="68"/>
                    </a:lnTo>
                    <a:lnTo>
                      <a:pt x="212" y="66"/>
                    </a:lnTo>
                    <a:lnTo>
                      <a:pt x="213" y="66"/>
                    </a:lnTo>
                    <a:lnTo>
                      <a:pt x="212" y="64"/>
                    </a:lnTo>
                    <a:lnTo>
                      <a:pt x="212" y="62"/>
                    </a:lnTo>
                    <a:lnTo>
                      <a:pt x="210" y="62"/>
                    </a:lnTo>
                    <a:lnTo>
                      <a:pt x="208" y="62"/>
                    </a:lnTo>
                    <a:lnTo>
                      <a:pt x="206" y="60"/>
                    </a:lnTo>
                    <a:lnTo>
                      <a:pt x="208" y="58"/>
                    </a:lnTo>
                    <a:lnTo>
                      <a:pt x="208" y="56"/>
                    </a:lnTo>
                    <a:lnTo>
                      <a:pt x="210" y="56"/>
                    </a:lnTo>
                    <a:lnTo>
                      <a:pt x="210" y="58"/>
                    </a:lnTo>
                    <a:lnTo>
                      <a:pt x="210" y="56"/>
                    </a:lnTo>
                    <a:lnTo>
                      <a:pt x="212" y="56"/>
                    </a:lnTo>
                    <a:lnTo>
                      <a:pt x="212" y="58"/>
                    </a:lnTo>
                    <a:lnTo>
                      <a:pt x="212" y="56"/>
                    </a:lnTo>
                    <a:lnTo>
                      <a:pt x="213" y="56"/>
                    </a:lnTo>
                    <a:lnTo>
                      <a:pt x="215" y="54"/>
                    </a:lnTo>
                    <a:lnTo>
                      <a:pt x="215" y="52"/>
                    </a:lnTo>
                    <a:lnTo>
                      <a:pt x="217" y="54"/>
                    </a:lnTo>
                    <a:lnTo>
                      <a:pt x="217" y="52"/>
                    </a:lnTo>
                    <a:lnTo>
                      <a:pt x="217" y="54"/>
                    </a:lnTo>
                    <a:lnTo>
                      <a:pt x="219" y="54"/>
                    </a:lnTo>
                    <a:lnTo>
                      <a:pt x="221" y="54"/>
                    </a:lnTo>
                    <a:lnTo>
                      <a:pt x="223" y="52"/>
                    </a:lnTo>
                    <a:lnTo>
                      <a:pt x="225" y="52"/>
                    </a:lnTo>
                    <a:lnTo>
                      <a:pt x="225" y="50"/>
                    </a:lnTo>
                    <a:lnTo>
                      <a:pt x="223" y="50"/>
                    </a:lnTo>
                    <a:lnTo>
                      <a:pt x="225" y="50"/>
                    </a:lnTo>
                    <a:lnTo>
                      <a:pt x="225" y="48"/>
                    </a:lnTo>
                    <a:lnTo>
                      <a:pt x="223" y="48"/>
                    </a:lnTo>
                    <a:lnTo>
                      <a:pt x="223" y="46"/>
                    </a:lnTo>
                    <a:lnTo>
                      <a:pt x="223" y="48"/>
                    </a:lnTo>
                    <a:lnTo>
                      <a:pt x="225" y="48"/>
                    </a:lnTo>
                    <a:lnTo>
                      <a:pt x="227" y="48"/>
                    </a:lnTo>
                    <a:lnTo>
                      <a:pt x="227" y="46"/>
                    </a:lnTo>
                    <a:lnTo>
                      <a:pt x="229" y="48"/>
                    </a:lnTo>
                    <a:lnTo>
                      <a:pt x="231" y="48"/>
                    </a:lnTo>
                    <a:lnTo>
                      <a:pt x="231" y="50"/>
                    </a:lnTo>
                    <a:lnTo>
                      <a:pt x="229" y="50"/>
                    </a:lnTo>
                    <a:lnTo>
                      <a:pt x="229" y="52"/>
                    </a:lnTo>
                    <a:lnTo>
                      <a:pt x="227" y="52"/>
                    </a:lnTo>
                    <a:lnTo>
                      <a:pt x="227" y="54"/>
                    </a:lnTo>
                    <a:lnTo>
                      <a:pt x="225" y="52"/>
                    </a:lnTo>
                    <a:lnTo>
                      <a:pt x="225" y="54"/>
                    </a:lnTo>
                    <a:lnTo>
                      <a:pt x="223" y="56"/>
                    </a:lnTo>
                    <a:lnTo>
                      <a:pt x="223" y="58"/>
                    </a:lnTo>
                    <a:lnTo>
                      <a:pt x="221" y="58"/>
                    </a:lnTo>
                    <a:lnTo>
                      <a:pt x="221" y="60"/>
                    </a:lnTo>
                    <a:lnTo>
                      <a:pt x="219" y="60"/>
                    </a:lnTo>
                    <a:lnTo>
                      <a:pt x="219" y="62"/>
                    </a:lnTo>
                    <a:lnTo>
                      <a:pt x="221" y="62"/>
                    </a:lnTo>
                    <a:lnTo>
                      <a:pt x="219" y="62"/>
                    </a:lnTo>
                    <a:lnTo>
                      <a:pt x="219" y="64"/>
                    </a:lnTo>
                    <a:lnTo>
                      <a:pt x="219" y="62"/>
                    </a:lnTo>
                    <a:lnTo>
                      <a:pt x="219" y="64"/>
                    </a:lnTo>
                    <a:lnTo>
                      <a:pt x="217" y="64"/>
                    </a:lnTo>
                    <a:lnTo>
                      <a:pt x="217" y="66"/>
                    </a:lnTo>
                    <a:lnTo>
                      <a:pt x="219" y="66"/>
                    </a:lnTo>
                    <a:lnTo>
                      <a:pt x="217" y="66"/>
                    </a:lnTo>
                    <a:lnTo>
                      <a:pt x="217" y="68"/>
                    </a:lnTo>
                    <a:lnTo>
                      <a:pt x="219" y="68"/>
                    </a:lnTo>
                    <a:lnTo>
                      <a:pt x="217" y="68"/>
                    </a:lnTo>
                    <a:lnTo>
                      <a:pt x="217" y="69"/>
                    </a:lnTo>
                    <a:lnTo>
                      <a:pt x="219" y="69"/>
                    </a:lnTo>
                    <a:lnTo>
                      <a:pt x="219" y="68"/>
                    </a:lnTo>
                    <a:lnTo>
                      <a:pt x="219" y="69"/>
                    </a:lnTo>
                    <a:lnTo>
                      <a:pt x="221" y="69"/>
                    </a:lnTo>
                    <a:lnTo>
                      <a:pt x="221" y="71"/>
                    </a:lnTo>
                    <a:lnTo>
                      <a:pt x="219" y="71"/>
                    </a:lnTo>
                    <a:lnTo>
                      <a:pt x="217" y="73"/>
                    </a:lnTo>
                    <a:lnTo>
                      <a:pt x="219" y="75"/>
                    </a:lnTo>
                    <a:lnTo>
                      <a:pt x="219" y="73"/>
                    </a:lnTo>
                    <a:lnTo>
                      <a:pt x="221" y="73"/>
                    </a:lnTo>
                    <a:lnTo>
                      <a:pt x="221" y="71"/>
                    </a:lnTo>
                    <a:lnTo>
                      <a:pt x="221" y="73"/>
                    </a:lnTo>
                    <a:lnTo>
                      <a:pt x="221" y="75"/>
                    </a:lnTo>
                    <a:lnTo>
                      <a:pt x="221" y="77"/>
                    </a:lnTo>
                    <a:lnTo>
                      <a:pt x="221" y="75"/>
                    </a:lnTo>
                    <a:lnTo>
                      <a:pt x="221" y="77"/>
                    </a:lnTo>
                    <a:lnTo>
                      <a:pt x="223" y="77"/>
                    </a:lnTo>
                    <a:lnTo>
                      <a:pt x="223" y="79"/>
                    </a:lnTo>
                    <a:lnTo>
                      <a:pt x="225" y="81"/>
                    </a:lnTo>
                    <a:lnTo>
                      <a:pt x="225" y="79"/>
                    </a:lnTo>
                    <a:lnTo>
                      <a:pt x="227" y="79"/>
                    </a:lnTo>
                    <a:lnTo>
                      <a:pt x="225" y="77"/>
                    </a:lnTo>
                    <a:lnTo>
                      <a:pt x="227" y="77"/>
                    </a:lnTo>
                    <a:lnTo>
                      <a:pt x="227" y="75"/>
                    </a:lnTo>
                    <a:lnTo>
                      <a:pt x="227" y="71"/>
                    </a:lnTo>
                    <a:lnTo>
                      <a:pt x="227" y="69"/>
                    </a:lnTo>
                    <a:lnTo>
                      <a:pt x="227" y="68"/>
                    </a:lnTo>
                    <a:lnTo>
                      <a:pt x="229" y="68"/>
                    </a:lnTo>
                    <a:lnTo>
                      <a:pt x="229" y="69"/>
                    </a:lnTo>
                    <a:lnTo>
                      <a:pt x="231" y="68"/>
                    </a:lnTo>
                    <a:lnTo>
                      <a:pt x="231" y="69"/>
                    </a:lnTo>
                    <a:lnTo>
                      <a:pt x="233" y="68"/>
                    </a:lnTo>
                    <a:lnTo>
                      <a:pt x="233" y="69"/>
                    </a:lnTo>
                    <a:lnTo>
                      <a:pt x="235" y="69"/>
                    </a:lnTo>
                    <a:lnTo>
                      <a:pt x="233" y="69"/>
                    </a:lnTo>
                    <a:lnTo>
                      <a:pt x="233" y="71"/>
                    </a:lnTo>
                    <a:lnTo>
                      <a:pt x="235" y="71"/>
                    </a:lnTo>
                    <a:lnTo>
                      <a:pt x="235" y="73"/>
                    </a:lnTo>
                    <a:lnTo>
                      <a:pt x="236" y="73"/>
                    </a:lnTo>
                    <a:lnTo>
                      <a:pt x="235" y="73"/>
                    </a:lnTo>
                    <a:lnTo>
                      <a:pt x="235" y="75"/>
                    </a:lnTo>
                    <a:lnTo>
                      <a:pt x="235" y="77"/>
                    </a:lnTo>
                    <a:lnTo>
                      <a:pt x="233" y="79"/>
                    </a:lnTo>
                    <a:lnTo>
                      <a:pt x="233" y="81"/>
                    </a:lnTo>
                    <a:lnTo>
                      <a:pt x="231" y="79"/>
                    </a:lnTo>
                    <a:lnTo>
                      <a:pt x="229" y="79"/>
                    </a:lnTo>
                    <a:lnTo>
                      <a:pt x="229" y="81"/>
                    </a:lnTo>
                    <a:lnTo>
                      <a:pt x="227" y="81"/>
                    </a:lnTo>
                    <a:lnTo>
                      <a:pt x="227" y="83"/>
                    </a:lnTo>
                    <a:lnTo>
                      <a:pt x="227" y="85"/>
                    </a:lnTo>
                    <a:lnTo>
                      <a:pt x="225" y="85"/>
                    </a:lnTo>
                    <a:lnTo>
                      <a:pt x="223" y="85"/>
                    </a:lnTo>
                    <a:lnTo>
                      <a:pt x="225" y="85"/>
                    </a:lnTo>
                    <a:lnTo>
                      <a:pt x="223" y="85"/>
                    </a:lnTo>
                    <a:lnTo>
                      <a:pt x="223" y="87"/>
                    </a:lnTo>
                    <a:lnTo>
                      <a:pt x="221" y="85"/>
                    </a:lnTo>
                    <a:lnTo>
                      <a:pt x="221" y="87"/>
                    </a:lnTo>
                    <a:lnTo>
                      <a:pt x="219" y="87"/>
                    </a:lnTo>
                    <a:lnTo>
                      <a:pt x="219" y="89"/>
                    </a:lnTo>
                    <a:lnTo>
                      <a:pt x="217" y="87"/>
                    </a:lnTo>
                    <a:lnTo>
                      <a:pt x="215" y="87"/>
                    </a:lnTo>
                    <a:lnTo>
                      <a:pt x="215" y="89"/>
                    </a:lnTo>
                    <a:lnTo>
                      <a:pt x="217" y="91"/>
                    </a:lnTo>
                    <a:lnTo>
                      <a:pt x="215" y="91"/>
                    </a:lnTo>
                    <a:lnTo>
                      <a:pt x="217" y="93"/>
                    </a:lnTo>
                    <a:lnTo>
                      <a:pt x="219" y="94"/>
                    </a:lnTo>
                    <a:lnTo>
                      <a:pt x="221" y="94"/>
                    </a:lnTo>
                    <a:lnTo>
                      <a:pt x="223" y="94"/>
                    </a:lnTo>
                    <a:lnTo>
                      <a:pt x="225" y="94"/>
                    </a:lnTo>
                    <a:lnTo>
                      <a:pt x="227" y="93"/>
                    </a:lnTo>
                    <a:lnTo>
                      <a:pt x="229" y="94"/>
                    </a:lnTo>
                    <a:lnTo>
                      <a:pt x="231" y="94"/>
                    </a:lnTo>
                    <a:lnTo>
                      <a:pt x="233" y="94"/>
                    </a:lnTo>
                    <a:lnTo>
                      <a:pt x="231" y="94"/>
                    </a:lnTo>
                    <a:lnTo>
                      <a:pt x="231" y="96"/>
                    </a:lnTo>
                    <a:lnTo>
                      <a:pt x="233" y="96"/>
                    </a:lnTo>
                    <a:lnTo>
                      <a:pt x="233" y="98"/>
                    </a:lnTo>
                    <a:lnTo>
                      <a:pt x="235" y="98"/>
                    </a:lnTo>
                    <a:lnTo>
                      <a:pt x="235" y="100"/>
                    </a:lnTo>
                    <a:lnTo>
                      <a:pt x="235" y="98"/>
                    </a:lnTo>
                    <a:lnTo>
                      <a:pt x="236" y="98"/>
                    </a:lnTo>
                    <a:lnTo>
                      <a:pt x="236" y="100"/>
                    </a:lnTo>
                    <a:lnTo>
                      <a:pt x="235" y="100"/>
                    </a:lnTo>
                    <a:lnTo>
                      <a:pt x="236" y="102"/>
                    </a:lnTo>
                    <a:lnTo>
                      <a:pt x="238" y="102"/>
                    </a:lnTo>
                    <a:lnTo>
                      <a:pt x="238" y="104"/>
                    </a:lnTo>
                    <a:lnTo>
                      <a:pt x="236" y="104"/>
                    </a:lnTo>
                    <a:lnTo>
                      <a:pt x="235" y="104"/>
                    </a:lnTo>
                    <a:lnTo>
                      <a:pt x="235" y="106"/>
                    </a:lnTo>
                    <a:lnTo>
                      <a:pt x="235" y="108"/>
                    </a:lnTo>
                    <a:lnTo>
                      <a:pt x="236" y="106"/>
                    </a:lnTo>
                    <a:lnTo>
                      <a:pt x="238" y="106"/>
                    </a:lnTo>
                    <a:lnTo>
                      <a:pt x="238" y="108"/>
                    </a:lnTo>
                    <a:lnTo>
                      <a:pt x="236" y="108"/>
                    </a:lnTo>
                    <a:lnTo>
                      <a:pt x="236" y="110"/>
                    </a:lnTo>
                    <a:lnTo>
                      <a:pt x="238" y="108"/>
                    </a:lnTo>
                    <a:lnTo>
                      <a:pt x="238" y="110"/>
                    </a:lnTo>
                    <a:lnTo>
                      <a:pt x="240" y="110"/>
                    </a:lnTo>
                    <a:lnTo>
                      <a:pt x="240" y="108"/>
                    </a:lnTo>
                    <a:lnTo>
                      <a:pt x="240" y="110"/>
                    </a:lnTo>
                    <a:lnTo>
                      <a:pt x="238" y="110"/>
                    </a:lnTo>
                    <a:lnTo>
                      <a:pt x="240" y="112"/>
                    </a:lnTo>
                    <a:lnTo>
                      <a:pt x="240" y="114"/>
                    </a:lnTo>
                    <a:lnTo>
                      <a:pt x="240" y="116"/>
                    </a:lnTo>
                    <a:lnTo>
                      <a:pt x="242" y="116"/>
                    </a:lnTo>
                    <a:lnTo>
                      <a:pt x="242" y="118"/>
                    </a:lnTo>
                    <a:lnTo>
                      <a:pt x="240" y="116"/>
                    </a:lnTo>
                    <a:lnTo>
                      <a:pt x="240" y="118"/>
                    </a:lnTo>
                    <a:lnTo>
                      <a:pt x="240" y="116"/>
                    </a:lnTo>
                    <a:lnTo>
                      <a:pt x="240" y="118"/>
                    </a:lnTo>
                    <a:lnTo>
                      <a:pt x="238" y="118"/>
                    </a:lnTo>
                    <a:lnTo>
                      <a:pt x="238" y="119"/>
                    </a:lnTo>
                    <a:lnTo>
                      <a:pt x="236" y="119"/>
                    </a:lnTo>
                    <a:lnTo>
                      <a:pt x="235" y="119"/>
                    </a:lnTo>
                    <a:lnTo>
                      <a:pt x="235" y="121"/>
                    </a:lnTo>
                    <a:lnTo>
                      <a:pt x="233" y="121"/>
                    </a:lnTo>
                    <a:lnTo>
                      <a:pt x="231" y="121"/>
                    </a:lnTo>
                    <a:lnTo>
                      <a:pt x="229" y="121"/>
                    </a:lnTo>
                    <a:lnTo>
                      <a:pt x="229" y="123"/>
                    </a:lnTo>
                    <a:lnTo>
                      <a:pt x="227" y="125"/>
                    </a:lnTo>
                    <a:lnTo>
                      <a:pt x="229" y="125"/>
                    </a:lnTo>
                    <a:lnTo>
                      <a:pt x="227" y="125"/>
                    </a:lnTo>
                    <a:lnTo>
                      <a:pt x="227" y="127"/>
                    </a:lnTo>
                    <a:lnTo>
                      <a:pt x="225" y="127"/>
                    </a:lnTo>
                    <a:lnTo>
                      <a:pt x="223" y="127"/>
                    </a:lnTo>
                    <a:lnTo>
                      <a:pt x="223" y="129"/>
                    </a:lnTo>
                    <a:lnTo>
                      <a:pt x="221" y="129"/>
                    </a:lnTo>
                    <a:lnTo>
                      <a:pt x="221" y="131"/>
                    </a:lnTo>
                    <a:lnTo>
                      <a:pt x="219" y="131"/>
                    </a:lnTo>
                    <a:lnTo>
                      <a:pt x="217" y="131"/>
                    </a:lnTo>
                    <a:lnTo>
                      <a:pt x="215" y="131"/>
                    </a:lnTo>
                    <a:lnTo>
                      <a:pt x="213" y="133"/>
                    </a:lnTo>
                    <a:lnTo>
                      <a:pt x="212" y="133"/>
                    </a:lnTo>
                    <a:lnTo>
                      <a:pt x="210" y="135"/>
                    </a:lnTo>
                    <a:lnTo>
                      <a:pt x="210" y="137"/>
                    </a:lnTo>
                    <a:lnTo>
                      <a:pt x="208" y="137"/>
                    </a:lnTo>
                    <a:lnTo>
                      <a:pt x="206" y="137"/>
                    </a:lnTo>
                    <a:lnTo>
                      <a:pt x="206" y="135"/>
                    </a:lnTo>
                    <a:lnTo>
                      <a:pt x="204" y="135"/>
                    </a:lnTo>
                    <a:lnTo>
                      <a:pt x="204" y="133"/>
                    </a:lnTo>
                    <a:lnTo>
                      <a:pt x="204" y="135"/>
                    </a:lnTo>
                    <a:lnTo>
                      <a:pt x="204" y="133"/>
                    </a:lnTo>
                    <a:lnTo>
                      <a:pt x="202" y="135"/>
                    </a:lnTo>
                    <a:lnTo>
                      <a:pt x="200" y="135"/>
                    </a:lnTo>
                    <a:lnTo>
                      <a:pt x="202" y="135"/>
                    </a:lnTo>
                    <a:lnTo>
                      <a:pt x="200" y="137"/>
                    </a:lnTo>
                    <a:lnTo>
                      <a:pt x="198" y="137"/>
                    </a:lnTo>
                    <a:lnTo>
                      <a:pt x="198" y="135"/>
                    </a:lnTo>
                    <a:lnTo>
                      <a:pt x="196" y="135"/>
                    </a:lnTo>
                    <a:lnTo>
                      <a:pt x="194" y="135"/>
                    </a:lnTo>
                    <a:lnTo>
                      <a:pt x="192" y="135"/>
                    </a:lnTo>
                    <a:lnTo>
                      <a:pt x="192" y="137"/>
                    </a:lnTo>
                    <a:lnTo>
                      <a:pt x="192" y="139"/>
                    </a:lnTo>
                    <a:lnTo>
                      <a:pt x="194" y="139"/>
                    </a:lnTo>
                    <a:lnTo>
                      <a:pt x="194" y="141"/>
                    </a:lnTo>
                    <a:lnTo>
                      <a:pt x="194" y="143"/>
                    </a:lnTo>
                    <a:lnTo>
                      <a:pt x="194" y="144"/>
                    </a:lnTo>
                    <a:lnTo>
                      <a:pt x="194" y="146"/>
                    </a:lnTo>
                    <a:lnTo>
                      <a:pt x="196" y="146"/>
                    </a:lnTo>
                    <a:lnTo>
                      <a:pt x="196" y="148"/>
                    </a:lnTo>
                    <a:lnTo>
                      <a:pt x="198" y="148"/>
                    </a:lnTo>
                    <a:lnTo>
                      <a:pt x="196" y="148"/>
                    </a:lnTo>
                    <a:lnTo>
                      <a:pt x="196" y="150"/>
                    </a:lnTo>
                    <a:lnTo>
                      <a:pt x="198" y="150"/>
                    </a:lnTo>
                    <a:lnTo>
                      <a:pt x="198" y="152"/>
                    </a:lnTo>
                    <a:lnTo>
                      <a:pt x="198" y="150"/>
                    </a:lnTo>
                    <a:lnTo>
                      <a:pt x="198" y="152"/>
                    </a:lnTo>
                    <a:lnTo>
                      <a:pt x="198" y="154"/>
                    </a:lnTo>
                    <a:lnTo>
                      <a:pt x="198" y="156"/>
                    </a:lnTo>
                    <a:lnTo>
                      <a:pt x="198" y="158"/>
                    </a:lnTo>
                    <a:lnTo>
                      <a:pt x="200" y="158"/>
                    </a:lnTo>
                    <a:lnTo>
                      <a:pt x="200" y="156"/>
                    </a:lnTo>
                    <a:lnTo>
                      <a:pt x="202" y="156"/>
                    </a:lnTo>
                    <a:lnTo>
                      <a:pt x="202" y="158"/>
                    </a:lnTo>
                    <a:lnTo>
                      <a:pt x="200" y="158"/>
                    </a:lnTo>
                    <a:lnTo>
                      <a:pt x="198" y="160"/>
                    </a:lnTo>
                    <a:lnTo>
                      <a:pt x="198" y="162"/>
                    </a:lnTo>
                    <a:lnTo>
                      <a:pt x="196" y="162"/>
                    </a:lnTo>
                    <a:lnTo>
                      <a:pt x="198" y="162"/>
                    </a:lnTo>
                    <a:lnTo>
                      <a:pt x="198" y="164"/>
                    </a:lnTo>
                    <a:lnTo>
                      <a:pt x="196" y="164"/>
                    </a:lnTo>
                    <a:lnTo>
                      <a:pt x="196" y="166"/>
                    </a:lnTo>
                    <a:lnTo>
                      <a:pt x="196" y="167"/>
                    </a:lnTo>
                    <a:lnTo>
                      <a:pt x="196" y="169"/>
                    </a:lnTo>
                    <a:lnTo>
                      <a:pt x="194" y="169"/>
                    </a:lnTo>
                    <a:lnTo>
                      <a:pt x="192" y="169"/>
                    </a:lnTo>
                    <a:lnTo>
                      <a:pt x="192" y="171"/>
                    </a:lnTo>
                    <a:lnTo>
                      <a:pt x="192" y="169"/>
                    </a:lnTo>
                    <a:lnTo>
                      <a:pt x="192" y="171"/>
                    </a:lnTo>
                    <a:lnTo>
                      <a:pt x="192" y="169"/>
                    </a:lnTo>
                    <a:lnTo>
                      <a:pt x="192" y="171"/>
                    </a:lnTo>
                    <a:lnTo>
                      <a:pt x="192" y="173"/>
                    </a:lnTo>
                    <a:lnTo>
                      <a:pt x="190" y="173"/>
                    </a:lnTo>
                    <a:lnTo>
                      <a:pt x="188" y="173"/>
                    </a:lnTo>
                    <a:lnTo>
                      <a:pt x="188" y="175"/>
                    </a:lnTo>
                    <a:lnTo>
                      <a:pt x="187" y="175"/>
                    </a:lnTo>
                    <a:lnTo>
                      <a:pt x="185" y="175"/>
                    </a:lnTo>
                    <a:lnTo>
                      <a:pt x="185" y="177"/>
                    </a:lnTo>
                    <a:lnTo>
                      <a:pt x="183" y="177"/>
                    </a:lnTo>
                    <a:lnTo>
                      <a:pt x="185" y="179"/>
                    </a:lnTo>
                    <a:lnTo>
                      <a:pt x="183" y="179"/>
                    </a:lnTo>
                    <a:lnTo>
                      <a:pt x="183" y="181"/>
                    </a:lnTo>
                    <a:lnTo>
                      <a:pt x="181" y="181"/>
                    </a:lnTo>
                    <a:lnTo>
                      <a:pt x="183" y="181"/>
                    </a:lnTo>
                    <a:lnTo>
                      <a:pt x="183" y="183"/>
                    </a:lnTo>
                    <a:lnTo>
                      <a:pt x="181" y="183"/>
                    </a:lnTo>
                    <a:lnTo>
                      <a:pt x="181" y="181"/>
                    </a:lnTo>
                    <a:lnTo>
                      <a:pt x="181" y="183"/>
                    </a:lnTo>
                    <a:lnTo>
                      <a:pt x="179" y="183"/>
                    </a:lnTo>
                    <a:lnTo>
                      <a:pt x="179" y="185"/>
                    </a:lnTo>
                    <a:lnTo>
                      <a:pt x="179" y="187"/>
                    </a:lnTo>
                    <a:lnTo>
                      <a:pt x="179" y="189"/>
                    </a:lnTo>
                    <a:lnTo>
                      <a:pt x="179" y="191"/>
                    </a:lnTo>
                    <a:lnTo>
                      <a:pt x="179" y="192"/>
                    </a:lnTo>
                    <a:lnTo>
                      <a:pt x="177" y="192"/>
                    </a:lnTo>
                    <a:lnTo>
                      <a:pt x="177" y="194"/>
                    </a:lnTo>
                    <a:lnTo>
                      <a:pt x="175" y="194"/>
                    </a:lnTo>
                    <a:lnTo>
                      <a:pt x="177" y="194"/>
                    </a:lnTo>
                    <a:lnTo>
                      <a:pt x="177" y="196"/>
                    </a:lnTo>
                    <a:lnTo>
                      <a:pt x="175" y="196"/>
                    </a:lnTo>
                    <a:lnTo>
                      <a:pt x="175" y="198"/>
                    </a:lnTo>
                    <a:lnTo>
                      <a:pt x="175" y="200"/>
                    </a:lnTo>
                    <a:lnTo>
                      <a:pt x="175" y="202"/>
                    </a:lnTo>
                    <a:lnTo>
                      <a:pt x="173" y="202"/>
                    </a:lnTo>
                    <a:lnTo>
                      <a:pt x="173" y="204"/>
                    </a:lnTo>
                    <a:lnTo>
                      <a:pt x="173" y="206"/>
                    </a:lnTo>
                    <a:lnTo>
                      <a:pt x="173" y="208"/>
                    </a:lnTo>
                    <a:lnTo>
                      <a:pt x="171" y="208"/>
                    </a:lnTo>
                    <a:lnTo>
                      <a:pt x="169" y="208"/>
                    </a:lnTo>
                    <a:lnTo>
                      <a:pt x="167" y="210"/>
                    </a:lnTo>
                    <a:lnTo>
                      <a:pt x="167" y="212"/>
                    </a:lnTo>
                    <a:lnTo>
                      <a:pt x="165" y="212"/>
                    </a:lnTo>
                    <a:lnTo>
                      <a:pt x="165" y="210"/>
                    </a:lnTo>
                    <a:lnTo>
                      <a:pt x="167" y="210"/>
                    </a:lnTo>
                    <a:lnTo>
                      <a:pt x="165" y="208"/>
                    </a:lnTo>
                    <a:lnTo>
                      <a:pt x="165" y="206"/>
                    </a:lnTo>
                    <a:lnTo>
                      <a:pt x="167" y="204"/>
                    </a:lnTo>
                    <a:lnTo>
                      <a:pt x="165" y="202"/>
                    </a:lnTo>
                    <a:lnTo>
                      <a:pt x="165" y="200"/>
                    </a:lnTo>
                    <a:lnTo>
                      <a:pt x="165" y="202"/>
                    </a:lnTo>
                    <a:lnTo>
                      <a:pt x="163" y="202"/>
                    </a:lnTo>
                    <a:lnTo>
                      <a:pt x="162" y="202"/>
                    </a:lnTo>
                    <a:lnTo>
                      <a:pt x="162" y="200"/>
                    </a:lnTo>
                    <a:lnTo>
                      <a:pt x="160" y="202"/>
                    </a:lnTo>
                    <a:lnTo>
                      <a:pt x="160" y="200"/>
                    </a:lnTo>
                    <a:lnTo>
                      <a:pt x="162" y="200"/>
                    </a:lnTo>
                    <a:lnTo>
                      <a:pt x="162" y="198"/>
                    </a:lnTo>
                    <a:lnTo>
                      <a:pt x="162" y="196"/>
                    </a:lnTo>
                    <a:lnTo>
                      <a:pt x="162" y="194"/>
                    </a:lnTo>
                    <a:lnTo>
                      <a:pt x="160" y="194"/>
                    </a:lnTo>
                    <a:lnTo>
                      <a:pt x="160" y="192"/>
                    </a:lnTo>
                    <a:lnTo>
                      <a:pt x="160" y="191"/>
                    </a:lnTo>
                    <a:lnTo>
                      <a:pt x="162" y="191"/>
                    </a:lnTo>
                    <a:lnTo>
                      <a:pt x="160" y="191"/>
                    </a:lnTo>
                    <a:lnTo>
                      <a:pt x="162" y="189"/>
                    </a:lnTo>
                    <a:lnTo>
                      <a:pt x="162" y="191"/>
                    </a:lnTo>
                    <a:lnTo>
                      <a:pt x="163" y="191"/>
                    </a:lnTo>
                    <a:lnTo>
                      <a:pt x="162" y="191"/>
                    </a:lnTo>
                    <a:lnTo>
                      <a:pt x="163" y="191"/>
                    </a:lnTo>
                    <a:lnTo>
                      <a:pt x="163" y="192"/>
                    </a:lnTo>
                    <a:lnTo>
                      <a:pt x="163" y="191"/>
                    </a:lnTo>
                    <a:lnTo>
                      <a:pt x="165" y="191"/>
                    </a:lnTo>
                    <a:lnTo>
                      <a:pt x="167" y="191"/>
                    </a:lnTo>
                    <a:lnTo>
                      <a:pt x="167" y="189"/>
                    </a:lnTo>
                    <a:lnTo>
                      <a:pt x="169" y="189"/>
                    </a:lnTo>
                    <a:lnTo>
                      <a:pt x="167" y="189"/>
                    </a:lnTo>
                    <a:lnTo>
                      <a:pt x="167" y="187"/>
                    </a:lnTo>
                    <a:lnTo>
                      <a:pt x="167" y="185"/>
                    </a:lnTo>
                    <a:lnTo>
                      <a:pt x="167" y="183"/>
                    </a:lnTo>
                    <a:lnTo>
                      <a:pt x="165" y="185"/>
                    </a:lnTo>
                    <a:lnTo>
                      <a:pt x="165" y="187"/>
                    </a:lnTo>
                    <a:lnTo>
                      <a:pt x="163" y="187"/>
                    </a:lnTo>
                    <a:lnTo>
                      <a:pt x="162" y="187"/>
                    </a:lnTo>
                    <a:lnTo>
                      <a:pt x="160" y="187"/>
                    </a:lnTo>
                    <a:lnTo>
                      <a:pt x="160" y="185"/>
                    </a:lnTo>
                    <a:lnTo>
                      <a:pt x="162" y="185"/>
                    </a:lnTo>
                    <a:lnTo>
                      <a:pt x="162" y="183"/>
                    </a:lnTo>
                    <a:lnTo>
                      <a:pt x="160" y="183"/>
                    </a:lnTo>
                    <a:lnTo>
                      <a:pt x="160" y="181"/>
                    </a:lnTo>
                    <a:lnTo>
                      <a:pt x="158" y="179"/>
                    </a:lnTo>
                    <a:lnTo>
                      <a:pt x="156" y="179"/>
                    </a:lnTo>
                    <a:lnTo>
                      <a:pt x="156" y="177"/>
                    </a:lnTo>
                    <a:lnTo>
                      <a:pt x="154" y="179"/>
                    </a:lnTo>
                    <a:lnTo>
                      <a:pt x="154" y="177"/>
                    </a:lnTo>
                    <a:lnTo>
                      <a:pt x="152" y="177"/>
                    </a:lnTo>
                    <a:lnTo>
                      <a:pt x="152" y="175"/>
                    </a:lnTo>
                    <a:lnTo>
                      <a:pt x="150" y="173"/>
                    </a:lnTo>
                    <a:lnTo>
                      <a:pt x="152" y="173"/>
                    </a:lnTo>
                    <a:lnTo>
                      <a:pt x="152" y="169"/>
                    </a:lnTo>
                    <a:lnTo>
                      <a:pt x="154" y="169"/>
                    </a:lnTo>
                    <a:lnTo>
                      <a:pt x="154" y="167"/>
                    </a:lnTo>
                    <a:lnTo>
                      <a:pt x="152" y="167"/>
                    </a:lnTo>
                    <a:lnTo>
                      <a:pt x="150" y="167"/>
                    </a:lnTo>
                    <a:lnTo>
                      <a:pt x="150" y="169"/>
                    </a:lnTo>
                    <a:lnTo>
                      <a:pt x="148" y="169"/>
                    </a:lnTo>
                    <a:lnTo>
                      <a:pt x="148" y="171"/>
                    </a:lnTo>
                    <a:lnTo>
                      <a:pt x="148" y="169"/>
                    </a:lnTo>
                    <a:lnTo>
                      <a:pt x="148" y="167"/>
                    </a:lnTo>
                    <a:lnTo>
                      <a:pt x="146" y="167"/>
                    </a:lnTo>
                    <a:lnTo>
                      <a:pt x="144" y="166"/>
                    </a:lnTo>
                    <a:lnTo>
                      <a:pt x="144" y="167"/>
                    </a:lnTo>
                    <a:lnTo>
                      <a:pt x="142" y="167"/>
                    </a:lnTo>
                    <a:lnTo>
                      <a:pt x="142" y="169"/>
                    </a:lnTo>
                    <a:lnTo>
                      <a:pt x="140" y="169"/>
                    </a:lnTo>
                    <a:lnTo>
                      <a:pt x="139" y="169"/>
                    </a:lnTo>
                    <a:lnTo>
                      <a:pt x="140" y="169"/>
                    </a:lnTo>
                    <a:lnTo>
                      <a:pt x="140" y="167"/>
                    </a:lnTo>
                    <a:lnTo>
                      <a:pt x="139" y="167"/>
                    </a:lnTo>
                    <a:lnTo>
                      <a:pt x="139" y="169"/>
                    </a:lnTo>
                    <a:lnTo>
                      <a:pt x="137" y="171"/>
                    </a:lnTo>
                    <a:lnTo>
                      <a:pt x="137" y="169"/>
                    </a:lnTo>
                    <a:lnTo>
                      <a:pt x="137" y="167"/>
                    </a:lnTo>
                    <a:lnTo>
                      <a:pt x="139" y="166"/>
                    </a:lnTo>
                    <a:lnTo>
                      <a:pt x="139" y="164"/>
                    </a:lnTo>
                    <a:lnTo>
                      <a:pt x="139" y="166"/>
                    </a:lnTo>
                    <a:lnTo>
                      <a:pt x="137" y="166"/>
                    </a:lnTo>
                    <a:lnTo>
                      <a:pt x="137" y="164"/>
                    </a:lnTo>
                    <a:lnTo>
                      <a:pt x="135" y="166"/>
                    </a:lnTo>
                    <a:lnTo>
                      <a:pt x="135" y="164"/>
                    </a:lnTo>
                    <a:lnTo>
                      <a:pt x="137" y="164"/>
                    </a:lnTo>
                    <a:lnTo>
                      <a:pt x="135" y="164"/>
                    </a:lnTo>
                    <a:lnTo>
                      <a:pt x="133" y="164"/>
                    </a:lnTo>
                    <a:lnTo>
                      <a:pt x="135" y="164"/>
                    </a:lnTo>
                    <a:lnTo>
                      <a:pt x="135" y="162"/>
                    </a:lnTo>
                    <a:lnTo>
                      <a:pt x="137" y="162"/>
                    </a:lnTo>
                    <a:lnTo>
                      <a:pt x="137" y="160"/>
                    </a:lnTo>
                    <a:lnTo>
                      <a:pt x="139" y="158"/>
                    </a:lnTo>
                    <a:lnTo>
                      <a:pt x="137" y="156"/>
                    </a:lnTo>
                    <a:lnTo>
                      <a:pt x="139" y="156"/>
                    </a:lnTo>
                    <a:lnTo>
                      <a:pt x="137" y="156"/>
                    </a:lnTo>
                    <a:lnTo>
                      <a:pt x="137" y="154"/>
                    </a:lnTo>
                    <a:lnTo>
                      <a:pt x="135" y="154"/>
                    </a:lnTo>
                    <a:lnTo>
                      <a:pt x="133" y="154"/>
                    </a:lnTo>
                    <a:lnTo>
                      <a:pt x="135" y="152"/>
                    </a:lnTo>
                    <a:lnTo>
                      <a:pt x="133" y="152"/>
                    </a:lnTo>
                    <a:lnTo>
                      <a:pt x="131" y="152"/>
                    </a:lnTo>
                    <a:lnTo>
                      <a:pt x="131" y="150"/>
                    </a:lnTo>
                    <a:lnTo>
                      <a:pt x="129" y="150"/>
                    </a:lnTo>
                    <a:lnTo>
                      <a:pt x="129" y="148"/>
                    </a:lnTo>
                    <a:lnTo>
                      <a:pt x="129" y="146"/>
                    </a:lnTo>
                    <a:lnTo>
                      <a:pt x="131" y="146"/>
                    </a:lnTo>
                    <a:lnTo>
                      <a:pt x="131" y="144"/>
                    </a:lnTo>
                    <a:lnTo>
                      <a:pt x="129" y="144"/>
                    </a:lnTo>
                    <a:lnTo>
                      <a:pt x="129" y="143"/>
                    </a:lnTo>
                    <a:lnTo>
                      <a:pt x="127" y="146"/>
                    </a:lnTo>
                    <a:lnTo>
                      <a:pt x="123" y="144"/>
                    </a:lnTo>
                    <a:lnTo>
                      <a:pt x="123" y="143"/>
                    </a:lnTo>
                    <a:lnTo>
                      <a:pt x="125" y="143"/>
                    </a:lnTo>
                    <a:lnTo>
                      <a:pt x="125" y="141"/>
                    </a:lnTo>
                    <a:lnTo>
                      <a:pt x="125" y="139"/>
                    </a:lnTo>
                    <a:lnTo>
                      <a:pt x="125" y="141"/>
                    </a:lnTo>
                    <a:lnTo>
                      <a:pt x="123" y="141"/>
                    </a:lnTo>
                    <a:lnTo>
                      <a:pt x="121" y="141"/>
                    </a:lnTo>
                    <a:lnTo>
                      <a:pt x="119" y="141"/>
                    </a:lnTo>
                    <a:lnTo>
                      <a:pt x="119" y="139"/>
                    </a:lnTo>
                    <a:lnTo>
                      <a:pt x="119" y="137"/>
                    </a:lnTo>
                    <a:lnTo>
                      <a:pt x="117" y="139"/>
                    </a:lnTo>
                    <a:lnTo>
                      <a:pt x="117" y="141"/>
                    </a:lnTo>
                    <a:lnTo>
                      <a:pt x="115" y="141"/>
                    </a:lnTo>
                    <a:lnTo>
                      <a:pt x="114" y="141"/>
                    </a:lnTo>
                    <a:lnTo>
                      <a:pt x="114" y="143"/>
                    </a:lnTo>
                    <a:lnTo>
                      <a:pt x="112" y="143"/>
                    </a:lnTo>
                    <a:lnTo>
                      <a:pt x="110" y="143"/>
                    </a:lnTo>
                    <a:lnTo>
                      <a:pt x="108" y="144"/>
                    </a:lnTo>
                    <a:lnTo>
                      <a:pt x="108" y="146"/>
                    </a:lnTo>
                    <a:lnTo>
                      <a:pt x="108" y="148"/>
                    </a:lnTo>
                    <a:lnTo>
                      <a:pt x="106" y="148"/>
                    </a:lnTo>
                    <a:lnTo>
                      <a:pt x="106" y="150"/>
                    </a:lnTo>
                    <a:lnTo>
                      <a:pt x="104" y="150"/>
                    </a:lnTo>
                    <a:lnTo>
                      <a:pt x="104" y="152"/>
                    </a:lnTo>
                    <a:lnTo>
                      <a:pt x="102" y="154"/>
                    </a:lnTo>
                    <a:lnTo>
                      <a:pt x="100" y="152"/>
                    </a:lnTo>
                    <a:lnTo>
                      <a:pt x="102" y="152"/>
                    </a:lnTo>
                    <a:lnTo>
                      <a:pt x="102" y="150"/>
                    </a:lnTo>
                    <a:lnTo>
                      <a:pt x="100" y="150"/>
                    </a:lnTo>
                    <a:lnTo>
                      <a:pt x="98" y="150"/>
                    </a:lnTo>
                    <a:lnTo>
                      <a:pt x="98" y="148"/>
                    </a:lnTo>
                    <a:lnTo>
                      <a:pt x="98" y="146"/>
                    </a:lnTo>
                    <a:lnTo>
                      <a:pt x="96" y="146"/>
                    </a:lnTo>
                    <a:lnTo>
                      <a:pt x="94" y="146"/>
                    </a:lnTo>
                    <a:lnTo>
                      <a:pt x="92" y="146"/>
                    </a:lnTo>
                    <a:lnTo>
                      <a:pt x="92" y="148"/>
                    </a:lnTo>
                    <a:lnTo>
                      <a:pt x="90" y="148"/>
                    </a:lnTo>
                    <a:lnTo>
                      <a:pt x="89" y="148"/>
                    </a:lnTo>
                    <a:lnTo>
                      <a:pt x="89" y="146"/>
                    </a:lnTo>
                    <a:lnTo>
                      <a:pt x="89" y="144"/>
                    </a:lnTo>
                    <a:lnTo>
                      <a:pt x="90" y="143"/>
                    </a:lnTo>
                    <a:lnTo>
                      <a:pt x="90" y="141"/>
                    </a:lnTo>
                    <a:lnTo>
                      <a:pt x="89" y="141"/>
                    </a:lnTo>
                    <a:lnTo>
                      <a:pt x="89" y="137"/>
                    </a:lnTo>
                    <a:lnTo>
                      <a:pt x="87" y="137"/>
                    </a:lnTo>
                    <a:lnTo>
                      <a:pt x="85" y="137"/>
                    </a:lnTo>
                    <a:lnTo>
                      <a:pt x="85" y="139"/>
                    </a:lnTo>
                    <a:lnTo>
                      <a:pt x="85" y="137"/>
                    </a:lnTo>
                    <a:lnTo>
                      <a:pt x="83" y="137"/>
                    </a:lnTo>
                    <a:lnTo>
                      <a:pt x="85" y="135"/>
                    </a:lnTo>
                    <a:lnTo>
                      <a:pt x="85" y="133"/>
                    </a:lnTo>
                    <a:lnTo>
                      <a:pt x="83" y="131"/>
                    </a:lnTo>
                    <a:lnTo>
                      <a:pt x="81" y="131"/>
                    </a:lnTo>
                    <a:lnTo>
                      <a:pt x="79" y="129"/>
                    </a:lnTo>
                    <a:lnTo>
                      <a:pt x="77" y="129"/>
                    </a:lnTo>
                    <a:lnTo>
                      <a:pt x="77" y="127"/>
                    </a:lnTo>
                    <a:lnTo>
                      <a:pt x="75" y="125"/>
                    </a:lnTo>
                    <a:lnTo>
                      <a:pt x="73" y="123"/>
                    </a:lnTo>
                    <a:lnTo>
                      <a:pt x="73" y="121"/>
                    </a:lnTo>
                    <a:lnTo>
                      <a:pt x="71" y="121"/>
                    </a:lnTo>
                    <a:lnTo>
                      <a:pt x="69" y="119"/>
                    </a:lnTo>
                    <a:lnTo>
                      <a:pt x="69" y="121"/>
                    </a:lnTo>
                    <a:lnTo>
                      <a:pt x="67" y="119"/>
                    </a:lnTo>
                    <a:lnTo>
                      <a:pt x="67" y="118"/>
                    </a:lnTo>
                    <a:lnTo>
                      <a:pt x="69" y="118"/>
                    </a:lnTo>
                    <a:lnTo>
                      <a:pt x="69" y="116"/>
                    </a:lnTo>
                    <a:lnTo>
                      <a:pt x="67" y="116"/>
                    </a:lnTo>
                    <a:lnTo>
                      <a:pt x="69" y="114"/>
                    </a:lnTo>
                    <a:lnTo>
                      <a:pt x="69" y="112"/>
                    </a:lnTo>
                    <a:lnTo>
                      <a:pt x="69" y="110"/>
                    </a:lnTo>
                    <a:lnTo>
                      <a:pt x="69" y="112"/>
                    </a:lnTo>
                    <a:lnTo>
                      <a:pt x="69" y="110"/>
                    </a:lnTo>
                    <a:lnTo>
                      <a:pt x="67" y="110"/>
                    </a:lnTo>
                    <a:lnTo>
                      <a:pt x="69" y="110"/>
                    </a:lnTo>
                    <a:lnTo>
                      <a:pt x="71" y="110"/>
                    </a:lnTo>
                    <a:lnTo>
                      <a:pt x="71" y="108"/>
                    </a:lnTo>
                    <a:lnTo>
                      <a:pt x="69" y="108"/>
                    </a:lnTo>
                    <a:lnTo>
                      <a:pt x="69" y="106"/>
                    </a:lnTo>
                    <a:lnTo>
                      <a:pt x="71" y="106"/>
                    </a:lnTo>
                    <a:lnTo>
                      <a:pt x="71" y="104"/>
                    </a:lnTo>
                    <a:lnTo>
                      <a:pt x="71" y="102"/>
                    </a:lnTo>
                    <a:lnTo>
                      <a:pt x="69" y="100"/>
                    </a:lnTo>
                    <a:lnTo>
                      <a:pt x="71" y="100"/>
                    </a:lnTo>
                    <a:lnTo>
                      <a:pt x="69" y="100"/>
                    </a:lnTo>
                    <a:lnTo>
                      <a:pt x="69" y="98"/>
                    </a:lnTo>
                    <a:lnTo>
                      <a:pt x="69" y="96"/>
                    </a:lnTo>
                    <a:lnTo>
                      <a:pt x="69" y="94"/>
                    </a:lnTo>
                    <a:lnTo>
                      <a:pt x="67" y="94"/>
                    </a:lnTo>
                    <a:lnTo>
                      <a:pt x="67" y="96"/>
                    </a:lnTo>
                    <a:lnTo>
                      <a:pt x="66" y="98"/>
                    </a:lnTo>
                    <a:lnTo>
                      <a:pt x="66" y="96"/>
                    </a:lnTo>
                    <a:lnTo>
                      <a:pt x="64" y="96"/>
                    </a:lnTo>
                    <a:lnTo>
                      <a:pt x="62" y="96"/>
                    </a:lnTo>
                    <a:lnTo>
                      <a:pt x="62" y="98"/>
                    </a:lnTo>
                    <a:lnTo>
                      <a:pt x="60" y="98"/>
                    </a:lnTo>
                    <a:lnTo>
                      <a:pt x="58" y="98"/>
                    </a:lnTo>
                    <a:lnTo>
                      <a:pt x="60" y="98"/>
                    </a:lnTo>
                    <a:lnTo>
                      <a:pt x="58" y="96"/>
                    </a:lnTo>
                    <a:lnTo>
                      <a:pt x="54" y="94"/>
                    </a:lnTo>
                    <a:lnTo>
                      <a:pt x="50" y="102"/>
                    </a:lnTo>
                    <a:lnTo>
                      <a:pt x="48" y="106"/>
                    </a:lnTo>
                    <a:lnTo>
                      <a:pt x="37" y="98"/>
                    </a:lnTo>
                    <a:lnTo>
                      <a:pt x="35" y="96"/>
                    </a:lnTo>
                    <a:lnTo>
                      <a:pt x="33" y="94"/>
                    </a:lnTo>
                    <a:lnTo>
                      <a:pt x="35" y="94"/>
                    </a:lnTo>
                    <a:lnTo>
                      <a:pt x="35" y="93"/>
                    </a:lnTo>
                    <a:lnTo>
                      <a:pt x="31" y="94"/>
                    </a:lnTo>
                    <a:lnTo>
                      <a:pt x="31" y="91"/>
                    </a:lnTo>
                    <a:lnTo>
                      <a:pt x="33" y="91"/>
                    </a:lnTo>
                    <a:lnTo>
                      <a:pt x="33" y="89"/>
                    </a:lnTo>
                    <a:lnTo>
                      <a:pt x="33" y="91"/>
                    </a:lnTo>
                    <a:lnTo>
                      <a:pt x="33" y="89"/>
                    </a:lnTo>
                    <a:lnTo>
                      <a:pt x="33" y="91"/>
                    </a:lnTo>
                    <a:lnTo>
                      <a:pt x="31" y="89"/>
                    </a:lnTo>
                    <a:lnTo>
                      <a:pt x="29" y="87"/>
                    </a:lnTo>
                    <a:lnTo>
                      <a:pt x="29" y="85"/>
                    </a:lnTo>
                    <a:lnTo>
                      <a:pt x="27" y="87"/>
                    </a:lnTo>
                    <a:lnTo>
                      <a:pt x="25" y="87"/>
                    </a:lnTo>
                    <a:lnTo>
                      <a:pt x="25" y="85"/>
                    </a:lnTo>
                    <a:lnTo>
                      <a:pt x="25" y="87"/>
                    </a:lnTo>
                    <a:lnTo>
                      <a:pt x="23" y="87"/>
                    </a:lnTo>
                    <a:lnTo>
                      <a:pt x="23" y="85"/>
                    </a:lnTo>
                    <a:lnTo>
                      <a:pt x="21" y="87"/>
                    </a:lnTo>
                    <a:lnTo>
                      <a:pt x="19" y="87"/>
                    </a:lnTo>
                    <a:lnTo>
                      <a:pt x="21" y="89"/>
                    </a:lnTo>
                    <a:lnTo>
                      <a:pt x="19" y="89"/>
                    </a:lnTo>
                    <a:lnTo>
                      <a:pt x="17" y="89"/>
                    </a:lnTo>
                    <a:lnTo>
                      <a:pt x="17" y="87"/>
                    </a:lnTo>
                    <a:lnTo>
                      <a:pt x="17" y="85"/>
                    </a:lnTo>
                    <a:lnTo>
                      <a:pt x="19" y="85"/>
                    </a:lnTo>
                    <a:lnTo>
                      <a:pt x="19" y="83"/>
                    </a:lnTo>
                    <a:lnTo>
                      <a:pt x="17" y="81"/>
                    </a:lnTo>
                    <a:lnTo>
                      <a:pt x="16" y="81"/>
                    </a:lnTo>
                    <a:lnTo>
                      <a:pt x="16" y="83"/>
                    </a:lnTo>
                    <a:lnTo>
                      <a:pt x="14" y="83"/>
                    </a:lnTo>
                    <a:lnTo>
                      <a:pt x="14" y="85"/>
                    </a:lnTo>
                    <a:lnTo>
                      <a:pt x="12" y="87"/>
                    </a:lnTo>
                    <a:lnTo>
                      <a:pt x="10" y="87"/>
                    </a:lnTo>
                    <a:lnTo>
                      <a:pt x="10" y="89"/>
                    </a:lnTo>
                    <a:lnTo>
                      <a:pt x="8" y="89"/>
                    </a:lnTo>
                    <a:lnTo>
                      <a:pt x="6" y="91"/>
                    </a:lnTo>
                    <a:lnTo>
                      <a:pt x="4" y="89"/>
                    </a:lnTo>
                    <a:lnTo>
                      <a:pt x="4" y="87"/>
                    </a:lnTo>
                    <a:lnTo>
                      <a:pt x="2" y="87"/>
                    </a:lnTo>
                    <a:lnTo>
                      <a:pt x="2" y="89"/>
                    </a:lnTo>
                    <a:lnTo>
                      <a:pt x="0" y="89"/>
                    </a:lnTo>
                    <a:lnTo>
                      <a:pt x="0" y="91"/>
                    </a:lnTo>
                    <a:lnTo>
                      <a:pt x="0" y="89"/>
                    </a:lnTo>
                    <a:lnTo>
                      <a:pt x="0" y="87"/>
                    </a:lnTo>
                    <a:lnTo>
                      <a:pt x="0" y="85"/>
                    </a:lnTo>
                    <a:lnTo>
                      <a:pt x="2" y="83"/>
                    </a:lnTo>
                    <a:lnTo>
                      <a:pt x="2" y="81"/>
                    </a:lnTo>
                    <a:lnTo>
                      <a:pt x="2" y="79"/>
                    </a:lnTo>
                    <a:lnTo>
                      <a:pt x="4" y="79"/>
                    </a:lnTo>
                    <a:lnTo>
                      <a:pt x="2" y="79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4" y="75"/>
                    </a:lnTo>
                    <a:lnTo>
                      <a:pt x="6" y="75"/>
                    </a:lnTo>
                    <a:lnTo>
                      <a:pt x="8" y="75"/>
                    </a:lnTo>
                    <a:lnTo>
                      <a:pt x="8" y="73"/>
                    </a:lnTo>
                    <a:lnTo>
                      <a:pt x="8" y="71"/>
                    </a:lnTo>
                    <a:lnTo>
                      <a:pt x="10" y="71"/>
                    </a:lnTo>
                    <a:lnTo>
                      <a:pt x="10" y="69"/>
                    </a:lnTo>
                    <a:lnTo>
                      <a:pt x="12" y="69"/>
                    </a:lnTo>
                    <a:lnTo>
                      <a:pt x="12" y="68"/>
                    </a:lnTo>
                    <a:lnTo>
                      <a:pt x="12" y="66"/>
                    </a:lnTo>
                    <a:lnTo>
                      <a:pt x="12" y="68"/>
                    </a:lnTo>
                    <a:lnTo>
                      <a:pt x="14" y="68"/>
                    </a:lnTo>
                    <a:lnTo>
                      <a:pt x="14" y="69"/>
                    </a:lnTo>
                    <a:lnTo>
                      <a:pt x="16" y="71"/>
                    </a:lnTo>
                    <a:lnTo>
                      <a:pt x="16" y="73"/>
                    </a:lnTo>
                    <a:lnTo>
                      <a:pt x="17" y="73"/>
                    </a:lnTo>
                    <a:lnTo>
                      <a:pt x="17" y="71"/>
                    </a:lnTo>
                    <a:lnTo>
                      <a:pt x="19" y="71"/>
                    </a:lnTo>
                    <a:lnTo>
                      <a:pt x="19" y="73"/>
                    </a:lnTo>
                    <a:lnTo>
                      <a:pt x="19" y="75"/>
                    </a:lnTo>
                    <a:lnTo>
                      <a:pt x="19" y="77"/>
                    </a:lnTo>
                    <a:lnTo>
                      <a:pt x="21" y="75"/>
                    </a:lnTo>
                    <a:lnTo>
                      <a:pt x="19" y="73"/>
                    </a:lnTo>
                    <a:lnTo>
                      <a:pt x="21" y="73"/>
                    </a:lnTo>
                    <a:lnTo>
                      <a:pt x="21" y="71"/>
                    </a:lnTo>
                    <a:lnTo>
                      <a:pt x="23" y="71"/>
                    </a:lnTo>
                    <a:lnTo>
                      <a:pt x="21" y="77"/>
                    </a:lnTo>
                    <a:lnTo>
                      <a:pt x="21" y="79"/>
                    </a:lnTo>
                    <a:lnTo>
                      <a:pt x="23" y="77"/>
                    </a:lnTo>
                    <a:lnTo>
                      <a:pt x="23" y="75"/>
                    </a:lnTo>
                    <a:lnTo>
                      <a:pt x="23" y="73"/>
                    </a:lnTo>
                    <a:lnTo>
                      <a:pt x="23" y="71"/>
                    </a:lnTo>
                    <a:lnTo>
                      <a:pt x="25" y="69"/>
                    </a:lnTo>
                    <a:lnTo>
                      <a:pt x="25" y="68"/>
                    </a:lnTo>
                    <a:lnTo>
                      <a:pt x="27" y="68"/>
                    </a:lnTo>
                    <a:lnTo>
                      <a:pt x="27" y="69"/>
                    </a:lnTo>
                    <a:lnTo>
                      <a:pt x="29" y="69"/>
                    </a:lnTo>
                    <a:lnTo>
                      <a:pt x="27" y="71"/>
                    </a:lnTo>
                    <a:lnTo>
                      <a:pt x="29" y="71"/>
                    </a:lnTo>
                    <a:lnTo>
                      <a:pt x="31" y="71"/>
                    </a:lnTo>
                    <a:lnTo>
                      <a:pt x="33" y="71"/>
                    </a:lnTo>
                    <a:lnTo>
                      <a:pt x="33" y="69"/>
                    </a:lnTo>
                    <a:lnTo>
                      <a:pt x="35" y="69"/>
                    </a:lnTo>
                    <a:lnTo>
                      <a:pt x="35" y="68"/>
                    </a:lnTo>
                    <a:lnTo>
                      <a:pt x="35" y="66"/>
                    </a:lnTo>
                    <a:lnTo>
                      <a:pt x="35" y="64"/>
                    </a:lnTo>
                    <a:lnTo>
                      <a:pt x="33" y="66"/>
                    </a:lnTo>
                    <a:lnTo>
                      <a:pt x="33" y="64"/>
                    </a:lnTo>
                    <a:lnTo>
                      <a:pt x="33" y="62"/>
                    </a:lnTo>
                    <a:lnTo>
                      <a:pt x="35" y="62"/>
                    </a:lnTo>
                    <a:lnTo>
                      <a:pt x="37" y="62"/>
                    </a:lnTo>
                    <a:lnTo>
                      <a:pt x="37" y="64"/>
                    </a:lnTo>
                    <a:lnTo>
                      <a:pt x="37" y="62"/>
                    </a:lnTo>
                    <a:lnTo>
                      <a:pt x="37" y="64"/>
                    </a:lnTo>
                    <a:lnTo>
                      <a:pt x="37" y="62"/>
                    </a:lnTo>
                    <a:lnTo>
                      <a:pt x="39" y="62"/>
                    </a:lnTo>
                    <a:lnTo>
                      <a:pt x="39" y="64"/>
                    </a:lnTo>
                    <a:lnTo>
                      <a:pt x="39" y="66"/>
                    </a:lnTo>
                    <a:lnTo>
                      <a:pt x="39" y="64"/>
                    </a:lnTo>
                    <a:lnTo>
                      <a:pt x="39" y="62"/>
                    </a:lnTo>
                    <a:lnTo>
                      <a:pt x="41" y="62"/>
                    </a:lnTo>
                    <a:lnTo>
                      <a:pt x="41" y="60"/>
                    </a:lnTo>
                    <a:lnTo>
                      <a:pt x="42" y="56"/>
                    </a:lnTo>
                    <a:lnTo>
                      <a:pt x="41" y="54"/>
                    </a:lnTo>
                    <a:lnTo>
                      <a:pt x="42" y="54"/>
                    </a:lnTo>
                    <a:lnTo>
                      <a:pt x="42" y="52"/>
                    </a:lnTo>
                    <a:lnTo>
                      <a:pt x="42" y="50"/>
                    </a:lnTo>
                    <a:lnTo>
                      <a:pt x="41" y="48"/>
                    </a:lnTo>
                    <a:lnTo>
                      <a:pt x="39" y="48"/>
                    </a:lnTo>
                    <a:lnTo>
                      <a:pt x="39" y="50"/>
                    </a:lnTo>
                    <a:lnTo>
                      <a:pt x="39" y="52"/>
                    </a:lnTo>
                    <a:lnTo>
                      <a:pt x="37" y="52"/>
                    </a:lnTo>
                    <a:lnTo>
                      <a:pt x="39" y="50"/>
                    </a:lnTo>
                    <a:lnTo>
                      <a:pt x="37" y="50"/>
                    </a:lnTo>
                    <a:lnTo>
                      <a:pt x="37" y="48"/>
                    </a:lnTo>
                    <a:lnTo>
                      <a:pt x="35" y="48"/>
                    </a:lnTo>
                    <a:lnTo>
                      <a:pt x="35" y="50"/>
                    </a:lnTo>
                    <a:lnTo>
                      <a:pt x="33" y="50"/>
                    </a:lnTo>
                    <a:lnTo>
                      <a:pt x="31" y="52"/>
                    </a:lnTo>
                    <a:lnTo>
                      <a:pt x="31" y="50"/>
                    </a:lnTo>
                    <a:lnTo>
                      <a:pt x="33" y="48"/>
                    </a:lnTo>
                    <a:lnTo>
                      <a:pt x="33" y="46"/>
                    </a:lnTo>
                    <a:lnTo>
                      <a:pt x="33" y="44"/>
                    </a:lnTo>
                    <a:lnTo>
                      <a:pt x="35" y="44"/>
                    </a:lnTo>
                    <a:lnTo>
                      <a:pt x="35" y="43"/>
                    </a:lnTo>
                    <a:lnTo>
                      <a:pt x="33" y="43"/>
                    </a:lnTo>
                    <a:lnTo>
                      <a:pt x="35" y="43"/>
                    </a:lnTo>
                    <a:lnTo>
                      <a:pt x="37" y="43"/>
                    </a:lnTo>
                    <a:lnTo>
                      <a:pt x="35" y="43"/>
                    </a:lnTo>
                    <a:lnTo>
                      <a:pt x="37" y="43"/>
                    </a:lnTo>
                    <a:lnTo>
                      <a:pt x="37" y="44"/>
                    </a:lnTo>
                    <a:lnTo>
                      <a:pt x="39" y="44"/>
                    </a:lnTo>
                    <a:lnTo>
                      <a:pt x="41" y="44"/>
                    </a:lnTo>
                    <a:lnTo>
                      <a:pt x="41" y="43"/>
                    </a:lnTo>
                    <a:lnTo>
                      <a:pt x="42" y="43"/>
                    </a:lnTo>
                    <a:lnTo>
                      <a:pt x="44" y="43"/>
                    </a:lnTo>
                    <a:lnTo>
                      <a:pt x="44" y="41"/>
                    </a:lnTo>
                    <a:lnTo>
                      <a:pt x="46" y="41"/>
                    </a:lnTo>
                    <a:lnTo>
                      <a:pt x="46" y="39"/>
                    </a:lnTo>
                    <a:lnTo>
                      <a:pt x="46" y="41"/>
                    </a:lnTo>
                    <a:lnTo>
                      <a:pt x="46" y="39"/>
                    </a:lnTo>
                    <a:lnTo>
                      <a:pt x="48" y="39"/>
                    </a:lnTo>
                    <a:lnTo>
                      <a:pt x="48" y="37"/>
                    </a:lnTo>
                    <a:lnTo>
                      <a:pt x="50" y="37"/>
                    </a:lnTo>
                    <a:lnTo>
                      <a:pt x="52" y="39"/>
                    </a:lnTo>
                    <a:lnTo>
                      <a:pt x="50" y="39"/>
                    </a:lnTo>
                    <a:lnTo>
                      <a:pt x="52" y="39"/>
                    </a:lnTo>
                    <a:lnTo>
                      <a:pt x="54" y="39"/>
                    </a:lnTo>
                    <a:lnTo>
                      <a:pt x="54" y="37"/>
                    </a:lnTo>
                    <a:lnTo>
                      <a:pt x="56" y="37"/>
                    </a:lnTo>
                    <a:lnTo>
                      <a:pt x="54" y="37"/>
                    </a:lnTo>
                    <a:lnTo>
                      <a:pt x="54" y="35"/>
                    </a:lnTo>
                    <a:lnTo>
                      <a:pt x="54" y="33"/>
                    </a:lnTo>
                    <a:lnTo>
                      <a:pt x="56" y="33"/>
                    </a:lnTo>
                    <a:lnTo>
                      <a:pt x="54" y="33"/>
                    </a:lnTo>
                    <a:lnTo>
                      <a:pt x="52" y="33"/>
                    </a:lnTo>
                    <a:lnTo>
                      <a:pt x="54" y="31"/>
                    </a:lnTo>
                    <a:lnTo>
                      <a:pt x="56" y="29"/>
                    </a:lnTo>
                    <a:lnTo>
                      <a:pt x="56" y="31"/>
                    </a:lnTo>
                    <a:lnTo>
                      <a:pt x="58" y="29"/>
                    </a:lnTo>
                    <a:lnTo>
                      <a:pt x="58" y="27"/>
                    </a:lnTo>
                    <a:lnTo>
                      <a:pt x="58" y="29"/>
                    </a:lnTo>
                    <a:lnTo>
                      <a:pt x="58" y="31"/>
                    </a:lnTo>
                    <a:lnTo>
                      <a:pt x="58" y="29"/>
                    </a:lnTo>
                    <a:lnTo>
                      <a:pt x="60" y="29"/>
                    </a:lnTo>
                    <a:lnTo>
                      <a:pt x="62" y="31"/>
                    </a:lnTo>
                    <a:lnTo>
                      <a:pt x="62" y="29"/>
                    </a:lnTo>
                    <a:lnTo>
                      <a:pt x="64" y="29"/>
                    </a:lnTo>
                    <a:lnTo>
                      <a:pt x="64" y="27"/>
                    </a:lnTo>
                    <a:lnTo>
                      <a:pt x="66" y="27"/>
                    </a:lnTo>
                    <a:lnTo>
                      <a:pt x="66" y="25"/>
                    </a:lnTo>
                    <a:lnTo>
                      <a:pt x="67" y="25"/>
                    </a:lnTo>
                    <a:lnTo>
                      <a:pt x="67" y="27"/>
                    </a:lnTo>
                    <a:lnTo>
                      <a:pt x="69" y="27"/>
                    </a:lnTo>
                    <a:lnTo>
                      <a:pt x="71" y="27"/>
                    </a:lnTo>
                    <a:lnTo>
                      <a:pt x="71" y="25"/>
                    </a:lnTo>
                    <a:lnTo>
                      <a:pt x="71" y="23"/>
                    </a:lnTo>
                    <a:lnTo>
                      <a:pt x="71" y="21"/>
                    </a:lnTo>
                    <a:lnTo>
                      <a:pt x="73" y="21"/>
                    </a:lnTo>
                    <a:lnTo>
                      <a:pt x="75" y="19"/>
                    </a:lnTo>
                    <a:lnTo>
                      <a:pt x="77" y="19"/>
                    </a:lnTo>
                    <a:lnTo>
                      <a:pt x="77" y="21"/>
                    </a:lnTo>
                    <a:lnTo>
                      <a:pt x="79" y="19"/>
                    </a:lnTo>
                    <a:lnTo>
                      <a:pt x="81" y="21"/>
                    </a:lnTo>
                    <a:lnTo>
                      <a:pt x="83" y="21"/>
                    </a:lnTo>
                    <a:lnTo>
                      <a:pt x="85" y="21"/>
                    </a:lnTo>
                    <a:lnTo>
                      <a:pt x="85" y="19"/>
                    </a:lnTo>
                    <a:lnTo>
                      <a:pt x="87" y="19"/>
                    </a:lnTo>
                    <a:lnTo>
                      <a:pt x="87" y="18"/>
                    </a:lnTo>
                    <a:lnTo>
                      <a:pt x="85" y="18"/>
                    </a:lnTo>
                    <a:lnTo>
                      <a:pt x="85" y="16"/>
                    </a:lnTo>
                    <a:lnTo>
                      <a:pt x="87" y="16"/>
                    </a:lnTo>
                    <a:lnTo>
                      <a:pt x="89" y="14"/>
                    </a:lnTo>
                    <a:lnTo>
                      <a:pt x="89" y="16"/>
                    </a:lnTo>
                    <a:lnTo>
                      <a:pt x="89" y="18"/>
                    </a:lnTo>
                    <a:lnTo>
                      <a:pt x="89" y="16"/>
                    </a:lnTo>
                    <a:lnTo>
                      <a:pt x="90" y="18"/>
                    </a:lnTo>
                    <a:lnTo>
                      <a:pt x="92" y="16"/>
                    </a:lnTo>
                    <a:lnTo>
                      <a:pt x="92" y="14"/>
                    </a:lnTo>
                    <a:lnTo>
                      <a:pt x="94" y="14"/>
                    </a:lnTo>
                    <a:lnTo>
                      <a:pt x="96" y="14"/>
                    </a:lnTo>
                    <a:lnTo>
                      <a:pt x="98" y="12"/>
                    </a:lnTo>
                    <a:lnTo>
                      <a:pt x="98" y="14"/>
                    </a:lnTo>
                    <a:lnTo>
                      <a:pt x="100" y="12"/>
                    </a:lnTo>
                    <a:lnTo>
                      <a:pt x="102" y="12"/>
                    </a:lnTo>
                    <a:lnTo>
                      <a:pt x="102" y="10"/>
                    </a:lnTo>
                    <a:lnTo>
                      <a:pt x="100" y="10"/>
                    </a:lnTo>
                    <a:lnTo>
                      <a:pt x="100" y="8"/>
                    </a:lnTo>
                    <a:lnTo>
                      <a:pt x="100" y="6"/>
                    </a:lnTo>
                    <a:lnTo>
                      <a:pt x="102" y="6"/>
                    </a:lnTo>
                    <a:lnTo>
                      <a:pt x="104" y="6"/>
                    </a:lnTo>
                    <a:lnTo>
                      <a:pt x="106" y="4"/>
                    </a:lnTo>
                    <a:lnTo>
                      <a:pt x="106" y="2"/>
                    </a:lnTo>
                    <a:lnTo>
                      <a:pt x="108" y="2"/>
                    </a:lnTo>
                    <a:lnTo>
                      <a:pt x="106" y="4"/>
                    </a:lnTo>
                    <a:lnTo>
                      <a:pt x="108" y="4"/>
                    </a:lnTo>
                    <a:lnTo>
                      <a:pt x="108" y="2"/>
                    </a:lnTo>
                    <a:lnTo>
                      <a:pt x="110" y="2"/>
                    </a:lnTo>
                    <a:lnTo>
                      <a:pt x="110" y="4"/>
                    </a:lnTo>
                    <a:lnTo>
                      <a:pt x="112" y="4"/>
                    </a:lnTo>
                    <a:lnTo>
                      <a:pt x="112" y="2"/>
                    </a:lnTo>
                    <a:lnTo>
                      <a:pt x="112" y="4"/>
                    </a:lnTo>
                    <a:lnTo>
                      <a:pt x="112" y="6"/>
                    </a:lnTo>
                    <a:lnTo>
                      <a:pt x="114" y="6"/>
                    </a:lnTo>
                    <a:lnTo>
                      <a:pt x="114" y="8"/>
                    </a:lnTo>
                    <a:lnTo>
                      <a:pt x="115" y="8"/>
                    </a:lnTo>
                    <a:lnTo>
                      <a:pt x="115" y="6"/>
                    </a:lnTo>
                    <a:lnTo>
                      <a:pt x="115" y="8"/>
                    </a:lnTo>
                    <a:lnTo>
                      <a:pt x="117" y="8"/>
                    </a:lnTo>
                    <a:lnTo>
                      <a:pt x="117" y="6"/>
                    </a:lnTo>
                    <a:lnTo>
                      <a:pt x="117" y="4"/>
                    </a:lnTo>
                    <a:lnTo>
                      <a:pt x="119" y="4"/>
                    </a:lnTo>
                    <a:lnTo>
                      <a:pt x="117" y="4"/>
                    </a:lnTo>
                    <a:lnTo>
                      <a:pt x="119" y="4"/>
                    </a:lnTo>
                    <a:lnTo>
                      <a:pt x="119" y="2"/>
                    </a:lnTo>
                    <a:lnTo>
                      <a:pt x="121" y="2"/>
                    </a:lnTo>
                    <a:lnTo>
                      <a:pt x="121" y="0"/>
                    </a:lnTo>
                    <a:lnTo>
                      <a:pt x="123" y="0"/>
                    </a:lnTo>
                    <a:lnTo>
                      <a:pt x="123" y="2"/>
                    </a:lnTo>
                    <a:lnTo>
                      <a:pt x="121" y="2"/>
                    </a:lnTo>
                    <a:lnTo>
                      <a:pt x="121" y="4"/>
                    </a:lnTo>
                    <a:lnTo>
                      <a:pt x="123" y="4"/>
                    </a:lnTo>
                    <a:lnTo>
                      <a:pt x="125" y="4"/>
                    </a:lnTo>
                    <a:lnTo>
                      <a:pt x="125" y="2"/>
                    </a:lnTo>
                    <a:lnTo>
                      <a:pt x="127" y="0"/>
                    </a:lnTo>
                    <a:lnTo>
                      <a:pt x="127" y="2"/>
                    </a:lnTo>
                    <a:lnTo>
                      <a:pt x="127" y="0"/>
                    </a:lnTo>
                    <a:lnTo>
                      <a:pt x="129" y="0"/>
                    </a:lnTo>
                    <a:lnTo>
                      <a:pt x="129" y="2"/>
                    </a:lnTo>
                    <a:lnTo>
                      <a:pt x="131" y="2"/>
                    </a:lnTo>
                    <a:lnTo>
                      <a:pt x="133" y="2"/>
                    </a:lnTo>
                    <a:lnTo>
                      <a:pt x="133" y="4"/>
                    </a:lnTo>
                    <a:lnTo>
                      <a:pt x="133" y="6"/>
                    </a:lnTo>
                    <a:lnTo>
                      <a:pt x="131" y="6"/>
                    </a:lnTo>
                    <a:lnTo>
                      <a:pt x="131" y="8"/>
                    </a:lnTo>
                    <a:lnTo>
                      <a:pt x="133" y="10"/>
                    </a:lnTo>
                    <a:lnTo>
                      <a:pt x="133" y="8"/>
                    </a:lnTo>
                    <a:lnTo>
                      <a:pt x="135" y="10"/>
                    </a:lnTo>
                    <a:lnTo>
                      <a:pt x="135" y="8"/>
                    </a:lnTo>
                    <a:lnTo>
                      <a:pt x="137" y="6"/>
                    </a:lnTo>
                    <a:lnTo>
                      <a:pt x="139" y="8"/>
                    </a:lnTo>
                    <a:lnTo>
                      <a:pt x="137" y="8"/>
                    </a:lnTo>
                    <a:lnTo>
                      <a:pt x="137" y="10"/>
                    </a:lnTo>
                    <a:lnTo>
                      <a:pt x="135" y="8"/>
                    </a:lnTo>
                    <a:lnTo>
                      <a:pt x="135" y="10"/>
                    </a:lnTo>
                    <a:lnTo>
                      <a:pt x="135" y="12"/>
                    </a:lnTo>
                    <a:lnTo>
                      <a:pt x="137" y="10"/>
                    </a:lnTo>
                    <a:lnTo>
                      <a:pt x="139" y="10"/>
                    </a:lnTo>
                    <a:lnTo>
                      <a:pt x="139" y="8"/>
                    </a:lnTo>
                    <a:lnTo>
                      <a:pt x="140" y="8"/>
                    </a:lnTo>
                    <a:lnTo>
                      <a:pt x="142" y="8"/>
                    </a:lnTo>
                    <a:lnTo>
                      <a:pt x="144" y="8"/>
                    </a:lnTo>
                    <a:lnTo>
                      <a:pt x="146" y="8"/>
                    </a:lnTo>
                    <a:lnTo>
                      <a:pt x="146" y="6"/>
                    </a:lnTo>
                    <a:lnTo>
                      <a:pt x="146" y="4"/>
                    </a:lnTo>
                    <a:lnTo>
                      <a:pt x="142" y="2"/>
                    </a:lnTo>
                    <a:lnTo>
                      <a:pt x="144" y="0"/>
                    </a:lnTo>
                    <a:lnTo>
                      <a:pt x="144" y="2"/>
                    </a:lnTo>
                    <a:lnTo>
                      <a:pt x="146" y="2"/>
                    </a:lnTo>
                    <a:lnTo>
                      <a:pt x="148" y="2"/>
                    </a:lnTo>
                    <a:lnTo>
                      <a:pt x="148" y="0"/>
                    </a:lnTo>
                    <a:lnTo>
                      <a:pt x="150" y="2"/>
                    </a:lnTo>
                    <a:lnTo>
                      <a:pt x="150" y="4"/>
                    </a:lnTo>
                    <a:lnTo>
                      <a:pt x="152" y="4"/>
                    </a:lnTo>
                    <a:lnTo>
                      <a:pt x="152" y="2"/>
                    </a:lnTo>
                    <a:lnTo>
                      <a:pt x="152" y="0"/>
                    </a:lnTo>
                    <a:lnTo>
                      <a:pt x="154" y="0"/>
                    </a:lnTo>
                    <a:lnTo>
                      <a:pt x="154" y="2"/>
                    </a:lnTo>
                    <a:lnTo>
                      <a:pt x="154" y="4"/>
                    </a:lnTo>
                    <a:lnTo>
                      <a:pt x="154" y="6"/>
                    </a:lnTo>
                    <a:lnTo>
                      <a:pt x="154" y="8"/>
                    </a:lnTo>
                    <a:lnTo>
                      <a:pt x="152" y="8"/>
                    </a:lnTo>
                    <a:lnTo>
                      <a:pt x="154" y="8"/>
                    </a:lnTo>
                    <a:lnTo>
                      <a:pt x="156" y="6"/>
                    </a:lnTo>
                    <a:lnTo>
                      <a:pt x="156" y="8"/>
                    </a:lnTo>
                    <a:lnTo>
                      <a:pt x="154" y="10"/>
                    </a:lnTo>
                    <a:lnTo>
                      <a:pt x="152" y="10"/>
                    </a:lnTo>
                    <a:lnTo>
                      <a:pt x="152" y="12"/>
                    </a:lnTo>
                    <a:lnTo>
                      <a:pt x="154" y="12"/>
                    </a:lnTo>
                    <a:lnTo>
                      <a:pt x="152" y="12"/>
                    </a:lnTo>
                    <a:lnTo>
                      <a:pt x="154" y="12"/>
                    </a:lnTo>
                    <a:lnTo>
                      <a:pt x="154" y="14"/>
                    </a:lnTo>
                    <a:lnTo>
                      <a:pt x="154" y="16"/>
                    </a:lnTo>
                    <a:lnTo>
                      <a:pt x="154" y="14"/>
                    </a:lnTo>
                    <a:lnTo>
                      <a:pt x="154" y="16"/>
                    </a:lnTo>
                    <a:lnTo>
                      <a:pt x="152" y="16"/>
                    </a:lnTo>
                    <a:lnTo>
                      <a:pt x="152" y="18"/>
                    </a:lnTo>
                    <a:lnTo>
                      <a:pt x="152" y="19"/>
                    </a:lnTo>
                    <a:lnTo>
                      <a:pt x="152" y="21"/>
                    </a:lnTo>
                    <a:lnTo>
                      <a:pt x="152" y="23"/>
                    </a:lnTo>
                    <a:lnTo>
                      <a:pt x="154" y="21"/>
                    </a:lnTo>
                    <a:lnTo>
                      <a:pt x="154" y="23"/>
                    </a:lnTo>
                    <a:lnTo>
                      <a:pt x="152" y="23"/>
                    </a:lnTo>
                    <a:lnTo>
                      <a:pt x="150" y="25"/>
                    </a:lnTo>
                    <a:lnTo>
                      <a:pt x="152" y="25"/>
                    </a:lnTo>
                    <a:lnTo>
                      <a:pt x="152" y="27"/>
                    </a:lnTo>
                    <a:lnTo>
                      <a:pt x="154" y="27"/>
                    </a:lnTo>
                    <a:lnTo>
                      <a:pt x="156" y="29"/>
                    </a:lnTo>
                    <a:lnTo>
                      <a:pt x="158" y="29"/>
                    </a:lnTo>
                    <a:lnTo>
                      <a:pt x="158" y="27"/>
                    </a:lnTo>
                    <a:lnTo>
                      <a:pt x="158" y="23"/>
                    </a:lnTo>
                    <a:lnTo>
                      <a:pt x="158" y="25"/>
                    </a:lnTo>
                    <a:lnTo>
                      <a:pt x="160" y="25"/>
                    </a:lnTo>
                    <a:lnTo>
                      <a:pt x="160" y="27"/>
                    </a:lnTo>
                    <a:lnTo>
                      <a:pt x="160" y="29"/>
                    </a:lnTo>
                    <a:lnTo>
                      <a:pt x="160" y="31"/>
                    </a:lnTo>
                    <a:lnTo>
                      <a:pt x="160" y="33"/>
                    </a:lnTo>
                    <a:lnTo>
                      <a:pt x="158" y="35"/>
                    </a:lnTo>
                    <a:lnTo>
                      <a:pt x="156" y="35"/>
                    </a:lnTo>
                    <a:lnTo>
                      <a:pt x="156" y="37"/>
                    </a:lnTo>
                    <a:lnTo>
                      <a:pt x="156" y="39"/>
                    </a:lnTo>
                    <a:lnTo>
                      <a:pt x="158" y="39"/>
                    </a:lnTo>
                    <a:lnTo>
                      <a:pt x="158" y="41"/>
                    </a:lnTo>
                    <a:lnTo>
                      <a:pt x="160" y="41"/>
                    </a:lnTo>
                    <a:lnTo>
                      <a:pt x="158" y="41"/>
                    </a:lnTo>
                    <a:lnTo>
                      <a:pt x="158" y="43"/>
                    </a:lnTo>
                    <a:lnTo>
                      <a:pt x="158" y="44"/>
                    </a:lnTo>
                    <a:lnTo>
                      <a:pt x="160" y="44"/>
                    </a:lnTo>
                    <a:lnTo>
                      <a:pt x="158" y="46"/>
                    </a:lnTo>
                    <a:lnTo>
                      <a:pt x="160" y="46"/>
                    </a:lnTo>
                    <a:lnTo>
                      <a:pt x="160" y="44"/>
                    </a:lnTo>
                    <a:lnTo>
                      <a:pt x="160" y="46"/>
                    </a:lnTo>
                    <a:lnTo>
                      <a:pt x="162" y="46"/>
                    </a:lnTo>
                    <a:lnTo>
                      <a:pt x="163" y="48"/>
                    </a:lnTo>
                    <a:lnTo>
                      <a:pt x="162" y="48"/>
                    </a:lnTo>
                    <a:lnTo>
                      <a:pt x="162" y="50"/>
                    </a:lnTo>
                    <a:lnTo>
                      <a:pt x="163" y="50"/>
                    </a:lnTo>
                    <a:lnTo>
                      <a:pt x="165" y="52"/>
                    </a:lnTo>
                    <a:lnTo>
                      <a:pt x="163" y="52"/>
                    </a:lnTo>
                    <a:lnTo>
                      <a:pt x="165" y="52"/>
                    </a:lnTo>
                    <a:lnTo>
                      <a:pt x="167" y="52"/>
                    </a:lnTo>
                    <a:lnTo>
                      <a:pt x="167" y="50"/>
                    </a:lnTo>
                    <a:lnTo>
                      <a:pt x="169" y="50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Freeform 111">
                <a:extLst>
                  <a:ext uri="{FF2B5EF4-FFF2-40B4-BE49-F238E27FC236}">
                    <a16:creationId xmlns="" xmlns:a16="http://schemas.microsoft.com/office/drawing/2014/main" id="{1BF1F28F-56CA-49D9-ACF4-80A080CD36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8975" y="4552951"/>
                <a:ext cx="592138" cy="436563"/>
              </a:xfrm>
              <a:custGeom>
                <a:avLst/>
                <a:gdLst>
                  <a:gd name="T0" fmla="*/ 357 w 373"/>
                  <a:gd name="T1" fmla="*/ 60 h 275"/>
                  <a:gd name="T2" fmla="*/ 357 w 373"/>
                  <a:gd name="T3" fmla="*/ 81 h 275"/>
                  <a:gd name="T4" fmla="*/ 353 w 373"/>
                  <a:gd name="T5" fmla="*/ 100 h 275"/>
                  <a:gd name="T6" fmla="*/ 361 w 373"/>
                  <a:gd name="T7" fmla="*/ 108 h 275"/>
                  <a:gd name="T8" fmla="*/ 357 w 373"/>
                  <a:gd name="T9" fmla="*/ 127 h 275"/>
                  <a:gd name="T10" fmla="*/ 342 w 373"/>
                  <a:gd name="T11" fmla="*/ 142 h 275"/>
                  <a:gd name="T12" fmla="*/ 334 w 373"/>
                  <a:gd name="T13" fmla="*/ 156 h 275"/>
                  <a:gd name="T14" fmla="*/ 330 w 373"/>
                  <a:gd name="T15" fmla="*/ 171 h 275"/>
                  <a:gd name="T16" fmla="*/ 326 w 373"/>
                  <a:gd name="T17" fmla="*/ 190 h 275"/>
                  <a:gd name="T18" fmla="*/ 332 w 373"/>
                  <a:gd name="T19" fmla="*/ 206 h 275"/>
                  <a:gd name="T20" fmla="*/ 344 w 373"/>
                  <a:gd name="T21" fmla="*/ 221 h 275"/>
                  <a:gd name="T22" fmla="*/ 342 w 373"/>
                  <a:gd name="T23" fmla="*/ 240 h 275"/>
                  <a:gd name="T24" fmla="*/ 330 w 373"/>
                  <a:gd name="T25" fmla="*/ 260 h 275"/>
                  <a:gd name="T26" fmla="*/ 317 w 373"/>
                  <a:gd name="T27" fmla="*/ 263 h 275"/>
                  <a:gd name="T28" fmla="*/ 301 w 373"/>
                  <a:gd name="T29" fmla="*/ 273 h 275"/>
                  <a:gd name="T30" fmla="*/ 286 w 373"/>
                  <a:gd name="T31" fmla="*/ 265 h 275"/>
                  <a:gd name="T32" fmla="*/ 273 w 373"/>
                  <a:gd name="T33" fmla="*/ 262 h 275"/>
                  <a:gd name="T34" fmla="*/ 255 w 373"/>
                  <a:gd name="T35" fmla="*/ 256 h 275"/>
                  <a:gd name="T36" fmla="*/ 230 w 373"/>
                  <a:gd name="T37" fmla="*/ 262 h 275"/>
                  <a:gd name="T38" fmla="*/ 207 w 373"/>
                  <a:gd name="T39" fmla="*/ 250 h 275"/>
                  <a:gd name="T40" fmla="*/ 196 w 373"/>
                  <a:gd name="T41" fmla="*/ 217 h 275"/>
                  <a:gd name="T42" fmla="*/ 171 w 373"/>
                  <a:gd name="T43" fmla="*/ 217 h 275"/>
                  <a:gd name="T44" fmla="*/ 153 w 373"/>
                  <a:gd name="T45" fmla="*/ 217 h 275"/>
                  <a:gd name="T46" fmla="*/ 142 w 373"/>
                  <a:gd name="T47" fmla="*/ 206 h 275"/>
                  <a:gd name="T48" fmla="*/ 129 w 373"/>
                  <a:gd name="T49" fmla="*/ 196 h 275"/>
                  <a:gd name="T50" fmla="*/ 115 w 373"/>
                  <a:gd name="T51" fmla="*/ 208 h 275"/>
                  <a:gd name="T52" fmla="*/ 92 w 373"/>
                  <a:gd name="T53" fmla="*/ 223 h 275"/>
                  <a:gd name="T54" fmla="*/ 75 w 373"/>
                  <a:gd name="T55" fmla="*/ 227 h 275"/>
                  <a:gd name="T56" fmla="*/ 61 w 373"/>
                  <a:gd name="T57" fmla="*/ 240 h 275"/>
                  <a:gd name="T58" fmla="*/ 40 w 373"/>
                  <a:gd name="T59" fmla="*/ 250 h 275"/>
                  <a:gd name="T60" fmla="*/ 27 w 373"/>
                  <a:gd name="T61" fmla="*/ 258 h 275"/>
                  <a:gd name="T62" fmla="*/ 21 w 373"/>
                  <a:gd name="T63" fmla="*/ 240 h 275"/>
                  <a:gd name="T64" fmla="*/ 21 w 373"/>
                  <a:gd name="T65" fmla="*/ 223 h 275"/>
                  <a:gd name="T66" fmla="*/ 32 w 373"/>
                  <a:gd name="T67" fmla="*/ 215 h 275"/>
                  <a:gd name="T68" fmla="*/ 17 w 373"/>
                  <a:gd name="T69" fmla="*/ 192 h 275"/>
                  <a:gd name="T70" fmla="*/ 7 w 373"/>
                  <a:gd name="T71" fmla="*/ 175 h 275"/>
                  <a:gd name="T72" fmla="*/ 2 w 373"/>
                  <a:gd name="T73" fmla="*/ 146 h 275"/>
                  <a:gd name="T74" fmla="*/ 15 w 373"/>
                  <a:gd name="T75" fmla="*/ 137 h 275"/>
                  <a:gd name="T76" fmla="*/ 29 w 373"/>
                  <a:gd name="T77" fmla="*/ 146 h 275"/>
                  <a:gd name="T78" fmla="*/ 48 w 373"/>
                  <a:gd name="T79" fmla="*/ 133 h 275"/>
                  <a:gd name="T80" fmla="*/ 52 w 373"/>
                  <a:gd name="T81" fmla="*/ 108 h 275"/>
                  <a:gd name="T82" fmla="*/ 69 w 373"/>
                  <a:gd name="T83" fmla="*/ 110 h 275"/>
                  <a:gd name="T84" fmla="*/ 86 w 373"/>
                  <a:gd name="T85" fmla="*/ 123 h 275"/>
                  <a:gd name="T86" fmla="*/ 109 w 373"/>
                  <a:gd name="T87" fmla="*/ 127 h 275"/>
                  <a:gd name="T88" fmla="*/ 129 w 373"/>
                  <a:gd name="T89" fmla="*/ 131 h 275"/>
                  <a:gd name="T90" fmla="*/ 152 w 373"/>
                  <a:gd name="T91" fmla="*/ 125 h 275"/>
                  <a:gd name="T92" fmla="*/ 169 w 373"/>
                  <a:gd name="T93" fmla="*/ 108 h 275"/>
                  <a:gd name="T94" fmla="*/ 180 w 373"/>
                  <a:gd name="T95" fmla="*/ 89 h 275"/>
                  <a:gd name="T96" fmla="*/ 194 w 373"/>
                  <a:gd name="T97" fmla="*/ 67 h 275"/>
                  <a:gd name="T98" fmla="*/ 207 w 373"/>
                  <a:gd name="T99" fmla="*/ 52 h 275"/>
                  <a:gd name="T100" fmla="*/ 213 w 373"/>
                  <a:gd name="T101" fmla="*/ 35 h 275"/>
                  <a:gd name="T102" fmla="*/ 223 w 373"/>
                  <a:gd name="T103" fmla="*/ 25 h 275"/>
                  <a:gd name="T104" fmla="*/ 236 w 373"/>
                  <a:gd name="T105" fmla="*/ 25 h 275"/>
                  <a:gd name="T106" fmla="*/ 255 w 373"/>
                  <a:gd name="T107" fmla="*/ 17 h 275"/>
                  <a:gd name="T108" fmla="*/ 271 w 373"/>
                  <a:gd name="T109" fmla="*/ 10 h 275"/>
                  <a:gd name="T110" fmla="*/ 282 w 373"/>
                  <a:gd name="T111" fmla="*/ 6 h 275"/>
                  <a:gd name="T112" fmla="*/ 300 w 373"/>
                  <a:gd name="T113" fmla="*/ 10 h 275"/>
                  <a:gd name="T114" fmla="*/ 315 w 373"/>
                  <a:gd name="T115" fmla="*/ 25 h 275"/>
                  <a:gd name="T116" fmla="*/ 328 w 373"/>
                  <a:gd name="T117" fmla="*/ 33 h 275"/>
                  <a:gd name="T118" fmla="*/ 342 w 373"/>
                  <a:gd name="T119" fmla="*/ 42 h 275"/>
                  <a:gd name="T120" fmla="*/ 361 w 373"/>
                  <a:gd name="T121" fmla="*/ 39 h 2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73" h="275">
                    <a:moveTo>
                      <a:pt x="373" y="52"/>
                    </a:moveTo>
                    <a:lnTo>
                      <a:pt x="371" y="52"/>
                    </a:lnTo>
                    <a:lnTo>
                      <a:pt x="371" y="54"/>
                    </a:lnTo>
                    <a:lnTo>
                      <a:pt x="371" y="56"/>
                    </a:lnTo>
                    <a:lnTo>
                      <a:pt x="371" y="58"/>
                    </a:lnTo>
                    <a:lnTo>
                      <a:pt x="369" y="58"/>
                    </a:lnTo>
                    <a:lnTo>
                      <a:pt x="369" y="56"/>
                    </a:lnTo>
                    <a:lnTo>
                      <a:pt x="367" y="56"/>
                    </a:lnTo>
                    <a:lnTo>
                      <a:pt x="365" y="56"/>
                    </a:lnTo>
                    <a:lnTo>
                      <a:pt x="363" y="54"/>
                    </a:lnTo>
                    <a:lnTo>
                      <a:pt x="361" y="54"/>
                    </a:lnTo>
                    <a:lnTo>
                      <a:pt x="361" y="56"/>
                    </a:lnTo>
                    <a:lnTo>
                      <a:pt x="359" y="58"/>
                    </a:lnTo>
                    <a:lnTo>
                      <a:pt x="359" y="60"/>
                    </a:lnTo>
                    <a:lnTo>
                      <a:pt x="357" y="60"/>
                    </a:lnTo>
                    <a:lnTo>
                      <a:pt x="359" y="62"/>
                    </a:lnTo>
                    <a:lnTo>
                      <a:pt x="359" y="64"/>
                    </a:lnTo>
                    <a:lnTo>
                      <a:pt x="361" y="62"/>
                    </a:lnTo>
                    <a:lnTo>
                      <a:pt x="361" y="64"/>
                    </a:lnTo>
                    <a:lnTo>
                      <a:pt x="361" y="67"/>
                    </a:lnTo>
                    <a:lnTo>
                      <a:pt x="361" y="69"/>
                    </a:lnTo>
                    <a:lnTo>
                      <a:pt x="361" y="71"/>
                    </a:lnTo>
                    <a:lnTo>
                      <a:pt x="361" y="73"/>
                    </a:lnTo>
                    <a:lnTo>
                      <a:pt x="359" y="73"/>
                    </a:lnTo>
                    <a:lnTo>
                      <a:pt x="359" y="71"/>
                    </a:lnTo>
                    <a:lnTo>
                      <a:pt x="359" y="73"/>
                    </a:lnTo>
                    <a:lnTo>
                      <a:pt x="357" y="75"/>
                    </a:lnTo>
                    <a:lnTo>
                      <a:pt x="357" y="77"/>
                    </a:lnTo>
                    <a:lnTo>
                      <a:pt x="357" y="79"/>
                    </a:lnTo>
                    <a:lnTo>
                      <a:pt x="357" y="81"/>
                    </a:lnTo>
                    <a:lnTo>
                      <a:pt x="357" y="83"/>
                    </a:lnTo>
                    <a:lnTo>
                      <a:pt x="355" y="83"/>
                    </a:lnTo>
                    <a:lnTo>
                      <a:pt x="353" y="83"/>
                    </a:lnTo>
                    <a:lnTo>
                      <a:pt x="353" y="85"/>
                    </a:lnTo>
                    <a:lnTo>
                      <a:pt x="355" y="85"/>
                    </a:lnTo>
                    <a:lnTo>
                      <a:pt x="353" y="87"/>
                    </a:lnTo>
                    <a:lnTo>
                      <a:pt x="353" y="89"/>
                    </a:lnTo>
                    <a:lnTo>
                      <a:pt x="351" y="89"/>
                    </a:lnTo>
                    <a:lnTo>
                      <a:pt x="351" y="90"/>
                    </a:lnTo>
                    <a:lnTo>
                      <a:pt x="353" y="92"/>
                    </a:lnTo>
                    <a:lnTo>
                      <a:pt x="353" y="94"/>
                    </a:lnTo>
                    <a:lnTo>
                      <a:pt x="353" y="96"/>
                    </a:lnTo>
                    <a:lnTo>
                      <a:pt x="351" y="96"/>
                    </a:lnTo>
                    <a:lnTo>
                      <a:pt x="351" y="98"/>
                    </a:lnTo>
                    <a:lnTo>
                      <a:pt x="353" y="100"/>
                    </a:lnTo>
                    <a:lnTo>
                      <a:pt x="353" y="98"/>
                    </a:lnTo>
                    <a:lnTo>
                      <a:pt x="355" y="98"/>
                    </a:lnTo>
                    <a:lnTo>
                      <a:pt x="357" y="98"/>
                    </a:lnTo>
                    <a:lnTo>
                      <a:pt x="359" y="98"/>
                    </a:lnTo>
                    <a:lnTo>
                      <a:pt x="359" y="100"/>
                    </a:lnTo>
                    <a:lnTo>
                      <a:pt x="359" y="102"/>
                    </a:lnTo>
                    <a:lnTo>
                      <a:pt x="357" y="104"/>
                    </a:lnTo>
                    <a:lnTo>
                      <a:pt x="359" y="104"/>
                    </a:lnTo>
                    <a:lnTo>
                      <a:pt x="359" y="106"/>
                    </a:lnTo>
                    <a:lnTo>
                      <a:pt x="359" y="104"/>
                    </a:lnTo>
                    <a:lnTo>
                      <a:pt x="361" y="104"/>
                    </a:lnTo>
                    <a:lnTo>
                      <a:pt x="363" y="104"/>
                    </a:lnTo>
                    <a:lnTo>
                      <a:pt x="363" y="106"/>
                    </a:lnTo>
                    <a:lnTo>
                      <a:pt x="363" y="108"/>
                    </a:lnTo>
                    <a:lnTo>
                      <a:pt x="361" y="108"/>
                    </a:lnTo>
                    <a:lnTo>
                      <a:pt x="359" y="110"/>
                    </a:lnTo>
                    <a:lnTo>
                      <a:pt x="361" y="110"/>
                    </a:lnTo>
                    <a:lnTo>
                      <a:pt x="359" y="110"/>
                    </a:lnTo>
                    <a:lnTo>
                      <a:pt x="359" y="112"/>
                    </a:lnTo>
                    <a:lnTo>
                      <a:pt x="359" y="114"/>
                    </a:lnTo>
                    <a:lnTo>
                      <a:pt x="361" y="114"/>
                    </a:lnTo>
                    <a:lnTo>
                      <a:pt x="359" y="114"/>
                    </a:lnTo>
                    <a:lnTo>
                      <a:pt x="359" y="115"/>
                    </a:lnTo>
                    <a:lnTo>
                      <a:pt x="359" y="117"/>
                    </a:lnTo>
                    <a:lnTo>
                      <a:pt x="359" y="119"/>
                    </a:lnTo>
                    <a:lnTo>
                      <a:pt x="359" y="121"/>
                    </a:lnTo>
                    <a:lnTo>
                      <a:pt x="357" y="121"/>
                    </a:lnTo>
                    <a:lnTo>
                      <a:pt x="357" y="123"/>
                    </a:lnTo>
                    <a:lnTo>
                      <a:pt x="357" y="125"/>
                    </a:lnTo>
                    <a:lnTo>
                      <a:pt x="357" y="127"/>
                    </a:lnTo>
                    <a:lnTo>
                      <a:pt x="355" y="129"/>
                    </a:lnTo>
                    <a:lnTo>
                      <a:pt x="353" y="131"/>
                    </a:lnTo>
                    <a:lnTo>
                      <a:pt x="351" y="131"/>
                    </a:lnTo>
                    <a:lnTo>
                      <a:pt x="349" y="131"/>
                    </a:lnTo>
                    <a:lnTo>
                      <a:pt x="349" y="133"/>
                    </a:lnTo>
                    <a:lnTo>
                      <a:pt x="349" y="131"/>
                    </a:lnTo>
                    <a:lnTo>
                      <a:pt x="349" y="133"/>
                    </a:lnTo>
                    <a:lnTo>
                      <a:pt x="349" y="135"/>
                    </a:lnTo>
                    <a:lnTo>
                      <a:pt x="348" y="135"/>
                    </a:lnTo>
                    <a:lnTo>
                      <a:pt x="348" y="137"/>
                    </a:lnTo>
                    <a:lnTo>
                      <a:pt x="344" y="137"/>
                    </a:lnTo>
                    <a:lnTo>
                      <a:pt x="344" y="139"/>
                    </a:lnTo>
                    <a:lnTo>
                      <a:pt x="342" y="139"/>
                    </a:lnTo>
                    <a:lnTo>
                      <a:pt x="342" y="140"/>
                    </a:lnTo>
                    <a:lnTo>
                      <a:pt x="342" y="142"/>
                    </a:lnTo>
                    <a:lnTo>
                      <a:pt x="340" y="144"/>
                    </a:lnTo>
                    <a:lnTo>
                      <a:pt x="340" y="146"/>
                    </a:lnTo>
                    <a:lnTo>
                      <a:pt x="338" y="146"/>
                    </a:lnTo>
                    <a:lnTo>
                      <a:pt x="340" y="146"/>
                    </a:lnTo>
                    <a:lnTo>
                      <a:pt x="340" y="148"/>
                    </a:lnTo>
                    <a:lnTo>
                      <a:pt x="340" y="150"/>
                    </a:lnTo>
                    <a:lnTo>
                      <a:pt x="340" y="152"/>
                    </a:lnTo>
                    <a:lnTo>
                      <a:pt x="340" y="154"/>
                    </a:lnTo>
                    <a:lnTo>
                      <a:pt x="340" y="156"/>
                    </a:lnTo>
                    <a:lnTo>
                      <a:pt x="338" y="156"/>
                    </a:lnTo>
                    <a:lnTo>
                      <a:pt x="336" y="156"/>
                    </a:lnTo>
                    <a:lnTo>
                      <a:pt x="336" y="154"/>
                    </a:lnTo>
                    <a:lnTo>
                      <a:pt x="336" y="156"/>
                    </a:lnTo>
                    <a:lnTo>
                      <a:pt x="336" y="154"/>
                    </a:lnTo>
                    <a:lnTo>
                      <a:pt x="334" y="156"/>
                    </a:lnTo>
                    <a:lnTo>
                      <a:pt x="334" y="154"/>
                    </a:lnTo>
                    <a:lnTo>
                      <a:pt x="334" y="156"/>
                    </a:lnTo>
                    <a:lnTo>
                      <a:pt x="332" y="156"/>
                    </a:lnTo>
                    <a:lnTo>
                      <a:pt x="332" y="158"/>
                    </a:lnTo>
                    <a:lnTo>
                      <a:pt x="332" y="160"/>
                    </a:lnTo>
                    <a:lnTo>
                      <a:pt x="332" y="162"/>
                    </a:lnTo>
                    <a:lnTo>
                      <a:pt x="332" y="160"/>
                    </a:lnTo>
                    <a:lnTo>
                      <a:pt x="330" y="162"/>
                    </a:lnTo>
                    <a:lnTo>
                      <a:pt x="332" y="162"/>
                    </a:lnTo>
                    <a:lnTo>
                      <a:pt x="330" y="162"/>
                    </a:lnTo>
                    <a:lnTo>
                      <a:pt x="330" y="163"/>
                    </a:lnTo>
                    <a:lnTo>
                      <a:pt x="330" y="165"/>
                    </a:lnTo>
                    <a:lnTo>
                      <a:pt x="330" y="167"/>
                    </a:lnTo>
                    <a:lnTo>
                      <a:pt x="330" y="169"/>
                    </a:lnTo>
                    <a:lnTo>
                      <a:pt x="330" y="171"/>
                    </a:lnTo>
                    <a:lnTo>
                      <a:pt x="330" y="173"/>
                    </a:lnTo>
                    <a:lnTo>
                      <a:pt x="328" y="173"/>
                    </a:lnTo>
                    <a:lnTo>
                      <a:pt x="330" y="175"/>
                    </a:lnTo>
                    <a:lnTo>
                      <a:pt x="328" y="175"/>
                    </a:lnTo>
                    <a:lnTo>
                      <a:pt x="328" y="177"/>
                    </a:lnTo>
                    <a:lnTo>
                      <a:pt x="328" y="179"/>
                    </a:lnTo>
                    <a:lnTo>
                      <a:pt x="328" y="181"/>
                    </a:lnTo>
                    <a:lnTo>
                      <a:pt x="328" y="183"/>
                    </a:lnTo>
                    <a:lnTo>
                      <a:pt x="326" y="183"/>
                    </a:lnTo>
                    <a:lnTo>
                      <a:pt x="328" y="183"/>
                    </a:lnTo>
                    <a:lnTo>
                      <a:pt x="326" y="183"/>
                    </a:lnTo>
                    <a:lnTo>
                      <a:pt x="326" y="185"/>
                    </a:lnTo>
                    <a:lnTo>
                      <a:pt x="326" y="187"/>
                    </a:lnTo>
                    <a:lnTo>
                      <a:pt x="326" y="188"/>
                    </a:lnTo>
                    <a:lnTo>
                      <a:pt x="326" y="190"/>
                    </a:lnTo>
                    <a:lnTo>
                      <a:pt x="328" y="190"/>
                    </a:lnTo>
                    <a:lnTo>
                      <a:pt x="328" y="192"/>
                    </a:lnTo>
                    <a:lnTo>
                      <a:pt x="330" y="192"/>
                    </a:lnTo>
                    <a:lnTo>
                      <a:pt x="330" y="194"/>
                    </a:lnTo>
                    <a:lnTo>
                      <a:pt x="330" y="196"/>
                    </a:lnTo>
                    <a:lnTo>
                      <a:pt x="332" y="196"/>
                    </a:lnTo>
                    <a:lnTo>
                      <a:pt x="334" y="196"/>
                    </a:lnTo>
                    <a:lnTo>
                      <a:pt x="334" y="198"/>
                    </a:lnTo>
                    <a:lnTo>
                      <a:pt x="332" y="198"/>
                    </a:lnTo>
                    <a:lnTo>
                      <a:pt x="332" y="200"/>
                    </a:lnTo>
                    <a:lnTo>
                      <a:pt x="330" y="200"/>
                    </a:lnTo>
                    <a:lnTo>
                      <a:pt x="330" y="202"/>
                    </a:lnTo>
                    <a:lnTo>
                      <a:pt x="332" y="202"/>
                    </a:lnTo>
                    <a:lnTo>
                      <a:pt x="332" y="204"/>
                    </a:lnTo>
                    <a:lnTo>
                      <a:pt x="332" y="206"/>
                    </a:lnTo>
                    <a:lnTo>
                      <a:pt x="332" y="208"/>
                    </a:lnTo>
                    <a:lnTo>
                      <a:pt x="332" y="210"/>
                    </a:lnTo>
                    <a:lnTo>
                      <a:pt x="334" y="210"/>
                    </a:lnTo>
                    <a:lnTo>
                      <a:pt x="332" y="210"/>
                    </a:lnTo>
                    <a:lnTo>
                      <a:pt x="334" y="212"/>
                    </a:lnTo>
                    <a:lnTo>
                      <a:pt x="334" y="213"/>
                    </a:lnTo>
                    <a:lnTo>
                      <a:pt x="336" y="213"/>
                    </a:lnTo>
                    <a:lnTo>
                      <a:pt x="336" y="215"/>
                    </a:lnTo>
                    <a:lnTo>
                      <a:pt x="338" y="215"/>
                    </a:lnTo>
                    <a:lnTo>
                      <a:pt x="338" y="217"/>
                    </a:lnTo>
                    <a:lnTo>
                      <a:pt x="340" y="217"/>
                    </a:lnTo>
                    <a:lnTo>
                      <a:pt x="340" y="219"/>
                    </a:lnTo>
                    <a:lnTo>
                      <a:pt x="342" y="219"/>
                    </a:lnTo>
                    <a:lnTo>
                      <a:pt x="344" y="219"/>
                    </a:lnTo>
                    <a:lnTo>
                      <a:pt x="344" y="221"/>
                    </a:lnTo>
                    <a:lnTo>
                      <a:pt x="344" y="223"/>
                    </a:lnTo>
                    <a:lnTo>
                      <a:pt x="346" y="223"/>
                    </a:lnTo>
                    <a:lnTo>
                      <a:pt x="346" y="225"/>
                    </a:lnTo>
                    <a:lnTo>
                      <a:pt x="344" y="225"/>
                    </a:lnTo>
                    <a:lnTo>
                      <a:pt x="344" y="227"/>
                    </a:lnTo>
                    <a:lnTo>
                      <a:pt x="344" y="229"/>
                    </a:lnTo>
                    <a:lnTo>
                      <a:pt x="344" y="231"/>
                    </a:lnTo>
                    <a:lnTo>
                      <a:pt x="344" y="233"/>
                    </a:lnTo>
                    <a:lnTo>
                      <a:pt x="346" y="233"/>
                    </a:lnTo>
                    <a:lnTo>
                      <a:pt x="346" y="235"/>
                    </a:lnTo>
                    <a:lnTo>
                      <a:pt x="344" y="235"/>
                    </a:lnTo>
                    <a:lnTo>
                      <a:pt x="344" y="237"/>
                    </a:lnTo>
                    <a:lnTo>
                      <a:pt x="344" y="238"/>
                    </a:lnTo>
                    <a:lnTo>
                      <a:pt x="342" y="238"/>
                    </a:lnTo>
                    <a:lnTo>
                      <a:pt x="342" y="240"/>
                    </a:lnTo>
                    <a:lnTo>
                      <a:pt x="342" y="242"/>
                    </a:lnTo>
                    <a:lnTo>
                      <a:pt x="340" y="242"/>
                    </a:lnTo>
                    <a:lnTo>
                      <a:pt x="340" y="244"/>
                    </a:lnTo>
                    <a:lnTo>
                      <a:pt x="340" y="246"/>
                    </a:lnTo>
                    <a:lnTo>
                      <a:pt x="340" y="248"/>
                    </a:lnTo>
                    <a:lnTo>
                      <a:pt x="338" y="248"/>
                    </a:lnTo>
                    <a:lnTo>
                      <a:pt x="338" y="250"/>
                    </a:lnTo>
                    <a:lnTo>
                      <a:pt x="338" y="252"/>
                    </a:lnTo>
                    <a:lnTo>
                      <a:pt x="336" y="252"/>
                    </a:lnTo>
                    <a:lnTo>
                      <a:pt x="336" y="254"/>
                    </a:lnTo>
                    <a:lnTo>
                      <a:pt x="334" y="256"/>
                    </a:lnTo>
                    <a:lnTo>
                      <a:pt x="334" y="258"/>
                    </a:lnTo>
                    <a:lnTo>
                      <a:pt x="332" y="258"/>
                    </a:lnTo>
                    <a:lnTo>
                      <a:pt x="330" y="258"/>
                    </a:lnTo>
                    <a:lnTo>
                      <a:pt x="330" y="260"/>
                    </a:lnTo>
                    <a:lnTo>
                      <a:pt x="328" y="260"/>
                    </a:lnTo>
                    <a:lnTo>
                      <a:pt x="330" y="260"/>
                    </a:lnTo>
                    <a:lnTo>
                      <a:pt x="330" y="262"/>
                    </a:lnTo>
                    <a:lnTo>
                      <a:pt x="330" y="263"/>
                    </a:lnTo>
                    <a:lnTo>
                      <a:pt x="328" y="263"/>
                    </a:lnTo>
                    <a:lnTo>
                      <a:pt x="328" y="262"/>
                    </a:lnTo>
                    <a:lnTo>
                      <a:pt x="326" y="262"/>
                    </a:lnTo>
                    <a:lnTo>
                      <a:pt x="326" y="260"/>
                    </a:lnTo>
                    <a:lnTo>
                      <a:pt x="326" y="258"/>
                    </a:lnTo>
                    <a:lnTo>
                      <a:pt x="324" y="258"/>
                    </a:lnTo>
                    <a:lnTo>
                      <a:pt x="324" y="260"/>
                    </a:lnTo>
                    <a:lnTo>
                      <a:pt x="323" y="260"/>
                    </a:lnTo>
                    <a:lnTo>
                      <a:pt x="321" y="262"/>
                    </a:lnTo>
                    <a:lnTo>
                      <a:pt x="319" y="262"/>
                    </a:lnTo>
                    <a:lnTo>
                      <a:pt x="317" y="263"/>
                    </a:lnTo>
                    <a:lnTo>
                      <a:pt x="319" y="263"/>
                    </a:lnTo>
                    <a:lnTo>
                      <a:pt x="319" y="265"/>
                    </a:lnTo>
                    <a:lnTo>
                      <a:pt x="319" y="267"/>
                    </a:lnTo>
                    <a:lnTo>
                      <a:pt x="317" y="267"/>
                    </a:lnTo>
                    <a:lnTo>
                      <a:pt x="317" y="269"/>
                    </a:lnTo>
                    <a:lnTo>
                      <a:pt x="317" y="271"/>
                    </a:lnTo>
                    <a:lnTo>
                      <a:pt x="315" y="271"/>
                    </a:lnTo>
                    <a:lnTo>
                      <a:pt x="313" y="273"/>
                    </a:lnTo>
                    <a:lnTo>
                      <a:pt x="311" y="273"/>
                    </a:lnTo>
                    <a:lnTo>
                      <a:pt x="309" y="273"/>
                    </a:lnTo>
                    <a:lnTo>
                      <a:pt x="309" y="275"/>
                    </a:lnTo>
                    <a:lnTo>
                      <a:pt x="307" y="275"/>
                    </a:lnTo>
                    <a:lnTo>
                      <a:pt x="305" y="275"/>
                    </a:lnTo>
                    <a:lnTo>
                      <a:pt x="303" y="273"/>
                    </a:lnTo>
                    <a:lnTo>
                      <a:pt x="301" y="273"/>
                    </a:lnTo>
                    <a:lnTo>
                      <a:pt x="301" y="271"/>
                    </a:lnTo>
                    <a:lnTo>
                      <a:pt x="300" y="271"/>
                    </a:lnTo>
                    <a:lnTo>
                      <a:pt x="300" y="269"/>
                    </a:lnTo>
                    <a:lnTo>
                      <a:pt x="298" y="269"/>
                    </a:lnTo>
                    <a:lnTo>
                      <a:pt x="298" y="267"/>
                    </a:lnTo>
                    <a:lnTo>
                      <a:pt x="298" y="265"/>
                    </a:lnTo>
                    <a:lnTo>
                      <a:pt x="296" y="265"/>
                    </a:lnTo>
                    <a:lnTo>
                      <a:pt x="294" y="265"/>
                    </a:lnTo>
                    <a:lnTo>
                      <a:pt x="292" y="265"/>
                    </a:lnTo>
                    <a:lnTo>
                      <a:pt x="290" y="265"/>
                    </a:lnTo>
                    <a:lnTo>
                      <a:pt x="290" y="263"/>
                    </a:lnTo>
                    <a:lnTo>
                      <a:pt x="288" y="265"/>
                    </a:lnTo>
                    <a:lnTo>
                      <a:pt x="288" y="263"/>
                    </a:lnTo>
                    <a:lnTo>
                      <a:pt x="286" y="263"/>
                    </a:lnTo>
                    <a:lnTo>
                      <a:pt x="286" y="265"/>
                    </a:lnTo>
                    <a:lnTo>
                      <a:pt x="284" y="265"/>
                    </a:lnTo>
                    <a:lnTo>
                      <a:pt x="284" y="267"/>
                    </a:lnTo>
                    <a:lnTo>
                      <a:pt x="282" y="267"/>
                    </a:lnTo>
                    <a:lnTo>
                      <a:pt x="282" y="265"/>
                    </a:lnTo>
                    <a:lnTo>
                      <a:pt x="280" y="263"/>
                    </a:lnTo>
                    <a:lnTo>
                      <a:pt x="280" y="262"/>
                    </a:lnTo>
                    <a:lnTo>
                      <a:pt x="278" y="262"/>
                    </a:lnTo>
                    <a:lnTo>
                      <a:pt x="278" y="263"/>
                    </a:lnTo>
                    <a:lnTo>
                      <a:pt x="276" y="265"/>
                    </a:lnTo>
                    <a:lnTo>
                      <a:pt x="276" y="267"/>
                    </a:lnTo>
                    <a:lnTo>
                      <a:pt x="275" y="267"/>
                    </a:lnTo>
                    <a:lnTo>
                      <a:pt x="275" y="265"/>
                    </a:lnTo>
                    <a:lnTo>
                      <a:pt x="273" y="265"/>
                    </a:lnTo>
                    <a:lnTo>
                      <a:pt x="273" y="263"/>
                    </a:lnTo>
                    <a:lnTo>
                      <a:pt x="273" y="262"/>
                    </a:lnTo>
                    <a:lnTo>
                      <a:pt x="271" y="262"/>
                    </a:lnTo>
                    <a:lnTo>
                      <a:pt x="271" y="260"/>
                    </a:lnTo>
                    <a:lnTo>
                      <a:pt x="269" y="260"/>
                    </a:lnTo>
                    <a:lnTo>
                      <a:pt x="267" y="260"/>
                    </a:lnTo>
                    <a:lnTo>
                      <a:pt x="265" y="260"/>
                    </a:lnTo>
                    <a:lnTo>
                      <a:pt x="263" y="260"/>
                    </a:lnTo>
                    <a:lnTo>
                      <a:pt x="263" y="258"/>
                    </a:lnTo>
                    <a:lnTo>
                      <a:pt x="261" y="258"/>
                    </a:lnTo>
                    <a:lnTo>
                      <a:pt x="261" y="260"/>
                    </a:lnTo>
                    <a:lnTo>
                      <a:pt x="259" y="260"/>
                    </a:lnTo>
                    <a:lnTo>
                      <a:pt x="259" y="262"/>
                    </a:lnTo>
                    <a:lnTo>
                      <a:pt x="259" y="260"/>
                    </a:lnTo>
                    <a:lnTo>
                      <a:pt x="257" y="260"/>
                    </a:lnTo>
                    <a:lnTo>
                      <a:pt x="257" y="258"/>
                    </a:lnTo>
                    <a:lnTo>
                      <a:pt x="255" y="256"/>
                    </a:lnTo>
                    <a:lnTo>
                      <a:pt x="253" y="256"/>
                    </a:lnTo>
                    <a:lnTo>
                      <a:pt x="251" y="258"/>
                    </a:lnTo>
                    <a:lnTo>
                      <a:pt x="251" y="260"/>
                    </a:lnTo>
                    <a:lnTo>
                      <a:pt x="253" y="262"/>
                    </a:lnTo>
                    <a:lnTo>
                      <a:pt x="251" y="262"/>
                    </a:lnTo>
                    <a:lnTo>
                      <a:pt x="250" y="262"/>
                    </a:lnTo>
                    <a:lnTo>
                      <a:pt x="248" y="262"/>
                    </a:lnTo>
                    <a:lnTo>
                      <a:pt x="246" y="262"/>
                    </a:lnTo>
                    <a:lnTo>
                      <a:pt x="244" y="262"/>
                    </a:lnTo>
                    <a:lnTo>
                      <a:pt x="244" y="265"/>
                    </a:lnTo>
                    <a:lnTo>
                      <a:pt x="242" y="265"/>
                    </a:lnTo>
                    <a:lnTo>
                      <a:pt x="240" y="262"/>
                    </a:lnTo>
                    <a:lnTo>
                      <a:pt x="238" y="262"/>
                    </a:lnTo>
                    <a:lnTo>
                      <a:pt x="234" y="262"/>
                    </a:lnTo>
                    <a:lnTo>
                      <a:pt x="230" y="262"/>
                    </a:lnTo>
                    <a:lnTo>
                      <a:pt x="228" y="262"/>
                    </a:lnTo>
                    <a:lnTo>
                      <a:pt x="226" y="262"/>
                    </a:lnTo>
                    <a:lnTo>
                      <a:pt x="225" y="260"/>
                    </a:lnTo>
                    <a:lnTo>
                      <a:pt x="223" y="260"/>
                    </a:lnTo>
                    <a:lnTo>
                      <a:pt x="223" y="258"/>
                    </a:lnTo>
                    <a:lnTo>
                      <a:pt x="223" y="256"/>
                    </a:lnTo>
                    <a:lnTo>
                      <a:pt x="221" y="256"/>
                    </a:lnTo>
                    <a:lnTo>
                      <a:pt x="219" y="256"/>
                    </a:lnTo>
                    <a:lnTo>
                      <a:pt x="215" y="256"/>
                    </a:lnTo>
                    <a:lnTo>
                      <a:pt x="211" y="256"/>
                    </a:lnTo>
                    <a:lnTo>
                      <a:pt x="209" y="256"/>
                    </a:lnTo>
                    <a:lnTo>
                      <a:pt x="209" y="254"/>
                    </a:lnTo>
                    <a:lnTo>
                      <a:pt x="207" y="254"/>
                    </a:lnTo>
                    <a:lnTo>
                      <a:pt x="207" y="252"/>
                    </a:lnTo>
                    <a:lnTo>
                      <a:pt x="207" y="250"/>
                    </a:lnTo>
                    <a:lnTo>
                      <a:pt x="205" y="250"/>
                    </a:lnTo>
                    <a:lnTo>
                      <a:pt x="205" y="248"/>
                    </a:lnTo>
                    <a:lnTo>
                      <a:pt x="205" y="246"/>
                    </a:lnTo>
                    <a:lnTo>
                      <a:pt x="203" y="246"/>
                    </a:lnTo>
                    <a:lnTo>
                      <a:pt x="202" y="246"/>
                    </a:lnTo>
                    <a:lnTo>
                      <a:pt x="202" y="244"/>
                    </a:lnTo>
                    <a:lnTo>
                      <a:pt x="200" y="244"/>
                    </a:lnTo>
                    <a:lnTo>
                      <a:pt x="200" y="240"/>
                    </a:lnTo>
                    <a:lnTo>
                      <a:pt x="200" y="238"/>
                    </a:lnTo>
                    <a:lnTo>
                      <a:pt x="200" y="235"/>
                    </a:lnTo>
                    <a:lnTo>
                      <a:pt x="200" y="229"/>
                    </a:lnTo>
                    <a:lnTo>
                      <a:pt x="200" y="223"/>
                    </a:lnTo>
                    <a:lnTo>
                      <a:pt x="198" y="223"/>
                    </a:lnTo>
                    <a:lnTo>
                      <a:pt x="198" y="219"/>
                    </a:lnTo>
                    <a:lnTo>
                      <a:pt x="196" y="217"/>
                    </a:lnTo>
                    <a:lnTo>
                      <a:pt x="192" y="217"/>
                    </a:lnTo>
                    <a:lnTo>
                      <a:pt x="190" y="217"/>
                    </a:lnTo>
                    <a:lnTo>
                      <a:pt x="188" y="217"/>
                    </a:lnTo>
                    <a:lnTo>
                      <a:pt x="186" y="217"/>
                    </a:lnTo>
                    <a:lnTo>
                      <a:pt x="184" y="217"/>
                    </a:lnTo>
                    <a:lnTo>
                      <a:pt x="182" y="217"/>
                    </a:lnTo>
                    <a:lnTo>
                      <a:pt x="180" y="217"/>
                    </a:lnTo>
                    <a:lnTo>
                      <a:pt x="178" y="217"/>
                    </a:lnTo>
                    <a:lnTo>
                      <a:pt x="177" y="217"/>
                    </a:lnTo>
                    <a:lnTo>
                      <a:pt x="175" y="217"/>
                    </a:lnTo>
                    <a:lnTo>
                      <a:pt x="173" y="217"/>
                    </a:lnTo>
                    <a:lnTo>
                      <a:pt x="173" y="215"/>
                    </a:lnTo>
                    <a:lnTo>
                      <a:pt x="171" y="217"/>
                    </a:lnTo>
                    <a:lnTo>
                      <a:pt x="171" y="215"/>
                    </a:lnTo>
                    <a:lnTo>
                      <a:pt x="171" y="217"/>
                    </a:lnTo>
                    <a:lnTo>
                      <a:pt x="169" y="215"/>
                    </a:lnTo>
                    <a:lnTo>
                      <a:pt x="169" y="217"/>
                    </a:lnTo>
                    <a:lnTo>
                      <a:pt x="169" y="215"/>
                    </a:lnTo>
                    <a:lnTo>
                      <a:pt x="169" y="217"/>
                    </a:lnTo>
                    <a:lnTo>
                      <a:pt x="169" y="215"/>
                    </a:lnTo>
                    <a:lnTo>
                      <a:pt x="167" y="215"/>
                    </a:lnTo>
                    <a:lnTo>
                      <a:pt x="165" y="215"/>
                    </a:lnTo>
                    <a:lnTo>
                      <a:pt x="163" y="215"/>
                    </a:lnTo>
                    <a:lnTo>
                      <a:pt x="161" y="215"/>
                    </a:lnTo>
                    <a:lnTo>
                      <a:pt x="159" y="215"/>
                    </a:lnTo>
                    <a:lnTo>
                      <a:pt x="159" y="217"/>
                    </a:lnTo>
                    <a:lnTo>
                      <a:pt x="159" y="215"/>
                    </a:lnTo>
                    <a:lnTo>
                      <a:pt x="157" y="217"/>
                    </a:lnTo>
                    <a:lnTo>
                      <a:pt x="155" y="217"/>
                    </a:lnTo>
                    <a:lnTo>
                      <a:pt x="153" y="217"/>
                    </a:lnTo>
                    <a:lnTo>
                      <a:pt x="153" y="215"/>
                    </a:lnTo>
                    <a:lnTo>
                      <a:pt x="152" y="215"/>
                    </a:lnTo>
                    <a:lnTo>
                      <a:pt x="150" y="215"/>
                    </a:lnTo>
                    <a:lnTo>
                      <a:pt x="150" y="212"/>
                    </a:lnTo>
                    <a:lnTo>
                      <a:pt x="152" y="208"/>
                    </a:lnTo>
                    <a:lnTo>
                      <a:pt x="152" y="206"/>
                    </a:lnTo>
                    <a:lnTo>
                      <a:pt x="152" y="204"/>
                    </a:lnTo>
                    <a:lnTo>
                      <a:pt x="150" y="202"/>
                    </a:lnTo>
                    <a:lnTo>
                      <a:pt x="148" y="204"/>
                    </a:lnTo>
                    <a:lnTo>
                      <a:pt x="148" y="202"/>
                    </a:lnTo>
                    <a:lnTo>
                      <a:pt x="146" y="202"/>
                    </a:lnTo>
                    <a:lnTo>
                      <a:pt x="144" y="202"/>
                    </a:lnTo>
                    <a:lnTo>
                      <a:pt x="142" y="202"/>
                    </a:lnTo>
                    <a:lnTo>
                      <a:pt x="142" y="204"/>
                    </a:lnTo>
                    <a:lnTo>
                      <a:pt x="142" y="206"/>
                    </a:lnTo>
                    <a:lnTo>
                      <a:pt x="142" y="208"/>
                    </a:lnTo>
                    <a:lnTo>
                      <a:pt x="140" y="208"/>
                    </a:lnTo>
                    <a:lnTo>
                      <a:pt x="138" y="208"/>
                    </a:lnTo>
                    <a:lnTo>
                      <a:pt x="138" y="210"/>
                    </a:lnTo>
                    <a:lnTo>
                      <a:pt x="136" y="208"/>
                    </a:lnTo>
                    <a:lnTo>
                      <a:pt x="136" y="206"/>
                    </a:lnTo>
                    <a:lnTo>
                      <a:pt x="136" y="204"/>
                    </a:lnTo>
                    <a:lnTo>
                      <a:pt x="136" y="202"/>
                    </a:lnTo>
                    <a:lnTo>
                      <a:pt x="134" y="202"/>
                    </a:lnTo>
                    <a:lnTo>
                      <a:pt x="132" y="204"/>
                    </a:lnTo>
                    <a:lnTo>
                      <a:pt x="130" y="202"/>
                    </a:lnTo>
                    <a:lnTo>
                      <a:pt x="129" y="202"/>
                    </a:lnTo>
                    <a:lnTo>
                      <a:pt x="129" y="200"/>
                    </a:lnTo>
                    <a:lnTo>
                      <a:pt x="129" y="198"/>
                    </a:lnTo>
                    <a:lnTo>
                      <a:pt x="129" y="196"/>
                    </a:lnTo>
                    <a:lnTo>
                      <a:pt x="127" y="196"/>
                    </a:lnTo>
                    <a:lnTo>
                      <a:pt x="125" y="196"/>
                    </a:lnTo>
                    <a:lnTo>
                      <a:pt x="125" y="198"/>
                    </a:lnTo>
                    <a:lnTo>
                      <a:pt x="127" y="200"/>
                    </a:lnTo>
                    <a:lnTo>
                      <a:pt x="125" y="200"/>
                    </a:lnTo>
                    <a:lnTo>
                      <a:pt x="125" y="202"/>
                    </a:lnTo>
                    <a:lnTo>
                      <a:pt x="125" y="204"/>
                    </a:lnTo>
                    <a:lnTo>
                      <a:pt x="125" y="206"/>
                    </a:lnTo>
                    <a:lnTo>
                      <a:pt x="123" y="206"/>
                    </a:lnTo>
                    <a:lnTo>
                      <a:pt x="123" y="208"/>
                    </a:lnTo>
                    <a:lnTo>
                      <a:pt x="121" y="208"/>
                    </a:lnTo>
                    <a:lnTo>
                      <a:pt x="119" y="208"/>
                    </a:lnTo>
                    <a:lnTo>
                      <a:pt x="117" y="208"/>
                    </a:lnTo>
                    <a:lnTo>
                      <a:pt x="117" y="210"/>
                    </a:lnTo>
                    <a:lnTo>
                      <a:pt x="115" y="208"/>
                    </a:lnTo>
                    <a:lnTo>
                      <a:pt x="113" y="208"/>
                    </a:lnTo>
                    <a:lnTo>
                      <a:pt x="109" y="206"/>
                    </a:lnTo>
                    <a:lnTo>
                      <a:pt x="107" y="206"/>
                    </a:lnTo>
                    <a:lnTo>
                      <a:pt x="105" y="208"/>
                    </a:lnTo>
                    <a:lnTo>
                      <a:pt x="104" y="208"/>
                    </a:lnTo>
                    <a:lnTo>
                      <a:pt x="102" y="212"/>
                    </a:lnTo>
                    <a:lnTo>
                      <a:pt x="100" y="215"/>
                    </a:lnTo>
                    <a:lnTo>
                      <a:pt x="98" y="215"/>
                    </a:lnTo>
                    <a:lnTo>
                      <a:pt x="96" y="215"/>
                    </a:lnTo>
                    <a:lnTo>
                      <a:pt x="96" y="217"/>
                    </a:lnTo>
                    <a:lnTo>
                      <a:pt x="94" y="217"/>
                    </a:lnTo>
                    <a:lnTo>
                      <a:pt x="94" y="219"/>
                    </a:lnTo>
                    <a:lnTo>
                      <a:pt x="94" y="221"/>
                    </a:lnTo>
                    <a:lnTo>
                      <a:pt x="92" y="221"/>
                    </a:lnTo>
                    <a:lnTo>
                      <a:pt x="92" y="223"/>
                    </a:lnTo>
                    <a:lnTo>
                      <a:pt x="92" y="225"/>
                    </a:lnTo>
                    <a:lnTo>
                      <a:pt x="90" y="225"/>
                    </a:lnTo>
                    <a:lnTo>
                      <a:pt x="90" y="223"/>
                    </a:lnTo>
                    <a:lnTo>
                      <a:pt x="88" y="223"/>
                    </a:lnTo>
                    <a:lnTo>
                      <a:pt x="86" y="223"/>
                    </a:lnTo>
                    <a:lnTo>
                      <a:pt x="86" y="225"/>
                    </a:lnTo>
                    <a:lnTo>
                      <a:pt x="84" y="225"/>
                    </a:lnTo>
                    <a:lnTo>
                      <a:pt x="82" y="227"/>
                    </a:lnTo>
                    <a:lnTo>
                      <a:pt x="80" y="227"/>
                    </a:lnTo>
                    <a:lnTo>
                      <a:pt x="80" y="225"/>
                    </a:lnTo>
                    <a:lnTo>
                      <a:pt x="79" y="225"/>
                    </a:lnTo>
                    <a:lnTo>
                      <a:pt x="77" y="225"/>
                    </a:lnTo>
                    <a:lnTo>
                      <a:pt x="77" y="227"/>
                    </a:lnTo>
                    <a:lnTo>
                      <a:pt x="75" y="225"/>
                    </a:lnTo>
                    <a:lnTo>
                      <a:pt x="75" y="227"/>
                    </a:lnTo>
                    <a:lnTo>
                      <a:pt x="73" y="227"/>
                    </a:lnTo>
                    <a:lnTo>
                      <a:pt x="73" y="229"/>
                    </a:lnTo>
                    <a:lnTo>
                      <a:pt x="73" y="231"/>
                    </a:lnTo>
                    <a:lnTo>
                      <a:pt x="71" y="231"/>
                    </a:lnTo>
                    <a:lnTo>
                      <a:pt x="69" y="231"/>
                    </a:lnTo>
                    <a:lnTo>
                      <a:pt x="69" y="233"/>
                    </a:lnTo>
                    <a:lnTo>
                      <a:pt x="67" y="233"/>
                    </a:lnTo>
                    <a:lnTo>
                      <a:pt x="67" y="235"/>
                    </a:lnTo>
                    <a:lnTo>
                      <a:pt x="65" y="235"/>
                    </a:lnTo>
                    <a:lnTo>
                      <a:pt x="65" y="233"/>
                    </a:lnTo>
                    <a:lnTo>
                      <a:pt x="65" y="235"/>
                    </a:lnTo>
                    <a:lnTo>
                      <a:pt x="65" y="237"/>
                    </a:lnTo>
                    <a:lnTo>
                      <a:pt x="65" y="238"/>
                    </a:lnTo>
                    <a:lnTo>
                      <a:pt x="63" y="240"/>
                    </a:lnTo>
                    <a:lnTo>
                      <a:pt x="61" y="240"/>
                    </a:lnTo>
                    <a:lnTo>
                      <a:pt x="61" y="238"/>
                    </a:lnTo>
                    <a:lnTo>
                      <a:pt x="59" y="238"/>
                    </a:lnTo>
                    <a:lnTo>
                      <a:pt x="57" y="238"/>
                    </a:lnTo>
                    <a:lnTo>
                      <a:pt x="57" y="240"/>
                    </a:lnTo>
                    <a:lnTo>
                      <a:pt x="56" y="240"/>
                    </a:lnTo>
                    <a:lnTo>
                      <a:pt x="54" y="240"/>
                    </a:lnTo>
                    <a:lnTo>
                      <a:pt x="52" y="242"/>
                    </a:lnTo>
                    <a:lnTo>
                      <a:pt x="52" y="244"/>
                    </a:lnTo>
                    <a:lnTo>
                      <a:pt x="50" y="244"/>
                    </a:lnTo>
                    <a:lnTo>
                      <a:pt x="50" y="246"/>
                    </a:lnTo>
                    <a:lnTo>
                      <a:pt x="48" y="246"/>
                    </a:lnTo>
                    <a:lnTo>
                      <a:pt x="46" y="246"/>
                    </a:lnTo>
                    <a:lnTo>
                      <a:pt x="44" y="246"/>
                    </a:lnTo>
                    <a:lnTo>
                      <a:pt x="42" y="248"/>
                    </a:lnTo>
                    <a:lnTo>
                      <a:pt x="40" y="250"/>
                    </a:lnTo>
                    <a:lnTo>
                      <a:pt x="38" y="250"/>
                    </a:lnTo>
                    <a:lnTo>
                      <a:pt x="38" y="252"/>
                    </a:lnTo>
                    <a:lnTo>
                      <a:pt x="40" y="254"/>
                    </a:lnTo>
                    <a:lnTo>
                      <a:pt x="38" y="254"/>
                    </a:lnTo>
                    <a:lnTo>
                      <a:pt x="38" y="256"/>
                    </a:lnTo>
                    <a:lnTo>
                      <a:pt x="36" y="256"/>
                    </a:lnTo>
                    <a:lnTo>
                      <a:pt x="34" y="256"/>
                    </a:lnTo>
                    <a:lnTo>
                      <a:pt x="34" y="258"/>
                    </a:lnTo>
                    <a:lnTo>
                      <a:pt x="32" y="256"/>
                    </a:lnTo>
                    <a:lnTo>
                      <a:pt x="32" y="258"/>
                    </a:lnTo>
                    <a:lnTo>
                      <a:pt x="32" y="256"/>
                    </a:lnTo>
                    <a:lnTo>
                      <a:pt x="32" y="258"/>
                    </a:lnTo>
                    <a:lnTo>
                      <a:pt x="31" y="258"/>
                    </a:lnTo>
                    <a:lnTo>
                      <a:pt x="29" y="258"/>
                    </a:lnTo>
                    <a:lnTo>
                      <a:pt x="27" y="258"/>
                    </a:lnTo>
                    <a:lnTo>
                      <a:pt x="25" y="258"/>
                    </a:lnTo>
                    <a:lnTo>
                      <a:pt x="23" y="258"/>
                    </a:lnTo>
                    <a:lnTo>
                      <a:pt x="23" y="260"/>
                    </a:lnTo>
                    <a:lnTo>
                      <a:pt x="23" y="258"/>
                    </a:lnTo>
                    <a:lnTo>
                      <a:pt x="23" y="256"/>
                    </a:lnTo>
                    <a:lnTo>
                      <a:pt x="25" y="254"/>
                    </a:lnTo>
                    <a:lnTo>
                      <a:pt x="23" y="252"/>
                    </a:lnTo>
                    <a:lnTo>
                      <a:pt x="21" y="252"/>
                    </a:lnTo>
                    <a:lnTo>
                      <a:pt x="21" y="250"/>
                    </a:lnTo>
                    <a:lnTo>
                      <a:pt x="23" y="248"/>
                    </a:lnTo>
                    <a:lnTo>
                      <a:pt x="23" y="246"/>
                    </a:lnTo>
                    <a:lnTo>
                      <a:pt x="21" y="246"/>
                    </a:lnTo>
                    <a:lnTo>
                      <a:pt x="21" y="244"/>
                    </a:lnTo>
                    <a:lnTo>
                      <a:pt x="21" y="242"/>
                    </a:lnTo>
                    <a:lnTo>
                      <a:pt x="21" y="240"/>
                    </a:lnTo>
                    <a:lnTo>
                      <a:pt x="19" y="238"/>
                    </a:lnTo>
                    <a:lnTo>
                      <a:pt x="17" y="238"/>
                    </a:lnTo>
                    <a:lnTo>
                      <a:pt x="17" y="240"/>
                    </a:lnTo>
                    <a:lnTo>
                      <a:pt x="15" y="240"/>
                    </a:lnTo>
                    <a:lnTo>
                      <a:pt x="15" y="238"/>
                    </a:lnTo>
                    <a:lnTo>
                      <a:pt x="13" y="238"/>
                    </a:lnTo>
                    <a:lnTo>
                      <a:pt x="15" y="237"/>
                    </a:lnTo>
                    <a:lnTo>
                      <a:pt x="15" y="235"/>
                    </a:lnTo>
                    <a:lnTo>
                      <a:pt x="17" y="233"/>
                    </a:lnTo>
                    <a:lnTo>
                      <a:pt x="17" y="231"/>
                    </a:lnTo>
                    <a:lnTo>
                      <a:pt x="17" y="229"/>
                    </a:lnTo>
                    <a:lnTo>
                      <a:pt x="19" y="229"/>
                    </a:lnTo>
                    <a:lnTo>
                      <a:pt x="21" y="227"/>
                    </a:lnTo>
                    <a:lnTo>
                      <a:pt x="21" y="225"/>
                    </a:lnTo>
                    <a:lnTo>
                      <a:pt x="21" y="223"/>
                    </a:lnTo>
                    <a:lnTo>
                      <a:pt x="21" y="221"/>
                    </a:lnTo>
                    <a:lnTo>
                      <a:pt x="23" y="221"/>
                    </a:lnTo>
                    <a:lnTo>
                      <a:pt x="25" y="221"/>
                    </a:lnTo>
                    <a:lnTo>
                      <a:pt x="25" y="223"/>
                    </a:lnTo>
                    <a:lnTo>
                      <a:pt x="25" y="225"/>
                    </a:lnTo>
                    <a:lnTo>
                      <a:pt x="25" y="227"/>
                    </a:lnTo>
                    <a:lnTo>
                      <a:pt x="27" y="227"/>
                    </a:lnTo>
                    <a:lnTo>
                      <a:pt x="29" y="227"/>
                    </a:lnTo>
                    <a:lnTo>
                      <a:pt x="31" y="225"/>
                    </a:lnTo>
                    <a:lnTo>
                      <a:pt x="32" y="225"/>
                    </a:lnTo>
                    <a:lnTo>
                      <a:pt x="34" y="223"/>
                    </a:lnTo>
                    <a:lnTo>
                      <a:pt x="34" y="221"/>
                    </a:lnTo>
                    <a:lnTo>
                      <a:pt x="34" y="219"/>
                    </a:lnTo>
                    <a:lnTo>
                      <a:pt x="34" y="217"/>
                    </a:lnTo>
                    <a:lnTo>
                      <a:pt x="32" y="215"/>
                    </a:lnTo>
                    <a:lnTo>
                      <a:pt x="31" y="213"/>
                    </a:lnTo>
                    <a:lnTo>
                      <a:pt x="29" y="213"/>
                    </a:lnTo>
                    <a:lnTo>
                      <a:pt x="27" y="213"/>
                    </a:lnTo>
                    <a:lnTo>
                      <a:pt x="27" y="212"/>
                    </a:lnTo>
                    <a:lnTo>
                      <a:pt x="27" y="210"/>
                    </a:lnTo>
                    <a:lnTo>
                      <a:pt x="25" y="208"/>
                    </a:lnTo>
                    <a:lnTo>
                      <a:pt x="25" y="206"/>
                    </a:lnTo>
                    <a:lnTo>
                      <a:pt x="23" y="204"/>
                    </a:lnTo>
                    <a:lnTo>
                      <a:pt x="23" y="202"/>
                    </a:lnTo>
                    <a:lnTo>
                      <a:pt x="21" y="200"/>
                    </a:lnTo>
                    <a:lnTo>
                      <a:pt x="21" y="198"/>
                    </a:lnTo>
                    <a:lnTo>
                      <a:pt x="19" y="196"/>
                    </a:lnTo>
                    <a:lnTo>
                      <a:pt x="19" y="194"/>
                    </a:lnTo>
                    <a:lnTo>
                      <a:pt x="19" y="192"/>
                    </a:lnTo>
                    <a:lnTo>
                      <a:pt x="17" y="192"/>
                    </a:lnTo>
                    <a:lnTo>
                      <a:pt x="17" y="190"/>
                    </a:lnTo>
                    <a:lnTo>
                      <a:pt x="15" y="190"/>
                    </a:lnTo>
                    <a:lnTo>
                      <a:pt x="15" y="192"/>
                    </a:lnTo>
                    <a:lnTo>
                      <a:pt x="15" y="190"/>
                    </a:lnTo>
                    <a:lnTo>
                      <a:pt x="15" y="188"/>
                    </a:lnTo>
                    <a:lnTo>
                      <a:pt x="13" y="187"/>
                    </a:lnTo>
                    <a:lnTo>
                      <a:pt x="13" y="185"/>
                    </a:lnTo>
                    <a:lnTo>
                      <a:pt x="11" y="185"/>
                    </a:lnTo>
                    <a:lnTo>
                      <a:pt x="11" y="183"/>
                    </a:lnTo>
                    <a:lnTo>
                      <a:pt x="9" y="183"/>
                    </a:lnTo>
                    <a:lnTo>
                      <a:pt x="9" y="181"/>
                    </a:lnTo>
                    <a:lnTo>
                      <a:pt x="7" y="181"/>
                    </a:lnTo>
                    <a:lnTo>
                      <a:pt x="7" y="179"/>
                    </a:lnTo>
                    <a:lnTo>
                      <a:pt x="7" y="177"/>
                    </a:lnTo>
                    <a:lnTo>
                      <a:pt x="7" y="175"/>
                    </a:lnTo>
                    <a:lnTo>
                      <a:pt x="7" y="173"/>
                    </a:lnTo>
                    <a:lnTo>
                      <a:pt x="7" y="171"/>
                    </a:lnTo>
                    <a:lnTo>
                      <a:pt x="7" y="169"/>
                    </a:lnTo>
                    <a:lnTo>
                      <a:pt x="6" y="169"/>
                    </a:lnTo>
                    <a:lnTo>
                      <a:pt x="6" y="165"/>
                    </a:lnTo>
                    <a:lnTo>
                      <a:pt x="6" y="163"/>
                    </a:lnTo>
                    <a:lnTo>
                      <a:pt x="6" y="162"/>
                    </a:lnTo>
                    <a:lnTo>
                      <a:pt x="7" y="160"/>
                    </a:lnTo>
                    <a:lnTo>
                      <a:pt x="6" y="158"/>
                    </a:lnTo>
                    <a:lnTo>
                      <a:pt x="7" y="156"/>
                    </a:lnTo>
                    <a:lnTo>
                      <a:pt x="6" y="152"/>
                    </a:lnTo>
                    <a:lnTo>
                      <a:pt x="6" y="150"/>
                    </a:lnTo>
                    <a:lnTo>
                      <a:pt x="4" y="150"/>
                    </a:lnTo>
                    <a:lnTo>
                      <a:pt x="2" y="148"/>
                    </a:lnTo>
                    <a:lnTo>
                      <a:pt x="2" y="146"/>
                    </a:lnTo>
                    <a:lnTo>
                      <a:pt x="0" y="144"/>
                    </a:lnTo>
                    <a:lnTo>
                      <a:pt x="0" y="142"/>
                    </a:lnTo>
                    <a:lnTo>
                      <a:pt x="2" y="142"/>
                    </a:lnTo>
                    <a:lnTo>
                      <a:pt x="4" y="144"/>
                    </a:lnTo>
                    <a:lnTo>
                      <a:pt x="4" y="142"/>
                    </a:lnTo>
                    <a:lnTo>
                      <a:pt x="6" y="142"/>
                    </a:lnTo>
                    <a:lnTo>
                      <a:pt x="6" y="144"/>
                    </a:lnTo>
                    <a:lnTo>
                      <a:pt x="7" y="142"/>
                    </a:lnTo>
                    <a:lnTo>
                      <a:pt x="9" y="142"/>
                    </a:lnTo>
                    <a:lnTo>
                      <a:pt x="11" y="142"/>
                    </a:lnTo>
                    <a:lnTo>
                      <a:pt x="11" y="140"/>
                    </a:lnTo>
                    <a:lnTo>
                      <a:pt x="11" y="139"/>
                    </a:lnTo>
                    <a:lnTo>
                      <a:pt x="13" y="139"/>
                    </a:lnTo>
                    <a:lnTo>
                      <a:pt x="15" y="139"/>
                    </a:lnTo>
                    <a:lnTo>
                      <a:pt x="15" y="137"/>
                    </a:lnTo>
                    <a:lnTo>
                      <a:pt x="15" y="139"/>
                    </a:lnTo>
                    <a:lnTo>
                      <a:pt x="17" y="139"/>
                    </a:lnTo>
                    <a:lnTo>
                      <a:pt x="17" y="137"/>
                    </a:lnTo>
                    <a:lnTo>
                      <a:pt x="17" y="139"/>
                    </a:lnTo>
                    <a:lnTo>
                      <a:pt x="17" y="140"/>
                    </a:lnTo>
                    <a:lnTo>
                      <a:pt x="17" y="142"/>
                    </a:lnTo>
                    <a:lnTo>
                      <a:pt x="15" y="144"/>
                    </a:lnTo>
                    <a:lnTo>
                      <a:pt x="17" y="146"/>
                    </a:lnTo>
                    <a:lnTo>
                      <a:pt x="19" y="144"/>
                    </a:lnTo>
                    <a:lnTo>
                      <a:pt x="19" y="142"/>
                    </a:lnTo>
                    <a:lnTo>
                      <a:pt x="21" y="142"/>
                    </a:lnTo>
                    <a:lnTo>
                      <a:pt x="23" y="142"/>
                    </a:lnTo>
                    <a:lnTo>
                      <a:pt x="25" y="142"/>
                    </a:lnTo>
                    <a:lnTo>
                      <a:pt x="27" y="144"/>
                    </a:lnTo>
                    <a:lnTo>
                      <a:pt x="29" y="146"/>
                    </a:lnTo>
                    <a:lnTo>
                      <a:pt x="29" y="148"/>
                    </a:lnTo>
                    <a:lnTo>
                      <a:pt x="31" y="146"/>
                    </a:lnTo>
                    <a:lnTo>
                      <a:pt x="32" y="146"/>
                    </a:lnTo>
                    <a:lnTo>
                      <a:pt x="34" y="144"/>
                    </a:lnTo>
                    <a:lnTo>
                      <a:pt x="36" y="142"/>
                    </a:lnTo>
                    <a:lnTo>
                      <a:pt x="36" y="140"/>
                    </a:lnTo>
                    <a:lnTo>
                      <a:pt x="38" y="139"/>
                    </a:lnTo>
                    <a:lnTo>
                      <a:pt x="38" y="137"/>
                    </a:lnTo>
                    <a:lnTo>
                      <a:pt x="40" y="137"/>
                    </a:lnTo>
                    <a:lnTo>
                      <a:pt x="40" y="135"/>
                    </a:lnTo>
                    <a:lnTo>
                      <a:pt x="42" y="133"/>
                    </a:lnTo>
                    <a:lnTo>
                      <a:pt x="44" y="133"/>
                    </a:lnTo>
                    <a:lnTo>
                      <a:pt x="46" y="133"/>
                    </a:lnTo>
                    <a:lnTo>
                      <a:pt x="48" y="135"/>
                    </a:lnTo>
                    <a:lnTo>
                      <a:pt x="48" y="133"/>
                    </a:lnTo>
                    <a:lnTo>
                      <a:pt x="50" y="133"/>
                    </a:lnTo>
                    <a:lnTo>
                      <a:pt x="48" y="131"/>
                    </a:lnTo>
                    <a:lnTo>
                      <a:pt x="48" y="127"/>
                    </a:lnTo>
                    <a:lnTo>
                      <a:pt x="48" y="125"/>
                    </a:lnTo>
                    <a:lnTo>
                      <a:pt x="48" y="121"/>
                    </a:lnTo>
                    <a:lnTo>
                      <a:pt x="48" y="119"/>
                    </a:lnTo>
                    <a:lnTo>
                      <a:pt x="46" y="119"/>
                    </a:lnTo>
                    <a:lnTo>
                      <a:pt x="46" y="117"/>
                    </a:lnTo>
                    <a:lnTo>
                      <a:pt x="48" y="115"/>
                    </a:lnTo>
                    <a:lnTo>
                      <a:pt x="48" y="114"/>
                    </a:lnTo>
                    <a:lnTo>
                      <a:pt x="50" y="112"/>
                    </a:lnTo>
                    <a:lnTo>
                      <a:pt x="52" y="112"/>
                    </a:lnTo>
                    <a:lnTo>
                      <a:pt x="52" y="110"/>
                    </a:lnTo>
                    <a:lnTo>
                      <a:pt x="50" y="108"/>
                    </a:lnTo>
                    <a:lnTo>
                      <a:pt x="52" y="108"/>
                    </a:lnTo>
                    <a:lnTo>
                      <a:pt x="50" y="106"/>
                    </a:lnTo>
                    <a:lnTo>
                      <a:pt x="52" y="106"/>
                    </a:lnTo>
                    <a:lnTo>
                      <a:pt x="54" y="106"/>
                    </a:lnTo>
                    <a:lnTo>
                      <a:pt x="56" y="104"/>
                    </a:lnTo>
                    <a:lnTo>
                      <a:pt x="57" y="104"/>
                    </a:lnTo>
                    <a:lnTo>
                      <a:pt x="57" y="102"/>
                    </a:lnTo>
                    <a:lnTo>
                      <a:pt x="59" y="102"/>
                    </a:lnTo>
                    <a:lnTo>
                      <a:pt x="59" y="104"/>
                    </a:lnTo>
                    <a:lnTo>
                      <a:pt x="61" y="104"/>
                    </a:lnTo>
                    <a:lnTo>
                      <a:pt x="63" y="104"/>
                    </a:lnTo>
                    <a:lnTo>
                      <a:pt x="65" y="106"/>
                    </a:lnTo>
                    <a:lnTo>
                      <a:pt x="65" y="108"/>
                    </a:lnTo>
                    <a:lnTo>
                      <a:pt x="67" y="108"/>
                    </a:lnTo>
                    <a:lnTo>
                      <a:pt x="67" y="110"/>
                    </a:lnTo>
                    <a:lnTo>
                      <a:pt x="69" y="110"/>
                    </a:lnTo>
                    <a:lnTo>
                      <a:pt x="71" y="112"/>
                    </a:lnTo>
                    <a:lnTo>
                      <a:pt x="73" y="112"/>
                    </a:lnTo>
                    <a:lnTo>
                      <a:pt x="73" y="114"/>
                    </a:lnTo>
                    <a:lnTo>
                      <a:pt x="73" y="115"/>
                    </a:lnTo>
                    <a:lnTo>
                      <a:pt x="73" y="117"/>
                    </a:lnTo>
                    <a:lnTo>
                      <a:pt x="73" y="119"/>
                    </a:lnTo>
                    <a:lnTo>
                      <a:pt x="75" y="119"/>
                    </a:lnTo>
                    <a:lnTo>
                      <a:pt x="75" y="123"/>
                    </a:lnTo>
                    <a:lnTo>
                      <a:pt x="77" y="123"/>
                    </a:lnTo>
                    <a:lnTo>
                      <a:pt x="79" y="123"/>
                    </a:lnTo>
                    <a:lnTo>
                      <a:pt x="79" y="121"/>
                    </a:lnTo>
                    <a:lnTo>
                      <a:pt x="80" y="121"/>
                    </a:lnTo>
                    <a:lnTo>
                      <a:pt x="82" y="121"/>
                    </a:lnTo>
                    <a:lnTo>
                      <a:pt x="84" y="121"/>
                    </a:lnTo>
                    <a:lnTo>
                      <a:pt x="86" y="123"/>
                    </a:lnTo>
                    <a:lnTo>
                      <a:pt x="86" y="125"/>
                    </a:lnTo>
                    <a:lnTo>
                      <a:pt x="88" y="125"/>
                    </a:lnTo>
                    <a:lnTo>
                      <a:pt x="90" y="125"/>
                    </a:lnTo>
                    <a:lnTo>
                      <a:pt x="90" y="127"/>
                    </a:lnTo>
                    <a:lnTo>
                      <a:pt x="90" y="125"/>
                    </a:lnTo>
                    <a:lnTo>
                      <a:pt x="92" y="125"/>
                    </a:lnTo>
                    <a:lnTo>
                      <a:pt x="94" y="125"/>
                    </a:lnTo>
                    <a:lnTo>
                      <a:pt x="96" y="125"/>
                    </a:lnTo>
                    <a:lnTo>
                      <a:pt x="98" y="125"/>
                    </a:lnTo>
                    <a:lnTo>
                      <a:pt x="100" y="125"/>
                    </a:lnTo>
                    <a:lnTo>
                      <a:pt x="102" y="125"/>
                    </a:lnTo>
                    <a:lnTo>
                      <a:pt x="104" y="127"/>
                    </a:lnTo>
                    <a:lnTo>
                      <a:pt x="105" y="127"/>
                    </a:lnTo>
                    <a:lnTo>
                      <a:pt x="107" y="127"/>
                    </a:lnTo>
                    <a:lnTo>
                      <a:pt x="109" y="127"/>
                    </a:lnTo>
                    <a:lnTo>
                      <a:pt x="111" y="127"/>
                    </a:lnTo>
                    <a:lnTo>
                      <a:pt x="113" y="129"/>
                    </a:lnTo>
                    <a:lnTo>
                      <a:pt x="113" y="131"/>
                    </a:lnTo>
                    <a:lnTo>
                      <a:pt x="115" y="131"/>
                    </a:lnTo>
                    <a:lnTo>
                      <a:pt x="115" y="133"/>
                    </a:lnTo>
                    <a:lnTo>
                      <a:pt x="117" y="133"/>
                    </a:lnTo>
                    <a:lnTo>
                      <a:pt x="119" y="135"/>
                    </a:lnTo>
                    <a:lnTo>
                      <a:pt x="119" y="133"/>
                    </a:lnTo>
                    <a:lnTo>
                      <a:pt x="121" y="133"/>
                    </a:lnTo>
                    <a:lnTo>
                      <a:pt x="123" y="133"/>
                    </a:lnTo>
                    <a:lnTo>
                      <a:pt x="125" y="131"/>
                    </a:lnTo>
                    <a:lnTo>
                      <a:pt x="127" y="131"/>
                    </a:lnTo>
                    <a:lnTo>
                      <a:pt x="127" y="133"/>
                    </a:lnTo>
                    <a:lnTo>
                      <a:pt x="127" y="131"/>
                    </a:lnTo>
                    <a:lnTo>
                      <a:pt x="129" y="131"/>
                    </a:lnTo>
                    <a:lnTo>
                      <a:pt x="130" y="133"/>
                    </a:lnTo>
                    <a:lnTo>
                      <a:pt x="132" y="133"/>
                    </a:lnTo>
                    <a:lnTo>
                      <a:pt x="134" y="133"/>
                    </a:lnTo>
                    <a:lnTo>
                      <a:pt x="136" y="133"/>
                    </a:lnTo>
                    <a:lnTo>
                      <a:pt x="138" y="133"/>
                    </a:lnTo>
                    <a:lnTo>
                      <a:pt x="140" y="131"/>
                    </a:lnTo>
                    <a:lnTo>
                      <a:pt x="140" y="129"/>
                    </a:lnTo>
                    <a:lnTo>
                      <a:pt x="142" y="129"/>
                    </a:lnTo>
                    <a:lnTo>
                      <a:pt x="144" y="129"/>
                    </a:lnTo>
                    <a:lnTo>
                      <a:pt x="146" y="131"/>
                    </a:lnTo>
                    <a:lnTo>
                      <a:pt x="148" y="131"/>
                    </a:lnTo>
                    <a:lnTo>
                      <a:pt x="148" y="129"/>
                    </a:lnTo>
                    <a:lnTo>
                      <a:pt x="148" y="127"/>
                    </a:lnTo>
                    <a:lnTo>
                      <a:pt x="150" y="125"/>
                    </a:lnTo>
                    <a:lnTo>
                      <a:pt x="152" y="125"/>
                    </a:lnTo>
                    <a:lnTo>
                      <a:pt x="153" y="125"/>
                    </a:lnTo>
                    <a:lnTo>
                      <a:pt x="153" y="123"/>
                    </a:lnTo>
                    <a:lnTo>
                      <a:pt x="155" y="123"/>
                    </a:lnTo>
                    <a:lnTo>
                      <a:pt x="155" y="121"/>
                    </a:lnTo>
                    <a:lnTo>
                      <a:pt x="157" y="121"/>
                    </a:lnTo>
                    <a:lnTo>
                      <a:pt x="157" y="119"/>
                    </a:lnTo>
                    <a:lnTo>
                      <a:pt x="157" y="117"/>
                    </a:lnTo>
                    <a:lnTo>
                      <a:pt x="159" y="117"/>
                    </a:lnTo>
                    <a:lnTo>
                      <a:pt x="161" y="117"/>
                    </a:lnTo>
                    <a:lnTo>
                      <a:pt x="161" y="114"/>
                    </a:lnTo>
                    <a:lnTo>
                      <a:pt x="163" y="114"/>
                    </a:lnTo>
                    <a:lnTo>
                      <a:pt x="165" y="112"/>
                    </a:lnTo>
                    <a:lnTo>
                      <a:pt x="165" y="110"/>
                    </a:lnTo>
                    <a:lnTo>
                      <a:pt x="167" y="110"/>
                    </a:lnTo>
                    <a:lnTo>
                      <a:pt x="169" y="108"/>
                    </a:lnTo>
                    <a:lnTo>
                      <a:pt x="171" y="108"/>
                    </a:lnTo>
                    <a:lnTo>
                      <a:pt x="173" y="108"/>
                    </a:lnTo>
                    <a:lnTo>
                      <a:pt x="175" y="106"/>
                    </a:lnTo>
                    <a:lnTo>
                      <a:pt x="177" y="106"/>
                    </a:lnTo>
                    <a:lnTo>
                      <a:pt x="177" y="104"/>
                    </a:lnTo>
                    <a:lnTo>
                      <a:pt x="175" y="104"/>
                    </a:lnTo>
                    <a:lnTo>
                      <a:pt x="175" y="102"/>
                    </a:lnTo>
                    <a:lnTo>
                      <a:pt x="177" y="102"/>
                    </a:lnTo>
                    <a:lnTo>
                      <a:pt x="177" y="100"/>
                    </a:lnTo>
                    <a:lnTo>
                      <a:pt x="177" y="98"/>
                    </a:lnTo>
                    <a:lnTo>
                      <a:pt x="178" y="96"/>
                    </a:lnTo>
                    <a:lnTo>
                      <a:pt x="178" y="94"/>
                    </a:lnTo>
                    <a:lnTo>
                      <a:pt x="178" y="92"/>
                    </a:lnTo>
                    <a:lnTo>
                      <a:pt x="178" y="90"/>
                    </a:lnTo>
                    <a:lnTo>
                      <a:pt x="180" y="89"/>
                    </a:lnTo>
                    <a:lnTo>
                      <a:pt x="182" y="87"/>
                    </a:lnTo>
                    <a:lnTo>
                      <a:pt x="182" y="85"/>
                    </a:lnTo>
                    <a:lnTo>
                      <a:pt x="184" y="85"/>
                    </a:lnTo>
                    <a:lnTo>
                      <a:pt x="184" y="83"/>
                    </a:lnTo>
                    <a:lnTo>
                      <a:pt x="186" y="81"/>
                    </a:lnTo>
                    <a:lnTo>
                      <a:pt x="186" y="79"/>
                    </a:lnTo>
                    <a:lnTo>
                      <a:pt x="186" y="77"/>
                    </a:lnTo>
                    <a:lnTo>
                      <a:pt x="188" y="77"/>
                    </a:lnTo>
                    <a:lnTo>
                      <a:pt x="190" y="75"/>
                    </a:lnTo>
                    <a:lnTo>
                      <a:pt x="190" y="73"/>
                    </a:lnTo>
                    <a:lnTo>
                      <a:pt x="192" y="73"/>
                    </a:lnTo>
                    <a:lnTo>
                      <a:pt x="192" y="71"/>
                    </a:lnTo>
                    <a:lnTo>
                      <a:pt x="192" y="69"/>
                    </a:lnTo>
                    <a:lnTo>
                      <a:pt x="192" y="67"/>
                    </a:lnTo>
                    <a:lnTo>
                      <a:pt x="194" y="67"/>
                    </a:lnTo>
                    <a:lnTo>
                      <a:pt x="192" y="65"/>
                    </a:lnTo>
                    <a:lnTo>
                      <a:pt x="194" y="65"/>
                    </a:lnTo>
                    <a:lnTo>
                      <a:pt x="194" y="64"/>
                    </a:lnTo>
                    <a:lnTo>
                      <a:pt x="194" y="62"/>
                    </a:lnTo>
                    <a:lnTo>
                      <a:pt x="196" y="60"/>
                    </a:lnTo>
                    <a:lnTo>
                      <a:pt x="198" y="60"/>
                    </a:lnTo>
                    <a:lnTo>
                      <a:pt x="198" y="58"/>
                    </a:lnTo>
                    <a:lnTo>
                      <a:pt x="200" y="58"/>
                    </a:lnTo>
                    <a:lnTo>
                      <a:pt x="202" y="58"/>
                    </a:lnTo>
                    <a:lnTo>
                      <a:pt x="203" y="58"/>
                    </a:lnTo>
                    <a:lnTo>
                      <a:pt x="205" y="58"/>
                    </a:lnTo>
                    <a:lnTo>
                      <a:pt x="207" y="58"/>
                    </a:lnTo>
                    <a:lnTo>
                      <a:pt x="205" y="56"/>
                    </a:lnTo>
                    <a:lnTo>
                      <a:pt x="207" y="54"/>
                    </a:lnTo>
                    <a:lnTo>
                      <a:pt x="207" y="52"/>
                    </a:lnTo>
                    <a:lnTo>
                      <a:pt x="209" y="52"/>
                    </a:lnTo>
                    <a:lnTo>
                      <a:pt x="207" y="52"/>
                    </a:lnTo>
                    <a:lnTo>
                      <a:pt x="209" y="50"/>
                    </a:lnTo>
                    <a:lnTo>
                      <a:pt x="207" y="50"/>
                    </a:lnTo>
                    <a:lnTo>
                      <a:pt x="209" y="50"/>
                    </a:lnTo>
                    <a:lnTo>
                      <a:pt x="209" y="48"/>
                    </a:lnTo>
                    <a:lnTo>
                      <a:pt x="209" y="46"/>
                    </a:lnTo>
                    <a:lnTo>
                      <a:pt x="209" y="44"/>
                    </a:lnTo>
                    <a:lnTo>
                      <a:pt x="209" y="42"/>
                    </a:lnTo>
                    <a:lnTo>
                      <a:pt x="209" y="40"/>
                    </a:lnTo>
                    <a:lnTo>
                      <a:pt x="209" y="39"/>
                    </a:lnTo>
                    <a:lnTo>
                      <a:pt x="211" y="39"/>
                    </a:lnTo>
                    <a:lnTo>
                      <a:pt x="211" y="37"/>
                    </a:lnTo>
                    <a:lnTo>
                      <a:pt x="213" y="37"/>
                    </a:lnTo>
                    <a:lnTo>
                      <a:pt x="213" y="35"/>
                    </a:lnTo>
                    <a:lnTo>
                      <a:pt x="213" y="33"/>
                    </a:lnTo>
                    <a:lnTo>
                      <a:pt x="211" y="31"/>
                    </a:lnTo>
                    <a:lnTo>
                      <a:pt x="209" y="31"/>
                    </a:lnTo>
                    <a:lnTo>
                      <a:pt x="209" y="29"/>
                    </a:lnTo>
                    <a:lnTo>
                      <a:pt x="211" y="27"/>
                    </a:lnTo>
                    <a:lnTo>
                      <a:pt x="213" y="27"/>
                    </a:lnTo>
                    <a:lnTo>
                      <a:pt x="213" y="25"/>
                    </a:lnTo>
                    <a:lnTo>
                      <a:pt x="215" y="25"/>
                    </a:lnTo>
                    <a:lnTo>
                      <a:pt x="217" y="25"/>
                    </a:lnTo>
                    <a:lnTo>
                      <a:pt x="219" y="23"/>
                    </a:lnTo>
                    <a:lnTo>
                      <a:pt x="221" y="23"/>
                    </a:lnTo>
                    <a:lnTo>
                      <a:pt x="221" y="25"/>
                    </a:lnTo>
                    <a:lnTo>
                      <a:pt x="221" y="23"/>
                    </a:lnTo>
                    <a:lnTo>
                      <a:pt x="223" y="23"/>
                    </a:lnTo>
                    <a:lnTo>
                      <a:pt x="223" y="25"/>
                    </a:lnTo>
                    <a:lnTo>
                      <a:pt x="225" y="25"/>
                    </a:lnTo>
                    <a:lnTo>
                      <a:pt x="225" y="23"/>
                    </a:lnTo>
                    <a:lnTo>
                      <a:pt x="226" y="23"/>
                    </a:lnTo>
                    <a:lnTo>
                      <a:pt x="228" y="23"/>
                    </a:lnTo>
                    <a:lnTo>
                      <a:pt x="228" y="21"/>
                    </a:lnTo>
                    <a:lnTo>
                      <a:pt x="228" y="19"/>
                    </a:lnTo>
                    <a:lnTo>
                      <a:pt x="230" y="19"/>
                    </a:lnTo>
                    <a:lnTo>
                      <a:pt x="232" y="19"/>
                    </a:lnTo>
                    <a:lnTo>
                      <a:pt x="232" y="21"/>
                    </a:lnTo>
                    <a:lnTo>
                      <a:pt x="234" y="21"/>
                    </a:lnTo>
                    <a:lnTo>
                      <a:pt x="234" y="23"/>
                    </a:lnTo>
                    <a:lnTo>
                      <a:pt x="232" y="23"/>
                    </a:lnTo>
                    <a:lnTo>
                      <a:pt x="234" y="23"/>
                    </a:lnTo>
                    <a:lnTo>
                      <a:pt x="234" y="25"/>
                    </a:lnTo>
                    <a:lnTo>
                      <a:pt x="236" y="25"/>
                    </a:lnTo>
                    <a:lnTo>
                      <a:pt x="238" y="25"/>
                    </a:lnTo>
                    <a:lnTo>
                      <a:pt x="238" y="23"/>
                    </a:lnTo>
                    <a:lnTo>
                      <a:pt x="240" y="23"/>
                    </a:lnTo>
                    <a:lnTo>
                      <a:pt x="240" y="21"/>
                    </a:lnTo>
                    <a:lnTo>
                      <a:pt x="242" y="21"/>
                    </a:lnTo>
                    <a:lnTo>
                      <a:pt x="244" y="21"/>
                    </a:lnTo>
                    <a:lnTo>
                      <a:pt x="244" y="19"/>
                    </a:lnTo>
                    <a:lnTo>
                      <a:pt x="246" y="19"/>
                    </a:lnTo>
                    <a:lnTo>
                      <a:pt x="246" y="17"/>
                    </a:lnTo>
                    <a:lnTo>
                      <a:pt x="248" y="15"/>
                    </a:lnTo>
                    <a:lnTo>
                      <a:pt x="250" y="15"/>
                    </a:lnTo>
                    <a:lnTo>
                      <a:pt x="250" y="17"/>
                    </a:lnTo>
                    <a:lnTo>
                      <a:pt x="251" y="17"/>
                    </a:lnTo>
                    <a:lnTo>
                      <a:pt x="253" y="17"/>
                    </a:lnTo>
                    <a:lnTo>
                      <a:pt x="255" y="17"/>
                    </a:lnTo>
                    <a:lnTo>
                      <a:pt x="257" y="17"/>
                    </a:lnTo>
                    <a:lnTo>
                      <a:pt x="259" y="19"/>
                    </a:lnTo>
                    <a:lnTo>
                      <a:pt x="261" y="19"/>
                    </a:lnTo>
                    <a:lnTo>
                      <a:pt x="261" y="17"/>
                    </a:lnTo>
                    <a:lnTo>
                      <a:pt x="261" y="15"/>
                    </a:lnTo>
                    <a:lnTo>
                      <a:pt x="263" y="15"/>
                    </a:lnTo>
                    <a:lnTo>
                      <a:pt x="265" y="15"/>
                    </a:lnTo>
                    <a:lnTo>
                      <a:pt x="267" y="14"/>
                    </a:lnTo>
                    <a:lnTo>
                      <a:pt x="265" y="12"/>
                    </a:lnTo>
                    <a:lnTo>
                      <a:pt x="265" y="10"/>
                    </a:lnTo>
                    <a:lnTo>
                      <a:pt x="265" y="8"/>
                    </a:lnTo>
                    <a:lnTo>
                      <a:pt x="267" y="8"/>
                    </a:lnTo>
                    <a:lnTo>
                      <a:pt x="267" y="10"/>
                    </a:lnTo>
                    <a:lnTo>
                      <a:pt x="269" y="10"/>
                    </a:lnTo>
                    <a:lnTo>
                      <a:pt x="271" y="10"/>
                    </a:lnTo>
                    <a:lnTo>
                      <a:pt x="269" y="12"/>
                    </a:lnTo>
                    <a:lnTo>
                      <a:pt x="271" y="12"/>
                    </a:lnTo>
                    <a:lnTo>
                      <a:pt x="271" y="14"/>
                    </a:lnTo>
                    <a:lnTo>
                      <a:pt x="273" y="14"/>
                    </a:lnTo>
                    <a:lnTo>
                      <a:pt x="273" y="15"/>
                    </a:lnTo>
                    <a:lnTo>
                      <a:pt x="275" y="15"/>
                    </a:lnTo>
                    <a:lnTo>
                      <a:pt x="275" y="14"/>
                    </a:lnTo>
                    <a:lnTo>
                      <a:pt x="276" y="14"/>
                    </a:lnTo>
                    <a:lnTo>
                      <a:pt x="276" y="12"/>
                    </a:lnTo>
                    <a:lnTo>
                      <a:pt x="278" y="12"/>
                    </a:lnTo>
                    <a:lnTo>
                      <a:pt x="280" y="12"/>
                    </a:lnTo>
                    <a:lnTo>
                      <a:pt x="280" y="10"/>
                    </a:lnTo>
                    <a:lnTo>
                      <a:pt x="282" y="8"/>
                    </a:lnTo>
                    <a:lnTo>
                      <a:pt x="280" y="8"/>
                    </a:lnTo>
                    <a:lnTo>
                      <a:pt x="282" y="6"/>
                    </a:lnTo>
                    <a:lnTo>
                      <a:pt x="282" y="4"/>
                    </a:lnTo>
                    <a:lnTo>
                      <a:pt x="282" y="2"/>
                    </a:lnTo>
                    <a:lnTo>
                      <a:pt x="282" y="0"/>
                    </a:lnTo>
                    <a:lnTo>
                      <a:pt x="284" y="0"/>
                    </a:lnTo>
                    <a:lnTo>
                      <a:pt x="286" y="0"/>
                    </a:lnTo>
                    <a:lnTo>
                      <a:pt x="288" y="0"/>
                    </a:lnTo>
                    <a:lnTo>
                      <a:pt x="290" y="2"/>
                    </a:lnTo>
                    <a:lnTo>
                      <a:pt x="292" y="4"/>
                    </a:lnTo>
                    <a:lnTo>
                      <a:pt x="292" y="6"/>
                    </a:lnTo>
                    <a:lnTo>
                      <a:pt x="294" y="6"/>
                    </a:lnTo>
                    <a:lnTo>
                      <a:pt x="296" y="6"/>
                    </a:lnTo>
                    <a:lnTo>
                      <a:pt x="296" y="8"/>
                    </a:lnTo>
                    <a:lnTo>
                      <a:pt x="298" y="8"/>
                    </a:lnTo>
                    <a:lnTo>
                      <a:pt x="300" y="8"/>
                    </a:lnTo>
                    <a:lnTo>
                      <a:pt x="300" y="10"/>
                    </a:lnTo>
                    <a:lnTo>
                      <a:pt x="301" y="10"/>
                    </a:lnTo>
                    <a:lnTo>
                      <a:pt x="303" y="10"/>
                    </a:lnTo>
                    <a:lnTo>
                      <a:pt x="303" y="12"/>
                    </a:lnTo>
                    <a:lnTo>
                      <a:pt x="305" y="12"/>
                    </a:lnTo>
                    <a:lnTo>
                      <a:pt x="305" y="14"/>
                    </a:lnTo>
                    <a:lnTo>
                      <a:pt x="305" y="15"/>
                    </a:lnTo>
                    <a:lnTo>
                      <a:pt x="307" y="15"/>
                    </a:lnTo>
                    <a:lnTo>
                      <a:pt x="307" y="17"/>
                    </a:lnTo>
                    <a:lnTo>
                      <a:pt x="307" y="19"/>
                    </a:lnTo>
                    <a:lnTo>
                      <a:pt x="309" y="19"/>
                    </a:lnTo>
                    <a:lnTo>
                      <a:pt x="311" y="19"/>
                    </a:lnTo>
                    <a:lnTo>
                      <a:pt x="313" y="19"/>
                    </a:lnTo>
                    <a:lnTo>
                      <a:pt x="313" y="21"/>
                    </a:lnTo>
                    <a:lnTo>
                      <a:pt x="313" y="23"/>
                    </a:lnTo>
                    <a:lnTo>
                      <a:pt x="315" y="25"/>
                    </a:lnTo>
                    <a:lnTo>
                      <a:pt x="317" y="25"/>
                    </a:lnTo>
                    <a:lnTo>
                      <a:pt x="317" y="23"/>
                    </a:lnTo>
                    <a:lnTo>
                      <a:pt x="319" y="23"/>
                    </a:lnTo>
                    <a:lnTo>
                      <a:pt x="319" y="25"/>
                    </a:lnTo>
                    <a:lnTo>
                      <a:pt x="321" y="25"/>
                    </a:lnTo>
                    <a:lnTo>
                      <a:pt x="321" y="23"/>
                    </a:lnTo>
                    <a:lnTo>
                      <a:pt x="321" y="25"/>
                    </a:lnTo>
                    <a:lnTo>
                      <a:pt x="323" y="25"/>
                    </a:lnTo>
                    <a:lnTo>
                      <a:pt x="324" y="25"/>
                    </a:lnTo>
                    <a:lnTo>
                      <a:pt x="326" y="25"/>
                    </a:lnTo>
                    <a:lnTo>
                      <a:pt x="326" y="27"/>
                    </a:lnTo>
                    <a:lnTo>
                      <a:pt x="326" y="29"/>
                    </a:lnTo>
                    <a:lnTo>
                      <a:pt x="326" y="31"/>
                    </a:lnTo>
                    <a:lnTo>
                      <a:pt x="328" y="31"/>
                    </a:lnTo>
                    <a:lnTo>
                      <a:pt x="328" y="33"/>
                    </a:lnTo>
                    <a:lnTo>
                      <a:pt x="330" y="33"/>
                    </a:lnTo>
                    <a:lnTo>
                      <a:pt x="332" y="33"/>
                    </a:lnTo>
                    <a:lnTo>
                      <a:pt x="334" y="33"/>
                    </a:lnTo>
                    <a:lnTo>
                      <a:pt x="336" y="33"/>
                    </a:lnTo>
                    <a:lnTo>
                      <a:pt x="336" y="35"/>
                    </a:lnTo>
                    <a:lnTo>
                      <a:pt x="338" y="33"/>
                    </a:lnTo>
                    <a:lnTo>
                      <a:pt x="338" y="35"/>
                    </a:lnTo>
                    <a:lnTo>
                      <a:pt x="338" y="37"/>
                    </a:lnTo>
                    <a:lnTo>
                      <a:pt x="338" y="39"/>
                    </a:lnTo>
                    <a:lnTo>
                      <a:pt x="338" y="40"/>
                    </a:lnTo>
                    <a:lnTo>
                      <a:pt x="338" y="42"/>
                    </a:lnTo>
                    <a:lnTo>
                      <a:pt x="340" y="42"/>
                    </a:lnTo>
                    <a:lnTo>
                      <a:pt x="342" y="42"/>
                    </a:lnTo>
                    <a:lnTo>
                      <a:pt x="342" y="40"/>
                    </a:lnTo>
                    <a:lnTo>
                      <a:pt x="342" y="42"/>
                    </a:lnTo>
                    <a:lnTo>
                      <a:pt x="344" y="42"/>
                    </a:lnTo>
                    <a:lnTo>
                      <a:pt x="346" y="42"/>
                    </a:lnTo>
                    <a:lnTo>
                      <a:pt x="348" y="42"/>
                    </a:lnTo>
                    <a:lnTo>
                      <a:pt x="349" y="42"/>
                    </a:lnTo>
                    <a:lnTo>
                      <a:pt x="349" y="40"/>
                    </a:lnTo>
                    <a:lnTo>
                      <a:pt x="351" y="40"/>
                    </a:lnTo>
                    <a:lnTo>
                      <a:pt x="349" y="40"/>
                    </a:lnTo>
                    <a:lnTo>
                      <a:pt x="351" y="39"/>
                    </a:lnTo>
                    <a:lnTo>
                      <a:pt x="353" y="39"/>
                    </a:lnTo>
                    <a:lnTo>
                      <a:pt x="355" y="39"/>
                    </a:lnTo>
                    <a:lnTo>
                      <a:pt x="355" y="40"/>
                    </a:lnTo>
                    <a:lnTo>
                      <a:pt x="357" y="40"/>
                    </a:lnTo>
                    <a:lnTo>
                      <a:pt x="359" y="40"/>
                    </a:lnTo>
                    <a:lnTo>
                      <a:pt x="359" y="39"/>
                    </a:lnTo>
                    <a:lnTo>
                      <a:pt x="361" y="39"/>
                    </a:lnTo>
                    <a:lnTo>
                      <a:pt x="361" y="40"/>
                    </a:lnTo>
                    <a:lnTo>
                      <a:pt x="363" y="40"/>
                    </a:lnTo>
                    <a:lnTo>
                      <a:pt x="365" y="40"/>
                    </a:lnTo>
                    <a:lnTo>
                      <a:pt x="365" y="42"/>
                    </a:lnTo>
                    <a:lnTo>
                      <a:pt x="363" y="44"/>
                    </a:lnTo>
                    <a:lnTo>
                      <a:pt x="363" y="46"/>
                    </a:lnTo>
                    <a:lnTo>
                      <a:pt x="365" y="48"/>
                    </a:lnTo>
                    <a:lnTo>
                      <a:pt x="367" y="48"/>
                    </a:lnTo>
                    <a:lnTo>
                      <a:pt x="367" y="50"/>
                    </a:lnTo>
                    <a:lnTo>
                      <a:pt x="369" y="48"/>
                    </a:lnTo>
                    <a:lnTo>
                      <a:pt x="369" y="50"/>
                    </a:lnTo>
                    <a:lnTo>
                      <a:pt x="371" y="50"/>
                    </a:lnTo>
                    <a:lnTo>
                      <a:pt x="373" y="5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Freeform 112">
                <a:extLst>
                  <a:ext uri="{FF2B5EF4-FFF2-40B4-BE49-F238E27FC236}">
                    <a16:creationId xmlns="" xmlns:a16="http://schemas.microsoft.com/office/drawing/2014/main" id="{8865F296-1EE4-425F-B710-17A3BE74DE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5588" y="4103688"/>
                <a:ext cx="354013" cy="452438"/>
              </a:xfrm>
              <a:custGeom>
                <a:avLst/>
                <a:gdLst>
                  <a:gd name="T0" fmla="*/ 211 w 223"/>
                  <a:gd name="T1" fmla="*/ 212 h 285"/>
                  <a:gd name="T2" fmla="*/ 190 w 223"/>
                  <a:gd name="T3" fmla="*/ 256 h 285"/>
                  <a:gd name="T4" fmla="*/ 171 w 223"/>
                  <a:gd name="T5" fmla="*/ 270 h 285"/>
                  <a:gd name="T6" fmla="*/ 161 w 223"/>
                  <a:gd name="T7" fmla="*/ 279 h 285"/>
                  <a:gd name="T8" fmla="*/ 136 w 223"/>
                  <a:gd name="T9" fmla="*/ 277 h 285"/>
                  <a:gd name="T10" fmla="*/ 119 w 223"/>
                  <a:gd name="T11" fmla="*/ 247 h 285"/>
                  <a:gd name="T12" fmla="*/ 101 w 223"/>
                  <a:gd name="T13" fmla="*/ 243 h 285"/>
                  <a:gd name="T14" fmla="*/ 82 w 223"/>
                  <a:gd name="T15" fmla="*/ 247 h 285"/>
                  <a:gd name="T16" fmla="*/ 71 w 223"/>
                  <a:gd name="T17" fmla="*/ 256 h 285"/>
                  <a:gd name="T18" fmla="*/ 55 w 223"/>
                  <a:gd name="T19" fmla="*/ 235 h 285"/>
                  <a:gd name="T20" fmla="*/ 42 w 223"/>
                  <a:gd name="T21" fmla="*/ 214 h 285"/>
                  <a:gd name="T22" fmla="*/ 42 w 223"/>
                  <a:gd name="T23" fmla="*/ 195 h 285"/>
                  <a:gd name="T24" fmla="*/ 48 w 223"/>
                  <a:gd name="T25" fmla="*/ 177 h 285"/>
                  <a:gd name="T26" fmla="*/ 17 w 223"/>
                  <a:gd name="T27" fmla="*/ 164 h 285"/>
                  <a:gd name="T28" fmla="*/ 5 w 223"/>
                  <a:gd name="T29" fmla="*/ 162 h 285"/>
                  <a:gd name="T30" fmla="*/ 9 w 223"/>
                  <a:gd name="T31" fmla="*/ 143 h 285"/>
                  <a:gd name="T32" fmla="*/ 28 w 223"/>
                  <a:gd name="T33" fmla="*/ 145 h 285"/>
                  <a:gd name="T34" fmla="*/ 40 w 223"/>
                  <a:gd name="T35" fmla="*/ 145 h 285"/>
                  <a:gd name="T36" fmla="*/ 52 w 223"/>
                  <a:gd name="T37" fmla="*/ 145 h 285"/>
                  <a:gd name="T38" fmla="*/ 65 w 223"/>
                  <a:gd name="T39" fmla="*/ 152 h 285"/>
                  <a:gd name="T40" fmla="*/ 82 w 223"/>
                  <a:gd name="T41" fmla="*/ 150 h 285"/>
                  <a:gd name="T42" fmla="*/ 67 w 223"/>
                  <a:gd name="T43" fmla="*/ 150 h 285"/>
                  <a:gd name="T44" fmla="*/ 65 w 223"/>
                  <a:gd name="T45" fmla="*/ 145 h 285"/>
                  <a:gd name="T46" fmla="*/ 48 w 223"/>
                  <a:gd name="T47" fmla="*/ 145 h 285"/>
                  <a:gd name="T48" fmla="*/ 36 w 223"/>
                  <a:gd name="T49" fmla="*/ 135 h 285"/>
                  <a:gd name="T50" fmla="*/ 46 w 223"/>
                  <a:gd name="T51" fmla="*/ 137 h 285"/>
                  <a:gd name="T52" fmla="*/ 40 w 223"/>
                  <a:gd name="T53" fmla="*/ 133 h 285"/>
                  <a:gd name="T54" fmla="*/ 27 w 223"/>
                  <a:gd name="T55" fmla="*/ 127 h 285"/>
                  <a:gd name="T56" fmla="*/ 9 w 223"/>
                  <a:gd name="T57" fmla="*/ 124 h 285"/>
                  <a:gd name="T58" fmla="*/ 5 w 223"/>
                  <a:gd name="T59" fmla="*/ 120 h 285"/>
                  <a:gd name="T60" fmla="*/ 11 w 223"/>
                  <a:gd name="T61" fmla="*/ 110 h 285"/>
                  <a:gd name="T62" fmla="*/ 27 w 223"/>
                  <a:gd name="T63" fmla="*/ 93 h 285"/>
                  <a:gd name="T64" fmla="*/ 46 w 223"/>
                  <a:gd name="T65" fmla="*/ 91 h 285"/>
                  <a:gd name="T66" fmla="*/ 59 w 223"/>
                  <a:gd name="T67" fmla="*/ 97 h 285"/>
                  <a:gd name="T68" fmla="*/ 78 w 223"/>
                  <a:gd name="T69" fmla="*/ 106 h 285"/>
                  <a:gd name="T70" fmla="*/ 92 w 223"/>
                  <a:gd name="T71" fmla="*/ 95 h 285"/>
                  <a:gd name="T72" fmla="*/ 100 w 223"/>
                  <a:gd name="T73" fmla="*/ 81 h 285"/>
                  <a:gd name="T74" fmla="*/ 105 w 223"/>
                  <a:gd name="T75" fmla="*/ 70 h 285"/>
                  <a:gd name="T76" fmla="*/ 105 w 223"/>
                  <a:gd name="T77" fmla="*/ 60 h 285"/>
                  <a:gd name="T78" fmla="*/ 117 w 223"/>
                  <a:gd name="T79" fmla="*/ 50 h 285"/>
                  <a:gd name="T80" fmla="*/ 119 w 223"/>
                  <a:gd name="T81" fmla="*/ 47 h 285"/>
                  <a:gd name="T82" fmla="*/ 125 w 223"/>
                  <a:gd name="T83" fmla="*/ 39 h 285"/>
                  <a:gd name="T84" fmla="*/ 144 w 223"/>
                  <a:gd name="T85" fmla="*/ 33 h 285"/>
                  <a:gd name="T86" fmla="*/ 153 w 223"/>
                  <a:gd name="T87" fmla="*/ 14 h 285"/>
                  <a:gd name="T88" fmla="*/ 171 w 223"/>
                  <a:gd name="T89" fmla="*/ 20 h 285"/>
                  <a:gd name="T90" fmla="*/ 199 w 223"/>
                  <a:gd name="T91" fmla="*/ 10 h 285"/>
                  <a:gd name="T92" fmla="*/ 215 w 223"/>
                  <a:gd name="T93" fmla="*/ 6 h 285"/>
                  <a:gd name="T94" fmla="*/ 221 w 223"/>
                  <a:gd name="T95" fmla="*/ 31 h 285"/>
                  <a:gd name="T96" fmla="*/ 213 w 223"/>
                  <a:gd name="T97" fmla="*/ 56 h 285"/>
                  <a:gd name="T98" fmla="*/ 201 w 223"/>
                  <a:gd name="T99" fmla="*/ 72 h 285"/>
                  <a:gd name="T100" fmla="*/ 209 w 223"/>
                  <a:gd name="T101" fmla="*/ 85 h 285"/>
                  <a:gd name="T102" fmla="*/ 209 w 223"/>
                  <a:gd name="T103" fmla="*/ 104 h 285"/>
                  <a:gd name="T104" fmla="*/ 199 w 223"/>
                  <a:gd name="T105" fmla="*/ 122 h 285"/>
                  <a:gd name="T106" fmla="*/ 190 w 223"/>
                  <a:gd name="T107" fmla="*/ 124 h 285"/>
                  <a:gd name="T108" fmla="*/ 174 w 223"/>
                  <a:gd name="T109" fmla="*/ 124 h 285"/>
                  <a:gd name="T110" fmla="*/ 159 w 223"/>
                  <a:gd name="T111" fmla="*/ 145 h 285"/>
                  <a:gd name="T112" fmla="*/ 173 w 223"/>
                  <a:gd name="T113" fmla="*/ 150 h 285"/>
                  <a:gd name="T114" fmla="*/ 173 w 223"/>
                  <a:gd name="T115" fmla="*/ 181 h 285"/>
                  <a:gd name="T116" fmla="*/ 178 w 223"/>
                  <a:gd name="T117" fmla="*/ 202 h 285"/>
                  <a:gd name="T118" fmla="*/ 194 w 223"/>
                  <a:gd name="T119" fmla="*/ 210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23" h="285">
                    <a:moveTo>
                      <a:pt x="196" y="210"/>
                    </a:moveTo>
                    <a:lnTo>
                      <a:pt x="194" y="216"/>
                    </a:lnTo>
                    <a:lnTo>
                      <a:pt x="194" y="218"/>
                    </a:lnTo>
                    <a:lnTo>
                      <a:pt x="192" y="222"/>
                    </a:lnTo>
                    <a:lnTo>
                      <a:pt x="192" y="223"/>
                    </a:lnTo>
                    <a:lnTo>
                      <a:pt x="196" y="227"/>
                    </a:lnTo>
                    <a:lnTo>
                      <a:pt x="198" y="223"/>
                    </a:lnTo>
                    <a:lnTo>
                      <a:pt x="198" y="222"/>
                    </a:lnTo>
                    <a:lnTo>
                      <a:pt x="199" y="220"/>
                    </a:lnTo>
                    <a:lnTo>
                      <a:pt x="201" y="218"/>
                    </a:lnTo>
                    <a:lnTo>
                      <a:pt x="207" y="220"/>
                    </a:lnTo>
                    <a:lnTo>
                      <a:pt x="207" y="222"/>
                    </a:lnTo>
                    <a:lnTo>
                      <a:pt x="209" y="218"/>
                    </a:lnTo>
                    <a:lnTo>
                      <a:pt x="211" y="212"/>
                    </a:lnTo>
                    <a:lnTo>
                      <a:pt x="213" y="214"/>
                    </a:lnTo>
                    <a:lnTo>
                      <a:pt x="215" y="214"/>
                    </a:lnTo>
                    <a:lnTo>
                      <a:pt x="213" y="220"/>
                    </a:lnTo>
                    <a:lnTo>
                      <a:pt x="215" y="220"/>
                    </a:lnTo>
                    <a:lnTo>
                      <a:pt x="215" y="222"/>
                    </a:lnTo>
                    <a:lnTo>
                      <a:pt x="213" y="223"/>
                    </a:lnTo>
                    <a:lnTo>
                      <a:pt x="213" y="225"/>
                    </a:lnTo>
                    <a:lnTo>
                      <a:pt x="209" y="233"/>
                    </a:lnTo>
                    <a:lnTo>
                      <a:pt x="205" y="241"/>
                    </a:lnTo>
                    <a:lnTo>
                      <a:pt x="199" y="247"/>
                    </a:lnTo>
                    <a:lnTo>
                      <a:pt x="198" y="250"/>
                    </a:lnTo>
                    <a:lnTo>
                      <a:pt x="196" y="252"/>
                    </a:lnTo>
                    <a:lnTo>
                      <a:pt x="194" y="254"/>
                    </a:lnTo>
                    <a:lnTo>
                      <a:pt x="190" y="256"/>
                    </a:lnTo>
                    <a:lnTo>
                      <a:pt x="188" y="256"/>
                    </a:lnTo>
                    <a:lnTo>
                      <a:pt x="186" y="254"/>
                    </a:lnTo>
                    <a:lnTo>
                      <a:pt x="184" y="256"/>
                    </a:lnTo>
                    <a:lnTo>
                      <a:pt x="182" y="258"/>
                    </a:lnTo>
                    <a:lnTo>
                      <a:pt x="180" y="258"/>
                    </a:lnTo>
                    <a:lnTo>
                      <a:pt x="176" y="258"/>
                    </a:lnTo>
                    <a:lnTo>
                      <a:pt x="174" y="258"/>
                    </a:lnTo>
                    <a:lnTo>
                      <a:pt x="174" y="260"/>
                    </a:lnTo>
                    <a:lnTo>
                      <a:pt x="171" y="264"/>
                    </a:lnTo>
                    <a:lnTo>
                      <a:pt x="169" y="264"/>
                    </a:lnTo>
                    <a:lnTo>
                      <a:pt x="167" y="266"/>
                    </a:lnTo>
                    <a:lnTo>
                      <a:pt x="169" y="268"/>
                    </a:lnTo>
                    <a:lnTo>
                      <a:pt x="169" y="270"/>
                    </a:lnTo>
                    <a:lnTo>
                      <a:pt x="171" y="270"/>
                    </a:lnTo>
                    <a:lnTo>
                      <a:pt x="169" y="273"/>
                    </a:lnTo>
                    <a:lnTo>
                      <a:pt x="167" y="273"/>
                    </a:lnTo>
                    <a:lnTo>
                      <a:pt x="167" y="275"/>
                    </a:lnTo>
                    <a:lnTo>
                      <a:pt x="165" y="277"/>
                    </a:lnTo>
                    <a:lnTo>
                      <a:pt x="167" y="277"/>
                    </a:lnTo>
                    <a:lnTo>
                      <a:pt x="165" y="279"/>
                    </a:lnTo>
                    <a:lnTo>
                      <a:pt x="165" y="281"/>
                    </a:lnTo>
                    <a:lnTo>
                      <a:pt x="163" y="283"/>
                    </a:lnTo>
                    <a:lnTo>
                      <a:pt x="161" y="283"/>
                    </a:lnTo>
                    <a:lnTo>
                      <a:pt x="159" y="285"/>
                    </a:lnTo>
                    <a:lnTo>
                      <a:pt x="159" y="283"/>
                    </a:lnTo>
                    <a:lnTo>
                      <a:pt x="161" y="283"/>
                    </a:lnTo>
                    <a:lnTo>
                      <a:pt x="161" y="281"/>
                    </a:lnTo>
                    <a:lnTo>
                      <a:pt x="161" y="279"/>
                    </a:lnTo>
                    <a:lnTo>
                      <a:pt x="161" y="277"/>
                    </a:lnTo>
                    <a:lnTo>
                      <a:pt x="159" y="273"/>
                    </a:lnTo>
                    <a:lnTo>
                      <a:pt x="159" y="275"/>
                    </a:lnTo>
                    <a:lnTo>
                      <a:pt x="157" y="277"/>
                    </a:lnTo>
                    <a:lnTo>
                      <a:pt x="153" y="279"/>
                    </a:lnTo>
                    <a:lnTo>
                      <a:pt x="153" y="281"/>
                    </a:lnTo>
                    <a:lnTo>
                      <a:pt x="151" y="283"/>
                    </a:lnTo>
                    <a:lnTo>
                      <a:pt x="150" y="283"/>
                    </a:lnTo>
                    <a:lnTo>
                      <a:pt x="148" y="285"/>
                    </a:lnTo>
                    <a:lnTo>
                      <a:pt x="146" y="285"/>
                    </a:lnTo>
                    <a:lnTo>
                      <a:pt x="144" y="285"/>
                    </a:lnTo>
                    <a:lnTo>
                      <a:pt x="140" y="283"/>
                    </a:lnTo>
                    <a:lnTo>
                      <a:pt x="138" y="281"/>
                    </a:lnTo>
                    <a:lnTo>
                      <a:pt x="136" y="277"/>
                    </a:lnTo>
                    <a:lnTo>
                      <a:pt x="136" y="270"/>
                    </a:lnTo>
                    <a:lnTo>
                      <a:pt x="134" y="264"/>
                    </a:lnTo>
                    <a:lnTo>
                      <a:pt x="134" y="262"/>
                    </a:lnTo>
                    <a:lnTo>
                      <a:pt x="132" y="256"/>
                    </a:lnTo>
                    <a:lnTo>
                      <a:pt x="130" y="256"/>
                    </a:lnTo>
                    <a:lnTo>
                      <a:pt x="128" y="256"/>
                    </a:lnTo>
                    <a:lnTo>
                      <a:pt x="126" y="254"/>
                    </a:lnTo>
                    <a:lnTo>
                      <a:pt x="126" y="256"/>
                    </a:lnTo>
                    <a:lnTo>
                      <a:pt x="125" y="256"/>
                    </a:lnTo>
                    <a:lnTo>
                      <a:pt x="123" y="256"/>
                    </a:lnTo>
                    <a:lnTo>
                      <a:pt x="121" y="256"/>
                    </a:lnTo>
                    <a:lnTo>
                      <a:pt x="119" y="254"/>
                    </a:lnTo>
                    <a:lnTo>
                      <a:pt x="119" y="250"/>
                    </a:lnTo>
                    <a:lnTo>
                      <a:pt x="119" y="247"/>
                    </a:lnTo>
                    <a:lnTo>
                      <a:pt x="117" y="245"/>
                    </a:lnTo>
                    <a:lnTo>
                      <a:pt x="117" y="243"/>
                    </a:lnTo>
                    <a:lnTo>
                      <a:pt x="117" y="241"/>
                    </a:lnTo>
                    <a:lnTo>
                      <a:pt x="115" y="239"/>
                    </a:lnTo>
                    <a:lnTo>
                      <a:pt x="113" y="237"/>
                    </a:lnTo>
                    <a:lnTo>
                      <a:pt x="113" y="235"/>
                    </a:lnTo>
                    <a:lnTo>
                      <a:pt x="111" y="233"/>
                    </a:lnTo>
                    <a:lnTo>
                      <a:pt x="109" y="233"/>
                    </a:lnTo>
                    <a:lnTo>
                      <a:pt x="107" y="233"/>
                    </a:lnTo>
                    <a:lnTo>
                      <a:pt x="107" y="231"/>
                    </a:lnTo>
                    <a:lnTo>
                      <a:pt x="105" y="233"/>
                    </a:lnTo>
                    <a:lnTo>
                      <a:pt x="105" y="235"/>
                    </a:lnTo>
                    <a:lnTo>
                      <a:pt x="103" y="237"/>
                    </a:lnTo>
                    <a:lnTo>
                      <a:pt x="101" y="243"/>
                    </a:lnTo>
                    <a:lnTo>
                      <a:pt x="103" y="245"/>
                    </a:lnTo>
                    <a:lnTo>
                      <a:pt x="103" y="247"/>
                    </a:lnTo>
                    <a:lnTo>
                      <a:pt x="101" y="248"/>
                    </a:lnTo>
                    <a:lnTo>
                      <a:pt x="100" y="248"/>
                    </a:lnTo>
                    <a:lnTo>
                      <a:pt x="94" y="245"/>
                    </a:lnTo>
                    <a:lnTo>
                      <a:pt x="94" y="247"/>
                    </a:lnTo>
                    <a:lnTo>
                      <a:pt x="92" y="247"/>
                    </a:lnTo>
                    <a:lnTo>
                      <a:pt x="90" y="250"/>
                    </a:lnTo>
                    <a:lnTo>
                      <a:pt x="92" y="250"/>
                    </a:lnTo>
                    <a:lnTo>
                      <a:pt x="90" y="252"/>
                    </a:lnTo>
                    <a:lnTo>
                      <a:pt x="88" y="250"/>
                    </a:lnTo>
                    <a:lnTo>
                      <a:pt x="86" y="252"/>
                    </a:lnTo>
                    <a:lnTo>
                      <a:pt x="84" y="248"/>
                    </a:lnTo>
                    <a:lnTo>
                      <a:pt x="82" y="247"/>
                    </a:lnTo>
                    <a:lnTo>
                      <a:pt x="84" y="247"/>
                    </a:lnTo>
                    <a:lnTo>
                      <a:pt x="82" y="247"/>
                    </a:lnTo>
                    <a:lnTo>
                      <a:pt x="82" y="245"/>
                    </a:lnTo>
                    <a:lnTo>
                      <a:pt x="80" y="245"/>
                    </a:lnTo>
                    <a:lnTo>
                      <a:pt x="80" y="247"/>
                    </a:lnTo>
                    <a:lnTo>
                      <a:pt x="80" y="245"/>
                    </a:lnTo>
                    <a:lnTo>
                      <a:pt x="78" y="245"/>
                    </a:lnTo>
                    <a:lnTo>
                      <a:pt x="78" y="247"/>
                    </a:lnTo>
                    <a:lnTo>
                      <a:pt x="78" y="248"/>
                    </a:lnTo>
                    <a:lnTo>
                      <a:pt x="77" y="254"/>
                    </a:lnTo>
                    <a:lnTo>
                      <a:pt x="77" y="256"/>
                    </a:lnTo>
                    <a:lnTo>
                      <a:pt x="75" y="258"/>
                    </a:lnTo>
                    <a:lnTo>
                      <a:pt x="73" y="258"/>
                    </a:lnTo>
                    <a:lnTo>
                      <a:pt x="71" y="256"/>
                    </a:lnTo>
                    <a:lnTo>
                      <a:pt x="69" y="256"/>
                    </a:lnTo>
                    <a:lnTo>
                      <a:pt x="69" y="254"/>
                    </a:lnTo>
                    <a:lnTo>
                      <a:pt x="67" y="252"/>
                    </a:lnTo>
                    <a:lnTo>
                      <a:pt x="65" y="252"/>
                    </a:lnTo>
                    <a:lnTo>
                      <a:pt x="65" y="250"/>
                    </a:lnTo>
                    <a:lnTo>
                      <a:pt x="63" y="254"/>
                    </a:lnTo>
                    <a:lnTo>
                      <a:pt x="55" y="248"/>
                    </a:lnTo>
                    <a:lnTo>
                      <a:pt x="55" y="247"/>
                    </a:lnTo>
                    <a:lnTo>
                      <a:pt x="55" y="245"/>
                    </a:lnTo>
                    <a:lnTo>
                      <a:pt x="57" y="241"/>
                    </a:lnTo>
                    <a:lnTo>
                      <a:pt x="55" y="239"/>
                    </a:lnTo>
                    <a:lnTo>
                      <a:pt x="57" y="237"/>
                    </a:lnTo>
                    <a:lnTo>
                      <a:pt x="55" y="237"/>
                    </a:lnTo>
                    <a:lnTo>
                      <a:pt x="55" y="235"/>
                    </a:lnTo>
                    <a:lnTo>
                      <a:pt x="57" y="231"/>
                    </a:lnTo>
                    <a:lnTo>
                      <a:pt x="57" y="229"/>
                    </a:lnTo>
                    <a:lnTo>
                      <a:pt x="59" y="231"/>
                    </a:lnTo>
                    <a:lnTo>
                      <a:pt x="61" y="225"/>
                    </a:lnTo>
                    <a:lnTo>
                      <a:pt x="59" y="225"/>
                    </a:lnTo>
                    <a:lnTo>
                      <a:pt x="59" y="223"/>
                    </a:lnTo>
                    <a:lnTo>
                      <a:pt x="57" y="227"/>
                    </a:lnTo>
                    <a:lnTo>
                      <a:pt x="52" y="225"/>
                    </a:lnTo>
                    <a:lnTo>
                      <a:pt x="52" y="223"/>
                    </a:lnTo>
                    <a:lnTo>
                      <a:pt x="53" y="220"/>
                    </a:lnTo>
                    <a:lnTo>
                      <a:pt x="48" y="218"/>
                    </a:lnTo>
                    <a:lnTo>
                      <a:pt x="46" y="218"/>
                    </a:lnTo>
                    <a:lnTo>
                      <a:pt x="44" y="216"/>
                    </a:lnTo>
                    <a:lnTo>
                      <a:pt x="42" y="214"/>
                    </a:lnTo>
                    <a:lnTo>
                      <a:pt x="40" y="214"/>
                    </a:lnTo>
                    <a:lnTo>
                      <a:pt x="40" y="212"/>
                    </a:lnTo>
                    <a:lnTo>
                      <a:pt x="38" y="212"/>
                    </a:lnTo>
                    <a:lnTo>
                      <a:pt x="38" y="210"/>
                    </a:lnTo>
                    <a:lnTo>
                      <a:pt x="40" y="206"/>
                    </a:lnTo>
                    <a:lnTo>
                      <a:pt x="38" y="206"/>
                    </a:lnTo>
                    <a:lnTo>
                      <a:pt x="40" y="206"/>
                    </a:lnTo>
                    <a:lnTo>
                      <a:pt x="40" y="204"/>
                    </a:lnTo>
                    <a:lnTo>
                      <a:pt x="40" y="206"/>
                    </a:lnTo>
                    <a:lnTo>
                      <a:pt x="44" y="200"/>
                    </a:lnTo>
                    <a:lnTo>
                      <a:pt x="42" y="200"/>
                    </a:lnTo>
                    <a:lnTo>
                      <a:pt x="44" y="197"/>
                    </a:lnTo>
                    <a:lnTo>
                      <a:pt x="44" y="195"/>
                    </a:lnTo>
                    <a:lnTo>
                      <a:pt x="42" y="195"/>
                    </a:lnTo>
                    <a:lnTo>
                      <a:pt x="42" y="193"/>
                    </a:lnTo>
                    <a:lnTo>
                      <a:pt x="40" y="193"/>
                    </a:lnTo>
                    <a:lnTo>
                      <a:pt x="40" y="191"/>
                    </a:lnTo>
                    <a:lnTo>
                      <a:pt x="42" y="185"/>
                    </a:lnTo>
                    <a:lnTo>
                      <a:pt x="44" y="185"/>
                    </a:lnTo>
                    <a:lnTo>
                      <a:pt x="44" y="187"/>
                    </a:lnTo>
                    <a:lnTo>
                      <a:pt x="44" y="185"/>
                    </a:lnTo>
                    <a:lnTo>
                      <a:pt x="46" y="187"/>
                    </a:lnTo>
                    <a:lnTo>
                      <a:pt x="48" y="181"/>
                    </a:lnTo>
                    <a:lnTo>
                      <a:pt x="50" y="181"/>
                    </a:lnTo>
                    <a:lnTo>
                      <a:pt x="48" y="181"/>
                    </a:lnTo>
                    <a:lnTo>
                      <a:pt x="46" y="181"/>
                    </a:lnTo>
                    <a:lnTo>
                      <a:pt x="46" y="179"/>
                    </a:lnTo>
                    <a:lnTo>
                      <a:pt x="48" y="177"/>
                    </a:lnTo>
                    <a:lnTo>
                      <a:pt x="40" y="173"/>
                    </a:lnTo>
                    <a:lnTo>
                      <a:pt x="42" y="172"/>
                    </a:lnTo>
                    <a:lnTo>
                      <a:pt x="38" y="170"/>
                    </a:lnTo>
                    <a:lnTo>
                      <a:pt x="36" y="170"/>
                    </a:lnTo>
                    <a:lnTo>
                      <a:pt x="32" y="166"/>
                    </a:lnTo>
                    <a:lnTo>
                      <a:pt x="30" y="164"/>
                    </a:lnTo>
                    <a:lnTo>
                      <a:pt x="30" y="162"/>
                    </a:lnTo>
                    <a:lnTo>
                      <a:pt x="28" y="162"/>
                    </a:lnTo>
                    <a:lnTo>
                      <a:pt x="27" y="162"/>
                    </a:lnTo>
                    <a:lnTo>
                      <a:pt x="25" y="160"/>
                    </a:lnTo>
                    <a:lnTo>
                      <a:pt x="23" y="160"/>
                    </a:lnTo>
                    <a:lnTo>
                      <a:pt x="21" y="162"/>
                    </a:lnTo>
                    <a:lnTo>
                      <a:pt x="19" y="164"/>
                    </a:lnTo>
                    <a:lnTo>
                      <a:pt x="17" y="164"/>
                    </a:lnTo>
                    <a:lnTo>
                      <a:pt x="17" y="166"/>
                    </a:lnTo>
                    <a:lnTo>
                      <a:pt x="13" y="168"/>
                    </a:lnTo>
                    <a:lnTo>
                      <a:pt x="13" y="170"/>
                    </a:lnTo>
                    <a:lnTo>
                      <a:pt x="13" y="168"/>
                    </a:lnTo>
                    <a:lnTo>
                      <a:pt x="11" y="168"/>
                    </a:lnTo>
                    <a:lnTo>
                      <a:pt x="9" y="168"/>
                    </a:lnTo>
                    <a:lnTo>
                      <a:pt x="9" y="166"/>
                    </a:lnTo>
                    <a:lnTo>
                      <a:pt x="9" y="164"/>
                    </a:lnTo>
                    <a:lnTo>
                      <a:pt x="7" y="164"/>
                    </a:lnTo>
                    <a:lnTo>
                      <a:pt x="9" y="164"/>
                    </a:lnTo>
                    <a:lnTo>
                      <a:pt x="9" y="162"/>
                    </a:lnTo>
                    <a:lnTo>
                      <a:pt x="7" y="164"/>
                    </a:lnTo>
                    <a:lnTo>
                      <a:pt x="5" y="164"/>
                    </a:lnTo>
                    <a:lnTo>
                      <a:pt x="5" y="162"/>
                    </a:lnTo>
                    <a:lnTo>
                      <a:pt x="3" y="162"/>
                    </a:lnTo>
                    <a:lnTo>
                      <a:pt x="2" y="166"/>
                    </a:lnTo>
                    <a:lnTo>
                      <a:pt x="0" y="164"/>
                    </a:lnTo>
                    <a:lnTo>
                      <a:pt x="3" y="160"/>
                    </a:lnTo>
                    <a:lnTo>
                      <a:pt x="7" y="154"/>
                    </a:lnTo>
                    <a:lnTo>
                      <a:pt x="7" y="156"/>
                    </a:lnTo>
                    <a:lnTo>
                      <a:pt x="11" y="150"/>
                    </a:lnTo>
                    <a:lnTo>
                      <a:pt x="13" y="150"/>
                    </a:lnTo>
                    <a:lnTo>
                      <a:pt x="11" y="149"/>
                    </a:lnTo>
                    <a:lnTo>
                      <a:pt x="9" y="149"/>
                    </a:lnTo>
                    <a:lnTo>
                      <a:pt x="3" y="145"/>
                    </a:lnTo>
                    <a:lnTo>
                      <a:pt x="5" y="143"/>
                    </a:lnTo>
                    <a:lnTo>
                      <a:pt x="7" y="143"/>
                    </a:lnTo>
                    <a:lnTo>
                      <a:pt x="9" y="143"/>
                    </a:lnTo>
                    <a:lnTo>
                      <a:pt x="11" y="143"/>
                    </a:lnTo>
                    <a:lnTo>
                      <a:pt x="11" y="145"/>
                    </a:lnTo>
                    <a:lnTo>
                      <a:pt x="13" y="145"/>
                    </a:lnTo>
                    <a:lnTo>
                      <a:pt x="13" y="143"/>
                    </a:lnTo>
                    <a:lnTo>
                      <a:pt x="15" y="143"/>
                    </a:lnTo>
                    <a:lnTo>
                      <a:pt x="17" y="141"/>
                    </a:lnTo>
                    <a:lnTo>
                      <a:pt x="17" y="143"/>
                    </a:lnTo>
                    <a:lnTo>
                      <a:pt x="19" y="143"/>
                    </a:lnTo>
                    <a:lnTo>
                      <a:pt x="23" y="143"/>
                    </a:lnTo>
                    <a:lnTo>
                      <a:pt x="25" y="143"/>
                    </a:lnTo>
                    <a:lnTo>
                      <a:pt x="27" y="141"/>
                    </a:lnTo>
                    <a:lnTo>
                      <a:pt x="27" y="143"/>
                    </a:lnTo>
                    <a:lnTo>
                      <a:pt x="28" y="143"/>
                    </a:lnTo>
                    <a:lnTo>
                      <a:pt x="28" y="145"/>
                    </a:lnTo>
                    <a:lnTo>
                      <a:pt x="30" y="145"/>
                    </a:lnTo>
                    <a:lnTo>
                      <a:pt x="30" y="147"/>
                    </a:lnTo>
                    <a:lnTo>
                      <a:pt x="32" y="147"/>
                    </a:lnTo>
                    <a:lnTo>
                      <a:pt x="32" y="145"/>
                    </a:lnTo>
                    <a:lnTo>
                      <a:pt x="34" y="145"/>
                    </a:lnTo>
                    <a:lnTo>
                      <a:pt x="32" y="145"/>
                    </a:lnTo>
                    <a:lnTo>
                      <a:pt x="34" y="145"/>
                    </a:lnTo>
                    <a:lnTo>
                      <a:pt x="34" y="143"/>
                    </a:lnTo>
                    <a:lnTo>
                      <a:pt x="36" y="143"/>
                    </a:lnTo>
                    <a:lnTo>
                      <a:pt x="36" y="141"/>
                    </a:lnTo>
                    <a:lnTo>
                      <a:pt x="36" y="143"/>
                    </a:lnTo>
                    <a:lnTo>
                      <a:pt x="38" y="143"/>
                    </a:lnTo>
                    <a:lnTo>
                      <a:pt x="40" y="143"/>
                    </a:lnTo>
                    <a:lnTo>
                      <a:pt x="40" y="145"/>
                    </a:lnTo>
                    <a:lnTo>
                      <a:pt x="42" y="145"/>
                    </a:lnTo>
                    <a:lnTo>
                      <a:pt x="44" y="145"/>
                    </a:lnTo>
                    <a:lnTo>
                      <a:pt x="46" y="145"/>
                    </a:lnTo>
                    <a:lnTo>
                      <a:pt x="46" y="147"/>
                    </a:lnTo>
                    <a:lnTo>
                      <a:pt x="46" y="149"/>
                    </a:lnTo>
                    <a:lnTo>
                      <a:pt x="48" y="147"/>
                    </a:lnTo>
                    <a:lnTo>
                      <a:pt x="48" y="149"/>
                    </a:lnTo>
                    <a:lnTo>
                      <a:pt x="48" y="147"/>
                    </a:lnTo>
                    <a:lnTo>
                      <a:pt x="46" y="149"/>
                    </a:lnTo>
                    <a:lnTo>
                      <a:pt x="46" y="147"/>
                    </a:lnTo>
                    <a:lnTo>
                      <a:pt x="46" y="145"/>
                    </a:lnTo>
                    <a:lnTo>
                      <a:pt x="48" y="145"/>
                    </a:lnTo>
                    <a:lnTo>
                      <a:pt x="50" y="145"/>
                    </a:lnTo>
                    <a:lnTo>
                      <a:pt x="52" y="145"/>
                    </a:lnTo>
                    <a:lnTo>
                      <a:pt x="53" y="145"/>
                    </a:lnTo>
                    <a:lnTo>
                      <a:pt x="53" y="147"/>
                    </a:lnTo>
                    <a:lnTo>
                      <a:pt x="55" y="147"/>
                    </a:lnTo>
                    <a:lnTo>
                      <a:pt x="57" y="147"/>
                    </a:lnTo>
                    <a:lnTo>
                      <a:pt x="57" y="145"/>
                    </a:lnTo>
                    <a:lnTo>
                      <a:pt x="59" y="145"/>
                    </a:lnTo>
                    <a:lnTo>
                      <a:pt x="59" y="147"/>
                    </a:lnTo>
                    <a:lnTo>
                      <a:pt x="59" y="149"/>
                    </a:lnTo>
                    <a:lnTo>
                      <a:pt x="61" y="149"/>
                    </a:lnTo>
                    <a:lnTo>
                      <a:pt x="63" y="147"/>
                    </a:lnTo>
                    <a:lnTo>
                      <a:pt x="63" y="149"/>
                    </a:lnTo>
                    <a:lnTo>
                      <a:pt x="63" y="150"/>
                    </a:lnTo>
                    <a:lnTo>
                      <a:pt x="65" y="150"/>
                    </a:lnTo>
                    <a:lnTo>
                      <a:pt x="65" y="152"/>
                    </a:lnTo>
                    <a:lnTo>
                      <a:pt x="65" y="150"/>
                    </a:lnTo>
                    <a:lnTo>
                      <a:pt x="67" y="150"/>
                    </a:lnTo>
                    <a:lnTo>
                      <a:pt x="69" y="150"/>
                    </a:lnTo>
                    <a:lnTo>
                      <a:pt x="69" y="152"/>
                    </a:lnTo>
                    <a:lnTo>
                      <a:pt x="69" y="154"/>
                    </a:lnTo>
                    <a:lnTo>
                      <a:pt x="71" y="154"/>
                    </a:lnTo>
                    <a:lnTo>
                      <a:pt x="73" y="152"/>
                    </a:lnTo>
                    <a:lnTo>
                      <a:pt x="75" y="152"/>
                    </a:lnTo>
                    <a:lnTo>
                      <a:pt x="75" y="150"/>
                    </a:lnTo>
                    <a:lnTo>
                      <a:pt x="77" y="150"/>
                    </a:lnTo>
                    <a:lnTo>
                      <a:pt x="78" y="150"/>
                    </a:lnTo>
                    <a:lnTo>
                      <a:pt x="80" y="150"/>
                    </a:lnTo>
                    <a:lnTo>
                      <a:pt x="80" y="149"/>
                    </a:lnTo>
                    <a:lnTo>
                      <a:pt x="82" y="150"/>
                    </a:lnTo>
                    <a:lnTo>
                      <a:pt x="82" y="149"/>
                    </a:lnTo>
                    <a:lnTo>
                      <a:pt x="80" y="149"/>
                    </a:lnTo>
                    <a:lnTo>
                      <a:pt x="80" y="150"/>
                    </a:lnTo>
                    <a:lnTo>
                      <a:pt x="78" y="150"/>
                    </a:lnTo>
                    <a:lnTo>
                      <a:pt x="77" y="150"/>
                    </a:lnTo>
                    <a:lnTo>
                      <a:pt x="75" y="150"/>
                    </a:lnTo>
                    <a:lnTo>
                      <a:pt x="75" y="152"/>
                    </a:lnTo>
                    <a:lnTo>
                      <a:pt x="73" y="152"/>
                    </a:lnTo>
                    <a:lnTo>
                      <a:pt x="71" y="152"/>
                    </a:lnTo>
                    <a:lnTo>
                      <a:pt x="71" y="154"/>
                    </a:lnTo>
                    <a:lnTo>
                      <a:pt x="69" y="154"/>
                    </a:lnTo>
                    <a:lnTo>
                      <a:pt x="69" y="152"/>
                    </a:lnTo>
                    <a:lnTo>
                      <a:pt x="69" y="150"/>
                    </a:lnTo>
                    <a:lnTo>
                      <a:pt x="67" y="150"/>
                    </a:lnTo>
                    <a:lnTo>
                      <a:pt x="65" y="150"/>
                    </a:lnTo>
                    <a:lnTo>
                      <a:pt x="63" y="150"/>
                    </a:lnTo>
                    <a:lnTo>
                      <a:pt x="63" y="149"/>
                    </a:lnTo>
                    <a:lnTo>
                      <a:pt x="63" y="147"/>
                    </a:lnTo>
                    <a:lnTo>
                      <a:pt x="61" y="149"/>
                    </a:lnTo>
                    <a:lnTo>
                      <a:pt x="59" y="147"/>
                    </a:lnTo>
                    <a:lnTo>
                      <a:pt x="59" y="145"/>
                    </a:lnTo>
                    <a:lnTo>
                      <a:pt x="61" y="145"/>
                    </a:lnTo>
                    <a:lnTo>
                      <a:pt x="61" y="147"/>
                    </a:lnTo>
                    <a:lnTo>
                      <a:pt x="61" y="145"/>
                    </a:lnTo>
                    <a:lnTo>
                      <a:pt x="63" y="145"/>
                    </a:lnTo>
                    <a:lnTo>
                      <a:pt x="63" y="147"/>
                    </a:lnTo>
                    <a:lnTo>
                      <a:pt x="63" y="145"/>
                    </a:lnTo>
                    <a:lnTo>
                      <a:pt x="65" y="145"/>
                    </a:lnTo>
                    <a:lnTo>
                      <a:pt x="63" y="145"/>
                    </a:lnTo>
                    <a:lnTo>
                      <a:pt x="63" y="147"/>
                    </a:lnTo>
                    <a:lnTo>
                      <a:pt x="63" y="145"/>
                    </a:lnTo>
                    <a:lnTo>
                      <a:pt x="61" y="145"/>
                    </a:lnTo>
                    <a:lnTo>
                      <a:pt x="61" y="147"/>
                    </a:lnTo>
                    <a:lnTo>
                      <a:pt x="61" y="145"/>
                    </a:lnTo>
                    <a:lnTo>
                      <a:pt x="59" y="145"/>
                    </a:lnTo>
                    <a:lnTo>
                      <a:pt x="57" y="147"/>
                    </a:lnTo>
                    <a:lnTo>
                      <a:pt x="55" y="147"/>
                    </a:lnTo>
                    <a:lnTo>
                      <a:pt x="55" y="145"/>
                    </a:lnTo>
                    <a:lnTo>
                      <a:pt x="53" y="145"/>
                    </a:lnTo>
                    <a:lnTo>
                      <a:pt x="52" y="145"/>
                    </a:lnTo>
                    <a:lnTo>
                      <a:pt x="50" y="145"/>
                    </a:lnTo>
                    <a:lnTo>
                      <a:pt x="48" y="145"/>
                    </a:lnTo>
                    <a:lnTo>
                      <a:pt x="46" y="143"/>
                    </a:lnTo>
                    <a:lnTo>
                      <a:pt x="46" y="145"/>
                    </a:lnTo>
                    <a:lnTo>
                      <a:pt x="46" y="143"/>
                    </a:lnTo>
                    <a:lnTo>
                      <a:pt x="46" y="145"/>
                    </a:lnTo>
                    <a:lnTo>
                      <a:pt x="44" y="145"/>
                    </a:lnTo>
                    <a:lnTo>
                      <a:pt x="42" y="143"/>
                    </a:lnTo>
                    <a:lnTo>
                      <a:pt x="40" y="141"/>
                    </a:lnTo>
                    <a:lnTo>
                      <a:pt x="38" y="141"/>
                    </a:lnTo>
                    <a:lnTo>
                      <a:pt x="38" y="139"/>
                    </a:lnTo>
                    <a:lnTo>
                      <a:pt x="38" y="137"/>
                    </a:lnTo>
                    <a:lnTo>
                      <a:pt x="38" y="135"/>
                    </a:lnTo>
                    <a:lnTo>
                      <a:pt x="38" y="133"/>
                    </a:lnTo>
                    <a:lnTo>
                      <a:pt x="38" y="135"/>
                    </a:lnTo>
                    <a:lnTo>
                      <a:pt x="36" y="135"/>
                    </a:lnTo>
                    <a:lnTo>
                      <a:pt x="36" y="133"/>
                    </a:lnTo>
                    <a:lnTo>
                      <a:pt x="38" y="133"/>
                    </a:lnTo>
                    <a:lnTo>
                      <a:pt x="40" y="133"/>
                    </a:lnTo>
                    <a:lnTo>
                      <a:pt x="38" y="133"/>
                    </a:lnTo>
                    <a:lnTo>
                      <a:pt x="40" y="133"/>
                    </a:lnTo>
                    <a:lnTo>
                      <a:pt x="40" y="131"/>
                    </a:lnTo>
                    <a:lnTo>
                      <a:pt x="40" y="133"/>
                    </a:lnTo>
                    <a:lnTo>
                      <a:pt x="42" y="133"/>
                    </a:lnTo>
                    <a:lnTo>
                      <a:pt x="42" y="135"/>
                    </a:lnTo>
                    <a:lnTo>
                      <a:pt x="42" y="133"/>
                    </a:lnTo>
                    <a:lnTo>
                      <a:pt x="44" y="133"/>
                    </a:lnTo>
                    <a:lnTo>
                      <a:pt x="44" y="135"/>
                    </a:lnTo>
                    <a:lnTo>
                      <a:pt x="46" y="135"/>
                    </a:lnTo>
                    <a:lnTo>
                      <a:pt x="46" y="137"/>
                    </a:lnTo>
                    <a:lnTo>
                      <a:pt x="46" y="139"/>
                    </a:lnTo>
                    <a:lnTo>
                      <a:pt x="48" y="139"/>
                    </a:lnTo>
                    <a:lnTo>
                      <a:pt x="48" y="141"/>
                    </a:lnTo>
                    <a:lnTo>
                      <a:pt x="48" y="143"/>
                    </a:lnTo>
                    <a:lnTo>
                      <a:pt x="48" y="141"/>
                    </a:lnTo>
                    <a:lnTo>
                      <a:pt x="48" y="139"/>
                    </a:lnTo>
                    <a:lnTo>
                      <a:pt x="46" y="139"/>
                    </a:lnTo>
                    <a:lnTo>
                      <a:pt x="46" y="137"/>
                    </a:lnTo>
                    <a:lnTo>
                      <a:pt x="46" y="135"/>
                    </a:lnTo>
                    <a:lnTo>
                      <a:pt x="44" y="135"/>
                    </a:lnTo>
                    <a:lnTo>
                      <a:pt x="44" y="133"/>
                    </a:lnTo>
                    <a:lnTo>
                      <a:pt x="42" y="133"/>
                    </a:lnTo>
                    <a:lnTo>
                      <a:pt x="40" y="131"/>
                    </a:lnTo>
                    <a:lnTo>
                      <a:pt x="40" y="133"/>
                    </a:lnTo>
                    <a:lnTo>
                      <a:pt x="38" y="133"/>
                    </a:lnTo>
                    <a:lnTo>
                      <a:pt x="38" y="131"/>
                    </a:lnTo>
                    <a:lnTo>
                      <a:pt x="38" y="129"/>
                    </a:lnTo>
                    <a:lnTo>
                      <a:pt x="36" y="129"/>
                    </a:lnTo>
                    <a:lnTo>
                      <a:pt x="36" y="127"/>
                    </a:lnTo>
                    <a:lnTo>
                      <a:pt x="34" y="127"/>
                    </a:lnTo>
                    <a:lnTo>
                      <a:pt x="32" y="127"/>
                    </a:lnTo>
                    <a:lnTo>
                      <a:pt x="32" y="125"/>
                    </a:lnTo>
                    <a:lnTo>
                      <a:pt x="30" y="125"/>
                    </a:lnTo>
                    <a:lnTo>
                      <a:pt x="28" y="125"/>
                    </a:lnTo>
                    <a:lnTo>
                      <a:pt x="28" y="127"/>
                    </a:lnTo>
                    <a:lnTo>
                      <a:pt x="28" y="125"/>
                    </a:lnTo>
                    <a:lnTo>
                      <a:pt x="28" y="127"/>
                    </a:lnTo>
                    <a:lnTo>
                      <a:pt x="27" y="127"/>
                    </a:lnTo>
                    <a:lnTo>
                      <a:pt x="27" y="129"/>
                    </a:lnTo>
                    <a:lnTo>
                      <a:pt x="25" y="127"/>
                    </a:lnTo>
                    <a:lnTo>
                      <a:pt x="23" y="129"/>
                    </a:lnTo>
                    <a:lnTo>
                      <a:pt x="23" y="127"/>
                    </a:lnTo>
                    <a:lnTo>
                      <a:pt x="21" y="127"/>
                    </a:lnTo>
                    <a:lnTo>
                      <a:pt x="19" y="127"/>
                    </a:lnTo>
                    <a:lnTo>
                      <a:pt x="17" y="125"/>
                    </a:lnTo>
                    <a:lnTo>
                      <a:pt x="15" y="125"/>
                    </a:lnTo>
                    <a:lnTo>
                      <a:pt x="13" y="125"/>
                    </a:lnTo>
                    <a:lnTo>
                      <a:pt x="11" y="124"/>
                    </a:lnTo>
                    <a:lnTo>
                      <a:pt x="11" y="125"/>
                    </a:lnTo>
                    <a:lnTo>
                      <a:pt x="9" y="124"/>
                    </a:lnTo>
                    <a:lnTo>
                      <a:pt x="9" y="122"/>
                    </a:lnTo>
                    <a:lnTo>
                      <a:pt x="9" y="124"/>
                    </a:lnTo>
                    <a:lnTo>
                      <a:pt x="9" y="122"/>
                    </a:lnTo>
                    <a:lnTo>
                      <a:pt x="9" y="124"/>
                    </a:lnTo>
                    <a:lnTo>
                      <a:pt x="11" y="124"/>
                    </a:lnTo>
                    <a:lnTo>
                      <a:pt x="11" y="122"/>
                    </a:lnTo>
                    <a:lnTo>
                      <a:pt x="13" y="122"/>
                    </a:lnTo>
                    <a:lnTo>
                      <a:pt x="13" y="120"/>
                    </a:lnTo>
                    <a:lnTo>
                      <a:pt x="13" y="122"/>
                    </a:lnTo>
                    <a:lnTo>
                      <a:pt x="11" y="122"/>
                    </a:lnTo>
                    <a:lnTo>
                      <a:pt x="11" y="120"/>
                    </a:lnTo>
                    <a:lnTo>
                      <a:pt x="11" y="122"/>
                    </a:lnTo>
                    <a:lnTo>
                      <a:pt x="9" y="122"/>
                    </a:lnTo>
                    <a:lnTo>
                      <a:pt x="7" y="122"/>
                    </a:lnTo>
                    <a:lnTo>
                      <a:pt x="5" y="122"/>
                    </a:lnTo>
                    <a:lnTo>
                      <a:pt x="5" y="120"/>
                    </a:lnTo>
                    <a:lnTo>
                      <a:pt x="3" y="120"/>
                    </a:lnTo>
                    <a:lnTo>
                      <a:pt x="2" y="120"/>
                    </a:lnTo>
                    <a:lnTo>
                      <a:pt x="2" y="118"/>
                    </a:lnTo>
                    <a:lnTo>
                      <a:pt x="0" y="118"/>
                    </a:lnTo>
                    <a:lnTo>
                      <a:pt x="2" y="118"/>
                    </a:lnTo>
                    <a:lnTo>
                      <a:pt x="3" y="114"/>
                    </a:lnTo>
                    <a:lnTo>
                      <a:pt x="3" y="112"/>
                    </a:lnTo>
                    <a:lnTo>
                      <a:pt x="5" y="112"/>
                    </a:lnTo>
                    <a:lnTo>
                      <a:pt x="7" y="112"/>
                    </a:lnTo>
                    <a:lnTo>
                      <a:pt x="9" y="112"/>
                    </a:lnTo>
                    <a:lnTo>
                      <a:pt x="9" y="110"/>
                    </a:lnTo>
                    <a:lnTo>
                      <a:pt x="11" y="110"/>
                    </a:lnTo>
                    <a:lnTo>
                      <a:pt x="9" y="110"/>
                    </a:lnTo>
                    <a:lnTo>
                      <a:pt x="11" y="110"/>
                    </a:lnTo>
                    <a:lnTo>
                      <a:pt x="7" y="108"/>
                    </a:lnTo>
                    <a:lnTo>
                      <a:pt x="7" y="106"/>
                    </a:lnTo>
                    <a:lnTo>
                      <a:pt x="9" y="106"/>
                    </a:lnTo>
                    <a:lnTo>
                      <a:pt x="9" y="104"/>
                    </a:lnTo>
                    <a:lnTo>
                      <a:pt x="11" y="104"/>
                    </a:lnTo>
                    <a:lnTo>
                      <a:pt x="13" y="104"/>
                    </a:lnTo>
                    <a:lnTo>
                      <a:pt x="17" y="99"/>
                    </a:lnTo>
                    <a:lnTo>
                      <a:pt x="17" y="97"/>
                    </a:lnTo>
                    <a:lnTo>
                      <a:pt x="19" y="95"/>
                    </a:lnTo>
                    <a:lnTo>
                      <a:pt x="21" y="93"/>
                    </a:lnTo>
                    <a:lnTo>
                      <a:pt x="21" y="95"/>
                    </a:lnTo>
                    <a:lnTo>
                      <a:pt x="23" y="93"/>
                    </a:lnTo>
                    <a:lnTo>
                      <a:pt x="27" y="95"/>
                    </a:lnTo>
                    <a:lnTo>
                      <a:pt x="27" y="93"/>
                    </a:lnTo>
                    <a:lnTo>
                      <a:pt x="28" y="93"/>
                    </a:lnTo>
                    <a:lnTo>
                      <a:pt x="32" y="97"/>
                    </a:lnTo>
                    <a:lnTo>
                      <a:pt x="34" y="95"/>
                    </a:lnTo>
                    <a:lnTo>
                      <a:pt x="36" y="97"/>
                    </a:lnTo>
                    <a:lnTo>
                      <a:pt x="36" y="95"/>
                    </a:lnTo>
                    <a:lnTo>
                      <a:pt x="38" y="95"/>
                    </a:lnTo>
                    <a:lnTo>
                      <a:pt x="38" y="97"/>
                    </a:lnTo>
                    <a:lnTo>
                      <a:pt x="40" y="97"/>
                    </a:lnTo>
                    <a:lnTo>
                      <a:pt x="40" y="95"/>
                    </a:lnTo>
                    <a:lnTo>
                      <a:pt x="42" y="95"/>
                    </a:lnTo>
                    <a:lnTo>
                      <a:pt x="44" y="93"/>
                    </a:lnTo>
                    <a:lnTo>
                      <a:pt x="44" y="91"/>
                    </a:lnTo>
                    <a:lnTo>
                      <a:pt x="46" y="89"/>
                    </a:lnTo>
                    <a:lnTo>
                      <a:pt x="46" y="91"/>
                    </a:lnTo>
                    <a:lnTo>
                      <a:pt x="48" y="89"/>
                    </a:lnTo>
                    <a:lnTo>
                      <a:pt x="48" y="87"/>
                    </a:lnTo>
                    <a:lnTo>
                      <a:pt x="50" y="89"/>
                    </a:lnTo>
                    <a:lnTo>
                      <a:pt x="52" y="89"/>
                    </a:lnTo>
                    <a:lnTo>
                      <a:pt x="52" y="91"/>
                    </a:lnTo>
                    <a:lnTo>
                      <a:pt x="53" y="91"/>
                    </a:lnTo>
                    <a:lnTo>
                      <a:pt x="55" y="91"/>
                    </a:lnTo>
                    <a:lnTo>
                      <a:pt x="55" y="93"/>
                    </a:lnTo>
                    <a:lnTo>
                      <a:pt x="57" y="93"/>
                    </a:lnTo>
                    <a:lnTo>
                      <a:pt x="55" y="93"/>
                    </a:lnTo>
                    <a:lnTo>
                      <a:pt x="55" y="95"/>
                    </a:lnTo>
                    <a:lnTo>
                      <a:pt x="57" y="95"/>
                    </a:lnTo>
                    <a:lnTo>
                      <a:pt x="59" y="95"/>
                    </a:lnTo>
                    <a:lnTo>
                      <a:pt x="59" y="97"/>
                    </a:lnTo>
                    <a:lnTo>
                      <a:pt x="61" y="97"/>
                    </a:lnTo>
                    <a:lnTo>
                      <a:pt x="65" y="99"/>
                    </a:lnTo>
                    <a:lnTo>
                      <a:pt x="67" y="99"/>
                    </a:lnTo>
                    <a:lnTo>
                      <a:pt x="65" y="102"/>
                    </a:lnTo>
                    <a:lnTo>
                      <a:pt x="67" y="102"/>
                    </a:lnTo>
                    <a:lnTo>
                      <a:pt x="67" y="100"/>
                    </a:lnTo>
                    <a:lnTo>
                      <a:pt x="69" y="100"/>
                    </a:lnTo>
                    <a:lnTo>
                      <a:pt x="69" y="102"/>
                    </a:lnTo>
                    <a:lnTo>
                      <a:pt x="69" y="104"/>
                    </a:lnTo>
                    <a:lnTo>
                      <a:pt x="71" y="104"/>
                    </a:lnTo>
                    <a:lnTo>
                      <a:pt x="73" y="106"/>
                    </a:lnTo>
                    <a:lnTo>
                      <a:pt x="77" y="108"/>
                    </a:lnTo>
                    <a:lnTo>
                      <a:pt x="78" y="108"/>
                    </a:lnTo>
                    <a:lnTo>
                      <a:pt x="78" y="106"/>
                    </a:lnTo>
                    <a:lnTo>
                      <a:pt x="78" y="108"/>
                    </a:lnTo>
                    <a:lnTo>
                      <a:pt x="80" y="108"/>
                    </a:lnTo>
                    <a:lnTo>
                      <a:pt x="80" y="106"/>
                    </a:lnTo>
                    <a:lnTo>
                      <a:pt x="82" y="104"/>
                    </a:lnTo>
                    <a:lnTo>
                      <a:pt x="82" y="102"/>
                    </a:lnTo>
                    <a:lnTo>
                      <a:pt x="84" y="102"/>
                    </a:lnTo>
                    <a:lnTo>
                      <a:pt x="84" y="100"/>
                    </a:lnTo>
                    <a:lnTo>
                      <a:pt x="84" y="99"/>
                    </a:lnTo>
                    <a:lnTo>
                      <a:pt x="86" y="97"/>
                    </a:lnTo>
                    <a:lnTo>
                      <a:pt x="88" y="99"/>
                    </a:lnTo>
                    <a:lnTo>
                      <a:pt x="90" y="99"/>
                    </a:lnTo>
                    <a:lnTo>
                      <a:pt x="88" y="97"/>
                    </a:lnTo>
                    <a:lnTo>
                      <a:pt x="90" y="97"/>
                    </a:lnTo>
                    <a:lnTo>
                      <a:pt x="92" y="95"/>
                    </a:lnTo>
                    <a:lnTo>
                      <a:pt x="94" y="93"/>
                    </a:lnTo>
                    <a:lnTo>
                      <a:pt x="96" y="91"/>
                    </a:lnTo>
                    <a:lnTo>
                      <a:pt x="96" y="93"/>
                    </a:lnTo>
                    <a:lnTo>
                      <a:pt x="98" y="91"/>
                    </a:lnTo>
                    <a:lnTo>
                      <a:pt x="98" y="89"/>
                    </a:lnTo>
                    <a:lnTo>
                      <a:pt x="100" y="91"/>
                    </a:lnTo>
                    <a:lnTo>
                      <a:pt x="101" y="89"/>
                    </a:lnTo>
                    <a:lnTo>
                      <a:pt x="101" y="87"/>
                    </a:lnTo>
                    <a:lnTo>
                      <a:pt x="101" y="85"/>
                    </a:lnTo>
                    <a:lnTo>
                      <a:pt x="100" y="85"/>
                    </a:lnTo>
                    <a:lnTo>
                      <a:pt x="98" y="85"/>
                    </a:lnTo>
                    <a:lnTo>
                      <a:pt x="98" y="83"/>
                    </a:lnTo>
                    <a:lnTo>
                      <a:pt x="98" y="81"/>
                    </a:lnTo>
                    <a:lnTo>
                      <a:pt x="100" y="81"/>
                    </a:lnTo>
                    <a:lnTo>
                      <a:pt x="101" y="81"/>
                    </a:lnTo>
                    <a:lnTo>
                      <a:pt x="103" y="81"/>
                    </a:lnTo>
                    <a:lnTo>
                      <a:pt x="103" y="79"/>
                    </a:lnTo>
                    <a:lnTo>
                      <a:pt x="103" y="81"/>
                    </a:lnTo>
                    <a:lnTo>
                      <a:pt x="101" y="79"/>
                    </a:lnTo>
                    <a:lnTo>
                      <a:pt x="103" y="79"/>
                    </a:lnTo>
                    <a:lnTo>
                      <a:pt x="101" y="79"/>
                    </a:lnTo>
                    <a:lnTo>
                      <a:pt x="103" y="79"/>
                    </a:lnTo>
                    <a:lnTo>
                      <a:pt x="103" y="77"/>
                    </a:lnTo>
                    <a:lnTo>
                      <a:pt x="103" y="75"/>
                    </a:lnTo>
                    <a:lnTo>
                      <a:pt x="103" y="74"/>
                    </a:lnTo>
                    <a:lnTo>
                      <a:pt x="103" y="72"/>
                    </a:lnTo>
                    <a:lnTo>
                      <a:pt x="105" y="72"/>
                    </a:lnTo>
                    <a:lnTo>
                      <a:pt x="105" y="70"/>
                    </a:lnTo>
                    <a:lnTo>
                      <a:pt x="107" y="70"/>
                    </a:lnTo>
                    <a:lnTo>
                      <a:pt x="107" y="68"/>
                    </a:lnTo>
                    <a:lnTo>
                      <a:pt x="107" y="66"/>
                    </a:lnTo>
                    <a:lnTo>
                      <a:pt x="105" y="64"/>
                    </a:lnTo>
                    <a:lnTo>
                      <a:pt x="103" y="64"/>
                    </a:lnTo>
                    <a:lnTo>
                      <a:pt x="103" y="62"/>
                    </a:lnTo>
                    <a:lnTo>
                      <a:pt x="101" y="62"/>
                    </a:lnTo>
                    <a:lnTo>
                      <a:pt x="103" y="62"/>
                    </a:lnTo>
                    <a:lnTo>
                      <a:pt x="101" y="62"/>
                    </a:lnTo>
                    <a:lnTo>
                      <a:pt x="103" y="62"/>
                    </a:lnTo>
                    <a:lnTo>
                      <a:pt x="101" y="62"/>
                    </a:lnTo>
                    <a:lnTo>
                      <a:pt x="103" y="62"/>
                    </a:lnTo>
                    <a:lnTo>
                      <a:pt x="103" y="60"/>
                    </a:lnTo>
                    <a:lnTo>
                      <a:pt x="105" y="60"/>
                    </a:lnTo>
                    <a:lnTo>
                      <a:pt x="105" y="58"/>
                    </a:lnTo>
                    <a:lnTo>
                      <a:pt x="107" y="58"/>
                    </a:lnTo>
                    <a:lnTo>
                      <a:pt x="105" y="58"/>
                    </a:lnTo>
                    <a:lnTo>
                      <a:pt x="107" y="58"/>
                    </a:lnTo>
                    <a:lnTo>
                      <a:pt x="107" y="56"/>
                    </a:lnTo>
                    <a:lnTo>
                      <a:pt x="109" y="56"/>
                    </a:lnTo>
                    <a:lnTo>
                      <a:pt x="109" y="54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5" y="52"/>
                    </a:lnTo>
                    <a:lnTo>
                      <a:pt x="115" y="50"/>
                    </a:lnTo>
                    <a:lnTo>
                      <a:pt x="117" y="50"/>
                    </a:lnTo>
                    <a:lnTo>
                      <a:pt x="115" y="50"/>
                    </a:lnTo>
                    <a:lnTo>
                      <a:pt x="117" y="50"/>
                    </a:lnTo>
                    <a:lnTo>
                      <a:pt x="117" y="52"/>
                    </a:lnTo>
                    <a:lnTo>
                      <a:pt x="119" y="56"/>
                    </a:lnTo>
                    <a:lnTo>
                      <a:pt x="125" y="54"/>
                    </a:lnTo>
                    <a:lnTo>
                      <a:pt x="126" y="54"/>
                    </a:lnTo>
                    <a:lnTo>
                      <a:pt x="126" y="52"/>
                    </a:lnTo>
                    <a:lnTo>
                      <a:pt x="125" y="50"/>
                    </a:lnTo>
                    <a:lnTo>
                      <a:pt x="123" y="52"/>
                    </a:lnTo>
                    <a:lnTo>
                      <a:pt x="123" y="50"/>
                    </a:lnTo>
                    <a:lnTo>
                      <a:pt x="123" y="49"/>
                    </a:lnTo>
                    <a:lnTo>
                      <a:pt x="121" y="49"/>
                    </a:lnTo>
                    <a:lnTo>
                      <a:pt x="119" y="49"/>
                    </a:lnTo>
                    <a:lnTo>
                      <a:pt x="119" y="47"/>
                    </a:lnTo>
                    <a:lnTo>
                      <a:pt x="119" y="49"/>
                    </a:lnTo>
                    <a:lnTo>
                      <a:pt x="119" y="47"/>
                    </a:lnTo>
                    <a:lnTo>
                      <a:pt x="117" y="47"/>
                    </a:lnTo>
                    <a:lnTo>
                      <a:pt x="117" y="45"/>
                    </a:lnTo>
                    <a:lnTo>
                      <a:pt x="119" y="45"/>
                    </a:lnTo>
                    <a:lnTo>
                      <a:pt x="119" y="43"/>
                    </a:lnTo>
                    <a:lnTo>
                      <a:pt x="119" y="41"/>
                    </a:lnTo>
                    <a:lnTo>
                      <a:pt x="119" y="39"/>
                    </a:lnTo>
                    <a:lnTo>
                      <a:pt x="119" y="37"/>
                    </a:lnTo>
                    <a:lnTo>
                      <a:pt x="119" y="35"/>
                    </a:lnTo>
                    <a:lnTo>
                      <a:pt x="121" y="35"/>
                    </a:lnTo>
                    <a:lnTo>
                      <a:pt x="121" y="37"/>
                    </a:lnTo>
                    <a:lnTo>
                      <a:pt x="123" y="39"/>
                    </a:lnTo>
                    <a:lnTo>
                      <a:pt x="123" y="37"/>
                    </a:lnTo>
                    <a:lnTo>
                      <a:pt x="125" y="37"/>
                    </a:lnTo>
                    <a:lnTo>
                      <a:pt x="125" y="39"/>
                    </a:lnTo>
                    <a:lnTo>
                      <a:pt x="126" y="39"/>
                    </a:lnTo>
                    <a:lnTo>
                      <a:pt x="128" y="41"/>
                    </a:lnTo>
                    <a:lnTo>
                      <a:pt x="128" y="39"/>
                    </a:lnTo>
                    <a:lnTo>
                      <a:pt x="130" y="37"/>
                    </a:lnTo>
                    <a:lnTo>
                      <a:pt x="132" y="37"/>
                    </a:lnTo>
                    <a:lnTo>
                      <a:pt x="134" y="37"/>
                    </a:lnTo>
                    <a:lnTo>
                      <a:pt x="136" y="35"/>
                    </a:lnTo>
                    <a:lnTo>
                      <a:pt x="138" y="35"/>
                    </a:lnTo>
                    <a:lnTo>
                      <a:pt x="140" y="35"/>
                    </a:lnTo>
                    <a:lnTo>
                      <a:pt x="140" y="33"/>
                    </a:lnTo>
                    <a:lnTo>
                      <a:pt x="142" y="33"/>
                    </a:lnTo>
                    <a:lnTo>
                      <a:pt x="142" y="35"/>
                    </a:lnTo>
                    <a:lnTo>
                      <a:pt x="144" y="35"/>
                    </a:lnTo>
                    <a:lnTo>
                      <a:pt x="144" y="33"/>
                    </a:lnTo>
                    <a:lnTo>
                      <a:pt x="144" y="31"/>
                    </a:lnTo>
                    <a:lnTo>
                      <a:pt x="146" y="31"/>
                    </a:lnTo>
                    <a:lnTo>
                      <a:pt x="148" y="29"/>
                    </a:lnTo>
                    <a:lnTo>
                      <a:pt x="148" y="27"/>
                    </a:lnTo>
                    <a:lnTo>
                      <a:pt x="146" y="27"/>
                    </a:lnTo>
                    <a:lnTo>
                      <a:pt x="146" y="25"/>
                    </a:lnTo>
                    <a:lnTo>
                      <a:pt x="146" y="24"/>
                    </a:lnTo>
                    <a:lnTo>
                      <a:pt x="146" y="22"/>
                    </a:lnTo>
                    <a:lnTo>
                      <a:pt x="146" y="20"/>
                    </a:lnTo>
                    <a:lnTo>
                      <a:pt x="146" y="18"/>
                    </a:lnTo>
                    <a:lnTo>
                      <a:pt x="148" y="18"/>
                    </a:lnTo>
                    <a:lnTo>
                      <a:pt x="148" y="16"/>
                    </a:lnTo>
                    <a:lnTo>
                      <a:pt x="150" y="16"/>
                    </a:lnTo>
                    <a:lnTo>
                      <a:pt x="153" y="14"/>
                    </a:lnTo>
                    <a:lnTo>
                      <a:pt x="153" y="16"/>
                    </a:lnTo>
                    <a:lnTo>
                      <a:pt x="153" y="12"/>
                    </a:lnTo>
                    <a:lnTo>
                      <a:pt x="155" y="12"/>
                    </a:lnTo>
                    <a:lnTo>
                      <a:pt x="157" y="10"/>
                    </a:lnTo>
                    <a:lnTo>
                      <a:pt x="157" y="12"/>
                    </a:lnTo>
                    <a:lnTo>
                      <a:pt x="159" y="14"/>
                    </a:lnTo>
                    <a:lnTo>
                      <a:pt x="161" y="18"/>
                    </a:lnTo>
                    <a:lnTo>
                      <a:pt x="163" y="20"/>
                    </a:lnTo>
                    <a:lnTo>
                      <a:pt x="165" y="20"/>
                    </a:lnTo>
                    <a:lnTo>
                      <a:pt x="167" y="22"/>
                    </a:lnTo>
                    <a:lnTo>
                      <a:pt x="169" y="20"/>
                    </a:lnTo>
                    <a:lnTo>
                      <a:pt x="171" y="20"/>
                    </a:lnTo>
                    <a:lnTo>
                      <a:pt x="173" y="20"/>
                    </a:lnTo>
                    <a:lnTo>
                      <a:pt x="171" y="20"/>
                    </a:lnTo>
                    <a:lnTo>
                      <a:pt x="173" y="18"/>
                    </a:lnTo>
                    <a:lnTo>
                      <a:pt x="174" y="20"/>
                    </a:lnTo>
                    <a:lnTo>
                      <a:pt x="176" y="20"/>
                    </a:lnTo>
                    <a:lnTo>
                      <a:pt x="176" y="22"/>
                    </a:lnTo>
                    <a:lnTo>
                      <a:pt x="178" y="20"/>
                    </a:lnTo>
                    <a:lnTo>
                      <a:pt x="182" y="22"/>
                    </a:lnTo>
                    <a:lnTo>
                      <a:pt x="186" y="20"/>
                    </a:lnTo>
                    <a:lnTo>
                      <a:pt x="188" y="20"/>
                    </a:lnTo>
                    <a:lnTo>
                      <a:pt x="190" y="18"/>
                    </a:lnTo>
                    <a:lnTo>
                      <a:pt x="192" y="14"/>
                    </a:lnTo>
                    <a:lnTo>
                      <a:pt x="194" y="14"/>
                    </a:lnTo>
                    <a:lnTo>
                      <a:pt x="196" y="12"/>
                    </a:lnTo>
                    <a:lnTo>
                      <a:pt x="198" y="10"/>
                    </a:lnTo>
                    <a:lnTo>
                      <a:pt x="199" y="10"/>
                    </a:lnTo>
                    <a:lnTo>
                      <a:pt x="201" y="10"/>
                    </a:lnTo>
                    <a:lnTo>
                      <a:pt x="203" y="8"/>
                    </a:lnTo>
                    <a:lnTo>
                      <a:pt x="203" y="10"/>
                    </a:lnTo>
                    <a:lnTo>
                      <a:pt x="207" y="10"/>
                    </a:lnTo>
                    <a:lnTo>
                      <a:pt x="207" y="8"/>
                    </a:lnTo>
                    <a:lnTo>
                      <a:pt x="209" y="10"/>
                    </a:lnTo>
                    <a:lnTo>
                      <a:pt x="209" y="8"/>
                    </a:lnTo>
                    <a:lnTo>
                      <a:pt x="211" y="8"/>
                    </a:lnTo>
                    <a:lnTo>
                      <a:pt x="213" y="6"/>
                    </a:lnTo>
                    <a:lnTo>
                      <a:pt x="213" y="4"/>
                    </a:lnTo>
                    <a:lnTo>
                      <a:pt x="211" y="2"/>
                    </a:lnTo>
                    <a:lnTo>
                      <a:pt x="215" y="0"/>
                    </a:lnTo>
                    <a:lnTo>
                      <a:pt x="217" y="0"/>
                    </a:lnTo>
                    <a:lnTo>
                      <a:pt x="215" y="6"/>
                    </a:lnTo>
                    <a:lnTo>
                      <a:pt x="215" y="8"/>
                    </a:lnTo>
                    <a:lnTo>
                      <a:pt x="215" y="10"/>
                    </a:lnTo>
                    <a:lnTo>
                      <a:pt x="217" y="14"/>
                    </a:lnTo>
                    <a:lnTo>
                      <a:pt x="217" y="16"/>
                    </a:lnTo>
                    <a:lnTo>
                      <a:pt x="215" y="16"/>
                    </a:lnTo>
                    <a:lnTo>
                      <a:pt x="215" y="18"/>
                    </a:lnTo>
                    <a:lnTo>
                      <a:pt x="215" y="20"/>
                    </a:lnTo>
                    <a:lnTo>
                      <a:pt x="217" y="22"/>
                    </a:lnTo>
                    <a:lnTo>
                      <a:pt x="217" y="24"/>
                    </a:lnTo>
                    <a:lnTo>
                      <a:pt x="217" y="25"/>
                    </a:lnTo>
                    <a:lnTo>
                      <a:pt x="219" y="27"/>
                    </a:lnTo>
                    <a:lnTo>
                      <a:pt x="221" y="27"/>
                    </a:lnTo>
                    <a:lnTo>
                      <a:pt x="221" y="29"/>
                    </a:lnTo>
                    <a:lnTo>
                      <a:pt x="221" y="31"/>
                    </a:lnTo>
                    <a:lnTo>
                      <a:pt x="221" y="33"/>
                    </a:lnTo>
                    <a:lnTo>
                      <a:pt x="221" y="35"/>
                    </a:lnTo>
                    <a:lnTo>
                      <a:pt x="223" y="37"/>
                    </a:lnTo>
                    <a:lnTo>
                      <a:pt x="223" y="39"/>
                    </a:lnTo>
                    <a:lnTo>
                      <a:pt x="223" y="41"/>
                    </a:lnTo>
                    <a:lnTo>
                      <a:pt x="223" y="43"/>
                    </a:lnTo>
                    <a:lnTo>
                      <a:pt x="223" y="45"/>
                    </a:lnTo>
                    <a:lnTo>
                      <a:pt x="223" y="47"/>
                    </a:lnTo>
                    <a:lnTo>
                      <a:pt x="223" y="49"/>
                    </a:lnTo>
                    <a:lnTo>
                      <a:pt x="219" y="50"/>
                    </a:lnTo>
                    <a:lnTo>
                      <a:pt x="217" y="52"/>
                    </a:lnTo>
                    <a:lnTo>
                      <a:pt x="215" y="54"/>
                    </a:lnTo>
                    <a:lnTo>
                      <a:pt x="215" y="56"/>
                    </a:lnTo>
                    <a:lnTo>
                      <a:pt x="213" y="56"/>
                    </a:lnTo>
                    <a:lnTo>
                      <a:pt x="211" y="56"/>
                    </a:lnTo>
                    <a:lnTo>
                      <a:pt x="211" y="58"/>
                    </a:lnTo>
                    <a:lnTo>
                      <a:pt x="209" y="60"/>
                    </a:lnTo>
                    <a:lnTo>
                      <a:pt x="207" y="62"/>
                    </a:lnTo>
                    <a:lnTo>
                      <a:pt x="207" y="64"/>
                    </a:lnTo>
                    <a:lnTo>
                      <a:pt x="205" y="64"/>
                    </a:lnTo>
                    <a:lnTo>
                      <a:pt x="205" y="66"/>
                    </a:lnTo>
                    <a:lnTo>
                      <a:pt x="207" y="66"/>
                    </a:lnTo>
                    <a:lnTo>
                      <a:pt x="205" y="68"/>
                    </a:lnTo>
                    <a:lnTo>
                      <a:pt x="207" y="68"/>
                    </a:lnTo>
                    <a:lnTo>
                      <a:pt x="205" y="70"/>
                    </a:lnTo>
                    <a:lnTo>
                      <a:pt x="203" y="72"/>
                    </a:lnTo>
                    <a:lnTo>
                      <a:pt x="203" y="70"/>
                    </a:lnTo>
                    <a:lnTo>
                      <a:pt x="201" y="72"/>
                    </a:lnTo>
                    <a:lnTo>
                      <a:pt x="201" y="74"/>
                    </a:lnTo>
                    <a:lnTo>
                      <a:pt x="203" y="75"/>
                    </a:lnTo>
                    <a:lnTo>
                      <a:pt x="201" y="75"/>
                    </a:lnTo>
                    <a:lnTo>
                      <a:pt x="199" y="75"/>
                    </a:lnTo>
                    <a:lnTo>
                      <a:pt x="201" y="75"/>
                    </a:lnTo>
                    <a:lnTo>
                      <a:pt x="199" y="75"/>
                    </a:lnTo>
                    <a:lnTo>
                      <a:pt x="199" y="77"/>
                    </a:lnTo>
                    <a:lnTo>
                      <a:pt x="199" y="79"/>
                    </a:lnTo>
                    <a:lnTo>
                      <a:pt x="201" y="79"/>
                    </a:lnTo>
                    <a:lnTo>
                      <a:pt x="203" y="81"/>
                    </a:lnTo>
                    <a:lnTo>
                      <a:pt x="209" y="83"/>
                    </a:lnTo>
                    <a:lnTo>
                      <a:pt x="207" y="83"/>
                    </a:lnTo>
                    <a:lnTo>
                      <a:pt x="207" y="85"/>
                    </a:lnTo>
                    <a:lnTo>
                      <a:pt x="209" y="85"/>
                    </a:lnTo>
                    <a:lnTo>
                      <a:pt x="207" y="87"/>
                    </a:lnTo>
                    <a:lnTo>
                      <a:pt x="207" y="89"/>
                    </a:lnTo>
                    <a:lnTo>
                      <a:pt x="205" y="87"/>
                    </a:lnTo>
                    <a:lnTo>
                      <a:pt x="205" y="89"/>
                    </a:lnTo>
                    <a:lnTo>
                      <a:pt x="205" y="91"/>
                    </a:lnTo>
                    <a:lnTo>
                      <a:pt x="205" y="93"/>
                    </a:lnTo>
                    <a:lnTo>
                      <a:pt x="207" y="93"/>
                    </a:lnTo>
                    <a:lnTo>
                      <a:pt x="209" y="93"/>
                    </a:lnTo>
                    <a:lnTo>
                      <a:pt x="209" y="95"/>
                    </a:lnTo>
                    <a:lnTo>
                      <a:pt x="209" y="97"/>
                    </a:lnTo>
                    <a:lnTo>
                      <a:pt x="211" y="99"/>
                    </a:lnTo>
                    <a:lnTo>
                      <a:pt x="211" y="100"/>
                    </a:lnTo>
                    <a:lnTo>
                      <a:pt x="213" y="100"/>
                    </a:lnTo>
                    <a:lnTo>
                      <a:pt x="209" y="104"/>
                    </a:lnTo>
                    <a:lnTo>
                      <a:pt x="209" y="106"/>
                    </a:lnTo>
                    <a:lnTo>
                      <a:pt x="211" y="106"/>
                    </a:lnTo>
                    <a:lnTo>
                      <a:pt x="211" y="108"/>
                    </a:lnTo>
                    <a:lnTo>
                      <a:pt x="211" y="110"/>
                    </a:lnTo>
                    <a:lnTo>
                      <a:pt x="209" y="112"/>
                    </a:lnTo>
                    <a:lnTo>
                      <a:pt x="205" y="114"/>
                    </a:lnTo>
                    <a:lnTo>
                      <a:pt x="203" y="114"/>
                    </a:lnTo>
                    <a:lnTo>
                      <a:pt x="203" y="116"/>
                    </a:lnTo>
                    <a:lnTo>
                      <a:pt x="203" y="118"/>
                    </a:lnTo>
                    <a:lnTo>
                      <a:pt x="201" y="118"/>
                    </a:lnTo>
                    <a:lnTo>
                      <a:pt x="201" y="120"/>
                    </a:lnTo>
                    <a:lnTo>
                      <a:pt x="201" y="122"/>
                    </a:lnTo>
                    <a:lnTo>
                      <a:pt x="201" y="124"/>
                    </a:lnTo>
                    <a:lnTo>
                      <a:pt x="199" y="122"/>
                    </a:lnTo>
                    <a:lnTo>
                      <a:pt x="198" y="122"/>
                    </a:lnTo>
                    <a:lnTo>
                      <a:pt x="198" y="124"/>
                    </a:lnTo>
                    <a:lnTo>
                      <a:pt x="196" y="124"/>
                    </a:lnTo>
                    <a:lnTo>
                      <a:pt x="196" y="122"/>
                    </a:lnTo>
                    <a:lnTo>
                      <a:pt x="196" y="124"/>
                    </a:lnTo>
                    <a:lnTo>
                      <a:pt x="194" y="124"/>
                    </a:lnTo>
                    <a:lnTo>
                      <a:pt x="196" y="124"/>
                    </a:lnTo>
                    <a:lnTo>
                      <a:pt x="194" y="124"/>
                    </a:lnTo>
                    <a:lnTo>
                      <a:pt x="192" y="124"/>
                    </a:lnTo>
                    <a:lnTo>
                      <a:pt x="192" y="122"/>
                    </a:lnTo>
                    <a:lnTo>
                      <a:pt x="192" y="124"/>
                    </a:lnTo>
                    <a:lnTo>
                      <a:pt x="190" y="124"/>
                    </a:lnTo>
                    <a:lnTo>
                      <a:pt x="190" y="122"/>
                    </a:lnTo>
                    <a:lnTo>
                      <a:pt x="190" y="124"/>
                    </a:lnTo>
                    <a:lnTo>
                      <a:pt x="190" y="122"/>
                    </a:lnTo>
                    <a:lnTo>
                      <a:pt x="188" y="122"/>
                    </a:lnTo>
                    <a:lnTo>
                      <a:pt x="190" y="122"/>
                    </a:lnTo>
                    <a:lnTo>
                      <a:pt x="188" y="122"/>
                    </a:lnTo>
                    <a:lnTo>
                      <a:pt x="186" y="122"/>
                    </a:lnTo>
                    <a:lnTo>
                      <a:pt x="186" y="120"/>
                    </a:lnTo>
                    <a:lnTo>
                      <a:pt x="186" y="122"/>
                    </a:lnTo>
                    <a:lnTo>
                      <a:pt x="186" y="120"/>
                    </a:lnTo>
                    <a:lnTo>
                      <a:pt x="184" y="120"/>
                    </a:lnTo>
                    <a:lnTo>
                      <a:pt x="180" y="120"/>
                    </a:lnTo>
                    <a:lnTo>
                      <a:pt x="178" y="120"/>
                    </a:lnTo>
                    <a:lnTo>
                      <a:pt x="176" y="122"/>
                    </a:lnTo>
                    <a:lnTo>
                      <a:pt x="174" y="122"/>
                    </a:lnTo>
                    <a:lnTo>
                      <a:pt x="174" y="124"/>
                    </a:lnTo>
                    <a:lnTo>
                      <a:pt x="173" y="131"/>
                    </a:lnTo>
                    <a:lnTo>
                      <a:pt x="169" y="129"/>
                    </a:lnTo>
                    <a:lnTo>
                      <a:pt x="167" y="131"/>
                    </a:lnTo>
                    <a:lnTo>
                      <a:pt x="169" y="131"/>
                    </a:lnTo>
                    <a:lnTo>
                      <a:pt x="167" y="133"/>
                    </a:lnTo>
                    <a:lnTo>
                      <a:pt x="165" y="139"/>
                    </a:lnTo>
                    <a:lnTo>
                      <a:pt x="165" y="137"/>
                    </a:lnTo>
                    <a:lnTo>
                      <a:pt x="163" y="139"/>
                    </a:lnTo>
                    <a:lnTo>
                      <a:pt x="161" y="139"/>
                    </a:lnTo>
                    <a:lnTo>
                      <a:pt x="159" y="141"/>
                    </a:lnTo>
                    <a:lnTo>
                      <a:pt x="159" y="143"/>
                    </a:lnTo>
                    <a:lnTo>
                      <a:pt x="157" y="143"/>
                    </a:lnTo>
                    <a:lnTo>
                      <a:pt x="159" y="143"/>
                    </a:lnTo>
                    <a:lnTo>
                      <a:pt x="159" y="145"/>
                    </a:lnTo>
                    <a:lnTo>
                      <a:pt x="161" y="145"/>
                    </a:lnTo>
                    <a:lnTo>
                      <a:pt x="163" y="145"/>
                    </a:lnTo>
                    <a:lnTo>
                      <a:pt x="163" y="147"/>
                    </a:lnTo>
                    <a:lnTo>
                      <a:pt x="161" y="147"/>
                    </a:lnTo>
                    <a:lnTo>
                      <a:pt x="163" y="147"/>
                    </a:lnTo>
                    <a:lnTo>
                      <a:pt x="165" y="147"/>
                    </a:lnTo>
                    <a:lnTo>
                      <a:pt x="169" y="149"/>
                    </a:lnTo>
                    <a:lnTo>
                      <a:pt x="171" y="149"/>
                    </a:lnTo>
                    <a:lnTo>
                      <a:pt x="171" y="150"/>
                    </a:lnTo>
                    <a:lnTo>
                      <a:pt x="169" y="150"/>
                    </a:lnTo>
                    <a:lnTo>
                      <a:pt x="171" y="150"/>
                    </a:lnTo>
                    <a:lnTo>
                      <a:pt x="171" y="152"/>
                    </a:lnTo>
                    <a:lnTo>
                      <a:pt x="173" y="152"/>
                    </a:lnTo>
                    <a:lnTo>
                      <a:pt x="173" y="150"/>
                    </a:lnTo>
                    <a:lnTo>
                      <a:pt x="173" y="152"/>
                    </a:lnTo>
                    <a:lnTo>
                      <a:pt x="174" y="154"/>
                    </a:lnTo>
                    <a:lnTo>
                      <a:pt x="174" y="156"/>
                    </a:lnTo>
                    <a:lnTo>
                      <a:pt x="174" y="158"/>
                    </a:lnTo>
                    <a:lnTo>
                      <a:pt x="174" y="160"/>
                    </a:lnTo>
                    <a:lnTo>
                      <a:pt x="174" y="162"/>
                    </a:lnTo>
                    <a:lnTo>
                      <a:pt x="174" y="164"/>
                    </a:lnTo>
                    <a:lnTo>
                      <a:pt x="176" y="166"/>
                    </a:lnTo>
                    <a:lnTo>
                      <a:pt x="174" y="168"/>
                    </a:lnTo>
                    <a:lnTo>
                      <a:pt x="174" y="170"/>
                    </a:lnTo>
                    <a:lnTo>
                      <a:pt x="174" y="172"/>
                    </a:lnTo>
                    <a:lnTo>
                      <a:pt x="173" y="173"/>
                    </a:lnTo>
                    <a:lnTo>
                      <a:pt x="173" y="177"/>
                    </a:lnTo>
                    <a:lnTo>
                      <a:pt x="173" y="181"/>
                    </a:lnTo>
                    <a:lnTo>
                      <a:pt x="173" y="183"/>
                    </a:lnTo>
                    <a:lnTo>
                      <a:pt x="171" y="191"/>
                    </a:lnTo>
                    <a:lnTo>
                      <a:pt x="171" y="193"/>
                    </a:lnTo>
                    <a:lnTo>
                      <a:pt x="173" y="193"/>
                    </a:lnTo>
                    <a:lnTo>
                      <a:pt x="174" y="193"/>
                    </a:lnTo>
                    <a:lnTo>
                      <a:pt x="176" y="191"/>
                    </a:lnTo>
                    <a:lnTo>
                      <a:pt x="180" y="193"/>
                    </a:lnTo>
                    <a:lnTo>
                      <a:pt x="180" y="195"/>
                    </a:lnTo>
                    <a:lnTo>
                      <a:pt x="178" y="195"/>
                    </a:lnTo>
                    <a:lnTo>
                      <a:pt x="178" y="197"/>
                    </a:lnTo>
                    <a:lnTo>
                      <a:pt x="176" y="197"/>
                    </a:lnTo>
                    <a:lnTo>
                      <a:pt x="176" y="198"/>
                    </a:lnTo>
                    <a:lnTo>
                      <a:pt x="176" y="200"/>
                    </a:lnTo>
                    <a:lnTo>
                      <a:pt x="178" y="202"/>
                    </a:lnTo>
                    <a:lnTo>
                      <a:pt x="180" y="202"/>
                    </a:lnTo>
                    <a:lnTo>
                      <a:pt x="182" y="202"/>
                    </a:lnTo>
                    <a:lnTo>
                      <a:pt x="184" y="204"/>
                    </a:lnTo>
                    <a:lnTo>
                      <a:pt x="186" y="204"/>
                    </a:lnTo>
                    <a:lnTo>
                      <a:pt x="188" y="204"/>
                    </a:lnTo>
                    <a:lnTo>
                      <a:pt x="190" y="204"/>
                    </a:lnTo>
                    <a:lnTo>
                      <a:pt x="192" y="206"/>
                    </a:lnTo>
                    <a:lnTo>
                      <a:pt x="192" y="208"/>
                    </a:lnTo>
                    <a:lnTo>
                      <a:pt x="192" y="210"/>
                    </a:lnTo>
                    <a:lnTo>
                      <a:pt x="194" y="210"/>
                    </a:lnTo>
                    <a:lnTo>
                      <a:pt x="194" y="208"/>
                    </a:lnTo>
                    <a:lnTo>
                      <a:pt x="194" y="210"/>
                    </a:lnTo>
                    <a:lnTo>
                      <a:pt x="194" y="208"/>
                    </a:lnTo>
                    <a:lnTo>
                      <a:pt x="194" y="210"/>
                    </a:lnTo>
                    <a:lnTo>
                      <a:pt x="196" y="210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18" name="Freeform 113">
                <a:extLst>
                  <a:ext uri="{FF2B5EF4-FFF2-40B4-BE49-F238E27FC236}">
                    <a16:creationId xmlns="" xmlns:a16="http://schemas.microsoft.com/office/drawing/2014/main" id="{F7F02A33-29A0-4755-A67A-D2FB54CBD9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76388" y="4318001"/>
                <a:ext cx="61913" cy="30163"/>
              </a:xfrm>
              <a:custGeom>
                <a:avLst/>
                <a:gdLst>
                  <a:gd name="T0" fmla="*/ 0 w 39"/>
                  <a:gd name="T1" fmla="*/ 6 h 19"/>
                  <a:gd name="T2" fmla="*/ 0 w 39"/>
                  <a:gd name="T3" fmla="*/ 6 h 19"/>
                  <a:gd name="T4" fmla="*/ 0 w 39"/>
                  <a:gd name="T5" fmla="*/ 6 h 19"/>
                  <a:gd name="T6" fmla="*/ 2 w 39"/>
                  <a:gd name="T7" fmla="*/ 8 h 19"/>
                  <a:gd name="T8" fmla="*/ 10 w 39"/>
                  <a:gd name="T9" fmla="*/ 8 h 19"/>
                  <a:gd name="T10" fmla="*/ 10 w 39"/>
                  <a:gd name="T11" fmla="*/ 10 h 19"/>
                  <a:gd name="T12" fmla="*/ 10 w 39"/>
                  <a:gd name="T13" fmla="*/ 10 h 19"/>
                  <a:gd name="T14" fmla="*/ 10 w 39"/>
                  <a:gd name="T15" fmla="*/ 8 h 19"/>
                  <a:gd name="T16" fmla="*/ 6 w 39"/>
                  <a:gd name="T17" fmla="*/ 6 h 19"/>
                  <a:gd name="T18" fmla="*/ 8 w 39"/>
                  <a:gd name="T19" fmla="*/ 6 h 19"/>
                  <a:gd name="T20" fmla="*/ 8 w 39"/>
                  <a:gd name="T21" fmla="*/ 6 h 19"/>
                  <a:gd name="T22" fmla="*/ 10 w 39"/>
                  <a:gd name="T23" fmla="*/ 8 h 19"/>
                  <a:gd name="T24" fmla="*/ 10 w 39"/>
                  <a:gd name="T25" fmla="*/ 8 h 19"/>
                  <a:gd name="T26" fmla="*/ 8 w 39"/>
                  <a:gd name="T27" fmla="*/ 8 h 19"/>
                  <a:gd name="T28" fmla="*/ 8 w 39"/>
                  <a:gd name="T29" fmla="*/ 8 h 19"/>
                  <a:gd name="T30" fmla="*/ 6 w 39"/>
                  <a:gd name="T31" fmla="*/ 8 h 19"/>
                  <a:gd name="T32" fmla="*/ 6 w 39"/>
                  <a:gd name="T33" fmla="*/ 6 h 19"/>
                  <a:gd name="T34" fmla="*/ 4 w 39"/>
                  <a:gd name="T35" fmla="*/ 6 h 19"/>
                  <a:gd name="T36" fmla="*/ 2 w 39"/>
                  <a:gd name="T37" fmla="*/ 8 h 19"/>
                  <a:gd name="T38" fmla="*/ 2 w 39"/>
                  <a:gd name="T39" fmla="*/ 6 h 19"/>
                  <a:gd name="T40" fmla="*/ 2 w 39"/>
                  <a:gd name="T41" fmla="*/ 6 h 19"/>
                  <a:gd name="T42" fmla="*/ 2 w 39"/>
                  <a:gd name="T43" fmla="*/ 4 h 19"/>
                  <a:gd name="T44" fmla="*/ 2 w 39"/>
                  <a:gd name="T45" fmla="*/ 4 h 19"/>
                  <a:gd name="T46" fmla="*/ 2 w 39"/>
                  <a:gd name="T47" fmla="*/ 4 h 19"/>
                  <a:gd name="T48" fmla="*/ 6 w 39"/>
                  <a:gd name="T49" fmla="*/ 4 h 19"/>
                  <a:gd name="T50" fmla="*/ 6 w 39"/>
                  <a:gd name="T51" fmla="*/ 4 h 19"/>
                  <a:gd name="T52" fmla="*/ 4 w 39"/>
                  <a:gd name="T53" fmla="*/ 0 h 19"/>
                  <a:gd name="T54" fmla="*/ 4 w 39"/>
                  <a:gd name="T55" fmla="*/ 0 h 19"/>
                  <a:gd name="T56" fmla="*/ 6 w 39"/>
                  <a:gd name="T57" fmla="*/ 2 h 19"/>
                  <a:gd name="T58" fmla="*/ 6 w 39"/>
                  <a:gd name="T59" fmla="*/ 4 h 19"/>
                  <a:gd name="T60" fmla="*/ 4 w 39"/>
                  <a:gd name="T61" fmla="*/ 4 h 19"/>
                  <a:gd name="T62" fmla="*/ 4 w 39"/>
                  <a:gd name="T63" fmla="*/ 4 h 19"/>
                  <a:gd name="T64" fmla="*/ 2 w 39"/>
                  <a:gd name="T65" fmla="*/ 4 h 19"/>
                  <a:gd name="T66" fmla="*/ 2 w 39"/>
                  <a:gd name="T67" fmla="*/ 4 h 19"/>
                  <a:gd name="T68" fmla="*/ 2 w 39"/>
                  <a:gd name="T69" fmla="*/ 4 h 19"/>
                  <a:gd name="T70" fmla="*/ 2 w 39"/>
                  <a:gd name="T71" fmla="*/ 4 h 19"/>
                  <a:gd name="T72" fmla="*/ 4 w 39"/>
                  <a:gd name="T73" fmla="*/ 2 h 19"/>
                  <a:gd name="T74" fmla="*/ 2 w 39"/>
                  <a:gd name="T75" fmla="*/ 2 h 19"/>
                  <a:gd name="T76" fmla="*/ 4 w 39"/>
                  <a:gd name="T77" fmla="*/ 0 h 19"/>
                  <a:gd name="T78" fmla="*/ 4 w 39"/>
                  <a:gd name="T79" fmla="*/ 0 h 19"/>
                  <a:gd name="T80" fmla="*/ 6 w 39"/>
                  <a:gd name="T81" fmla="*/ 0 h 19"/>
                  <a:gd name="T82" fmla="*/ 6 w 39"/>
                  <a:gd name="T83" fmla="*/ 2 h 19"/>
                  <a:gd name="T84" fmla="*/ 23 w 39"/>
                  <a:gd name="T85" fmla="*/ 10 h 19"/>
                  <a:gd name="T86" fmla="*/ 23 w 39"/>
                  <a:gd name="T87" fmla="*/ 12 h 19"/>
                  <a:gd name="T88" fmla="*/ 23 w 39"/>
                  <a:gd name="T89" fmla="*/ 12 h 19"/>
                  <a:gd name="T90" fmla="*/ 21 w 39"/>
                  <a:gd name="T91" fmla="*/ 10 h 19"/>
                  <a:gd name="T92" fmla="*/ 37 w 39"/>
                  <a:gd name="T93" fmla="*/ 19 h 19"/>
                  <a:gd name="T94" fmla="*/ 37 w 39"/>
                  <a:gd name="T95" fmla="*/ 19 h 19"/>
                  <a:gd name="T96" fmla="*/ 37 w 39"/>
                  <a:gd name="T97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9" h="19">
                    <a:moveTo>
                      <a:pt x="2" y="8"/>
                    </a:moveTo>
                    <a:lnTo>
                      <a:pt x="2" y="8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  <a:moveTo>
                      <a:pt x="10" y="8"/>
                    </a:move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6" y="4"/>
                    </a:move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8" y="8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close/>
                    <a:moveTo>
                      <a:pt x="2" y="0"/>
                    </a:moveTo>
                    <a:lnTo>
                      <a:pt x="2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close/>
                    <a:moveTo>
                      <a:pt x="6" y="2"/>
                    </a:moveTo>
                    <a:lnTo>
                      <a:pt x="6" y="2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2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close/>
                    <a:moveTo>
                      <a:pt x="23" y="10"/>
                    </a:moveTo>
                    <a:lnTo>
                      <a:pt x="23" y="10"/>
                    </a:lnTo>
                    <a:lnTo>
                      <a:pt x="23" y="10"/>
                    </a:lnTo>
                    <a:lnTo>
                      <a:pt x="23" y="12"/>
                    </a:lnTo>
                    <a:lnTo>
                      <a:pt x="23" y="12"/>
                    </a:lnTo>
                    <a:lnTo>
                      <a:pt x="23" y="12"/>
                    </a:lnTo>
                    <a:lnTo>
                      <a:pt x="23" y="12"/>
                    </a:lnTo>
                    <a:lnTo>
                      <a:pt x="23" y="12"/>
                    </a:lnTo>
                    <a:lnTo>
                      <a:pt x="23" y="12"/>
                    </a:lnTo>
                    <a:lnTo>
                      <a:pt x="23" y="12"/>
                    </a:lnTo>
                    <a:lnTo>
                      <a:pt x="23" y="12"/>
                    </a:lnTo>
                    <a:lnTo>
                      <a:pt x="21" y="12"/>
                    </a:lnTo>
                    <a:lnTo>
                      <a:pt x="21" y="12"/>
                    </a:lnTo>
                    <a:lnTo>
                      <a:pt x="21" y="10"/>
                    </a:lnTo>
                    <a:lnTo>
                      <a:pt x="21" y="10"/>
                    </a:lnTo>
                    <a:lnTo>
                      <a:pt x="21" y="10"/>
                    </a:lnTo>
                    <a:lnTo>
                      <a:pt x="23" y="10"/>
                    </a:lnTo>
                    <a:close/>
                    <a:moveTo>
                      <a:pt x="37" y="19"/>
                    </a:moveTo>
                    <a:lnTo>
                      <a:pt x="37" y="19"/>
                    </a:lnTo>
                    <a:lnTo>
                      <a:pt x="37" y="19"/>
                    </a:lnTo>
                    <a:lnTo>
                      <a:pt x="37" y="19"/>
                    </a:lnTo>
                    <a:lnTo>
                      <a:pt x="37" y="19"/>
                    </a:lnTo>
                    <a:lnTo>
                      <a:pt x="37" y="19"/>
                    </a:lnTo>
                    <a:lnTo>
                      <a:pt x="39" y="19"/>
                    </a:lnTo>
                    <a:lnTo>
                      <a:pt x="37" y="19"/>
                    </a:lnTo>
                    <a:lnTo>
                      <a:pt x="37" y="19"/>
                    </a:lnTo>
                    <a:lnTo>
                      <a:pt x="37" y="1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Freeform 114">
                <a:extLst>
                  <a:ext uri="{FF2B5EF4-FFF2-40B4-BE49-F238E27FC236}">
                    <a16:creationId xmlns="" xmlns:a16="http://schemas.microsoft.com/office/drawing/2014/main" id="{B4D04F39-4FAA-41A7-BEAF-340A88C142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39875" y="4297363"/>
                <a:ext cx="95250" cy="44450"/>
              </a:xfrm>
              <a:custGeom>
                <a:avLst/>
                <a:gdLst>
                  <a:gd name="T0" fmla="*/ 0 w 60"/>
                  <a:gd name="T1" fmla="*/ 2 h 28"/>
                  <a:gd name="T2" fmla="*/ 0 w 60"/>
                  <a:gd name="T3" fmla="*/ 2 h 28"/>
                  <a:gd name="T4" fmla="*/ 0 w 60"/>
                  <a:gd name="T5" fmla="*/ 2 h 28"/>
                  <a:gd name="T6" fmla="*/ 0 w 60"/>
                  <a:gd name="T7" fmla="*/ 0 h 28"/>
                  <a:gd name="T8" fmla="*/ 0 w 60"/>
                  <a:gd name="T9" fmla="*/ 2 h 28"/>
                  <a:gd name="T10" fmla="*/ 33 w 60"/>
                  <a:gd name="T11" fmla="*/ 23 h 28"/>
                  <a:gd name="T12" fmla="*/ 33 w 60"/>
                  <a:gd name="T13" fmla="*/ 23 h 28"/>
                  <a:gd name="T14" fmla="*/ 33 w 60"/>
                  <a:gd name="T15" fmla="*/ 21 h 28"/>
                  <a:gd name="T16" fmla="*/ 33 w 60"/>
                  <a:gd name="T17" fmla="*/ 21 h 28"/>
                  <a:gd name="T18" fmla="*/ 33 w 60"/>
                  <a:gd name="T19" fmla="*/ 21 h 28"/>
                  <a:gd name="T20" fmla="*/ 33 w 60"/>
                  <a:gd name="T21" fmla="*/ 21 h 28"/>
                  <a:gd name="T22" fmla="*/ 33 w 60"/>
                  <a:gd name="T23" fmla="*/ 21 h 28"/>
                  <a:gd name="T24" fmla="*/ 33 w 60"/>
                  <a:gd name="T25" fmla="*/ 23 h 28"/>
                  <a:gd name="T26" fmla="*/ 33 w 60"/>
                  <a:gd name="T27" fmla="*/ 23 h 28"/>
                  <a:gd name="T28" fmla="*/ 39 w 60"/>
                  <a:gd name="T29" fmla="*/ 23 h 28"/>
                  <a:gd name="T30" fmla="*/ 39 w 60"/>
                  <a:gd name="T31" fmla="*/ 23 h 28"/>
                  <a:gd name="T32" fmla="*/ 39 w 60"/>
                  <a:gd name="T33" fmla="*/ 23 h 28"/>
                  <a:gd name="T34" fmla="*/ 39 w 60"/>
                  <a:gd name="T35" fmla="*/ 23 h 28"/>
                  <a:gd name="T36" fmla="*/ 39 w 60"/>
                  <a:gd name="T37" fmla="*/ 23 h 28"/>
                  <a:gd name="T38" fmla="*/ 50 w 60"/>
                  <a:gd name="T39" fmla="*/ 27 h 28"/>
                  <a:gd name="T40" fmla="*/ 50 w 60"/>
                  <a:gd name="T41" fmla="*/ 27 h 28"/>
                  <a:gd name="T42" fmla="*/ 50 w 60"/>
                  <a:gd name="T43" fmla="*/ 27 h 28"/>
                  <a:gd name="T44" fmla="*/ 50 w 60"/>
                  <a:gd name="T45" fmla="*/ 25 h 28"/>
                  <a:gd name="T46" fmla="*/ 50 w 60"/>
                  <a:gd name="T47" fmla="*/ 25 h 28"/>
                  <a:gd name="T48" fmla="*/ 50 w 60"/>
                  <a:gd name="T49" fmla="*/ 27 h 28"/>
                  <a:gd name="T50" fmla="*/ 50 w 60"/>
                  <a:gd name="T51" fmla="*/ 27 h 28"/>
                  <a:gd name="T52" fmla="*/ 50 w 60"/>
                  <a:gd name="T53" fmla="*/ 27 h 28"/>
                  <a:gd name="T54" fmla="*/ 60 w 60"/>
                  <a:gd name="T55" fmla="*/ 28 h 28"/>
                  <a:gd name="T56" fmla="*/ 60 w 60"/>
                  <a:gd name="T57" fmla="*/ 28 h 28"/>
                  <a:gd name="T58" fmla="*/ 60 w 60"/>
                  <a:gd name="T59" fmla="*/ 28 h 28"/>
                  <a:gd name="T60" fmla="*/ 60 w 60"/>
                  <a:gd name="T61" fmla="*/ 28 h 28"/>
                  <a:gd name="T62" fmla="*/ 60 w 60"/>
                  <a:gd name="T63" fmla="*/ 28 h 28"/>
                  <a:gd name="T64" fmla="*/ 60 w 60"/>
                  <a:gd name="T65" fmla="*/ 28 h 28"/>
                  <a:gd name="T66" fmla="*/ 60 w 60"/>
                  <a:gd name="T67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60" h="28">
                    <a:moveTo>
                      <a:pt x="0" y="2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  <a:moveTo>
                      <a:pt x="33" y="23"/>
                    </a:moveTo>
                    <a:lnTo>
                      <a:pt x="33" y="23"/>
                    </a:lnTo>
                    <a:lnTo>
                      <a:pt x="33" y="21"/>
                    </a:lnTo>
                    <a:lnTo>
                      <a:pt x="33" y="21"/>
                    </a:lnTo>
                    <a:lnTo>
                      <a:pt x="33" y="21"/>
                    </a:lnTo>
                    <a:lnTo>
                      <a:pt x="33" y="21"/>
                    </a:lnTo>
                    <a:lnTo>
                      <a:pt x="33" y="21"/>
                    </a:lnTo>
                    <a:lnTo>
                      <a:pt x="33" y="23"/>
                    </a:lnTo>
                    <a:lnTo>
                      <a:pt x="33" y="23"/>
                    </a:lnTo>
                    <a:close/>
                    <a:moveTo>
                      <a:pt x="39" y="23"/>
                    </a:moveTo>
                    <a:lnTo>
                      <a:pt x="39" y="23"/>
                    </a:lnTo>
                    <a:lnTo>
                      <a:pt x="39" y="23"/>
                    </a:lnTo>
                    <a:lnTo>
                      <a:pt x="39" y="23"/>
                    </a:lnTo>
                    <a:lnTo>
                      <a:pt x="39" y="23"/>
                    </a:lnTo>
                    <a:close/>
                    <a:moveTo>
                      <a:pt x="50" y="27"/>
                    </a:moveTo>
                    <a:lnTo>
                      <a:pt x="50" y="27"/>
                    </a:lnTo>
                    <a:lnTo>
                      <a:pt x="50" y="27"/>
                    </a:lnTo>
                    <a:lnTo>
                      <a:pt x="50" y="25"/>
                    </a:lnTo>
                    <a:lnTo>
                      <a:pt x="50" y="25"/>
                    </a:lnTo>
                    <a:lnTo>
                      <a:pt x="50" y="27"/>
                    </a:lnTo>
                    <a:lnTo>
                      <a:pt x="50" y="27"/>
                    </a:lnTo>
                    <a:lnTo>
                      <a:pt x="50" y="27"/>
                    </a:lnTo>
                    <a:close/>
                    <a:moveTo>
                      <a:pt x="60" y="28"/>
                    </a:moveTo>
                    <a:lnTo>
                      <a:pt x="60" y="28"/>
                    </a:lnTo>
                    <a:lnTo>
                      <a:pt x="60" y="28"/>
                    </a:lnTo>
                    <a:lnTo>
                      <a:pt x="60" y="28"/>
                    </a:lnTo>
                    <a:lnTo>
                      <a:pt x="60" y="28"/>
                    </a:lnTo>
                    <a:lnTo>
                      <a:pt x="60" y="28"/>
                    </a:lnTo>
                    <a:lnTo>
                      <a:pt x="60" y="28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Freeform 115">
                <a:extLst>
                  <a:ext uri="{FF2B5EF4-FFF2-40B4-BE49-F238E27FC236}">
                    <a16:creationId xmlns="" xmlns:a16="http://schemas.microsoft.com/office/drawing/2014/main" id="{315D1764-AE7F-41FC-8351-175A6C0F9C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6275" y="3590926"/>
                <a:ext cx="242888" cy="204788"/>
              </a:xfrm>
              <a:custGeom>
                <a:avLst/>
                <a:gdLst>
                  <a:gd name="T0" fmla="*/ 144 w 153"/>
                  <a:gd name="T1" fmla="*/ 47 h 129"/>
                  <a:gd name="T2" fmla="*/ 146 w 153"/>
                  <a:gd name="T3" fmla="*/ 58 h 129"/>
                  <a:gd name="T4" fmla="*/ 150 w 153"/>
                  <a:gd name="T5" fmla="*/ 66 h 129"/>
                  <a:gd name="T6" fmla="*/ 144 w 153"/>
                  <a:gd name="T7" fmla="*/ 72 h 129"/>
                  <a:gd name="T8" fmla="*/ 144 w 153"/>
                  <a:gd name="T9" fmla="*/ 79 h 129"/>
                  <a:gd name="T10" fmla="*/ 146 w 153"/>
                  <a:gd name="T11" fmla="*/ 81 h 129"/>
                  <a:gd name="T12" fmla="*/ 146 w 153"/>
                  <a:gd name="T13" fmla="*/ 89 h 129"/>
                  <a:gd name="T14" fmla="*/ 138 w 153"/>
                  <a:gd name="T15" fmla="*/ 91 h 129"/>
                  <a:gd name="T16" fmla="*/ 132 w 153"/>
                  <a:gd name="T17" fmla="*/ 99 h 129"/>
                  <a:gd name="T18" fmla="*/ 121 w 153"/>
                  <a:gd name="T19" fmla="*/ 102 h 129"/>
                  <a:gd name="T20" fmla="*/ 119 w 153"/>
                  <a:gd name="T21" fmla="*/ 104 h 129"/>
                  <a:gd name="T22" fmla="*/ 123 w 153"/>
                  <a:gd name="T23" fmla="*/ 106 h 129"/>
                  <a:gd name="T24" fmla="*/ 128 w 153"/>
                  <a:gd name="T25" fmla="*/ 112 h 129"/>
                  <a:gd name="T26" fmla="*/ 125 w 153"/>
                  <a:gd name="T27" fmla="*/ 112 h 129"/>
                  <a:gd name="T28" fmla="*/ 117 w 153"/>
                  <a:gd name="T29" fmla="*/ 112 h 129"/>
                  <a:gd name="T30" fmla="*/ 117 w 153"/>
                  <a:gd name="T31" fmla="*/ 120 h 129"/>
                  <a:gd name="T32" fmla="*/ 105 w 153"/>
                  <a:gd name="T33" fmla="*/ 124 h 129"/>
                  <a:gd name="T34" fmla="*/ 98 w 153"/>
                  <a:gd name="T35" fmla="*/ 122 h 129"/>
                  <a:gd name="T36" fmla="*/ 90 w 153"/>
                  <a:gd name="T37" fmla="*/ 118 h 129"/>
                  <a:gd name="T38" fmla="*/ 79 w 153"/>
                  <a:gd name="T39" fmla="*/ 114 h 129"/>
                  <a:gd name="T40" fmla="*/ 65 w 153"/>
                  <a:gd name="T41" fmla="*/ 127 h 129"/>
                  <a:gd name="T42" fmla="*/ 55 w 153"/>
                  <a:gd name="T43" fmla="*/ 127 h 129"/>
                  <a:gd name="T44" fmla="*/ 52 w 153"/>
                  <a:gd name="T45" fmla="*/ 118 h 129"/>
                  <a:gd name="T46" fmla="*/ 46 w 153"/>
                  <a:gd name="T47" fmla="*/ 114 h 129"/>
                  <a:gd name="T48" fmla="*/ 40 w 153"/>
                  <a:gd name="T49" fmla="*/ 114 h 129"/>
                  <a:gd name="T50" fmla="*/ 32 w 153"/>
                  <a:gd name="T51" fmla="*/ 116 h 129"/>
                  <a:gd name="T52" fmla="*/ 27 w 153"/>
                  <a:gd name="T53" fmla="*/ 116 h 129"/>
                  <a:gd name="T54" fmla="*/ 25 w 153"/>
                  <a:gd name="T55" fmla="*/ 108 h 129"/>
                  <a:gd name="T56" fmla="*/ 27 w 153"/>
                  <a:gd name="T57" fmla="*/ 97 h 129"/>
                  <a:gd name="T58" fmla="*/ 17 w 153"/>
                  <a:gd name="T59" fmla="*/ 97 h 129"/>
                  <a:gd name="T60" fmla="*/ 9 w 153"/>
                  <a:gd name="T61" fmla="*/ 100 h 129"/>
                  <a:gd name="T62" fmla="*/ 2 w 153"/>
                  <a:gd name="T63" fmla="*/ 95 h 129"/>
                  <a:gd name="T64" fmla="*/ 2 w 153"/>
                  <a:gd name="T65" fmla="*/ 89 h 129"/>
                  <a:gd name="T66" fmla="*/ 4 w 153"/>
                  <a:gd name="T67" fmla="*/ 83 h 129"/>
                  <a:gd name="T68" fmla="*/ 2 w 153"/>
                  <a:gd name="T69" fmla="*/ 75 h 129"/>
                  <a:gd name="T70" fmla="*/ 4 w 153"/>
                  <a:gd name="T71" fmla="*/ 66 h 129"/>
                  <a:gd name="T72" fmla="*/ 7 w 153"/>
                  <a:gd name="T73" fmla="*/ 58 h 129"/>
                  <a:gd name="T74" fmla="*/ 11 w 153"/>
                  <a:gd name="T75" fmla="*/ 50 h 129"/>
                  <a:gd name="T76" fmla="*/ 15 w 153"/>
                  <a:gd name="T77" fmla="*/ 45 h 129"/>
                  <a:gd name="T78" fmla="*/ 17 w 153"/>
                  <a:gd name="T79" fmla="*/ 37 h 129"/>
                  <a:gd name="T80" fmla="*/ 21 w 153"/>
                  <a:gd name="T81" fmla="*/ 31 h 129"/>
                  <a:gd name="T82" fmla="*/ 31 w 153"/>
                  <a:gd name="T83" fmla="*/ 31 h 129"/>
                  <a:gd name="T84" fmla="*/ 31 w 153"/>
                  <a:gd name="T85" fmla="*/ 24 h 129"/>
                  <a:gd name="T86" fmla="*/ 38 w 153"/>
                  <a:gd name="T87" fmla="*/ 20 h 129"/>
                  <a:gd name="T88" fmla="*/ 42 w 153"/>
                  <a:gd name="T89" fmla="*/ 20 h 129"/>
                  <a:gd name="T90" fmla="*/ 52 w 153"/>
                  <a:gd name="T91" fmla="*/ 20 h 129"/>
                  <a:gd name="T92" fmla="*/ 57 w 153"/>
                  <a:gd name="T93" fmla="*/ 16 h 129"/>
                  <a:gd name="T94" fmla="*/ 67 w 153"/>
                  <a:gd name="T95" fmla="*/ 10 h 129"/>
                  <a:gd name="T96" fmla="*/ 77 w 153"/>
                  <a:gd name="T97" fmla="*/ 10 h 129"/>
                  <a:gd name="T98" fmla="*/ 82 w 153"/>
                  <a:gd name="T99" fmla="*/ 4 h 129"/>
                  <a:gd name="T100" fmla="*/ 96 w 153"/>
                  <a:gd name="T101" fmla="*/ 4 h 129"/>
                  <a:gd name="T102" fmla="*/ 104 w 153"/>
                  <a:gd name="T103" fmla="*/ 2 h 129"/>
                  <a:gd name="T104" fmla="*/ 109 w 153"/>
                  <a:gd name="T105" fmla="*/ 8 h 129"/>
                  <a:gd name="T106" fmla="*/ 111 w 153"/>
                  <a:gd name="T107" fmla="*/ 16 h 129"/>
                  <a:gd name="T108" fmla="*/ 119 w 153"/>
                  <a:gd name="T109" fmla="*/ 18 h 129"/>
                  <a:gd name="T110" fmla="*/ 125 w 153"/>
                  <a:gd name="T111" fmla="*/ 24 h 129"/>
                  <a:gd name="T112" fmla="*/ 130 w 153"/>
                  <a:gd name="T113" fmla="*/ 33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3" h="129">
                    <a:moveTo>
                      <a:pt x="138" y="41"/>
                    </a:moveTo>
                    <a:lnTo>
                      <a:pt x="138" y="43"/>
                    </a:lnTo>
                    <a:lnTo>
                      <a:pt x="136" y="43"/>
                    </a:lnTo>
                    <a:lnTo>
                      <a:pt x="136" y="45"/>
                    </a:lnTo>
                    <a:lnTo>
                      <a:pt x="138" y="45"/>
                    </a:lnTo>
                    <a:lnTo>
                      <a:pt x="138" y="47"/>
                    </a:lnTo>
                    <a:lnTo>
                      <a:pt x="140" y="47"/>
                    </a:lnTo>
                    <a:lnTo>
                      <a:pt x="142" y="47"/>
                    </a:lnTo>
                    <a:lnTo>
                      <a:pt x="144" y="47"/>
                    </a:lnTo>
                    <a:lnTo>
                      <a:pt x="142" y="47"/>
                    </a:lnTo>
                    <a:lnTo>
                      <a:pt x="142" y="49"/>
                    </a:lnTo>
                    <a:lnTo>
                      <a:pt x="142" y="50"/>
                    </a:lnTo>
                    <a:lnTo>
                      <a:pt x="140" y="50"/>
                    </a:lnTo>
                    <a:lnTo>
                      <a:pt x="140" y="52"/>
                    </a:lnTo>
                    <a:lnTo>
                      <a:pt x="140" y="54"/>
                    </a:lnTo>
                    <a:lnTo>
                      <a:pt x="142" y="54"/>
                    </a:lnTo>
                    <a:lnTo>
                      <a:pt x="144" y="58"/>
                    </a:lnTo>
                    <a:lnTo>
                      <a:pt x="146" y="58"/>
                    </a:lnTo>
                    <a:lnTo>
                      <a:pt x="148" y="58"/>
                    </a:lnTo>
                    <a:lnTo>
                      <a:pt x="150" y="58"/>
                    </a:lnTo>
                    <a:lnTo>
                      <a:pt x="152" y="58"/>
                    </a:lnTo>
                    <a:lnTo>
                      <a:pt x="153" y="58"/>
                    </a:lnTo>
                    <a:lnTo>
                      <a:pt x="153" y="60"/>
                    </a:lnTo>
                    <a:lnTo>
                      <a:pt x="152" y="62"/>
                    </a:lnTo>
                    <a:lnTo>
                      <a:pt x="152" y="64"/>
                    </a:lnTo>
                    <a:lnTo>
                      <a:pt x="152" y="66"/>
                    </a:lnTo>
                    <a:lnTo>
                      <a:pt x="150" y="66"/>
                    </a:lnTo>
                    <a:lnTo>
                      <a:pt x="150" y="68"/>
                    </a:lnTo>
                    <a:lnTo>
                      <a:pt x="148" y="68"/>
                    </a:lnTo>
                    <a:lnTo>
                      <a:pt x="148" y="70"/>
                    </a:lnTo>
                    <a:lnTo>
                      <a:pt x="146" y="70"/>
                    </a:lnTo>
                    <a:lnTo>
                      <a:pt x="146" y="68"/>
                    </a:lnTo>
                    <a:lnTo>
                      <a:pt x="144" y="70"/>
                    </a:lnTo>
                    <a:lnTo>
                      <a:pt x="146" y="70"/>
                    </a:lnTo>
                    <a:lnTo>
                      <a:pt x="146" y="72"/>
                    </a:lnTo>
                    <a:lnTo>
                      <a:pt x="144" y="72"/>
                    </a:lnTo>
                    <a:lnTo>
                      <a:pt x="144" y="74"/>
                    </a:lnTo>
                    <a:lnTo>
                      <a:pt x="142" y="74"/>
                    </a:lnTo>
                    <a:lnTo>
                      <a:pt x="144" y="74"/>
                    </a:lnTo>
                    <a:lnTo>
                      <a:pt x="144" y="75"/>
                    </a:lnTo>
                    <a:lnTo>
                      <a:pt x="142" y="75"/>
                    </a:lnTo>
                    <a:lnTo>
                      <a:pt x="142" y="77"/>
                    </a:lnTo>
                    <a:lnTo>
                      <a:pt x="142" y="75"/>
                    </a:lnTo>
                    <a:lnTo>
                      <a:pt x="142" y="77"/>
                    </a:lnTo>
                    <a:lnTo>
                      <a:pt x="144" y="79"/>
                    </a:lnTo>
                    <a:lnTo>
                      <a:pt x="144" y="77"/>
                    </a:lnTo>
                    <a:lnTo>
                      <a:pt x="144" y="79"/>
                    </a:lnTo>
                    <a:lnTo>
                      <a:pt x="146" y="81"/>
                    </a:lnTo>
                    <a:lnTo>
                      <a:pt x="146" y="79"/>
                    </a:lnTo>
                    <a:lnTo>
                      <a:pt x="148" y="79"/>
                    </a:lnTo>
                    <a:lnTo>
                      <a:pt x="148" y="81"/>
                    </a:lnTo>
                    <a:lnTo>
                      <a:pt x="148" y="83"/>
                    </a:lnTo>
                    <a:lnTo>
                      <a:pt x="148" y="81"/>
                    </a:lnTo>
                    <a:lnTo>
                      <a:pt x="146" y="81"/>
                    </a:lnTo>
                    <a:lnTo>
                      <a:pt x="146" y="83"/>
                    </a:lnTo>
                    <a:lnTo>
                      <a:pt x="144" y="83"/>
                    </a:lnTo>
                    <a:lnTo>
                      <a:pt x="144" y="85"/>
                    </a:lnTo>
                    <a:lnTo>
                      <a:pt x="146" y="83"/>
                    </a:lnTo>
                    <a:lnTo>
                      <a:pt x="146" y="85"/>
                    </a:lnTo>
                    <a:lnTo>
                      <a:pt x="144" y="85"/>
                    </a:lnTo>
                    <a:lnTo>
                      <a:pt x="144" y="87"/>
                    </a:lnTo>
                    <a:lnTo>
                      <a:pt x="146" y="87"/>
                    </a:lnTo>
                    <a:lnTo>
                      <a:pt x="146" y="89"/>
                    </a:lnTo>
                    <a:lnTo>
                      <a:pt x="144" y="89"/>
                    </a:lnTo>
                    <a:lnTo>
                      <a:pt x="144" y="87"/>
                    </a:lnTo>
                    <a:lnTo>
                      <a:pt x="144" y="89"/>
                    </a:lnTo>
                    <a:lnTo>
                      <a:pt x="142" y="89"/>
                    </a:lnTo>
                    <a:lnTo>
                      <a:pt x="142" y="91"/>
                    </a:lnTo>
                    <a:lnTo>
                      <a:pt x="140" y="91"/>
                    </a:lnTo>
                    <a:lnTo>
                      <a:pt x="140" y="93"/>
                    </a:lnTo>
                    <a:lnTo>
                      <a:pt x="140" y="91"/>
                    </a:lnTo>
                    <a:lnTo>
                      <a:pt x="138" y="91"/>
                    </a:lnTo>
                    <a:lnTo>
                      <a:pt x="138" y="93"/>
                    </a:lnTo>
                    <a:lnTo>
                      <a:pt x="136" y="93"/>
                    </a:lnTo>
                    <a:lnTo>
                      <a:pt x="136" y="95"/>
                    </a:lnTo>
                    <a:lnTo>
                      <a:pt x="138" y="95"/>
                    </a:lnTo>
                    <a:lnTo>
                      <a:pt x="136" y="95"/>
                    </a:lnTo>
                    <a:lnTo>
                      <a:pt x="136" y="97"/>
                    </a:lnTo>
                    <a:lnTo>
                      <a:pt x="136" y="99"/>
                    </a:lnTo>
                    <a:lnTo>
                      <a:pt x="134" y="99"/>
                    </a:lnTo>
                    <a:lnTo>
                      <a:pt x="132" y="99"/>
                    </a:lnTo>
                    <a:lnTo>
                      <a:pt x="130" y="99"/>
                    </a:lnTo>
                    <a:lnTo>
                      <a:pt x="130" y="100"/>
                    </a:lnTo>
                    <a:lnTo>
                      <a:pt x="128" y="100"/>
                    </a:lnTo>
                    <a:lnTo>
                      <a:pt x="127" y="100"/>
                    </a:lnTo>
                    <a:lnTo>
                      <a:pt x="127" y="102"/>
                    </a:lnTo>
                    <a:lnTo>
                      <a:pt x="125" y="102"/>
                    </a:lnTo>
                    <a:lnTo>
                      <a:pt x="125" y="100"/>
                    </a:lnTo>
                    <a:lnTo>
                      <a:pt x="123" y="102"/>
                    </a:lnTo>
                    <a:lnTo>
                      <a:pt x="121" y="102"/>
                    </a:lnTo>
                    <a:lnTo>
                      <a:pt x="121" y="100"/>
                    </a:lnTo>
                    <a:lnTo>
                      <a:pt x="119" y="99"/>
                    </a:lnTo>
                    <a:lnTo>
                      <a:pt x="119" y="100"/>
                    </a:lnTo>
                    <a:lnTo>
                      <a:pt x="119" y="102"/>
                    </a:lnTo>
                    <a:lnTo>
                      <a:pt x="117" y="102"/>
                    </a:lnTo>
                    <a:lnTo>
                      <a:pt x="117" y="104"/>
                    </a:lnTo>
                    <a:lnTo>
                      <a:pt x="119" y="104"/>
                    </a:lnTo>
                    <a:lnTo>
                      <a:pt x="117" y="104"/>
                    </a:lnTo>
                    <a:lnTo>
                      <a:pt x="119" y="104"/>
                    </a:lnTo>
                    <a:lnTo>
                      <a:pt x="117" y="104"/>
                    </a:lnTo>
                    <a:lnTo>
                      <a:pt x="117" y="106"/>
                    </a:lnTo>
                    <a:lnTo>
                      <a:pt x="119" y="106"/>
                    </a:lnTo>
                    <a:lnTo>
                      <a:pt x="119" y="108"/>
                    </a:lnTo>
                    <a:lnTo>
                      <a:pt x="119" y="106"/>
                    </a:lnTo>
                    <a:lnTo>
                      <a:pt x="121" y="106"/>
                    </a:lnTo>
                    <a:lnTo>
                      <a:pt x="121" y="108"/>
                    </a:lnTo>
                    <a:lnTo>
                      <a:pt x="121" y="106"/>
                    </a:lnTo>
                    <a:lnTo>
                      <a:pt x="123" y="106"/>
                    </a:lnTo>
                    <a:lnTo>
                      <a:pt x="123" y="104"/>
                    </a:lnTo>
                    <a:lnTo>
                      <a:pt x="125" y="104"/>
                    </a:lnTo>
                    <a:lnTo>
                      <a:pt x="125" y="102"/>
                    </a:lnTo>
                    <a:lnTo>
                      <a:pt x="127" y="102"/>
                    </a:lnTo>
                    <a:lnTo>
                      <a:pt x="127" y="104"/>
                    </a:lnTo>
                    <a:lnTo>
                      <a:pt x="127" y="106"/>
                    </a:lnTo>
                    <a:lnTo>
                      <a:pt x="127" y="108"/>
                    </a:lnTo>
                    <a:lnTo>
                      <a:pt x="128" y="110"/>
                    </a:lnTo>
                    <a:lnTo>
                      <a:pt x="128" y="112"/>
                    </a:lnTo>
                    <a:lnTo>
                      <a:pt x="130" y="112"/>
                    </a:lnTo>
                    <a:lnTo>
                      <a:pt x="130" y="114"/>
                    </a:lnTo>
                    <a:lnTo>
                      <a:pt x="128" y="114"/>
                    </a:lnTo>
                    <a:lnTo>
                      <a:pt x="130" y="114"/>
                    </a:lnTo>
                    <a:lnTo>
                      <a:pt x="128" y="114"/>
                    </a:lnTo>
                    <a:lnTo>
                      <a:pt x="128" y="112"/>
                    </a:lnTo>
                    <a:lnTo>
                      <a:pt x="127" y="110"/>
                    </a:lnTo>
                    <a:lnTo>
                      <a:pt x="127" y="112"/>
                    </a:lnTo>
                    <a:lnTo>
                      <a:pt x="125" y="112"/>
                    </a:lnTo>
                    <a:lnTo>
                      <a:pt x="125" y="114"/>
                    </a:lnTo>
                    <a:lnTo>
                      <a:pt x="125" y="116"/>
                    </a:lnTo>
                    <a:lnTo>
                      <a:pt x="123" y="116"/>
                    </a:lnTo>
                    <a:lnTo>
                      <a:pt x="121" y="114"/>
                    </a:lnTo>
                    <a:lnTo>
                      <a:pt x="121" y="112"/>
                    </a:lnTo>
                    <a:lnTo>
                      <a:pt x="123" y="112"/>
                    </a:lnTo>
                    <a:lnTo>
                      <a:pt x="121" y="112"/>
                    </a:lnTo>
                    <a:lnTo>
                      <a:pt x="119" y="112"/>
                    </a:lnTo>
                    <a:lnTo>
                      <a:pt x="117" y="112"/>
                    </a:lnTo>
                    <a:lnTo>
                      <a:pt x="117" y="110"/>
                    </a:lnTo>
                    <a:lnTo>
                      <a:pt x="119" y="110"/>
                    </a:lnTo>
                    <a:lnTo>
                      <a:pt x="117" y="110"/>
                    </a:lnTo>
                    <a:lnTo>
                      <a:pt x="115" y="110"/>
                    </a:lnTo>
                    <a:lnTo>
                      <a:pt x="117" y="114"/>
                    </a:lnTo>
                    <a:lnTo>
                      <a:pt x="115" y="114"/>
                    </a:lnTo>
                    <a:lnTo>
                      <a:pt x="115" y="116"/>
                    </a:lnTo>
                    <a:lnTo>
                      <a:pt x="117" y="118"/>
                    </a:lnTo>
                    <a:lnTo>
                      <a:pt x="117" y="120"/>
                    </a:lnTo>
                    <a:lnTo>
                      <a:pt x="115" y="122"/>
                    </a:lnTo>
                    <a:lnTo>
                      <a:pt x="113" y="122"/>
                    </a:lnTo>
                    <a:lnTo>
                      <a:pt x="111" y="124"/>
                    </a:lnTo>
                    <a:lnTo>
                      <a:pt x="109" y="125"/>
                    </a:lnTo>
                    <a:lnTo>
                      <a:pt x="109" y="127"/>
                    </a:lnTo>
                    <a:lnTo>
                      <a:pt x="107" y="127"/>
                    </a:lnTo>
                    <a:lnTo>
                      <a:pt x="107" y="125"/>
                    </a:lnTo>
                    <a:lnTo>
                      <a:pt x="105" y="125"/>
                    </a:lnTo>
                    <a:lnTo>
                      <a:pt x="105" y="124"/>
                    </a:lnTo>
                    <a:lnTo>
                      <a:pt x="105" y="125"/>
                    </a:lnTo>
                    <a:lnTo>
                      <a:pt x="105" y="124"/>
                    </a:lnTo>
                    <a:lnTo>
                      <a:pt x="104" y="125"/>
                    </a:lnTo>
                    <a:lnTo>
                      <a:pt x="104" y="124"/>
                    </a:lnTo>
                    <a:lnTo>
                      <a:pt x="102" y="124"/>
                    </a:lnTo>
                    <a:lnTo>
                      <a:pt x="102" y="125"/>
                    </a:lnTo>
                    <a:lnTo>
                      <a:pt x="100" y="124"/>
                    </a:lnTo>
                    <a:lnTo>
                      <a:pt x="100" y="122"/>
                    </a:lnTo>
                    <a:lnTo>
                      <a:pt x="98" y="122"/>
                    </a:lnTo>
                    <a:lnTo>
                      <a:pt x="96" y="122"/>
                    </a:lnTo>
                    <a:lnTo>
                      <a:pt x="96" y="120"/>
                    </a:lnTo>
                    <a:lnTo>
                      <a:pt x="94" y="120"/>
                    </a:lnTo>
                    <a:lnTo>
                      <a:pt x="94" y="118"/>
                    </a:lnTo>
                    <a:lnTo>
                      <a:pt x="92" y="120"/>
                    </a:lnTo>
                    <a:lnTo>
                      <a:pt x="92" y="118"/>
                    </a:lnTo>
                    <a:lnTo>
                      <a:pt x="92" y="120"/>
                    </a:lnTo>
                    <a:lnTo>
                      <a:pt x="92" y="118"/>
                    </a:lnTo>
                    <a:lnTo>
                      <a:pt x="90" y="118"/>
                    </a:lnTo>
                    <a:lnTo>
                      <a:pt x="88" y="116"/>
                    </a:lnTo>
                    <a:lnTo>
                      <a:pt x="86" y="118"/>
                    </a:lnTo>
                    <a:lnTo>
                      <a:pt x="84" y="118"/>
                    </a:lnTo>
                    <a:lnTo>
                      <a:pt x="86" y="118"/>
                    </a:lnTo>
                    <a:lnTo>
                      <a:pt x="86" y="116"/>
                    </a:lnTo>
                    <a:lnTo>
                      <a:pt x="84" y="114"/>
                    </a:lnTo>
                    <a:lnTo>
                      <a:pt x="82" y="116"/>
                    </a:lnTo>
                    <a:lnTo>
                      <a:pt x="80" y="114"/>
                    </a:lnTo>
                    <a:lnTo>
                      <a:pt x="79" y="114"/>
                    </a:lnTo>
                    <a:lnTo>
                      <a:pt x="77" y="114"/>
                    </a:lnTo>
                    <a:lnTo>
                      <a:pt x="75" y="118"/>
                    </a:lnTo>
                    <a:lnTo>
                      <a:pt x="73" y="120"/>
                    </a:lnTo>
                    <a:lnTo>
                      <a:pt x="71" y="124"/>
                    </a:lnTo>
                    <a:lnTo>
                      <a:pt x="71" y="125"/>
                    </a:lnTo>
                    <a:lnTo>
                      <a:pt x="69" y="127"/>
                    </a:lnTo>
                    <a:lnTo>
                      <a:pt x="67" y="127"/>
                    </a:lnTo>
                    <a:lnTo>
                      <a:pt x="65" y="125"/>
                    </a:lnTo>
                    <a:lnTo>
                      <a:pt x="65" y="127"/>
                    </a:lnTo>
                    <a:lnTo>
                      <a:pt x="65" y="129"/>
                    </a:lnTo>
                    <a:lnTo>
                      <a:pt x="63" y="129"/>
                    </a:lnTo>
                    <a:lnTo>
                      <a:pt x="63" y="127"/>
                    </a:lnTo>
                    <a:lnTo>
                      <a:pt x="61" y="127"/>
                    </a:lnTo>
                    <a:lnTo>
                      <a:pt x="61" y="129"/>
                    </a:lnTo>
                    <a:lnTo>
                      <a:pt x="59" y="129"/>
                    </a:lnTo>
                    <a:lnTo>
                      <a:pt x="57" y="129"/>
                    </a:lnTo>
                    <a:lnTo>
                      <a:pt x="57" y="127"/>
                    </a:lnTo>
                    <a:lnTo>
                      <a:pt x="55" y="127"/>
                    </a:lnTo>
                    <a:lnTo>
                      <a:pt x="57" y="127"/>
                    </a:lnTo>
                    <a:lnTo>
                      <a:pt x="57" y="125"/>
                    </a:lnTo>
                    <a:lnTo>
                      <a:pt x="57" y="124"/>
                    </a:lnTo>
                    <a:lnTo>
                      <a:pt x="55" y="122"/>
                    </a:lnTo>
                    <a:lnTo>
                      <a:pt x="55" y="120"/>
                    </a:lnTo>
                    <a:lnTo>
                      <a:pt x="54" y="122"/>
                    </a:lnTo>
                    <a:lnTo>
                      <a:pt x="52" y="122"/>
                    </a:lnTo>
                    <a:lnTo>
                      <a:pt x="52" y="120"/>
                    </a:lnTo>
                    <a:lnTo>
                      <a:pt x="52" y="118"/>
                    </a:lnTo>
                    <a:lnTo>
                      <a:pt x="52" y="116"/>
                    </a:lnTo>
                    <a:lnTo>
                      <a:pt x="54" y="116"/>
                    </a:lnTo>
                    <a:lnTo>
                      <a:pt x="52" y="116"/>
                    </a:lnTo>
                    <a:lnTo>
                      <a:pt x="52" y="114"/>
                    </a:lnTo>
                    <a:lnTo>
                      <a:pt x="50" y="114"/>
                    </a:lnTo>
                    <a:lnTo>
                      <a:pt x="48" y="114"/>
                    </a:lnTo>
                    <a:lnTo>
                      <a:pt x="48" y="116"/>
                    </a:lnTo>
                    <a:lnTo>
                      <a:pt x="46" y="116"/>
                    </a:lnTo>
                    <a:lnTo>
                      <a:pt x="46" y="114"/>
                    </a:lnTo>
                    <a:lnTo>
                      <a:pt x="46" y="116"/>
                    </a:lnTo>
                    <a:lnTo>
                      <a:pt x="44" y="116"/>
                    </a:lnTo>
                    <a:lnTo>
                      <a:pt x="44" y="114"/>
                    </a:lnTo>
                    <a:lnTo>
                      <a:pt x="44" y="116"/>
                    </a:lnTo>
                    <a:lnTo>
                      <a:pt x="42" y="116"/>
                    </a:lnTo>
                    <a:lnTo>
                      <a:pt x="40" y="116"/>
                    </a:lnTo>
                    <a:lnTo>
                      <a:pt x="40" y="114"/>
                    </a:lnTo>
                    <a:lnTo>
                      <a:pt x="40" y="112"/>
                    </a:lnTo>
                    <a:lnTo>
                      <a:pt x="40" y="114"/>
                    </a:lnTo>
                    <a:lnTo>
                      <a:pt x="38" y="114"/>
                    </a:lnTo>
                    <a:lnTo>
                      <a:pt x="38" y="116"/>
                    </a:lnTo>
                    <a:lnTo>
                      <a:pt x="38" y="118"/>
                    </a:lnTo>
                    <a:lnTo>
                      <a:pt x="36" y="118"/>
                    </a:lnTo>
                    <a:lnTo>
                      <a:pt x="34" y="118"/>
                    </a:lnTo>
                    <a:lnTo>
                      <a:pt x="34" y="120"/>
                    </a:lnTo>
                    <a:lnTo>
                      <a:pt x="32" y="120"/>
                    </a:lnTo>
                    <a:lnTo>
                      <a:pt x="32" y="118"/>
                    </a:lnTo>
                    <a:lnTo>
                      <a:pt x="32" y="116"/>
                    </a:lnTo>
                    <a:lnTo>
                      <a:pt x="31" y="118"/>
                    </a:lnTo>
                    <a:lnTo>
                      <a:pt x="29" y="118"/>
                    </a:lnTo>
                    <a:lnTo>
                      <a:pt x="31" y="118"/>
                    </a:lnTo>
                    <a:lnTo>
                      <a:pt x="29" y="118"/>
                    </a:lnTo>
                    <a:lnTo>
                      <a:pt x="27" y="120"/>
                    </a:lnTo>
                    <a:lnTo>
                      <a:pt x="27" y="118"/>
                    </a:lnTo>
                    <a:lnTo>
                      <a:pt x="29" y="116"/>
                    </a:lnTo>
                    <a:lnTo>
                      <a:pt x="29" y="114"/>
                    </a:lnTo>
                    <a:lnTo>
                      <a:pt x="27" y="116"/>
                    </a:lnTo>
                    <a:lnTo>
                      <a:pt x="27" y="114"/>
                    </a:lnTo>
                    <a:lnTo>
                      <a:pt x="29" y="114"/>
                    </a:lnTo>
                    <a:lnTo>
                      <a:pt x="29" y="112"/>
                    </a:lnTo>
                    <a:lnTo>
                      <a:pt x="27" y="112"/>
                    </a:lnTo>
                    <a:lnTo>
                      <a:pt x="27" y="114"/>
                    </a:lnTo>
                    <a:lnTo>
                      <a:pt x="27" y="112"/>
                    </a:lnTo>
                    <a:lnTo>
                      <a:pt x="25" y="112"/>
                    </a:lnTo>
                    <a:lnTo>
                      <a:pt x="25" y="110"/>
                    </a:lnTo>
                    <a:lnTo>
                      <a:pt x="25" y="108"/>
                    </a:lnTo>
                    <a:lnTo>
                      <a:pt x="25" y="106"/>
                    </a:lnTo>
                    <a:lnTo>
                      <a:pt x="23" y="106"/>
                    </a:lnTo>
                    <a:lnTo>
                      <a:pt x="25" y="106"/>
                    </a:lnTo>
                    <a:lnTo>
                      <a:pt x="25" y="104"/>
                    </a:lnTo>
                    <a:lnTo>
                      <a:pt x="27" y="104"/>
                    </a:lnTo>
                    <a:lnTo>
                      <a:pt x="27" y="102"/>
                    </a:lnTo>
                    <a:lnTo>
                      <a:pt x="27" y="100"/>
                    </a:lnTo>
                    <a:lnTo>
                      <a:pt x="27" y="99"/>
                    </a:lnTo>
                    <a:lnTo>
                      <a:pt x="27" y="97"/>
                    </a:lnTo>
                    <a:lnTo>
                      <a:pt x="25" y="97"/>
                    </a:lnTo>
                    <a:lnTo>
                      <a:pt x="23" y="97"/>
                    </a:lnTo>
                    <a:lnTo>
                      <a:pt x="25" y="97"/>
                    </a:lnTo>
                    <a:lnTo>
                      <a:pt x="25" y="95"/>
                    </a:lnTo>
                    <a:lnTo>
                      <a:pt x="23" y="95"/>
                    </a:lnTo>
                    <a:lnTo>
                      <a:pt x="21" y="95"/>
                    </a:lnTo>
                    <a:lnTo>
                      <a:pt x="19" y="95"/>
                    </a:lnTo>
                    <a:lnTo>
                      <a:pt x="17" y="95"/>
                    </a:lnTo>
                    <a:lnTo>
                      <a:pt x="17" y="97"/>
                    </a:lnTo>
                    <a:lnTo>
                      <a:pt x="17" y="95"/>
                    </a:lnTo>
                    <a:lnTo>
                      <a:pt x="15" y="95"/>
                    </a:lnTo>
                    <a:lnTo>
                      <a:pt x="15" y="97"/>
                    </a:lnTo>
                    <a:lnTo>
                      <a:pt x="13" y="99"/>
                    </a:lnTo>
                    <a:lnTo>
                      <a:pt x="13" y="100"/>
                    </a:lnTo>
                    <a:lnTo>
                      <a:pt x="11" y="100"/>
                    </a:lnTo>
                    <a:lnTo>
                      <a:pt x="11" y="99"/>
                    </a:lnTo>
                    <a:lnTo>
                      <a:pt x="9" y="99"/>
                    </a:lnTo>
                    <a:lnTo>
                      <a:pt x="9" y="100"/>
                    </a:lnTo>
                    <a:lnTo>
                      <a:pt x="7" y="100"/>
                    </a:lnTo>
                    <a:lnTo>
                      <a:pt x="7" y="99"/>
                    </a:lnTo>
                    <a:lnTo>
                      <a:pt x="6" y="99"/>
                    </a:lnTo>
                    <a:lnTo>
                      <a:pt x="4" y="99"/>
                    </a:lnTo>
                    <a:lnTo>
                      <a:pt x="6" y="99"/>
                    </a:lnTo>
                    <a:lnTo>
                      <a:pt x="6" y="97"/>
                    </a:lnTo>
                    <a:lnTo>
                      <a:pt x="4" y="97"/>
                    </a:lnTo>
                    <a:lnTo>
                      <a:pt x="2" y="97"/>
                    </a:lnTo>
                    <a:lnTo>
                      <a:pt x="2" y="95"/>
                    </a:lnTo>
                    <a:lnTo>
                      <a:pt x="2" y="97"/>
                    </a:lnTo>
                    <a:lnTo>
                      <a:pt x="0" y="95"/>
                    </a:lnTo>
                    <a:lnTo>
                      <a:pt x="2" y="95"/>
                    </a:lnTo>
                    <a:lnTo>
                      <a:pt x="0" y="95"/>
                    </a:lnTo>
                    <a:lnTo>
                      <a:pt x="2" y="95"/>
                    </a:lnTo>
                    <a:lnTo>
                      <a:pt x="0" y="93"/>
                    </a:lnTo>
                    <a:lnTo>
                      <a:pt x="2" y="93"/>
                    </a:lnTo>
                    <a:lnTo>
                      <a:pt x="2" y="91"/>
                    </a:lnTo>
                    <a:lnTo>
                      <a:pt x="2" y="89"/>
                    </a:lnTo>
                    <a:lnTo>
                      <a:pt x="4" y="89"/>
                    </a:lnTo>
                    <a:lnTo>
                      <a:pt x="2" y="89"/>
                    </a:lnTo>
                    <a:lnTo>
                      <a:pt x="4" y="89"/>
                    </a:lnTo>
                    <a:lnTo>
                      <a:pt x="2" y="89"/>
                    </a:lnTo>
                    <a:lnTo>
                      <a:pt x="4" y="87"/>
                    </a:lnTo>
                    <a:lnTo>
                      <a:pt x="2" y="87"/>
                    </a:lnTo>
                    <a:lnTo>
                      <a:pt x="2" y="85"/>
                    </a:lnTo>
                    <a:lnTo>
                      <a:pt x="4" y="85"/>
                    </a:lnTo>
                    <a:lnTo>
                      <a:pt x="4" y="83"/>
                    </a:lnTo>
                    <a:lnTo>
                      <a:pt x="4" y="81"/>
                    </a:lnTo>
                    <a:lnTo>
                      <a:pt x="2" y="81"/>
                    </a:lnTo>
                    <a:lnTo>
                      <a:pt x="0" y="81"/>
                    </a:lnTo>
                    <a:lnTo>
                      <a:pt x="0" y="79"/>
                    </a:lnTo>
                    <a:lnTo>
                      <a:pt x="2" y="79"/>
                    </a:lnTo>
                    <a:lnTo>
                      <a:pt x="2" y="77"/>
                    </a:lnTo>
                    <a:lnTo>
                      <a:pt x="0" y="77"/>
                    </a:lnTo>
                    <a:lnTo>
                      <a:pt x="0" y="75"/>
                    </a:lnTo>
                    <a:lnTo>
                      <a:pt x="2" y="75"/>
                    </a:lnTo>
                    <a:lnTo>
                      <a:pt x="2" y="74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6" y="72"/>
                    </a:lnTo>
                    <a:lnTo>
                      <a:pt x="6" y="70"/>
                    </a:lnTo>
                    <a:lnTo>
                      <a:pt x="7" y="68"/>
                    </a:lnTo>
                    <a:lnTo>
                      <a:pt x="6" y="68"/>
                    </a:lnTo>
                    <a:lnTo>
                      <a:pt x="4" y="68"/>
                    </a:lnTo>
                    <a:lnTo>
                      <a:pt x="4" y="66"/>
                    </a:lnTo>
                    <a:lnTo>
                      <a:pt x="6" y="66"/>
                    </a:lnTo>
                    <a:lnTo>
                      <a:pt x="6" y="64"/>
                    </a:lnTo>
                    <a:lnTo>
                      <a:pt x="6" y="62"/>
                    </a:lnTo>
                    <a:lnTo>
                      <a:pt x="6" y="64"/>
                    </a:lnTo>
                    <a:lnTo>
                      <a:pt x="7" y="62"/>
                    </a:lnTo>
                    <a:lnTo>
                      <a:pt x="7" y="64"/>
                    </a:lnTo>
                    <a:lnTo>
                      <a:pt x="7" y="62"/>
                    </a:lnTo>
                    <a:lnTo>
                      <a:pt x="7" y="60"/>
                    </a:lnTo>
                    <a:lnTo>
                      <a:pt x="7" y="58"/>
                    </a:lnTo>
                    <a:lnTo>
                      <a:pt x="9" y="60"/>
                    </a:lnTo>
                    <a:lnTo>
                      <a:pt x="11" y="58"/>
                    </a:lnTo>
                    <a:lnTo>
                      <a:pt x="11" y="56"/>
                    </a:lnTo>
                    <a:lnTo>
                      <a:pt x="9" y="56"/>
                    </a:lnTo>
                    <a:lnTo>
                      <a:pt x="9" y="54"/>
                    </a:lnTo>
                    <a:lnTo>
                      <a:pt x="11" y="54"/>
                    </a:lnTo>
                    <a:lnTo>
                      <a:pt x="11" y="52"/>
                    </a:lnTo>
                    <a:lnTo>
                      <a:pt x="13" y="52"/>
                    </a:lnTo>
                    <a:lnTo>
                      <a:pt x="11" y="50"/>
                    </a:lnTo>
                    <a:lnTo>
                      <a:pt x="13" y="50"/>
                    </a:lnTo>
                    <a:lnTo>
                      <a:pt x="11" y="50"/>
                    </a:lnTo>
                    <a:lnTo>
                      <a:pt x="11" y="52"/>
                    </a:lnTo>
                    <a:lnTo>
                      <a:pt x="11" y="50"/>
                    </a:lnTo>
                    <a:lnTo>
                      <a:pt x="11" y="49"/>
                    </a:lnTo>
                    <a:lnTo>
                      <a:pt x="11" y="47"/>
                    </a:lnTo>
                    <a:lnTo>
                      <a:pt x="11" y="45"/>
                    </a:lnTo>
                    <a:lnTo>
                      <a:pt x="13" y="45"/>
                    </a:lnTo>
                    <a:lnTo>
                      <a:pt x="15" y="45"/>
                    </a:lnTo>
                    <a:lnTo>
                      <a:pt x="17" y="45"/>
                    </a:lnTo>
                    <a:lnTo>
                      <a:pt x="17" y="43"/>
                    </a:lnTo>
                    <a:lnTo>
                      <a:pt x="17" y="41"/>
                    </a:lnTo>
                    <a:lnTo>
                      <a:pt x="15" y="41"/>
                    </a:lnTo>
                    <a:lnTo>
                      <a:pt x="17" y="41"/>
                    </a:lnTo>
                    <a:lnTo>
                      <a:pt x="17" y="39"/>
                    </a:lnTo>
                    <a:lnTo>
                      <a:pt x="17" y="37"/>
                    </a:lnTo>
                    <a:lnTo>
                      <a:pt x="19" y="37"/>
                    </a:lnTo>
                    <a:lnTo>
                      <a:pt x="17" y="37"/>
                    </a:lnTo>
                    <a:lnTo>
                      <a:pt x="17" y="35"/>
                    </a:lnTo>
                    <a:lnTo>
                      <a:pt x="19" y="35"/>
                    </a:lnTo>
                    <a:lnTo>
                      <a:pt x="19" y="37"/>
                    </a:lnTo>
                    <a:lnTo>
                      <a:pt x="19" y="35"/>
                    </a:lnTo>
                    <a:lnTo>
                      <a:pt x="21" y="35"/>
                    </a:lnTo>
                    <a:lnTo>
                      <a:pt x="19" y="35"/>
                    </a:lnTo>
                    <a:lnTo>
                      <a:pt x="21" y="35"/>
                    </a:lnTo>
                    <a:lnTo>
                      <a:pt x="21" y="33"/>
                    </a:lnTo>
                    <a:lnTo>
                      <a:pt x="21" y="31"/>
                    </a:lnTo>
                    <a:lnTo>
                      <a:pt x="23" y="31"/>
                    </a:lnTo>
                    <a:lnTo>
                      <a:pt x="25" y="31"/>
                    </a:lnTo>
                    <a:lnTo>
                      <a:pt x="27" y="31"/>
                    </a:lnTo>
                    <a:lnTo>
                      <a:pt x="29" y="31"/>
                    </a:lnTo>
                    <a:lnTo>
                      <a:pt x="27" y="31"/>
                    </a:lnTo>
                    <a:lnTo>
                      <a:pt x="27" y="33"/>
                    </a:lnTo>
                    <a:lnTo>
                      <a:pt x="29" y="33"/>
                    </a:lnTo>
                    <a:lnTo>
                      <a:pt x="29" y="31"/>
                    </a:lnTo>
                    <a:lnTo>
                      <a:pt x="31" y="31"/>
                    </a:lnTo>
                    <a:lnTo>
                      <a:pt x="32" y="29"/>
                    </a:lnTo>
                    <a:lnTo>
                      <a:pt x="31" y="29"/>
                    </a:lnTo>
                    <a:lnTo>
                      <a:pt x="31" y="27"/>
                    </a:lnTo>
                    <a:lnTo>
                      <a:pt x="29" y="27"/>
                    </a:lnTo>
                    <a:lnTo>
                      <a:pt x="31" y="27"/>
                    </a:lnTo>
                    <a:lnTo>
                      <a:pt x="31" y="25"/>
                    </a:lnTo>
                    <a:lnTo>
                      <a:pt x="29" y="25"/>
                    </a:lnTo>
                    <a:lnTo>
                      <a:pt x="29" y="24"/>
                    </a:lnTo>
                    <a:lnTo>
                      <a:pt x="31" y="24"/>
                    </a:lnTo>
                    <a:lnTo>
                      <a:pt x="32" y="24"/>
                    </a:lnTo>
                    <a:lnTo>
                      <a:pt x="32" y="22"/>
                    </a:lnTo>
                    <a:lnTo>
                      <a:pt x="32" y="20"/>
                    </a:lnTo>
                    <a:lnTo>
                      <a:pt x="34" y="18"/>
                    </a:lnTo>
                    <a:lnTo>
                      <a:pt x="34" y="20"/>
                    </a:lnTo>
                    <a:lnTo>
                      <a:pt x="34" y="18"/>
                    </a:lnTo>
                    <a:lnTo>
                      <a:pt x="36" y="18"/>
                    </a:lnTo>
                    <a:lnTo>
                      <a:pt x="38" y="18"/>
                    </a:lnTo>
                    <a:lnTo>
                      <a:pt x="38" y="20"/>
                    </a:lnTo>
                    <a:lnTo>
                      <a:pt x="40" y="18"/>
                    </a:lnTo>
                    <a:lnTo>
                      <a:pt x="40" y="20"/>
                    </a:lnTo>
                    <a:lnTo>
                      <a:pt x="38" y="20"/>
                    </a:lnTo>
                    <a:lnTo>
                      <a:pt x="38" y="22"/>
                    </a:lnTo>
                    <a:lnTo>
                      <a:pt x="40" y="22"/>
                    </a:lnTo>
                    <a:lnTo>
                      <a:pt x="40" y="20"/>
                    </a:lnTo>
                    <a:lnTo>
                      <a:pt x="42" y="20"/>
                    </a:lnTo>
                    <a:lnTo>
                      <a:pt x="42" y="22"/>
                    </a:lnTo>
                    <a:lnTo>
                      <a:pt x="42" y="20"/>
                    </a:lnTo>
                    <a:lnTo>
                      <a:pt x="42" y="22"/>
                    </a:lnTo>
                    <a:lnTo>
                      <a:pt x="44" y="22"/>
                    </a:lnTo>
                    <a:lnTo>
                      <a:pt x="46" y="22"/>
                    </a:lnTo>
                    <a:lnTo>
                      <a:pt x="46" y="24"/>
                    </a:lnTo>
                    <a:lnTo>
                      <a:pt x="48" y="24"/>
                    </a:lnTo>
                    <a:lnTo>
                      <a:pt x="50" y="24"/>
                    </a:lnTo>
                    <a:lnTo>
                      <a:pt x="50" y="22"/>
                    </a:lnTo>
                    <a:lnTo>
                      <a:pt x="50" y="20"/>
                    </a:lnTo>
                    <a:lnTo>
                      <a:pt x="52" y="20"/>
                    </a:lnTo>
                    <a:lnTo>
                      <a:pt x="54" y="20"/>
                    </a:lnTo>
                    <a:lnTo>
                      <a:pt x="54" y="22"/>
                    </a:lnTo>
                    <a:lnTo>
                      <a:pt x="54" y="20"/>
                    </a:lnTo>
                    <a:lnTo>
                      <a:pt x="55" y="20"/>
                    </a:lnTo>
                    <a:lnTo>
                      <a:pt x="54" y="20"/>
                    </a:lnTo>
                    <a:lnTo>
                      <a:pt x="54" y="18"/>
                    </a:lnTo>
                    <a:lnTo>
                      <a:pt x="55" y="18"/>
                    </a:lnTo>
                    <a:lnTo>
                      <a:pt x="57" y="18"/>
                    </a:lnTo>
                    <a:lnTo>
                      <a:pt x="57" y="16"/>
                    </a:lnTo>
                    <a:lnTo>
                      <a:pt x="59" y="16"/>
                    </a:lnTo>
                    <a:lnTo>
                      <a:pt x="59" y="14"/>
                    </a:lnTo>
                    <a:lnTo>
                      <a:pt x="61" y="14"/>
                    </a:lnTo>
                    <a:lnTo>
                      <a:pt x="63" y="14"/>
                    </a:lnTo>
                    <a:lnTo>
                      <a:pt x="63" y="12"/>
                    </a:lnTo>
                    <a:lnTo>
                      <a:pt x="65" y="14"/>
                    </a:lnTo>
                    <a:lnTo>
                      <a:pt x="65" y="12"/>
                    </a:lnTo>
                    <a:lnTo>
                      <a:pt x="65" y="10"/>
                    </a:lnTo>
                    <a:lnTo>
                      <a:pt x="67" y="10"/>
                    </a:lnTo>
                    <a:lnTo>
                      <a:pt x="69" y="10"/>
                    </a:lnTo>
                    <a:lnTo>
                      <a:pt x="69" y="8"/>
                    </a:lnTo>
                    <a:lnTo>
                      <a:pt x="69" y="10"/>
                    </a:lnTo>
                    <a:lnTo>
                      <a:pt x="71" y="10"/>
                    </a:lnTo>
                    <a:lnTo>
                      <a:pt x="73" y="8"/>
                    </a:lnTo>
                    <a:lnTo>
                      <a:pt x="75" y="8"/>
                    </a:lnTo>
                    <a:lnTo>
                      <a:pt x="75" y="10"/>
                    </a:lnTo>
                    <a:lnTo>
                      <a:pt x="77" y="12"/>
                    </a:lnTo>
                    <a:lnTo>
                      <a:pt x="77" y="10"/>
                    </a:lnTo>
                    <a:lnTo>
                      <a:pt x="77" y="12"/>
                    </a:lnTo>
                    <a:lnTo>
                      <a:pt x="79" y="12"/>
                    </a:lnTo>
                    <a:lnTo>
                      <a:pt x="82" y="8"/>
                    </a:lnTo>
                    <a:lnTo>
                      <a:pt x="82" y="6"/>
                    </a:lnTo>
                    <a:lnTo>
                      <a:pt x="82" y="4"/>
                    </a:lnTo>
                    <a:lnTo>
                      <a:pt x="80" y="6"/>
                    </a:lnTo>
                    <a:lnTo>
                      <a:pt x="79" y="4"/>
                    </a:lnTo>
                    <a:lnTo>
                      <a:pt x="80" y="4"/>
                    </a:lnTo>
                    <a:lnTo>
                      <a:pt x="82" y="4"/>
                    </a:lnTo>
                    <a:lnTo>
                      <a:pt x="82" y="2"/>
                    </a:lnTo>
                    <a:lnTo>
                      <a:pt x="84" y="2"/>
                    </a:lnTo>
                    <a:lnTo>
                      <a:pt x="86" y="2"/>
                    </a:lnTo>
                    <a:lnTo>
                      <a:pt x="88" y="2"/>
                    </a:lnTo>
                    <a:lnTo>
                      <a:pt x="88" y="4"/>
                    </a:lnTo>
                    <a:lnTo>
                      <a:pt x="90" y="4"/>
                    </a:lnTo>
                    <a:lnTo>
                      <a:pt x="92" y="4"/>
                    </a:lnTo>
                    <a:lnTo>
                      <a:pt x="94" y="4"/>
                    </a:lnTo>
                    <a:lnTo>
                      <a:pt x="96" y="4"/>
                    </a:lnTo>
                    <a:lnTo>
                      <a:pt x="98" y="4"/>
                    </a:lnTo>
                    <a:lnTo>
                      <a:pt x="98" y="2"/>
                    </a:lnTo>
                    <a:lnTo>
                      <a:pt x="100" y="2"/>
                    </a:lnTo>
                    <a:lnTo>
                      <a:pt x="100" y="0"/>
                    </a:lnTo>
                    <a:lnTo>
                      <a:pt x="102" y="0"/>
                    </a:lnTo>
                    <a:lnTo>
                      <a:pt x="104" y="0"/>
                    </a:lnTo>
                    <a:lnTo>
                      <a:pt x="104" y="2"/>
                    </a:lnTo>
                    <a:lnTo>
                      <a:pt x="105" y="2"/>
                    </a:lnTo>
                    <a:lnTo>
                      <a:pt x="104" y="2"/>
                    </a:lnTo>
                    <a:lnTo>
                      <a:pt x="104" y="4"/>
                    </a:lnTo>
                    <a:lnTo>
                      <a:pt x="104" y="6"/>
                    </a:lnTo>
                    <a:lnTo>
                      <a:pt x="105" y="6"/>
                    </a:lnTo>
                    <a:lnTo>
                      <a:pt x="107" y="8"/>
                    </a:lnTo>
                    <a:lnTo>
                      <a:pt x="107" y="6"/>
                    </a:lnTo>
                    <a:lnTo>
                      <a:pt x="109" y="6"/>
                    </a:lnTo>
                    <a:lnTo>
                      <a:pt x="111" y="6"/>
                    </a:lnTo>
                    <a:lnTo>
                      <a:pt x="111" y="8"/>
                    </a:lnTo>
                    <a:lnTo>
                      <a:pt x="109" y="8"/>
                    </a:lnTo>
                    <a:lnTo>
                      <a:pt x="109" y="10"/>
                    </a:lnTo>
                    <a:lnTo>
                      <a:pt x="107" y="12"/>
                    </a:lnTo>
                    <a:lnTo>
                      <a:pt x="109" y="14"/>
                    </a:lnTo>
                    <a:lnTo>
                      <a:pt x="107" y="14"/>
                    </a:lnTo>
                    <a:lnTo>
                      <a:pt x="107" y="16"/>
                    </a:lnTo>
                    <a:lnTo>
                      <a:pt x="109" y="16"/>
                    </a:lnTo>
                    <a:lnTo>
                      <a:pt x="107" y="16"/>
                    </a:lnTo>
                    <a:lnTo>
                      <a:pt x="109" y="16"/>
                    </a:lnTo>
                    <a:lnTo>
                      <a:pt x="111" y="16"/>
                    </a:lnTo>
                    <a:lnTo>
                      <a:pt x="109" y="18"/>
                    </a:lnTo>
                    <a:lnTo>
                      <a:pt x="111" y="18"/>
                    </a:lnTo>
                    <a:lnTo>
                      <a:pt x="113" y="16"/>
                    </a:lnTo>
                    <a:lnTo>
                      <a:pt x="113" y="18"/>
                    </a:lnTo>
                    <a:lnTo>
                      <a:pt x="115" y="18"/>
                    </a:lnTo>
                    <a:lnTo>
                      <a:pt x="115" y="20"/>
                    </a:lnTo>
                    <a:lnTo>
                      <a:pt x="115" y="18"/>
                    </a:lnTo>
                    <a:lnTo>
                      <a:pt x="117" y="20"/>
                    </a:lnTo>
                    <a:lnTo>
                      <a:pt x="119" y="18"/>
                    </a:lnTo>
                    <a:lnTo>
                      <a:pt x="119" y="16"/>
                    </a:lnTo>
                    <a:lnTo>
                      <a:pt x="121" y="18"/>
                    </a:lnTo>
                    <a:lnTo>
                      <a:pt x="121" y="20"/>
                    </a:lnTo>
                    <a:lnTo>
                      <a:pt x="121" y="22"/>
                    </a:lnTo>
                    <a:lnTo>
                      <a:pt x="121" y="24"/>
                    </a:lnTo>
                    <a:lnTo>
                      <a:pt x="121" y="25"/>
                    </a:lnTo>
                    <a:lnTo>
                      <a:pt x="121" y="24"/>
                    </a:lnTo>
                    <a:lnTo>
                      <a:pt x="123" y="24"/>
                    </a:lnTo>
                    <a:lnTo>
                      <a:pt x="125" y="24"/>
                    </a:lnTo>
                    <a:lnTo>
                      <a:pt x="127" y="25"/>
                    </a:lnTo>
                    <a:lnTo>
                      <a:pt x="128" y="25"/>
                    </a:lnTo>
                    <a:lnTo>
                      <a:pt x="128" y="27"/>
                    </a:lnTo>
                    <a:lnTo>
                      <a:pt x="127" y="29"/>
                    </a:lnTo>
                    <a:lnTo>
                      <a:pt x="128" y="31"/>
                    </a:lnTo>
                    <a:lnTo>
                      <a:pt x="128" y="33"/>
                    </a:lnTo>
                    <a:lnTo>
                      <a:pt x="128" y="35"/>
                    </a:lnTo>
                    <a:lnTo>
                      <a:pt x="128" y="33"/>
                    </a:lnTo>
                    <a:lnTo>
                      <a:pt x="130" y="33"/>
                    </a:lnTo>
                    <a:lnTo>
                      <a:pt x="132" y="33"/>
                    </a:lnTo>
                    <a:lnTo>
                      <a:pt x="132" y="35"/>
                    </a:lnTo>
                    <a:lnTo>
                      <a:pt x="134" y="37"/>
                    </a:lnTo>
                    <a:lnTo>
                      <a:pt x="134" y="39"/>
                    </a:lnTo>
                    <a:lnTo>
                      <a:pt x="136" y="39"/>
                    </a:lnTo>
                    <a:lnTo>
                      <a:pt x="138" y="39"/>
                    </a:lnTo>
                    <a:lnTo>
                      <a:pt x="138" y="41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Freeform 116">
                <a:extLst>
                  <a:ext uri="{FF2B5EF4-FFF2-40B4-BE49-F238E27FC236}">
                    <a16:creationId xmlns="" xmlns:a16="http://schemas.microsoft.com/office/drawing/2014/main" id="{EAB49D48-10E6-4939-A699-65465139544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43875" y="3814763"/>
                <a:ext cx="57150" cy="701675"/>
              </a:xfrm>
              <a:custGeom>
                <a:avLst/>
                <a:gdLst>
                  <a:gd name="T0" fmla="*/ 15 w 36"/>
                  <a:gd name="T1" fmla="*/ 384 h 442"/>
                  <a:gd name="T2" fmla="*/ 13 w 36"/>
                  <a:gd name="T3" fmla="*/ 392 h 442"/>
                  <a:gd name="T4" fmla="*/ 13 w 36"/>
                  <a:gd name="T5" fmla="*/ 398 h 442"/>
                  <a:gd name="T6" fmla="*/ 15 w 36"/>
                  <a:gd name="T7" fmla="*/ 405 h 442"/>
                  <a:gd name="T8" fmla="*/ 13 w 36"/>
                  <a:gd name="T9" fmla="*/ 411 h 442"/>
                  <a:gd name="T10" fmla="*/ 11 w 36"/>
                  <a:gd name="T11" fmla="*/ 419 h 442"/>
                  <a:gd name="T12" fmla="*/ 9 w 36"/>
                  <a:gd name="T13" fmla="*/ 427 h 442"/>
                  <a:gd name="T14" fmla="*/ 7 w 36"/>
                  <a:gd name="T15" fmla="*/ 434 h 442"/>
                  <a:gd name="T16" fmla="*/ 5 w 36"/>
                  <a:gd name="T17" fmla="*/ 440 h 442"/>
                  <a:gd name="T18" fmla="*/ 2 w 36"/>
                  <a:gd name="T19" fmla="*/ 440 h 442"/>
                  <a:gd name="T20" fmla="*/ 2 w 36"/>
                  <a:gd name="T21" fmla="*/ 434 h 442"/>
                  <a:gd name="T22" fmla="*/ 0 w 36"/>
                  <a:gd name="T23" fmla="*/ 427 h 442"/>
                  <a:gd name="T24" fmla="*/ 0 w 36"/>
                  <a:gd name="T25" fmla="*/ 423 h 442"/>
                  <a:gd name="T26" fmla="*/ 0 w 36"/>
                  <a:gd name="T27" fmla="*/ 421 h 442"/>
                  <a:gd name="T28" fmla="*/ 5 w 36"/>
                  <a:gd name="T29" fmla="*/ 413 h 442"/>
                  <a:gd name="T30" fmla="*/ 3 w 36"/>
                  <a:gd name="T31" fmla="*/ 404 h 442"/>
                  <a:gd name="T32" fmla="*/ 5 w 36"/>
                  <a:gd name="T33" fmla="*/ 398 h 442"/>
                  <a:gd name="T34" fmla="*/ 7 w 36"/>
                  <a:gd name="T35" fmla="*/ 394 h 442"/>
                  <a:gd name="T36" fmla="*/ 7 w 36"/>
                  <a:gd name="T37" fmla="*/ 392 h 442"/>
                  <a:gd name="T38" fmla="*/ 7 w 36"/>
                  <a:gd name="T39" fmla="*/ 390 h 442"/>
                  <a:gd name="T40" fmla="*/ 9 w 36"/>
                  <a:gd name="T41" fmla="*/ 382 h 442"/>
                  <a:gd name="T42" fmla="*/ 17 w 36"/>
                  <a:gd name="T43" fmla="*/ 380 h 442"/>
                  <a:gd name="T44" fmla="*/ 26 w 36"/>
                  <a:gd name="T45" fmla="*/ 92 h 442"/>
                  <a:gd name="T46" fmla="*/ 28 w 36"/>
                  <a:gd name="T47" fmla="*/ 100 h 442"/>
                  <a:gd name="T48" fmla="*/ 32 w 36"/>
                  <a:gd name="T49" fmla="*/ 106 h 442"/>
                  <a:gd name="T50" fmla="*/ 36 w 36"/>
                  <a:gd name="T51" fmla="*/ 111 h 442"/>
                  <a:gd name="T52" fmla="*/ 30 w 36"/>
                  <a:gd name="T53" fmla="*/ 115 h 442"/>
                  <a:gd name="T54" fmla="*/ 26 w 36"/>
                  <a:gd name="T55" fmla="*/ 107 h 442"/>
                  <a:gd name="T56" fmla="*/ 25 w 36"/>
                  <a:gd name="T57" fmla="*/ 104 h 442"/>
                  <a:gd name="T58" fmla="*/ 23 w 36"/>
                  <a:gd name="T59" fmla="*/ 96 h 442"/>
                  <a:gd name="T60" fmla="*/ 15 w 36"/>
                  <a:gd name="T61" fmla="*/ 0 h 442"/>
                  <a:gd name="T62" fmla="*/ 21 w 36"/>
                  <a:gd name="T63" fmla="*/ 4 h 442"/>
                  <a:gd name="T64" fmla="*/ 25 w 36"/>
                  <a:gd name="T65" fmla="*/ 9 h 442"/>
                  <a:gd name="T66" fmla="*/ 28 w 36"/>
                  <a:gd name="T67" fmla="*/ 13 h 442"/>
                  <a:gd name="T68" fmla="*/ 25 w 36"/>
                  <a:gd name="T69" fmla="*/ 17 h 442"/>
                  <a:gd name="T70" fmla="*/ 28 w 36"/>
                  <a:gd name="T71" fmla="*/ 23 h 442"/>
                  <a:gd name="T72" fmla="*/ 28 w 36"/>
                  <a:gd name="T73" fmla="*/ 31 h 442"/>
                  <a:gd name="T74" fmla="*/ 28 w 36"/>
                  <a:gd name="T75" fmla="*/ 38 h 442"/>
                  <a:gd name="T76" fmla="*/ 25 w 36"/>
                  <a:gd name="T77" fmla="*/ 44 h 442"/>
                  <a:gd name="T78" fmla="*/ 23 w 36"/>
                  <a:gd name="T79" fmla="*/ 48 h 442"/>
                  <a:gd name="T80" fmla="*/ 25 w 36"/>
                  <a:gd name="T81" fmla="*/ 56 h 442"/>
                  <a:gd name="T82" fmla="*/ 19 w 36"/>
                  <a:gd name="T83" fmla="*/ 56 h 442"/>
                  <a:gd name="T84" fmla="*/ 15 w 36"/>
                  <a:gd name="T85" fmla="*/ 54 h 442"/>
                  <a:gd name="T86" fmla="*/ 9 w 36"/>
                  <a:gd name="T87" fmla="*/ 48 h 442"/>
                  <a:gd name="T88" fmla="*/ 9 w 36"/>
                  <a:gd name="T89" fmla="*/ 42 h 442"/>
                  <a:gd name="T90" fmla="*/ 11 w 36"/>
                  <a:gd name="T91" fmla="*/ 38 h 442"/>
                  <a:gd name="T92" fmla="*/ 15 w 36"/>
                  <a:gd name="T93" fmla="*/ 33 h 442"/>
                  <a:gd name="T94" fmla="*/ 17 w 36"/>
                  <a:gd name="T95" fmla="*/ 27 h 442"/>
                  <a:gd name="T96" fmla="*/ 15 w 36"/>
                  <a:gd name="T97" fmla="*/ 19 h 442"/>
                  <a:gd name="T98" fmla="*/ 13 w 36"/>
                  <a:gd name="T99" fmla="*/ 11 h 442"/>
                  <a:gd name="T100" fmla="*/ 13 w 36"/>
                  <a:gd name="T101" fmla="*/ 2 h 4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6" h="442">
                    <a:moveTo>
                      <a:pt x="17" y="380"/>
                    </a:moveTo>
                    <a:lnTo>
                      <a:pt x="15" y="382"/>
                    </a:lnTo>
                    <a:lnTo>
                      <a:pt x="17" y="382"/>
                    </a:lnTo>
                    <a:lnTo>
                      <a:pt x="15" y="382"/>
                    </a:lnTo>
                    <a:lnTo>
                      <a:pt x="15" y="384"/>
                    </a:lnTo>
                    <a:lnTo>
                      <a:pt x="15" y="386"/>
                    </a:lnTo>
                    <a:lnTo>
                      <a:pt x="15" y="388"/>
                    </a:lnTo>
                    <a:lnTo>
                      <a:pt x="15" y="390"/>
                    </a:lnTo>
                    <a:lnTo>
                      <a:pt x="13" y="390"/>
                    </a:lnTo>
                    <a:lnTo>
                      <a:pt x="13" y="392"/>
                    </a:lnTo>
                    <a:lnTo>
                      <a:pt x="13" y="394"/>
                    </a:lnTo>
                    <a:lnTo>
                      <a:pt x="15" y="394"/>
                    </a:lnTo>
                    <a:lnTo>
                      <a:pt x="13" y="394"/>
                    </a:lnTo>
                    <a:lnTo>
                      <a:pt x="13" y="396"/>
                    </a:lnTo>
                    <a:lnTo>
                      <a:pt x="13" y="398"/>
                    </a:lnTo>
                    <a:lnTo>
                      <a:pt x="13" y="400"/>
                    </a:lnTo>
                    <a:lnTo>
                      <a:pt x="13" y="402"/>
                    </a:lnTo>
                    <a:lnTo>
                      <a:pt x="13" y="404"/>
                    </a:lnTo>
                    <a:lnTo>
                      <a:pt x="15" y="404"/>
                    </a:lnTo>
                    <a:lnTo>
                      <a:pt x="15" y="405"/>
                    </a:lnTo>
                    <a:lnTo>
                      <a:pt x="13" y="405"/>
                    </a:lnTo>
                    <a:lnTo>
                      <a:pt x="15" y="405"/>
                    </a:lnTo>
                    <a:lnTo>
                      <a:pt x="15" y="407"/>
                    </a:lnTo>
                    <a:lnTo>
                      <a:pt x="13" y="409"/>
                    </a:lnTo>
                    <a:lnTo>
                      <a:pt x="13" y="411"/>
                    </a:lnTo>
                    <a:lnTo>
                      <a:pt x="13" y="413"/>
                    </a:lnTo>
                    <a:lnTo>
                      <a:pt x="13" y="415"/>
                    </a:lnTo>
                    <a:lnTo>
                      <a:pt x="11" y="415"/>
                    </a:lnTo>
                    <a:lnTo>
                      <a:pt x="11" y="417"/>
                    </a:lnTo>
                    <a:lnTo>
                      <a:pt x="11" y="419"/>
                    </a:lnTo>
                    <a:lnTo>
                      <a:pt x="9" y="419"/>
                    </a:lnTo>
                    <a:lnTo>
                      <a:pt x="9" y="421"/>
                    </a:lnTo>
                    <a:lnTo>
                      <a:pt x="9" y="423"/>
                    </a:lnTo>
                    <a:lnTo>
                      <a:pt x="9" y="425"/>
                    </a:lnTo>
                    <a:lnTo>
                      <a:pt x="9" y="427"/>
                    </a:lnTo>
                    <a:lnTo>
                      <a:pt x="9" y="429"/>
                    </a:lnTo>
                    <a:lnTo>
                      <a:pt x="9" y="430"/>
                    </a:lnTo>
                    <a:lnTo>
                      <a:pt x="9" y="432"/>
                    </a:lnTo>
                    <a:lnTo>
                      <a:pt x="9" y="434"/>
                    </a:lnTo>
                    <a:lnTo>
                      <a:pt x="7" y="434"/>
                    </a:lnTo>
                    <a:lnTo>
                      <a:pt x="7" y="436"/>
                    </a:lnTo>
                    <a:lnTo>
                      <a:pt x="5" y="438"/>
                    </a:lnTo>
                    <a:lnTo>
                      <a:pt x="5" y="440"/>
                    </a:lnTo>
                    <a:lnTo>
                      <a:pt x="5" y="438"/>
                    </a:lnTo>
                    <a:lnTo>
                      <a:pt x="5" y="440"/>
                    </a:lnTo>
                    <a:lnTo>
                      <a:pt x="3" y="440"/>
                    </a:lnTo>
                    <a:lnTo>
                      <a:pt x="2" y="442"/>
                    </a:lnTo>
                    <a:lnTo>
                      <a:pt x="2" y="440"/>
                    </a:lnTo>
                    <a:lnTo>
                      <a:pt x="2" y="442"/>
                    </a:lnTo>
                    <a:lnTo>
                      <a:pt x="2" y="440"/>
                    </a:lnTo>
                    <a:lnTo>
                      <a:pt x="2" y="438"/>
                    </a:lnTo>
                    <a:lnTo>
                      <a:pt x="2" y="436"/>
                    </a:lnTo>
                    <a:lnTo>
                      <a:pt x="2" y="434"/>
                    </a:lnTo>
                    <a:lnTo>
                      <a:pt x="0" y="434"/>
                    </a:lnTo>
                    <a:lnTo>
                      <a:pt x="2" y="434"/>
                    </a:lnTo>
                    <a:lnTo>
                      <a:pt x="2" y="432"/>
                    </a:lnTo>
                    <a:lnTo>
                      <a:pt x="2" y="430"/>
                    </a:lnTo>
                    <a:lnTo>
                      <a:pt x="2" y="429"/>
                    </a:lnTo>
                    <a:lnTo>
                      <a:pt x="2" y="427"/>
                    </a:lnTo>
                    <a:lnTo>
                      <a:pt x="0" y="427"/>
                    </a:lnTo>
                    <a:lnTo>
                      <a:pt x="0" y="425"/>
                    </a:lnTo>
                    <a:lnTo>
                      <a:pt x="2" y="425"/>
                    </a:lnTo>
                    <a:lnTo>
                      <a:pt x="0" y="423"/>
                    </a:lnTo>
                    <a:lnTo>
                      <a:pt x="2" y="423"/>
                    </a:lnTo>
                    <a:lnTo>
                      <a:pt x="0" y="423"/>
                    </a:lnTo>
                    <a:lnTo>
                      <a:pt x="2" y="423"/>
                    </a:lnTo>
                    <a:lnTo>
                      <a:pt x="2" y="421"/>
                    </a:lnTo>
                    <a:lnTo>
                      <a:pt x="0" y="421"/>
                    </a:lnTo>
                    <a:lnTo>
                      <a:pt x="2" y="421"/>
                    </a:lnTo>
                    <a:lnTo>
                      <a:pt x="0" y="421"/>
                    </a:lnTo>
                    <a:lnTo>
                      <a:pt x="2" y="419"/>
                    </a:lnTo>
                    <a:lnTo>
                      <a:pt x="3" y="419"/>
                    </a:lnTo>
                    <a:lnTo>
                      <a:pt x="3" y="417"/>
                    </a:lnTo>
                    <a:lnTo>
                      <a:pt x="3" y="415"/>
                    </a:lnTo>
                    <a:lnTo>
                      <a:pt x="5" y="413"/>
                    </a:lnTo>
                    <a:lnTo>
                      <a:pt x="3" y="411"/>
                    </a:lnTo>
                    <a:lnTo>
                      <a:pt x="3" y="409"/>
                    </a:lnTo>
                    <a:lnTo>
                      <a:pt x="3" y="407"/>
                    </a:lnTo>
                    <a:lnTo>
                      <a:pt x="3" y="405"/>
                    </a:lnTo>
                    <a:lnTo>
                      <a:pt x="3" y="404"/>
                    </a:lnTo>
                    <a:lnTo>
                      <a:pt x="5" y="404"/>
                    </a:lnTo>
                    <a:lnTo>
                      <a:pt x="5" y="402"/>
                    </a:lnTo>
                    <a:lnTo>
                      <a:pt x="3" y="402"/>
                    </a:lnTo>
                    <a:lnTo>
                      <a:pt x="3" y="400"/>
                    </a:lnTo>
                    <a:lnTo>
                      <a:pt x="5" y="398"/>
                    </a:lnTo>
                    <a:lnTo>
                      <a:pt x="5" y="396"/>
                    </a:lnTo>
                    <a:lnTo>
                      <a:pt x="7" y="396"/>
                    </a:lnTo>
                    <a:lnTo>
                      <a:pt x="5" y="396"/>
                    </a:lnTo>
                    <a:lnTo>
                      <a:pt x="7" y="396"/>
                    </a:lnTo>
                    <a:lnTo>
                      <a:pt x="7" y="394"/>
                    </a:lnTo>
                    <a:lnTo>
                      <a:pt x="9" y="394"/>
                    </a:lnTo>
                    <a:lnTo>
                      <a:pt x="7" y="394"/>
                    </a:lnTo>
                    <a:lnTo>
                      <a:pt x="9" y="394"/>
                    </a:lnTo>
                    <a:lnTo>
                      <a:pt x="7" y="394"/>
                    </a:lnTo>
                    <a:lnTo>
                      <a:pt x="7" y="392"/>
                    </a:lnTo>
                    <a:lnTo>
                      <a:pt x="7" y="390"/>
                    </a:lnTo>
                    <a:lnTo>
                      <a:pt x="5" y="390"/>
                    </a:lnTo>
                    <a:lnTo>
                      <a:pt x="7" y="390"/>
                    </a:lnTo>
                    <a:lnTo>
                      <a:pt x="5" y="390"/>
                    </a:lnTo>
                    <a:lnTo>
                      <a:pt x="7" y="390"/>
                    </a:lnTo>
                    <a:lnTo>
                      <a:pt x="7" y="388"/>
                    </a:lnTo>
                    <a:lnTo>
                      <a:pt x="7" y="386"/>
                    </a:lnTo>
                    <a:lnTo>
                      <a:pt x="9" y="386"/>
                    </a:lnTo>
                    <a:lnTo>
                      <a:pt x="9" y="384"/>
                    </a:lnTo>
                    <a:lnTo>
                      <a:pt x="9" y="382"/>
                    </a:lnTo>
                    <a:lnTo>
                      <a:pt x="11" y="382"/>
                    </a:lnTo>
                    <a:lnTo>
                      <a:pt x="13" y="382"/>
                    </a:lnTo>
                    <a:lnTo>
                      <a:pt x="15" y="382"/>
                    </a:lnTo>
                    <a:lnTo>
                      <a:pt x="15" y="380"/>
                    </a:lnTo>
                    <a:lnTo>
                      <a:pt x="17" y="380"/>
                    </a:lnTo>
                    <a:lnTo>
                      <a:pt x="17" y="379"/>
                    </a:lnTo>
                    <a:lnTo>
                      <a:pt x="17" y="380"/>
                    </a:lnTo>
                    <a:close/>
                    <a:moveTo>
                      <a:pt x="25" y="90"/>
                    </a:moveTo>
                    <a:lnTo>
                      <a:pt x="26" y="90"/>
                    </a:lnTo>
                    <a:lnTo>
                      <a:pt x="26" y="92"/>
                    </a:lnTo>
                    <a:lnTo>
                      <a:pt x="26" y="94"/>
                    </a:lnTo>
                    <a:lnTo>
                      <a:pt x="28" y="94"/>
                    </a:lnTo>
                    <a:lnTo>
                      <a:pt x="28" y="96"/>
                    </a:lnTo>
                    <a:lnTo>
                      <a:pt x="28" y="98"/>
                    </a:lnTo>
                    <a:lnTo>
                      <a:pt x="28" y="100"/>
                    </a:lnTo>
                    <a:lnTo>
                      <a:pt x="28" y="102"/>
                    </a:lnTo>
                    <a:lnTo>
                      <a:pt x="30" y="102"/>
                    </a:lnTo>
                    <a:lnTo>
                      <a:pt x="30" y="104"/>
                    </a:lnTo>
                    <a:lnTo>
                      <a:pt x="32" y="104"/>
                    </a:lnTo>
                    <a:lnTo>
                      <a:pt x="32" y="106"/>
                    </a:lnTo>
                    <a:lnTo>
                      <a:pt x="34" y="106"/>
                    </a:lnTo>
                    <a:lnTo>
                      <a:pt x="34" y="107"/>
                    </a:lnTo>
                    <a:lnTo>
                      <a:pt x="34" y="109"/>
                    </a:lnTo>
                    <a:lnTo>
                      <a:pt x="36" y="109"/>
                    </a:lnTo>
                    <a:lnTo>
                      <a:pt x="36" y="111"/>
                    </a:lnTo>
                    <a:lnTo>
                      <a:pt x="34" y="111"/>
                    </a:lnTo>
                    <a:lnTo>
                      <a:pt x="34" y="113"/>
                    </a:lnTo>
                    <a:lnTo>
                      <a:pt x="32" y="113"/>
                    </a:lnTo>
                    <a:lnTo>
                      <a:pt x="32" y="115"/>
                    </a:lnTo>
                    <a:lnTo>
                      <a:pt x="30" y="115"/>
                    </a:lnTo>
                    <a:lnTo>
                      <a:pt x="28" y="113"/>
                    </a:lnTo>
                    <a:lnTo>
                      <a:pt x="28" y="111"/>
                    </a:lnTo>
                    <a:lnTo>
                      <a:pt x="26" y="111"/>
                    </a:lnTo>
                    <a:lnTo>
                      <a:pt x="26" y="109"/>
                    </a:lnTo>
                    <a:lnTo>
                      <a:pt x="26" y="107"/>
                    </a:lnTo>
                    <a:lnTo>
                      <a:pt x="25" y="106"/>
                    </a:lnTo>
                    <a:lnTo>
                      <a:pt x="26" y="106"/>
                    </a:lnTo>
                    <a:lnTo>
                      <a:pt x="25" y="106"/>
                    </a:lnTo>
                    <a:lnTo>
                      <a:pt x="26" y="104"/>
                    </a:lnTo>
                    <a:lnTo>
                      <a:pt x="25" y="104"/>
                    </a:lnTo>
                    <a:lnTo>
                      <a:pt x="25" y="102"/>
                    </a:lnTo>
                    <a:lnTo>
                      <a:pt x="25" y="100"/>
                    </a:lnTo>
                    <a:lnTo>
                      <a:pt x="25" y="98"/>
                    </a:lnTo>
                    <a:lnTo>
                      <a:pt x="23" y="98"/>
                    </a:lnTo>
                    <a:lnTo>
                      <a:pt x="23" y="96"/>
                    </a:lnTo>
                    <a:lnTo>
                      <a:pt x="23" y="94"/>
                    </a:lnTo>
                    <a:lnTo>
                      <a:pt x="23" y="92"/>
                    </a:lnTo>
                    <a:lnTo>
                      <a:pt x="23" y="90"/>
                    </a:lnTo>
                    <a:lnTo>
                      <a:pt x="25" y="90"/>
                    </a:lnTo>
                    <a:close/>
                    <a:moveTo>
                      <a:pt x="15" y="0"/>
                    </a:moveTo>
                    <a:lnTo>
                      <a:pt x="17" y="0"/>
                    </a:lnTo>
                    <a:lnTo>
                      <a:pt x="19" y="0"/>
                    </a:lnTo>
                    <a:lnTo>
                      <a:pt x="19" y="2"/>
                    </a:lnTo>
                    <a:lnTo>
                      <a:pt x="19" y="4"/>
                    </a:lnTo>
                    <a:lnTo>
                      <a:pt x="21" y="4"/>
                    </a:lnTo>
                    <a:lnTo>
                      <a:pt x="21" y="6"/>
                    </a:lnTo>
                    <a:lnTo>
                      <a:pt x="23" y="6"/>
                    </a:lnTo>
                    <a:lnTo>
                      <a:pt x="23" y="8"/>
                    </a:lnTo>
                    <a:lnTo>
                      <a:pt x="25" y="8"/>
                    </a:lnTo>
                    <a:lnTo>
                      <a:pt x="25" y="9"/>
                    </a:lnTo>
                    <a:lnTo>
                      <a:pt x="26" y="11"/>
                    </a:lnTo>
                    <a:lnTo>
                      <a:pt x="28" y="11"/>
                    </a:lnTo>
                    <a:lnTo>
                      <a:pt x="28" y="13"/>
                    </a:lnTo>
                    <a:lnTo>
                      <a:pt x="26" y="13"/>
                    </a:lnTo>
                    <a:lnTo>
                      <a:pt x="28" y="13"/>
                    </a:lnTo>
                    <a:lnTo>
                      <a:pt x="26" y="15"/>
                    </a:lnTo>
                    <a:lnTo>
                      <a:pt x="26" y="13"/>
                    </a:lnTo>
                    <a:lnTo>
                      <a:pt x="26" y="15"/>
                    </a:lnTo>
                    <a:lnTo>
                      <a:pt x="26" y="17"/>
                    </a:lnTo>
                    <a:lnTo>
                      <a:pt x="25" y="17"/>
                    </a:lnTo>
                    <a:lnTo>
                      <a:pt x="26" y="17"/>
                    </a:lnTo>
                    <a:lnTo>
                      <a:pt x="26" y="19"/>
                    </a:lnTo>
                    <a:lnTo>
                      <a:pt x="26" y="21"/>
                    </a:lnTo>
                    <a:lnTo>
                      <a:pt x="28" y="21"/>
                    </a:lnTo>
                    <a:lnTo>
                      <a:pt x="28" y="23"/>
                    </a:lnTo>
                    <a:lnTo>
                      <a:pt x="26" y="23"/>
                    </a:lnTo>
                    <a:lnTo>
                      <a:pt x="28" y="25"/>
                    </a:lnTo>
                    <a:lnTo>
                      <a:pt x="28" y="27"/>
                    </a:lnTo>
                    <a:lnTo>
                      <a:pt x="28" y="29"/>
                    </a:lnTo>
                    <a:lnTo>
                      <a:pt x="28" y="31"/>
                    </a:lnTo>
                    <a:lnTo>
                      <a:pt x="30" y="33"/>
                    </a:lnTo>
                    <a:lnTo>
                      <a:pt x="30" y="34"/>
                    </a:lnTo>
                    <a:lnTo>
                      <a:pt x="28" y="34"/>
                    </a:lnTo>
                    <a:lnTo>
                      <a:pt x="28" y="36"/>
                    </a:lnTo>
                    <a:lnTo>
                      <a:pt x="28" y="38"/>
                    </a:lnTo>
                    <a:lnTo>
                      <a:pt x="28" y="40"/>
                    </a:lnTo>
                    <a:lnTo>
                      <a:pt x="26" y="40"/>
                    </a:lnTo>
                    <a:lnTo>
                      <a:pt x="26" y="42"/>
                    </a:lnTo>
                    <a:lnTo>
                      <a:pt x="25" y="42"/>
                    </a:lnTo>
                    <a:lnTo>
                      <a:pt x="25" y="44"/>
                    </a:lnTo>
                    <a:lnTo>
                      <a:pt x="23" y="44"/>
                    </a:lnTo>
                    <a:lnTo>
                      <a:pt x="23" y="46"/>
                    </a:lnTo>
                    <a:lnTo>
                      <a:pt x="25" y="46"/>
                    </a:lnTo>
                    <a:lnTo>
                      <a:pt x="23" y="46"/>
                    </a:lnTo>
                    <a:lnTo>
                      <a:pt x="23" y="48"/>
                    </a:lnTo>
                    <a:lnTo>
                      <a:pt x="23" y="50"/>
                    </a:lnTo>
                    <a:lnTo>
                      <a:pt x="23" y="52"/>
                    </a:lnTo>
                    <a:lnTo>
                      <a:pt x="23" y="54"/>
                    </a:lnTo>
                    <a:lnTo>
                      <a:pt x="25" y="54"/>
                    </a:lnTo>
                    <a:lnTo>
                      <a:pt x="25" y="56"/>
                    </a:lnTo>
                    <a:lnTo>
                      <a:pt x="25" y="58"/>
                    </a:lnTo>
                    <a:lnTo>
                      <a:pt x="25" y="56"/>
                    </a:lnTo>
                    <a:lnTo>
                      <a:pt x="23" y="56"/>
                    </a:lnTo>
                    <a:lnTo>
                      <a:pt x="21" y="56"/>
                    </a:lnTo>
                    <a:lnTo>
                      <a:pt x="19" y="56"/>
                    </a:lnTo>
                    <a:lnTo>
                      <a:pt x="19" y="58"/>
                    </a:lnTo>
                    <a:lnTo>
                      <a:pt x="17" y="58"/>
                    </a:lnTo>
                    <a:lnTo>
                      <a:pt x="17" y="56"/>
                    </a:lnTo>
                    <a:lnTo>
                      <a:pt x="15" y="56"/>
                    </a:lnTo>
                    <a:lnTo>
                      <a:pt x="15" y="54"/>
                    </a:lnTo>
                    <a:lnTo>
                      <a:pt x="15" y="52"/>
                    </a:lnTo>
                    <a:lnTo>
                      <a:pt x="13" y="50"/>
                    </a:lnTo>
                    <a:lnTo>
                      <a:pt x="13" y="48"/>
                    </a:lnTo>
                    <a:lnTo>
                      <a:pt x="11" y="48"/>
                    </a:lnTo>
                    <a:lnTo>
                      <a:pt x="9" y="48"/>
                    </a:lnTo>
                    <a:lnTo>
                      <a:pt x="9" y="46"/>
                    </a:lnTo>
                    <a:lnTo>
                      <a:pt x="7" y="46"/>
                    </a:lnTo>
                    <a:lnTo>
                      <a:pt x="7" y="44"/>
                    </a:lnTo>
                    <a:lnTo>
                      <a:pt x="9" y="44"/>
                    </a:lnTo>
                    <a:lnTo>
                      <a:pt x="9" y="42"/>
                    </a:lnTo>
                    <a:lnTo>
                      <a:pt x="11" y="42"/>
                    </a:lnTo>
                    <a:lnTo>
                      <a:pt x="13" y="42"/>
                    </a:lnTo>
                    <a:lnTo>
                      <a:pt x="13" y="40"/>
                    </a:lnTo>
                    <a:lnTo>
                      <a:pt x="11" y="40"/>
                    </a:lnTo>
                    <a:lnTo>
                      <a:pt x="11" y="38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13" y="34"/>
                    </a:lnTo>
                    <a:lnTo>
                      <a:pt x="15" y="34"/>
                    </a:lnTo>
                    <a:lnTo>
                      <a:pt x="15" y="33"/>
                    </a:lnTo>
                    <a:lnTo>
                      <a:pt x="15" y="31"/>
                    </a:lnTo>
                    <a:lnTo>
                      <a:pt x="17" y="33"/>
                    </a:lnTo>
                    <a:lnTo>
                      <a:pt x="17" y="31"/>
                    </a:lnTo>
                    <a:lnTo>
                      <a:pt x="17" y="29"/>
                    </a:lnTo>
                    <a:lnTo>
                      <a:pt x="17" y="27"/>
                    </a:lnTo>
                    <a:lnTo>
                      <a:pt x="17" y="25"/>
                    </a:lnTo>
                    <a:lnTo>
                      <a:pt x="17" y="23"/>
                    </a:lnTo>
                    <a:lnTo>
                      <a:pt x="17" y="21"/>
                    </a:lnTo>
                    <a:lnTo>
                      <a:pt x="15" y="21"/>
                    </a:lnTo>
                    <a:lnTo>
                      <a:pt x="15" y="19"/>
                    </a:lnTo>
                    <a:lnTo>
                      <a:pt x="15" y="17"/>
                    </a:lnTo>
                    <a:lnTo>
                      <a:pt x="15" y="15"/>
                    </a:lnTo>
                    <a:lnTo>
                      <a:pt x="15" y="13"/>
                    </a:lnTo>
                    <a:lnTo>
                      <a:pt x="13" y="13"/>
                    </a:lnTo>
                    <a:lnTo>
                      <a:pt x="13" y="11"/>
                    </a:lnTo>
                    <a:lnTo>
                      <a:pt x="13" y="9"/>
                    </a:lnTo>
                    <a:lnTo>
                      <a:pt x="13" y="8"/>
                    </a:lnTo>
                    <a:lnTo>
                      <a:pt x="13" y="6"/>
                    </a:lnTo>
                    <a:lnTo>
                      <a:pt x="13" y="4"/>
                    </a:lnTo>
                    <a:lnTo>
                      <a:pt x="13" y="2"/>
                    </a:lnTo>
                    <a:lnTo>
                      <a:pt x="13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Freeform 117">
                <a:extLst>
                  <a:ext uri="{FF2B5EF4-FFF2-40B4-BE49-F238E27FC236}">
                    <a16:creationId xmlns="" xmlns:a16="http://schemas.microsoft.com/office/drawing/2014/main" id="{955F31E1-388E-47B6-BBDE-1578D6DEB9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07263" y="3867151"/>
                <a:ext cx="485775" cy="847725"/>
              </a:xfrm>
              <a:custGeom>
                <a:avLst/>
                <a:gdLst>
                  <a:gd name="T0" fmla="*/ 208 w 306"/>
                  <a:gd name="T1" fmla="*/ 263 h 534"/>
                  <a:gd name="T2" fmla="*/ 227 w 306"/>
                  <a:gd name="T3" fmla="*/ 286 h 534"/>
                  <a:gd name="T4" fmla="*/ 248 w 306"/>
                  <a:gd name="T5" fmla="*/ 301 h 534"/>
                  <a:gd name="T6" fmla="*/ 256 w 306"/>
                  <a:gd name="T7" fmla="*/ 311 h 534"/>
                  <a:gd name="T8" fmla="*/ 231 w 306"/>
                  <a:gd name="T9" fmla="*/ 296 h 534"/>
                  <a:gd name="T10" fmla="*/ 200 w 306"/>
                  <a:gd name="T11" fmla="*/ 294 h 534"/>
                  <a:gd name="T12" fmla="*/ 194 w 306"/>
                  <a:gd name="T13" fmla="*/ 301 h 534"/>
                  <a:gd name="T14" fmla="*/ 190 w 306"/>
                  <a:gd name="T15" fmla="*/ 303 h 534"/>
                  <a:gd name="T16" fmla="*/ 192 w 306"/>
                  <a:gd name="T17" fmla="*/ 328 h 534"/>
                  <a:gd name="T18" fmla="*/ 204 w 306"/>
                  <a:gd name="T19" fmla="*/ 372 h 534"/>
                  <a:gd name="T20" fmla="*/ 213 w 306"/>
                  <a:gd name="T21" fmla="*/ 403 h 534"/>
                  <a:gd name="T22" fmla="*/ 237 w 306"/>
                  <a:gd name="T23" fmla="*/ 428 h 534"/>
                  <a:gd name="T24" fmla="*/ 258 w 306"/>
                  <a:gd name="T25" fmla="*/ 444 h 534"/>
                  <a:gd name="T26" fmla="*/ 269 w 306"/>
                  <a:gd name="T27" fmla="*/ 459 h 534"/>
                  <a:gd name="T28" fmla="*/ 273 w 306"/>
                  <a:gd name="T29" fmla="*/ 457 h 534"/>
                  <a:gd name="T30" fmla="*/ 286 w 306"/>
                  <a:gd name="T31" fmla="*/ 457 h 534"/>
                  <a:gd name="T32" fmla="*/ 302 w 306"/>
                  <a:gd name="T33" fmla="*/ 480 h 534"/>
                  <a:gd name="T34" fmla="*/ 300 w 306"/>
                  <a:gd name="T35" fmla="*/ 494 h 534"/>
                  <a:gd name="T36" fmla="*/ 286 w 306"/>
                  <a:gd name="T37" fmla="*/ 471 h 534"/>
                  <a:gd name="T38" fmla="*/ 265 w 306"/>
                  <a:gd name="T39" fmla="*/ 476 h 534"/>
                  <a:gd name="T40" fmla="*/ 252 w 306"/>
                  <a:gd name="T41" fmla="*/ 478 h 534"/>
                  <a:gd name="T42" fmla="*/ 260 w 306"/>
                  <a:gd name="T43" fmla="*/ 521 h 534"/>
                  <a:gd name="T44" fmla="*/ 250 w 306"/>
                  <a:gd name="T45" fmla="*/ 522 h 534"/>
                  <a:gd name="T46" fmla="*/ 231 w 306"/>
                  <a:gd name="T47" fmla="*/ 492 h 534"/>
                  <a:gd name="T48" fmla="*/ 219 w 306"/>
                  <a:gd name="T49" fmla="*/ 455 h 534"/>
                  <a:gd name="T50" fmla="*/ 202 w 306"/>
                  <a:gd name="T51" fmla="*/ 424 h 534"/>
                  <a:gd name="T52" fmla="*/ 188 w 306"/>
                  <a:gd name="T53" fmla="*/ 388 h 534"/>
                  <a:gd name="T54" fmla="*/ 177 w 306"/>
                  <a:gd name="T55" fmla="*/ 374 h 534"/>
                  <a:gd name="T56" fmla="*/ 162 w 306"/>
                  <a:gd name="T57" fmla="*/ 355 h 534"/>
                  <a:gd name="T58" fmla="*/ 154 w 306"/>
                  <a:gd name="T59" fmla="*/ 324 h 534"/>
                  <a:gd name="T60" fmla="*/ 140 w 306"/>
                  <a:gd name="T61" fmla="*/ 294 h 534"/>
                  <a:gd name="T62" fmla="*/ 123 w 306"/>
                  <a:gd name="T63" fmla="*/ 261 h 534"/>
                  <a:gd name="T64" fmla="*/ 104 w 306"/>
                  <a:gd name="T65" fmla="*/ 221 h 534"/>
                  <a:gd name="T66" fmla="*/ 85 w 306"/>
                  <a:gd name="T67" fmla="*/ 194 h 534"/>
                  <a:gd name="T68" fmla="*/ 66 w 306"/>
                  <a:gd name="T69" fmla="*/ 180 h 534"/>
                  <a:gd name="T70" fmla="*/ 52 w 306"/>
                  <a:gd name="T71" fmla="*/ 163 h 534"/>
                  <a:gd name="T72" fmla="*/ 42 w 306"/>
                  <a:gd name="T73" fmla="*/ 132 h 534"/>
                  <a:gd name="T74" fmla="*/ 29 w 306"/>
                  <a:gd name="T75" fmla="*/ 98 h 534"/>
                  <a:gd name="T76" fmla="*/ 19 w 306"/>
                  <a:gd name="T77" fmla="*/ 67 h 534"/>
                  <a:gd name="T78" fmla="*/ 35 w 306"/>
                  <a:gd name="T79" fmla="*/ 55 h 534"/>
                  <a:gd name="T80" fmla="*/ 31 w 306"/>
                  <a:gd name="T81" fmla="*/ 48 h 534"/>
                  <a:gd name="T82" fmla="*/ 31 w 306"/>
                  <a:gd name="T83" fmla="*/ 44 h 534"/>
                  <a:gd name="T84" fmla="*/ 6 w 306"/>
                  <a:gd name="T85" fmla="*/ 17 h 534"/>
                  <a:gd name="T86" fmla="*/ 10 w 306"/>
                  <a:gd name="T87" fmla="*/ 13 h 534"/>
                  <a:gd name="T88" fmla="*/ 14 w 306"/>
                  <a:gd name="T89" fmla="*/ 3 h 534"/>
                  <a:gd name="T90" fmla="*/ 31 w 306"/>
                  <a:gd name="T91" fmla="*/ 30 h 534"/>
                  <a:gd name="T92" fmla="*/ 41 w 306"/>
                  <a:gd name="T93" fmla="*/ 44 h 534"/>
                  <a:gd name="T94" fmla="*/ 54 w 306"/>
                  <a:gd name="T95" fmla="*/ 51 h 534"/>
                  <a:gd name="T96" fmla="*/ 71 w 306"/>
                  <a:gd name="T97" fmla="*/ 74 h 534"/>
                  <a:gd name="T98" fmla="*/ 67 w 306"/>
                  <a:gd name="T99" fmla="*/ 71 h 534"/>
                  <a:gd name="T100" fmla="*/ 56 w 306"/>
                  <a:gd name="T101" fmla="*/ 65 h 534"/>
                  <a:gd name="T102" fmla="*/ 77 w 306"/>
                  <a:gd name="T103" fmla="*/ 86 h 534"/>
                  <a:gd name="T104" fmla="*/ 79 w 306"/>
                  <a:gd name="T105" fmla="*/ 88 h 534"/>
                  <a:gd name="T106" fmla="*/ 90 w 306"/>
                  <a:gd name="T107" fmla="*/ 109 h 534"/>
                  <a:gd name="T108" fmla="*/ 89 w 306"/>
                  <a:gd name="T109" fmla="*/ 111 h 534"/>
                  <a:gd name="T110" fmla="*/ 96 w 306"/>
                  <a:gd name="T111" fmla="*/ 132 h 534"/>
                  <a:gd name="T112" fmla="*/ 100 w 306"/>
                  <a:gd name="T113" fmla="*/ 140 h 534"/>
                  <a:gd name="T114" fmla="*/ 106 w 306"/>
                  <a:gd name="T115" fmla="*/ 148 h 534"/>
                  <a:gd name="T116" fmla="*/ 117 w 306"/>
                  <a:gd name="T117" fmla="*/ 163 h 534"/>
                  <a:gd name="T118" fmla="*/ 125 w 306"/>
                  <a:gd name="T119" fmla="*/ 165 h 534"/>
                  <a:gd name="T120" fmla="*/ 129 w 306"/>
                  <a:gd name="T121" fmla="*/ 176 h 534"/>
                  <a:gd name="T122" fmla="*/ 142 w 306"/>
                  <a:gd name="T123" fmla="*/ 186 h 534"/>
                  <a:gd name="T124" fmla="*/ 164 w 306"/>
                  <a:gd name="T125" fmla="*/ 217 h 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06" h="534">
                    <a:moveTo>
                      <a:pt x="187" y="242"/>
                    </a:moveTo>
                    <a:lnTo>
                      <a:pt x="188" y="242"/>
                    </a:lnTo>
                    <a:lnTo>
                      <a:pt x="188" y="244"/>
                    </a:lnTo>
                    <a:lnTo>
                      <a:pt x="190" y="244"/>
                    </a:lnTo>
                    <a:lnTo>
                      <a:pt x="190" y="246"/>
                    </a:lnTo>
                    <a:lnTo>
                      <a:pt x="192" y="246"/>
                    </a:lnTo>
                    <a:lnTo>
                      <a:pt x="194" y="246"/>
                    </a:lnTo>
                    <a:lnTo>
                      <a:pt x="192" y="248"/>
                    </a:lnTo>
                    <a:lnTo>
                      <a:pt x="194" y="248"/>
                    </a:lnTo>
                    <a:lnTo>
                      <a:pt x="194" y="249"/>
                    </a:lnTo>
                    <a:lnTo>
                      <a:pt x="196" y="249"/>
                    </a:lnTo>
                    <a:lnTo>
                      <a:pt x="196" y="251"/>
                    </a:lnTo>
                    <a:lnTo>
                      <a:pt x="198" y="253"/>
                    </a:lnTo>
                    <a:lnTo>
                      <a:pt x="200" y="253"/>
                    </a:lnTo>
                    <a:lnTo>
                      <a:pt x="200" y="255"/>
                    </a:lnTo>
                    <a:lnTo>
                      <a:pt x="202" y="257"/>
                    </a:lnTo>
                    <a:lnTo>
                      <a:pt x="204" y="257"/>
                    </a:lnTo>
                    <a:lnTo>
                      <a:pt x="204" y="259"/>
                    </a:lnTo>
                    <a:lnTo>
                      <a:pt x="206" y="259"/>
                    </a:lnTo>
                    <a:lnTo>
                      <a:pt x="206" y="261"/>
                    </a:lnTo>
                    <a:lnTo>
                      <a:pt x="208" y="261"/>
                    </a:lnTo>
                    <a:lnTo>
                      <a:pt x="208" y="263"/>
                    </a:lnTo>
                    <a:lnTo>
                      <a:pt x="208" y="265"/>
                    </a:lnTo>
                    <a:lnTo>
                      <a:pt x="210" y="267"/>
                    </a:lnTo>
                    <a:lnTo>
                      <a:pt x="212" y="269"/>
                    </a:lnTo>
                    <a:lnTo>
                      <a:pt x="213" y="271"/>
                    </a:lnTo>
                    <a:lnTo>
                      <a:pt x="215" y="273"/>
                    </a:lnTo>
                    <a:lnTo>
                      <a:pt x="217" y="273"/>
                    </a:lnTo>
                    <a:lnTo>
                      <a:pt x="219" y="274"/>
                    </a:lnTo>
                    <a:lnTo>
                      <a:pt x="217" y="274"/>
                    </a:lnTo>
                    <a:lnTo>
                      <a:pt x="219" y="276"/>
                    </a:lnTo>
                    <a:lnTo>
                      <a:pt x="219" y="278"/>
                    </a:lnTo>
                    <a:lnTo>
                      <a:pt x="221" y="278"/>
                    </a:lnTo>
                    <a:lnTo>
                      <a:pt x="221" y="280"/>
                    </a:lnTo>
                    <a:lnTo>
                      <a:pt x="223" y="280"/>
                    </a:lnTo>
                    <a:lnTo>
                      <a:pt x="223" y="282"/>
                    </a:lnTo>
                    <a:lnTo>
                      <a:pt x="225" y="284"/>
                    </a:lnTo>
                    <a:lnTo>
                      <a:pt x="223" y="284"/>
                    </a:lnTo>
                    <a:lnTo>
                      <a:pt x="225" y="284"/>
                    </a:lnTo>
                    <a:lnTo>
                      <a:pt x="223" y="284"/>
                    </a:lnTo>
                    <a:lnTo>
                      <a:pt x="223" y="286"/>
                    </a:lnTo>
                    <a:lnTo>
                      <a:pt x="225" y="286"/>
                    </a:lnTo>
                    <a:lnTo>
                      <a:pt x="225" y="284"/>
                    </a:lnTo>
                    <a:lnTo>
                      <a:pt x="227" y="286"/>
                    </a:lnTo>
                    <a:lnTo>
                      <a:pt x="227" y="288"/>
                    </a:lnTo>
                    <a:lnTo>
                      <a:pt x="229" y="288"/>
                    </a:lnTo>
                    <a:lnTo>
                      <a:pt x="229" y="290"/>
                    </a:lnTo>
                    <a:lnTo>
                      <a:pt x="231" y="290"/>
                    </a:lnTo>
                    <a:lnTo>
                      <a:pt x="231" y="292"/>
                    </a:lnTo>
                    <a:lnTo>
                      <a:pt x="233" y="292"/>
                    </a:lnTo>
                    <a:lnTo>
                      <a:pt x="233" y="294"/>
                    </a:lnTo>
                    <a:lnTo>
                      <a:pt x="235" y="294"/>
                    </a:lnTo>
                    <a:lnTo>
                      <a:pt x="235" y="296"/>
                    </a:lnTo>
                    <a:lnTo>
                      <a:pt x="237" y="296"/>
                    </a:lnTo>
                    <a:lnTo>
                      <a:pt x="237" y="298"/>
                    </a:lnTo>
                    <a:lnTo>
                      <a:pt x="238" y="298"/>
                    </a:lnTo>
                    <a:lnTo>
                      <a:pt x="238" y="299"/>
                    </a:lnTo>
                    <a:lnTo>
                      <a:pt x="237" y="298"/>
                    </a:lnTo>
                    <a:lnTo>
                      <a:pt x="237" y="299"/>
                    </a:lnTo>
                    <a:lnTo>
                      <a:pt x="238" y="299"/>
                    </a:lnTo>
                    <a:lnTo>
                      <a:pt x="240" y="299"/>
                    </a:lnTo>
                    <a:lnTo>
                      <a:pt x="238" y="299"/>
                    </a:lnTo>
                    <a:lnTo>
                      <a:pt x="240" y="299"/>
                    </a:lnTo>
                    <a:lnTo>
                      <a:pt x="244" y="301"/>
                    </a:lnTo>
                    <a:lnTo>
                      <a:pt x="246" y="301"/>
                    </a:lnTo>
                    <a:lnTo>
                      <a:pt x="248" y="301"/>
                    </a:lnTo>
                    <a:lnTo>
                      <a:pt x="250" y="301"/>
                    </a:lnTo>
                    <a:lnTo>
                      <a:pt x="250" y="303"/>
                    </a:lnTo>
                    <a:lnTo>
                      <a:pt x="252" y="303"/>
                    </a:lnTo>
                    <a:lnTo>
                      <a:pt x="254" y="303"/>
                    </a:lnTo>
                    <a:lnTo>
                      <a:pt x="254" y="305"/>
                    </a:lnTo>
                    <a:lnTo>
                      <a:pt x="256" y="307"/>
                    </a:lnTo>
                    <a:lnTo>
                      <a:pt x="258" y="309"/>
                    </a:lnTo>
                    <a:lnTo>
                      <a:pt x="258" y="311"/>
                    </a:lnTo>
                    <a:lnTo>
                      <a:pt x="258" y="313"/>
                    </a:lnTo>
                    <a:lnTo>
                      <a:pt x="260" y="313"/>
                    </a:lnTo>
                    <a:lnTo>
                      <a:pt x="260" y="315"/>
                    </a:lnTo>
                    <a:lnTo>
                      <a:pt x="261" y="315"/>
                    </a:lnTo>
                    <a:lnTo>
                      <a:pt x="263" y="317"/>
                    </a:lnTo>
                    <a:lnTo>
                      <a:pt x="261" y="317"/>
                    </a:lnTo>
                    <a:lnTo>
                      <a:pt x="261" y="319"/>
                    </a:lnTo>
                    <a:lnTo>
                      <a:pt x="261" y="317"/>
                    </a:lnTo>
                    <a:lnTo>
                      <a:pt x="260" y="317"/>
                    </a:lnTo>
                    <a:lnTo>
                      <a:pt x="260" y="315"/>
                    </a:lnTo>
                    <a:lnTo>
                      <a:pt x="258" y="315"/>
                    </a:lnTo>
                    <a:lnTo>
                      <a:pt x="258" y="313"/>
                    </a:lnTo>
                    <a:lnTo>
                      <a:pt x="258" y="311"/>
                    </a:lnTo>
                    <a:lnTo>
                      <a:pt x="256" y="311"/>
                    </a:lnTo>
                    <a:lnTo>
                      <a:pt x="256" y="309"/>
                    </a:lnTo>
                    <a:lnTo>
                      <a:pt x="254" y="309"/>
                    </a:lnTo>
                    <a:lnTo>
                      <a:pt x="254" y="307"/>
                    </a:lnTo>
                    <a:lnTo>
                      <a:pt x="252" y="307"/>
                    </a:lnTo>
                    <a:lnTo>
                      <a:pt x="252" y="305"/>
                    </a:lnTo>
                    <a:lnTo>
                      <a:pt x="250" y="305"/>
                    </a:lnTo>
                    <a:lnTo>
                      <a:pt x="248" y="305"/>
                    </a:lnTo>
                    <a:lnTo>
                      <a:pt x="246" y="303"/>
                    </a:lnTo>
                    <a:lnTo>
                      <a:pt x="244" y="303"/>
                    </a:lnTo>
                    <a:lnTo>
                      <a:pt x="244" y="301"/>
                    </a:lnTo>
                    <a:lnTo>
                      <a:pt x="242" y="301"/>
                    </a:lnTo>
                    <a:lnTo>
                      <a:pt x="240" y="301"/>
                    </a:lnTo>
                    <a:lnTo>
                      <a:pt x="240" y="299"/>
                    </a:lnTo>
                    <a:lnTo>
                      <a:pt x="238" y="299"/>
                    </a:lnTo>
                    <a:lnTo>
                      <a:pt x="237" y="299"/>
                    </a:lnTo>
                    <a:lnTo>
                      <a:pt x="235" y="299"/>
                    </a:lnTo>
                    <a:lnTo>
                      <a:pt x="237" y="298"/>
                    </a:lnTo>
                    <a:lnTo>
                      <a:pt x="235" y="298"/>
                    </a:lnTo>
                    <a:lnTo>
                      <a:pt x="235" y="299"/>
                    </a:lnTo>
                    <a:lnTo>
                      <a:pt x="233" y="298"/>
                    </a:lnTo>
                    <a:lnTo>
                      <a:pt x="231" y="298"/>
                    </a:lnTo>
                    <a:lnTo>
                      <a:pt x="231" y="296"/>
                    </a:lnTo>
                    <a:lnTo>
                      <a:pt x="229" y="296"/>
                    </a:lnTo>
                    <a:lnTo>
                      <a:pt x="227" y="294"/>
                    </a:lnTo>
                    <a:lnTo>
                      <a:pt x="225" y="294"/>
                    </a:lnTo>
                    <a:lnTo>
                      <a:pt x="225" y="292"/>
                    </a:lnTo>
                    <a:lnTo>
                      <a:pt x="223" y="292"/>
                    </a:lnTo>
                    <a:lnTo>
                      <a:pt x="221" y="292"/>
                    </a:lnTo>
                    <a:lnTo>
                      <a:pt x="217" y="292"/>
                    </a:lnTo>
                    <a:lnTo>
                      <a:pt x="215" y="292"/>
                    </a:lnTo>
                    <a:lnTo>
                      <a:pt x="213" y="294"/>
                    </a:lnTo>
                    <a:lnTo>
                      <a:pt x="212" y="294"/>
                    </a:lnTo>
                    <a:lnTo>
                      <a:pt x="210" y="294"/>
                    </a:lnTo>
                    <a:lnTo>
                      <a:pt x="208" y="294"/>
                    </a:lnTo>
                    <a:lnTo>
                      <a:pt x="208" y="296"/>
                    </a:lnTo>
                    <a:lnTo>
                      <a:pt x="206" y="296"/>
                    </a:lnTo>
                    <a:lnTo>
                      <a:pt x="208" y="296"/>
                    </a:lnTo>
                    <a:lnTo>
                      <a:pt x="208" y="294"/>
                    </a:lnTo>
                    <a:lnTo>
                      <a:pt x="206" y="294"/>
                    </a:lnTo>
                    <a:lnTo>
                      <a:pt x="204" y="294"/>
                    </a:lnTo>
                    <a:lnTo>
                      <a:pt x="202" y="294"/>
                    </a:lnTo>
                    <a:lnTo>
                      <a:pt x="202" y="296"/>
                    </a:lnTo>
                    <a:lnTo>
                      <a:pt x="202" y="294"/>
                    </a:lnTo>
                    <a:lnTo>
                      <a:pt x="200" y="294"/>
                    </a:lnTo>
                    <a:lnTo>
                      <a:pt x="200" y="296"/>
                    </a:lnTo>
                    <a:lnTo>
                      <a:pt x="198" y="296"/>
                    </a:lnTo>
                    <a:lnTo>
                      <a:pt x="196" y="296"/>
                    </a:lnTo>
                    <a:lnTo>
                      <a:pt x="196" y="294"/>
                    </a:lnTo>
                    <a:lnTo>
                      <a:pt x="194" y="294"/>
                    </a:lnTo>
                    <a:lnTo>
                      <a:pt x="192" y="294"/>
                    </a:lnTo>
                    <a:lnTo>
                      <a:pt x="192" y="296"/>
                    </a:lnTo>
                    <a:lnTo>
                      <a:pt x="190" y="296"/>
                    </a:lnTo>
                    <a:lnTo>
                      <a:pt x="190" y="294"/>
                    </a:lnTo>
                    <a:lnTo>
                      <a:pt x="190" y="296"/>
                    </a:lnTo>
                    <a:lnTo>
                      <a:pt x="190" y="298"/>
                    </a:lnTo>
                    <a:lnTo>
                      <a:pt x="188" y="298"/>
                    </a:lnTo>
                    <a:lnTo>
                      <a:pt x="188" y="299"/>
                    </a:lnTo>
                    <a:lnTo>
                      <a:pt x="190" y="299"/>
                    </a:lnTo>
                    <a:lnTo>
                      <a:pt x="192" y="299"/>
                    </a:lnTo>
                    <a:lnTo>
                      <a:pt x="194" y="299"/>
                    </a:lnTo>
                    <a:lnTo>
                      <a:pt x="192" y="299"/>
                    </a:lnTo>
                    <a:lnTo>
                      <a:pt x="194" y="299"/>
                    </a:lnTo>
                    <a:lnTo>
                      <a:pt x="194" y="301"/>
                    </a:lnTo>
                    <a:lnTo>
                      <a:pt x="192" y="299"/>
                    </a:lnTo>
                    <a:lnTo>
                      <a:pt x="192" y="301"/>
                    </a:lnTo>
                    <a:lnTo>
                      <a:pt x="194" y="301"/>
                    </a:lnTo>
                    <a:lnTo>
                      <a:pt x="192" y="301"/>
                    </a:lnTo>
                    <a:lnTo>
                      <a:pt x="194" y="301"/>
                    </a:lnTo>
                    <a:lnTo>
                      <a:pt x="196" y="299"/>
                    </a:lnTo>
                    <a:lnTo>
                      <a:pt x="198" y="299"/>
                    </a:lnTo>
                    <a:lnTo>
                      <a:pt x="196" y="301"/>
                    </a:lnTo>
                    <a:lnTo>
                      <a:pt x="194" y="301"/>
                    </a:lnTo>
                    <a:lnTo>
                      <a:pt x="194" y="303"/>
                    </a:lnTo>
                    <a:lnTo>
                      <a:pt x="192" y="305"/>
                    </a:lnTo>
                    <a:lnTo>
                      <a:pt x="192" y="307"/>
                    </a:lnTo>
                    <a:lnTo>
                      <a:pt x="192" y="305"/>
                    </a:lnTo>
                    <a:lnTo>
                      <a:pt x="192" y="307"/>
                    </a:lnTo>
                    <a:lnTo>
                      <a:pt x="192" y="305"/>
                    </a:lnTo>
                    <a:lnTo>
                      <a:pt x="192" y="307"/>
                    </a:lnTo>
                    <a:lnTo>
                      <a:pt x="190" y="307"/>
                    </a:lnTo>
                    <a:lnTo>
                      <a:pt x="192" y="307"/>
                    </a:lnTo>
                    <a:lnTo>
                      <a:pt x="190" y="309"/>
                    </a:lnTo>
                    <a:lnTo>
                      <a:pt x="190" y="311"/>
                    </a:lnTo>
                    <a:lnTo>
                      <a:pt x="190" y="309"/>
                    </a:lnTo>
                    <a:lnTo>
                      <a:pt x="190" y="307"/>
                    </a:lnTo>
                    <a:lnTo>
                      <a:pt x="188" y="307"/>
                    </a:lnTo>
                    <a:lnTo>
                      <a:pt x="190" y="305"/>
                    </a:lnTo>
                    <a:lnTo>
                      <a:pt x="190" y="303"/>
                    </a:lnTo>
                    <a:lnTo>
                      <a:pt x="188" y="303"/>
                    </a:lnTo>
                    <a:lnTo>
                      <a:pt x="190" y="303"/>
                    </a:lnTo>
                    <a:lnTo>
                      <a:pt x="190" y="305"/>
                    </a:lnTo>
                    <a:lnTo>
                      <a:pt x="188" y="307"/>
                    </a:lnTo>
                    <a:lnTo>
                      <a:pt x="188" y="305"/>
                    </a:lnTo>
                    <a:lnTo>
                      <a:pt x="188" y="307"/>
                    </a:lnTo>
                    <a:lnTo>
                      <a:pt x="190" y="307"/>
                    </a:lnTo>
                    <a:lnTo>
                      <a:pt x="190" y="309"/>
                    </a:lnTo>
                    <a:lnTo>
                      <a:pt x="190" y="307"/>
                    </a:lnTo>
                    <a:lnTo>
                      <a:pt x="190" y="309"/>
                    </a:lnTo>
                    <a:lnTo>
                      <a:pt x="190" y="311"/>
                    </a:lnTo>
                    <a:lnTo>
                      <a:pt x="190" y="313"/>
                    </a:lnTo>
                    <a:lnTo>
                      <a:pt x="188" y="313"/>
                    </a:lnTo>
                    <a:lnTo>
                      <a:pt x="188" y="315"/>
                    </a:lnTo>
                    <a:lnTo>
                      <a:pt x="188" y="319"/>
                    </a:lnTo>
                    <a:lnTo>
                      <a:pt x="188" y="321"/>
                    </a:lnTo>
                    <a:lnTo>
                      <a:pt x="190" y="321"/>
                    </a:lnTo>
                    <a:lnTo>
                      <a:pt x="190" y="322"/>
                    </a:lnTo>
                    <a:lnTo>
                      <a:pt x="190" y="324"/>
                    </a:lnTo>
                    <a:lnTo>
                      <a:pt x="190" y="326"/>
                    </a:lnTo>
                    <a:lnTo>
                      <a:pt x="192" y="326"/>
                    </a:lnTo>
                    <a:lnTo>
                      <a:pt x="192" y="328"/>
                    </a:lnTo>
                    <a:lnTo>
                      <a:pt x="194" y="328"/>
                    </a:lnTo>
                    <a:lnTo>
                      <a:pt x="194" y="330"/>
                    </a:lnTo>
                    <a:lnTo>
                      <a:pt x="196" y="330"/>
                    </a:lnTo>
                    <a:lnTo>
                      <a:pt x="196" y="332"/>
                    </a:lnTo>
                    <a:lnTo>
                      <a:pt x="196" y="334"/>
                    </a:lnTo>
                    <a:lnTo>
                      <a:pt x="196" y="336"/>
                    </a:lnTo>
                    <a:lnTo>
                      <a:pt x="196" y="338"/>
                    </a:lnTo>
                    <a:lnTo>
                      <a:pt x="196" y="340"/>
                    </a:lnTo>
                    <a:lnTo>
                      <a:pt x="196" y="342"/>
                    </a:lnTo>
                    <a:lnTo>
                      <a:pt x="198" y="344"/>
                    </a:lnTo>
                    <a:lnTo>
                      <a:pt x="198" y="346"/>
                    </a:lnTo>
                    <a:lnTo>
                      <a:pt x="198" y="347"/>
                    </a:lnTo>
                    <a:lnTo>
                      <a:pt x="198" y="351"/>
                    </a:lnTo>
                    <a:lnTo>
                      <a:pt x="200" y="353"/>
                    </a:lnTo>
                    <a:lnTo>
                      <a:pt x="200" y="357"/>
                    </a:lnTo>
                    <a:lnTo>
                      <a:pt x="200" y="359"/>
                    </a:lnTo>
                    <a:lnTo>
                      <a:pt x="200" y="361"/>
                    </a:lnTo>
                    <a:lnTo>
                      <a:pt x="202" y="361"/>
                    </a:lnTo>
                    <a:lnTo>
                      <a:pt x="202" y="363"/>
                    </a:lnTo>
                    <a:lnTo>
                      <a:pt x="202" y="365"/>
                    </a:lnTo>
                    <a:lnTo>
                      <a:pt x="204" y="371"/>
                    </a:lnTo>
                    <a:lnTo>
                      <a:pt x="204" y="372"/>
                    </a:lnTo>
                    <a:lnTo>
                      <a:pt x="204" y="374"/>
                    </a:lnTo>
                    <a:lnTo>
                      <a:pt x="204" y="376"/>
                    </a:lnTo>
                    <a:lnTo>
                      <a:pt x="206" y="376"/>
                    </a:lnTo>
                    <a:lnTo>
                      <a:pt x="206" y="378"/>
                    </a:lnTo>
                    <a:lnTo>
                      <a:pt x="206" y="380"/>
                    </a:lnTo>
                    <a:lnTo>
                      <a:pt x="206" y="382"/>
                    </a:lnTo>
                    <a:lnTo>
                      <a:pt x="206" y="384"/>
                    </a:lnTo>
                    <a:lnTo>
                      <a:pt x="208" y="384"/>
                    </a:lnTo>
                    <a:lnTo>
                      <a:pt x="208" y="386"/>
                    </a:lnTo>
                    <a:lnTo>
                      <a:pt x="208" y="384"/>
                    </a:lnTo>
                    <a:lnTo>
                      <a:pt x="206" y="384"/>
                    </a:lnTo>
                    <a:lnTo>
                      <a:pt x="208" y="386"/>
                    </a:lnTo>
                    <a:lnTo>
                      <a:pt x="208" y="388"/>
                    </a:lnTo>
                    <a:lnTo>
                      <a:pt x="208" y="390"/>
                    </a:lnTo>
                    <a:lnTo>
                      <a:pt x="208" y="392"/>
                    </a:lnTo>
                    <a:lnTo>
                      <a:pt x="210" y="392"/>
                    </a:lnTo>
                    <a:lnTo>
                      <a:pt x="210" y="394"/>
                    </a:lnTo>
                    <a:lnTo>
                      <a:pt x="210" y="396"/>
                    </a:lnTo>
                    <a:lnTo>
                      <a:pt x="212" y="397"/>
                    </a:lnTo>
                    <a:lnTo>
                      <a:pt x="212" y="399"/>
                    </a:lnTo>
                    <a:lnTo>
                      <a:pt x="213" y="401"/>
                    </a:lnTo>
                    <a:lnTo>
                      <a:pt x="213" y="403"/>
                    </a:lnTo>
                    <a:lnTo>
                      <a:pt x="213" y="405"/>
                    </a:lnTo>
                    <a:lnTo>
                      <a:pt x="215" y="405"/>
                    </a:lnTo>
                    <a:lnTo>
                      <a:pt x="215" y="407"/>
                    </a:lnTo>
                    <a:lnTo>
                      <a:pt x="217" y="409"/>
                    </a:lnTo>
                    <a:lnTo>
                      <a:pt x="219" y="411"/>
                    </a:lnTo>
                    <a:lnTo>
                      <a:pt x="219" y="413"/>
                    </a:lnTo>
                    <a:lnTo>
                      <a:pt x="221" y="415"/>
                    </a:lnTo>
                    <a:lnTo>
                      <a:pt x="223" y="415"/>
                    </a:lnTo>
                    <a:lnTo>
                      <a:pt x="225" y="417"/>
                    </a:lnTo>
                    <a:lnTo>
                      <a:pt x="225" y="419"/>
                    </a:lnTo>
                    <a:lnTo>
                      <a:pt x="227" y="421"/>
                    </a:lnTo>
                    <a:lnTo>
                      <a:pt x="229" y="421"/>
                    </a:lnTo>
                    <a:lnTo>
                      <a:pt x="231" y="422"/>
                    </a:lnTo>
                    <a:lnTo>
                      <a:pt x="231" y="424"/>
                    </a:lnTo>
                    <a:lnTo>
                      <a:pt x="233" y="424"/>
                    </a:lnTo>
                    <a:lnTo>
                      <a:pt x="235" y="426"/>
                    </a:lnTo>
                    <a:lnTo>
                      <a:pt x="237" y="426"/>
                    </a:lnTo>
                    <a:lnTo>
                      <a:pt x="235" y="426"/>
                    </a:lnTo>
                    <a:lnTo>
                      <a:pt x="235" y="428"/>
                    </a:lnTo>
                    <a:lnTo>
                      <a:pt x="237" y="428"/>
                    </a:lnTo>
                    <a:lnTo>
                      <a:pt x="237" y="426"/>
                    </a:lnTo>
                    <a:lnTo>
                      <a:pt x="237" y="428"/>
                    </a:lnTo>
                    <a:lnTo>
                      <a:pt x="237" y="426"/>
                    </a:lnTo>
                    <a:lnTo>
                      <a:pt x="238" y="426"/>
                    </a:lnTo>
                    <a:lnTo>
                      <a:pt x="240" y="426"/>
                    </a:lnTo>
                    <a:lnTo>
                      <a:pt x="242" y="428"/>
                    </a:lnTo>
                    <a:lnTo>
                      <a:pt x="244" y="428"/>
                    </a:lnTo>
                    <a:lnTo>
                      <a:pt x="246" y="428"/>
                    </a:lnTo>
                    <a:lnTo>
                      <a:pt x="246" y="430"/>
                    </a:lnTo>
                    <a:lnTo>
                      <a:pt x="248" y="430"/>
                    </a:lnTo>
                    <a:lnTo>
                      <a:pt x="248" y="432"/>
                    </a:lnTo>
                    <a:lnTo>
                      <a:pt x="250" y="432"/>
                    </a:lnTo>
                    <a:lnTo>
                      <a:pt x="252" y="432"/>
                    </a:lnTo>
                    <a:lnTo>
                      <a:pt x="252" y="434"/>
                    </a:lnTo>
                    <a:lnTo>
                      <a:pt x="252" y="436"/>
                    </a:lnTo>
                    <a:lnTo>
                      <a:pt x="254" y="436"/>
                    </a:lnTo>
                    <a:lnTo>
                      <a:pt x="254" y="438"/>
                    </a:lnTo>
                    <a:lnTo>
                      <a:pt x="256" y="438"/>
                    </a:lnTo>
                    <a:lnTo>
                      <a:pt x="256" y="440"/>
                    </a:lnTo>
                    <a:lnTo>
                      <a:pt x="256" y="442"/>
                    </a:lnTo>
                    <a:lnTo>
                      <a:pt x="258" y="442"/>
                    </a:lnTo>
                    <a:lnTo>
                      <a:pt x="256" y="442"/>
                    </a:lnTo>
                    <a:lnTo>
                      <a:pt x="256" y="444"/>
                    </a:lnTo>
                    <a:lnTo>
                      <a:pt x="258" y="444"/>
                    </a:lnTo>
                    <a:lnTo>
                      <a:pt x="258" y="446"/>
                    </a:lnTo>
                    <a:lnTo>
                      <a:pt x="260" y="446"/>
                    </a:lnTo>
                    <a:lnTo>
                      <a:pt x="260" y="447"/>
                    </a:lnTo>
                    <a:lnTo>
                      <a:pt x="261" y="447"/>
                    </a:lnTo>
                    <a:lnTo>
                      <a:pt x="261" y="449"/>
                    </a:lnTo>
                    <a:lnTo>
                      <a:pt x="263" y="449"/>
                    </a:lnTo>
                    <a:lnTo>
                      <a:pt x="265" y="451"/>
                    </a:lnTo>
                    <a:lnTo>
                      <a:pt x="265" y="453"/>
                    </a:lnTo>
                    <a:lnTo>
                      <a:pt x="267" y="453"/>
                    </a:lnTo>
                    <a:lnTo>
                      <a:pt x="267" y="455"/>
                    </a:lnTo>
                    <a:lnTo>
                      <a:pt x="265" y="455"/>
                    </a:lnTo>
                    <a:lnTo>
                      <a:pt x="267" y="455"/>
                    </a:lnTo>
                    <a:lnTo>
                      <a:pt x="269" y="455"/>
                    </a:lnTo>
                    <a:lnTo>
                      <a:pt x="267" y="453"/>
                    </a:lnTo>
                    <a:lnTo>
                      <a:pt x="269" y="453"/>
                    </a:lnTo>
                    <a:lnTo>
                      <a:pt x="269" y="455"/>
                    </a:lnTo>
                    <a:lnTo>
                      <a:pt x="269" y="457"/>
                    </a:lnTo>
                    <a:lnTo>
                      <a:pt x="269" y="455"/>
                    </a:lnTo>
                    <a:lnTo>
                      <a:pt x="267" y="455"/>
                    </a:lnTo>
                    <a:lnTo>
                      <a:pt x="267" y="457"/>
                    </a:lnTo>
                    <a:lnTo>
                      <a:pt x="267" y="459"/>
                    </a:lnTo>
                    <a:lnTo>
                      <a:pt x="269" y="459"/>
                    </a:lnTo>
                    <a:lnTo>
                      <a:pt x="271" y="459"/>
                    </a:lnTo>
                    <a:lnTo>
                      <a:pt x="271" y="461"/>
                    </a:lnTo>
                    <a:lnTo>
                      <a:pt x="271" y="463"/>
                    </a:lnTo>
                    <a:lnTo>
                      <a:pt x="273" y="463"/>
                    </a:lnTo>
                    <a:lnTo>
                      <a:pt x="275" y="463"/>
                    </a:lnTo>
                    <a:lnTo>
                      <a:pt x="277" y="463"/>
                    </a:lnTo>
                    <a:lnTo>
                      <a:pt x="277" y="461"/>
                    </a:lnTo>
                    <a:lnTo>
                      <a:pt x="277" y="463"/>
                    </a:lnTo>
                    <a:lnTo>
                      <a:pt x="277" y="461"/>
                    </a:lnTo>
                    <a:lnTo>
                      <a:pt x="279" y="461"/>
                    </a:lnTo>
                    <a:lnTo>
                      <a:pt x="281" y="461"/>
                    </a:lnTo>
                    <a:lnTo>
                      <a:pt x="281" y="463"/>
                    </a:lnTo>
                    <a:lnTo>
                      <a:pt x="283" y="461"/>
                    </a:lnTo>
                    <a:lnTo>
                      <a:pt x="281" y="459"/>
                    </a:lnTo>
                    <a:lnTo>
                      <a:pt x="279" y="457"/>
                    </a:lnTo>
                    <a:lnTo>
                      <a:pt x="277" y="459"/>
                    </a:lnTo>
                    <a:lnTo>
                      <a:pt x="277" y="457"/>
                    </a:lnTo>
                    <a:lnTo>
                      <a:pt x="275" y="457"/>
                    </a:lnTo>
                    <a:lnTo>
                      <a:pt x="277" y="457"/>
                    </a:lnTo>
                    <a:lnTo>
                      <a:pt x="275" y="457"/>
                    </a:lnTo>
                    <a:lnTo>
                      <a:pt x="275" y="459"/>
                    </a:lnTo>
                    <a:lnTo>
                      <a:pt x="273" y="457"/>
                    </a:lnTo>
                    <a:lnTo>
                      <a:pt x="273" y="459"/>
                    </a:lnTo>
                    <a:lnTo>
                      <a:pt x="271" y="459"/>
                    </a:lnTo>
                    <a:lnTo>
                      <a:pt x="271" y="457"/>
                    </a:lnTo>
                    <a:lnTo>
                      <a:pt x="271" y="455"/>
                    </a:lnTo>
                    <a:lnTo>
                      <a:pt x="269" y="455"/>
                    </a:lnTo>
                    <a:lnTo>
                      <a:pt x="271" y="455"/>
                    </a:lnTo>
                    <a:lnTo>
                      <a:pt x="273" y="455"/>
                    </a:lnTo>
                    <a:lnTo>
                      <a:pt x="275" y="455"/>
                    </a:lnTo>
                    <a:lnTo>
                      <a:pt x="277" y="455"/>
                    </a:lnTo>
                    <a:lnTo>
                      <a:pt x="279" y="455"/>
                    </a:lnTo>
                    <a:lnTo>
                      <a:pt x="281" y="453"/>
                    </a:lnTo>
                    <a:lnTo>
                      <a:pt x="281" y="451"/>
                    </a:lnTo>
                    <a:lnTo>
                      <a:pt x="279" y="451"/>
                    </a:lnTo>
                    <a:lnTo>
                      <a:pt x="279" y="449"/>
                    </a:lnTo>
                    <a:lnTo>
                      <a:pt x="281" y="449"/>
                    </a:lnTo>
                    <a:lnTo>
                      <a:pt x="281" y="451"/>
                    </a:lnTo>
                    <a:lnTo>
                      <a:pt x="283" y="451"/>
                    </a:lnTo>
                    <a:lnTo>
                      <a:pt x="283" y="453"/>
                    </a:lnTo>
                    <a:lnTo>
                      <a:pt x="283" y="455"/>
                    </a:lnTo>
                    <a:lnTo>
                      <a:pt x="285" y="455"/>
                    </a:lnTo>
                    <a:lnTo>
                      <a:pt x="285" y="457"/>
                    </a:lnTo>
                    <a:lnTo>
                      <a:pt x="286" y="457"/>
                    </a:lnTo>
                    <a:lnTo>
                      <a:pt x="286" y="459"/>
                    </a:lnTo>
                    <a:lnTo>
                      <a:pt x="288" y="461"/>
                    </a:lnTo>
                    <a:lnTo>
                      <a:pt x="288" y="463"/>
                    </a:lnTo>
                    <a:lnTo>
                      <a:pt x="290" y="463"/>
                    </a:lnTo>
                    <a:lnTo>
                      <a:pt x="290" y="465"/>
                    </a:lnTo>
                    <a:lnTo>
                      <a:pt x="292" y="467"/>
                    </a:lnTo>
                    <a:lnTo>
                      <a:pt x="292" y="469"/>
                    </a:lnTo>
                    <a:lnTo>
                      <a:pt x="294" y="469"/>
                    </a:lnTo>
                    <a:lnTo>
                      <a:pt x="294" y="471"/>
                    </a:lnTo>
                    <a:lnTo>
                      <a:pt x="296" y="472"/>
                    </a:lnTo>
                    <a:lnTo>
                      <a:pt x="298" y="472"/>
                    </a:lnTo>
                    <a:lnTo>
                      <a:pt x="298" y="474"/>
                    </a:lnTo>
                    <a:lnTo>
                      <a:pt x="298" y="476"/>
                    </a:lnTo>
                    <a:lnTo>
                      <a:pt x="298" y="474"/>
                    </a:lnTo>
                    <a:lnTo>
                      <a:pt x="300" y="476"/>
                    </a:lnTo>
                    <a:lnTo>
                      <a:pt x="300" y="474"/>
                    </a:lnTo>
                    <a:lnTo>
                      <a:pt x="300" y="476"/>
                    </a:lnTo>
                    <a:lnTo>
                      <a:pt x="302" y="476"/>
                    </a:lnTo>
                    <a:lnTo>
                      <a:pt x="300" y="476"/>
                    </a:lnTo>
                    <a:lnTo>
                      <a:pt x="300" y="478"/>
                    </a:lnTo>
                    <a:lnTo>
                      <a:pt x="300" y="480"/>
                    </a:lnTo>
                    <a:lnTo>
                      <a:pt x="302" y="480"/>
                    </a:lnTo>
                    <a:lnTo>
                      <a:pt x="302" y="482"/>
                    </a:lnTo>
                    <a:lnTo>
                      <a:pt x="300" y="482"/>
                    </a:lnTo>
                    <a:lnTo>
                      <a:pt x="300" y="484"/>
                    </a:lnTo>
                    <a:lnTo>
                      <a:pt x="302" y="484"/>
                    </a:lnTo>
                    <a:lnTo>
                      <a:pt x="302" y="486"/>
                    </a:lnTo>
                    <a:lnTo>
                      <a:pt x="302" y="488"/>
                    </a:lnTo>
                    <a:lnTo>
                      <a:pt x="302" y="490"/>
                    </a:lnTo>
                    <a:lnTo>
                      <a:pt x="302" y="492"/>
                    </a:lnTo>
                    <a:lnTo>
                      <a:pt x="304" y="494"/>
                    </a:lnTo>
                    <a:lnTo>
                      <a:pt x="304" y="496"/>
                    </a:lnTo>
                    <a:lnTo>
                      <a:pt x="306" y="496"/>
                    </a:lnTo>
                    <a:lnTo>
                      <a:pt x="306" y="497"/>
                    </a:lnTo>
                    <a:lnTo>
                      <a:pt x="306" y="499"/>
                    </a:lnTo>
                    <a:lnTo>
                      <a:pt x="306" y="497"/>
                    </a:lnTo>
                    <a:lnTo>
                      <a:pt x="306" y="499"/>
                    </a:lnTo>
                    <a:lnTo>
                      <a:pt x="306" y="501"/>
                    </a:lnTo>
                    <a:lnTo>
                      <a:pt x="304" y="499"/>
                    </a:lnTo>
                    <a:lnTo>
                      <a:pt x="304" y="497"/>
                    </a:lnTo>
                    <a:lnTo>
                      <a:pt x="302" y="497"/>
                    </a:lnTo>
                    <a:lnTo>
                      <a:pt x="302" y="496"/>
                    </a:lnTo>
                    <a:lnTo>
                      <a:pt x="302" y="494"/>
                    </a:lnTo>
                    <a:lnTo>
                      <a:pt x="300" y="494"/>
                    </a:lnTo>
                    <a:lnTo>
                      <a:pt x="300" y="492"/>
                    </a:lnTo>
                    <a:lnTo>
                      <a:pt x="300" y="490"/>
                    </a:lnTo>
                    <a:lnTo>
                      <a:pt x="298" y="488"/>
                    </a:lnTo>
                    <a:lnTo>
                      <a:pt x="298" y="486"/>
                    </a:lnTo>
                    <a:lnTo>
                      <a:pt x="296" y="486"/>
                    </a:lnTo>
                    <a:lnTo>
                      <a:pt x="294" y="484"/>
                    </a:lnTo>
                    <a:lnTo>
                      <a:pt x="294" y="482"/>
                    </a:lnTo>
                    <a:lnTo>
                      <a:pt x="292" y="482"/>
                    </a:lnTo>
                    <a:lnTo>
                      <a:pt x="290" y="480"/>
                    </a:lnTo>
                    <a:lnTo>
                      <a:pt x="290" y="478"/>
                    </a:lnTo>
                    <a:lnTo>
                      <a:pt x="288" y="478"/>
                    </a:lnTo>
                    <a:lnTo>
                      <a:pt x="288" y="476"/>
                    </a:lnTo>
                    <a:lnTo>
                      <a:pt x="288" y="474"/>
                    </a:lnTo>
                    <a:lnTo>
                      <a:pt x="286" y="474"/>
                    </a:lnTo>
                    <a:lnTo>
                      <a:pt x="286" y="472"/>
                    </a:lnTo>
                    <a:lnTo>
                      <a:pt x="286" y="474"/>
                    </a:lnTo>
                    <a:lnTo>
                      <a:pt x="286" y="472"/>
                    </a:lnTo>
                    <a:lnTo>
                      <a:pt x="286" y="474"/>
                    </a:lnTo>
                    <a:lnTo>
                      <a:pt x="288" y="474"/>
                    </a:lnTo>
                    <a:lnTo>
                      <a:pt x="288" y="472"/>
                    </a:lnTo>
                    <a:lnTo>
                      <a:pt x="288" y="471"/>
                    </a:lnTo>
                    <a:lnTo>
                      <a:pt x="286" y="471"/>
                    </a:lnTo>
                    <a:lnTo>
                      <a:pt x="286" y="469"/>
                    </a:lnTo>
                    <a:lnTo>
                      <a:pt x="285" y="469"/>
                    </a:lnTo>
                    <a:lnTo>
                      <a:pt x="285" y="471"/>
                    </a:lnTo>
                    <a:lnTo>
                      <a:pt x="283" y="471"/>
                    </a:lnTo>
                    <a:lnTo>
                      <a:pt x="283" y="472"/>
                    </a:lnTo>
                    <a:lnTo>
                      <a:pt x="283" y="471"/>
                    </a:lnTo>
                    <a:lnTo>
                      <a:pt x="283" y="472"/>
                    </a:lnTo>
                    <a:lnTo>
                      <a:pt x="285" y="472"/>
                    </a:lnTo>
                    <a:lnTo>
                      <a:pt x="286" y="472"/>
                    </a:lnTo>
                    <a:lnTo>
                      <a:pt x="286" y="474"/>
                    </a:lnTo>
                    <a:lnTo>
                      <a:pt x="285" y="472"/>
                    </a:lnTo>
                    <a:lnTo>
                      <a:pt x="283" y="472"/>
                    </a:lnTo>
                    <a:lnTo>
                      <a:pt x="281" y="471"/>
                    </a:lnTo>
                    <a:lnTo>
                      <a:pt x="279" y="471"/>
                    </a:lnTo>
                    <a:lnTo>
                      <a:pt x="277" y="471"/>
                    </a:lnTo>
                    <a:lnTo>
                      <a:pt x="275" y="472"/>
                    </a:lnTo>
                    <a:lnTo>
                      <a:pt x="273" y="472"/>
                    </a:lnTo>
                    <a:lnTo>
                      <a:pt x="271" y="472"/>
                    </a:lnTo>
                    <a:lnTo>
                      <a:pt x="271" y="474"/>
                    </a:lnTo>
                    <a:lnTo>
                      <a:pt x="269" y="474"/>
                    </a:lnTo>
                    <a:lnTo>
                      <a:pt x="267" y="474"/>
                    </a:lnTo>
                    <a:lnTo>
                      <a:pt x="265" y="476"/>
                    </a:lnTo>
                    <a:lnTo>
                      <a:pt x="263" y="478"/>
                    </a:lnTo>
                    <a:lnTo>
                      <a:pt x="263" y="476"/>
                    </a:lnTo>
                    <a:lnTo>
                      <a:pt x="261" y="476"/>
                    </a:lnTo>
                    <a:lnTo>
                      <a:pt x="261" y="474"/>
                    </a:lnTo>
                    <a:lnTo>
                      <a:pt x="261" y="472"/>
                    </a:lnTo>
                    <a:lnTo>
                      <a:pt x="260" y="472"/>
                    </a:lnTo>
                    <a:lnTo>
                      <a:pt x="260" y="471"/>
                    </a:lnTo>
                    <a:lnTo>
                      <a:pt x="258" y="471"/>
                    </a:lnTo>
                    <a:lnTo>
                      <a:pt x="258" y="469"/>
                    </a:lnTo>
                    <a:lnTo>
                      <a:pt x="258" y="471"/>
                    </a:lnTo>
                    <a:lnTo>
                      <a:pt x="258" y="469"/>
                    </a:lnTo>
                    <a:lnTo>
                      <a:pt x="258" y="471"/>
                    </a:lnTo>
                    <a:lnTo>
                      <a:pt x="256" y="471"/>
                    </a:lnTo>
                    <a:lnTo>
                      <a:pt x="258" y="471"/>
                    </a:lnTo>
                    <a:lnTo>
                      <a:pt x="256" y="471"/>
                    </a:lnTo>
                    <a:lnTo>
                      <a:pt x="258" y="471"/>
                    </a:lnTo>
                    <a:lnTo>
                      <a:pt x="256" y="472"/>
                    </a:lnTo>
                    <a:lnTo>
                      <a:pt x="254" y="472"/>
                    </a:lnTo>
                    <a:lnTo>
                      <a:pt x="254" y="474"/>
                    </a:lnTo>
                    <a:lnTo>
                      <a:pt x="252" y="474"/>
                    </a:lnTo>
                    <a:lnTo>
                      <a:pt x="252" y="476"/>
                    </a:lnTo>
                    <a:lnTo>
                      <a:pt x="252" y="478"/>
                    </a:lnTo>
                    <a:lnTo>
                      <a:pt x="252" y="480"/>
                    </a:lnTo>
                    <a:lnTo>
                      <a:pt x="252" y="482"/>
                    </a:lnTo>
                    <a:lnTo>
                      <a:pt x="252" y="484"/>
                    </a:lnTo>
                    <a:lnTo>
                      <a:pt x="252" y="486"/>
                    </a:lnTo>
                    <a:lnTo>
                      <a:pt x="252" y="488"/>
                    </a:lnTo>
                    <a:lnTo>
                      <a:pt x="254" y="490"/>
                    </a:lnTo>
                    <a:lnTo>
                      <a:pt x="254" y="494"/>
                    </a:lnTo>
                    <a:lnTo>
                      <a:pt x="254" y="497"/>
                    </a:lnTo>
                    <a:lnTo>
                      <a:pt x="254" y="499"/>
                    </a:lnTo>
                    <a:lnTo>
                      <a:pt x="256" y="499"/>
                    </a:lnTo>
                    <a:lnTo>
                      <a:pt x="256" y="501"/>
                    </a:lnTo>
                    <a:lnTo>
                      <a:pt x="256" y="503"/>
                    </a:lnTo>
                    <a:lnTo>
                      <a:pt x="256" y="505"/>
                    </a:lnTo>
                    <a:lnTo>
                      <a:pt x="256" y="507"/>
                    </a:lnTo>
                    <a:lnTo>
                      <a:pt x="258" y="509"/>
                    </a:lnTo>
                    <a:lnTo>
                      <a:pt x="258" y="511"/>
                    </a:lnTo>
                    <a:lnTo>
                      <a:pt x="260" y="511"/>
                    </a:lnTo>
                    <a:lnTo>
                      <a:pt x="260" y="513"/>
                    </a:lnTo>
                    <a:lnTo>
                      <a:pt x="260" y="515"/>
                    </a:lnTo>
                    <a:lnTo>
                      <a:pt x="260" y="517"/>
                    </a:lnTo>
                    <a:lnTo>
                      <a:pt x="260" y="519"/>
                    </a:lnTo>
                    <a:lnTo>
                      <a:pt x="260" y="521"/>
                    </a:lnTo>
                    <a:lnTo>
                      <a:pt x="261" y="521"/>
                    </a:lnTo>
                    <a:lnTo>
                      <a:pt x="261" y="522"/>
                    </a:lnTo>
                    <a:lnTo>
                      <a:pt x="261" y="524"/>
                    </a:lnTo>
                    <a:lnTo>
                      <a:pt x="261" y="526"/>
                    </a:lnTo>
                    <a:lnTo>
                      <a:pt x="260" y="528"/>
                    </a:lnTo>
                    <a:lnTo>
                      <a:pt x="261" y="530"/>
                    </a:lnTo>
                    <a:lnTo>
                      <a:pt x="261" y="532"/>
                    </a:lnTo>
                    <a:lnTo>
                      <a:pt x="261" y="534"/>
                    </a:lnTo>
                    <a:lnTo>
                      <a:pt x="263" y="534"/>
                    </a:lnTo>
                    <a:lnTo>
                      <a:pt x="261" y="534"/>
                    </a:lnTo>
                    <a:lnTo>
                      <a:pt x="260" y="534"/>
                    </a:lnTo>
                    <a:lnTo>
                      <a:pt x="260" y="532"/>
                    </a:lnTo>
                    <a:lnTo>
                      <a:pt x="258" y="532"/>
                    </a:lnTo>
                    <a:lnTo>
                      <a:pt x="258" y="530"/>
                    </a:lnTo>
                    <a:lnTo>
                      <a:pt x="256" y="530"/>
                    </a:lnTo>
                    <a:lnTo>
                      <a:pt x="256" y="528"/>
                    </a:lnTo>
                    <a:lnTo>
                      <a:pt x="254" y="528"/>
                    </a:lnTo>
                    <a:lnTo>
                      <a:pt x="252" y="528"/>
                    </a:lnTo>
                    <a:lnTo>
                      <a:pt x="252" y="526"/>
                    </a:lnTo>
                    <a:lnTo>
                      <a:pt x="252" y="524"/>
                    </a:lnTo>
                    <a:lnTo>
                      <a:pt x="250" y="524"/>
                    </a:lnTo>
                    <a:lnTo>
                      <a:pt x="250" y="522"/>
                    </a:lnTo>
                    <a:lnTo>
                      <a:pt x="248" y="521"/>
                    </a:lnTo>
                    <a:lnTo>
                      <a:pt x="246" y="519"/>
                    </a:lnTo>
                    <a:lnTo>
                      <a:pt x="246" y="517"/>
                    </a:lnTo>
                    <a:lnTo>
                      <a:pt x="244" y="517"/>
                    </a:lnTo>
                    <a:lnTo>
                      <a:pt x="244" y="515"/>
                    </a:lnTo>
                    <a:lnTo>
                      <a:pt x="244" y="513"/>
                    </a:lnTo>
                    <a:lnTo>
                      <a:pt x="242" y="513"/>
                    </a:lnTo>
                    <a:lnTo>
                      <a:pt x="242" y="511"/>
                    </a:lnTo>
                    <a:lnTo>
                      <a:pt x="240" y="509"/>
                    </a:lnTo>
                    <a:lnTo>
                      <a:pt x="240" y="507"/>
                    </a:lnTo>
                    <a:lnTo>
                      <a:pt x="238" y="507"/>
                    </a:lnTo>
                    <a:lnTo>
                      <a:pt x="238" y="505"/>
                    </a:lnTo>
                    <a:lnTo>
                      <a:pt x="237" y="505"/>
                    </a:lnTo>
                    <a:lnTo>
                      <a:pt x="237" y="503"/>
                    </a:lnTo>
                    <a:lnTo>
                      <a:pt x="235" y="503"/>
                    </a:lnTo>
                    <a:lnTo>
                      <a:pt x="235" y="501"/>
                    </a:lnTo>
                    <a:lnTo>
                      <a:pt x="233" y="499"/>
                    </a:lnTo>
                    <a:lnTo>
                      <a:pt x="233" y="497"/>
                    </a:lnTo>
                    <a:lnTo>
                      <a:pt x="231" y="497"/>
                    </a:lnTo>
                    <a:lnTo>
                      <a:pt x="231" y="496"/>
                    </a:lnTo>
                    <a:lnTo>
                      <a:pt x="231" y="494"/>
                    </a:lnTo>
                    <a:lnTo>
                      <a:pt x="231" y="492"/>
                    </a:lnTo>
                    <a:lnTo>
                      <a:pt x="231" y="490"/>
                    </a:lnTo>
                    <a:lnTo>
                      <a:pt x="229" y="490"/>
                    </a:lnTo>
                    <a:lnTo>
                      <a:pt x="229" y="488"/>
                    </a:lnTo>
                    <a:lnTo>
                      <a:pt x="229" y="486"/>
                    </a:lnTo>
                    <a:lnTo>
                      <a:pt x="229" y="484"/>
                    </a:lnTo>
                    <a:lnTo>
                      <a:pt x="229" y="482"/>
                    </a:lnTo>
                    <a:lnTo>
                      <a:pt x="227" y="480"/>
                    </a:lnTo>
                    <a:lnTo>
                      <a:pt x="227" y="478"/>
                    </a:lnTo>
                    <a:lnTo>
                      <a:pt x="227" y="476"/>
                    </a:lnTo>
                    <a:lnTo>
                      <a:pt x="227" y="474"/>
                    </a:lnTo>
                    <a:lnTo>
                      <a:pt x="227" y="472"/>
                    </a:lnTo>
                    <a:lnTo>
                      <a:pt x="227" y="471"/>
                    </a:lnTo>
                    <a:lnTo>
                      <a:pt x="225" y="469"/>
                    </a:lnTo>
                    <a:lnTo>
                      <a:pt x="225" y="467"/>
                    </a:lnTo>
                    <a:lnTo>
                      <a:pt x="225" y="465"/>
                    </a:lnTo>
                    <a:lnTo>
                      <a:pt x="225" y="463"/>
                    </a:lnTo>
                    <a:lnTo>
                      <a:pt x="223" y="463"/>
                    </a:lnTo>
                    <a:lnTo>
                      <a:pt x="223" y="461"/>
                    </a:lnTo>
                    <a:lnTo>
                      <a:pt x="223" y="459"/>
                    </a:lnTo>
                    <a:lnTo>
                      <a:pt x="221" y="457"/>
                    </a:lnTo>
                    <a:lnTo>
                      <a:pt x="221" y="455"/>
                    </a:lnTo>
                    <a:lnTo>
                      <a:pt x="219" y="455"/>
                    </a:lnTo>
                    <a:lnTo>
                      <a:pt x="219" y="453"/>
                    </a:lnTo>
                    <a:lnTo>
                      <a:pt x="217" y="453"/>
                    </a:lnTo>
                    <a:lnTo>
                      <a:pt x="217" y="451"/>
                    </a:lnTo>
                    <a:lnTo>
                      <a:pt x="215" y="451"/>
                    </a:lnTo>
                    <a:lnTo>
                      <a:pt x="215" y="449"/>
                    </a:lnTo>
                    <a:lnTo>
                      <a:pt x="213" y="449"/>
                    </a:lnTo>
                    <a:lnTo>
                      <a:pt x="213" y="447"/>
                    </a:lnTo>
                    <a:lnTo>
                      <a:pt x="213" y="446"/>
                    </a:lnTo>
                    <a:lnTo>
                      <a:pt x="213" y="444"/>
                    </a:lnTo>
                    <a:lnTo>
                      <a:pt x="212" y="444"/>
                    </a:lnTo>
                    <a:lnTo>
                      <a:pt x="210" y="442"/>
                    </a:lnTo>
                    <a:lnTo>
                      <a:pt x="210" y="440"/>
                    </a:lnTo>
                    <a:lnTo>
                      <a:pt x="208" y="440"/>
                    </a:lnTo>
                    <a:lnTo>
                      <a:pt x="208" y="438"/>
                    </a:lnTo>
                    <a:lnTo>
                      <a:pt x="206" y="436"/>
                    </a:lnTo>
                    <a:lnTo>
                      <a:pt x="206" y="434"/>
                    </a:lnTo>
                    <a:lnTo>
                      <a:pt x="206" y="432"/>
                    </a:lnTo>
                    <a:lnTo>
                      <a:pt x="204" y="432"/>
                    </a:lnTo>
                    <a:lnTo>
                      <a:pt x="204" y="430"/>
                    </a:lnTo>
                    <a:lnTo>
                      <a:pt x="204" y="428"/>
                    </a:lnTo>
                    <a:lnTo>
                      <a:pt x="204" y="426"/>
                    </a:lnTo>
                    <a:lnTo>
                      <a:pt x="202" y="424"/>
                    </a:lnTo>
                    <a:lnTo>
                      <a:pt x="202" y="422"/>
                    </a:lnTo>
                    <a:lnTo>
                      <a:pt x="202" y="421"/>
                    </a:lnTo>
                    <a:lnTo>
                      <a:pt x="202" y="419"/>
                    </a:lnTo>
                    <a:lnTo>
                      <a:pt x="202" y="417"/>
                    </a:lnTo>
                    <a:lnTo>
                      <a:pt x="202" y="415"/>
                    </a:lnTo>
                    <a:lnTo>
                      <a:pt x="200" y="415"/>
                    </a:lnTo>
                    <a:lnTo>
                      <a:pt x="200" y="413"/>
                    </a:lnTo>
                    <a:lnTo>
                      <a:pt x="200" y="411"/>
                    </a:lnTo>
                    <a:lnTo>
                      <a:pt x="200" y="407"/>
                    </a:lnTo>
                    <a:lnTo>
                      <a:pt x="200" y="405"/>
                    </a:lnTo>
                    <a:lnTo>
                      <a:pt x="200" y="403"/>
                    </a:lnTo>
                    <a:lnTo>
                      <a:pt x="198" y="401"/>
                    </a:lnTo>
                    <a:lnTo>
                      <a:pt x="196" y="399"/>
                    </a:lnTo>
                    <a:lnTo>
                      <a:pt x="196" y="397"/>
                    </a:lnTo>
                    <a:lnTo>
                      <a:pt x="194" y="396"/>
                    </a:lnTo>
                    <a:lnTo>
                      <a:pt x="194" y="394"/>
                    </a:lnTo>
                    <a:lnTo>
                      <a:pt x="192" y="394"/>
                    </a:lnTo>
                    <a:lnTo>
                      <a:pt x="192" y="392"/>
                    </a:lnTo>
                    <a:lnTo>
                      <a:pt x="192" y="390"/>
                    </a:lnTo>
                    <a:lnTo>
                      <a:pt x="190" y="390"/>
                    </a:lnTo>
                    <a:lnTo>
                      <a:pt x="190" y="388"/>
                    </a:lnTo>
                    <a:lnTo>
                      <a:pt x="188" y="388"/>
                    </a:lnTo>
                    <a:lnTo>
                      <a:pt x="188" y="386"/>
                    </a:lnTo>
                    <a:lnTo>
                      <a:pt x="188" y="384"/>
                    </a:lnTo>
                    <a:lnTo>
                      <a:pt x="187" y="382"/>
                    </a:lnTo>
                    <a:lnTo>
                      <a:pt x="185" y="380"/>
                    </a:lnTo>
                    <a:lnTo>
                      <a:pt x="183" y="378"/>
                    </a:lnTo>
                    <a:lnTo>
                      <a:pt x="183" y="380"/>
                    </a:lnTo>
                    <a:lnTo>
                      <a:pt x="185" y="380"/>
                    </a:lnTo>
                    <a:lnTo>
                      <a:pt x="183" y="378"/>
                    </a:lnTo>
                    <a:lnTo>
                      <a:pt x="181" y="376"/>
                    </a:lnTo>
                    <a:lnTo>
                      <a:pt x="181" y="374"/>
                    </a:lnTo>
                    <a:lnTo>
                      <a:pt x="181" y="372"/>
                    </a:lnTo>
                    <a:lnTo>
                      <a:pt x="181" y="374"/>
                    </a:lnTo>
                    <a:lnTo>
                      <a:pt x="179" y="372"/>
                    </a:lnTo>
                    <a:lnTo>
                      <a:pt x="181" y="374"/>
                    </a:lnTo>
                    <a:lnTo>
                      <a:pt x="179" y="374"/>
                    </a:lnTo>
                    <a:lnTo>
                      <a:pt x="179" y="372"/>
                    </a:lnTo>
                    <a:lnTo>
                      <a:pt x="177" y="372"/>
                    </a:lnTo>
                    <a:lnTo>
                      <a:pt x="177" y="371"/>
                    </a:lnTo>
                    <a:lnTo>
                      <a:pt x="177" y="372"/>
                    </a:lnTo>
                    <a:lnTo>
                      <a:pt x="177" y="371"/>
                    </a:lnTo>
                    <a:lnTo>
                      <a:pt x="177" y="372"/>
                    </a:lnTo>
                    <a:lnTo>
                      <a:pt x="177" y="374"/>
                    </a:lnTo>
                    <a:lnTo>
                      <a:pt x="179" y="374"/>
                    </a:lnTo>
                    <a:lnTo>
                      <a:pt x="181" y="376"/>
                    </a:lnTo>
                    <a:lnTo>
                      <a:pt x="183" y="378"/>
                    </a:lnTo>
                    <a:lnTo>
                      <a:pt x="181" y="378"/>
                    </a:lnTo>
                    <a:lnTo>
                      <a:pt x="181" y="376"/>
                    </a:lnTo>
                    <a:lnTo>
                      <a:pt x="179" y="376"/>
                    </a:lnTo>
                    <a:lnTo>
                      <a:pt x="175" y="374"/>
                    </a:lnTo>
                    <a:lnTo>
                      <a:pt x="173" y="372"/>
                    </a:lnTo>
                    <a:lnTo>
                      <a:pt x="171" y="371"/>
                    </a:lnTo>
                    <a:lnTo>
                      <a:pt x="169" y="369"/>
                    </a:lnTo>
                    <a:lnTo>
                      <a:pt x="167" y="367"/>
                    </a:lnTo>
                    <a:lnTo>
                      <a:pt x="165" y="367"/>
                    </a:lnTo>
                    <a:lnTo>
                      <a:pt x="165" y="365"/>
                    </a:lnTo>
                    <a:lnTo>
                      <a:pt x="165" y="363"/>
                    </a:lnTo>
                    <a:lnTo>
                      <a:pt x="164" y="363"/>
                    </a:lnTo>
                    <a:lnTo>
                      <a:pt x="164" y="361"/>
                    </a:lnTo>
                    <a:lnTo>
                      <a:pt x="162" y="361"/>
                    </a:lnTo>
                    <a:lnTo>
                      <a:pt x="162" y="359"/>
                    </a:lnTo>
                    <a:lnTo>
                      <a:pt x="162" y="357"/>
                    </a:lnTo>
                    <a:lnTo>
                      <a:pt x="164" y="357"/>
                    </a:lnTo>
                    <a:lnTo>
                      <a:pt x="164" y="355"/>
                    </a:lnTo>
                    <a:lnTo>
                      <a:pt x="162" y="355"/>
                    </a:lnTo>
                    <a:lnTo>
                      <a:pt x="164" y="355"/>
                    </a:lnTo>
                    <a:lnTo>
                      <a:pt x="164" y="353"/>
                    </a:lnTo>
                    <a:lnTo>
                      <a:pt x="164" y="351"/>
                    </a:lnTo>
                    <a:lnTo>
                      <a:pt x="162" y="351"/>
                    </a:lnTo>
                    <a:lnTo>
                      <a:pt x="162" y="349"/>
                    </a:lnTo>
                    <a:lnTo>
                      <a:pt x="162" y="347"/>
                    </a:lnTo>
                    <a:lnTo>
                      <a:pt x="162" y="346"/>
                    </a:lnTo>
                    <a:lnTo>
                      <a:pt x="162" y="344"/>
                    </a:lnTo>
                    <a:lnTo>
                      <a:pt x="160" y="342"/>
                    </a:lnTo>
                    <a:lnTo>
                      <a:pt x="160" y="340"/>
                    </a:lnTo>
                    <a:lnTo>
                      <a:pt x="160" y="338"/>
                    </a:lnTo>
                    <a:lnTo>
                      <a:pt x="158" y="336"/>
                    </a:lnTo>
                    <a:lnTo>
                      <a:pt x="158" y="334"/>
                    </a:lnTo>
                    <a:lnTo>
                      <a:pt x="156" y="334"/>
                    </a:lnTo>
                    <a:lnTo>
                      <a:pt x="158" y="334"/>
                    </a:lnTo>
                    <a:lnTo>
                      <a:pt x="160" y="334"/>
                    </a:lnTo>
                    <a:lnTo>
                      <a:pt x="158" y="334"/>
                    </a:lnTo>
                    <a:lnTo>
                      <a:pt x="158" y="332"/>
                    </a:lnTo>
                    <a:lnTo>
                      <a:pt x="156" y="330"/>
                    </a:lnTo>
                    <a:lnTo>
                      <a:pt x="156" y="328"/>
                    </a:lnTo>
                    <a:lnTo>
                      <a:pt x="154" y="326"/>
                    </a:lnTo>
                    <a:lnTo>
                      <a:pt x="154" y="324"/>
                    </a:lnTo>
                    <a:lnTo>
                      <a:pt x="152" y="322"/>
                    </a:lnTo>
                    <a:lnTo>
                      <a:pt x="152" y="321"/>
                    </a:lnTo>
                    <a:lnTo>
                      <a:pt x="150" y="319"/>
                    </a:lnTo>
                    <a:lnTo>
                      <a:pt x="150" y="317"/>
                    </a:lnTo>
                    <a:lnTo>
                      <a:pt x="150" y="315"/>
                    </a:lnTo>
                    <a:lnTo>
                      <a:pt x="150" y="313"/>
                    </a:lnTo>
                    <a:lnTo>
                      <a:pt x="150" y="311"/>
                    </a:lnTo>
                    <a:lnTo>
                      <a:pt x="148" y="311"/>
                    </a:lnTo>
                    <a:lnTo>
                      <a:pt x="148" y="309"/>
                    </a:lnTo>
                    <a:lnTo>
                      <a:pt x="148" y="307"/>
                    </a:lnTo>
                    <a:lnTo>
                      <a:pt x="146" y="305"/>
                    </a:lnTo>
                    <a:lnTo>
                      <a:pt x="146" y="303"/>
                    </a:lnTo>
                    <a:lnTo>
                      <a:pt x="144" y="303"/>
                    </a:lnTo>
                    <a:lnTo>
                      <a:pt x="144" y="301"/>
                    </a:lnTo>
                    <a:lnTo>
                      <a:pt x="144" y="299"/>
                    </a:lnTo>
                    <a:lnTo>
                      <a:pt x="144" y="298"/>
                    </a:lnTo>
                    <a:lnTo>
                      <a:pt x="142" y="298"/>
                    </a:lnTo>
                    <a:lnTo>
                      <a:pt x="144" y="298"/>
                    </a:lnTo>
                    <a:lnTo>
                      <a:pt x="142" y="298"/>
                    </a:lnTo>
                    <a:lnTo>
                      <a:pt x="142" y="296"/>
                    </a:lnTo>
                    <a:lnTo>
                      <a:pt x="142" y="294"/>
                    </a:lnTo>
                    <a:lnTo>
                      <a:pt x="140" y="294"/>
                    </a:lnTo>
                    <a:lnTo>
                      <a:pt x="140" y="292"/>
                    </a:lnTo>
                    <a:lnTo>
                      <a:pt x="140" y="290"/>
                    </a:lnTo>
                    <a:lnTo>
                      <a:pt x="139" y="290"/>
                    </a:lnTo>
                    <a:lnTo>
                      <a:pt x="137" y="288"/>
                    </a:lnTo>
                    <a:lnTo>
                      <a:pt x="137" y="286"/>
                    </a:lnTo>
                    <a:lnTo>
                      <a:pt x="137" y="284"/>
                    </a:lnTo>
                    <a:lnTo>
                      <a:pt x="135" y="284"/>
                    </a:lnTo>
                    <a:lnTo>
                      <a:pt x="135" y="282"/>
                    </a:lnTo>
                    <a:lnTo>
                      <a:pt x="135" y="280"/>
                    </a:lnTo>
                    <a:lnTo>
                      <a:pt x="133" y="280"/>
                    </a:lnTo>
                    <a:lnTo>
                      <a:pt x="133" y="278"/>
                    </a:lnTo>
                    <a:lnTo>
                      <a:pt x="133" y="276"/>
                    </a:lnTo>
                    <a:lnTo>
                      <a:pt x="131" y="274"/>
                    </a:lnTo>
                    <a:lnTo>
                      <a:pt x="131" y="273"/>
                    </a:lnTo>
                    <a:lnTo>
                      <a:pt x="129" y="271"/>
                    </a:lnTo>
                    <a:lnTo>
                      <a:pt x="129" y="269"/>
                    </a:lnTo>
                    <a:lnTo>
                      <a:pt x="127" y="267"/>
                    </a:lnTo>
                    <a:lnTo>
                      <a:pt x="127" y="265"/>
                    </a:lnTo>
                    <a:lnTo>
                      <a:pt x="125" y="265"/>
                    </a:lnTo>
                    <a:lnTo>
                      <a:pt x="125" y="263"/>
                    </a:lnTo>
                    <a:lnTo>
                      <a:pt x="123" y="263"/>
                    </a:lnTo>
                    <a:lnTo>
                      <a:pt x="123" y="261"/>
                    </a:lnTo>
                    <a:lnTo>
                      <a:pt x="123" y="259"/>
                    </a:lnTo>
                    <a:lnTo>
                      <a:pt x="121" y="257"/>
                    </a:lnTo>
                    <a:lnTo>
                      <a:pt x="121" y="255"/>
                    </a:lnTo>
                    <a:lnTo>
                      <a:pt x="119" y="255"/>
                    </a:lnTo>
                    <a:lnTo>
                      <a:pt x="117" y="253"/>
                    </a:lnTo>
                    <a:lnTo>
                      <a:pt x="115" y="251"/>
                    </a:lnTo>
                    <a:lnTo>
                      <a:pt x="115" y="249"/>
                    </a:lnTo>
                    <a:lnTo>
                      <a:pt x="114" y="249"/>
                    </a:lnTo>
                    <a:lnTo>
                      <a:pt x="112" y="248"/>
                    </a:lnTo>
                    <a:lnTo>
                      <a:pt x="112" y="246"/>
                    </a:lnTo>
                    <a:lnTo>
                      <a:pt x="112" y="244"/>
                    </a:lnTo>
                    <a:lnTo>
                      <a:pt x="110" y="242"/>
                    </a:lnTo>
                    <a:lnTo>
                      <a:pt x="110" y="240"/>
                    </a:lnTo>
                    <a:lnTo>
                      <a:pt x="108" y="238"/>
                    </a:lnTo>
                    <a:lnTo>
                      <a:pt x="108" y="236"/>
                    </a:lnTo>
                    <a:lnTo>
                      <a:pt x="108" y="234"/>
                    </a:lnTo>
                    <a:lnTo>
                      <a:pt x="106" y="232"/>
                    </a:lnTo>
                    <a:lnTo>
                      <a:pt x="106" y="230"/>
                    </a:lnTo>
                    <a:lnTo>
                      <a:pt x="106" y="228"/>
                    </a:lnTo>
                    <a:lnTo>
                      <a:pt x="104" y="226"/>
                    </a:lnTo>
                    <a:lnTo>
                      <a:pt x="104" y="224"/>
                    </a:lnTo>
                    <a:lnTo>
                      <a:pt x="104" y="221"/>
                    </a:lnTo>
                    <a:lnTo>
                      <a:pt x="104" y="219"/>
                    </a:lnTo>
                    <a:lnTo>
                      <a:pt x="104" y="217"/>
                    </a:lnTo>
                    <a:lnTo>
                      <a:pt x="104" y="215"/>
                    </a:lnTo>
                    <a:lnTo>
                      <a:pt x="104" y="213"/>
                    </a:lnTo>
                    <a:lnTo>
                      <a:pt x="102" y="213"/>
                    </a:lnTo>
                    <a:lnTo>
                      <a:pt x="102" y="211"/>
                    </a:lnTo>
                    <a:lnTo>
                      <a:pt x="102" y="209"/>
                    </a:lnTo>
                    <a:lnTo>
                      <a:pt x="100" y="209"/>
                    </a:lnTo>
                    <a:lnTo>
                      <a:pt x="100" y="207"/>
                    </a:lnTo>
                    <a:lnTo>
                      <a:pt x="98" y="205"/>
                    </a:lnTo>
                    <a:lnTo>
                      <a:pt x="96" y="205"/>
                    </a:lnTo>
                    <a:lnTo>
                      <a:pt x="96" y="203"/>
                    </a:lnTo>
                    <a:lnTo>
                      <a:pt x="94" y="203"/>
                    </a:lnTo>
                    <a:lnTo>
                      <a:pt x="94" y="201"/>
                    </a:lnTo>
                    <a:lnTo>
                      <a:pt x="92" y="201"/>
                    </a:lnTo>
                    <a:lnTo>
                      <a:pt x="92" y="199"/>
                    </a:lnTo>
                    <a:lnTo>
                      <a:pt x="92" y="198"/>
                    </a:lnTo>
                    <a:lnTo>
                      <a:pt x="90" y="198"/>
                    </a:lnTo>
                    <a:lnTo>
                      <a:pt x="89" y="196"/>
                    </a:lnTo>
                    <a:lnTo>
                      <a:pt x="87" y="196"/>
                    </a:lnTo>
                    <a:lnTo>
                      <a:pt x="87" y="194"/>
                    </a:lnTo>
                    <a:lnTo>
                      <a:pt x="85" y="194"/>
                    </a:lnTo>
                    <a:lnTo>
                      <a:pt x="85" y="192"/>
                    </a:lnTo>
                    <a:lnTo>
                      <a:pt x="85" y="190"/>
                    </a:lnTo>
                    <a:lnTo>
                      <a:pt x="83" y="190"/>
                    </a:lnTo>
                    <a:lnTo>
                      <a:pt x="81" y="190"/>
                    </a:lnTo>
                    <a:lnTo>
                      <a:pt x="79" y="188"/>
                    </a:lnTo>
                    <a:lnTo>
                      <a:pt x="77" y="188"/>
                    </a:lnTo>
                    <a:lnTo>
                      <a:pt x="75" y="186"/>
                    </a:lnTo>
                    <a:lnTo>
                      <a:pt x="75" y="184"/>
                    </a:lnTo>
                    <a:lnTo>
                      <a:pt x="75" y="182"/>
                    </a:lnTo>
                    <a:lnTo>
                      <a:pt x="75" y="184"/>
                    </a:lnTo>
                    <a:lnTo>
                      <a:pt x="73" y="184"/>
                    </a:lnTo>
                    <a:lnTo>
                      <a:pt x="75" y="184"/>
                    </a:lnTo>
                    <a:lnTo>
                      <a:pt x="75" y="186"/>
                    </a:lnTo>
                    <a:lnTo>
                      <a:pt x="73" y="186"/>
                    </a:lnTo>
                    <a:lnTo>
                      <a:pt x="71" y="184"/>
                    </a:lnTo>
                    <a:lnTo>
                      <a:pt x="69" y="182"/>
                    </a:lnTo>
                    <a:lnTo>
                      <a:pt x="67" y="182"/>
                    </a:lnTo>
                    <a:lnTo>
                      <a:pt x="66" y="182"/>
                    </a:lnTo>
                    <a:lnTo>
                      <a:pt x="64" y="180"/>
                    </a:lnTo>
                    <a:lnTo>
                      <a:pt x="62" y="180"/>
                    </a:lnTo>
                    <a:lnTo>
                      <a:pt x="64" y="180"/>
                    </a:lnTo>
                    <a:lnTo>
                      <a:pt x="66" y="180"/>
                    </a:lnTo>
                    <a:lnTo>
                      <a:pt x="67" y="180"/>
                    </a:lnTo>
                    <a:lnTo>
                      <a:pt x="67" y="178"/>
                    </a:lnTo>
                    <a:lnTo>
                      <a:pt x="69" y="178"/>
                    </a:lnTo>
                    <a:lnTo>
                      <a:pt x="69" y="180"/>
                    </a:lnTo>
                    <a:lnTo>
                      <a:pt x="69" y="178"/>
                    </a:lnTo>
                    <a:lnTo>
                      <a:pt x="67" y="178"/>
                    </a:lnTo>
                    <a:lnTo>
                      <a:pt x="67" y="176"/>
                    </a:lnTo>
                    <a:lnTo>
                      <a:pt x="66" y="174"/>
                    </a:lnTo>
                    <a:lnTo>
                      <a:pt x="64" y="174"/>
                    </a:lnTo>
                    <a:lnTo>
                      <a:pt x="64" y="173"/>
                    </a:lnTo>
                    <a:lnTo>
                      <a:pt x="62" y="173"/>
                    </a:lnTo>
                    <a:lnTo>
                      <a:pt x="60" y="173"/>
                    </a:lnTo>
                    <a:lnTo>
                      <a:pt x="58" y="173"/>
                    </a:lnTo>
                    <a:lnTo>
                      <a:pt x="56" y="173"/>
                    </a:lnTo>
                    <a:lnTo>
                      <a:pt x="58" y="171"/>
                    </a:lnTo>
                    <a:lnTo>
                      <a:pt x="56" y="169"/>
                    </a:lnTo>
                    <a:lnTo>
                      <a:pt x="58" y="169"/>
                    </a:lnTo>
                    <a:lnTo>
                      <a:pt x="56" y="169"/>
                    </a:lnTo>
                    <a:lnTo>
                      <a:pt x="56" y="167"/>
                    </a:lnTo>
                    <a:lnTo>
                      <a:pt x="56" y="165"/>
                    </a:lnTo>
                    <a:lnTo>
                      <a:pt x="54" y="165"/>
                    </a:lnTo>
                    <a:lnTo>
                      <a:pt x="52" y="163"/>
                    </a:lnTo>
                    <a:lnTo>
                      <a:pt x="52" y="161"/>
                    </a:lnTo>
                    <a:lnTo>
                      <a:pt x="50" y="161"/>
                    </a:lnTo>
                    <a:lnTo>
                      <a:pt x="50" y="159"/>
                    </a:lnTo>
                    <a:lnTo>
                      <a:pt x="50" y="157"/>
                    </a:lnTo>
                    <a:lnTo>
                      <a:pt x="50" y="155"/>
                    </a:lnTo>
                    <a:lnTo>
                      <a:pt x="50" y="153"/>
                    </a:lnTo>
                    <a:lnTo>
                      <a:pt x="48" y="153"/>
                    </a:lnTo>
                    <a:lnTo>
                      <a:pt x="48" y="151"/>
                    </a:lnTo>
                    <a:lnTo>
                      <a:pt x="46" y="151"/>
                    </a:lnTo>
                    <a:lnTo>
                      <a:pt x="46" y="149"/>
                    </a:lnTo>
                    <a:lnTo>
                      <a:pt x="46" y="148"/>
                    </a:lnTo>
                    <a:lnTo>
                      <a:pt x="44" y="148"/>
                    </a:lnTo>
                    <a:lnTo>
                      <a:pt x="44" y="146"/>
                    </a:lnTo>
                    <a:lnTo>
                      <a:pt x="42" y="146"/>
                    </a:lnTo>
                    <a:lnTo>
                      <a:pt x="42" y="144"/>
                    </a:lnTo>
                    <a:lnTo>
                      <a:pt x="42" y="142"/>
                    </a:lnTo>
                    <a:lnTo>
                      <a:pt x="41" y="140"/>
                    </a:lnTo>
                    <a:lnTo>
                      <a:pt x="42" y="140"/>
                    </a:lnTo>
                    <a:lnTo>
                      <a:pt x="42" y="138"/>
                    </a:lnTo>
                    <a:lnTo>
                      <a:pt x="42" y="136"/>
                    </a:lnTo>
                    <a:lnTo>
                      <a:pt x="42" y="134"/>
                    </a:lnTo>
                    <a:lnTo>
                      <a:pt x="42" y="132"/>
                    </a:lnTo>
                    <a:lnTo>
                      <a:pt x="42" y="130"/>
                    </a:lnTo>
                    <a:lnTo>
                      <a:pt x="42" y="128"/>
                    </a:lnTo>
                    <a:lnTo>
                      <a:pt x="42" y="126"/>
                    </a:lnTo>
                    <a:lnTo>
                      <a:pt x="41" y="126"/>
                    </a:lnTo>
                    <a:lnTo>
                      <a:pt x="41" y="124"/>
                    </a:lnTo>
                    <a:lnTo>
                      <a:pt x="39" y="124"/>
                    </a:lnTo>
                    <a:lnTo>
                      <a:pt x="39" y="123"/>
                    </a:lnTo>
                    <a:lnTo>
                      <a:pt x="39" y="121"/>
                    </a:lnTo>
                    <a:lnTo>
                      <a:pt x="39" y="119"/>
                    </a:lnTo>
                    <a:lnTo>
                      <a:pt x="37" y="119"/>
                    </a:lnTo>
                    <a:lnTo>
                      <a:pt x="37" y="117"/>
                    </a:lnTo>
                    <a:lnTo>
                      <a:pt x="35" y="115"/>
                    </a:lnTo>
                    <a:lnTo>
                      <a:pt x="35" y="113"/>
                    </a:lnTo>
                    <a:lnTo>
                      <a:pt x="35" y="111"/>
                    </a:lnTo>
                    <a:lnTo>
                      <a:pt x="33" y="109"/>
                    </a:lnTo>
                    <a:lnTo>
                      <a:pt x="33" y="107"/>
                    </a:lnTo>
                    <a:lnTo>
                      <a:pt x="33" y="105"/>
                    </a:lnTo>
                    <a:lnTo>
                      <a:pt x="33" y="103"/>
                    </a:lnTo>
                    <a:lnTo>
                      <a:pt x="31" y="103"/>
                    </a:lnTo>
                    <a:lnTo>
                      <a:pt x="31" y="101"/>
                    </a:lnTo>
                    <a:lnTo>
                      <a:pt x="31" y="99"/>
                    </a:lnTo>
                    <a:lnTo>
                      <a:pt x="29" y="98"/>
                    </a:lnTo>
                    <a:lnTo>
                      <a:pt x="29" y="96"/>
                    </a:lnTo>
                    <a:lnTo>
                      <a:pt x="27" y="94"/>
                    </a:lnTo>
                    <a:lnTo>
                      <a:pt x="25" y="94"/>
                    </a:lnTo>
                    <a:lnTo>
                      <a:pt x="25" y="92"/>
                    </a:lnTo>
                    <a:lnTo>
                      <a:pt x="23" y="92"/>
                    </a:lnTo>
                    <a:lnTo>
                      <a:pt x="23" y="90"/>
                    </a:lnTo>
                    <a:lnTo>
                      <a:pt x="21" y="90"/>
                    </a:lnTo>
                    <a:lnTo>
                      <a:pt x="21" y="88"/>
                    </a:lnTo>
                    <a:lnTo>
                      <a:pt x="19" y="86"/>
                    </a:lnTo>
                    <a:lnTo>
                      <a:pt x="17" y="86"/>
                    </a:lnTo>
                    <a:lnTo>
                      <a:pt x="17" y="84"/>
                    </a:lnTo>
                    <a:lnTo>
                      <a:pt x="17" y="82"/>
                    </a:lnTo>
                    <a:lnTo>
                      <a:pt x="16" y="82"/>
                    </a:lnTo>
                    <a:lnTo>
                      <a:pt x="17" y="82"/>
                    </a:lnTo>
                    <a:lnTo>
                      <a:pt x="16" y="80"/>
                    </a:lnTo>
                    <a:lnTo>
                      <a:pt x="14" y="80"/>
                    </a:lnTo>
                    <a:lnTo>
                      <a:pt x="14" y="78"/>
                    </a:lnTo>
                    <a:lnTo>
                      <a:pt x="16" y="74"/>
                    </a:lnTo>
                    <a:lnTo>
                      <a:pt x="16" y="73"/>
                    </a:lnTo>
                    <a:lnTo>
                      <a:pt x="17" y="71"/>
                    </a:lnTo>
                    <a:lnTo>
                      <a:pt x="17" y="69"/>
                    </a:lnTo>
                    <a:lnTo>
                      <a:pt x="19" y="67"/>
                    </a:lnTo>
                    <a:lnTo>
                      <a:pt x="21" y="63"/>
                    </a:lnTo>
                    <a:lnTo>
                      <a:pt x="23" y="61"/>
                    </a:lnTo>
                    <a:lnTo>
                      <a:pt x="25" y="61"/>
                    </a:lnTo>
                    <a:lnTo>
                      <a:pt x="23" y="61"/>
                    </a:lnTo>
                    <a:lnTo>
                      <a:pt x="23" y="63"/>
                    </a:lnTo>
                    <a:lnTo>
                      <a:pt x="25" y="63"/>
                    </a:lnTo>
                    <a:lnTo>
                      <a:pt x="25" y="65"/>
                    </a:lnTo>
                    <a:lnTo>
                      <a:pt x="27" y="67"/>
                    </a:lnTo>
                    <a:lnTo>
                      <a:pt x="27" y="69"/>
                    </a:lnTo>
                    <a:lnTo>
                      <a:pt x="27" y="71"/>
                    </a:lnTo>
                    <a:lnTo>
                      <a:pt x="29" y="71"/>
                    </a:lnTo>
                    <a:lnTo>
                      <a:pt x="31" y="71"/>
                    </a:lnTo>
                    <a:lnTo>
                      <a:pt x="31" y="69"/>
                    </a:lnTo>
                    <a:lnTo>
                      <a:pt x="33" y="69"/>
                    </a:lnTo>
                    <a:lnTo>
                      <a:pt x="35" y="69"/>
                    </a:lnTo>
                    <a:lnTo>
                      <a:pt x="35" y="67"/>
                    </a:lnTo>
                    <a:lnTo>
                      <a:pt x="35" y="65"/>
                    </a:lnTo>
                    <a:lnTo>
                      <a:pt x="35" y="63"/>
                    </a:lnTo>
                    <a:lnTo>
                      <a:pt x="35" y="61"/>
                    </a:lnTo>
                    <a:lnTo>
                      <a:pt x="35" y="59"/>
                    </a:lnTo>
                    <a:lnTo>
                      <a:pt x="35" y="57"/>
                    </a:lnTo>
                    <a:lnTo>
                      <a:pt x="35" y="55"/>
                    </a:lnTo>
                    <a:lnTo>
                      <a:pt x="37" y="55"/>
                    </a:lnTo>
                    <a:lnTo>
                      <a:pt x="37" y="57"/>
                    </a:lnTo>
                    <a:lnTo>
                      <a:pt x="37" y="55"/>
                    </a:lnTo>
                    <a:lnTo>
                      <a:pt x="37" y="53"/>
                    </a:lnTo>
                    <a:lnTo>
                      <a:pt x="35" y="53"/>
                    </a:lnTo>
                    <a:lnTo>
                      <a:pt x="35" y="55"/>
                    </a:lnTo>
                    <a:lnTo>
                      <a:pt x="35" y="53"/>
                    </a:lnTo>
                    <a:lnTo>
                      <a:pt x="33" y="53"/>
                    </a:lnTo>
                    <a:lnTo>
                      <a:pt x="31" y="53"/>
                    </a:lnTo>
                    <a:lnTo>
                      <a:pt x="31" y="51"/>
                    </a:lnTo>
                    <a:lnTo>
                      <a:pt x="31" y="53"/>
                    </a:lnTo>
                    <a:lnTo>
                      <a:pt x="31" y="55"/>
                    </a:lnTo>
                    <a:lnTo>
                      <a:pt x="31" y="57"/>
                    </a:lnTo>
                    <a:lnTo>
                      <a:pt x="31" y="55"/>
                    </a:lnTo>
                    <a:lnTo>
                      <a:pt x="29" y="53"/>
                    </a:lnTo>
                    <a:lnTo>
                      <a:pt x="29" y="51"/>
                    </a:lnTo>
                    <a:lnTo>
                      <a:pt x="27" y="51"/>
                    </a:lnTo>
                    <a:lnTo>
                      <a:pt x="27" y="50"/>
                    </a:lnTo>
                    <a:lnTo>
                      <a:pt x="27" y="48"/>
                    </a:lnTo>
                    <a:lnTo>
                      <a:pt x="29" y="48"/>
                    </a:lnTo>
                    <a:lnTo>
                      <a:pt x="31" y="46"/>
                    </a:lnTo>
                    <a:lnTo>
                      <a:pt x="31" y="48"/>
                    </a:lnTo>
                    <a:lnTo>
                      <a:pt x="33" y="48"/>
                    </a:lnTo>
                    <a:lnTo>
                      <a:pt x="33" y="50"/>
                    </a:lnTo>
                    <a:lnTo>
                      <a:pt x="35" y="50"/>
                    </a:lnTo>
                    <a:lnTo>
                      <a:pt x="35" y="48"/>
                    </a:lnTo>
                    <a:lnTo>
                      <a:pt x="35" y="46"/>
                    </a:lnTo>
                    <a:lnTo>
                      <a:pt x="35" y="44"/>
                    </a:lnTo>
                    <a:lnTo>
                      <a:pt x="35" y="42"/>
                    </a:lnTo>
                    <a:lnTo>
                      <a:pt x="35" y="40"/>
                    </a:lnTo>
                    <a:lnTo>
                      <a:pt x="33" y="40"/>
                    </a:lnTo>
                    <a:lnTo>
                      <a:pt x="33" y="38"/>
                    </a:lnTo>
                    <a:lnTo>
                      <a:pt x="31" y="38"/>
                    </a:lnTo>
                    <a:lnTo>
                      <a:pt x="31" y="36"/>
                    </a:lnTo>
                    <a:lnTo>
                      <a:pt x="29" y="36"/>
                    </a:lnTo>
                    <a:lnTo>
                      <a:pt x="27" y="36"/>
                    </a:lnTo>
                    <a:lnTo>
                      <a:pt x="27" y="34"/>
                    </a:lnTo>
                    <a:lnTo>
                      <a:pt x="27" y="36"/>
                    </a:lnTo>
                    <a:lnTo>
                      <a:pt x="29" y="36"/>
                    </a:lnTo>
                    <a:lnTo>
                      <a:pt x="29" y="38"/>
                    </a:lnTo>
                    <a:lnTo>
                      <a:pt x="29" y="40"/>
                    </a:lnTo>
                    <a:lnTo>
                      <a:pt x="29" y="42"/>
                    </a:lnTo>
                    <a:lnTo>
                      <a:pt x="31" y="42"/>
                    </a:lnTo>
                    <a:lnTo>
                      <a:pt x="31" y="44"/>
                    </a:lnTo>
                    <a:lnTo>
                      <a:pt x="29" y="44"/>
                    </a:lnTo>
                    <a:lnTo>
                      <a:pt x="29" y="46"/>
                    </a:lnTo>
                    <a:lnTo>
                      <a:pt x="29" y="44"/>
                    </a:lnTo>
                    <a:lnTo>
                      <a:pt x="27" y="40"/>
                    </a:lnTo>
                    <a:lnTo>
                      <a:pt x="27" y="38"/>
                    </a:lnTo>
                    <a:lnTo>
                      <a:pt x="27" y="36"/>
                    </a:lnTo>
                    <a:lnTo>
                      <a:pt x="27" y="34"/>
                    </a:lnTo>
                    <a:lnTo>
                      <a:pt x="25" y="32"/>
                    </a:lnTo>
                    <a:lnTo>
                      <a:pt x="25" y="30"/>
                    </a:lnTo>
                    <a:lnTo>
                      <a:pt x="23" y="28"/>
                    </a:lnTo>
                    <a:lnTo>
                      <a:pt x="21" y="28"/>
                    </a:lnTo>
                    <a:lnTo>
                      <a:pt x="21" y="26"/>
                    </a:lnTo>
                    <a:lnTo>
                      <a:pt x="19" y="26"/>
                    </a:lnTo>
                    <a:lnTo>
                      <a:pt x="17" y="26"/>
                    </a:lnTo>
                    <a:lnTo>
                      <a:pt x="17" y="25"/>
                    </a:lnTo>
                    <a:lnTo>
                      <a:pt x="16" y="25"/>
                    </a:lnTo>
                    <a:lnTo>
                      <a:pt x="14" y="25"/>
                    </a:lnTo>
                    <a:lnTo>
                      <a:pt x="14" y="23"/>
                    </a:lnTo>
                    <a:lnTo>
                      <a:pt x="12" y="23"/>
                    </a:lnTo>
                    <a:lnTo>
                      <a:pt x="10" y="21"/>
                    </a:lnTo>
                    <a:lnTo>
                      <a:pt x="8" y="19"/>
                    </a:lnTo>
                    <a:lnTo>
                      <a:pt x="6" y="17"/>
                    </a:lnTo>
                    <a:lnTo>
                      <a:pt x="4" y="17"/>
                    </a:lnTo>
                    <a:lnTo>
                      <a:pt x="2" y="15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2" y="13"/>
                    </a:lnTo>
                    <a:lnTo>
                      <a:pt x="2" y="15"/>
                    </a:lnTo>
                    <a:lnTo>
                      <a:pt x="2" y="13"/>
                    </a:lnTo>
                    <a:lnTo>
                      <a:pt x="4" y="13"/>
                    </a:lnTo>
                    <a:lnTo>
                      <a:pt x="6" y="13"/>
                    </a:lnTo>
                    <a:lnTo>
                      <a:pt x="6" y="11"/>
                    </a:lnTo>
                    <a:lnTo>
                      <a:pt x="8" y="11"/>
                    </a:lnTo>
                    <a:lnTo>
                      <a:pt x="8" y="9"/>
                    </a:lnTo>
                    <a:lnTo>
                      <a:pt x="10" y="9"/>
                    </a:lnTo>
                    <a:lnTo>
                      <a:pt x="10" y="7"/>
                    </a:lnTo>
                    <a:lnTo>
                      <a:pt x="10" y="9"/>
                    </a:lnTo>
                    <a:lnTo>
                      <a:pt x="10" y="11"/>
                    </a:lnTo>
                    <a:lnTo>
                      <a:pt x="8" y="9"/>
                    </a:lnTo>
                    <a:lnTo>
                      <a:pt x="8" y="11"/>
                    </a:lnTo>
                    <a:lnTo>
                      <a:pt x="6" y="11"/>
                    </a:lnTo>
                    <a:lnTo>
                      <a:pt x="8" y="11"/>
                    </a:lnTo>
                    <a:lnTo>
                      <a:pt x="8" y="13"/>
                    </a:lnTo>
                    <a:lnTo>
                      <a:pt x="10" y="13"/>
                    </a:lnTo>
                    <a:lnTo>
                      <a:pt x="10" y="15"/>
                    </a:lnTo>
                    <a:lnTo>
                      <a:pt x="10" y="13"/>
                    </a:lnTo>
                    <a:lnTo>
                      <a:pt x="12" y="13"/>
                    </a:lnTo>
                    <a:lnTo>
                      <a:pt x="10" y="13"/>
                    </a:lnTo>
                    <a:lnTo>
                      <a:pt x="10" y="11"/>
                    </a:lnTo>
                    <a:lnTo>
                      <a:pt x="8" y="11"/>
                    </a:lnTo>
                    <a:lnTo>
                      <a:pt x="10" y="11"/>
                    </a:lnTo>
                    <a:lnTo>
                      <a:pt x="12" y="13"/>
                    </a:lnTo>
                    <a:lnTo>
                      <a:pt x="12" y="11"/>
                    </a:lnTo>
                    <a:lnTo>
                      <a:pt x="12" y="9"/>
                    </a:lnTo>
                    <a:lnTo>
                      <a:pt x="10" y="9"/>
                    </a:lnTo>
                    <a:lnTo>
                      <a:pt x="12" y="9"/>
                    </a:lnTo>
                    <a:lnTo>
                      <a:pt x="10" y="9"/>
                    </a:lnTo>
                    <a:lnTo>
                      <a:pt x="10" y="7"/>
                    </a:lnTo>
                    <a:lnTo>
                      <a:pt x="10" y="5"/>
                    </a:lnTo>
                    <a:lnTo>
                      <a:pt x="10" y="3"/>
                    </a:lnTo>
                    <a:lnTo>
                      <a:pt x="8" y="1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1"/>
                    </a:lnTo>
                    <a:lnTo>
                      <a:pt x="12" y="1"/>
                    </a:lnTo>
                    <a:lnTo>
                      <a:pt x="14" y="3"/>
                    </a:lnTo>
                    <a:lnTo>
                      <a:pt x="16" y="5"/>
                    </a:lnTo>
                    <a:lnTo>
                      <a:pt x="16" y="7"/>
                    </a:lnTo>
                    <a:lnTo>
                      <a:pt x="17" y="7"/>
                    </a:lnTo>
                    <a:lnTo>
                      <a:pt x="19" y="7"/>
                    </a:lnTo>
                    <a:lnTo>
                      <a:pt x="19" y="9"/>
                    </a:lnTo>
                    <a:lnTo>
                      <a:pt x="21" y="9"/>
                    </a:lnTo>
                    <a:lnTo>
                      <a:pt x="23" y="11"/>
                    </a:lnTo>
                    <a:lnTo>
                      <a:pt x="25" y="11"/>
                    </a:lnTo>
                    <a:lnTo>
                      <a:pt x="25" y="13"/>
                    </a:lnTo>
                    <a:lnTo>
                      <a:pt x="27" y="13"/>
                    </a:lnTo>
                    <a:lnTo>
                      <a:pt x="27" y="15"/>
                    </a:lnTo>
                    <a:lnTo>
                      <a:pt x="29" y="15"/>
                    </a:lnTo>
                    <a:lnTo>
                      <a:pt x="29" y="17"/>
                    </a:lnTo>
                    <a:lnTo>
                      <a:pt x="29" y="19"/>
                    </a:lnTo>
                    <a:lnTo>
                      <a:pt x="29" y="21"/>
                    </a:lnTo>
                    <a:lnTo>
                      <a:pt x="29" y="23"/>
                    </a:lnTo>
                    <a:lnTo>
                      <a:pt x="29" y="25"/>
                    </a:lnTo>
                    <a:lnTo>
                      <a:pt x="29" y="26"/>
                    </a:lnTo>
                    <a:lnTo>
                      <a:pt x="31" y="26"/>
                    </a:lnTo>
                    <a:lnTo>
                      <a:pt x="31" y="28"/>
                    </a:lnTo>
                    <a:lnTo>
                      <a:pt x="33" y="30"/>
                    </a:lnTo>
                    <a:lnTo>
                      <a:pt x="31" y="30"/>
                    </a:lnTo>
                    <a:lnTo>
                      <a:pt x="31" y="28"/>
                    </a:lnTo>
                    <a:lnTo>
                      <a:pt x="31" y="30"/>
                    </a:lnTo>
                    <a:lnTo>
                      <a:pt x="29" y="30"/>
                    </a:lnTo>
                    <a:lnTo>
                      <a:pt x="31" y="32"/>
                    </a:lnTo>
                    <a:lnTo>
                      <a:pt x="33" y="30"/>
                    </a:lnTo>
                    <a:lnTo>
                      <a:pt x="33" y="32"/>
                    </a:lnTo>
                    <a:lnTo>
                      <a:pt x="35" y="34"/>
                    </a:lnTo>
                    <a:lnTo>
                      <a:pt x="33" y="34"/>
                    </a:lnTo>
                    <a:lnTo>
                      <a:pt x="35" y="34"/>
                    </a:lnTo>
                    <a:lnTo>
                      <a:pt x="33" y="34"/>
                    </a:lnTo>
                    <a:lnTo>
                      <a:pt x="33" y="36"/>
                    </a:lnTo>
                    <a:lnTo>
                      <a:pt x="35" y="36"/>
                    </a:lnTo>
                    <a:lnTo>
                      <a:pt x="35" y="38"/>
                    </a:lnTo>
                    <a:lnTo>
                      <a:pt x="37" y="36"/>
                    </a:lnTo>
                    <a:lnTo>
                      <a:pt x="37" y="34"/>
                    </a:lnTo>
                    <a:lnTo>
                      <a:pt x="35" y="34"/>
                    </a:lnTo>
                    <a:lnTo>
                      <a:pt x="37" y="34"/>
                    </a:lnTo>
                    <a:lnTo>
                      <a:pt x="37" y="36"/>
                    </a:lnTo>
                    <a:lnTo>
                      <a:pt x="39" y="38"/>
                    </a:lnTo>
                    <a:lnTo>
                      <a:pt x="41" y="40"/>
                    </a:lnTo>
                    <a:lnTo>
                      <a:pt x="41" y="42"/>
                    </a:lnTo>
                    <a:lnTo>
                      <a:pt x="41" y="44"/>
                    </a:lnTo>
                    <a:lnTo>
                      <a:pt x="42" y="44"/>
                    </a:lnTo>
                    <a:lnTo>
                      <a:pt x="42" y="42"/>
                    </a:lnTo>
                    <a:lnTo>
                      <a:pt x="41" y="40"/>
                    </a:lnTo>
                    <a:lnTo>
                      <a:pt x="42" y="42"/>
                    </a:lnTo>
                    <a:lnTo>
                      <a:pt x="44" y="44"/>
                    </a:lnTo>
                    <a:lnTo>
                      <a:pt x="42" y="44"/>
                    </a:lnTo>
                    <a:lnTo>
                      <a:pt x="42" y="46"/>
                    </a:lnTo>
                    <a:lnTo>
                      <a:pt x="44" y="44"/>
                    </a:lnTo>
                    <a:lnTo>
                      <a:pt x="46" y="46"/>
                    </a:lnTo>
                    <a:lnTo>
                      <a:pt x="48" y="46"/>
                    </a:lnTo>
                    <a:lnTo>
                      <a:pt x="46" y="46"/>
                    </a:lnTo>
                    <a:lnTo>
                      <a:pt x="44" y="46"/>
                    </a:lnTo>
                    <a:lnTo>
                      <a:pt x="46" y="46"/>
                    </a:lnTo>
                    <a:lnTo>
                      <a:pt x="46" y="48"/>
                    </a:lnTo>
                    <a:lnTo>
                      <a:pt x="44" y="48"/>
                    </a:lnTo>
                    <a:lnTo>
                      <a:pt x="46" y="48"/>
                    </a:lnTo>
                    <a:lnTo>
                      <a:pt x="46" y="50"/>
                    </a:lnTo>
                    <a:lnTo>
                      <a:pt x="48" y="50"/>
                    </a:lnTo>
                    <a:lnTo>
                      <a:pt x="48" y="48"/>
                    </a:lnTo>
                    <a:lnTo>
                      <a:pt x="50" y="50"/>
                    </a:lnTo>
                    <a:lnTo>
                      <a:pt x="52" y="51"/>
                    </a:lnTo>
                    <a:lnTo>
                      <a:pt x="54" y="51"/>
                    </a:lnTo>
                    <a:lnTo>
                      <a:pt x="54" y="53"/>
                    </a:lnTo>
                    <a:lnTo>
                      <a:pt x="54" y="55"/>
                    </a:lnTo>
                    <a:lnTo>
                      <a:pt x="54" y="57"/>
                    </a:lnTo>
                    <a:lnTo>
                      <a:pt x="56" y="57"/>
                    </a:lnTo>
                    <a:lnTo>
                      <a:pt x="56" y="55"/>
                    </a:lnTo>
                    <a:lnTo>
                      <a:pt x="54" y="55"/>
                    </a:lnTo>
                    <a:lnTo>
                      <a:pt x="54" y="53"/>
                    </a:lnTo>
                    <a:lnTo>
                      <a:pt x="56" y="53"/>
                    </a:lnTo>
                    <a:lnTo>
                      <a:pt x="56" y="55"/>
                    </a:lnTo>
                    <a:lnTo>
                      <a:pt x="58" y="57"/>
                    </a:lnTo>
                    <a:lnTo>
                      <a:pt x="60" y="57"/>
                    </a:lnTo>
                    <a:lnTo>
                      <a:pt x="60" y="59"/>
                    </a:lnTo>
                    <a:lnTo>
                      <a:pt x="62" y="59"/>
                    </a:lnTo>
                    <a:lnTo>
                      <a:pt x="62" y="61"/>
                    </a:lnTo>
                    <a:lnTo>
                      <a:pt x="64" y="63"/>
                    </a:lnTo>
                    <a:lnTo>
                      <a:pt x="66" y="65"/>
                    </a:lnTo>
                    <a:lnTo>
                      <a:pt x="66" y="67"/>
                    </a:lnTo>
                    <a:lnTo>
                      <a:pt x="67" y="67"/>
                    </a:lnTo>
                    <a:lnTo>
                      <a:pt x="67" y="69"/>
                    </a:lnTo>
                    <a:lnTo>
                      <a:pt x="69" y="71"/>
                    </a:lnTo>
                    <a:lnTo>
                      <a:pt x="69" y="73"/>
                    </a:lnTo>
                    <a:lnTo>
                      <a:pt x="71" y="74"/>
                    </a:lnTo>
                    <a:lnTo>
                      <a:pt x="73" y="76"/>
                    </a:lnTo>
                    <a:lnTo>
                      <a:pt x="73" y="78"/>
                    </a:lnTo>
                    <a:lnTo>
                      <a:pt x="75" y="80"/>
                    </a:lnTo>
                    <a:lnTo>
                      <a:pt x="77" y="80"/>
                    </a:lnTo>
                    <a:lnTo>
                      <a:pt x="77" y="82"/>
                    </a:lnTo>
                    <a:lnTo>
                      <a:pt x="77" y="84"/>
                    </a:lnTo>
                    <a:lnTo>
                      <a:pt x="79" y="86"/>
                    </a:lnTo>
                    <a:lnTo>
                      <a:pt x="79" y="84"/>
                    </a:lnTo>
                    <a:lnTo>
                      <a:pt x="77" y="84"/>
                    </a:lnTo>
                    <a:lnTo>
                      <a:pt x="77" y="82"/>
                    </a:lnTo>
                    <a:lnTo>
                      <a:pt x="75" y="82"/>
                    </a:lnTo>
                    <a:lnTo>
                      <a:pt x="75" y="80"/>
                    </a:lnTo>
                    <a:lnTo>
                      <a:pt x="75" y="78"/>
                    </a:lnTo>
                    <a:lnTo>
                      <a:pt x="73" y="78"/>
                    </a:lnTo>
                    <a:lnTo>
                      <a:pt x="73" y="76"/>
                    </a:lnTo>
                    <a:lnTo>
                      <a:pt x="71" y="76"/>
                    </a:lnTo>
                    <a:lnTo>
                      <a:pt x="71" y="74"/>
                    </a:lnTo>
                    <a:lnTo>
                      <a:pt x="69" y="74"/>
                    </a:lnTo>
                    <a:lnTo>
                      <a:pt x="69" y="73"/>
                    </a:lnTo>
                    <a:lnTo>
                      <a:pt x="69" y="71"/>
                    </a:lnTo>
                    <a:lnTo>
                      <a:pt x="69" y="73"/>
                    </a:lnTo>
                    <a:lnTo>
                      <a:pt x="67" y="71"/>
                    </a:lnTo>
                    <a:lnTo>
                      <a:pt x="67" y="69"/>
                    </a:lnTo>
                    <a:lnTo>
                      <a:pt x="66" y="69"/>
                    </a:lnTo>
                    <a:lnTo>
                      <a:pt x="66" y="67"/>
                    </a:lnTo>
                    <a:lnTo>
                      <a:pt x="64" y="67"/>
                    </a:lnTo>
                    <a:lnTo>
                      <a:pt x="62" y="67"/>
                    </a:lnTo>
                    <a:lnTo>
                      <a:pt x="62" y="65"/>
                    </a:lnTo>
                    <a:lnTo>
                      <a:pt x="60" y="65"/>
                    </a:lnTo>
                    <a:lnTo>
                      <a:pt x="60" y="63"/>
                    </a:lnTo>
                    <a:lnTo>
                      <a:pt x="60" y="61"/>
                    </a:lnTo>
                    <a:lnTo>
                      <a:pt x="60" y="59"/>
                    </a:lnTo>
                    <a:lnTo>
                      <a:pt x="58" y="59"/>
                    </a:lnTo>
                    <a:lnTo>
                      <a:pt x="60" y="57"/>
                    </a:lnTo>
                    <a:lnTo>
                      <a:pt x="58" y="57"/>
                    </a:lnTo>
                    <a:lnTo>
                      <a:pt x="58" y="59"/>
                    </a:lnTo>
                    <a:lnTo>
                      <a:pt x="58" y="57"/>
                    </a:lnTo>
                    <a:lnTo>
                      <a:pt x="56" y="57"/>
                    </a:lnTo>
                    <a:lnTo>
                      <a:pt x="56" y="59"/>
                    </a:lnTo>
                    <a:lnTo>
                      <a:pt x="56" y="61"/>
                    </a:lnTo>
                    <a:lnTo>
                      <a:pt x="56" y="63"/>
                    </a:lnTo>
                    <a:lnTo>
                      <a:pt x="58" y="63"/>
                    </a:lnTo>
                    <a:lnTo>
                      <a:pt x="56" y="63"/>
                    </a:lnTo>
                    <a:lnTo>
                      <a:pt x="56" y="65"/>
                    </a:lnTo>
                    <a:lnTo>
                      <a:pt x="58" y="65"/>
                    </a:lnTo>
                    <a:lnTo>
                      <a:pt x="58" y="67"/>
                    </a:lnTo>
                    <a:lnTo>
                      <a:pt x="60" y="69"/>
                    </a:lnTo>
                    <a:lnTo>
                      <a:pt x="60" y="67"/>
                    </a:lnTo>
                    <a:lnTo>
                      <a:pt x="60" y="69"/>
                    </a:lnTo>
                    <a:lnTo>
                      <a:pt x="62" y="71"/>
                    </a:lnTo>
                    <a:lnTo>
                      <a:pt x="62" y="73"/>
                    </a:lnTo>
                    <a:lnTo>
                      <a:pt x="64" y="73"/>
                    </a:lnTo>
                    <a:lnTo>
                      <a:pt x="64" y="74"/>
                    </a:lnTo>
                    <a:lnTo>
                      <a:pt x="66" y="76"/>
                    </a:lnTo>
                    <a:lnTo>
                      <a:pt x="66" y="78"/>
                    </a:lnTo>
                    <a:lnTo>
                      <a:pt x="67" y="78"/>
                    </a:lnTo>
                    <a:lnTo>
                      <a:pt x="69" y="78"/>
                    </a:lnTo>
                    <a:lnTo>
                      <a:pt x="69" y="80"/>
                    </a:lnTo>
                    <a:lnTo>
                      <a:pt x="71" y="80"/>
                    </a:lnTo>
                    <a:lnTo>
                      <a:pt x="71" y="82"/>
                    </a:lnTo>
                    <a:lnTo>
                      <a:pt x="73" y="82"/>
                    </a:lnTo>
                    <a:lnTo>
                      <a:pt x="73" y="84"/>
                    </a:lnTo>
                    <a:lnTo>
                      <a:pt x="75" y="86"/>
                    </a:lnTo>
                    <a:lnTo>
                      <a:pt x="75" y="88"/>
                    </a:lnTo>
                    <a:lnTo>
                      <a:pt x="77" y="88"/>
                    </a:lnTo>
                    <a:lnTo>
                      <a:pt x="77" y="86"/>
                    </a:lnTo>
                    <a:lnTo>
                      <a:pt x="75" y="86"/>
                    </a:lnTo>
                    <a:lnTo>
                      <a:pt x="75" y="84"/>
                    </a:lnTo>
                    <a:lnTo>
                      <a:pt x="75" y="82"/>
                    </a:lnTo>
                    <a:lnTo>
                      <a:pt x="73" y="80"/>
                    </a:lnTo>
                    <a:lnTo>
                      <a:pt x="75" y="80"/>
                    </a:lnTo>
                    <a:lnTo>
                      <a:pt x="75" y="82"/>
                    </a:lnTo>
                    <a:lnTo>
                      <a:pt x="77" y="82"/>
                    </a:lnTo>
                    <a:lnTo>
                      <a:pt x="77" y="84"/>
                    </a:lnTo>
                    <a:lnTo>
                      <a:pt x="77" y="86"/>
                    </a:lnTo>
                    <a:lnTo>
                      <a:pt x="79" y="86"/>
                    </a:lnTo>
                    <a:lnTo>
                      <a:pt x="79" y="88"/>
                    </a:lnTo>
                    <a:lnTo>
                      <a:pt x="81" y="90"/>
                    </a:lnTo>
                    <a:lnTo>
                      <a:pt x="81" y="92"/>
                    </a:lnTo>
                    <a:lnTo>
                      <a:pt x="83" y="92"/>
                    </a:lnTo>
                    <a:lnTo>
                      <a:pt x="83" y="94"/>
                    </a:lnTo>
                    <a:lnTo>
                      <a:pt x="83" y="92"/>
                    </a:lnTo>
                    <a:lnTo>
                      <a:pt x="81" y="92"/>
                    </a:lnTo>
                    <a:lnTo>
                      <a:pt x="81" y="90"/>
                    </a:lnTo>
                    <a:lnTo>
                      <a:pt x="81" y="88"/>
                    </a:lnTo>
                    <a:lnTo>
                      <a:pt x="79" y="88"/>
                    </a:lnTo>
                    <a:lnTo>
                      <a:pt x="79" y="86"/>
                    </a:lnTo>
                    <a:lnTo>
                      <a:pt x="79" y="88"/>
                    </a:lnTo>
                    <a:lnTo>
                      <a:pt x="81" y="88"/>
                    </a:lnTo>
                    <a:lnTo>
                      <a:pt x="83" y="92"/>
                    </a:lnTo>
                    <a:lnTo>
                      <a:pt x="83" y="94"/>
                    </a:lnTo>
                    <a:lnTo>
                      <a:pt x="85" y="96"/>
                    </a:lnTo>
                    <a:lnTo>
                      <a:pt x="85" y="98"/>
                    </a:lnTo>
                    <a:lnTo>
                      <a:pt x="87" y="101"/>
                    </a:lnTo>
                    <a:lnTo>
                      <a:pt x="89" y="103"/>
                    </a:lnTo>
                    <a:lnTo>
                      <a:pt x="89" y="105"/>
                    </a:lnTo>
                    <a:lnTo>
                      <a:pt x="89" y="107"/>
                    </a:lnTo>
                    <a:lnTo>
                      <a:pt x="90" y="109"/>
                    </a:lnTo>
                    <a:lnTo>
                      <a:pt x="90" y="111"/>
                    </a:lnTo>
                    <a:lnTo>
                      <a:pt x="90" y="113"/>
                    </a:lnTo>
                    <a:lnTo>
                      <a:pt x="90" y="115"/>
                    </a:lnTo>
                    <a:lnTo>
                      <a:pt x="90" y="117"/>
                    </a:lnTo>
                    <a:lnTo>
                      <a:pt x="92" y="119"/>
                    </a:lnTo>
                    <a:lnTo>
                      <a:pt x="90" y="119"/>
                    </a:lnTo>
                    <a:lnTo>
                      <a:pt x="90" y="117"/>
                    </a:lnTo>
                    <a:lnTo>
                      <a:pt x="90" y="115"/>
                    </a:lnTo>
                    <a:lnTo>
                      <a:pt x="90" y="113"/>
                    </a:lnTo>
                    <a:lnTo>
                      <a:pt x="89" y="113"/>
                    </a:lnTo>
                    <a:lnTo>
                      <a:pt x="90" y="111"/>
                    </a:lnTo>
                    <a:lnTo>
                      <a:pt x="90" y="109"/>
                    </a:lnTo>
                    <a:lnTo>
                      <a:pt x="89" y="109"/>
                    </a:lnTo>
                    <a:lnTo>
                      <a:pt x="89" y="107"/>
                    </a:lnTo>
                    <a:lnTo>
                      <a:pt x="87" y="107"/>
                    </a:lnTo>
                    <a:lnTo>
                      <a:pt x="87" y="105"/>
                    </a:lnTo>
                    <a:lnTo>
                      <a:pt x="87" y="103"/>
                    </a:lnTo>
                    <a:lnTo>
                      <a:pt x="87" y="101"/>
                    </a:lnTo>
                    <a:lnTo>
                      <a:pt x="85" y="101"/>
                    </a:lnTo>
                    <a:lnTo>
                      <a:pt x="85" y="99"/>
                    </a:lnTo>
                    <a:lnTo>
                      <a:pt x="85" y="101"/>
                    </a:lnTo>
                    <a:lnTo>
                      <a:pt x="85" y="103"/>
                    </a:lnTo>
                    <a:lnTo>
                      <a:pt x="85" y="105"/>
                    </a:lnTo>
                    <a:lnTo>
                      <a:pt x="87" y="105"/>
                    </a:lnTo>
                    <a:lnTo>
                      <a:pt x="85" y="105"/>
                    </a:lnTo>
                    <a:lnTo>
                      <a:pt x="87" y="105"/>
                    </a:lnTo>
                    <a:lnTo>
                      <a:pt x="87" y="107"/>
                    </a:lnTo>
                    <a:lnTo>
                      <a:pt x="85" y="107"/>
                    </a:lnTo>
                    <a:lnTo>
                      <a:pt x="87" y="107"/>
                    </a:lnTo>
                    <a:lnTo>
                      <a:pt x="87" y="109"/>
                    </a:lnTo>
                    <a:lnTo>
                      <a:pt x="87" y="111"/>
                    </a:lnTo>
                    <a:lnTo>
                      <a:pt x="87" y="109"/>
                    </a:lnTo>
                    <a:lnTo>
                      <a:pt x="87" y="111"/>
                    </a:lnTo>
                    <a:lnTo>
                      <a:pt x="89" y="111"/>
                    </a:lnTo>
                    <a:lnTo>
                      <a:pt x="89" y="113"/>
                    </a:lnTo>
                    <a:lnTo>
                      <a:pt x="87" y="113"/>
                    </a:lnTo>
                    <a:lnTo>
                      <a:pt x="87" y="115"/>
                    </a:lnTo>
                    <a:lnTo>
                      <a:pt x="87" y="113"/>
                    </a:lnTo>
                    <a:lnTo>
                      <a:pt x="89" y="113"/>
                    </a:lnTo>
                    <a:lnTo>
                      <a:pt x="89" y="115"/>
                    </a:lnTo>
                    <a:lnTo>
                      <a:pt x="89" y="117"/>
                    </a:lnTo>
                    <a:lnTo>
                      <a:pt x="89" y="119"/>
                    </a:lnTo>
                    <a:lnTo>
                      <a:pt x="89" y="121"/>
                    </a:lnTo>
                    <a:lnTo>
                      <a:pt x="90" y="121"/>
                    </a:lnTo>
                    <a:lnTo>
                      <a:pt x="89" y="123"/>
                    </a:lnTo>
                    <a:lnTo>
                      <a:pt x="90" y="123"/>
                    </a:lnTo>
                    <a:lnTo>
                      <a:pt x="92" y="123"/>
                    </a:lnTo>
                    <a:lnTo>
                      <a:pt x="90" y="121"/>
                    </a:lnTo>
                    <a:lnTo>
                      <a:pt x="90" y="119"/>
                    </a:lnTo>
                    <a:lnTo>
                      <a:pt x="90" y="121"/>
                    </a:lnTo>
                    <a:lnTo>
                      <a:pt x="92" y="121"/>
                    </a:lnTo>
                    <a:lnTo>
                      <a:pt x="92" y="123"/>
                    </a:lnTo>
                    <a:lnTo>
                      <a:pt x="92" y="124"/>
                    </a:lnTo>
                    <a:lnTo>
                      <a:pt x="94" y="126"/>
                    </a:lnTo>
                    <a:lnTo>
                      <a:pt x="94" y="128"/>
                    </a:lnTo>
                    <a:lnTo>
                      <a:pt x="96" y="132"/>
                    </a:lnTo>
                    <a:lnTo>
                      <a:pt x="98" y="134"/>
                    </a:lnTo>
                    <a:lnTo>
                      <a:pt x="96" y="134"/>
                    </a:lnTo>
                    <a:lnTo>
                      <a:pt x="96" y="132"/>
                    </a:lnTo>
                    <a:lnTo>
                      <a:pt x="96" y="130"/>
                    </a:lnTo>
                    <a:lnTo>
                      <a:pt x="94" y="130"/>
                    </a:lnTo>
                    <a:lnTo>
                      <a:pt x="94" y="128"/>
                    </a:lnTo>
                    <a:lnTo>
                      <a:pt x="94" y="126"/>
                    </a:lnTo>
                    <a:lnTo>
                      <a:pt x="92" y="126"/>
                    </a:lnTo>
                    <a:lnTo>
                      <a:pt x="92" y="124"/>
                    </a:lnTo>
                    <a:lnTo>
                      <a:pt x="92" y="126"/>
                    </a:lnTo>
                    <a:lnTo>
                      <a:pt x="94" y="126"/>
                    </a:lnTo>
                    <a:lnTo>
                      <a:pt x="94" y="128"/>
                    </a:lnTo>
                    <a:lnTo>
                      <a:pt x="94" y="130"/>
                    </a:lnTo>
                    <a:lnTo>
                      <a:pt x="92" y="130"/>
                    </a:lnTo>
                    <a:lnTo>
                      <a:pt x="94" y="130"/>
                    </a:lnTo>
                    <a:lnTo>
                      <a:pt x="94" y="132"/>
                    </a:lnTo>
                    <a:lnTo>
                      <a:pt x="94" y="134"/>
                    </a:lnTo>
                    <a:lnTo>
                      <a:pt x="96" y="134"/>
                    </a:lnTo>
                    <a:lnTo>
                      <a:pt x="96" y="136"/>
                    </a:lnTo>
                    <a:lnTo>
                      <a:pt x="98" y="136"/>
                    </a:lnTo>
                    <a:lnTo>
                      <a:pt x="98" y="138"/>
                    </a:lnTo>
                    <a:lnTo>
                      <a:pt x="100" y="140"/>
                    </a:lnTo>
                    <a:lnTo>
                      <a:pt x="100" y="138"/>
                    </a:lnTo>
                    <a:lnTo>
                      <a:pt x="100" y="140"/>
                    </a:lnTo>
                    <a:lnTo>
                      <a:pt x="102" y="140"/>
                    </a:lnTo>
                    <a:lnTo>
                      <a:pt x="102" y="142"/>
                    </a:lnTo>
                    <a:lnTo>
                      <a:pt x="100" y="142"/>
                    </a:lnTo>
                    <a:lnTo>
                      <a:pt x="102" y="144"/>
                    </a:lnTo>
                    <a:lnTo>
                      <a:pt x="102" y="146"/>
                    </a:lnTo>
                    <a:lnTo>
                      <a:pt x="104" y="146"/>
                    </a:lnTo>
                    <a:lnTo>
                      <a:pt x="104" y="148"/>
                    </a:lnTo>
                    <a:lnTo>
                      <a:pt x="106" y="148"/>
                    </a:lnTo>
                    <a:lnTo>
                      <a:pt x="106" y="149"/>
                    </a:lnTo>
                    <a:lnTo>
                      <a:pt x="108" y="149"/>
                    </a:lnTo>
                    <a:lnTo>
                      <a:pt x="108" y="151"/>
                    </a:lnTo>
                    <a:lnTo>
                      <a:pt x="106" y="151"/>
                    </a:lnTo>
                    <a:lnTo>
                      <a:pt x="106" y="153"/>
                    </a:lnTo>
                    <a:lnTo>
                      <a:pt x="106" y="155"/>
                    </a:lnTo>
                    <a:lnTo>
                      <a:pt x="106" y="153"/>
                    </a:lnTo>
                    <a:lnTo>
                      <a:pt x="106" y="151"/>
                    </a:lnTo>
                    <a:lnTo>
                      <a:pt x="108" y="151"/>
                    </a:lnTo>
                    <a:lnTo>
                      <a:pt x="108" y="149"/>
                    </a:lnTo>
                    <a:lnTo>
                      <a:pt x="108" y="148"/>
                    </a:lnTo>
                    <a:lnTo>
                      <a:pt x="106" y="148"/>
                    </a:lnTo>
                    <a:lnTo>
                      <a:pt x="108" y="148"/>
                    </a:lnTo>
                    <a:lnTo>
                      <a:pt x="108" y="146"/>
                    </a:lnTo>
                    <a:lnTo>
                      <a:pt x="106" y="146"/>
                    </a:lnTo>
                    <a:lnTo>
                      <a:pt x="106" y="144"/>
                    </a:lnTo>
                    <a:lnTo>
                      <a:pt x="104" y="144"/>
                    </a:lnTo>
                    <a:lnTo>
                      <a:pt x="104" y="142"/>
                    </a:lnTo>
                    <a:lnTo>
                      <a:pt x="104" y="144"/>
                    </a:lnTo>
                    <a:lnTo>
                      <a:pt x="108" y="148"/>
                    </a:lnTo>
                    <a:lnTo>
                      <a:pt x="110" y="149"/>
                    </a:lnTo>
                    <a:lnTo>
                      <a:pt x="112" y="151"/>
                    </a:lnTo>
                    <a:lnTo>
                      <a:pt x="114" y="151"/>
                    </a:lnTo>
                    <a:lnTo>
                      <a:pt x="114" y="153"/>
                    </a:lnTo>
                    <a:lnTo>
                      <a:pt x="115" y="153"/>
                    </a:lnTo>
                    <a:lnTo>
                      <a:pt x="115" y="155"/>
                    </a:lnTo>
                    <a:lnTo>
                      <a:pt x="117" y="155"/>
                    </a:lnTo>
                    <a:lnTo>
                      <a:pt x="115" y="155"/>
                    </a:lnTo>
                    <a:lnTo>
                      <a:pt x="115" y="157"/>
                    </a:lnTo>
                    <a:lnTo>
                      <a:pt x="115" y="159"/>
                    </a:lnTo>
                    <a:lnTo>
                      <a:pt x="115" y="161"/>
                    </a:lnTo>
                    <a:lnTo>
                      <a:pt x="117" y="163"/>
                    </a:lnTo>
                    <a:lnTo>
                      <a:pt x="115" y="163"/>
                    </a:lnTo>
                    <a:lnTo>
                      <a:pt x="117" y="163"/>
                    </a:lnTo>
                    <a:lnTo>
                      <a:pt x="117" y="165"/>
                    </a:lnTo>
                    <a:lnTo>
                      <a:pt x="117" y="167"/>
                    </a:lnTo>
                    <a:lnTo>
                      <a:pt x="117" y="169"/>
                    </a:lnTo>
                    <a:lnTo>
                      <a:pt x="119" y="169"/>
                    </a:lnTo>
                    <a:lnTo>
                      <a:pt x="121" y="169"/>
                    </a:lnTo>
                    <a:lnTo>
                      <a:pt x="121" y="167"/>
                    </a:lnTo>
                    <a:lnTo>
                      <a:pt x="121" y="169"/>
                    </a:lnTo>
                    <a:lnTo>
                      <a:pt x="121" y="167"/>
                    </a:lnTo>
                    <a:lnTo>
                      <a:pt x="121" y="169"/>
                    </a:lnTo>
                    <a:lnTo>
                      <a:pt x="123" y="169"/>
                    </a:lnTo>
                    <a:lnTo>
                      <a:pt x="123" y="167"/>
                    </a:lnTo>
                    <a:lnTo>
                      <a:pt x="123" y="165"/>
                    </a:lnTo>
                    <a:lnTo>
                      <a:pt x="121" y="165"/>
                    </a:lnTo>
                    <a:lnTo>
                      <a:pt x="121" y="163"/>
                    </a:lnTo>
                    <a:lnTo>
                      <a:pt x="121" y="161"/>
                    </a:lnTo>
                    <a:lnTo>
                      <a:pt x="119" y="161"/>
                    </a:lnTo>
                    <a:lnTo>
                      <a:pt x="119" y="159"/>
                    </a:lnTo>
                    <a:lnTo>
                      <a:pt x="121" y="161"/>
                    </a:lnTo>
                    <a:lnTo>
                      <a:pt x="123" y="161"/>
                    </a:lnTo>
                    <a:lnTo>
                      <a:pt x="123" y="163"/>
                    </a:lnTo>
                    <a:lnTo>
                      <a:pt x="123" y="165"/>
                    </a:lnTo>
                    <a:lnTo>
                      <a:pt x="125" y="165"/>
                    </a:lnTo>
                    <a:lnTo>
                      <a:pt x="125" y="167"/>
                    </a:lnTo>
                    <a:lnTo>
                      <a:pt x="127" y="167"/>
                    </a:lnTo>
                    <a:lnTo>
                      <a:pt x="127" y="169"/>
                    </a:lnTo>
                    <a:lnTo>
                      <a:pt x="129" y="169"/>
                    </a:lnTo>
                    <a:lnTo>
                      <a:pt x="127" y="169"/>
                    </a:lnTo>
                    <a:lnTo>
                      <a:pt x="127" y="167"/>
                    </a:lnTo>
                    <a:lnTo>
                      <a:pt x="125" y="167"/>
                    </a:lnTo>
                    <a:lnTo>
                      <a:pt x="125" y="165"/>
                    </a:lnTo>
                    <a:lnTo>
                      <a:pt x="125" y="163"/>
                    </a:lnTo>
                    <a:lnTo>
                      <a:pt x="123" y="163"/>
                    </a:lnTo>
                    <a:lnTo>
                      <a:pt x="125" y="163"/>
                    </a:lnTo>
                    <a:lnTo>
                      <a:pt x="127" y="165"/>
                    </a:lnTo>
                    <a:lnTo>
                      <a:pt x="127" y="167"/>
                    </a:lnTo>
                    <a:lnTo>
                      <a:pt x="129" y="169"/>
                    </a:lnTo>
                    <a:lnTo>
                      <a:pt x="129" y="171"/>
                    </a:lnTo>
                    <a:lnTo>
                      <a:pt x="131" y="171"/>
                    </a:lnTo>
                    <a:lnTo>
                      <a:pt x="133" y="176"/>
                    </a:lnTo>
                    <a:lnTo>
                      <a:pt x="133" y="174"/>
                    </a:lnTo>
                    <a:lnTo>
                      <a:pt x="131" y="174"/>
                    </a:lnTo>
                    <a:lnTo>
                      <a:pt x="129" y="176"/>
                    </a:lnTo>
                    <a:lnTo>
                      <a:pt x="131" y="176"/>
                    </a:lnTo>
                    <a:lnTo>
                      <a:pt x="129" y="176"/>
                    </a:lnTo>
                    <a:lnTo>
                      <a:pt x="131" y="176"/>
                    </a:lnTo>
                    <a:lnTo>
                      <a:pt x="133" y="178"/>
                    </a:lnTo>
                    <a:lnTo>
                      <a:pt x="135" y="178"/>
                    </a:lnTo>
                    <a:lnTo>
                      <a:pt x="135" y="180"/>
                    </a:lnTo>
                    <a:lnTo>
                      <a:pt x="135" y="178"/>
                    </a:lnTo>
                    <a:lnTo>
                      <a:pt x="137" y="180"/>
                    </a:lnTo>
                    <a:lnTo>
                      <a:pt x="135" y="180"/>
                    </a:lnTo>
                    <a:lnTo>
                      <a:pt x="137" y="180"/>
                    </a:lnTo>
                    <a:lnTo>
                      <a:pt x="137" y="182"/>
                    </a:lnTo>
                    <a:lnTo>
                      <a:pt x="137" y="180"/>
                    </a:lnTo>
                    <a:lnTo>
                      <a:pt x="137" y="182"/>
                    </a:lnTo>
                    <a:lnTo>
                      <a:pt x="139" y="182"/>
                    </a:lnTo>
                    <a:lnTo>
                      <a:pt x="139" y="180"/>
                    </a:lnTo>
                    <a:lnTo>
                      <a:pt x="137" y="180"/>
                    </a:lnTo>
                    <a:lnTo>
                      <a:pt x="137" y="178"/>
                    </a:lnTo>
                    <a:lnTo>
                      <a:pt x="135" y="178"/>
                    </a:lnTo>
                    <a:lnTo>
                      <a:pt x="137" y="178"/>
                    </a:lnTo>
                    <a:lnTo>
                      <a:pt x="137" y="180"/>
                    </a:lnTo>
                    <a:lnTo>
                      <a:pt x="139" y="180"/>
                    </a:lnTo>
                    <a:lnTo>
                      <a:pt x="140" y="184"/>
                    </a:lnTo>
                    <a:lnTo>
                      <a:pt x="142" y="184"/>
                    </a:lnTo>
                    <a:lnTo>
                      <a:pt x="142" y="186"/>
                    </a:lnTo>
                    <a:lnTo>
                      <a:pt x="142" y="188"/>
                    </a:lnTo>
                    <a:lnTo>
                      <a:pt x="144" y="188"/>
                    </a:lnTo>
                    <a:lnTo>
                      <a:pt x="144" y="190"/>
                    </a:lnTo>
                    <a:lnTo>
                      <a:pt x="146" y="190"/>
                    </a:lnTo>
                    <a:lnTo>
                      <a:pt x="146" y="192"/>
                    </a:lnTo>
                    <a:lnTo>
                      <a:pt x="148" y="194"/>
                    </a:lnTo>
                    <a:lnTo>
                      <a:pt x="150" y="196"/>
                    </a:lnTo>
                    <a:lnTo>
                      <a:pt x="150" y="198"/>
                    </a:lnTo>
                    <a:lnTo>
                      <a:pt x="152" y="198"/>
                    </a:lnTo>
                    <a:lnTo>
                      <a:pt x="152" y="199"/>
                    </a:lnTo>
                    <a:lnTo>
                      <a:pt x="154" y="201"/>
                    </a:lnTo>
                    <a:lnTo>
                      <a:pt x="156" y="203"/>
                    </a:lnTo>
                    <a:lnTo>
                      <a:pt x="156" y="205"/>
                    </a:lnTo>
                    <a:lnTo>
                      <a:pt x="158" y="205"/>
                    </a:lnTo>
                    <a:lnTo>
                      <a:pt x="158" y="207"/>
                    </a:lnTo>
                    <a:lnTo>
                      <a:pt x="160" y="207"/>
                    </a:lnTo>
                    <a:lnTo>
                      <a:pt x="160" y="209"/>
                    </a:lnTo>
                    <a:lnTo>
                      <a:pt x="162" y="211"/>
                    </a:lnTo>
                    <a:lnTo>
                      <a:pt x="162" y="213"/>
                    </a:lnTo>
                    <a:lnTo>
                      <a:pt x="164" y="213"/>
                    </a:lnTo>
                    <a:lnTo>
                      <a:pt x="164" y="215"/>
                    </a:lnTo>
                    <a:lnTo>
                      <a:pt x="164" y="217"/>
                    </a:lnTo>
                    <a:lnTo>
                      <a:pt x="165" y="217"/>
                    </a:lnTo>
                    <a:lnTo>
                      <a:pt x="167" y="221"/>
                    </a:lnTo>
                    <a:lnTo>
                      <a:pt x="169" y="223"/>
                    </a:lnTo>
                    <a:lnTo>
                      <a:pt x="169" y="224"/>
                    </a:lnTo>
                    <a:lnTo>
                      <a:pt x="171" y="224"/>
                    </a:lnTo>
                    <a:lnTo>
                      <a:pt x="171" y="226"/>
                    </a:lnTo>
                    <a:lnTo>
                      <a:pt x="173" y="228"/>
                    </a:lnTo>
                    <a:lnTo>
                      <a:pt x="175" y="228"/>
                    </a:lnTo>
                    <a:lnTo>
                      <a:pt x="175" y="230"/>
                    </a:lnTo>
                    <a:lnTo>
                      <a:pt x="177" y="232"/>
                    </a:lnTo>
                    <a:lnTo>
                      <a:pt x="179" y="234"/>
                    </a:lnTo>
                    <a:lnTo>
                      <a:pt x="181" y="236"/>
                    </a:lnTo>
                    <a:lnTo>
                      <a:pt x="183" y="238"/>
                    </a:lnTo>
                    <a:lnTo>
                      <a:pt x="185" y="238"/>
                    </a:lnTo>
                    <a:lnTo>
                      <a:pt x="185" y="240"/>
                    </a:lnTo>
                    <a:lnTo>
                      <a:pt x="187" y="24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Freeform 118">
                <a:extLst>
                  <a:ext uri="{FF2B5EF4-FFF2-40B4-BE49-F238E27FC236}">
                    <a16:creationId xmlns="" xmlns:a16="http://schemas.microsoft.com/office/drawing/2014/main" id="{9D6FA7FD-5553-4BF6-991C-74ED98AFCB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26313" y="3789363"/>
                <a:ext cx="884238" cy="919163"/>
              </a:xfrm>
              <a:custGeom>
                <a:avLst/>
                <a:gdLst>
                  <a:gd name="T0" fmla="*/ 211 w 557"/>
                  <a:gd name="T1" fmla="*/ 577 h 579"/>
                  <a:gd name="T2" fmla="*/ 207 w 557"/>
                  <a:gd name="T3" fmla="*/ 573 h 579"/>
                  <a:gd name="T4" fmla="*/ 532 w 557"/>
                  <a:gd name="T5" fmla="*/ 377 h 579"/>
                  <a:gd name="T6" fmla="*/ 532 w 557"/>
                  <a:gd name="T7" fmla="*/ 370 h 579"/>
                  <a:gd name="T8" fmla="*/ 530 w 557"/>
                  <a:gd name="T9" fmla="*/ 371 h 579"/>
                  <a:gd name="T10" fmla="*/ 518 w 557"/>
                  <a:gd name="T11" fmla="*/ 360 h 579"/>
                  <a:gd name="T12" fmla="*/ 551 w 557"/>
                  <a:gd name="T13" fmla="*/ 304 h 579"/>
                  <a:gd name="T14" fmla="*/ 553 w 557"/>
                  <a:gd name="T15" fmla="*/ 312 h 579"/>
                  <a:gd name="T16" fmla="*/ 555 w 557"/>
                  <a:gd name="T17" fmla="*/ 323 h 579"/>
                  <a:gd name="T18" fmla="*/ 553 w 557"/>
                  <a:gd name="T19" fmla="*/ 335 h 579"/>
                  <a:gd name="T20" fmla="*/ 547 w 557"/>
                  <a:gd name="T21" fmla="*/ 333 h 579"/>
                  <a:gd name="T22" fmla="*/ 551 w 557"/>
                  <a:gd name="T23" fmla="*/ 325 h 579"/>
                  <a:gd name="T24" fmla="*/ 551 w 557"/>
                  <a:gd name="T25" fmla="*/ 318 h 579"/>
                  <a:gd name="T26" fmla="*/ 551 w 557"/>
                  <a:gd name="T27" fmla="*/ 306 h 579"/>
                  <a:gd name="T28" fmla="*/ 553 w 557"/>
                  <a:gd name="T29" fmla="*/ 287 h 579"/>
                  <a:gd name="T30" fmla="*/ 553 w 557"/>
                  <a:gd name="T31" fmla="*/ 291 h 579"/>
                  <a:gd name="T32" fmla="*/ 557 w 557"/>
                  <a:gd name="T33" fmla="*/ 272 h 579"/>
                  <a:gd name="T34" fmla="*/ 555 w 557"/>
                  <a:gd name="T35" fmla="*/ 250 h 579"/>
                  <a:gd name="T36" fmla="*/ 555 w 557"/>
                  <a:gd name="T37" fmla="*/ 256 h 579"/>
                  <a:gd name="T38" fmla="*/ 553 w 557"/>
                  <a:gd name="T39" fmla="*/ 254 h 579"/>
                  <a:gd name="T40" fmla="*/ 547 w 557"/>
                  <a:gd name="T41" fmla="*/ 227 h 579"/>
                  <a:gd name="T42" fmla="*/ 551 w 557"/>
                  <a:gd name="T43" fmla="*/ 231 h 579"/>
                  <a:gd name="T44" fmla="*/ 541 w 557"/>
                  <a:gd name="T45" fmla="*/ 216 h 579"/>
                  <a:gd name="T46" fmla="*/ 547 w 557"/>
                  <a:gd name="T47" fmla="*/ 162 h 579"/>
                  <a:gd name="T48" fmla="*/ 547 w 557"/>
                  <a:gd name="T49" fmla="*/ 170 h 579"/>
                  <a:gd name="T50" fmla="*/ 545 w 557"/>
                  <a:gd name="T51" fmla="*/ 175 h 579"/>
                  <a:gd name="T52" fmla="*/ 545 w 557"/>
                  <a:gd name="T53" fmla="*/ 168 h 579"/>
                  <a:gd name="T54" fmla="*/ 536 w 557"/>
                  <a:gd name="T55" fmla="*/ 162 h 579"/>
                  <a:gd name="T56" fmla="*/ 540 w 557"/>
                  <a:gd name="T57" fmla="*/ 166 h 579"/>
                  <a:gd name="T58" fmla="*/ 522 w 557"/>
                  <a:gd name="T59" fmla="*/ 173 h 579"/>
                  <a:gd name="T60" fmla="*/ 549 w 557"/>
                  <a:gd name="T61" fmla="*/ 139 h 579"/>
                  <a:gd name="T62" fmla="*/ 547 w 557"/>
                  <a:gd name="T63" fmla="*/ 145 h 579"/>
                  <a:gd name="T64" fmla="*/ 180 w 557"/>
                  <a:gd name="T65" fmla="*/ 356 h 579"/>
                  <a:gd name="T66" fmla="*/ 190 w 557"/>
                  <a:gd name="T67" fmla="*/ 345 h 579"/>
                  <a:gd name="T68" fmla="*/ 184 w 557"/>
                  <a:gd name="T69" fmla="*/ 350 h 579"/>
                  <a:gd name="T70" fmla="*/ 190 w 557"/>
                  <a:gd name="T71" fmla="*/ 345 h 579"/>
                  <a:gd name="T72" fmla="*/ 518 w 557"/>
                  <a:gd name="T73" fmla="*/ 108 h 579"/>
                  <a:gd name="T74" fmla="*/ 520 w 557"/>
                  <a:gd name="T75" fmla="*/ 108 h 579"/>
                  <a:gd name="T76" fmla="*/ 520 w 557"/>
                  <a:gd name="T77" fmla="*/ 72 h 579"/>
                  <a:gd name="T78" fmla="*/ 543 w 557"/>
                  <a:gd name="T79" fmla="*/ 6 h 579"/>
                  <a:gd name="T80" fmla="*/ 543 w 557"/>
                  <a:gd name="T81" fmla="*/ 14 h 579"/>
                  <a:gd name="T82" fmla="*/ 541 w 557"/>
                  <a:gd name="T83" fmla="*/ 20 h 579"/>
                  <a:gd name="T84" fmla="*/ 536 w 557"/>
                  <a:gd name="T85" fmla="*/ 16 h 579"/>
                  <a:gd name="T86" fmla="*/ 536 w 557"/>
                  <a:gd name="T87" fmla="*/ 6 h 579"/>
                  <a:gd name="T88" fmla="*/ 507 w 557"/>
                  <a:gd name="T89" fmla="*/ 18 h 579"/>
                  <a:gd name="T90" fmla="*/ 515 w 557"/>
                  <a:gd name="T91" fmla="*/ 22 h 579"/>
                  <a:gd name="T92" fmla="*/ 509 w 557"/>
                  <a:gd name="T93" fmla="*/ 24 h 579"/>
                  <a:gd name="T94" fmla="*/ 507 w 557"/>
                  <a:gd name="T95" fmla="*/ 18 h 579"/>
                  <a:gd name="T96" fmla="*/ 103 w 557"/>
                  <a:gd name="T97" fmla="*/ 208 h 579"/>
                  <a:gd name="T98" fmla="*/ 111 w 557"/>
                  <a:gd name="T99" fmla="*/ 210 h 579"/>
                  <a:gd name="T100" fmla="*/ 107 w 557"/>
                  <a:gd name="T101" fmla="*/ 206 h 579"/>
                  <a:gd name="T102" fmla="*/ 105 w 557"/>
                  <a:gd name="T103" fmla="*/ 204 h 579"/>
                  <a:gd name="T104" fmla="*/ 90 w 557"/>
                  <a:gd name="T105" fmla="*/ 189 h 579"/>
                  <a:gd name="T106" fmla="*/ 90 w 557"/>
                  <a:gd name="T107" fmla="*/ 189 h 579"/>
                  <a:gd name="T108" fmla="*/ 84 w 557"/>
                  <a:gd name="T109" fmla="*/ 181 h 579"/>
                  <a:gd name="T110" fmla="*/ 77 w 557"/>
                  <a:gd name="T111" fmla="*/ 164 h 579"/>
                  <a:gd name="T112" fmla="*/ 75 w 557"/>
                  <a:gd name="T113" fmla="*/ 152 h 579"/>
                  <a:gd name="T114" fmla="*/ 75 w 557"/>
                  <a:gd name="T115" fmla="*/ 154 h 579"/>
                  <a:gd name="T116" fmla="*/ 0 w 557"/>
                  <a:gd name="T117" fmla="*/ 125 h 579"/>
                  <a:gd name="T118" fmla="*/ 13 w 557"/>
                  <a:gd name="T119" fmla="*/ 108 h 579"/>
                  <a:gd name="T120" fmla="*/ 17 w 557"/>
                  <a:gd name="T121" fmla="*/ 104 h 5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57" h="579">
                    <a:moveTo>
                      <a:pt x="209" y="573"/>
                    </a:moveTo>
                    <a:lnTo>
                      <a:pt x="209" y="575"/>
                    </a:lnTo>
                    <a:lnTo>
                      <a:pt x="211" y="575"/>
                    </a:lnTo>
                    <a:lnTo>
                      <a:pt x="211" y="577"/>
                    </a:lnTo>
                    <a:lnTo>
                      <a:pt x="209" y="577"/>
                    </a:lnTo>
                    <a:lnTo>
                      <a:pt x="211" y="577"/>
                    </a:lnTo>
                    <a:lnTo>
                      <a:pt x="209" y="577"/>
                    </a:lnTo>
                    <a:lnTo>
                      <a:pt x="209" y="579"/>
                    </a:lnTo>
                    <a:lnTo>
                      <a:pt x="209" y="577"/>
                    </a:lnTo>
                    <a:lnTo>
                      <a:pt x="209" y="575"/>
                    </a:lnTo>
                    <a:lnTo>
                      <a:pt x="207" y="575"/>
                    </a:lnTo>
                    <a:lnTo>
                      <a:pt x="207" y="573"/>
                    </a:lnTo>
                    <a:lnTo>
                      <a:pt x="209" y="573"/>
                    </a:lnTo>
                    <a:close/>
                    <a:moveTo>
                      <a:pt x="532" y="373"/>
                    </a:moveTo>
                    <a:lnTo>
                      <a:pt x="532" y="375"/>
                    </a:lnTo>
                    <a:lnTo>
                      <a:pt x="534" y="375"/>
                    </a:lnTo>
                    <a:lnTo>
                      <a:pt x="532" y="375"/>
                    </a:lnTo>
                    <a:lnTo>
                      <a:pt x="532" y="377"/>
                    </a:lnTo>
                    <a:lnTo>
                      <a:pt x="530" y="377"/>
                    </a:lnTo>
                    <a:lnTo>
                      <a:pt x="530" y="375"/>
                    </a:lnTo>
                    <a:lnTo>
                      <a:pt x="530" y="373"/>
                    </a:lnTo>
                    <a:lnTo>
                      <a:pt x="532" y="373"/>
                    </a:lnTo>
                    <a:close/>
                    <a:moveTo>
                      <a:pt x="530" y="370"/>
                    </a:moveTo>
                    <a:lnTo>
                      <a:pt x="532" y="370"/>
                    </a:lnTo>
                    <a:lnTo>
                      <a:pt x="532" y="368"/>
                    </a:lnTo>
                    <a:lnTo>
                      <a:pt x="532" y="370"/>
                    </a:lnTo>
                    <a:lnTo>
                      <a:pt x="532" y="371"/>
                    </a:lnTo>
                    <a:lnTo>
                      <a:pt x="532" y="373"/>
                    </a:lnTo>
                    <a:lnTo>
                      <a:pt x="530" y="373"/>
                    </a:lnTo>
                    <a:lnTo>
                      <a:pt x="530" y="371"/>
                    </a:lnTo>
                    <a:lnTo>
                      <a:pt x="530" y="370"/>
                    </a:lnTo>
                    <a:close/>
                    <a:moveTo>
                      <a:pt x="520" y="362"/>
                    </a:moveTo>
                    <a:lnTo>
                      <a:pt x="520" y="364"/>
                    </a:lnTo>
                    <a:lnTo>
                      <a:pt x="520" y="362"/>
                    </a:lnTo>
                    <a:lnTo>
                      <a:pt x="518" y="362"/>
                    </a:lnTo>
                    <a:lnTo>
                      <a:pt x="518" y="360"/>
                    </a:lnTo>
                    <a:lnTo>
                      <a:pt x="518" y="362"/>
                    </a:lnTo>
                    <a:lnTo>
                      <a:pt x="520" y="362"/>
                    </a:lnTo>
                    <a:close/>
                    <a:moveTo>
                      <a:pt x="553" y="308"/>
                    </a:moveTo>
                    <a:lnTo>
                      <a:pt x="553" y="306"/>
                    </a:lnTo>
                    <a:lnTo>
                      <a:pt x="553" y="304"/>
                    </a:lnTo>
                    <a:lnTo>
                      <a:pt x="551" y="304"/>
                    </a:lnTo>
                    <a:lnTo>
                      <a:pt x="553" y="304"/>
                    </a:lnTo>
                    <a:lnTo>
                      <a:pt x="555" y="304"/>
                    </a:lnTo>
                    <a:lnTo>
                      <a:pt x="555" y="306"/>
                    </a:lnTo>
                    <a:lnTo>
                      <a:pt x="555" y="308"/>
                    </a:lnTo>
                    <a:lnTo>
                      <a:pt x="553" y="310"/>
                    </a:lnTo>
                    <a:lnTo>
                      <a:pt x="553" y="312"/>
                    </a:lnTo>
                    <a:lnTo>
                      <a:pt x="555" y="314"/>
                    </a:lnTo>
                    <a:lnTo>
                      <a:pt x="555" y="316"/>
                    </a:lnTo>
                    <a:lnTo>
                      <a:pt x="555" y="318"/>
                    </a:lnTo>
                    <a:lnTo>
                      <a:pt x="555" y="320"/>
                    </a:lnTo>
                    <a:lnTo>
                      <a:pt x="555" y="322"/>
                    </a:lnTo>
                    <a:lnTo>
                      <a:pt x="555" y="323"/>
                    </a:lnTo>
                    <a:lnTo>
                      <a:pt x="555" y="325"/>
                    </a:lnTo>
                    <a:lnTo>
                      <a:pt x="553" y="327"/>
                    </a:lnTo>
                    <a:lnTo>
                      <a:pt x="553" y="329"/>
                    </a:lnTo>
                    <a:lnTo>
                      <a:pt x="553" y="331"/>
                    </a:lnTo>
                    <a:lnTo>
                      <a:pt x="553" y="333"/>
                    </a:lnTo>
                    <a:lnTo>
                      <a:pt x="553" y="335"/>
                    </a:lnTo>
                    <a:lnTo>
                      <a:pt x="553" y="337"/>
                    </a:lnTo>
                    <a:lnTo>
                      <a:pt x="551" y="337"/>
                    </a:lnTo>
                    <a:lnTo>
                      <a:pt x="549" y="337"/>
                    </a:lnTo>
                    <a:lnTo>
                      <a:pt x="549" y="335"/>
                    </a:lnTo>
                    <a:lnTo>
                      <a:pt x="547" y="335"/>
                    </a:lnTo>
                    <a:lnTo>
                      <a:pt x="547" y="333"/>
                    </a:lnTo>
                    <a:lnTo>
                      <a:pt x="547" y="331"/>
                    </a:lnTo>
                    <a:lnTo>
                      <a:pt x="549" y="331"/>
                    </a:lnTo>
                    <a:lnTo>
                      <a:pt x="551" y="331"/>
                    </a:lnTo>
                    <a:lnTo>
                      <a:pt x="551" y="329"/>
                    </a:lnTo>
                    <a:lnTo>
                      <a:pt x="551" y="327"/>
                    </a:lnTo>
                    <a:lnTo>
                      <a:pt x="551" y="325"/>
                    </a:lnTo>
                    <a:lnTo>
                      <a:pt x="549" y="325"/>
                    </a:lnTo>
                    <a:lnTo>
                      <a:pt x="549" y="323"/>
                    </a:lnTo>
                    <a:lnTo>
                      <a:pt x="551" y="323"/>
                    </a:lnTo>
                    <a:lnTo>
                      <a:pt x="551" y="322"/>
                    </a:lnTo>
                    <a:lnTo>
                      <a:pt x="551" y="320"/>
                    </a:lnTo>
                    <a:lnTo>
                      <a:pt x="551" y="318"/>
                    </a:lnTo>
                    <a:lnTo>
                      <a:pt x="551" y="316"/>
                    </a:lnTo>
                    <a:lnTo>
                      <a:pt x="551" y="314"/>
                    </a:lnTo>
                    <a:lnTo>
                      <a:pt x="551" y="312"/>
                    </a:lnTo>
                    <a:lnTo>
                      <a:pt x="551" y="310"/>
                    </a:lnTo>
                    <a:lnTo>
                      <a:pt x="551" y="308"/>
                    </a:lnTo>
                    <a:lnTo>
                      <a:pt x="551" y="306"/>
                    </a:lnTo>
                    <a:lnTo>
                      <a:pt x="551" y="304"/>
                    </a:lnTo>
                    <a:lnTo>
                      <a:pt x="551" y="306"/>
                    </a:lnTo>
                    <a:lnTo>
                      <a:pt x="553" y="308"/>
                    </a:lnTo>
                    <a:close/>
                    <a:moveTo>
                      <a:pt x="551" y="287"/>
                    </a:moveTo>
                    <a:lnTo>
                      <a:pt x="553" y="285"/>
                    </a:lnTo>
                    <a:lnTo>
                      <a:pt x="553" y="287"/>
                    </a:lnTo>
                    <a:lnTo>
                      <a:pt x="555" y="287"/>
                    </a:lnTo>
                    <a:lnTo>
                      <a:pt x="555" y="289"/>
                    </a:lnTo>
                    <a:lnTo>
                      <a:pt x="555" y="291"/>
                    </a:lnTo>
                    <a:lnTo>
                      <a:pt x="553" y="291"/>
                    </a:lnTo>
                    <a:lnTo>
                      <a:pt x="553" y="293"/>
                    </a:lnTo>
                    <a:lnTo>
                      <a:pt x="553" y="291"/>
                    </a:lnTo>
                    <a:lnTo>
                      <a:pt x="551" y="291"/>
                    </a:lnTo>
                    <a:lnTo>
                      <a:pt x="551" y="289"/>
                    </a:lnTo>
                    <a:lnTo>
                      <a:pt x="549" y="289"/>
                    </a:lnTo>
                    <a:lnTo>
                      <a:pt x="551" y="287"/>
                    </a:lnTo>
                    <a:close/>
                    <a:moveTo>
                      <a:pt x="557" y="270"/>
                    </a:moveTo>
                    <a:lnTo>
                      <a:pt x="557" y="272"/>
                    </a:lnTo>
                    <a:lnTo>
                      <a:pt x="557" y="270"/>
                    </a:lnTo>
                    <a:close/>
                    <a:moveTo>
                      <a:pt x="557" y="270"/>
                    </a:moveTo>
                    <a:lnTo>
                      <a:pt x="557" y="268"/>
                    </a:lnTo>
                    <a:lnTo>
                      <a:pt x="557" y="270"/>
                    </a:lnTo>
                    <a:close/>
                    <a:moveTo>
                      <a:pt x="553" y="250"/>
                    </a:moveTo>
                    <a:lnTo>
                      <a:pt x="555" y="250"/>
                    </a:lnTo>
                    <a:lnTo>
                      <a:pt x="555" y="252"/>
                    </a:lnTo>
                    <a:lnTo>
                      <a:pt x="557" y="254"/>
                    </a:lnTo>
                    <a:lnTo>
                      <a:pt x="557" y="256"/>
                    </a:lnTo>
                    <a:lnTo>
                      <a:pt x="557" y="254"/>
                    </a:lnTo>
                    <a:lnTo>
                      <a:pt x="557" y="256"/>
                    </a:lnTo>
                    <a:lnTo>
                      <a:pt x="555" y="256"/>
                    </a:lnTo>
                    <a:lnTo>
                      <a:pt x="555" y="258"/>
                    </a:lnTo>
                    <a:lnTo>
                      <a:pt x="555" y="256"/>
                    </a:lnTo>
                    <a:lnTo>
                      <a:pt x="553" y="256"/>
                    </a:lnTo>
                    <a:lnTo>
                      <a:pt x="555" y="256"/>
                    </a:lnTo>
                    <a:lnTo>
                      <a:pt x="553" y="256"/>
                    </a:lnTo>
                    <a:lnTo>
                      <a:pt x="553" y="254"/>
                    </a:lnTo>
                    <a:lnTo>
                      <a:pt x="553" y="250"/>
                    </a:lnTo>
                    <a:close/>
                    <a:moveTo>
                      <a:pt x="551" y="229"/>
                    </a:moveTo>
                    <a:lnTo>
                      <a:pt x="549" y="229"/>
                    </a:lnTo>
                    <a:lnTo>
                      <a:pt x="551" y="229"/>
                    </a:lnTo>
                    <a:close/>
                    <a:moveTo>
                      <a:pt x="545" y="227"/>
                    </a:moveTo>
                    <a:lnTo>
                      <a:pt x="547" y="227"/>
                    </a:lnTo>
                    <a:lnTo>
                      <a:pt x="547" y="229"/>
                    </a:lnTo>
                    <a:lnTo>
                      <a:pt x="549" y="229"/>
                    </a:lnTo>
                    <a:lnTo>
                      <a:pt x="549" y="227"/>
                    </a:lnTo>
                    <a:lnTo>
                      <a:pt x="549" y="229"/>
                    </a:lnTo>
                    <a:lnTo>
                      <a:pt x="551" y="229"/>
                    </a:lnTo>
                    <a:lnTo>
                      <a:pt x="551" y="231"/>
                    </a:lnTo>
                    <a:lnTo>
                      <a:pt x="549" y="231"/>
                    </a:lnTo>
                    <a:lnTo>
                      <a:pt x="547" y="231"/>
                    </a:lnTo>
                    <a:lnTo>
                      <a:pt x="545" y="231"/>
                    </a:lnTo>
                    <a:lnTo>
                      <a:pt x="545" y="229"/>
                    </a:lnTo>
                    <a:lnTo>
                      <a:pt x="545" y="227"/>
                    </a:lnTo>
                    <a:close/>
                    <a:moveTo>
                      <a:pt x="541" y="216"/>
                    </a:moveTo>
                    <a:lnTo>
                      <a:pt x="541" y="218"/>
                    </a:lnTo>
                    <a:lnTo>
                      <a:pt x="540" y="218"/>
                    </a:lnTo>
                    <a:lnTo>
                      <a:pt x="540" y="216"/>
                    </a:lnTo>
                    <a:lnTo>
                      <a:pt x="541" y="216"/>
                    </a:lnTo>
                    <a:close/>
                    <a:moveTo>
                      <a:pt x="545" y="162"/>
                    </a:moveTo>
                    <a:lnTo>
                      <a:pt x="547" y="162"/>
                    </a:lnTo>
                    <a:lnTo>
                      <a:pt x="549" y="162"/>
                    </a:lnTo>
                    <a:lnTo>
                      <a:pt x="549" y="164"/>
                    </a:lnTo>
                    <a:lnTo>
                      <a:pt x="549" y="166"/>
                    </a:lnTo>
                    <a:lnTo>
                      <a:pt x="549" y="168"/>
                    </a:lnTo>
                    <a:lnTo>
                      <a:pt x="549" y="170"/>
                    </a:lnTo>
                    <a:lnTo>
                      <a:pt x="547" y="170"/>
                    </a:lnTo>
                    <a:lnTo>
                      <a:pt x="547" y="172"/>
                    </a:lnTo>
                    <a:lnTo>
                      <a:pt x="547" y="173"/>
                    </a:lnTo>
                    <a:lnTo>
                      <a:pt x="549" y="173"/>
                    </a:lnTo>
                    <a:lnTo>
                      <a:pt x="549" y="175"/>
                    </a:lnTo>
                    <a:lnTo>
                      <a:pt x="547" y="175"/>
                    </a:lnTo>
                    <a:lnTo>
                      <a:pt x="545" y="175"/>
                    </a:lnTo>
                    <a:lnTo>
                      <a:pt x="545" y="173"/>
                    </a:lnTo>
                    <a:lnTo>
                      <a:pt x="545" y="172"/>
                    </a:lnTo>
                    <a:lnTo>
                      <a:pt x="547" y="172"/>
                    </a:lnTo>
                    <a:lnTo>
                      <a:pt x="547" y="170"/>
                    </a:lnTo>
                    <a:lnTo>
                      <a:pt x="547" y="168"/>
                    </a:lnTo>
                    <a:lnTo>
                      <a:pt x="545" y="168"/>
                    </a:lnTo>
                    <a:lnTo>
                      <a:pt x="545" y="166"/>
                    </a:lnTo>
                    <a:lnTo>
                      <a:pt x="543" y="164"/>
                    </a:lnTo>
                    <a:lnTo>
                      <a:pt x="545" y="164"/>
                    </a:lnTo>
                    <a:lnTo>
                      <a:pt x="545" y="162"/>
                    </a:lnTo>
                    <a:close/>
                    <a:moveTo>
                      <a:pt x="536" y="164"/>
                    </a:moveTo>
                    <a:lnTo>
                      <a:pt x="536" y="162"/>
                    </a:lnTo>
                    <a:lnTo>
                      <a:pt x="538" y="164"/>
                    </a:lnTo>
                    <a:lnTo>
                      <a:pt x="538" y="162"/>
                    </a:lnTo>
                    <a:lnTo>
                      <a:pt x="538" y="164"/>
                    </a:lnTo>
                    <a:lnTo>
                      <a:pt x="538" y="162"/>
                    </a:lnTo>
                    <a:lnTo>
                      <a:pt x="540" y="164"/>
                    </a:lnTo>
                    <a:lnTo>
                      <a:pt x="540" y="166"/>
                    </a:lnTo>
                    <a:lnTo>
                      <a:pt x="538" y="166"/>
                    </a:lnTo>
                    <a:lnTo>
                      <a:pt x="536" y="166"/>
                    </a:lnTo>
                    <a:lnTo>
                      <a:pt x="536" y="164"/>
                    </a:lnTo>
                    <a:close/>
                    <a:moveTo>
                      <a:pt x="520" y="172"/>
                    </a:moveTo>
                    <a:lnTo>
                      <a:pt x="522" y="172"/>
                    </a:lnTo>
                    <a:lnTo>
                      <a:pt x="522" y="173"/>
                    </a:lnTo>
                    <a:lnTo>
                      <a:pt x="520" y="173"/>
                    </a:lnTo>
                    <a:lnTo>
                      <a:pt x="520" y="172"/>
                    </a:lnTo>
                    <a:close/>
                    <a:moveTo>
                      <a:pt x="545" y="141"/>
                    </a:moveTo>
                    <a:lnTo>
                      <a:pt x="545" y="139"/>
                    </a:lnTo>
                    <a:lnTo>
                      <a:pt x="547" y="139"/>
                    </a:lnTo>
                    <a:lnTo>
                      <a:pt x="549" y="139"/>
                    </a:lnTo>
                    <a:lnTo>
                      <a:pt x="549" y="141"/>
                    </a:lnTo>
                    <a:lnTo>
                      <a:pt x="551" y="141"/>
                    </a:lnTo>
                    <a:lnTo>
                      <a:pt x="551" y="143"/>
                    </a:lnTo>
                    <a:lnTo>
                      <a:pt x="551" y="145"/>
                    </a:lnTo>
                    <a:lnTo>
                      <a:pt x="549" y="145"/>
                    </a:lnTo>
                    <a:lnTo>
                      <a:pt x="547" y="145"/>
                    </a:lnTo>
                    <a:lnTo>
                      <a:pt x="547" y="143"/>
                    </a:lnTo>
                    <a:lnTo>
                      <a:pt x="545" y="143"/>
                    </a:lnTo>
                    <a:lnTo>
                      <a:pt x="545" y="141"/>
                    </a:lnTo>
                    <a:lnTo>
                      <a:pt x="543" y="141"/>
                    </a:lnTo>
                    <a:lnTo>
                      <a:pt x="545" y="141"/>
                    </a:lnTo>
                    <a:close/>
                    <a:moveTo>
                      <a:pt x="180" y="356"/>
                    </a:moveTo>
                    <a:lnTo>
                      <a:pt x="178" y="356"/>
                    </a:lnTo>
                    <a:lnTo>
                      <a:pt x="180" y="356"/>
                    </a:lnTo>
                    <a:close/>
                    <a:moveTo>
                      <a:pt x="192" y="345"/>
                    </a:moveTo>
                    <a:lnTo>
                      <a:pt x="194" y="345"/>
                    </a:lnTo>
                    <a:lnTo>
                      <a:pt x="192" y="345"/>
                    </a:lnTo>
                    <a:lnTo>
                      <a:pt x="190" y="345"/>
                    </a:lnTo>
                    <a:lnTo>
                      <a:pt x="190" y="347"/>
                    </a:lnTo>
                    <a:lnTo>
                      <a:pt x="188" y="347"/>
                    </a:lnTo>
                    <a:lnTo>
                      <a:pt x="186" y="348"/>
                    </a:lnTo>
                    <a:lnTo>
                      <a:pt x="184" y="350"/>
                    </a:lnTo>
                    <a:lnTo>
                      <a:pt x="182" y="352"/>
                    </a:lnTo>
                    <a:lnTo>
                      <a:pt x="184" y="350"/>
                    </a:lnTo>
                    <a:lnTo>
                      <a:pt x="186" y="348"/>
                    </a:lnTo>
                    <a:lnTo>
                      <a:pt x="188" y="347"/>
                    </a:lnTo>
                    <a:lnTo>
                      <a:pt x="186" y="347"/>
                    </a:lnTo>
                    <a:lnTo>
                      <a:pt x="188" y="347"/>
                    </a:lnTo>
                    <a:lnTo>
                      <a:pt x="190" y="347"/>
                    </a:lnTo>
                    <a:lnTo>
                      <a:pt x="190" y="345"/>
                    </a:lnTo>
                    <a:lnTo>
                      <a:pt x="192" y="345"/>
                    </a:lnTo>
                    <a:close/>
                    <a:moveTo>
                      <a:pt x="522" y="108"/>
                    </a:moveTo>
                    <a:lnTo>
                      <a:pt x="522" y="110"/>
                    </a:lnTo>
                    <a:lnTo>
                      <a:pt x="520" y="110"/>
                    </a:lnTo>
                    <a:lnTo>
                      <a:pt x="518" y="110"/>
                    </a:lnTo>
                    <a:lnTo>
                      <a:pt x="518" y="108"/>
                    </a:lnTo>
                    <a:lnTo>
                      <a:pt x="518" y="106"/>
                    </a:lnTo>
                    <a:lnTo>
                      <a:pt x="517" y="106"/>
                    </a:lnTo>
                    <a:lnTo>
                      <a:pt x="518" y="104"/>
                    </a:lnTo>
                    <a:lnTo>
                      <a:pt x="520" y="104"/>
                    </a:lnTo>
                    <a:lnTo>
                      <a:pt x="520" y="106"/>
                    </a:lnTo>
                    <a:lnTo>
                      <a:pt x="520" y="108"/>
                    </a:lnTo>
                    <a:lnTo>
                      <a:pt x="522" y="108"/>
                    </a:lnTo>
                    <a:close/>
                    <a:moveTo>
                      <a:pt x="520" y="72"/>
                    </a:moveTo>
                    <a:lnTo>
                      <a:pt x="518" y="72"/>
                    </a:lnTo>
                    <a:lnTo>
                      <a:pt x="518" y="70"/>
                    </a:lnTo>
                    <a:lnTo>
                      <a:pt x="520" y="70"/>
                    </a:lnTo>
                    <a:lnTo>
                      <a:pt x="520" y="72"/>
                    </a:lnTo>
                    <a:close/>
                    <a:moveTo>
                      <a:pt x="538" y="2"/>
                    </a:moveTo>
                    <a:lnTo>
                      <a:pt x="540" y="2"/>
                    </a:lnTo>
                    <a:lnTo>
                      <a:pt x="540" y="4"/>
                    </a:lnTo>
                    <a:lnTo>
                      <a:pt x="541" y="4"/>
                    </a:lnTo>
                    <a:lnTo>
                      <a:pt x="541" y="6"/>
                    </a:lnTo>
                    <a:lnTo>
                      <a:pt x="543" y="6"/>
                    </a:lnTo>
                    <a:lnTo>
                      <a:pt x="541" y="6"/>
                    </a:lnTo>
                    <a:lnTo>
                      <a:pt x="543" y="6"/>
                    </a:lnTo>
                    <a:lnTo>
                      <a:pt x="543" y="8"/>
                    </a:lnTo>
                    <a:lnTo>
                      <a:pt x="543" y="10"/>
                    </a:lnTo>
                    <a:lnTo>
                      <a:pt x="543" y="12"/>
                    </a:lnTo>
                    <a:lnTo>
                      <a:pt x="543" y="14"/>
                    </a:lnTo>
                    <a:lnTo>
                      <a:pt x="543" y="16"/>
                    </a:lnTo>
                    <a:lnTo>
                      <a:pt x="545" y="16"/>
                    </a:lnTo>
                    <a:lnTo>
                      <a:pt x="543" y="16"/>
                    </a:lnTo>
                    <a:lnTo>
                      <a:pt x="543" y="18"/>
                    </a:lnTo>
                    <a:lnTo>
                      <a:pt x="541" y="18"/>
                    </a:lnTo>
                    <a:lnTo>
                      <a:pt x="541" y="20"/>
                    </a:lnTo>
                    <a:lnTo>
                      <a:pt x="540" y="20"/>
                    </a:lnTo>
                    <a:lnTo>
                      <a:pt x="540" y="18"/>
                    </a:lnTo>
                    <a:lnTo>
                      <a:pt x="538" y="18"/>
                    </a:lnTo>
                    <a:lnTo>
                      <a:pt x="536" y="18"/>
                    </a:lnTo>
                    <a:lnTo>
                      <a:pt x="534" y="18"/>
                    </a:lnTo>
                    <a:lnTo>
                      <a:pt x="536" y="16"/>
                    </a:lnTo>
                    <a:lnTo>
                      <a:pt x="534" y="16"/>
                    </a:lnTo>
                    <a:lnTo>
                      <a:pt x="534" y="14"/>
                    </a:lnTo>
                    <a:lnTo>
                      <a:pt x="534" y="12"/>
                    </a:lnTo>
                    <a:lnTo>
                      <a:pt x="534" y="10"/>
                    </a:lnTo>
                    <a:lnTo>
                      <a:pt x="536" y="8"/>
                    </a:lnTo>
                    <a:lnTo>
                      <a:pt x="536" y="6"/>
                    </a:lnTo>
                    <a:lnTo>
                      <a:pt x="536" y="4"/>
                    </a:lnTo>
                    <a:lnTo>
                      <a:pt x="536" y="2"/>
                    </a:lnTo>
                    <a:lnTo>
                      <a:pt x="538" y="2"/>
                    </a:lnTo>
                    <a:lnTo>
                      <a:pt x="538" y="0"/>
                    </a:lnTo>
                    <a:lnTo>
                      <a:pt x="538" y="2"/>
                    </a:lnTo>
                    <a:close/>
                    <a:moveTo>
                      <a:pt x="507" y="18"/>
                    </a:moveTo>
                    <a:lnTo>
                      <a:pt x="509" y="18"/>
                    </a:lnTo>
                    <a:lnTo>
                      <a:pt x="511" y="18"/>
                    </a:lnTo>
                    <a:lnTo>
                      <a:pt x="513" y="18"/>
                    </a:lnTo>
                    <a:lnTo>
                      <a:pt x="513" y="20"/>
                    </a:lnTo>
                    <a:lnTo>
                      <a:pt x="515" y="20"/>
                    </a:lnTo>
                    <a:lnTo>
                      <a:pt x="515" y="22"/>
                    </a:lnTo>
                    <a:lnTo>
                      <a:pt x="515" y="24"/>
                    </a:lnTo>
                    <a:lnTo>
                      <a:pt x="513" y="24"/>
                    </a:lnTo>
                    <a:lnTo>
                      <a:pt x="513" y="25"/>
                    </a:lnTo>
                    <a:lnTo>
                      <a:pt x="511" y="25"/>
                    </a:lnTo>
                    <a:lnTo>
                      <a:pt x="511" y="24"/>
                    </a:lnTo>
                    <a:lnTo>
                      <a:pt x="509" y="24"/>
                    </a:lnTo>
                    <a:lnTo>
                      <a:pt x="507" y="24"/>
                    </a:lnTo>
                    <a:lnTo>
                      <a:pt x="507" y="22"/>
                    </a:lnTo>
                    <a:lnTo>
                      <a:pt x="507" y="20"/>
                    </a:lnTo>
                    <a:lnTo>
                      <a:pt x="505" y="20"/>
                    </a:lnTo>
                    <a:lnTo>
                      <a:pt x="507" y="20"/>
                    </a:lnTo>
                    <a:lnTo>
                      <a:pt x="507" y="18"/>
                    </a:lnTo>
                    <a:close/>
                    <a:moveTo>
                      <a:pt x="105" y="206"/>
                    </a:moveTo>
                    <a:lnTo>
                      <a:pt x="107" y="206"/>
                    </a:lnTo>
                    <a:lnTo>
                      <a:pt x="105" y="206"/>
                    </a:lnTo>
                    <a:lnTo>
                      <a:pt x="105" y="208"/>
                    </a:lnTo>
                    <a:lnTo>
                      <a:pt x="105" y="206"/>
                    </a:lnTo>
                    <a:close/>
                    <a:moveTo>
                      <a:pt x="103" y="208"/>
                    </a:moveTo>
                    <a:lnTo>
                      <a:pt x="103" y="206"/>
                    </a:lnTo>
                    <a:lnTo>
                      <a:pt x="103" y="208"/>
                    </a:lnTo>
                    <a:close/>
                    <a:moveTo>
                      <a:pt x="103" y="206"/>
                    </a:moveTo>
                    <a:lnTo>
                      <a:pt x="105" y="206"/>
                    </a:lnTo>
                    <a:lnTo>
                      <a:pt x="103" y="206"/>
                    </a:lnTo>
                    <a:close/>
                    <a:moveTo>
                      <a:pt x="111" y="210"/>
                    </a:moveTo>
                    <a:lnTo>
                      <a:pt x="111" y="212"/>
                    </a:lnTo>
                    <a:lnTo>
                      <a:pt x="111" y="210"/>
                    </a:lnTo>
                    <a:lnTo>
                      <a:pt x="109" y="210"/>
                    </a:lnTo>
                    <a:lnTo>
                      <a:pt x="109" y="208"/>
                    </a:lnTo>
                    <a:lnTo>
                      <a:pt x="107" y="208"/>
                    </a:lnTo>
                    <a:lnTo>
                      <a:pt x="107" y="206"/>
                    </a:lnTo>
                    <a:lnTo>
                      <a:pt x="105" y="206"/>
                    </a:lnTo>
                    <a:lnTo>
                      <a:pt x="105" y="204"/>
                    </a:lnTo>
                    <a:lnTo>
                      <a:pt x="103" y="204"/>
                    </a:lnTo>
                    <a:lnTo>
                      <a:pt x="103" y="202"/>
                    </a:lnTo>
                    <a:lnTo>
                      <a:pt x="103" y="204"/>
                    </a:lnTo>
                    <a:lnTo>
                      <a:pt x="105" y="204"/>
                    </a:lnTo>
                    <a:lnTo>
                      <a:pt x="107" y="206"/>
                    </a:lnTo>
                    <a:lnTo>
                      <a:pt x="109" y="208"/>
                    </a:lnTo>
                    <a:lnTo>
                      <a:pt x="111" y="210"/>
                    </a:lnTo>
                    <a:close/>
                    <a:moveTo>
                      <a:pt x="90" y="189"/>
                    </a:moveTo>
                    <a:lnTo>
                      <a:pt x="90" y="191"/>
                    </a:lnTo>
                    <a:lnTo>
                      <a:pt x="90" y="189"/>
                    </a:lnTo>
                    <a:lnTo>
                      <a:pt x="88" y="189"/>
                    </a:lnTo>
                    <a:lnTo>
                      <a:pt x="88" y="187"/>
                    </a:lnTo>
                    <a:lnTo>
                      <a:pt x="86" y="185"/>
                    </a:lnTo>
                    <a:lnTo>
                      <a:pt x="88" y="185"/>
                    </a:lnTo>
                    <a:lnTo>
                      <a:pt x="88" y="187"/>
                    </a:lnTo>
                    <a:lnTo>
                      <a:pt x="90" y="189"/>
                    </a:lnTo>
                    <a:close/>
                    <a:moveTo>
                      <a:pt x="86" y="185"/>
                    </a:moveTo>
                    <a:lnTo>
                      <a:pt x="84" y="185"/>
                    </a:lnTo>
                    <a:lnTo>
                      <a:pt x="84" y="183"/>
                    </a:lnTo>
                    <a:lnTo>
                      <a:pt x="86" y="183"/>
                    </a:lnTo>
                    <a:lnTo>
                      <a:pt x="86" y="185"/>
                    </a:lnTo>
                    <a:close/>
                    <a:moveTo>
                      <a:pt x="84" y="181"/>
                    </a:moveTo>
                    <a:lnTo>
                      <a:pt x="82" y="181"/>
                    </a:lnTo>
                    <a:lnTo>
                      <a:pt x="84" y="181"/>
                    </a:lnTo>
                    <a:close/>
                    <a:moveTo>
                      <a:pt x="77" y="160"/>
                    </a:moveTo>
                    <a:lnTo>
                      <a:pt x="78" y="160"/>
                    </a:lnTo>
                    <a:lnTo>
                      <a:pt x="77" y="162"/>
                    </a:lnTo>
                    <a:lnTo>
                      <a:pt x="77" y="164"/>
                    </a:lnTo>
                    <a:lnTo>
                      <a:pt x="77" y="162"/>
                    </a:lnTo>
                    <a:lnTo>
                      <a:pt x="77" y="160"/>
                    </a:lnTo>
                    <a:lnTo>
                      <a:pt x="77" y="158"/>
                    </a:lnTo>
                    <a:lnTo>
                      <a:pt x="77" y="160"/>
                    </a:lnTo>
                    <a:close/>
                    <a:moveTo>
                      <a:pt x="75" y="154"/>
                    </a:moveTo>
                    <a:lnTo>
                      <a:pt x="75" y="152"/>
                    </a:lnTo>
                    <a:lnTo>
                      <a:pt x="73" y="152"/>
                    </a:lnTo>
                    <a:lnTo>
                      <a:pt x="75" y="152"/>
                    </a:lnTo>
                    <a:lnTo>
                      <a:pt x="73" y="152"/>
                    </a:lnTo>
                    <a:lnTo>
                      <a:pt x="75" y="150"/>
                    </a:lnTo>
                    <a:lnTo>
                      <a:pt x="75" y="152"/>
                    </a:lnTo>
                    <a:lnTo>
                      <a:pt x="75" y="154"/>
                    </a:lnTo>
                    <a:close/>
                    <a:moveTo>
                      <a:pt x="2" y="123"/>
                    </a:moveTo>
                    <a:lnTo>
                      <a:pt x="4" y="123"/>
                    </a:lnTo>
                    <a:lnTo>
                      <a:pt x="4" y="125"/>
                    </a:lnTo>
                    <a:lnTo>
                      <a:pt x="2" y="125"/>
                    </a:lnTo>
                    <a:lnTo>
                      <a:pt x="0" y="127"/>
                    </a:lnTo>
                    <a:lnTo>
                      <a:pt x="0" y="125"/>
                    </a:lnTo>
                    <a:lnTo>
                      <a:pt x="2" y="123"/>
                    </a:lnTo>
                    <a:close/>
                    <a:moveTo>
                      <a:pt x="17" y="104"/>
                    </a:moveTo>
                    <a:lnTo>
                      <a:pt x="15" y="104"/>
                    </a:lnTo>
                    <a:lnTo>
                      <a:pt x="15" y="106"/>
                    </a:lnTo>
                    <a:lnTo>
                      <a:pt x="13" y="106"/>
                    </a:lnTo>
                    <a:lnTo>
                      <a:pt x="13" y="108"/>
                    </a:lnTo>
                    <a:lnTo>
                      <a:pt x="13" y="110"/>
                    </a:lnTo>
                    <a:lnTo>
                      <a:pt x="13" y="108"/>
                    </a:lnTo>
                    <a:lnTo>
                      <a:pt x="13" y="106"/>
                    </a:lnTo>
                    <a:lnTo>
                      <a:pt x="13" y="104"/>
                    </a:lnTo>
                    <a:lnTo>
                      <a:pt x="15" y="104"/>
                    </a:lnTo>
                    <a:lnTo>
                      <a:pt x="17" y="10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Freeform 119">
                <a:extLst>
                  <a:ext uri="{FF2B5EF4-FFF2-40B4-BE49-F238E27FC236}">
                    <a16:creationId xmlns="" xmlns:a16="http://schemas.microsoft.com/office/drawing/2014/main" id="{7741EE18-307A-4373-9696-A787552246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73938" y="3829051"/>
                <a:ext cx="836613" cy="876300"/>
              </a:xfrm>
              <a:custGeom>
                <a:avLst/>
                <a:gdLst>
                  <a:gd name="T0" fmla="*/ 500 w 527"/>
                  <a:gd name="T1" fmla="*/ 385 h 552"/>
                  <a:gd name="T2" fmla="*/ 488 w 527"/>
                  <a:gd name="T3" fmla="*/ 391 h 552"/>
                  <a:gd name="T4" fmla="*/ 500 w 527"/>
                  <a:gd name="T5" fmla="*/ 371 h 552"/>
                  <a:gd name="T6" fmla="*/ 500 w 527"/>
                  <a:gd name="T7" fmla="*/ 371 h 552"/>
                  <a:gd name="T8" fmla="*/ 502 w 527"/>
                  <a:gd name="T9" fmla="*/ 370 h 552"/>
                  <a:gd name="T10" fmla="*/ 502 w 527"/>
                  <a:gd name="T11" fmla="*/ 370 h 552"/>
                  <a:gd name="T12" fmla="*/ 181 w 527"/>
                  <a:gd name="T13" fmla="*/ 552 h 552"/>
                  <a:gd name="T14" fmla="*/ 502 w 527"/>
                  <a:gd name="T15" fmla="*/ 368 h 552"/>
                  <a:gd name="T16" fmla="*/ 502 w 527"/>
                  <a:gd name="T17" fmla="*/ 368 h 552"/>
                  <a:gd name="T18" fmla="*/ 181 w 527"/>
                  <a:gd name="T19" fmla="*/ 552 h 552"/>
                  <a:gd name="T20" fmla="*/ 179 w 527"/>
                  <a:gd name="T21" fmla="*/ 550 h 552"/>
                  <a:gd name="T22" fmla="*/ 502 w 527"/>
                  <a:gd name="T23" fmla="*/ 348 h 552"/>
                  <a:gd name="T24" fmla="*/ 229 w 527"/>
                  <a:gd name="T25" fmla="*/ 483 h 552"/>
                  <a:gd name="T26" fmla="*/ 229 w 527"/>
                  <a:gd name="T27" fmla="*/ 483 h 552"/>
                  <a:gd name="T28" fmla="*/ 227 w 527"/>
                  <a:gd name="T29" fmla="*/ 479 h 552"/>
                  <a:gd name="T30" fmla="*/ 193 w 527"/>
                  <a:gd name="T31" fmla="*/ 450 h 552"/>
                  <a:gd name="T32" fmla="*/ 527 w 527"/>
                  <a:gd name="T33" fmla="*/ 247 h 552"/>
                  <a:gd name="T34" fmla="*/ 525 w 527"/>
                  <a:gd name="T35" fmla="*/ 247 h 552"/>
                  <a:gd name="T36" fmla="*/ 527 w 527"/>
                  <a:gd name="T37" fmla="*/ 241 h 552"/>
                  <a:gd name="T38" fmla="*/ 527 w 527"/>
                  <a:gd name="T39" fmla="*/ 241 h 552"/>
                  <a:gd name="T40" fmla="*/ 223 w 527"/>
                  <a:gd name="T41" fmla="*/ 350 h 552"/>
                  <a:gd name="T42" fmla="*/ 146 w 527"/>
                  <a:gd name="T43" fmla="*/ 331 h 552"/>
                  <a:gd name="T44" fmla="*/ 164 w 527"/>
                  <a:gd name="T45" fmla="*/ 320 h 552"/>
                  <a:gd name="T46" fmla="*/ 154 w 527"/>
                  <a:gd name="T47" fmla="*/ 323 h 552"/>
                  <a:gd name="T48" fmla="*/ 156 w 527"/>
                  <a:gd name="T49" fmla="*/ 323 h 552"/>
                  <a:gd name="T50" fmla="*/ 160 w 527"/>
                  <a:gd name="T51" fmla="*/ 322 h 552"/>
                  <a:gd name="T52" fmla="*/ 154 w 527"/>
                  <a:gd name="T53" fmla="*/ 323 h 552"/>
                  <a:gd name="T54" fmla="*/ 154 w 527"/>
                  <a:gd name="T55" fmla="*/ 323 h 552"/>
                  <a:gd name="T56" fmla="*/ 91 w 527"/>
                  <a:gd name="T57" fmla="*/ 302 h 552"/>
                  <a:gd name="T58" fmla="*/ 145 w 527"/>
                  <a:gd name="T59" fmla="*/ 266 h 552"/>
                  <a:gd name="T60" fmla="*/ 515 w 527"/>
                  <a:gd name="T61" fmla="*/ 0 h 552"/>
                  <a:gd name="T62" fmla="*/ 97 w 527"/>
                  <a:gd name="T63" fmla="*/ 206 h 552"/>
                  <a:gd name="T64" fmla="*/ 95 w 527"/>
                  <a:gd name="T65" fmla="*/ 204 h 552"/>
                  <a:gd name="T66" fmla="*/ 77 w 527"/>
                  <a:gd name="T67" fmla="*/ 181 h 552"/>
                  <a:gd name="T68" fmla="*/ 77 w 527"/>
                  <a:gd name="T69" fmla="*/ 183 h 552"/>
                  <a:gd name="T70" fmla="*/ 75 w 527"/>
                  <a:gd name="T71" fmla="*/ 181 h 552"/>
                  <a:gd name="T72" fmla="*/ 64 w 527"/>
                  <a:gd name="T73" fmla="*/ 177 h 552"/>
                  <a:gd name="T74" fmla="*/ 64 w 527"/>
                  <a:gd name="T75" fmla="*/ 175 h 552"/>
                  <a:gd name="T76" fmla="*/ 64 w 527"/>
                  <a:gd name="T77" fmla="*/ 172 h 552"/>
                  <a:gd name="T78" fmla="*/ 64 w 527"/>
                  <a:gd name="T79" fmla="*/ 172 h 552"/>
                  <a:gd name="T80" fmla="*/ 62 w 527"/>
                  <a:gd name="T81" fmla="*/ 166 h 552"/>
                  <a:gd name="T82" fmla="*/ 60 w 527"/>
                  <a:gd name="T83" fmla="*/ 166 h 552"/>
                  <a:gd name="T84" fmla="*/ 56 w 527"/>
                  <a:gd name="T85" fmla="*/ 162 h 552"/>
                  <a:gd name="T86" fmla="*/ 56 w 527"/>
                  <a:gd name="T87" fmla="*/ 160 h 552"/>
                  <a:gd name="T88" fmla="*/ 56 w 527"/>
                  <a:gd name="T89" fmla="*/ 160 h 552"/>
                  <a:gd name="T90" fmla="*/ 56 w 527"/>
                  <a:gd name="T91" fmla="*/ 158 h 552"/>
                  <a:gd name="T92" fmla="*/ 52 w 527"/>
                  <a:gd name="T93" fmla="*/ 152 h 552"/>
                  <a:gd name="T94" fmla="*/ 47 w 527"/>
                  <a:gd name="T95" fmla="*/ 139 h 552"/>
                  <a:gd name="T96" fmla="*/ 45 w 527"/>
                  <a:gd name="T97" fmla="*/ 129 h 552"/>
                  <a:gd name="T98" fmla="*/ 45 w 527"/>
                  <a:gd name="T99" fmla="*/ 129 h 552"/>
                  <a:gd name="T100" fmla="*/ 33 w 527"/>
                  <a:gd name="T101" fmla="*/ 110 h 552"/>
                  <a:gd name="T102" fmla="*/ 33 w 527"/>
                  <a:gd name="T103" fmla="*/ 110 h 552"/>
                  <a:gd name="T104" fmla="*/ 33 w 527"/>
                  <a:gd name="T105" fmla="*/ 108 h 552"/>
                  <a:gd name="T106" fmla="*/ 31 w 527"/>
                  <a:gd name="T107" fmla="*/ 104 h 552"/>
                  <a:gd name="T108" fmla="*/ 31 w 527"/>
                  <a:gd name="T109" fmla="*/ 104 h 552"/>
                  <a:gd name="T110" fmla="*/ 25 w 527"/>
                  <a:gd name="T111" fmla="*/ 95 h 552"/>
                  <a:gd name="T112" fmla="*/ 0 w 527"/>
                  <a:gd name="T113" fmla="*/ 66 h 5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27" h="552">
                    <a:moveTo>
                      <a:pt x="485" y="427"/>
                    </a:moveTo>
                    <a:lnTo>
                      <a:pt x="485" y="427"/>
                    </a:lnTo>
                    <a:lnTo>
                      <a:pt x="485" y="427"/>
                    </a:lnTo>
                    <a:lnTo>
                      <a:pt x="485" y="427"/>
                    </a:lnTo>
                    <a:lnTo>
                      <a:pt x="485" y="427"/>
                    </a:lnTo>
                    <a:close/>
                    <a:moveTo>
                      <a:pt x="500" y="385"/>
                    </a:moveTo>
                    <a:lnTo>
                      <a:pt x="500" y="385"/>
                    </a:lnTo>
                    <a:lnTo>
                      <a:pt x="500" y="385"/>
                    </a:lnTo>
                    <a:lnTo>
                      <a:pt x="500" y="385"/>
                    </a:lnTo>
                    <a:lnTo>
                      <a:pt x="500" y="385"/>
                    </a:lnTo>
                    <a:lnTo>
                      <a:pt x="500" y="385"/>
                    </a:lnTo>
                    <a:close/>
                    <a:moveTo>
                      <a:pt x="488" y="391"/>
                    </a:moveTo>
                    <a:lnTo>
                      <a:pt x="488" y="391"/>
                    </a:lnTo>
                    <a:lnTo>
                      <a:pt x="488" y="391"/>
                    </a:lnTo>
                    <a:lnTo>
                      <a:pt x="488" y="391"/>
                    </a:lnTo>
                    <a:lnTo>
                      <a:pt x="488" y="391"/>
                    </a:lnTo>
                    <a:close/>
                    <a:moveTo>
                      <a:pt x="500" y="371"/>
                    </a:moveTo>
                    <a:lnTo>
                      <a:pt x="500" y="371"/>
                    </a:lnTo>
                    <a:lnTo>
                      <a:pt x="500" y="371"/>
                    </a:lnTo>
                    <a:lnTo>
                      <a:pt x="500" y="371"/>
                    </a:lnTo>
                    <a:lnTo>
                      <a:pt x="500" y="371"/>
                    </a:lnTo>
                    <a:lnTo>
                      <a:pt x="500" y="371"/>
                    </a:lnTo>
                    <a:lnTo>
                      <a:pt x="500" y="371"/>
                    </a:lnTo>
                    <a:close/>
                    <a:moveTo>
                      <a:pt x="500" y="371"/>
                    </a:moveTo>
                    <a:lnTo>
                      <a:pt x="500" y="371"/>
                    </a:lnTo>
                    <a:lnTo>
                      <a:pt x="500" y="371"/>
                    </a:lnTo>
                    <a:lnTo>
                      <a:pt x="500" y="371"/>
                    </a:lnTo>
                    <a:lnTo>
                      <a:pt x="500" y="371"/>
                    </a:lnTo>
                    <a:lnTo>
                      <a:pt x="500" y="371"/>
                    </a:lnTo>
                    <a:close/>
                    <a:moveTo>
                      <a:pt x="502" y="370"/>
                    </a:moveTo>
                    <a:lnTo>
                      <a:pt x="502" y="370"/>
                    </a:lnTo>
                    <a:lnTo>
                      <a:pt x="502" y="370"/>
                    </a:lnTo>
                    <a:lnTo>
                      <a:pt x="502" y="370"/>
                    </a:lnTo>
                    <a:lnTo>
                      <a:pt x="502" y="370"/>
                    </a:lnTo>
                    <a:close/>
                    <a:moveTo>
                      <a:pt x="502" y="370"/>
                    </a:moveTo>
                    <a:lnTo>
                      <a:pt x="502" y="370"/>
                    </a:lnTo>
                    <a:lnTo>
                      <a:pt x="502" y="370"/>
                    </a:lnTo>
                    <a:lnTo>
                      <a:pt x="502" y="370"/>
                    </a:lnTo>
                    <a:lnTo>
                      <a:pt x="502" y="370"/>
                    </a:lnTo>
                    <a:lnTo>
                      <a:pt x="502" y="370"/>
                    </a:lnTo>
                    <a:close/>
                    <a:moveTo>
                      <a:pt x="181" y="552"/>
                    </a:moveTo>
                    <a:lnTo>
                      <a:pt x="181" y="552"/>
                    </a:lnTo>
                    <a:lnTo>
                      <a:pt x="181" y="552"/>
                    </a:lnTo>
                    <a:lnTo>
                      <a:pt x="181" y="552"/>
                    </a:lnTo>
                    <a:lnTo>
                      <a:pt x="181" y="552"/>
                    </a:lnTo>
                    <a:close/>
                    <a:moveTo>
                      <a:pt x="502" y="368"/>
                    </a:moveTo>
                    <a:lnTo>
                      <a:pt x="502" y="368"/>
                    </a:lnTo>
                    <a:lnTo>
                      <a:pt x="502" y="368"/>
                    </a:lnTo>
                    <a:lnTo>
                      <a:pt x="502" y="368"/>
                    </a:lnTo>
                    <a:lnTo>
                      <a:pt x="502" y="368"/>
                    </a:lnTo>
                    <a:lnTo>
                      <a:pt x="502" y="368"/>
                    </a:lnTo>
                    <a:lnTo>
                      <a:pt x="502" y="368"/>
                    </a:lnTo>
                    <a:lnTo>
                      <a:pt x="502" y="368"/>
                    </a:lnTo>
                    <a:lnTo>
                      <a:pt x="502" y="368"/>
                    </a:lnTo>
                    <a:lnTo>
                      <a:pt x="502" y="368"/>
                    </a:lnTo>
                    <a:lnTo>
                      <a:pt x="502" y="368"/>
                    </a:lnTo>
                    <a:close/>
                    <a:moveTo>
                      <a:pt x="181" y="552"/>
                    </a:moveTo>
                    <a:lnTo>
                      <a:pt x="181" y="552"/>
                    </a:lnTo>
                    <a:lnTo>
                      <a:pt x="181" y="552"/>
                    </a:lnTo>
                    <a:lnTo>
                      <a:pt x="181" y="552"/>
                    </a:lnTo>
                    <a:lnTo>
                      <a:pt x="181" y="552"/>
                    </a:lnTo>
                    <a:close/>
                    <a:moveTo>
                      <a:pt x="179" y="550"/>
                    </a:moveTo>
                    <a:lnTo>
                      <a:pt x="179" y="550"/>
                    </a:lnTo>
                    <a:lnTo>
                      <a:pt x="179" y="550"/>
                    </a:lnTo>
                    <a:lnTo>
                      <a:pt x="179" y="550"/>
                    </a:lnTo>
                    <a:lnTo>
                      <a:pt x="179" y="550"/>
                    </a:lnTo>
                    <a:lnTo>
                      <a:pt x="179" y="550"/>
                    </a:lnTo>
                    <a:close/>
                    <a:moveTo>
                      <a:pt x="502" y="348"/>
                    </a:moveTo>
                    <a:lnTo>
                      <a:pt x="502" y="348"/>
                    </a:lnTo>
                    <a:lnTo>
                      <a:pt x="502" y="348"/>
                    </a:lnTo>
                    <a:lnTo>
                      <a:pt x="502" y="348"/>
                    </a:lnTo>
                    <a:lnTo>
                      <a:pt x="502" y="348"/>
                    </a:lnTo>
                    <a:lnTo>
                      <a:pt x="502" y="348"/>
                    </a:lnTo>
                    <a:close/>
                    <a:moveTo>
                      <a:pt x="221" y="500"/>
                    </a:moveTo>
                    <a:lnTo>
                      <a:pt x="221" y="500"/>
                    </a:lnTo>
                    <a:lnTo>
                      <a:pt x="221" y="500"/>
                    </a:lnTo>
                    <a:lnTo>
                      <a:pt x="221" y="500"/>
                    </a:lnTo>
                    <a:close/>
                    <a:moveTo>
                      <a:pt x="229" y="483"/>
                    </a:moveTo>
                    <a:lnTo>
                      <a:pt x="229" y="483"/>
                    </a:lnTo>
                    <a:lnTo>
                      <a:pt x="229" y="483"/>
                    </a:lnTo>
                    <a:lnTo>
                      <a:pt x="229" y="483"/>
                    </a:lnTo>
                    <a:lnTo>
                      <a:pt x="229" y="483"/>
                    </a:lnTo>
                    <a:lnTo>
                      <a:pt x="229" y="483"/>
                    </a:lnTo>
                    <a:lnTo>
                      <a:pt x="229" y="483"/>
                    </a:lnTo>
                    <a:close/>
                    <a:moveTo>
                      <a:pt x="229" y="481"/>
                    </a:moveTo>
                    <a:lnTo>
                      <a:pt x="229" y="481"/>
                    </a:lnTo>
                    <a:lnTo>
                      <a:pt x="229" y="481"/>
                    </a:lnTo>
                    <a:lnTo>
                      <a:pt x="227" y="479"/>
                    </a:lnTo>
                    <a:lnTo>
                      <a:pt x="229" y="481"/>
                    </a:lnTo>
                    <a:close/>
                    <a:moveTo>
                      <a:pt x="227" y="479"/>
                    </a:moveTo>
                    <a:lnTo>
                      <a:pt x="227" y="479"/>
                    </a:lnTo>
                    <a:lnTo>
                      <a:pt x="227" y="479"/>
                    </a:lnTo>
                    <a:lnTo>
                      <a:pt x="227" y="479"/>
                    </a:lnTo>
                    <a:close/>
                    <a:moveTo>
                      <a:pt x="193" y="450"/>
                    </a:moveTo>
                    <a:lnTo>
                      <a:pt x="193" y="450"/>
                    </a:lnTo>
                    <a:lnTo>
                      <a:pt x="193" y="450"/>
                    </a:lnTo>
                    <a:lnTo>
                      <a:pt x="193" y="450"/>
                    </a:lnTo>
                    <a:lnTo>
                      <a:pt x="193" y="450"/>
                    </a:lnTo>
                    <a:close/>
                    <a:moveTo>
                      <a:pt x="527" y="247"/>
                    </a:moveTo>
                    <a:lnTo>
                      <a:pt x="527" y="247"/>
                    </a:lnTo>
                    <a:lnTo>
                      <a:pt x="527" y="247"/>
                    </a:lnTo>
                    <a:lnTo>
                      <a:pt x="527" y="247"/>
                    </a:lnTo>
                    <a:lnTo>
                      <a:pt x="527" y="247"/>
                    </a:lnTo>
                    <a:lnTo>
                      <a:pt x="527" y="247"/>
                    </a:lnTo>
                    <a:close/>
                    <a:moveTo>
                      <a:pt x="527" y="247"/>
                    </a:moveTo>
                    <a:lnTo>
                      <a:pt x="527" y="247"/>
                    </a:lnTo>
                    <a:lnTo>
                      <a:pt x="525" y="247"/>
                    </a:lnTo>
                    <a:lnTo>
                      <a:pt x="525" y="247"/>
                    </a:lnTo>
                    <a:lnTo>
                      <a:pt x="525" y="247"/>
                    </a:lnTo>
                    <a:lnTo>
                      <a:pt x="525" y="247"/>
                    </a:lnTo>
                    <a:lnTo>
                      <a:pt x="527" y="247"/>
                    </a:lnTo>
                    <a:close/>
                    <a:moveTo>
                      <a:pt x="527" y="241"/>
                    </a:moveTo>
                    <a:lnTo>
                      <a:pt x="527" y="241"/>
                    </a:lnTo>
                    <a:lnTo>
                      <a:pt x="527" y="241"/>
                    </a:lnTo>
                    <a:lnTo>
                      <a:pt x="527" y="241"/>
                    </a:lnTo>
                    <a:lnTo>
                      <a:pt x="527" y="241"/>
                    </a:lnTo>
                    <a:lnTo>
                      <a:pt x="527" y="241"/>
                    </a:lnTo>
                    <a:lnTo>
                      <a:pt x="527" y="241"/>
                    </a:lnTo>
                    <a:close/>
                    <a:moveTo>
                      <a:pt x="527" y="241"/>
                    </a:moveTo>
                    <a:lnTo>
                      <a:pt x="527" y="241"/>
                    </a:lnTo>
                    <a:lnTo>
                      <a:pt x="527" y="241"/>
                    </a:lnTo>
                    <a:lnTo>
                      <a:pt x="527" y="241"/>
                    </a:lnTo>
                    <a:lnTo>
                      <a:pt x="527" y="241"/>
                    </a:lnTo>
                    <a:lnTo>
                      <a:pt x="527" y="239"/>
                    </a:lnTo>
                    <a:lnTo>
                      <a:pt x="527" y="241"/>
                    </a:lnTo>
                    <a:close/>
                    <a:moveTo>
                      <a:pt x="223" y="350"/>
                    </a:moveTo>
                    <a:lnTo>
                      <a:pt x="223" y="350"/>
                    </a:lnTo>
                    <a:lnTo>
                      <a:pt x="223" y="350"/>
                    </a:lnTo>
                    <a:lnTo>
                      <a:pt x="223" y="350"/>
                    </a:lnTo>
                    <a:lnTo>
                      <a:pt x="223" y="350"/>
                    </a:lnTo>
                    <a:lnTo>
                      <a:pt x="223" y="350"/>
                    </a:lnTo>
                    <a:close/>
                    <a:moveTo>
                      <a:pt x="146" y="331"/>
                    </a:moveTo>
                    <a:lnTo>
                      <a:pt x="146" y="331"/>
                    </a:lnTo>
                    <a:lnTo>
                      <a:pt x="146" y="329"/>
                    </a:lnTo>
                    <a:lnTo>
                      <a:pt x="146" y="331"/>
                    </a:lnTo>
                    <a:close/>
                    <a:moveTo>
                      <a:pt x="166" y="320"/>
                    </a:moveTo>
                    <a:lnTo>
                      <a:pt x="166" y="320"/>
                    </a:lnTo>
                    <a:lnTo>
                      <a:pt x="164" y="320"/>
                    </a:lnTo>
                    <a:lnTo>
                      <a:pt x="164" y="320"/>
                    </a:lnTo>
                    <a:lnTo>
                      <a:pt x="164" y="320"/>
                    </a:lnTo>
                    <a:lnTo>
                      <a:pt x="164" y="320"/>
                    </a:lnTo>
                    <a:lnTo>
                      <a:pt x="166" y="320"/>
                    </a:lnTo>
                    <a:close/>
                    <a:moveTo>
                      <a:pt x="154" y="323"/>
                    </a:moveTo>
                    <a:lnTo>
                      <a:pt x="154" y="323"/>
                    </a:lnTo>
                    <a:lnTo>
                      <a:pt x="154" y="323"/>
                    </a:lnTo>
                    <a:lnTo>
                      <a:pt x="154" y="323"/>
                    </a:lnTo>
                    <a:lnTo>
                      <a:pt x="154" y="323"/>
                    </a:lnTo>
                    <a:close/>
                    <a:moveTo>
                      <a:pt x="156" y="323"/>
                    </a:moveTo>
                    <a:lnTo>
                      <a:pt x="156" y="323"/>
                    </a:lnTo>
                    <a:lnTo>
                      <a:pt x="156" y="323"/>
                    </a:lnTo>
                    <a:lnTo>
                      <a:pt x="156" y="323"/>
                    </a:lnTo>
                    <a:lnTo>
                      <a:pt x="156" y="323"/>
                    </a:lnTo>
                    <a:lnTo>
                      <a:pt x="156" y="323"/>
                    </a:lnTo>
                    <a:close/>
                    <a:moveTo>
                      <a:pt x="160" y="322"/>
                    </a:moveTo>
                    <a:lnTo>
                      <a:pt x="160" y="322"/>
                    </a:lnTo>
                    <a:lnTo>
                      <a:pt x="160" y="322"/>
                    </a:lnTo>
                    <a:lnTo>
                      <a:pt x="160" y="322"/>
                    </a:lnTo>
                    <a:lnTo>
                      <a:pt x="160" y="322"/>
                    </a:lnTo>
                    <a:lnTo>
                      <a:pt x="160" y="322"/>
                    </a:lnTo>
                    <a:close/>
                    <a:moveTo>
                      <a:pt x="154" y="323"/>
                    </a:moveTo>
                    <a:lnTo>
                      <a:pt x="156" y="323"/>
                    </a:lnTo>
                    <a:lnTo>
                      <a:pt x="154" y="323"/>
                    </a:lnTo>
                    <a:lnTo>
                      <a:pt x="154" y="323"/>
                    </a:lnTo>
                    <a:lnTo>
                      <a:pt x="154" y="323"/>
                    </a:lnTo>
                    <a:close/>
                    <a:moveTo>
                      <a:pt x="154" y="323"/>
                    </a:moveTo>
                    <a:lnTo>
                      <a:pt x="154" y="323"/>
                    </a:lnTo>
                    <a:lnTo>
                      <a:pt x="154" y="323"/>
                    </a:lnTo>
                    <a:lnTo>
                      <a:pt x="154" y="323"/>
                    </a:lnTo>
                    <a:lnTo>
                      <a:pt x="152" y="323"/>
                    </a:lnTo>
                    <a:lnTo>
                      <a:pt x="154" y="323"/>
                    </a:lnTo>
                    <a:lnTo>
                      <a:pt x="154" y="323"/>
                    </a:lnTo>
                    <a:close/>
                    <a:moveTo>
                      <a:pt x="91" y="302"/>
                    </a:moveTo>
                    <a:lnTo>
                      <a:pt x="91" y="302"/>
                    </a:lnTo>
                    <a:lnTo>
                      <a:pt x="91" y="302"/>
                    </a:lnTo>
                    <a:lnTo>
                      <a:pt x="91" y="302"/>
                    </a:lnTo>
                    <a:lnTo>
                      <a:pt x="91" y="302"/>
                    </a:lnTo>
                    <a:lnTo>
                      <a:pt x="91" y="302"/>
                    </a:lnTo>
                    <a:close/>
                    <a:moveTo>
                      <a:pt x="145" y="266"/>
                    </a:moveTo>
                    <a:lnTo>
                      <a:pt x="145" y="266"/>
                    </a:lnTo>
                    <a:lnTo>
                      <a:pt x="145" y="266"/>
                    </a:lnTo>
                    <a:lnTo>
                      <a:pt x="145" y="266"/>
                    </a:lnTo>
                    <a:close/>
                    <a:moveTo>
                      <a:pt x="515" y="0"/>
                    </a:moveTo>
                    <a:lnTo>
                      <a:pt x="515" y="0"/>
                    </a:lnTo>
                    <a:lnTo>
                      <a:pt x="515" y="0"/>
                    </a:lnTo>
                    <a:lnTo>
                      <a:pt x="515" y="0"/>
                    </a:lnTo>
                    <a:lnTo>
                      <a:pt x="515" y="0"/>
                    </a:lnTo>
                    <a:lnTo>
                      <a:pt x="515" y="0"/>
                    </a:lnTo>
                    <a:close/>
                    <a:moveTo>
                      <a:pt x="97" y="206"/>
                    </a:moveTo>
                    <a:lnTo>
                      <a:pt x="97" y="206"/>
                    </a:lnTo>
                    <a:lnTo>
                      <a:pt x="95" y="206"/>
                    </a:lnTo>
                    <a:lnTo>
                      <a:pt x="97" y="206"/>
                    </a:lnTo>
                    <a:lnTo>
                      <a:pt x="97" y="206"/>
                    </a:lnTo>
                    <a:lnTo>
                      <a:pt x="97" y="206"/>
                    </a:lnTo>
                    <a:close/>
                    <a:moveTo>
                      <a:pt x="95" y="204"/>
                    </a:moveTo>
                    <a:lnTo>
                      <a:pt x="95" y="204"/>
                    </a:lnTo>
                    <a:lnTo>
                      <a:pt x="95" y="204"/>
                    </a:lnTo>
                    <a:lnTo>
                      <a:pt x="95" y="204"/>
                    </a:lnTo>
                    <a:lnTo>
                      <a:pt x="95" y="204"/>
                    </a:lnTo>
                    <a:close/>
                    <a:moveTo>
                      <a:pt x="77" y="181"/>
                    </a:moveTo>
                    <a:lnTo>
                      <a:pt x="77" y="183"/>
                    </a:lnTo>
                    <a:lnTo>
                      <a:pt x="77" y="183"/>
                    </a:lnTo>
                    <a:lnTo>
                      <a:pt x="77" y="181"/>
                    </a:lnTo>
                    <a:lnTo>
                      <a:pt x="77" y="181"/>
                    </a:lnTo>
                    <a:lnTo>
                      <a:pt x="77" y="181"/>
                    </a:lnTo>
                    <a:close/>
                    <a:moveTo>
                      <a:pt x="77" y="183"/>
                    </a:moveTo>
                    <a:lnTo>
                      <a:pt x="77" y="183"/>
                    </a:lnTo>
                    <a:lnTo>
                      <a:pt x="75" y="183"/>
                    </a:lnTo>
                    <a:lnTo>
                      <a:pt x="75" y="183"/>
                    </a:lnTo>
                    <a:lnTo>
                      <a:pt x="77" y="183"/>
                    </a:lnTo>
                    <a:lnTo>
                      <a:pt x="77" y="183"/>
                    </a:lnTo>
                    <a:lnTo>
                      <a:pt x="77" y="183"/>
                    </a:lnTo>
                    <a:close/>
                    <a:moveTo>
                      <a:pt x="75" y="181"/>
                    </a:moveTo>
                    <a:lnTo>
                      <a:pt x="73" y="181"/>
                    </a:lnTo>
                    <a:lnTo>
                      <a:pt x="73" y="181"/>
                    </a:lnTo>
                    <a:lnTo>
                      <a:pt x="73" y="181"/>
                    </a:lnTo>
                    <a:lnTo>
                      <a:pt x="75" y="181"/>
                    </a:lnTo>
                    <a:close/>
                    <a:moveTo>
                      <a:pt x="75" y="179"/>
                    </a:moveTo>
                    <a:lnTo>
                      <a:pt x="75" y="179"/>
                    </a:lnTo>
                    <a:lnTo>
                      <a:pt x="75" y="181"/>
                    </a:lnTo>
                    <a:lnTo>
                      <a:pt x="75" y="179"/>
                    </a:lnTo>
                    <a:lnTo>
                      <a:pt x="75" y="179"/>
                    </a:lnTo>
                    <a:close/>
                    <a:moveTo>
                      <a:pt x="64" y="177"/>
                    </a:moveTo>
                    <a:lnTo>
                      <a:pt x="64" y="177"/>
                    </a:lnTo>
                    <a:lnTo>
                      <a:pt x="64" y="177"/>
                    </a:lnTo>
                    <a:lnTo>
                      <a:pt x="64" y="175"/>
                    </a:lnTo>
                    <a:lnTo>
                      <a:pt x="64" y="177"/>
                    </a:lnTo>
                    <a:close/>
                    <a:moveTo>
                      <a:pt x="64" y="175"/>
                    </a:moveTo>
                    <a:lnTo>
                      <a:pt x="64" y="175"/>
                    </a:lnTo>
                    <a:lnTo>
                      <a:pt x="64" y="175"/>
                    </a:lnTo>
                    <a:lnTo>
                      <a:pt x="64" y="175"/>
                    </a:lnTo>
                    <a:close/>
                    <a:moveTo>
                      <a:pt x="64" y="172"/>
                    </a:moveTo>
                    <a:lnTo>
                      <a:pt x="64" y="172"/>
                    </a:lnTo>
                    <a:lnTo>
                      <a:pt x="64" y="172"/>
                    </a:lnTo>
                    <a:lnTo>
                      <a:pt x="64" y="172"/>
                    </a:lnTo>
                    <a:lnTo>
                      <a:pt x="64" y="172"/>
                    </a:lnTo>
                    <a:close/>
                    <a:moveTo>
                      <a:pt x="64" y="172"/>
                    </a:moveTo>
                    <a:lnTo>
                      <a:pt x="64" y="172"/>
                    </a:lnTo>
                    <a:lnTo>
                      <a:pt x="64" y="172"/>
                    </a:lnTo>
                    <a:lnTo>
                      <a:pt x="64" y="172"/>
                    </a:lnTo>
                    <a:lnTo>
                      <a:pt x="64" y="172"/>
                    </a:lnTo>
                    <a:close/>
                    <a:moveTo>
                      <a:pt x="62" y="166"/>
                    </a:moveTo>
                    <a:lnTo>
                      <a:pt x="62" y="166"/>
                    </a:lnTo>
                    <a:lnTo>
                      <a:pt x="62" y="166"/>
                    </a:lnTo>
                    <a:lnTo>
                      <a:pt x="62" y="166"/>
                    </a:lnTo>
                    <a:lnTo>
                      <a:pt x="62" y="166"/>
                    </a:lnTo>
                    <a:lnTo>
                      <a:pt x="62" y="166"/>
                    </a:lnTo>
                    <a:close/>
                    <a:moveTo>
                      <a:pt x="60" y="166"/>
                    </a:moveTo>
                    <a:lnTo>
                      <a:pt x="60" y="166"/>
                    </a:lnTo>
                    <a:lnTo>
                      <a:pt x="60" y="166"/>
                    </a:lnTo>
                    <a:lnTo>
                      <a:pt x="60" y="166"/>
                    </a:lnTo>
                    <a:lnTo>
                      <a:pt x="60" y="166"/>
                    </a:lnTo>
                    <a:lnTo>
                      <a:pt x="60" y="166"/>
                    </a:lnTo>
                    <a:lnTo>
                      <a:pt x="60" y="166"/>
                    </a:lnTo>
                    <a:lnTo>
                      <a:pt x="60" y="166"/>
                    </a:lnTo>
                    <a:lnTo>
                      <a:pt x="60" y="166"/>
                    </a:lnTo>
                    <a:lnTo>
                      <a:pt x="60" y="166"/>
                    </a:lnTo>
                    <a:close/>
                    <a:moveTo>
                      <a:pt x="56" y="162"/>
                    </a:moveTo>
                    <a:lnTo>
                      <a:pt x="56" y="162"/>
                    </a:lnTo>
                    <a:lnTo>
                      <a:pt x="56" y="162"/>
                    </a:lnTo>
                    <a:lnTo>
                      <a:pt x="56" y="162"/>
                    </a:lnTo>
                    <a:lnTo>
                      <a:pt x="56" y="162"/>
                    </a:lnTo>
                    <a:lnTo>
                      <a:pt x="56" y="162"/>
                    </a:lnTo>
                    <a:lnTo>
                      <a:pt x="56" y="162"/>
                    </a:lnTo>
                    <a:close/>
                    <a:moveTo>
                      <a:pt x="56" y="160"/>
                    </a:moveTo>
                    <a:lnTo>
                      <a:pt x="56" y="160"/>
                    </a:lnTo>
                    <a:lnTo>
                      <a:pt x="56" y="160"/>
                    </a:lnTo>
                    <a:lnTo>
                      <a:pt x="56" y="160"/>
                    </a:lnTo>
                    <a:lnTo>
                      <a:pt x="56" y="160"/>
                    </a:lnTo>
                    <a:lnTo>
                      <a:pt x="56" y="160"/>
                    </a:lnTo>
                    <a:close/>
                    <a:moveTo>
                      <a:pt x="56" y="160"/>
                    </a:moveTo>
                    <a:lnTo>
                      <a:pt x="56" y="160"/>
                    </a:lnTo>
                    <a:lnTo>
                      <a:pt x="56" y="160"/>
                    </a:lnTo>
                    <a:lnTo>
                      <a:pt x="56" y="160"/>
                    </a:lnTo>
                    <a:lnTo>
                      <a:pt x="56" y="158"/>
                    </a:lnTo>
                    <a:lnTo>
                      <a:pt x="56" y="158"/>
                    </a:lnTo>
                    <a:lnTo>
                      <a:pt x="56" y="158"/>
                    </a:lnTo>
                    <a:lnTo>
                      <a:pt x="56" y="158"/>
                    </a:lnTo>
                    <a:lnTo>
                      <a:pt x="56" y="158"/>
                    </a:lnTo>
                    <a:lnTo>
                      <a:pt x="56" y="160"/>
                    </a:lnTo>
                    <a:lnTo>
                      <a:pt x="56" y="160"/>
                    </a:lnTo>
                    <a:close/>
                    <a:moveTo>
                      <a:pt x="52" y="152"/>
                    </a:moveTo>
                    <a:lnTo>
                      <a:pt x="52" y="152"/>
                    </a:lnTo>
                    <a:lnTo>
                      <a:pt x="52" y="152"/>
                    </a:lnTo>
                    <a:lnTo>
                      <a:pt x="52" y="152"/>
                    </a:lnTo>
                    <a:lnTo>
                      <a:pt x="52" y="152"/>
                    </a:lnTo>
                    <a:close/>
                    <a:moveTo>
                      <a:pt x="47" y="139"/>
                    </a:moveTo>
                    <a:lnTo>
                      <a:pt x="47" y="139"/>
                    </a:lnTo>
                    <a:lnTo>
                      <a:pt x="47" y="139"/>
                    </a:lnTo>
                    <a:lnTo>
                      <a:pt x="47" y="139"/>
                    </a:lnTo>
                    <a:lnTo>
                      <a:pt x="47" y="139"/>
                    </a:lnTo>
                    <a:lnTo>
                      <a:pt x="47" y="139"/>
                    </a:lnTo>
                    <a:lnTo>
                      <a:pt x="47" y="139"/>
                    </a:lnTo>
                    <a:close/>
                    <a:moveTo>
                      <a:pt x="45" y="129"/>
                    </a:moveTo>
                    <a:lnTo>
                      <a:pt x="45" y="129"/>
                    </a:lnTo>
                    <a:lnTo>
                      <a:pt x="45" y="129"/>
                    </a:lnTo>
                    <a:lnTo>
                      <a:pt x="45" y="129"/>
                    </a:lnTo>
                    <a:lnTo>
                      <a:pt x="45" y="129"/>
                    </a:lnTo>
                    <a:lnTo>
                      <a:pt x="45" y="129"/>
                    </a:lnTo>
                    <a:lnTo>
                      <a:pt x="45" y="129"/>
                    </a:lnTo>
                    <a:lnTo>
                      <a:pt x="45" y="129"/>
                    </a:lnTo>
                    <a:close/>
                    <a:moveTo>
                      <a:pt x="37" y="110"/>
                    </a:moveTo>
                    <a:lnTo>
                      <a:pt x="37" y="110"/>
                    </a:lnTo>
                    <a:lnTo>
                      <a:pt x="37" y="110"/>
                    </a:lnTo>
                    <a:lnTo>
                      <a:pt x="37" y="110"/>
                    </a:lnTo>
                    <a:lnTo>
                      <a:pt x="37" y="110"/>
                    </a:lnTo>
                    <a:close/>
                    <a:moveTo>
                      <a:pt x="33" y="110"/>
                    </a:moveTo>
                    <a:lnTo>
                      <a:pt x="33" y="110"/>
                    </a:lnTo>
                    <a:lnTo>
                      <a:pt x="33" y="110"/>
                    </a:lnTo>
                    <a:lnTo>
                      <a:pt x="33" y="110"/>
                    </a:lnTo>
                    <a:lnTo>
                      <a:pt x="33" y="108"/>
                    </a:lnTo>
                    <a:lnTo>
                      <a:pt x="33" y="108"/>
                    </a:lnTo>
                    <a:lnTo>
                      <a:pt x="33" y="110"/>
                    </a:lnTo>
                    <a:lnTo>
                      <a:pt x="33" y="110"/>
                    </a:lnTo>
                    <a:close/>
                    <a:moveTo>
                      <a:pt x="33" y="108"/>
                    </a:moveTo>
                    <a:lnTo>
                      <a:pt x="33" y="108"/>
                    </a:lnTo>
                    <a:lnTo>
                      <a:pt x="33" y="108"/>
                    </a:lnTo>
                    <a:lnTo>
                      <a:pt x="31" y="108"/>
                    </a:lnTo>
                    <a:lnTo>
                      <a:pt x="33" y="108"/>
                    </a:lnTo>
                    <a:lnTo>
                      <a:pt x="33" y="108"/>
                    </a:lnTo>
                    <a:lnTo>
                      <a:pt x="33" y="108"/>
                    </a:lnTo>
                    <a:close/>
                    <a:moveTo>
                      <a:pt x="31" y="104"/>
                    </a:moveTo>
                    <a:lnTo>
                      <a:pt x="33" y="104"/>
                    </a:lnTo>
                    <a:lnTo>
                      <a:pt x="31" y="104"/>
                    </a:lnTo>
                    <a:lnTo>
                      <a:pt x="31" y="104"/>
                    </a:lnTo>
                    <a:lnTo>
                      <a:pt x="31" y="104"/>
                    </a:lnTo>
                    <a:lnTo>
                      <a:pt x="31" y="104"/>
                    </a:lnTo>
                    <a:lnTo>
                      <a:pt x="31" y="104"/>
                    </a:lnTo>
                    <a:lnTo>
                      <a:pt x="31" y="104"/>
                    </a:lnTo>
                    <a:lnTo>
                      <a:pt x="31" y="104"/>
                    </a:lnTo>
                    <a:lnTo>
                      <a:pt x="31" y="104"/>
                    </a:lnTo>
                    <a:close/>
                    <a:moveTo>
                      <a:pt x="25" y="95"/>
                    </a:moveTo>
                    <a:lnTo>
                      <a:pt x="25" y="95"/>
                    </a:lnTo>
                    <a:lnTo>
                      <a:pt x="25" y="95"/>
                    </a:lnTo>
                    <a:lnTo>
                      <a:pt x="25" y="95"/>
                    </a:lnTo>
                    <a:lnTo>
                      <a:pt x="25" y="95"/>
                    </a:lnTo>
                    <a:lnTo>
                      <a:pt x="25" y="95"/>
                    </a:lnTo>
                    <a:lnTo>
                      <a:pt x="25" y="95"/>
                    </a:lnTo>
                    <a:lnTo>
                      <a:pt x="25" y="95"/>
                    </a:lnTo>
                    <a:lnTo>
                      <a:pt x="25" y="95"/>
                    </a:lnTo>
                    <a:close/>
                    <a:moveTo>
                      <a:pt x="0" y="66"/>
                    </a:move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Freeform 120">
                <a:extLst>
                  <a:ext uri="{FF2B5EF4-FFF2-40B4-BE49-F238E27FC236}">
                    <a16:creationId xmlns="" xmlns:a16="http://schemas.microsoft.com/office/drawing/2014/main" id="{F8BC740E-8BE0-4BCC-8DB2-A8600AAF8F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21638" y="4537076"/>
                <a:ext cx="106363" cy="287338"/>
              </a:xfrm>
              <a:custGeom>
                <a:avLst/>
                <a:gdLst>
                  <a:gd name="T0" fmla="*/ 11 w 67"/>
                  <a:gd name="T1" fmla="*/ 120 h 181"/>
                  <a:gd name="T2" fmla="*/ 19 w 67"/>
                  <a:gd name="T3" fmla="*/ 116 h 181"/>
                  <a:gd name="T4" fmla="*/ 21 w 67"/>
                  <a:gd name="T5" fmla="*/ 120 h 181"/>
                  <a:gd name="T6" fmla="*/ 17 w 67"/>
                  <a:gd name="T7" fmla="*/ 127 h 181"/>
                  <a:gd name="T8" fmla="*/ 11 w 67"/>
                  <a:gd name="T9" fmla="*/ 133 h 181"/>
                  <a:gd name="T10" fmla="*/ 9 w 67"/>
                  <a:gd name="T11" fmla="*/ 139 h 181"/>
                  <a:gd name="T12" fmla="*/ 9 w 67"/>
                  <a:gd name="T13" fmla="*/ 147 h 181"/>
                  <a:gd name="T14" fmla="*/ 7 w 67"/>
                  <a:gd name="T15" fmla="*/ 150 h 181"/>
                  <a:gd name="T16" fmla="*/ 9 w 67"/>
                  <a:gd name="T17" fmla="*/ 156 h 181"/>
                  <a:gd name="T18" fmla="*/ 6 w 67"/>
                  <a:gd name="T19" fmla="*/ 164 h 181"/>
                  <a:gd name="T20" fmla="*/ 7 w 67"/>
                  <a:gd name="T21" fmla="*/ 175 h 181"/>
                  <a:gd name="T22" fmla="*/ 9 w 67"/>
                  <a:gd name="T23" fmla="*/ 179 h 181"/>
                  <a:gd name="T24" fmla="*/ 6 w 67"/>
                  <a:gd name="T25" fmla="*/ 179 h 181"/>
                  <a:gd name="T26" fmla="*/ 0 w 67"/>
                  <a:gd name="T27" fmla="*/ 173 h 181"/>
                  <a:gd name="T28" fmla="*/ 2 w 67"/>
                  <a:gd name="T29" fmla="*/ 164 h 181"/>
                  <a:gd name="T30" fmla="*/ 4 w 67"/>
                  <a:gd name="T31" fmla="*/ 154 h 181"/>
                  <a:gd name="T32" fmla="*/ 4 w 67"/>
                  <a:gd name="T33" fmla="*/ 143 h 181"/>
                  <a:gd name="T34" fmla="*/ 4 w 67"/>
                  <a:gd name="T35" fmla="*/ 131 h 181"/>
                  <a:gd name="T36" fmla="*/ 4 w 67"/>
                  <a:gd name="T37" fmla="*/ 127 h 181"/>
                  <a:gd name="T38" fmla="*/ 2 w 67"/>
                  <a:gd name="T39" fmla="*/ 120 h 181"/>
                  <a:gd name="T40" fmla="*/ 40 w 67"/>
                  <a:gd name="T41" fmla="*/ 62 h 181"/>
                  <a:gd name="T42" fmla="*/ 42 w 67"/>
                  <a:gd name="T43" fmla="*/ 72 h 181"/>
                  <a:gd name="T44" fmla="*/ 38 w 67"/>
                  <a:gd name="T45" fmla="*/ 79 h 181"/>
                  <a:gd name="T46" fmla="*/ 38 w 67"/>
                  <a:gd name="T47" fmla="*/ 91 h 181"/>
                  <a:gd name="T48" fmla="*/ 34 w 67"/>
                  <a:gd name="T49" fmla="*/ 99 h 181"/>
                  <a:gd name="T50" fmla="*/ 30 w 67"/>
                  <a:gd name="T51" fmla="*/ 108 h 181"/>
                  <a:gd name="T52" fmla="*/ 30 w 67"/>
                  <a:gd name="T53" fmla="*/ 99 h 181"/>
                  <a:gd name="T54" fmla="*/ 29 w 67"/>
                  <a:gd name="T55" fmla="*/ 97 h 181"/>
                  <a:gd name="T56" fmla="*/ 30 w 67"/>
                  <a:gd name="T57" fmla="*/ 91 h 181"/>
                  <a:gd name="T58" fmla="*/ 32 w 67"/>
                  <a:gd name="T59" fmla="*/ 81 h 181"/>
                  <a:gd name="T60" fmla="*/ 27 w 67"/>
                  <a:gd name="T61" fmla="*/ 79 h 181"/>
                  <a:gd name="T62" fmla="*/ 30 w 67"/>
                  <a:gd name="T63" fmla="*/ 77 h 181"/>
                  <a:gd name="T64" fmla="*/ 32 w 67"/>
                  <a:gd name="T65" fmla="*/ 66 h 181"/>
                  <a:gd name="T66" fmla="*/ 57 w 67"/>
                  <a:gd name="T67" fmla="*/ 0 h 181"/>
                  <a:gd name="T68" fmla="*/ 63 w 67"/>
                  <a:gd name="T69" fmla="*/ 2 h 181"/>
                  <a:gd name="T70" fmla="*/ 67 w 67"/>
                  <a:gd name="T71" fmla="*/ 12 h 181"/>
                  <a:gd name="T72" fmla="*/ 61 w 67"/>
                  <a:gd name="T73" fmla="*/ 16 h 181"/>
                  <a:gd name="T74" fmla="*/ 59 w 67"/>
                  <a:gd name="T75" fmla="*/ 25 h 181"/>
                  <a:gd name="T76" fmla="*/ 55 w 67"/>
                  <a:gd name="T77" fmla="*/ 29 h 181"/>
                  <a:gd name="T78" fmla="*/ 52 w 67"/>
                  <a:gd name="T79" fmla="*/ 39 h 181"/>
                  <a:gd name="T80" fmla="*/ 50 w 67"/>
                  <a:gd name="T81" fmla="*/ 50 h 181"/>
                  <a:gd name="T82" fmla="*/ 32 w 67"/>
                  <a:gd name="T83" fmla="*/ 54 h 181"/>
                  <a:gd name="T84" fmla="*/ 30 w 67"/>
                  <a:gd name="T85" fmla="*/ 52 h 181"/>
                  <a:gd name="T86" fmla="*/ 34 w 67"/>
                  <a:gd name="T87" fmla="*/ 52 h 181"/>
                  <a:gd name="T88" fmla="*/ 34 w 67"/>
                  <a:gd name="T89" fmla="*/ 45 h 181"/>
                  <a:gd name="T90" fmla="*/ 38 w 67"/>
                  <a:gd name="T91" fmla="*/ 37 h 181"/>
                  <a:gd name="T92" fmla="*/ 32 w 67"/>
                  <a:gd name="T93" fmla="*/ 31 h 181"/>
                  <a:gd name="T94" fmla="*/ 36 w 67"/>
                  <a:gd name="T95" fmla="*/ 27 h 181"/>
                  <a:gd name="T96" fmla="*/ 42 w 67"/>
                  <a:gd name="T97" fmla="*/ 33 h 181"/>
                  <a:gd name="T98" fmla="*/ 50 w 67"/>
                  <a:gd name="T99" fmla="*/ 29 h 181"/>
                  <a:gd name="T100" fmla="*/ 54 w 67"/>
                  <a:gd name="T101" fmla="*/ 24 h 181"/>
                  <a:gd name="T102" fmla="*/ 54 w 67"/>
                  <a:gd name="T103" fmla="*/ 24 h 181"/>
                  <a:gd name="T104" fmla="*/ 54 w 67"/>
                  <a:gd name="T105" fmla="*/ 12 h 181"/>
                  <a:gd name="T106" fmla="*/ 54 w 67"/>
                  <a:gd name="T107" fmla="*/ 4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7" h="181">
                    <a:moveTo>
                      <a:pt x="4" y="118"/>
                    </a:moveTo>
                    <a:lnTo>
                      <a:pt x="6" y="118"/>
                    </a:lnTo>
                    <a:lnTo>
                      <a:pt x="7" y="118"/>
                    </a:lnTo>
                    <a:lnTo>
                      <a:pt x="7" y="120"/>
                    </a:lnTo>
                    <a:lnTo>
                      <a:pt x="9" y="120"/>
                    </a:lnTo>
                    <a:lnTo>
                      <a:pt x="11" y="120"/>
                    </a:lnTo>
                    <a:lnTo>
                      <a:pt x="13" y="120"/>
                    </a:lnTo>
                    <a:lnTo>
                      <a:pt x="15" y="118"/>
                    </a:lnTo>
                    <a:lnTo>
                      <a:pt x="17" y="118"/>
                    </a:lnTo>
                    <a:lnTo>
                      <a:pt x="17" y="120"/>
                    </a:lnTo>
                    <a:lnTo>
                      <a:pt x="17" y="118"/>
                    </a:lnTo>
                    <a:lnTo>
                      <a:pt x="19" y="116"/>
                    </a:lnTo>
                    <a:lnTo>
                      <a:pt x="19" y="114"/>
                    </a:lnTo>
                    <a:lnTo>
                      <a:pt x="21" y="112"/>
                    </a:lnTo>
                    <a:lnTo>
                      <a:pt x="21" y="114"/>
                    </a:lnTo>
                    <a:lnTo>
                      <a:pt x="21" y="116"/>
                    </a:lnTo>
                    <a:lnTo>
                      <a:pt x="21" y="118"/>
                    </a:lnTo>
                    <a:lnTo>
                      <a:pt x="21" y="120"/>
                    </a:lnTo>
                    <a:lnTo>
                      <a:pt x="19" y="120"/>
                    </a:lnTo>
                    <a:lnTo>
                      <a:pt x="17" y="120"/>
                    </a:lnTo>
                    <a:lnTo>
                      <a:pt x="17" y="122"/>
                    </a:lnTo>
                    <a:lnTo>
                      <a:pt x="17" y="124"/>
                    </a:lnTo>
                    <a:lnTo>
                      <a:pt x="17" y="125"/>
                    </a:lnTo>
                    <a:lnTo>
                      <a:pt x="17" y="127"/>
                    </a:lnTo>
                    <a:lnTo>
                      <a:pt x="17" y="129"/>
                    </a:lnTo>
                    <a:lnTo>
                      <a:pt x="15" y="129"/>
                    </a:lnTo>
                    <a:lnTo>
                      <a:pt x="15" y="131"/>
                    </a:lnTo>
                    <a:lnTo>
                      <a:pt x="13" y="131"/>
                    </a:lnTo>
                    <a:lnTo>
                      <a:pt x="11" y="131"/>
                    </a:lnTo>
                    <a:lnTo>
                      <a:pt x="11" y="133"/>
                    </a:lnTo>
                    <a:lnTo>
                      <a:pt x="9" y="133"/>
                    </a:lnTo>
                    <a:lnTo>
                      <a:pt x="9" y="135"/>
                    </a:lnTo>
                    <a:lnTo>
                      <a:pt x="9" y="137"/>
                    </a:lnTo>
                    <a:lnTo>
                      <a:pt x="9" y="139"/>
                    </a:lnTo>
                    <a:lnTo>
                      <a:pt x="11" y="139"/>
                    </a:lnTo>
                    <a:lnTo>
                      <a:pt x="9" y="139"/>
                    </a:lnTo>
                    <a:lnTo>
                      <a:pt x="9" y="141"/>
                    </a:lnTo>
                    <a:lnTo>
                      <a:pt x="9" y="143"/>
                    </a:lnTo>
                    <a:lnTo>
                      <a:pt x="7" y="143"/>
                    </a:lnTo>
                    <a:lnTo>
                      <a:pt x="7" y="145"/>
                    </a:lnTo>
                    <a:lnTo>
                      <a:pt x="7" y="147"/>
                    </a:lnTo>
                    <a:lnTo>
                      <a:pt x="9" y="147"/>
                    </a:lnTo>
                    <a:lnTo>
                      <a:pt x="9" y="149"/>
                    </a:lnTo>
                    <a:lnTo>
                      <a:pt x="7" y="149"/>
                    </a:lnTo>
                    <a:lnTo>
                      <a:pt x="9" y="149"/>
                    </a:lnTo>
                    <a:lnTo>
                      <a:pt x="7" y="149"/>
                    </a:lnTo>
                    <a:lnTo>
                      <a:pt x="9" y="149"/>
                    </a:lnTo>
                    <a:lnTo>
                      <a:pt x="7" y="150"/>
                    </a:lnTo>
                    <a:lnTo>
                      <a:pt x="9" y="150"/>
                    </a:lnTo>
                    <a:lnTo>
                      <a:pt x="9" y="152"/>
                    </a:lnTo>
                    <a:lnTo>
                      <a:pt x="7" y="152"/>
                    </a:lnTo>
                    <a:lnTo>
                      <a:pt x="7" y="154"/>
                    </a:lnTo>
                    <a:lnTo>
                      <a:pt x="7" y="156"/>
                    </a:lnTo>
                    <a:lnTo>
                      <a:pt x="9" y="156"/>
                    </a:lnTo>
                    <a:lnTo>
                      <a:pt x="9" y="158"/>
                    </a:lnTo>
                    <a:lnTo>
                      <a:pt x="9" y="160"/>
                    </a:lnTo>
                    <a:lnTo>
                      <a:pt x="9" y="162"/>
                    </a:lnTo>
                    <a:lnTo>
                      <a:pt x="7" y="162"/>
                    </a:lnTo>
                    <a:lnTo>
                      <a:pt x="7" y="164"/>
                    </a:lnTo>
                    <a:lnTo>
                      <a:pt x="6" y="164"/>
                    </a:lnTo>
                    <a:lnTo>
                      <a:pt x="6" y="166"/>
                    </a:lnTo>
                    <a:lnTo>
                      <a:pt x="6" y="168"/>
                    </a:lnTo>
                    <a:lnTo>
                      <a:pt x="6" y="170"/>
                    </a:lnTo>
                    <a:lnTo>
                      <a:pt x="6" y="172"/>
                    </a:lnTo>
                    <a:lnTo>
                      <a:pt x="7" y="173"/>
                    </a:lnTo>
                    <a:lnTo>
                      <a:pt x="7" y="175"/>
                    </a:lnTo>
                    <a:lnTo>
                      <a:pt x="9" y="175"/>
                    </a:lnTo>
                    <a:lnTo>
                      <a:pt x="9" y="177"/>
                    </a:lnTo>
                    <a:lnTo>
                      <a:pt x="9" y="179"/>
                    </a:lnTo>
                    <a:lnTo>
                      <a:pt x="11" y="181"/>
                    </a:lnTo>
                    <a:lnTo>
                      <a:pt x="9" y="181"/>
                    </a:lnTo>
                    <a:lnTo>
                      <a:pt x="9" y="179"/>
                    </a:lnTo>
                    <a:lnTo>
                      <a:pt x="9" y="177"/>
                    </a:lnTo>
                    <a:lnTo>
                      <a:pt x="9" y="179"/>
                    </a:lnTo>
                    <a:lnTo>
                      <a:pt x="9" y="177"/>
                    </a:lnTo>
                    <a:lnTo>
                      <a:pt x="7" y="177"/>
                    </a:lnTo>
                    <a:lnTo>
                      <a:pt x="6" y="177"/>
                    </a:lnTo>
                    <a:lnTo>
                      <a:pt x="6" y="179"/>
                    </a:lnTo>
                    <a:lnTo>
                      <a:pt x="4" y="179"/>
                    </a:lnTo>
                    <a:lnTo>
                      <a:pt x="4" y="177"/>
                    </a:lnTo>
                    <a:lnTo>
                      <a:pt x="2" y="177"/>
                    </a:lnTo>
                    <a:lnTo>
                      <a:pt x="2" y="175"/>
                    </a:lnTo>
                    <a:lnTo>
                      <a:pt x="0" y="175"/>
                    </a:lnTo>
                    <a:lnTo>
                      <a:pt x="0" y="173"/>
                    </a:lnTo>
                    <a:lnTo>
                      <a:pt x="0" y="172"/>
                    </a:lnTo>
                    <a:lnTo>
                      <a:pt x="0" y="170"/>
                    </a:lnTo>
                    <a:lnTo>
                      <a:pt x="0" y="168"/>
                    </a:lnTo>
                    <a:lnTo>
                      <a:pt x="2" y="168"/>
                    </a:lnTo>
                    <a:lnTo>
                      <a:pt x="2" y="166"/>
                    </a:lnTo>
                    <a:lnTo>
                      <a:pt x="2" y="164"/>
                    </a:lnTo>
                    <a:lnTo>
                      <a:pt x="2" y="162"/>
                    </a:lnTo>
                    <a:lnTo>
                      <a:pt x="2" y="160"/>
                    </a:lnTo>
                    <a:lnTo>
                      <a:pt x="4" y="160"/>
                    </a:lnTo>
                    <a:lnTo>
                      <a:pt x="4" y="158"/>
                    </a:lnTo>
                    <a:lnTo>
                      <a:pt x="4" y="156"/>
                    </a:lnTo>
                    <a:lnTo>
                      <a:pt x="4" y="154"/>
                    </a:lnTo>
                    <a:lnTo>
                      <a:pt x="4" y="152"/>
                    </a:lnTo>
                    <a:lnTo>
                      <a:pt x="4" y="150"/>
                    </a:lnTo>
                    <a:lnTo>
                      <a:pt x="4" y="149"/>
                    </a:lnTo>
                    <a:lnTo>
                      <a:pt x="4" y="147"/>
                    </a:lnTo>
                    <a:lnTo>
                      <a:pt x="4" y="145"/>
                    </a:lnTo>
                    <a:lnTo>
                      <a:pt x="4" y="143"/>
                    </a:lnTo>
                    <a:lnTo>
                      <a:pt x="4" y="141"/>
                    </a:lnTo>
                    <a:lnTo>
                      <a:pt x="4" y="139"/>
                    </a:lnTo>
                    <a:lnTo>
                      <a:pt x="4" y="137"/>
                    </a:lnTo>
                    <a:lnTo>
                      <a:pt x="4" y="135"/>
                    </a:lnTo>
                    <a:lnTo>
                      <a:pt x="4" y="133"/>
                    </a:lnTo>
                    <a:lnTo>
                      <a:pt x="4" y="131"/>
                    </a:lnTo>
                    <a:lnTo>
                      <a:pt x="4" y="129"/>
                    </a:lnTo>
                    <a:lnTo>
                      <a:pt x="2" y="129"/>
                    </a:lnTo>
                    <a:lnTo>
                      <a:pt x="2" y="127"/>
                    </a:lnTo>
                    <a:lnTo>
                      <a:pt x="4" y="127"/>
                    </a:lnTo>
                    <a:lnTo>
                      <a:pt x="2" y="127"/>
                    </a:lnTo>
                    <a:lnTo>
                      <a:pt x="4" y="127"/>
                    </a:lnTo>
                    <a:lnTo>
                      <a:pt x="2" y="127"/>
                    </a:lnTo>
                    <a:lnTo>
                      <a:pt x="4" y="125"/>
                    </a:lnTo>
                    <a:lnTo>
                      <a:pt x="2" y="125"/>
                    </a:lnTo>
                    <a:lnTo>
                      <a:pt x="2" y="124"/>
                    </a:lnTo>
                    <a:lnTo>
                      <a:pt x="2" y="122"/>
                    </a:lnTo>
                    <a:lnTo>
                      <a:pt x="2" y="120"/>
                    </a:lnTo>
                    <a:lnTo>
                      <a:pt x="2" y="118"/>
                    </a:lnTo>
                    <a:lnTo>
                      <a:pt x="4" y="118"/>
                    </a:lnTo>
                    <a:close/>
                    <a:moveTo>
                      <a:pt x="40" y="56"/>
                    </a:moveTo>
                    <a:lnTo>
                      <a:pt x="38" y="58"/>
                    </a:lnTo>
                    <a:lnTo>
                      <a:pt x="38" y="60"/>
                    </a:lnTo>
                    <a:lnTo>
                      <a:pt x="40" y="62"/>
                    </a:lnTo>
                    <a:lnTo>
                      <a:pt x="42" y="62"/>
                    </a:lnTo>
                    <a:lnTo>
                      <a:pt x="42" y="64"/>
                    </a:lnTo>
                    <a:lnTo>
                      <a:pt x="42" y="66"/>
                    </a:lnTo>
                    <a:lnTo>
                      <a:pt x="42" y="68"/>
                    </a:lnTo>
                    <a:lnTo>
                      <a:pt x="42" y="70"/>
                    </a:lnTo>
                    <a:lnTo>
                      <a:pt x="42" y="72"/>
                    </a:lnTo>
                    <a:lnTo>
                      <a:pt x="40" y="72"/>
                    </a:lnTo>
                    <a:lnTo>
                      <a:pt x="40" y="74"/>
                    </a:lnTo>
                    <a:lnTo>
                      <a:pt x="40" y="75"/>
                    </a:lnTo>
                    <a:lnTo>
                      <a:pt x="38" y="75"/>
                    </a:lnTo>
                    <a:lnTo>
                      <a:pt x="38" y="77"/>
                    </a:lnTo>
                    <a:lnTo>
                      <a:pt x="38" y="79"/>
                    </a:lnTo>
                    <a:lnTo>
                      <a:pt x="38" y="81"/>
                    </a:lnTo>
                    <a:lnTo>
                      <a:pt x="38" y="83"/>
                    </a:lnTo>
                    <a:lnTo>
                      <a:pt x="38" y="85"/>
                    </a:lnTo>
                    <a:lnTo>
                      <a:pt x="38" y="87"/>
                    </a:lnTo>
                    <a:lnTo>
                      <a:pt x="38" y="89"/>
                    </a:lnTo>
                    <a:lnTo>
                      <a:pt x="38" y="91"/>
                    </a:lnTo>
                    <a:lnTo>
                      <a:pt x="38" y="93"/>
                    </a:lnTo>
                    <a:lnTo>
                      <a:pt x="36" y="93"/>
                    </a:lnTo>
                    <a:lnTo>
                      <a:pt x="36" y="95"/>
                    </a:lnTo>
                    <a:lnTo>
                      <a:pt x="34" y="95"/>
                    </a:lnTo>
                    <a:lnTo>
                      <a:pt x="34" y="97"/>
                    </a:lnTo>
                    <a:lnTo>
                      <a:pt x="34" y="99"/>
                    </a:lnTo>
                    <a:lnTo>
                      <a:pt x="34" y="100"/>
                    </a:lnTo>
                    <a:lnTo>
                      <a:pt x="34" y="102"/>
                    </a:lnTo>
                    <a:lnTo>
                      <a:pt x="34" y="104"/>
                    </a:lnTo>
                    <a:lnTo>
                      <a:pt x="34" y="106"/>
                    </a:lnTo>
                    <a:lnTo>
                      <a:pt x="32" y="106"/>
                    </a:lnTo>
                    <a:lnTo>
                      <a:pt x="30" y="108"/>
                    </a:lnTo>
                    <a:lnTo>
                      <a:pt x="30" y="106"/>
                    </a:lnTo>
                    <a:lnTo>
                      <a:pt x="30" y="104"/>
                    </a:lnTo>
                    <a:lnTo>
                      <a:pt x="29" y="104"/>
                    </a:lnTo>
                    <a:lnTo>
                      <a:pt x="29" y="102"/>
                    </a:lnTo>
                    <a:lnTo>
                      <a:pt x="30" y="100"/>
                    </a:lnTo>
                    <a:lnTo>
                      <a:pt x="30" y="99"/>
                    </a:lnTo>
                    <a:lnTo>
                      <a:pt x="29" y="99"/>
                    </a:lnTo>
                    <a:lnTo>
                      <a:pt x="29" y="97"/>
                    </a:lnTo>
                    <a:lnTo>
                      <a:pt x="27" y="97"/>
                    </a:lnTo>
                    <a:lnTo>
                      <a:pt x="27" y="95"/>
                    </a:lnTo>
                    <a:lnTo>
                      <a:pt x="29" y="95"/>
                    </a:lnTo>
                    <a:lnTo>
                      <a:pt x="29" y="97"/>
                    </a:lnTo>
                    <a:lnTo>
                      <a:pt x="30" y="97"/>
                    </a:lnTo>
                    <a:lnTo>
                      <a:pt x="30" y="95"/>
                    </a:lnTo>
                    <a:lnTo>
                      <a:pt x="30" y="93"/>
                    </a:lnTo>
                    <a:lnTo>
                      <a:pt x="29" y="93"/>
                    </a:lnTo>
                    <a:lnTo>
                      <a:pt x="29" y="91"/>
                    </a:lnTo>
                    <a:lnTo>
                      <a:pt x="30" y="91"/>
                    </a:lnTo>
                    <a:lnTo>
                      <a:pt x="32" y="91"/>
                    </a:lnTo>
                    <a:lnTo>
                      <a:pt x="32" y="89"/>
                    </a:lnTo>
                    <a:lnTo>
                      <a:pt x="32" y="87"/>
                    </a:lnTo>
                    <a:lnTo>
                      <a:pt x="32" y="85"/>
                    </a:lnTo>
                    <a:lnTo>
                      <a:pt x="32" y="83"/>
                    </a:lnTo>
                    <a:lnTo>
                      <a:pt x="32" y="81"/>
                    </a:lnTo>
                    <a:lnTo>
                      <a:pt x="30" y="81"/>
                    </a:lnTo>
                    <a:lnTo>
                      <a:pt x="29" y="81"/>
                    </a:lnTo>
                    <a:lnTo>
                      <a:pt x="27" y="81"/>
                    </a:lnTo>
                    <a:lnTo>
                      <a:pt x="27" y="79"/>
                    </a:lnTo>
                    <a:lnTo>
                      <a:pt x="27" y="77"/>
                    </a:lnTo>
                    <a:lnTo>
                      <a:pt x="27" y="79"/>
                    </a:lnTo>
                    <a:lnTo>
                      <a:pt x="27" y="77"/>
                    </a:lnTo>
                    <a:lnTo>
                      <a:pt x="29" y="79"/>
                    </a:lnTo>
                    <a:lnTo>
                      <a:pt x="29" y="77"/>
                    </a:lnTo>
                    <a:lnTo>
                      <a:pt x="29" y="79"/>
                    </a:lnTo>
                    <a:lnTo>
                      <a:pt x="30" y="79"/>
                    </a:lnTo>
                    <a:lnTo>
                      <a:pt x="30" y="77"/>
                    </a:lnTo>
                    <a:lnTo>
                      <a:pt x="30" y="75"/>
                    </a:lnTo>
                    <a:lnTo>
                      <a:pt x="30" y="74"/>
                    </a:lnTo>
                    <a:lnTo>
                      <a:pt x="30" y="72"/>
                    </a:lnTo>
                    <a:lnTo>
                      <a:pt x="32" y="70"/>
                    </a:lnTo>
                    <a:lnTo>
                      <a:pt x="32" y="68"/>
                    </a:lnTo>
                    <a:lnTo>
                      <a:pt x="32" y="66"/>
                    </a:lnTo>
                    <a:lnTo>
                      <a:pt x="32" y="64"/>
                    </a:lnTo>
                    <a:lnTo>
                      <a:pt x="32" y="62"/>
                    </a:lnTo>
                    <a:lnTo>
                      <a:pt x="34" y="62"/>
                    </a:lnTo>
                    <a:lnTo>
                      <a:pt x="34" y="60"/>
                    </a:lnTo>
                    <a:lnTo>
                      <a:pt x="40" y="56"/>
                    </a:lnTo>
                    <a:close/>
                    <a:moveTo>
                      <a:pt x="57" y="0"/>
                    </a:moveTo>
                    <a:lnTo>
                      <a:pt x="59" y="0"/>
                    </a:lnTo>
                    <a:lnTo>
                      <a:pt x="61" y="0"/>
                    </a:lnTo>
                    <a:lnTo>
                      <a:pt x="63" y="0"/>
                    </a:lnTo>
                    <a:lnTo>
                      <a:pt x="63" y="2"/>
                    </a:lnTo>
                    <a:lnTo>
                      <a:pt x="65" y="2"/>
                    </a:lnTo>
                    <a:lnTo>
                      <a:pt x="63" y="2"/>
                    </a:lnTo>
                    <a:lnTo>
                      <a:pt x="63" y="4"/>
                    </a:lnTo>
                    <a:lnTo>
                      <a:pt x="63" y="6"/>
                    </a:lnTo>
                    <a:lnTo>
                      <a:pt x="65" y="8"/>
                    </a:lnTo>
                    <a:lnTo>
                      <a:pt x="67" y="8"/>
                    </a:lnTo>
                    <a:lnTo>
                      <a:pt x="67" y="10"/>
                    </a:lnTo>
                    <a:lnTo>
                      <a:pt x="67" y="12"/>
                    </a:lnTo>
                    <a:lnTo>
                      <a:pt x="67" y="14"/>
                    </a:lnTo>
                    <a:lnTo>
                      <a:pt x="65" y="14"/>
                    </a:lnTo>
                    <a:lnTo>
                      <a:pt x="63" y="16"/>
                    </a:lnTo>
                    <a:lnTo>
                      <a:pt x="61" y="16"/>
                    </a:lnTo>
                    <a:lnTo>
                      <a:pt x="61" y="18"/>
                    </a:lnTo>
                    <a:lnTo>
                      <a:pt x="61" y="16"/>
                    </a:lnTo>
                    <a:lnTo>
                      <a:pt x="61" y="18"/>
                    </a:lnTo>
                    <a:lnTo>
                      <a:pt x="59" y="18"/>
                    </a:lnTo>
                    <a:lnTo>
                      <a:pt x="59" y="20"/>
                    </a:lnTo>
                    <a:lnTo>
                      <a:pt x="59" y="22"/>
                    </a:lnTo>
                    <a:lnTo>
                      <a:pt x="59" y="24"/>
                    </a:lnTo>
                    <a:lnTo>
                      <a:pt x="59" y="25"/>
                    </a:lnTo>
                    <a:lnTo>
                      <a:pt x="59" y="24"/>
                    </a:lnTo>
                    <a:lnTo>
                      <a:pt x="57" y="24"/>
                    </a:lnTo>
                    <a:lnTo>
                      <a:pt x="57" y="25"/>
                    </a:lnTo>
                    <a:lnTo>
                      <a:pt x="57" y="27"/>
                    </a:lnTo>
                    <a:lnTo>
                      <a:pt x="55" y="27"/>
                    </a:lnTo>
                    <a:lnTo>
                      <a:pt x="55" y="29"/>
                    </a:lnTo>
                    <a:lnTo>
                      <a:pt x="54" y="29"/>
                    </a:lnTo>
                    <a:lnTo>
                      <a:pt x="54" y="31"/>
                    </a:lnTo>
                    <a:lnTo>
                      <a:pt x="54" y="33"/>
                    </a:lnTo>
                    <a:lnTo>
                      <a:pt x="52" y="35"/>
                    </a:lnTo>
                    <a:lnTo>
                      <a:pt x="52" y="37"/>
                    </a:lnTo>
                    <a:lnTo>
                      <a:pt x="52" y="39"/>
                    </a:lnTo>
                    <a:lnTo>
                      <a:pt x="50" y="41"/>
                    </a:lnTo>
                    <a:lnTo>
                      <a:pt x="50" y="43"/>
                    </a:lnTo>
                    <a:lnTo>
                      <a:pt x="50" y="45"/>
                    </a:lnTo>
                    <a:lnTo>
                      <a:pt x="50" y="47"/>
                    </a:lnTo>
                    <a:lnTo>
                      <a:pt x="50" y="49"/>
                    </a:lnTo>
                    <a:lnTo>
                      <a:pt x="50" y="50"/>
                    </a:lnTo>
                    <a:lnTo>
                      <a:pt x="42" y="56"/>
                    </a:lnTo>
                    <a:lnTo>
                      <a:pt x="40" y="56"/>
                    </a:lnTo>
                    <a:lnTo>
                      <a:pt x="34" y="60"/>
                    </a:lnTo>
                    <a:lnTo>
                      <a:pt x="32" y="58"/>
                    </a:lnTo>
                    <a:lnTo>
                      <a:pt x="32" y="56"/>
                    </a:lnTo>
                    <a:lnTo>
                      <a:pt x="32" y="54"/>
                    </a:lnTo>
                    <a:lnTo>
                      <a:pt x="30" y="54"/>
                    </a:lnTo>
                    <a:lnTo>
                      <a:pt x="29" y="54"/>
                    </a:lnTo>
                    <a:lnTo>
                      <a:pt x="30" y="54"/>
                    </a:lnTo>
                    <a:lnTo>
                      <a:pt x="29" y="54"/>
                    </a:lnTo>
                    <a:lnTo>
                      <a:pt x="30" y="54"/>
                    </a:lnTo>
                    <a:lnTo>
                      <a:pt x="30" y="52"/>
                    </a:lnTo>
                    <a:lnTo>
                      <a:pt x="30" y="54"/>
                    </a:lnTo>
                    <a:lnTo>
                      <a:pt x="30" y="52"/>
                    </a:lnTo>
                    <a:lnTo>
                      <a:pt x="32" y="52"/>
                    </a:lnTo>
                    <a:lnTo>
                      <a:pt x="32" y="54"/>
                    </a:lnTo>
                    <a:lnTo>
                      <a:pt x="34" y="54"/>
                    </a:lnTo>
                    <a:lnTo>
                      <a:pt x="34" y="52"/>
                    </a:lnTo>
                    <a:lnTo>
                      <a:pt x="36" y="52"/>
                    </a:lnTo>
                    <a:lnTo>
                      <a:pt x="36" y="50"/>
                    </a:lnTo>
                    <a:lnTo>
                      <a:pt x="36" y="49"/>
                    </a:lnTo>
                    <a:lnTo>
                      <a:pt x="34" y="49"/>
                    </a:lnTo>
                    <a:lnTo>
                      <a:pt x="34" y="47"/>
                    </a:lnTo>
                    <a:lnTo>
                      <a:pt x="34" y="45"/>
                    </a:lnTo>
                    <a:lnTo>
                      <a:pt x="34" y="43"/>
                    </a:lnTo>
                    <a:lnTo>
                      <a:pt x="36" y="43"/>
                    </a:lnTo>
                    <a:lnTo>
                      <a:pt x="36" y="41"/>
                    </a:lnTo>
                    <a:lnTo>
                      <a:pt x="38" y="41"/>
                    </a:lnTo>
                    <a:lnTo>
                      <a:pt x="38" y="39"/>
                    </a:lnTo>
                    <a:lnTo>
                      <a:pt x="38" y="37"/>
                    </a:lnTo>
                    <a:lnTo>
                      <a:pt x="36" y="37"/>
                    </a:lnTo>
                    <a:lnTo>
                      <a:pt x="36" y="35"/>
                    </a:lnTo>
                    <a:lnTo>
                      <a:pt x="34" y="35"/>
                    </a:lnTo>
                    <a:lnTo>
                      <a:pt x="34" y="33"/>
                    </a:lnTo>
                    <a:lnTo>
                      <a:pt x="32" y="33"/>
                    </a:lnTo>
                    <a:lnTo>
                      <a:pt x="32" y="31"/>
                    </a:lnTo>
                    <a:lnTo>
                      <a:pt x="32" y="29"/>
                    </a:lnTo>
                    <a:lnTo>
                      <a:pt x="32" y="27"/>
                    </a:lnTo>
                    <a:lnTo>
                      <a:pt x="32" y="25"/>
                    </a:lnTo>
                    <a:lnTo>
                      <a:pt x="34" y="25"/>
                    </a:lnTo>
                    <a:lnTo>
                      <a:pt x="34" y="27"/>
                    </a:lnTo>
                    <a:lnTo>
                      <a:pt x="36" y="27"/>
                    </a:lnTo>
                    <a:lnTo>
                      <a:pt x="36" y="29"/>
                    </a:lnTo>
                    <a:lnTo>
                      <a:pt x="38" y="29"/>
                    </a:lnTo>
                    <a:lnTo>
                      <a:pt x="38" y="31"/>
                    </a:lnTo>
                    <a:lnTo>
                      <a:pt x="40" y="31"/>
                    </a:lnTo>
                    <a:lnTo>
                      <a:pt x="40" y="33"/>
                    </a:lnTo>
                    <a:lnTo>
                      <a:pt x="42" y="33"/>
                    </a:lnTo>
                    <a:lnTo>
                      <a:pt x="44" y="33"/>
                    </a:lnTo>
                    <a:lnTo>
                      <a:pt x="46" y="33"/>
                    </a:lnTo>
                    <a:lnTo>
                      <a:pt x="46" y="31"/>
                    </a:lnTo>
                    <a:lnTo>
                      <a:pt x="48" y="31"/>
                    </a:lnTo>
                    <a:lnTo>
                      <a:pt x="48" y="29"/>
                    </a:lnTo>
                    <a:lnTo>
                      <a:pt x="50" y="29"/>
                    </a:lnTo>
                    <a:lnTo>
                      <a:pt x="52" y="27"/>
                    </a:lnTo>
                    <a:lnTo>
                      <a:pt x="52" y="25"/>
                    </a:lnTo>
                    <a:lnTo>
                      <a:pt x="52" y="24"/>
                    </a:lnTo>
                    <a:lnTo>
                      <a:pt x="54" y="24"/>
                    </a:lnTo>
                    <a:lnTo>
                      <a:pt x="54" y="22"/>
                    </a:lnTo>
                    <a:lnTo>
                      <a:pt x="54" y="24"/>
                    </a:lnTo>
                    <a:lnTo>
                      <a:pt x="54" y="22"/>
                    </a:lnTo>
                    <a:lnTo>
                      <a:pt x="54" y="24"/>
                    </a:lnTo>
                    <a:lnTo>
                      <a:pt x="55" y="24"/>
                    </a:lnTo>
                    <a:lnTo>
                      <a:pt x="55" y="22"/>
                    </a:lnTo>
                    <a:lnTo>
                      <a:pt x="54" y="22"/>
                    </a:lnTo>
                    <a:lnTo>
                      <a:pt x="54" y="24"/>
                    </a:lnTo>
                    <a:lnTo>
                      <a:pt x="54" y="22"/>
                    </a:lnTo>
                    <a:lnTo>
                      <a:pt x="54" y="20"/>
                    </a:lnTo>
                    <a:lnTo>
                      <a:pt x="54" y="18"/>
                    </a:lnTo>
                    <a:lnTo>
                      <a:pt x="54" y="16"/>
                    </a:lnTo>
                    <a:lnTo>
                      <a:pt x="54" y="14"/>
                    </a:lnTo>
                    <a:lnTo>
                      <a:pt x="54" y="12"/>
                    </a:lnTo>
                    <a:lnTo>
                      <a:pt x="54" y="10"/>
                    </a:lnTo>
                    <a:lnTo>
                      <a:pt x="54" y="8"/>
                    </a:lnTo>
                    <a:lnTo>
                      <a:pt x="55" y="8"/>
                    </a:lnTo>
                    <a:lnTo>
                      <a:pt x="55" y="6"/>
                    </a:lnTo>
                    <a:lnTo>
                      <a:pt x="54" y="6"/>
                    </a:lnTo>
                    <a:lnTo>
                      <a:pt x="54" y="4"/>
                    </a:lnTo>
                    <a:lnTo>
                      <a:pt x="55" y="4"/>
                    </a:lnTo>
                    <a:lnTo>
                      <a:pt x="55" y="2"/>
                    </a:lnTo>
                    <a:lnTo>
                      <a:pt x="57" y="2"/>
                    </a:lnTo>
                    <a:lnTo>
                      <a:pt x="57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Freeform 121">
                <a:extLst>
                  <a:ext uri="{FF2B5EF4-FFF2-40B4-BE49-F238E27FC236}">
                    <a16:creationId xmlns="" xmlns:a16="http://schemas.microsoft.com/office/drawing/2014/main" id="{4C19A422-B7F1-42B0-84EF-045159316C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67675" y="4616451"/>
                <a:ext cx="39688" cy="223838"/>
              </a:xfrm>
              <a:custGeom>
                <a:avLst/>
                <a:gdLst>
                  <a:gd name="T0" fmla="*/ 9 w 25"/>
                  <a:gd name="T1" fmla="*/ 141 h 141"/>
                  <a:gd name="T2" fmla="*/ 7 w 25"/>
                  <a:gd name="T3" fmla="*/ 139 h 141"/>
                  <a:gd name="T4" fmla="*/ 9 w 25"/>
                  <a:gd name="T5" fmla="*/ 133 h 141"/>
                  <a:gd name="T6" fmla="*/ 9 w 25"/>
                  <a:gd name="T7" fmla="*/ 137 h 141"/>
                  <a:gd name="T8" fmla="*/ 7 w 25"/>
                  <a:gd name="T9" fmla="*/ 135 h 141"/>
                  <a:gd name="T10" fmla="*/ 7 w 25"/>
                  <a:gd name="T11" fmla="*/ 135 h 141"/>
                  <a:gd name="T12" fmla="*/ 7 w 25"/>
                  <a:gd name="T13" fmla="*/ 135 h 141"/>
                  <a:gd name="T14" fmla="*/ 9 w 25"/>
                  <a:gd name="T15" fmla="*/ 133 h 141"/>
                  <a:gd name="T16" fmla="*/ 3 w 25"/>
                  <a:gd name="T17" fmla="*/ 137 h 141"/>
                  <a:gd name="T18" fmla="*/ 3 w 25"/>
                  <a:gd name="T19" fmla="*/ 137 h 141"/>
                  <a:gd name="T20" fmla="*/ 3 w 25"/>
                  <a:gd name="T21" fmla="*/ 137 h 141"/>
                  <a:gd name="T22" fmla="*/ 1 w 25"/>
                  <a:gd name="T23" fmla="*/ 139 h 141"/>
                  <a:gd name="T24" fmla="*/ 0 w 25"/>
                  <a:gd name="T25" fmla="*/ 137 h 141"/>
                  <a:gd name="T26" fmla="*/ 7 w 25"/>
                  <a:gd name="T27" fmla="*/ 125 h 141"/>
                  <a:gd name="T28" fmla="*/ 9 w 25"/>
                  <a:gd name="T29" fmla="*/ 127 h 141"/>
                  <a:gd name="T30" fmla="*/ 11 w 25"/>
                  <a:gd name="T31" fmla="*/ 129 h 141"/>
                  <a:gd name="T32" fmla="*/ 9 w 25"/>
                  <a:gd name="T33" fmla="*/ 131 h 141"/>
                  <a:gd name="T34" fmla="*/ 5 w 25"/>
                  <a:gd name="T35" fmla="*/ 129 h 141"/>
                  <a:gd name="T36" fmla="*/ 7 w 25"/>
                  <a:gd name="T37" fmla="*/ 127 h 141"/>
                  <a:gd name="T38" fmla="*/ 9 w 25"/>
                  <a:gd name="T39" fmla="*/ 116 h 141"/>
                  <a:gd name="T40" fmla="*/ 11 w 25"/>
                  <a:gd name="T41" fmla="*/ 118 h 141"/>
                  <a:gd name="T42" fmla="*/ 11 w 25"/>
                  <a:gd name="T43" fmla="*/ 118 h 141"/>
                  <a:gd name="T44" fmla="*/ 9 w 25"/>
                  <a:gd name="T45" fmla="*/ 116 h 141"/>
                  <a:gd name="T46" fmla="*/ 23 w 25"/>
                  <a:gd name="T47" fmla="*/ 100 h 141"/>
                  <a:gd name="T48" fmla="*/ 23 w 25"/>
                  <a:gd name="T49" fmla="*/ 100 h 141"/>
                  <a:gd name="T50" fmla="*/ 21 w 25"/>
                  <a:gd name="T51" fmla="*/ 91 h 141"/>
                  <a:gd name="T52" fmla="*/ 23 w 25"/>
                  <a:gd name="T53" fmla="*/ 93 h 141"/>
                  <a:gd name="T54" fmla="*/ 25 w 25"/>
                  <a:gd name="T55" fmla="*/ 95 h 141"/>
                  <a:gd name="T56" fmla="*/ 23 w 25"/>
                  <a:gd name="T57" fmla="*/ 95 h 141"/>
                  <a:gd name="T58" fmla="*/ 25 w 25"/>
                  <a:gd name="T59" fmla="*/ 97 h 141"/>
                  <a:gd name="T60" fmla="*/ 23 w 25"/>
                  <a:gd name="T61" fmla="*/ 99 h 141"/>
                  <a:gd name="T62" fmla="*/ 23 w 25"/>
                  <a:gd name="T63" fmla="*/ 102 h 141"/>
                  <a:gd name="T64" fmla="*/ 21 w 25"/>
                  <a:gd name="T65" fmla="*/ 102 h 141"/>
                  <a:gd name="T66" fmla="*/ 21 w 25"/>
                  <a:gd name="T67" fmla="*/ 102 h 141"/>
                  <a:gd name="T68" fmla="*/ 21 w 25"/>
                  <a:gd name="T69" fmla="*/ 106 h 141"/>
                  <a:gd name="T70" fmla="*/ 19 w 25"/>
                  <a:gd name="T71" fmla="*/ 104 h 141"/>
                  <a:gd name="T72" fmla="*/ 17 w 25"/>
                  <a:gd name="T73" fmla="*/ 102 h 141"/>
                  <a:gd name="T74" fmla="*/ 17 w 25"/>
                  <a:gd name="T75" fmla="*/ 102 h 141"/>
                  <a:gd name="T76" fmla="*/ 17 w 25"/>
                  <a:gd name="T77" fmla="*/ 106 h 141"/>
                  <a:gd name="T78" fmla="*/ 17 w 25"/>
                  <a:gd name="T79" fmla="*/ 102 h 141"/>
                  <a:gd name="T80" fmla="*/ 15 w 25"/>
                  <a:gd name="T81" fmla="*/ 100 h 141"/>
                  <a:gd name="T82" fmla="*/ 17 w 25"/>
                  <a:gd name="T83" fmla="*/ 99 h 141"/>
                  <a:gd name="T84" fmla="*/ 17 w 25"/>
                  <a:gd name="T85" fmla="*/ 99 h 141"/>
                  <a:gd name="T86" fmla="*/ 19 w 25"/>
                  <a:gd name="T87" fmla="*/ 97 h 141"/>
                  <a:gd name="T88" fmla="*/ 19 w 25"/>
                  <a:gd name="T89" fmla="*/ 97 h 141"/>
                  <a:gd name="T90" fmla="*/ 19 w 25"/>
                  <a:gd name="T91" fmla="*/ 95 h 141"/>
                  <a:gd name="T92" fmla="*/ 21 w 25"/>
                  <a:gd name="T93" fmla="*/ 93 h 141"/>
                  <a:gd name="T94" fmla="*/ 21 w 25"/>
                  <a:gd name="T95" fmla="*/ 93 h 141"/>
                  <a:gd name="T96" fmla="*/ 21 w 25"/>
                  <a:gd name="T97" fmla="*/ 93 h 141"/>
                  <a:gd name="T98" fmla="*/ 19 w 25"/>
                  <a:gd name="T99" fmla="*/ 91 h 141"/>
                  <a:gd name="T100" fmla="*/ 13 w 25"/>
                  <a:gd name="T101" fmla="*/ 6 h 141"/>
                  <a:gd name="T102" fmla="*/ 21 w 25"/>
                  <a:gd name="T103" fmla="*/ 2 h 141"/>
                  <a:gd name="T104" fmla="*/ 19 w 25"/>
                  <a:gd name="T105" fmla="*/ 4 h 141"/>
                  <a:gd name="T106" fmla="*/ 17 w 25"/>
                  <a:gd name="T107" fmla="*/ 6 h 141"/>
                  <a:gd name="T108" fmla="*/ 15 w 25"/>
                  <a:gd name="T109" fmla="*/ 8 h 141"/>
                  <a:gd name="T110" fmla="*/ 13 w 25"/>
                  <a:gd name="T111" fmla="*/ 6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5" h="141">
                    <a:moveTo>
                      <a:pt x="9" y="139"/>
                    </a:moveTo>
                    <a:lnTo>
                      <a:pt x="9" y="141"/>
                    </a:lnTo>
                    <a:lnTo>
                      <a:pt x="7" y="141"/>
                    </a:lnTo>
                    <a:lnTo>
                      <a:pt x="7" y="139"/>
                    </a:lnTo>
                    <a:lnTo>
                      <a:pt x="9" y="139"/>
                    </a:lnTo>
                    <a:close/>
                    <a:moveTo>
                      <a:pt x="9" y="133"/>
                    </a:moveTo>
                    <a:lnTo>
                      <a:pt x="9" y="135"/>
                    </a:lnTo>
                    <a:lnTo>
                      <a:pt x="9" y="137"/>
                    </a:lnTo>
                    <a:lnTo>
                      <a:pt x="7" y="137"/>
                    </a:lnTo>
                    <a:lnTo>
                      <a:pt x="7" y="135"/>
                    </a:lnTo>
                    <a:lnTo>
                      <a:pt x="7" y="137"/>
                    </a:lnTo>
                    <a:lnTo>
                      <a:pt x="7" y="135"/>
                    </a:lnTo>
                    <a:lnTo>
                      <a:pt x="9" y="135"/>
                    </a:lnTo>
                    <a:lnTo>
                      <a:pt x="7" y="135"/>
                    </a:lnTo>
                    <a:lnTo>
                      <a:pt x="9" y="135"/>
                    </a:lnTo>
                    <a:lnTo>
                      <a:pt x="9" y="133"/>
                    </a:lnTo>
                    <a:close/>
                    <a:moveTo>
                      <a:pt x="1" y="137"/>
                    </a:moveTo>
                    <a:lnTo>
                      <a:pt x="3" y="137"/>
                    </a:lnTo>
                    <a:lnTo>
                      <a:pt x="3" y="135"/>
                    </a:lnTo>
                    <a:lnTo>
                      <a:pt x="3" y="137"/>
                    </a:lnTo>
                    <a:lnTo>
                      <a:pt x="5" y="137"/>
                    </a:lnTo>
                    <a:lnTo>
                      <a:pt x="3" y="137"/>
                    </a:lnTo>
                    <a:lnTo>
                      <a:pt x="3" y="139"/>
                    </a:lnTo>
                    <a:lnTo>
                      <a:pt x="1" y="139"/>
                    </a:lnTo>
                    <a:lnTo>
                      <a:pt x="1" y="137"/>
                    </a:lnTo>
                    <a:lnTo>
                      <a:pt x="0" y="137"/>
                    </a:lnTo>
                    <a:lnTo>
                      <a:pt x="1" y="137"/>
                    </a:lnTo>
                    <a:close/>
                    <a:moveTo>
                      <a:pt x="7" y="125"/>
                    </a:moveTo>
                    <a:lnTo>
                      <a:pt x="9" y="125"/>
                    </a:lnTo>
                    <a:lnTo>
                      <a:pt x="9" y="127"/>
                    </a:lnTo>
                    <a:lnTo>
                      <a:pt x="11" y="127"/>
                    </a:lnTo>
                    <a:lnTo>
                      <a:pt x="11" y="129"/>
                    </a:lnTo>
                    <a:lnTo>
                      <a:pt x="11" y="131"/>
                    </a:lnTo>
                    <a:lnTo>
                      <a:pt x="9" y="131"/>
                    </a:lnTo>
                    <a:lnTo>
                      <a:pt x="7" y="129"/>
                    </a:lnTo>
                    <a:lnTo>
                      <a:pt x="5" y="129"/>
                    </a:lnTo>
                    <a:lnTo>
                      <a:pt x="5" y="127"/>
                    </a:lnTo>
                    <a:lnTo>
                      <a:pt x="7" y="127"/>
                    </a:lnTo>
                    <a:lnTo>
                      <a:pt x="7" y="125"/>
                    </a:lnTo>
                    <a:close/>
                    <a:moveTo>
                      <a:pt x="9" y="116"/>
                    </a:moveTo>
                    <a:lnTo>
                      <a:pt x="11" y="116"/>
                    </a:lnTo>
                    <a:lnTo>
                      <a:pt x="11" y="118"/>
                    </a:lnTo>
                    <a:lnTo>
                      <a:pt x="13" y="118"/>
                    </a:lnTo>
                    <a:lnTo>
                      <a:pt x="11" y="118"/>
                    </a:lnTo>
                    <a:lnTo>
                      <a:pt x="9" y="118"/>
                    </a:lnTo>
                    <a:lnTo>
                      <a:pt x="9" y="116"/>
                    </a:lnTo>
                    <a:close/>
                    <a:moveTo>
                      <a:pt x="23" y="99"/>
                    </a:moveTo>
                    <a:lnTo>
                      <a:pt x="23" y="100"/>
                    </a:lnTo>
                    <a:lnTo>
                      <a:pt x="25" y="100"/>
                    </a:lnTo>
                    <a:lnTo>
                      <a:pt x="23" y="100"/>
                    </a:lnTo>
                    <a:lnTo>
                      <a:pt x="23" y="99"/>
                    </a:lnTo>
                    <a:close/>
                    <a:moveTo>
                      <a:pt x="21" y="91"/>
                    </a:moveTo>
                    <a:lnTo>
                      <a:pt x="23" y="91"/>
                    </a:lnTo>
                    <a:lnTo>
                      <a:pt x="23" y="93"/>
                    </a:lnTo>
                    <a:lnTo>
                      <a:pt x="25" y="93"/>
                    </a:lnTo>
                    <a:lnTo>
                      <a:pt x="25" y="95"/>
                    </a:lnTo>
                    <a:lnTo>
                      <a:pt x="23" y="97"/>
                    </a:lnTo>
                    <a:lnTo>
                      <a:pt x="23" y="95"/>
                    </a:lnTo>
                    <a:lnTo>
                      <a:pt x="23" y="97"/>
                    </a:lnTo>
                    <a:lnTo>
                      <a:pt x="25" y="97"/>
                    </a:lnTo>
                    <a:lnTo>
                      <a:pt x="23" y="97"/>
                    </a:lnTo>
                    <a:lnTo>
                      <a:pt x="23" y="99"/>
                    </a:lnTo>
                    <a:lnTo>
                      <a:pt x="23" y="100"/>
                    </a:lnTo>
                    <a:lnTo>
                      <a:pt x="23" y="102"/>
                    </a:lnTo>
                    <a:lnTo>
                      <a:pt x="21" y="100"/>
                    </a:lnTo>
                    <a:lnTo>
                      <a:pt x="21" y="102"/>
                    </a:lnTo>
                    <a:lnTo>
                      <a:pt x="23" y="102"/>
                    </a:lnTo>
                    <a:lnTo>
                      <a:pt x="21" y="102"/>
                    </a:lnTo>
                    <a:lnTo>
                      <a:pt x="21" y="104"/>
                    </a:lnTo>
                    <a:lnTo>
                      <a:pt x="21" y="106"/>
                    </a:lnTo>
                    <a:lnTo>
                      <a:pt x="19" y="106"/>
                    </a:lnTo>
                    <a:lnTo>
                      <a:pt x="19" y="104"/>
                    </a:lnTo>
                    <a:lnTo>
                      <a:pt x="17" y="104"/>
                    </a:lnTo>
                    <a:lnTo>
                      <a:pt x="17" y="102"/>
                    </a:lnTo>
                    <a:lnTo>
                      <a:pt x="19" y="102"/>
                    </a:lnTo>
                    <a:lnTo>
                      <a:pt x="17" y="102"/>
                    </a:lnTo>
                    <a:lnTo>
                      <a:pt x="17" y="104"/>
                    </a:lnTo>
                    <a:lnTo>
                      <a:pt x="17" y="106"/>
                    </a:lnTo>
                    <a:lnTo>
                      <a:pt x="17" y="104"/>
                    </a:lnTo>
                    <a:lnTo>
                      <a:pt x="17" y="102"/>
                    </a:lnTo>
                    <a:lnTo>
                      <a:pt x="15" y="102"/>
                    </a:lnTo>
                    <a:lnTo>
                      <a:pt x="15" y="100"/>
                    </a:lnTo>
                    <a:lnTo>
                      <a:pt x="15" y="99"/>
                    </a:lnTo>
                    <a:lnTo>
                      <a:pt x="17" y="99"/>
                    </a:lnTo>
                    <a:lnTo>
                      <a:pt x="17" y="97"/>
                    </a:lnTo>
                    <a:lnTo>
                      <a:pt x="17" y="99"/>
                    </a:lnTo>
                    <a:lnTo>
                      <a:pt x="19" y="99"/>
                    </a:lnTo>
                    <a:lnTo>
                      <a:pt x="19" y="97"/>
                    </a:lnTo>
                    <a:lnTo>
                      <a:pt x="17" y="97"/>
                    </a:lnTo>
                    <a:lnTo>
                      <a:pt x="19" y="97"/>
                    </a:lnTo>
                    <a:lnTo>
                      <a:pt x="17" y="97"/>
                    </a:lnTo>
                    <a:lnTo>
                      <a:pt x="19" y="95"/>
                    </a:lnTo>
                    <a:lnTo>
                      <a:pt x="19" y="93"/>
                    </a:lnTo>
                    <a:lnTo>
                      <a:pt x="21" y="93"/>
                    </a:lnTo>
                    <a:lnTo>
                      <a:pt x="19" y="93"/>
                    </a:lnTo>
                    <a:lnTo>
                      <a:pt x="21" y="93"/>
                    </a:lnTo>
                    <a:lnTo>
                      <a:pt x="19" y="93"/>
                    </a:lnTo>
                    <a:lnTo>
                      <a:pt x="21" y="93"/>
                    </a:lnTo>
                    <a:lnTo>
                      <a:pt x="21" y="91"/>
                    </a:lnTo>
                    <a:lnTo>
                      <a:pt x="19" y="91"/>
                    </a:lnTo>
                    <a:lnTo>
                      <a:pt x="21" y="91"/>
                    </a:lnTo>
                    <a:close/>
                    <a:moveTo>
                      <a:pt x="13" y="6"/>
                    </a:moveTo>
                    <a:lnTo>
                      <a:pt x="21" y="0"/>
                    </a:lnTo>
                    <a:lnTo>
                      <a:pt x="21" y="2"/>
                    </a:lnTo>
                    <a:lnTo>
                      <a:pt x="21" y="4"/>
                    </a:lnTo>
                    <a:lnTo>
                      <a:pt x="19" y="4"/>
                    </a:lnTo>
                    <a:lnTo>
                      <a:pt x="19" y="6"/>
                    </a:lnTo>
                    <a:lnTo>
                      <a:pt x="17" y="6"/>
                    </a:lnTo>
                    <a:lnTo>
                      <a:pt x="17" y="8"/>
                    </a:lnTo>
                    <a:lnTo>
                      <a:pt x="15" y="8"/>
                    </a:lnTo>
                    <a:lnTo>
                      <a:pt x="13" y="8"/>
                    </a:lnTo>
                    <a:lnTo>
                      <a:pt x="13" y="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Freeform 122">
                <a:extLst>
                  <a:ext uri="{FF2B5EF4-FFF2-40B4-BE49-F238E27FC236}">
                    <a16:creationId xmlns="" xmlns:a16="http://schemas.microsoft.com/office/drawing/2014/main" id="{96D864C0-67CD-4E74-ACD9-2436D89048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64500" y="4684713"/>
                <a:ext cx="42863" cy="155575"/>
              </a:xfrm>
              <a:custGeom>
                <a:avLst/>
                <a:gdLst>
                  <a:gd name="T0" fmla="*/ 5 w 27"/>
                  <a:gd name="T1" fmla="*/ 98 h 98"/>
                  <a:gd name="T2" fmla="*/ 5 w 27"/>
                  <a:gd name="T3" fmla="*/ 98 h 98"/>
                  <a:gd name="T4" fmla="*/ 5 w 27"/>
                  <a:gd name="T5" fmla="*/ 98 h 98"/>
                  <a:gd name="T6" fmla="*/ 15 w 27"/>
                  <a:gd name="T7" fmla="*/ 92 h 98"/>
                  <a:gd name="T8" fmla="*/ 15 w 27"/>
                  <a:gd name="T9" fmla="*/ 92 h 98"/>
                  <a:gd name="T10" fmla="*/ 15 w 27"/>
                  <a:gd name="T11" fmla="*/ 90 h 98"/>
                  <a:gd name="T12" fmla="*/ 15 w 27"/>
                  <a:gd name="T13" fmla="*/ 90 h 98"/>
                  <a:gd name="T14" fmla="*/ 15 w 27"/>
                  <a:gd name="T15" fmla="*/ 90 h 98"/>
                  <a:gd name="T16" fmla="*/ 15 w 27"/>
                  <a:gd name="T17" fmla="*/ 90 h 98"/>
                  <a:gd name="T18" fmla="*/ 15 w 27"/>
                  <a:gd name="T19" fmla="*/ 90 h 98"/>
                  <a:gd name="T20" fmla="*/ 19 w 27"/>
                  <a:gd name="T21" fmla="*/ 77 h 98"/>
                  <a:gd name="T22" fmla="*/ 17 w 27"/>
                  <a:gd name="T23" fmla="*/ 77 h 98"/>
                  <a:gd name="T24" fmla="*/ 19 w 27"/>
                  <a:gd name="T25" fmla="*/ 77 h 98"/>
                  <a:gd name="T26" fmla="*/ 17 w 27"/>
                  <a:gd name="T27" fmla="*/ 77 h 98"/>
                  <a:gd name="T28" fmla="*/ 17 w 27"/>
                  <a:gd name="T29" fmla="*/ 77 h 98"/>
                  <a:gd name="T30" fmla="*/ 19 w 27"/>
                  <a:gd name="T31" fmla="*/ 77 h 98"/>
                  <a:gd name="T32" fmla="*/ 17 w 27"/>
                  <a:gd name="T33" fmla="*/ 77 h 98"/>
                  <a:gd name="T34" fmla="*/ 17 w 27"/>
                  <a:gd name="T35" fmla="*/ 77 h 98"/>
                  <a:gd name="T36" fmla="*/ 23 w 27"/>
                  <a:gd name="T37" fmla="*/ 59 h 98"/>
                  <a:gd name="T38" fmla="*/ 23 w 27"/>
                  <a:gd name="T39" fmla="*/ 59 h 98"/>
                  <a:gd name="T40" fmla="*/ 23 w 27"/>
                  <a:gd name="T41" fmla="*/ 59 h 98"/>
                  <a:gd name="T42" fmla="*/ 27 w 27"/>
                  <a:gd name="T43" fmla="*/ 54 h 98"/>
                  <a:gd name="T44" fmla="*/ 27 w 27"/>
                  <a:gd name="T45" fmla="*/ 54 h 98"/>
                  <a:gd name="T46" fmla="*/ 27 w 27"/>
                  <a:gd name="T47" fmla="*/ 54 h 98"/>
                  <a:gd name="T48" fmla="*/ 25 w 27"/>
                  <a:gd name="T49" fmla="*/ 54 h 98"/>
                  <a:gd name="T50" fmla="*/ 25 w 27"/>
                  <a:gd name="T51" fmla="*/ 54 h 98"/>
                  <a:gd name="T52" fmla="*/ 27 w 27"/>
                  <a:gd name="T53" fmla="*/ 52 h 98"/>
                  <a:gd name="T54" fmla="*/ 27 w 27"/>
                  <a:gd name="T55" fmla="*/ 52 h 98"/>
                  <a:gd name="T56" fmla="*/ 27 w 27"/>
                  <a:gd name="T57" fmla="*/ 50 h 98"/>
                  <a:gd name="T58" fmla="*/ 0 w 27"/>
                  <a:gd name="T59" fmla="*/ 0 h 98"/>
                  <a:gd name="T60" fmla="*/ 0 w 27"/>
                  <a:gd name="T61" fmla="*/ 0 h 98"/>
                  <a:gd name="T62" fmla="*/ 0 w 27"/>
                  <a:gd name="T63" fmla="*/ 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7" h="98">
                    <a:moveTo>
                      <a:pt x="5" y="98"/>
                    </a:moveTo>
                    <a:lnTo>
                      <a:pt x="5" y="98"/>
                    </a:lnTo>
                    <a:lnTo>
                      <a:pt x="5" y="98"/>
                    </a:lnTo>
                    <a:lnTo>
                      <a:pt x="5" y="98"/>
                    </a:lnTo>
                    <a:lnTo>
                      <a:pt x="5" y="98"/>
                    </a:lnTo>
                    <a:lnTo>
                      <a:pt x="5" y="98"/>
                    </a:lnTo>
                    <a:close/>
                    <a:moveTo>
                      <a:pt x="15" y="90"/>
                    </a:moveTo>
                    <a:lnTo>
                      <a:pt x="15" y="92"/>
                    </a:lnTo>
                    <a:lnTo>
                      <a:pt x="15" y="92"/>
                    </a:lnTo>
                    <a:lnTo>
                      <a:pt x="15" y="92"/>
                    </a:lnTo>
                    <a:lnTo>
                      <a:pt x="15" y="92"/>
                    </a:lnTo>
                    <a:lnTo>
                      <a:pt x="15" y="90"/>
                    </a:lnTo>
                    <a:lnTo>
                      <a:pt x="15" y="90"/>
                    </a:lnTo>
                    <a:lnTo>
                      <a:pt x="15" y="90"/>
                    </a:lnTo>
                    <a:lnTo>
                      <a:pt x="15" y="90"/>
                    </a:lnTo>
                    <a:close/>
                    <a:moveTo>
                      <a:pt x="15" y="90"/>
                    </a:moveTo>
                    <a:lnTo>
                      <a:pt x="15" y="90"/>
                    </a:lnTo>
                    <a:lnTo>
                      <a:pt x="15" y="90"/>
                    </a:lnTo>
                    <a:lnTo>
                      <a:pt x="15" y="90"/>
                    </a:lnTo>
                    <a:lnTo>
                      <a:pt x="15" y="90"/>
                    </a:lnTo>
                    <a:close/>
                    <a:moveTo>
                      <a:pt x="19" y="77"/>
                    </a:moveTo>
                    <a:lnTo>
                      <a:pt x="19" y="77"/>
                    </a:lnTo>
                    <a:lnTo>
                      <a:pt x="17" y="77"/>
                    </a:lnTo>
                    <a:lnTo>
                      <a:pt x="17" y="77"/>
                    </a:lnTo>
                    <a:lnTo>
                      <a:pt x="19" y="77"/>
                    </a:lnTo>
                    <a:close/>
                    <a:moveTo>
                      <a:pt x="19" y="77"/>
                    </a:moveTo>
                    <a:lnTo>
                      <a:pt x="17" y="77"/>
                    </a:lnTo>
                    <a:lnTo>
                      <a:pt x="17" y="77"/>
                    </a:lnTo>
                    <a:lnTo>
                      <a:pt x="17" y="77"/>
                    </a:lnTo>
                    <a:lnTo>
                      <a:pt x="17" y="77"/>
                    </a:lnTo>
                    <a:lnTo>
                      <a:pt x="19" y="77"/>
                    </a:lnTo>
                    <a:lnTo>
                      <a:pt x="19" y="77"/>
                    </a:lnTo>
                    <a:close/>
                    <a:moveTo>
                      <a:pt x="17" y="77"/>
                    </a:moveTo>
                    <a:lnTo>
                      <a:pt x="17" y="77"/>
                    </a:lnTo>
                    <a:lnTo>
                      <a:pt x="17" y="77"/>
                    </a:lnTo>
                    <a:lnTo>
                      <a:pt x="17" y="77"/>
                    </a:lnTo>
                    <a:lnTo>
                      <a:pt x="17" y="77"/>
                    </a:lnTo>
                    <a:close/>
                    <a:moveTo>
                      <a:pt x="23" y="59"/>
                    </a:moveTo>
                    <a:lnTo>
                      <a:pt x="23" y="59"/>
                    </a:lnTo>
                    <a:lnTo>
                      <a:pt x="23" y="59"/>
                    </a:lnTo>
                    <a:lnTo>
                      <a:pt x="23" y="59"/>
                    </a:lnTo>
                    <a:lnTo>
                      <a:pt x="23" y="59"/>
                    </a:lnTo>
                    <a:close/>
                    <a:moveTo>
                      <a:pt x="27" y="54"/>
                    </a:moveTo>
                    <a:lnTo>
                      <a:pt x="27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27" y="54"/>
                    </a:lnTo>
                    <a:lnTo>
                      <a:pt x="27" y="54"/>
                    </a:lnTo>
                    <a:close/>
                    <a:moveTo>
                      <a:pt x="25" y="54"/>
                    </a:moveTo>
                    <a:lnTo>
                      <a:pt x="25" y="54"/>
                    </a:lnTo>
                    <a:lnTo>
                      <a:pt x="25" y="54"/>
                    </a:lnTo>
                    <a:lnTo>
                      <a:pt x="25" y="54"/>
                    </a:lnTo>
                    <a:lnTo>
                      <a:pt x="25" y="54"/>
                    </a:lnTo>
                    <a:close/>
                    <a:moveTo>
                      <a:pt x="27" y="52"/>
                    </a:moveTo>
                    <a:lnTo>
                      <a:pt x="27" y="52"/>
                    </a:lnTo>
                    <a:lnTo>
                      <a:pt x="27" y="52"/>
                    </a:lnTo>
                    <a:lnTo>
                      <a:pt x="27" y="50"/>
                    </a:lnTo>
                    <a:lnTo>
                      <a:pt x="27" y="50"/>
                    </a:lnTo>
                    <a:lnTo>
                      <a:pt x="27" y="52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Freeform 123">
                <a:extLst>
                  <a:ext uri="{FF2B5EF4-FFF2-40B4-BE49-F238E27FC236}">
                    <a16:creationId xmlns="" xmlns:a16="http://schemas.microsoft.com/office/drawing/2014/main" id="{3044AD66-F396-470F-AC4C-CECEF7FF19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47913" y="3927476"/>
                <a:ext cx="290513" cy="284163"/>
              </a:xfrm>
              <a:custGeom>
                <a:avLst/>
                <a:gdLst>
                  <a:gd name="T0" fmla="*/ 173 w 183"/>
                  <a:gd name="T1" fmla="*/ 50 h 179"/>
                  <a:gd name="T2" fmla="*/ 169 w 183"/>
                  <a:gd name="T3" fmla="*/ 58 h 179"/>
                  <a:gd name="T4" fmla="*/ 164 w 183"/>
                  <a:gd name="T5" fmla="*/ 67 h 179"/>
                  <a:gd name="T6" fmla="*/ 154 w 183"/>
                  <a:gd name="T7" fmla="*/ 79 h 179"/>
                  <a:gd name="T8" fmla="*/ 146 w 183"/>
                  <a:gd name="T9" fmla="*/ 90 h 179"/>
                  <a:gd name="T10" fmla="*/ 141 w 183"/>
                  <a:gd name="T11" fmla="*/ 96 h 179"/>
                  <a:gd name="T12" fmla="*/ 139 w 183"/>
                  <a:gd name="T13" fmla="*/ 106 h 179"/>
                  <a:gd name="T14" fmla="*/ 131 w 183"/>
                  <a:gd name="T15" fmla="*/ 115 h 179"/>
                  <a:gd name="T16" fmla="*/ 118 w 183"/>
                  <a:gd name="T17" fmla="*/ 125 h 179"/>
                  <a:gd name="T18" fmla="*/ 104 w 183"/>
                  <a:gd name="T19" fmla="*/ 138 h 179"/>
                  <a:gd name="T20" fmla="*/ 96 w 183"/>
                  <a:gd name="T21" fmla="*/ 142 h 179"/>
                  <a:gd name="T22" fmla="*/ 91 w 183"/>
                  <a:gd name="T23" fmla="*/ 150 h 179"/>
                  <a:gd name="T24" fmla="*/ 85 w 183"/>
                  <a:gd name="T25" fmla="*/ 156 h 179"/>
                  <a:gd name="T26" fmla="*/ 79 w 183"/>
                  <a:gd name="T27" fmla="*/ 169 h 179"/>
                  <a:gd name="T28" fmla="*/ 64 w 183"/>
                  <a:gd name="T29" fmla="*/ 175 h 179"/>
                  <a:gd name="T30" fmla="*/ 52 w 183"/>
                  <a:gd name="T31" fmla="*/ 169 h 179"/>
                  <a:gd name="T32" fmla="*/ 43 w 183"/>
                  <a:gd name="T33" fmla="*/ 160 h 179"/>
                  <a:gd name="T34" fmla="*/ 37 w 183"/>
                  <a:gd name="T35" fmla="*/ 154 h 179"/>
                  <a:gd name="T36" fmla="*/ 37 w 183"/>
                  <a:gd name="T37" fmla="*/ 146 h 179"/>
                  <a:gd name="T38" fmla="*/ 31 w 183"/>
                  <a:gd name="T39" fmla="*/ 133 h 179"/>
                  <a:gd name="T40" fmla="*/ 29 w 183"/>
                  <a:gd name="T41" fmla="*/ 127 h 179"/>
                  <a:gd name="T42" fmla="*/ 25 w 183"/>
                  <a:gd name="T43" fmla="*/ 125 h 179"/>
                  <a:gd name="T44" fmla="*/ 20 w 183"/>
                  <a:gd name="T45" fmla="*/ 119 h 179"/>
                  <a:gd name="T46" fmla="*/ 20 w 183"/>
                  <a:gd name="T47" fmla="*/ 110 h 179"/>
                  <a:gd name="T48" fmla="*/ 10 w 183"/>
                  <a:gd name="T49" fmla="*/ 108 h 179"/>
                  <a:gd name="T50" fmla="*/ 8 w 183"/>
                  <a:gd name="T51" fmla="*/ 98 h 179"/>
                  <a:gd name="T52" fmla="*/ 2 w 183"/>
                  <a:gd name="T53" fmla="*/ 86 h 179"/>
                  <a:gd name="T54" fmla="*/ 14 w 183"/>
                  <a:gd name="T55" fmla="*/ 75 h 179"/>
                  <a:gd name="T56" fmla="*/ 12 w 183"/>
                  <a:gd name="T57" fmla="*/ 61 h 179"/>
                  <a:gd name="T58" fmla="*/ 8 w 183"/>
                  <a:gd name="T59" fmla="*/ 56 h 179"/>
                  <a:gd name="T60" fmla="*/ 10 w 183"/>
                  <a:gd name="T61" fmla="*/ 42 h 179"/>
                  <a:gd name="T62" fmla="*/ 14 w 183"/>
                  <a:gd name="T63" fmla="*/ 31 h 179"/>
                  <a:gd name="T64" fmla="*/ 22 w 183"/>
                  <a:gd name="T65" fmla="*/ 35 h 179"/>
                  <a:gd name="T66" fmla="*/ 29 w 183"/>
                  <a:gd name="T67" fmla="*/ 31 h 179"/>
                  <a:gd name="T68" fmla="*/ 31 w 183"/>
                  <a:gd name="T69" fmla="*/ 27 h 179"/>
                  <a:gd name="T70" fmla="*/ 37 w 183"/>
                  <a:gd name="T71" fmla="*/ 25 h 179"/>
                  <a:gd name="T72" fmla="*/ 45 w 183"/>
                  <a:gd name="T73" fmla="*/ 27 h 179"/>
                  <a:gd name="T74" fmla="*/ 60 w 183"/>
                  <a:gd name="T75" fmla="*/ 23 h 179"/>
                  <a:gd name="T76" fmla="*/ 75 w 183"/>
                  <a:gd name="T77" fmla="*/ 33 h 179"/>
                  <a:gd name="T78" fmla="*/ 83 w 183"/>
                  <a:gd name="T79" fmla="*/ 35 h 179"/>
                  <a:gd name="T80" fmla="*/ 89 w 183"/>
                  <a:gd name="T81" fmla="*/ 36 h 179"/>
                  <a:gd name="T82" fmla="*/ 95 w 183"/>
                  <a:gd name="T83" fmla="*/ 31 h 179"/>
                  <a:gd name="T84" fmla="*/ 102 w 183"/>
                  <a:gd name="T85" fmla="*/ 23 h 179"/>
                  <a:gd name="T86" fmla="*/ 108 w 183"/>
                  <a:gd name="T87" fmla="*/ 12 h 179"/>
                  <a:gd name="T88" fmla="*/ 114 w 183"/>
                  <a:gd name="T89" fmla="*/ 2 h 179"/>
                  <a:gd name="T90" fmla="*/ 118 w 183"/>
                  <a:gd name="T91" fmla="*/ 10 h 179"/>
                  <a:gd name="T92" fmla="*/ 121 w 183"/>
                  <a:gd name="T93" fmla="*/ 15 h 179"/>
                  <a:gd name="T94" fmla="*/ 131 w 183"/>
                  <a:gd name="T95" fmla="*/ 21 h 179"/>
                  <a:gd name="T96" fmla="*/ 137 w 183"/>
                  <a:gd name="T97" fmla="*/ 15 h 179"/>
                  <a:gd name="T98" fmla="*/ 146 w 183"/>
                  <a:gd name="T99" fmla="*/ 8 h 179"/>
                  <a:gd name="T100" fmla="*/ 154 w 183"/>
                  <a:gd name="T101" fmla="*/ 10 h 179"/>
                  <a:gd name="T102" fmla="*/ 160 w 183"/>
                  <a:gd name="T103" fmla="*/ 15 h 179"/>
                  <a:gd name="T104" fmla="*/ 162 w 183"/>
                  <a:gd name="T105" fmla="*/ 23 h 179"/>
                  <a:gd name="T106" fmla="*/ 166 w 183"/>
                  <a:gd name="T107" fmla="*/ 31 h 179"/>
                  <a:gd name="T108" fmla="*/ 166 w 183"/>
                  <a:gd name="T109" fmla="*/ 33 h 179"/>
                  <a:gd name="T110" fmla="*/ 168 w 183"/>
                  <a:gd name="T111" fmla="*/ 38 h 179"/>
                  <a:gd name="T112" fmla="*/ 173 w 183"/>
                  <a:gd name="T113" fmla="*/ 36 h 179"/>
                  <a:gd name="T114" fmla="*/ 179 w 183"/>
                  <a:gd name="T115" fmla="*/ 36 h 179"/>
                  <a:gd name="T116" fmla="*/ 181 w 183"/>
                  <a:gd name="T117" fmla="*/ 46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3" h="179">
                    <a:moveTo>
                      <a:pt x="181" y="46"/>
                    </a:moveTo>
                    <a:lnTo>
                      <a:pt x="179" y="48"/>
                    </a:lnTo>
                    <a:lnTo>
                      <a:pt x="177" y="48"/>
                    </a:lnTo>
                    <a:lnTo>
                      <a:pt x="177" y="46"/>
                    </a:lnTo>
                    <a:lnTo>
                      <a:pt x="175" y="46"/>
                    </a:lnTo>
                    <a:lnTo>
                      <a:pt x="173" y="46"/>
                    </a:lnTo>
                    <a:lnTo>
                      <a:pt x="171" y="46"/>
                    </a:lnTo>
                    <a:lnTo>
                      <a:pt x="173" y="50"/>
                    </a:lnTo>
                    <a:lnTo>
                      <a:pt x="171" y="50"/>
                    </a:lnTo>
                    <a:lnTo>
                      <a:pt x="169" y="52"/>
                    </a:lnTo>
                    <a:lnTo>
                      <a:pt x="168" y="54"/>
                    </a:lnTo>
                    <a:lnTo>
                      <a:pt x="168" y="56"/>
                    </a:lnTo>
                    <a:lnTo>
                      <a:pt x="168" y="58"/>
                    </a:lnTo>
                    <a:lnTo>
                      <a:pt x="168" y="56"/>
                    </a:lnTo>
                    <a:lnTo>
                      <a:pt x="169" y="56"/>
                    </a:lnTo>
                    <a:lnTo>
                      <a:pt x="169" y="58"/>
                    </a:lnTo>
                    <a:lnTo>
                      <a:pt x="169" y="60"/>
                    </a:lnTo>
                    <a:lnTo>
                      <a:pt x="171" y="60"/>
                    </a:lnTo>
                    <a:lnTo>
                      <a:pt x="171" y="61"/>
                    </a:lnTo>
                    <a:lnTo>
                      <a:pt x="171" y="63"/>
                    </a:lnTo>
                    <a:lnTo>
                      <a:pt x="169" y="63"/>
                    </a:lnTo>
                    <a:lnTo>
                      <a:pt x="168" y="63"/>
                    </a:lnTo>
                    <a:lnTo>
                      <a:pt x="164" y="65"/>
                    </a:lnTo>
                    <a:lnTo>
                      <a:pt x="164" y="67"/>
                    </a:lnTo>
                    <a:lnTo>
                      <a:pt x="166" y="67"/>
                    </a:lnTo>
                    <a:lnTo>
                      <a:pt x="166" y="69"/>
                    </a:lnTo>
                    <a:lnTo>
                      <a:pt x="164" y="69"/>
                    </a:lnTo>
                    <a:lnTo>
                      <a:pt x="164" y="71"/>
                    </a:lnTo>
                    <a:lnTo>
                      <a:pt x="162" y="71"/>
                    </a:lnTo>
                    <a:lnTo>
                      <a:pt x="158" y="77"/>
                    </a:lnTo>
                    <a:lnTo>
                      <a:pt x="156" y="79"/>
                    </a:lnTo>
                    <a:lnTo>
                      <a:pt x="154" y="79"/>
                    </a:lnTo>
                    <a:lnTo>
                      <a:pt x="154" y="81"/>
                    </a:lnTo>
                    <a:lnTo>
                      <a:pt x="154" y="83"/>
                    </a:lnTo>
                    <a:lnTo>
                      <a:pt x="152" y="83"/>
                    </a:lnTo>
                    <a:lnTo>
                      <a:pt x="152" y="85"/>
                    </a:lnTo>
                    <a:lnTo>
                      <a:pt x="150" y="85"/>
                    </a:lnTo>
                    <a:lnTo>
                      <a:pt x="150" y="86"/>
                    </a:lnTo>
                    <a:lnTo>
                      <a:pt x="148" y="88"/>
                    </a:lnTo>
                    <a:lnTo>
                      <a:pt x="146" y="90"/>
                    </a:lnTo>
                    <a:lnTo>
                      <a:pt x="144" y="88"/>
                    </a:lnTo>
                    <a:lnTo>
                      <a:pt x="143" y="88"/>
                    </a:lnTo>
                    <a:lnTo>
                      <a:pt x="143" y="90"/>
                    </a:lnTo>
                    <a:lnTo>
                      <a:pt x="141" y="90"/>
                    </a:lnTo>
                    <a:lnTo>
                      <a:pt x="141" y="92"/>
                    </a:lnTo>
                    <a:lnTo>
                      <a:pt x="143" y="92"/>
                    </a:lnTo>
                    <a:lnTo>
                      <a:pt x="141" y="94"/>
                    </a:lnTo>
                    <a:lnTo>
                      <a:pt x="141" y="96"/>
                    </a:lnTo>
                    <a:lnTo>
                      <a:pt x="143" y="96"/>
                    </a:lnTo>
                    <a:lnTo>
                      <a:pt x="143" y="98"/>
                    </a:lnTo>
                    <a:lnTo>
                      <a:pt x="141" y="98"/>
                    </a:lnTo>
                    <a:lnTo>
                      <a:pt x="141" y="100"/>
                    </a:lnTo>
                    <a:lnTo>
                      <a:pt x="143" y="102"/>
                    </a:lnTo>
                    <a:lnTo>
                      <a:pt x="139" y="104"/>
                    </a:lnTo>
                    <a:lnTo>
                      <a:pt x="141" y="104"/>
                    </a:lnTo>
                    <a:lnTo>
                      <a:pt x="139" y="106"/>
                    </a:lnTo>
                    <a:lnTo>
                      <a:pt x="137" y="106"/>
                    </a:lnTo>
                    <a:lnTo>
                      <a:pt x="139" y="106"/>
                    </a:lnTo>
                    <a:lnTo>
                      <a:pt x="137" y="110"/>
                    </a:lnTo>
                    <a:lnTo>
                      <a:pt x="135" y="110"/>
                    </a:lnTo>
                    <a:lnTo>
                      <a:pt x="135" y="111"/>
                    </a:lnTo>
                    <a:lnTo>
                      <a:pt x="133" y="113"/>
                    </a:lnTo>
                    <a:lnTo>
                      <a:pt x="131" y="113"/>
                    </a:lnTo>
                    <a:lnTo>
                      <a:pt x="131" y="115"/>
                    </a:lnTo>
                    <a:lnTo>
                      <a:pt x="133" y="115"/>
                    </a:lnTo>
                    <a:lnTo>
                      <a:pt x="133" y="117"/>
                    </a:lnTo>
                    <a:lnTo>
                      <a:pt x="133" y="119"/>
                    </a:lnTo>
                    <a:lnTo>
                      <a:pt x="129" y="117"/>
                    </a:lnTo>
                    <a:lnTo>
                      <a:pt x="123" y="125"/>
                    </a:lnTo>
                    <a:lnTo>
                      <a:pt x="121" y="123"/>
                    </a:lnTo>
                    <a:lnTo>
                      <a:pt x="119" y="123"/>
                    </a:lnTo>
                    <a:lnTo>
                      <a:pt x="118" y="125"/>
                    </a:lnTo>
                    <a:lnTo>
                      <a:pt x="116" y="127"/>
                    </a:lnTo>
                    <a:lnTo>
                      <a:pt x="114" y="127"/>
                    </a:lnTo>
                    <a:lnTo>
                      <a:pt x="112" y="125"/>
                    </a:lnTo>
                    <a:lnTo>
                      <a:pt x="110" y="129"/>
                    </a:lnTo>
                    <a:lnTo>
                      <a:pt x="112" y="131"/>
                    </a:lnTo>
                    <a:lnTo>
                      <a:pt x="110" y="135"/>
                    </a:lnTo>
                    <a:lnTo>
                      <a:pt x="106" y="138"/>
                    </a:lnTo>
                    <a:lnTo>
                      <a:pt x="104" y="138"/>
                    </a:lnTo>
                    <a:lnTo>
                      <a:pt x="102" y="138"/>
                    </a:lnTo>
                    <a:lnTo>
                      <a:pt x="102" y="136"/>
                    </a:lnTo>
                    <a:lnTo>
                      <a:pt x="100" y="135"/>
                    </a:lnTo>
                    <a:lnTo>
                      <a:pt x="98" y="136"/>
                    </a:lnTo>
                    <a:lnTo>
                      <a:pt x="96" y="136"/>
                    </a:lnTo>
                    <a:lnTo>
                      <a:pt x="96" y="138"/>
                    </a:lnTo>
                    <a:lnTo>
                      <a:pt x="96" y="140"/>
                    </a:lnTo>
                    <a:lnTo>
                      <a:pt x="96" y="142"/>
                    </a:lnTo>
                    <a:lnTo>
                      <a:pt x="96" y="140"/>
                    </a:lnTo>
                    <a:lnTo>
                      <a:pt x="95" y="140"/>
                    </a:lnTo>
                    <a:lnTo>
                      <a:pt x="93" y="144"/>
                    </a:lnTo>
                    <a:lnTo>
                      <a:pt x="95" y="144"/>
                    </a:lnTo>
                    <a:lnTo>
                      <a:pt x="95" y="146"/>
                    </a:lnTo>
                    <a:lnTo>
                      <a:pt x="95" y="148"/>
                    </a:lnTo>
                    <a:lnTo>
                      <a:pt x="93" y="150"/>
                    </a:lnTo>
                    <a:lnTo>
                      <a:pt x="91" y="150"/>
                    </a:lnTo>
                    <a:lnTo>
                      <a:pt x="91" y="152"/>
                    </a:lnTo>
                    <a:lnTo>
                      <a:pt x="89" y="152"/>
                    </a:lnTo>
                    <a:lnTo>
                      <a:pt x="89" y="154"/>
                    </a:lnTo>
                    <a:lnTo>
                      <a:pt x="89" y="152"/>
                    </a:lnTo>
                    <a:lnTo>
                      <a:pt x="87" y="152"/>
                    </a:lnTo>
                    <a:lnTo>
                      <a:pt x="87" y="154"/>
                    </a:lnTo>
                    <a:lnTo>
                      <a:pt x="85" y="154"/>
                    </a:lnTo>
                    <a:lnTo>
                      <a:pt x="85" y="156"/>
                    </a:lnTo>
                    <a:lnTo>
                      <a:pt x="85" y="158"/>
                    </a:lnTo>
                    <a:lnTo>
                      <a:pt x="83" y="158"/>
                    </a:lnTo>
                    <a:lnTo>
                      <a:pt x="83" y="160"/>
                    </a:lnTo>
                    <a:lnTo>
                      <a:pt x="85" y="161"/>
                    </a:lnTo>
                    <a:lnTo>
                      <a:pt x="83" y="165"/>
                    </a:lnTo>
                    <a:lnTo>
                      <a:pt x="81" y="165"/>
                    </a:lnTo>
                    <a:lnTo>
                      <a:pt x="81" y="167"/>
                    </a:lnTo>
                    <a:lnTo>
                      <a:pt x="79" y="169"/>
                    </a:lnTo>
                    <a:lnTo>
                      <a:pt x="77" y="169"/>
                    </a:lnTo>
                    <a:lnTo>
                      <a:pt x="77" y="171"/>
                    </a:lnTo>
                    <a:lnTo>
                      <a:pt x="71" y="171"/>
                    </a:lnTo>
                    <a:lnTo>
                      <a:pt x="70" y="173"/>
                    </a:lnTo>
                    <a:lnTo>
                      <a:pt x="68" y="171"/>
                    </a:lnTo>
                    <a:lnTo>
                      <a:pt x="68" y="173"/>
                    </a:lnTo>
                    <a:lnTo>
                      <a:pt x="66" y="175"/>
                    </a:lnTo>
                    <a:lnTo>
                      <a:pt x="64" y="175"/>
                    </a:lnTo>
                    <a:lnTo>
                      <a:pt x="62" y="175"/>
                    </a:lnTo>
                    <a:lnTo>
                      <a:pt x="60" y="175"/>
                    </a:lnTo>
                    <a:lnTo>
                      <a:pt x="56" y="177"/>
                    </a:lnTo>
                    <a:lnTo>
                      <a:pt x="48" y="179"/>
                    </a:lnTo>
                    <a:lnTo>
                      <a:pt x="48" y="177"/>
                    </a:lnTo>
                    <a:lnTo>
                      <a:pt x="48" y="175"/>
                    </a:lnTo>
                    <a:lnTo>
                      <a:pt x="50" y="169"/>
                    </a:lnTo>
                    <a:lnTo>
                      <a:pt x="52" y="169"/>
                    </a:lnTo>
                    <a:lnTo>
                      <a:pt x="50" y="167"/>
                    </a:lnTo>
                    <a:lnTo>
                      <a:pt x="50" y="165"/>
                    </a:lnTo>
                    <a:lnTo>
                      <a:pt x="48" y="165"/>
                    </a:lnTo>
                    <a:lnTo>
                      <a:pt x="46" y="163"/>
                    </a:lnTo>
                    <a:lnTo>
                      <a:pt x="48" y="161"/>
                    </a:lnTo>
                    <a:lnTo>
                      <a:pt x="45" y="161"/>
                    </a:lnTo>
                    <a:lnTo>
                      <a:pt x="45" y="160"/>
                    </a:lnTo>
                    <a:lnTo>
                      <a:pt x="43" y="160"/>
                    </a:lnTo>
                    <a:lnTo>
                      <a:pt x="43" y="161"/>
                    </a:lnTo>
                    <a:lnTo>
                      <a:pt x="43" y="160"/>
                    </a:lnTo>
                    <a:lnTo>
                      <a:pt x="45" y="156"/>
                    </a:lnTo>
                    <a:lnTo>
                      <a:pt x="43" y="156"/>
                    </a:lnTo>
                    <a:lnTo>
                      <a:pt x="41" y="158"/>
                    </a:lnTo>
                    <a:lnTo>
                      <a:pt x="39" y="156"/>
                    </a:lnTo>
                    <a:lnTo>
                      <a:pt x="39" y="154"/>
                    </a:lnTo>
                    <a:lnTo>
                      <a:pt x="37" y="154"/>
                    </a:lnTo>
                    <a:lnTo>
                      <a:pt x="37" y="156"/>
                    </a:lnTo>
                    <a:lnTo>
                      <a:pt x="37" y="154"/>
                    </a:lnTo>
                    <a:lnTo>
                      <a:pt x="39" y="150"/>
                    </a:lnTo>
                    <a:lnTo>
                      <a:pt x="41" y="152"/>
                    </a:lnTo>
                    <a:lnTo>
                      <a:pt x="43" y="148"/>
                    </a:lnTo>
                    <a:lnTo>
                      <a:pt x="41" y="148"/>
                    </a:lnTo>
                    <a:lnTo>
                      <a:pt x="41" y="146"/>
                    </a:lnTo>
                    <a:lnTo>
                      <a:pt x="37" y="146"/>
                    </a:lnTo>
                    <a:lnTo>
                      <a:pt x="39" y="142"/>
                    </a:lnTo>
                    <a:lnTo>
                      <a:pt x="37" y="142"/>
                    </a:lnTo>
                    <a:lnTo>
                      <a:pt x="31" y="140"/>
                    </a:lnTo>
                    <a:lnTo>
                      <a:pt x="29" y="140"/>
                    </a:lnTo>
                    <a:lnTo>
                      <a:pt x="29" y="138"/>
                    </a:lnTo>
                    <a:lnTo>
                      <a:pt x="31" y="136"/>
                    </a:lnTo>
                    <a:lnTo>
                      <a:pt x="31" y="135"/>
                    </a:lnTo>
                    <a:lnTo>
                      <a:pt x="31" y="133"/>
                    </a:lnTo>
                    <a:lnTo>
                      <a:pt x="29" y="133"/>
                    </a:lnTo>
                    <a:lnTo>
                      <a:pt x="27" y="133"/>
                    </a:lnTo>
                    <a:lnTo>
                      <a:pt x="27" y="135"/>
                    </a:lnTo>
                    <a:lnTo>
                      <a:pt x="27" y="133"/>
                    </a:lnTo>
                    <a:lnTo>
                      <a:pt x="27" y="131"/>
                    </a:lnTo>
                    <a:lnTo>
                      <a:pt x="29" y="131"/>
                    </a:lnTo>
                    <a:lnTo>
                      <a:pt x="29" y="129"/>
                    </a:lnTo>
                    <a:lnTo>
                      <a:pt x="29" y="127"/>
                    </a:lnTo>
                    <a:lnTo>
                      <a:pt x="29" y="125"/>
                    </a:lnTo>
                    <a:lnTo>
                      <a:pt x="29" y="123"/>
                    </a:lnTo>
                    <a:lnTo>
                      <a:pt x="29" y="121"/>
                    </a:lnTo>
                    <a:lnTo>
                      <a:pt x="29" y="123"/>
                    </a:lnTo>
                    <a:lnTo>
                      <a:pt x="29" y="121"/>
                    </a:lnTo>
                    <a:lnTo>
                      <a:pt x="27" y="121"/>
                    </a:lnTo>
                    <a:lnTo>
                      <a:pt x="27" y="123"/>
                    </a:lnTo>
                    <a:lnTo>
                      <a:pt x="25" y="125"/>
                    </a:lnTo>
                    <a:lnTo>
                      <a:pt x="23" y="125"/>
                    </a:lnTo>
                    <a:lnTo>
                      <a:pt x="23" y="123"/>
                    </a:lnTo>
                    <a:lnTo>
                      <a:pt x="25" y="123"/>
                    </a:lnTo>
                    <a:lnTo>
                      <a:pt x="23" y="121"/>
                    </a:lnTo>
                    <a:lnTo>
                      <a:pt x="25" y="119"/>
                    </a:lnTo>
                    <a:lnTo>
                      <a:pt x="23" y="119"/>
                    </a:lnTo>
                    <a:lnTo>
                      <a:pt x="22" y="119"/>
                    </a:lnTo>
                    <a:lnTo>
                      <a:pt x="20" y="119"/>
                    </a:lnTo>
                    <a:lnTo>
                      <a:pt x="22" y="117"/>
                    </a:lnTo>
                    <a:lnTo>
                      <a:pt x="23" y="117"/>
                    </a:lnTo>
                    <a:lnTo>
                      <a:pt x="22" y="117"/>
                    </a:lnTo>
                    <a:lnTo>
                      <a:pt x="23" y="115"/>
                    </a:lnTo>
                    <a:lnTo>
                      <a:pt x="25" y="115"/>
                    </a:lnTo>
                    <a:lnTo>
                      <a:pt x="23" y="113"/>
                    </a:lnTo>
                    <a:lnTo>
                      <a:pt x="23" y="111"/>
                    </a:lnTo>
                    <a:lnTo>
                      <a:pt x="20" y="110"/>
                    </a:lnTo>
                    <a:lnTo>
                      <a:pt x="20" y="111"/>
                    </a:lnTo>
                    <a:lnTo>
                      <a:pt x="20" y="110"/>
                    </a:lnTo>
                    <a:lnTo>
                      <a:pt x="18" y="110"/>
                    </a:lnTo>
                    <a:lnTo>
                      <a:pt x="18" y="108"/>
                    </a:lnTo>
                    <a:lnTo>
                      <a:pt x="16" y="108"/>
                    </a:lnTo>
                    <a:lnTo>
                      <a:pt x="14" y="106"/>
                    </a:lnTo>
                    <a:lnTo>
                      <a:pt x="12" y="108"/>
                    </a:lnTo>
                    <a:lnTo>
                      <a:pt x="10" y="108"/>
                    </a:lnTo>
                    <a:lnTo>
                      <a:pt x="10" y="110"/>
                    </a:lnTo>
                    <a:lnTo>
                      <a:pt x="10" y="111"/>
                    </a:lnTo>
                    <a:lnTo>
                      <a:pt x="8" y="110"/>
                    </a:lnTo>
                    <a:lnTo>
                      <a:pt x="10" y="108"/>
                    </a:lnTo>
                    <a:lnTo>
                      <a:pt x="10" y="102"/>
                    </a:lnTo>
                    <a:lnTo>
                      <a:pt x="10" y="100"/>
                    </a:lnTo>
                    <a:lnTo>
                      <a:pt x="8" y="100"/>
                    </a:lnTo>
                    <a:lnTo>
                      <a:pt x="8" y="98"/>
                    </a:lnTo>
                    <a:lnTo>
                      <a:pt x="10" y="92"/>
                    </a:lnTo>
                    <a:lnTo>
                      <a:pt x="8" y="92"/>
                    </a:lnTo>
                    <a:lnTo>
                      <a:pt x="6" y="92"/>
                    </a:lnTo>
                    <a:lnTo>
                      <a:pt x="6" y="90"/>
                    </a:lnTo>
                    <a:lnTo>
                      <a:pt x="6" y="88"/>
                    </a:lnTo>
                    <a:lnTo>
                      <a:pt x="4" y="88"/>
                    </a:lnTo>
                    <a:lnTo>
                      <a:pt x="4" y="86"/>
                    </a:lnTo>
                    <a:lnTo>
                      <a:pt x="2" y="86"/>
                    </a:lnTo>
                    <a:lnTo>
                      <a:pt x="0" y="86"/>
                    </a:lnTo>
                    <a:lnTo>
                      <a:pt x="0" y="85"/>
                    </a:lnTo>
                    <a:lnTo>
                      <a:pt x="4" y="81"/>
                    </a:lnTo>
                    <a:lnTo>
                      <a:pt x="4" y="79"/>
                    </a:lnTo>
                    <a:lnTo>
                      <a:pt x="6" y="79"/>
                    </a:lnTo>
                    <a:lnTo>
                      <a:pt x="8" y="77"/>
                    </a:lnTo>
                    <a:lnTo>
                      <a:pt x="12" y="77"/>
                    </a:lnTo>
                    <a:lnTo>
                      <a:pt x="14" y="75"/>
                    </a:lnTo>
                    <a:lnTo>
                      <a:pt x="14" y="73"/>
                    </a:lnTo>
                    <a:lnTo>
                      <a:pt x="14" y="71"/>
                    </a:lnTo>
                    <a:lnTo>
                      <a:pt x="12" y="71"/>
                    </a:lnTo>
                    <a:lnTo>
                      <a:pt x="12" y="69"/>
                    </a:lnTo>
                    <a:lnTo>
                      <a:pt x="10" y="67"/>
                    </a:lnTo>
                    <a:lnTo>
                      <a:pt x="10" y="65"/>
                    </a:lnTo>
                    <a:lnTo>
                      <a:pt x="12" y="63"/>
                    </a:lnTo>
                    <a:lnTo>
                      <a:pt x="12" y="61"/>
                    </a:lnTo>
                    <a:lnTo>
                      <a:pt x="10" y="60"/>
                    </a:lnTo>
                    <a:lnTo>
                      <a:pt x="6" y="63"/>
                    </a:lnTo>
                    <a:lnTo>
                      <a:pt x="6" y="61"/>
                    </a:lnTo>
                    <a:lnTo>
                      <a:pt x="6" y="60"/>
                    </a:lnTo>
                    <a:lnTo>
                      <a:pt x="4" y="60"/>
                    </a:lnTo>
                    <a:lnTo>
                      <a:pt x="6" y="58"/>
                    </a:lnTo>
                    <a:lnTo>
                      <a:pt x="8" y="58"/>
                    </a:lnTo>
                    <a:lnTo>
                      <a:pt x="8" y="56"/>
                    </a:lnTo>
                    <a:lnTo>
                      <a:pt x="10" y="56"/>
                    </a:lnTo>
                    <a:lnTo>
                      <a:pt x="10" y="54"/>
                    </a:lnTo>
                    <a:lnTo>
                      <a:pt x="10" y="52"/>
                    </a:lnTo>
                    <a:lnTo>
                      <a:pt x="8" y="50"/>
                    </a:lnTo>
                    <a:lnTo>
                      <a:pt x="10" y="48"/>
                    </a:lnTo>
                    <a:lnTo>
                      <a:pt x="10" y="46"/>
                    </a:lnTo>
                    <a:lnTo>
                      <a:pt x="10" y="44"/>
                    </a:lnTo>
                    <a:lnTo>
                      <a:pt x="10" y="42"/>
                    </a:lnTo>
                    <a:lnTo>
                      <a:pt x="10" y="40"/>
                    </a:lnTo>
                    <a:lnTo>
                      <a:pt x="10" y="38"/>
                    </a:lnTo>
                    <a:lnTo>
                      <a:pt x="8" y="38"/>
                    </a:lnTo>
                    <a:lnTo>
                      <a:pt x="8" y="36"/>
                    </a:lnTo>
                    <a:lnTo>
                      <a:pt x="10" y="36"/>
                    </a:lnTo>
                    <a:lnTo>
                      <a:pt x="12" y="35"/>
                    </a:lnTo>
                    <a:lnTo>
                      <a:pt x="14" y="33"/>
                    </a:lnTo>
                    <a:lnTo>
                      <a:pt x="14" y="31"/>
                    </a:lnTo>
                    <a:lnTo>
                      <a:pt x="16" y="31"/>
                    </a:lnTo>
                    <a:lnTo>
                      <a:pt x="18" y="33"/>
                    </a:lnTo>
                    <a:lnTo>
                      <a:pt x="18" y="31"/>
                    </a:lnTo>
                    <a:lnTo>
                      <a:pt x="20" y="33"/>
                    </a:lnTo>
                    <a:lnTo>
                      <a:pt x="20" y="35"/>
                    </a:lnTo>
                    <a:lnTo>
                      <a:pt x="20" y="33"/>
                    </a:lnTo>
                    <a:lnTo>
                      <a:pt x="22" y="33"/>
                    </a:lnTo>
                    <a:lnTo>
                      <a:pt x="22" y="35"/>
                    </a:lnTo>
                    <a:lnTo>
                      <a:pt x="22" y="36"/>
                    </a:lnTo>
                    <a:lnTo>
                      <a:pt x="23" y="36"/>
                    </a:lnTo>
                    <a:lnTo>
                      <a:pt x="25" y="36"/>
                    </a:lnTo>
                    <a:lnTo>
                      <a:pt x="27" y="36"/>
                    </a:lnTo>
                    <a:lnTo>
                      <a:pt x="27" y="35"/>
                    </a:lnTo>
                    <a:lnTo>
                      <a:pt x="29" y="33"/>
                    </a:lnTo>
                    <a:lnTo>
                      <a:pt x="31" y="33"/>
                    </a:lnTo>
                    <a:lnTo>
                      <a:pt x="29" y="31"/>
                    </a:lnTo>
                    <a:lnTo>
                      <a:pt x="29" y="29"/>
                    </a:lnTo>
                    <a:lnTo>
                      <a:pt x="29" y="27"/>
                    </a:lnTo>
                    <a:lnTo>
                      <a:pt x="29" y="25"/>
                    </a:lnTo>
                    <a:lnTo>
                      <a:pt x="31" y="25"/>
                    </a:lnTo>
                    <a:lnTo>
                      <a:pt x="31" y="27"/>
                    </a:lnTo>
                    <a:lnTo>
                      <a:pt x="31" y="29"/>
                    </a:lnTo>
                    <a:lnTo>
                      <a:pt x="33" y="27"/>
                    </a:lnTo>
                    <a:lnTo>
                      <a:pt x="31" y="27"/>
                    </a:lnTo>
                    <a:lnTo>
                      <a:pt x="33" y="27"/>
                    </a:lnTo>
                    <a:lnTo>
                      <a:pt x="35" y="27"/>
                    </a:lnTo>
                    <a:lnTo>
                      <a:pt x="35" y="29"/>
                    </a:lnTo>
                    <a:lnTo>
                      <a:pt x="37" y="29"/>
                    </a:lnTo>
                    <a:lnTo>
                      <a:pt x="39" y="29"/>
                    </a:lnTo>
                    <a:lnTo>
                      <a:pt x="37" y="29"/>
                    </a:lnTo>
                    <a:lnTo>
                      <a:pt x="37" y="27"/>
                    </a:lnTo>
                    <a:lnTo>
                      <a:pt x="37" y="25"/>
                    </a:lnTo>
                    <a:lnTo>
                      <a:pt x="37" y="23"/>
                    </a:lnTo>
                    <a:lnTo>
                      <a:pt x="37" y="21"/>
                    </a:lnTo>
                    <a:lnTo>
                      <a:pt x="39" y="21"/>
                    </a:lnTo>
                    <a:lnTo>
                      <a:pt x="41" y="23"/>
                    </a:lnTo>
                    <a:lnTo>
                      <a:pt x="41" y="25"/>
                    </a:lnTo>
                    <a:lnTo>
                      <a:pt x="43" y="25"/>
                    </a:lnTo>
                    <a:lnTo>
                      <a:pt x="43" y="27"/>
                    </a:lnTo>
                    <a:lnTo>
                      <a:pt x="45" y="27"/>
                    </a:lnTo>
                    <a:lnTo>
                      <a:pt x="46" y="27"/>
                    </a:lnTo>
                    <a:lnTo>
                      <a:pt x="46" y="29"/>
                    </a:lnTo>
                    <a:lnTo>
                      <a:pt x="48" y="29"/>
                    </a:lnTo>
                    <a:lnTo>
                      <a:pt x="48" y="31"/>
                    </a:lnTo>
                    <a:lnTo>
                      <a:pt x="54" y="27"/>
                    </a:lnTo>
                    <a:lnTo>
                      <a:pt x="56" y="25"/>
                    </a:lnTo>
                    <a:lnTo>
                      <a:pt x="58" y="23"/>
                    </a:lnTo>
                    <a:lnTo>
                      <a:pt x="60" y="23"/>
                    </a:lnTo>
                    <a:lnTo>
                      <a:pt x="64" y="25"/>
                    </a:lnTo>
                    <a:lnTo>
                      <a:pt x="64" y="29"/>
                    </a:lnTo>
                    <a:lnTo>
                      <a:pt x="66" y="29"/>
                    </a:lnTo>
                    <a:lnTo>
                      <a:pt x="68" y="27"/>
                    </a:lnTo>
                    <a:lnTo>
                      <a:pt x="70" y="29"/>
                    </a:lnTo>
                    <a:lnTo>
                      <a:pt x="70" y="31"/>
                    </a:lnTo>
                    <a:lnTo>
                      <a:pt x="71" y="31"/>
                    </a:lnTo>
                    <a:lnTo>
                      <a:pt x="75" y="33"/>
                    </a:lnTo>
                    <a:lnTo>
                      <a:pt x="73" y="35"/>
                    </a:lnTo>
                    <a:lnTo>
                      <a:pt x="73" y="36"/>
                    </a:lnTo>
                    <a:lnTo>
                      <a:pt x="75" y="35"/>
                    </a:lnTo>
                    <a:lnTo>
                      <a:pt x="77" y="35"/>
                    </a:lnTo>
                    <a:lnTo>
                      <a:pt x="79" y="35"/>
                    </a:lnTo>
                    <a:lnTo>
                      <a:pt x="79" y="33"/>
                    </a:lnTo>
                    <a:lnTo>
                      <a:pt x="81" y="33"/>
                    </a:lnTo>
                    <a:lnTo>
                      <a:pt x="83" y="35"/>
                    </a:lnTo>
                    <a:lnTo>
                      <a:pt x="85" y="35"/>
                    </a:lnTo>
                    <a:lnTo>
                      <a:pt x="83" y="36"/>
                    </a:lnTo>
                    <a:lnTo>
                      <a:pt x="83" y="38"/>
                    </a:lnTo>
                    <a:lnTo>
                      <a:pt x="87" y="40"/>
                    </a:lnTo>
                    <a:lnTo>
                      <a:pt x="87" y="42"/>
                    </a:lnTo>
                    <a:lnTo>
                      <a:pt x="89" y="40"/>
                    </a:lnTo>
                    <a:lnTo>
                      <a:pt x="89" y="38"/>
                    </a:lnTo>
                    <a:lnTo>
                      <a:pt x="89" y="36"/>
                    </a:lnTo>
                    <a:lnTo>
                      <a:pt x="87" y="36"/>
                    </a:lnTo>
                    <a:lnTo>
                      <a:pt x="87" y="35"/>
                    </a:lnTo>
                    <a:lnTo>
                      <a:pt x="89" y="33"/>
                    </a:lnTo>
                    <a:lnTo>
                      <a:pt x="91" y="31"/>
                    </a:lnTo>
                    <a:lnTo>
                      <a:pt x="93" y="31"/>
                    </a:lnTo>
                    <a:lnTo>
                      <a:pt x="93" y="33"/>
                    </a:lnTo>
                    <a:lnTo>
                      <a:pt x="93" y="31"/>
                    </a:lnTo>
                    <a:lnTo>
                      <a:pt x="95" y="31"/>
                    </a:lnTo>
                    <a:lnTo>
                      <a:pt x="96" y="31"/>
                    </a:lnTo>
                    <a:lnTo>
                      <a:pt x="98" y="31"/>
                    </a:lnTo>
                    <a:lnTo>
                      <a:pt x="100" y="31"/>
                    </a:lnTo>
                    <a:lnTo>
                      <a:pt x="100" y="29"/>
                    </a:lnTo>
                    <a:lnTo>
                      <a:pt x="100" y="27"/>
                    </a:lnTo>
                    <a:lnTo>
                      <a:pt x="102" y="27"/>
                    </a:lnTo>
                    <a:lnTo>
                      <a:pt x="102" y="25"/>
                    </a:lnTo>
                    <a:lnTo>
                      <a:pt x="102" y="23"/>
                    </a:lnTo>
                    <a:lnTo>
                      <a:pt x="104" y="23"/>
                    </a:lnTo>
                    <a:lnTo>
                      <a:pt x="104" y="21"/>
                    </a:lnTo>
                    <a:lnTo>
                      <a:pt x="106" y="21"/>
                    </a:lnTo>
                    <a:lnTo>
                      <a:pt x="106" y="19"/>
                    </a:lnTo>
                    <a:lnTo>
                      <a:pt x="106" y="15"/>
                    </a:lnTo>
                    <a:lnTo>
                      <a:pt x="108" y="15"/>
                    </a:lnTo>
                    <a:lnTo>
                      <a:pt x="108" y="13"/>
                    </a:lnTo>
                    <a:lnTo>
                      <a:pt x="108" y="12"/>
                    </a:lnTo>
                    <a:lnTo>
                      <a:pt x="108" y="10"/>
                    </a:lnTo>
                    <a:lnTo>
                      <a:pt x="108" y="8"/>
                    </a:lnTo>
                    <a:lnTo>
                      <a:pt x="110" y="6"/>
                    </a:lnTo>
                    <a:lnTo>
                      <a:pt x="108" y="6"/>
                    </a:lnTo>
                    <a:lnTo>
                      <a:pt x="110" y="2"/>
                    </a:lnTo>
                    <a:lnTo>
                      <a:pt x="110" y="0"/>
                    </a:lnTo>
                    <a:lnTo>
                      <a:pt x="112" y="0"/>
                    </a:lnTo>
                    <a:lnTo>
                      <a:pt x="114" y="2"/>
                    </a:lnTo>
                    <a:lnTo>
                      <a:pt x="114" y="4"/>
                    </a:lnTo>
                    <a:lnTo>
                      <a:pt x="112" y="6"/>
                    </a:lnTo>
                    <a:lnTo>
                      <a:pt x="114" y="6"/>
                    </a:lnTo>
                    <a:lnTo>
                      <a:pt x="114" y="8"/>
                    </a:lnTo>
                    <a:lnTo>
                      <a:pt x="114" y="6"/>
                    </a:lnTo>
                    <a:lnTo>
                      <a:pt x="116" y="6"/>
                    </a:lnTo>
                    <a:lnTo>
                      <a:pt x="118" y="6"/>
                    </a:lnTo>
                    <a:lnTo>
                      <a:pt x="118" y="10"/>
                    </a:lnTo>
                    <a:lnTo>
                      <a:pt x="119" y="10"/>
                    </a:lnTo>
                    <a:lnTo>
                      <a:pt x="119" y="12"/>
                    </a:lnTo>
                    <a:lnTo>
                      <a:pt x="118" y="13"/>
                    </a:lnTo>
                    <a:lnTo>
                      <a:pt x="118" y="15"/>
                    </a:lnTo>
                    <a:lnTo>
                      <a:pt x="118" y="17"/>
                    </a:lnTo>
                    <a:lnTo>
                      <a:pt x="119" y="17"/>
                    </a:lnTo>
                    <a:lnTo>
                      <a:pt x="121" y="17"/>
                    </a:lnTo>
                    <a:lnTo>
                      <a:pt x="121" y="15"/>
                    </a:lnTo>
                    <a:lnTo>
                      <a:pt x="123" y="15"/>
                    </a:lnTo>
                    <a:lnTo>
                      <a:pt x="125" y="15"/>
                    </a:lnTo>
                    <a:lnTo>
                      <a:pt x="127" y="15"/>
                    </a:lnTo>
                    <a:lnTo>
                      <a:pt x="127" y="17"/>
                    </a:lnTo>
                    <a:lnTo>
                      <a:pt x="127" y="19"/>
                    </a:lnTo>
                    <a:lnTo>
                      <a:pt x="129" y="19"/>
                    </a:lnTo>
                    <a:lnTo>
                      <a:pt x="131" y="19"/>
                    </a:lnTo>
                    <a:lnTo>
                      <a:pt x="131" y="21"/>
                    </a:lnTo>
                    <a:lnTo>
                      <a:pt x="129" y="21"/>
                    </a:lnTo>
                    <a:lnTo>
                      <a:pt x="131" y="23"/>
                    </a:lnTo>
                    <a:lnTo>
                      <a:pt x="133" y="21"/>
                    </a:lnTo>
                    <a:lnTo>
                      <a:pt x="133" y="19"/>
                    </a:lnTo>
                    <a:lnTo>
                      <a:pt x="135" y="19"/>
                    </a:lnTo>
                    <a:lnTo>
                      <a:pt x="135" y="17"/>
                    </a:lnTo>
                    <a:lnTo>
                      <a:pt x="137" y="17"/>
                    </a:lnTo>
                    <a:lnTo>
                      <a:pt x="137" y="15"/>
                    </a:lnTo>
                    <a:lnTo>
                      <a:pt x="137" y="13"/>
                    </a:lnTo>
                    <a:lnTo>
                      <a:pt x="139" y="12"/>
                    </a:lnTo>
                    <a:lnTo>
                      <a:pt x="141" y="12"/>
                    </a:lnTo>
                    <a:lnTo>
                      <a:pt x="143" y="12"/>
                    </a:lnTo>
                    <a:lnTo>
                      <a:pt x="143" y="10"/>
                    </a:lnTo>
                    <a:lnTo>
                      <a:pt x="144" y="10"/>
                    </a:lnTo>
                    <a:lnTo>
                      <a:pt x="146" y="10"/>
                    </a:lnTo>
                    <a:lnTo>
                      <a:pt x="146" y="8"/>
                    </a:lnTo>
                    <a:lnTo>
                      <a:pt x="148" y="6"/>
                    </a:lnTo>
                    <a:lnTo>
                      <a:pt x="148" y="8"/>
                    </a:lnTo>
                    <a:lnTo>
                      <a:pt x="148" y="10"/>
                    </a:lnTo>
                    <a:lnTo>
                      <a:pt x="150" y="10"/>
                    </a:lnTo>
                    <a:lnTo>
                      <a:pt x="152" y="10"/>
                    </a:lnTo>
                    <a:lnTo>
                      <a:pt x="154" y="10"/>
                    </a:lnTo>
                    <a:lnTo>
                      <a:pt x="154" y="8"/>
                    </a:lnTo>
                    <a:lnTo>
                      <a:pt x="154" y="10"/>
                    </a:lnTo>
                    <a:lnTo>
                      <a:pt x="154" y="12"/>
                    </a:lnTo>
                    <a:lnTo>
                      <a:pt x="152" y="12"/>
                    </a:lnTo>
                    <a:lnTo>
                      <a:pt x="152" y="13"/>
                    </a:lnTo>
                    <a:lnTo>
                      <a:pt x="156" y="15"/>
                    </a:lnTo>
                    <a:lnTo>
                      <a:pt x="158" y="12"/>
                    </a:lnTo>
                    <a:lnTo>
                      <a:pt x="158" y="13"/>
                    </a:lnTo>
                    <a:lnTo>
                      <a:pt x="160" y="13"/>
                    </a:lnTo>
                    <a:lnTo>
                      <a:pt x="160" y="15"/>
                    </a:lnTo>
                    <a:lnTo>
                      <a:pt x="158" y="15"/>
                    </a:lnTo>
                    <a:lnTo>
                      <a:pt x="158" y="17"/>
                    </a:lnTo>
                    <a:lnTo>
                      <a:pt x="158" y="19"/>
                    </a:lnTo>
                    <a:lnTo>
                      <a:pt x="160" y="19"/>
                    </a:lnTo>
                    <a:lnTo>
                      <a:pt x="160" y="21"/>
                    </a:lnTo>
                    <a:lnTo>
                      <a:pt x="162" y="21"/>
                    </a:lnTo>
                    <a:lnTo>
                      <a:pt x="164" y="21"/>
                    </a:lnTo>
                    <a:lnTo>
                      <a:pt x="162" y="23"/>
                    </a:lnTo>
                    <a:lnTo>
                      <a:pt x="164" y="23"/>
                    </a:lnTo>
                    <a:lnTo>
                      <a:pt x="166" y="23"/>
                    </a:lnTo>
                    <a:lnTo>
                      <a:pt x="166" y="25"/>
                    </a:lnTo>
                    <a:lnTo>
                      <a:pt x="168" y="25"/>
                    </a:lnTo>
                    <a:lnTo>
                      <a:pt x="166" y="25"/>
                    </a:lnTo>
                    <a:lnTo>
                      <a:pt x="168" y="27"/>
                    </a:lnTo>
                    <a:lnTo>
                      <a:pt x="166" y="29"/>
                    </a:lnTo>
                    <a:lnTo>
                      <a:pt x="166" y="31"/>
                    </a:lnTo>
                    <a:lnTo>
                      <a:pt x="164" y="31"/>
                    </a:lnTo>
                    <a:lnTo>
                      <a:pt x="164" y="33"/>
                    </a:lnTo>
                    <a:lnTo>
                      <a:pt x="162" y="33"/>
                    </a:lnTo>
                    <a:lnTo>
                      <a:pt x="164" y="33"/>
                    </a:lnTo>
                    <a:lnTo>
                      <a:pt x="166" y="33"/>
                    </a:lnTo>
                    <a:lnTo>
                      <a:pt x="164" y="33"/>
                    </a:lnTo>
                    <a:lnTo>
                      <a:pt x="164" y="35"/>
                    </a:lnTo>
                    <a:lnTo>
                      <a:pt x="166" y="33"/>
                    </a:lnTo>
                    <a:lnTo>
                      <a:pt x="166" y="35"/>
                    </a:lnTo>
                    <a:lnTo>
                      <a:pt x="168" y="35"/>
                    </a:lnTo>
                    <a:lnTo>
                      <a:pt x="168" y="33"/>
                    </a:lnTo>
                    <a:lnTo>
                      <a:pt x="168" y="35"/>
                    </a:lnTo>
                    <a:lnTo>
                      <a:pt x="166" y="36"/>
                    </a:lnTo>
                    <a:lnTo>
                      <a:pt x="166" y="38"/>
                    </a:lnTo>
                    <a:lnTo>
                      <a:pt x="166" y="40"/>
                    </a:lnTo>
                    <a:lnTo>
                      <a:pt x="168" y="38"/>
                    </a:lnTo>
                    <a:lnTo>
                      <a:pt x="168" y="36"/>
                    </a:lnTo>
                    <a:lnTo>
                      <a:pt x="169" y="36"/>
                    </a:lnTo>
                    <a:lnTo>
                      <a:pt x="169" y="38"/>
                    </a:lnTo>
                    <a:lnTo>
                      <a:pt x="168" y="38"/>
                    </a:lnTo>
                    <a:lnTo>
                      <a:pt x="169" y="38"/>
                    </a:lnTo>
                    <a:lnTo>
                      <a:pt x="171" y="38"/>
                    </a:lnTo>
                    <a:lnTo>
                      <a:pt x="171" y="36"/>
                    </a:lnTo>
                    <a:lnTo>
                      <a:pt x="173" y="36"/>
                    </a:lnTo>
                    <a:lnTo>
                      <a:pt x="173" y="35"/>
                    </a:lnTo>
                    <a:lnTo>
                      <a:pt x="175" y="36"/>
                    </a:lnTo>
                    <a:lnTo>
                      <a:pt x="177" y="36"/>
                    </a:lnTo>
                    <a:lnTo>
                      <a:pt x="177" y="38"/>
                    </a:lnTo>
                    <a:lnTo>
                      <a:pt x="177" y="40"/>
                    </a:lnTo>
                    <a:lnTo>
                      <a:pt x="177" y="38"/>
                    </a:lnTo>
                    <a:lnTo>
                      <a:pt x="179" y="38"/>
                    </a:lnTo>
                    <a:lnTo>
                      <a:pt x="179" y="36"/>
                    </a:lnTo>
                    <a:lnTo>
                      <a:pt x="181" y="36"/>
                    </a:lnTo>
                    <a:lnTo>
                      <a:pt x="183" y="36"/>
                    </a:lnTo>
                    <a:lnTo>
                      <a:pt x="183" y="38"/>
                    </a:lnTo>
                    <a:lnTo>
                      <a:pt x="181" y="38"/>
                    </a:lnTo>
                    <a:lnTo>
                      <a:pt x="181" y="42"/>
                    </a:lnTo>
                    <a:lnTo>
                      <a:pt x="179" y="42"/>
                    </a:lnTo>
                    <a:lnTo>
                      <a:pt x="181" y="44"/>
                    </a:lnTo>
                    <a:lnTo>
                      <a:pt x="181" y="46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Freeform 124">
                <a:extLst>
                  <a:ext uri="{FF2B5EF4-FFF2-40B4-BE49-F238E27FC236}">
                    <a16:creationId xmlns="" xmlns:a16="http://schemas.microsoft.com/office/drawing/2014/main" id="{4BC0E5B3-35B0-4727-AE88-E3D81DC600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52625" y="2855913"/>
                <a:ext cx="39688" cy="76200"/>
              </a:xfrm>
              <a:custGeom>
                <a:avLst/>
                <a:gdLst>
                  <a:gd name="T0" fmla="*/ 5 w 25"/>
                  <a:gd name="T1" fmla="*/ 19 h 48"/>
                  <a:gd name="T2" fmla="*/ 3 w 25"/>
                  <a:gd name="T3" fmla="*/ 19 h 48"/>
                  <a:gd name="T4" fmla="*/ 3 w 25"/>
                  <a:gd name="T5" fmla="*/ 23 h 48"/>
                  <a:gd name="T6" fmla="*/ 5 w 25"/>
                  <a:gd name="T7" fmla="*/ 27 h 48"/>
                  <a:gd name="T8" fmla="*/ 9 w 25"/>
                  <a:gd name="T9" fmla="*/ 31 h 48"/>
                  <a:gd name="T10" fmla="*/ 11 w 25"/>
                  <a:gd name="T11" fmla="*/ 29 h 48"/>
                  <a:gd name="T12" fmla="*/ 11 w 25"/>
                  <a:gd name="T13" fmla="*/ 31 h 48"/>
                  <a:gd name="T14" fmla="*/ 15 w 25"/>
                  <a:gd name="T15" fmla="*/ 31 h 48"/>
                  <a:gd name="T16" fmla="*/ 15 w 25"/>
                  <a:gd name="T17" fmla="*/ 29 h 48"/>
                  <a:gd name="T18" fmla="*/ 19 w 25"/>
                  <a:gd name="T19" fmla="*/ 33 h 48"/>
                  <a:gd name="T20" fmla="*/ 17 w 25"/>
                  <a:gd name="T21" fmla="*/ 39 h 48"/>
                  <a:gd name="T22" fmla="*/ 19 w 25"/>
                  <a:gd name="T23" fmla="*/ 46 h 48"/>
                  <a:gd name="T24" fmla="*/ 19 w 25"/>
                  <a:gd name="T25" fmla="*/ 48 h 48"/>
                  <a:gd name="T26" fmla="*/ 15 w 25"/>
                  <a:gd name="T27" fmla="*/ 46 h 48"/>
                  <a:gd name="T28" fmla="*/ 11 w 25"/>
                  <a:gd name="T29" fmla="*/ 46 h 48"/>
                  <a:gd name="T30" fmla="*/ 9 w 25"/>
                  <a:gd name="T31" fmla="*/ 46 h 48"/>
                  <a:gd name="T32" fmla="*/ 5 w 25"/>
                  <a:gd name="T33" fmla="*/ 44 h 48"/>
                  <a:gd name="T34" fmla="*/ 3 w 25"/>
                  <a:gd name="T35" fmla="*/ 42 h 48"/>
                  <a:gd name="T36" fmla="*/ 9 w 25"/>
                  <a:gd name="T37" fmla="*/ 41 h 48"/>
                  <a:gd name="T38" fmla="*/ 9 w 25"/>
                  <a:gd name="T39" fmla="*/ 37 h 48"/>
                  <a:gd name="T40" fmla="*/ 7 w 25"/>
                  <a:gd name="T41" fmla="*/ 35 h 48"/>
                  <a:gd name="T42" fmla="*/ 3 w 25"/>
                  <a:gd name="T43" fmla="*/ 37 h 48"/>
                  <a:gd name="T44" fmla="*/ 3 w 25"/>
                  <a:gd name="T45" fmla="*/ 35 h 48"/>
                  <a:gd name="T46" fmla="*/ 5 w 25"/>
                  <a:gd name="T47" fmla="*/ 33 h 48"/>
                  <a:gd name="T48" fmla="*/ 3 w 25"/>
                  <a:gd name="T49" fmla="*/ 27 h 48"/>
                  <a:gd name="T50" fmla="*/ 0 w 25"/>
                  <a:gd name="T51" fmla="*/ 23 h 48"/>
                  <a:gd name="T52" fmla="*/ 0 w 25"/>
                  <a:gd name="T53" fmla="*/ 19 h 48"/>
                  <a:gd name="T54" fmla="*/ 2 w 25"/>
                  <a:gd name="T55" fmla="*/ 17 h 48"/>
                  <a:gd name="T56" fmla="*/ 3 w 25"/>
                  <a:gd name="T57" fmla="*/ 16 h 48"/>
                  <a:gd name="T58" fmla="*/ 5 w 25"/>
                  <a:gd name="T59" fmla="*/ 14 h 48"/>
                  <a:gd name="T60" fmla="*/ 5 w 25"/>
                  <a:gd name="T61" fmla="*/ 17 h 48"/>
                  <a:gd name="T62" fmla="*/ 15 w 25"/>
                  <a:gd name="T63" fmla="*/ 4 h 48"/>
                  <a:gd name="T64" fmla="*/ 17 w 25"/>
                  <a:gd name="T65" fmla="*/ 8 h 48"/>
                  <a:gd name="T66" fmla="*/ 19 w 25"/>
                  <a:gd name="T67" fmla="*/ 14 h 48"/>
                  <a:gd name="T68" fmla="*/ 21 w 25"/>
                  <a:gd name="T69" fmla="*/ 19 h 48"/>
                  <a:gd name="T70" fmla="*/ 23 w 25"/>
                  <a:gd name="T71" fmla="*/ 25 h 48"/>
                  <a:gd name="T72" fmla="*/ 25 w 25"/>
                  <a:gd name="T73" fmla="*/ 31 h 48"/>
                  <a:gd name="T74" fmla="*/ 23 w 25"/>
                  <a:gd name="T75" fmla="*/ 33 h 48"/>
                  <a:gd name="T76" fmla="*/ 19 w 25"/>
                  <a:gd name="T77" fmla="*/ 37 h 48"/>
                  <a:gd name="T78" fmla="*/ 19 w 25"/>
                  <a:gd name="T79" fmla="*/ 33 h 48"/>
                  <a:gd name="T80" fmla="*/ 17 w 25"/>
                  <a:gd name="T81" fmla="*/ 27 h 48"/>
                  <a:gd name="T82" fmla="*/ 17 w 25"/>
                  <a:gd name="T83" fmla="*/ 23 h 48"/>
                  <a:gd name="T84" fmla="*/ 15 w 25"/>
                  <a:gd name="T85" fmla="*/ 23 h 48"/>
                  <a:gd name="T86" fmla="*/ 13 w 25"/>
                  <a:gd name="T87" fmla="*/ 21 h 48"/>
                  <a:gd name="T88" fmla="*/ 11 w 25"/>
                  <a:gd name="T89" fmla="*/ 19 h 48"/>
                  <a:gd name="T90" fmla="*/ 13 w 25"/>
                  <a:gd name="T91" fmla="*/ 17 h 48"/>
                  <a:gd name="T92" fmla="*/ 15 w 25"/>
                  <a:gd name="T93" fmla="*/ 16 h 48"/>
                  <a:gd name="T94" fmla="*/ 15 w 25"/>
                  <a:gd name="T95" fmla="*/ 10 h 48"/>
                  <a:gd name="T96" fmla="*/ 11 w 25"/>
                  <a:gd name="T97" fmla="*/ 4 h 48"/>
                  <a:gd name="T98" fmla="*/ 5 w 25"/>
                  <a:gd name="T99" fmla="*/ 2 h 48"/>
                  <a:gd name="T100" fmla="*/ 9 w 25"/>
                  <a:gd name="T101" fmla="*/ 0 h 48"/>
                  <a:gd name="T102" fmla="*/ 15 w 25"/>
                  <a:gd name="T103" fmla="*/ 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5" h="48">
                    <a:moveTo>
                      <a:pt x="5" y="19"/>
                    </a:moveTo>
                    <a:lnTo>
                      <a:pt x="7" y="21"/>
                    </a:lnTo>
                    <a:lnTo>
                      <a:pt x="5" y="19"/>
                    </a:lnTo>
                    <a:close/>
                    <a:moveTo>
                      <a:pt x="5" y="19"/>
                    </a:moveTo>
                    <a:lnTo>
                      <a:pt x="5" y="17"/>
                    </a:lnTo>
                    <a:lnTo>
                      <a:pt x="5" y="19"/>
                    </a:lnTo>
                    <a:close/>
                    <a:moveTo>
                      <a:pt x="2" y="19"/>
                    </a:moveTo>
                    <a:lnTo>
                      <a:pt x="3" y="19"/>
                    </a:lnTo>
                    <a:lnTo>
                      <a:pt x="3" y="21"/>
                    </a:lnTo>
                    <a:lnTo>
                      <a:pt x="3" y="19"/>
                    </a:lnTo>
                    <a:lnTo>
                      <a:pt x="3" y="21"/>
                    </a:lnTo>
                    <a:lnTo>
                      <a:pt x="3" y="23"/>
                    </a:lnTo>
                    <a:lnTo>
                      <a:pt x="5" y="23"/>
                    </a:lnTo>
                    <a:lnTo>
                      <a:pt x="5" y="25"/>
                    </a:lnTo>
                    <a:lnTo>
                      <a:pt x="7" y="27"/>
                    </a:lnTo>
                    <a:lnTo>
                      <a:pt x="5" y="27"/>
                    </a:lnTo>
                    <a:lnTo>
                      <a:pt x="7" y="27"/>
                    </a:lnTo>
                    <a:lnTo>
                      <a:pt x="7" y="29"/>
                    </a:lnTo>
                    <a:lnTo>
                      <a:pt x="9" y="29"/>
                    </a:lnTo>
                    <a:lnTo>
                      <a:pt x="9" y="31"/>
                    </a:lnTo>
                    <a:lnTo>
                      <a:pt x="11" y="31"/>
                    </a:lnTo>
                    <a:lnTo>
                      <a:pt x="11" y="29"/>
                    </a:lnTo>
                    <a:lnTo>
                      <a:pt x="9" y="27"/>
                    </a:lnTo>
                    <a:lnTo>
                      <a:pt x="11" y="29"/>
                    </a:lnTo>
                    <a:lnTo>
                      <a:pt x="9" y="27"/>
                    </a:lnTo>
                    <a:lnTo>
                      <a:pt x="11" y="27"/>
                    </a:lnTo>
                    <a:lnTo>
                      <a:pt x="11" y="29"/>
                    </a:lnTo>
                    <a:lnTo>
                      <a:pt x="11" y="31"/>
                    </a:lnTo>
                    <a:lnTo>
                      <a:pt x="13" y="29"/>
                    </a:lnTo>
                    <a:lnTo>
                      <a:pt x="13" y="31"/>
                    </a:lnTo>
                    <a:lnTo>
                      <a:pt x="13" y="29"/>
                    </a:lnTo>
                    <a:lnTo>
                      <a:pt x="15" y="31"/>
                    </a:lnTo>
                    <a:lnTo>
                      <a:pt x="13" y="29"/>
                    </a:lnTo>
                    <a:lnTo>
                      <a:pt x="15" y="29"/>
                    </a:lnTo>
                    <a:lnTo>
                      <a:pt x="15" y="31"/>
                    </a:lnTo>
                    <a:lnTo>
                      <a:pt x="15" y="29"/>
                    </a:lnTo>
                    <a:lnTo>
                      <a:pt x="17" y="29"/>
                    </a:lnTo>
                    <a:lnTo>
                      <a:pt x="19" y="29"/>
                    </a:lnTo>
                    <a:lnTo>
                      <a:pt x="19" y="31"/>
                    </a:lnTo>
                    <a:lnTo>
                      <a:pt x="19" y="33"/>
                    </a:lnTo>
                    <a:lnTo>
                      <a:pt x="19" y="35"/>
                    </a:lnTo>
                    <a:lnTo>
                      <a:pt x="17" y="35"/>
                    </a:lnTo>
                    <a:lnTo>
                      <a:pt x="17" y="37"/>
                    </a:lnTo>
                    <a:lnTo>
                      <a:pt x="17" y="39"/>
                    </a:lnTo>
                    <a:lnTo>
                      <a:pt x="19" y="41"/>
                    </a:lnTo>
                    <a:lnTo>
                      <a:pt x="19" y="42"/>
                    </a:lnTo>
                    <a:lnTo>
                      <a:pt x="19" y="44"/>
                    </a:lnTo>
                    <a:lnTo>
                      <a:pt x="19" y="46"/>
                    </a:lnTo>
                    <a:lnTo>
                      <a:pt x="21" y="46"/>
                    </a:lnTo>
                    <a:lnTo>
                      <a:pt x="19" y="48"/>
                    </a:lnTo>
                    <a:lnTo>
                      <a:pt x="21" y="48"/>
                    </a:lnTo>
                    <a:lnTo>
                      <a:pt x="19" y="48"/>
                    </a:lnTo>
                    <a:lnTo>
                      <a:pt x="19" y="46"/>
                    </a:lnTo>
                    <a:lnTo>
                      <a:pt x="17" y="48"/>
                    </a:lnTo>
                    <a:lnTo>
                      <a:pt x="17" y="46"/>
                    </a:lnTo>
                    <a:lnTo>
                      <a:pt x="15" y="46"/>
                    </a:lnTo>
                    <a:lnTo>
                      <a:pt x="13" y="46"/>
                    </a:lnTo>
                    <a:lnTo>
                      <a:pt x="11" y="46"/>
                    </a:lnTo>
                    <a:lnTo>
                      <a:pt x="9" y="46"/>
                    </a:lnTo>
                    <a:lnTo>
                      <a:pt x="11" y="46"/>
                    </a:lnTo>
                    <a:lnTo>
                      <a:pt x="9" y="48"/>
                    </a:lnTo>
                    <a:lnTo>
                      <a:pt x="11" y="48"/>
                    </a:lnTo>
                    <a:lnTo>
                      <a:pt x="9" y="48"/>
                    </a:lnTo>
                    <a:lnTo>
                      <a:pt x="9" y="46"/>
                    </a:lnTo>
                    <a:lnTo>
                      <a:pt x="7" y="46"/>
                    </a:lnTo>
                    <a:lnTo>
                      <a:pt x="5" y="46"/>
                    </a:lnTo>
                    <a:lnTo>
                      <a:pt x="7" y="44"/>
                    </a:lnTo>
                    <a:lnTo>
                      <a:pt x="5" y="44"/>
                    </a:lnTo>
                    <a:lnTo>
                      <a:pt x="3" y="44"/>
                    </a:lnTo>
                    <a:lnTo>
                      <a:pt x="3" y="42"/>
                    </a:lnTo>
                    <a:lnTo>
                      <a:pt x="5" y="42"/>
                    </a:lnTo>
                    <a:lnTo>
                      <a:pt x="3" y="42"/>
                    </a:lnTo>
                    <a:lnTo>
                      <a:pt x="5" y="42"/>
                    </a:lnTo>
                    <a:lnTo>
                      <a:pt x="5" y="41"/>
                    </a:lnTo>
                    <a:lnTo>
                      <a:pt x="7" y="41"/>
                    </a:lnTo>
                    <a:lnTo>
                      <a:pt x="9" y="41"/>
                    </a:lnTo>
                    <a:lnTo>
                      <a:pt x="9" y="39"/>
                    </a:lnTo>
                    <a:lnTo>
                      <a:pt x="9" y="37"/>
                    </a:lnTo>
                    <a:lnTo>
                      <a:pt x="11" y="37"/>
                    </a:lnTo>
                    <a:lnTo>
                      <a:pt x="9" y="37"/>
                    </a:lnTo>
                    <a:lnTo>
                      <a:pt x="9" y="35"/>
                    </a:lnTo>
                    <a:lnTo>
                      <a:pt x="7" y="35"/>
                    </a:lnTo>
                    <a:lnTo>
                      <a:pt x="5" y="35"/>
                    </a:lnTo>
                    <a:lnTo>
                      <a:pt x="7" y="35"/>
                    </a:lnTo>
                    <a:lnTo>
                      <a:pt x="5" y="35"/>
                    </a:lnTo>
                    <a:lnTo>
                      <a:pt x="5" y="37"/>
                    </a:lnTo>
                    <a:lnTo>
                      <a:pt x="5" y="35"/>
                    </a:lnTo>
                    <a:lnTo>
                      <a:pt x="3" y="37"/>
                    </a:lnTo>
                    <a:lnTo>
                      <a:pt x="3" y="39"/>
                    </a:lnTo>
                    <a:lnTo>
                      <a:pt x="2" y="39"/>
                    </a:lnTo>
                    <a:lnTo>
                      <a:pt x="2" y="37"/>
                    </a:lnTo>
                    <a:lnTo>
                      <a:pt x="3" y="35"/>
                    </a:lnTo>
                    <a:lnTo>
                      <a:pt x="5" y="35"/>
                    </a:lnTo>
                    <a:lnTo>
                      <a:pt x="5" y="33"/>
                    </a:lnTo>
                    <a:lnTo>
                      <a:pt x="7" y="33"/>
                    </a:lnTo>
                    <a:lnTo>
                      <a:pt x="5" y="33"/>
                    </a:lnTo>
                    <a:lnTo>
                      <a:pt x="5" y="31"/>
                    </a:lnTo>
                    <a:lnTo>
                      <a:pt x="5" y="29"/>
                    </a:lnTo>
                    <a:lnTo>
                      <a:pt x="3" y="29"/>
                    </a:lnTo>
                    <a:lnTo>
                      <a:pt x="3" y="27"/>
                    </a:lnTo>
                    <a:lnTo>
                      <a:pt x="3" y="25"/>
                    </a:lnTo>
                    <a:lnTo>
                      <a:pt x="2" y="25"/>
                    </a:lnTo>
                    <a:lnTo>
                      <a:pt x="2" y="23"/>
                    </a:lnTo>
                    <a:lnTo>
                      <a:pt x="0" y="23"/>
                    </a:lnTo>
                    <a:lnTo>
                      <a:pt x="0" y="21"/>
                    </a:lnTo>
                    <a:lnTo>
                      <a:pt x="2" y="21"/>
                    </a:lnTo>
                    <a:lnTo>
                      <a:pt x="2" y="19"/>
                    </a:lnTo>
                    <a:lnTo>
                      <a:pt x="0" y="19"/>
                    </a:lnTo>
                    <a:lnTo>
                      <a:pt x="2" y="17"/>
                    </a:lnTo>
                    <a:lnTo>
                      <a:pt x="3" y="16"/>
                    </a:lnTo>
                    <a:lnTo>
                      <a:pt x="3" y="17"/>
                    </a:lnTo>
                    <a:lnTo>
                      <a:pt x="2" y="17"/>
                    </a:lnTo>
                    <a:lnTo>
                      <a:pt x="2" y="19"/>
                    </a:lnTo>
                    <a:close/>
                    <a:moveTo>
                      <a:pt x="5" y="17"/>
                    </a:moveTo>
                    <a:lnTo>
                      <a:pt x="5" y="16"/>
                    </a:lnTo>
                    <a:lnTo>
                      <a:pt x="3" y="16"/>
                    </a:lnTo>
                    <a:lnTo>
                      <a:pt x="5" y="16"/>
                    </a:lnTo>
                    <a:lnTo>
                      <a:pt x="5" y="14"/>
                    </a:lnTo>
                    <a:lnTo>
                      <a:pt x="5" y="12"/>
                    </a:lnTo>
                    <a:lnTo>
                      <a:pt x="5" y="14"/>
                    </a:lnTo>
                    <a:lnTo>
                      <a:pt x="5" y="16"/>
                    </a:lnTo>
                    <a:lnTo>
                      <a:pt x="7" y="16"/>
                    </a:lnTo>
                    <a:lnTo>
                      <a:pt x="7" y="17"/>
                    </a:lnTo>
                    <a:lnTo>
                      <a:pt x="5" y="17"/>
                    </a:lnTo>
                    <a:lnTo>
                      <a:pt x="5" y="19"/>
                    </a:lnTo>
                    <a:lnTo>
                      <a:pt x="5" y="17"/>
                    </a:lnTo>
                    <a:close/>
                    <a:moveTo>
                      <a:pt x="15" y="2"/>
                    </a:moveTo>
                    <a:lnTo>
                      <a:pt x="15" y="4"/>
                    </a:lnTo>
                    <a:lnTo>
                      <a:pt x="17" y="4"/>
                    </a:lnTo>
                    <a:lnTo>
                      <a:pt x="15" y="4"/>
                    </a:lnTo>
                    <a:lnTo>
                      <a:pt x="17" y="6"/>
                    </a:lnTo>
                    <a:lnTo>
                      <a:pt x="17" y="8"/>
                    </a:lnTo>
                    <a:lnTo>
                      <a:pt x="17" y="10"/>
                    </a:lnTo>
                    <a:lnTo>
                      <a:pt x="19" y="10"/>
                    </a:lnTo>
                    <a:lnTo>
                      <a:pt x="19" y="12"/>
                    </a:lnTo>
                    <a:lnTo>
                      <a:pt x="19" y="14"/>
                    </a:lnTo>
                    <a:lnTo>
                      <a:pt x="19" y="16"/>
                    </a:lnTo>
                    <a:lnTo>
                      <a:pt x="21" y="16"/>
                    </a:lnTo>
                    <a:lnTo>
                      <a:pt x="21" y="17"/>
                    </a:lnTo>
                    <a:lnTo>
                      <a:pt x="21" y="19"/>
                    </a:lnTo>
                    <a:lnTo>
                      <a:pt x="23" y="19"/>
                    </a:lnTo>
                    <a:lnTo>
                      <a:pt x="23" y="21"/>
                    </a:lnTo>
                    <a:lnTo>
                      <a:pt x="25" y="23"/>
                    </a:lnTo>
                    <a:lnTo>
                      <a:pt x="23" y="25"/>
                    </a:lnTo>
                    <a:lnTo>
                      <a:pt x="25" y="25"/>
                    </a:lnTo>
                    <a:lnTo>
                      <a:pt x="25" y="27"/>
                    </a:lnTo>
                    <a:lnTo>
                      <a:pt x="25" y="29"/>
                    </a:lnTo>
                    <a:lnTo>
                      <a:pt x="25" y="31"/>
                    </a:lnTo>
                    <a:lnTo>
                      <a:pt x="23" y="31"/>
                    </a:lnTo>
                    <a:lnTo>
                      <a:pt x="25" y="31"/>
                    </a:lnTo>
                    <a:lnTo>
                      <a:pt x="25" y="33"/>
                    </a:lnTo>
                    <a:lnTo>
                      <a:pt x="23" y="33"/>
                    </a:lnTo>
                    <a:lnTo>
                      <a:pt x="23" y="31"/>
                    </a:lnTo>
                    <a:lnTo>
                      <a:pt x="19" y="35"/>
                    </a:lnTo>
                    <a:lnTo>
                      <a:pt x="19" y="39"/>
                    </a:lnTo>
                    <a:lnTo>
                      <a:pt x="19" y="37"/>
                    </a:lnTo>
                    <a:lnTo>
                      <a:pt x="17" y="37"/>
                    </a:lnTo>
                    <a:lnTo>
                      <a:pt x="17" y="35"/>
                    </a:lnTo>
                    <a:lnTo>
                      <a:pt x="19" y="35"/>
                    </a:lnTo>
                    <a:lnTo>
                      <a:pt x="19" y="33"/>
                    </a:lnTo>
                    <a:lnTo>
                      <a:pt x="19" y="31"/>
                    </a:lnTo>
                    <a:lnTo>
                      <a:pt x="19" y="29"/>
                    </a:lnTo>
                    <a:lnTo>
                      <a:pt x="19" y="27"/>
                    </a:lnTo>
                    <a:lnTo>
                      <a:pt x="17" y="27"/>
                    </a:lnTo>
                    <a:lnTo>
                      <a:pt x="17" y="25"/>
                    </a:lnTo>
                    <a:lnTo>
                      <a:pt x="15" y="25"/>
                    </a:lnTo>
                    <a:lnTo>
                      <a:pt x="17" y="25"/>
                    </a:lnTo>
                    <a:lnTo>
                      <a:pt x="17" y="23"/>
                    </a:lnTo>
                    <a:lnTo>
                      <a:pt x="15" y="21"/>
                    </a:lnTo>
                    <a:lnTo>
                      <a:pt x="15" y="23"/>
                    </a:lnTo>
                    <a:lnTo>
                      <a:pt x="17" y="23"/>
                    </a:lnTo>
                    <a:lnTo>
                      <a:pt x="15" y="23"/>
                    </a:lnTo>
                    <a:lnTo>
                      <a:pt x="15" y="25"/>
                    </a:lnTo>
                    <a:lnTo>
                      <a:pt x="15" y="23"/>
                    </a:lnTo>
                    <a:lnTo>
                      <a:pt x="13" y="23"/>
                    </a:lnTo>
                    <a:lnTo>
                      <a:pt x="13" y="21"/>
                    </a:lnTo>
                    <a:lnTo>
                      <a:pt x="11" y="21"/>
                    </a:lnTo>
                    <a:lnTo>
                      <a:pt x="13" y="21"/>
                    </a:lnTo>
                    <a:lnTo>
                      <a:pt x="11" y="21"/>
                    </a:lnTo>
                    <a:lnTo>
                      <a:pt x="11" y="19"/>
                    </a:lnTo>
                    <a:lnTo>
                      <a:pt x="13" y="17"/>
                    </a:lnTo>
                    <a:lnTo>
                      <a:pt x="11" y="19"/>
                    </a:lnTo>
                    <a:lnTo>
                      <a:pt x="13" y="19"/>
                    </a:lnTo>
                    <a:lnTo>
                      <a:pt x="13" y="17"/>
                    </a:lnTo>
                    <a:lnTo>
                      <a:pt x="13" y="19"/>
                    </a:lnTo>
                    <a:lnTo>
                      <a:pt x="13" y="17"/>
                    </a:lnTo>
                    <a:lnTo>
                      <a:pt x="13" y="16"/>
                    </a:lnTo>
                    <a:lnTo>
                      <a:pt x="15" y="16"/>
                    </a:lnTo>
                    <a:lnTo>
                      <a:pt x="15" y="14"/>
                    </a:lnTo>
                    <a:lnTo>
                      <a:pt x="17" y="12"/>
                    </a:lnTo>
                    <a:lnTo>
                      <a:pt x="15" y="12"/>
                    </a:lnTo>
                    <a:lnTo>
                      <a:pt x="15" y="10"/>
                    </a:lnTo>
                    <a:lnTo>
                      <a:pt x="15" y="8"/>
                    </a:lnTo>
                    <a:lnTo>
                      <a:pt x="13" y="8"/>
                    </a:lnTo>
                    <a:lnTo>
                      <a:pt x="13" y="6"/>
                    </a:lnTo>
                    <a:lnTo>
                      <a:pt x="11" y="4"/>
                    </a:lnTo>
                    <a:lnTo>
                      <a:pt x="11" y="2"/>
                    </a:lnTo>
                    <a:lnTo>
                      <a:pt x="9" y="2"/>
                    </a:lnTo>
                    <a:lnTo>
                      <a:pt x="7" y="2"/>
                    </a:lnTo>
                    <a:lnTo>
                      <a:pt x="5" y="2"/>
                    </a:lnTo>
                    <a:lnTo>
                      <a:pt x="7" y="2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11" y="0"/>
                    </a:lnTo>
                    <a:lnTo>
                      <a:pt x="11" y="2"/>
                    </a:lnTo>
                    <a:lnTo>
                      <a:pt x="13" y="2"/>
                    </a:lnTo>
                    <a:lnTo>
                      <a:pt x="15" y="2"/>
                    </a:lnTo>
                    <a:lnTo>
                      <a:pt x="15" y="4"/>
                    </a:lnTo>
                    <a:lnTo>
                      <a:pt x="15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Freeform 125">
                <a:extLst>
                  <a:ext uri="{FF2B5EF4-FFF2-40B4-BE49-F238E27FC236}">
                    <a16:creationId xmlns="" xmlns:a16="http://schemas.microsoft.com/office/drawing/2014/main" id="{1F011A63-96C6-43F7-90DF-3730ADC9BE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63738" y="2881313"/>
                <a:ext cx="19050" cy="23813"/>
              </a:xfrm>
              <a:custGeom>
                <a:avLst/>
                <a:gdLst>
                  <a:gd name="T0" fmla="*/ 8 w 12"/>
                  <a:gd name="T1" fmla="*/ 13 h 15"/>
                  <a:gd name="T2" fmla="*/ 8 w 12"/>
                  <a:gd name="T3" fmla="*/ 13 h 15"/>
                  <a:gd name="T4" fmla="*/ 8 w 12"/>
                  <a:gd name="T5" fmla="*/ 13 h 15"/>
                  <a:gd name="T6" fmla="*/ 8 w 12"/>
                  <a:gd name="T7" fmla="*/ 13 h 15"/>
                  <a:gd name="T8" fmla="*/ 8 w 12"/>
                  <a:gd name="T9" fmla="*/ 13 h 15"/>
                  <a:gd name="T10" fmla="*/ 8 w 12"/>
                  <a:gd name="T11" fmla="*/ 13 h 15"/>
                  <a:gd name="T12" fmla="*/ 8 w 12"/>
                  <a:gd name="T13" fmla="*/ 13 h 15"/>
                  <a:gd name="T14" fmla="*/ 8 w 12"/>
                  <a:gd name="T15" fmla="*/ 13 h 15"/>
                  <a:gd name="T16" fmla="*/ 8 w 12"/>
                  <a:gd name="T17" fmla="*/ 13 h 15"/>
                  <a:gd name="T18" fmla="*/ 8 w 12"/>
                  <a:gd name="T19" fmla="*/ 13 h 15"/>
                  <a:gd name="T20" fmla="*/ 8 w 12"/>
                  <a:gd name="T21" fmla="*/ 11 h 15"/>
                  <a:gd name="T22" fmla="*/ 8 w 12"/>
                  <a:gd name="T23" fmla="*/ 11 h 15"/>
                  <a:gd name="T24" fmla="*/ 8 w 12"/>
                  <a:gd name="T25" fmla="*/ 11 h 15"/>
                  <a:gd name="T26" fmla="*/ 8 w 12"/>
                  <a:gd name="T27" fmla="*/ 11 h 15"/>
                  <a:gd name="T28" fmla="*/ 8 w 12"/>
                  <a:gd name="T29" fmla="*/ 11 h 15"/>
                  <a:gd name="T30" fmla="*/ 10 w 12"/>
                  <a:gd name="T31" fmla="*/ 13 h 15"/>
                  <a:gd name="T32" fmla="*/ 10 w 12"/>
                  <a:gd name="T33" fmla="*/ 13 h 15"/>
                  <a:gd name="T34" fmla="*/ 10 w 12"/>
                  <a:gd name="T35" fmla="*/ 13 h 15"/>
                  <a:gd name="T36" fmla="*/ 10 w 12"/>
                  <a:gd name="T37" fmla="*/ 13 h 15"/>
                  <a:gd name="T38" fmla="*/ 12 w 12"/>
                  <a:gd name="T39" fmla="*/ 13 h 15"/>
                  <a:gd name="T40" fmla="*/ 10 w 12"/>
                  <a:gd name="T41" fmla="*/ 13 h 15"/>
                  <a:gd name="T42" fmla="*/ 10 w 12"/>
                  <a:gd name="T43" fmla="*/ 13 h 15"/>
                  <a:gd name="T44" fmla="*/ 10 w 12"/>
                  <a:gd name="T45" fmla="*/ 13 h 15"/>
                  <a:gd name="T46" fmla="*/ 10 w 12"/>
                  <a:gd name="T47" fmla="*/ 13 h 15"/>
                  <a:gd name="T48" fmla="*/ 10 w 12"/>
                  <a:gd name="T49" fmla="*/ 11 h 15"/>
                  <a:gd name="T50" fmla="*/ 10 w 12"/>
                  <a:gd name="T51" fmla="*/ 11 h 15"/>
                  <a:gd name="T52" fmla="*/ 10 w 12"/>
                  <a:gd name="T53" fmla="*/ 11 h 15"/>
                  <a:gd name="T54" fmla="*/ 10 w 12"/>
                  <a:gd name="T55" fmla="*/ 11 h 15"/>
                  <a:gd name="T56" fmla="*/ 10 w 12"/>
                  <a:gd name="T57" fmla="*/ 11 h 15"/>
                  <a:gd name="T58" fmla="*/ 12 w 12"/>
                  <a:gd name="T59" fmla="*/ 11 h 15"/>
                  <a:gd name="T60" fmla="*/ 12 w 12"/>
                  <a:gd name="T61" fmla="*/ 13 h 15"/>
                  <a:gd name="T62" fmla="*/ 10 w 12"/>
                  <a:gd name="T63" fmla="*/ 11 h 15"/>
                  <a:gd name="T64" fmla="*/ 10 w 12"/>
                  <a:gd name="T65" fmla="*/ 11 h 15"/>
                  <a:gd name="T66" fmla="*/ 10 w 12"/>
                  <a:gd name="T67" fmla="*/ 11 h 15"/>
                  <a:gd name="T68" fmla="*/ 8 w 12"/>
                  <a:gd name="T69" fmla="*/ 11 h 15"/>
                  <a:gd name="T70" fmla="*/ 8 w 12"/>
                  <a:gd name="T71" fmla="*/ 11 h 15"/>
                  <a:gd name="T72" fmla="*/ 10 w 12"/>
                  <a:gd name="T73" fmla="*/ 9 h 15"/>
                  <a:gd name="T74" fmla="*/ 10 w 12"/>
                  <a:gd name="T75" fmla="*/ 11 h 15"/>
                  <a:gd name="T76" fmla="*/ 10 w 12"/>
                  <a:gd name="T77" fmla="*/ 11 h 15"/>
                  <a:gd name="T78" fmla="*/ 10 w 12"/>
                  <a:gd name="T79" fmla="*/ 11 h 15"/>
                  <a:gd name="T80" fmla="*/ 10 w 12"/>
                  <a:gd name="T81" fmla="*/ 11 h 15"/>
                  <a:gd name="T82" fmla="*/ 10 w 12"/>
                  <a:gd name="T83" fmla="*/ 11 h 15"/>
                  <a:gd name="T84" fmla="*/ 10 w 12"/>
                  <a:gd name="T85" fmla="*/ 11 h 15"/>
                  <a:gd name="T86" fmla="*/ 12 w 12"/>
                  <a:gd name="T87" fmla="*/ 11 h 15"/>
                  <a:gd name="T88" fmla="*/ 12 w 12"/>
                  <a:gd name="T89" fmla="*/ 11 h 15"/>
                  <a:gd name="T90" fmla="*/ 12 w 12"/>
                  <a:gd name="T91" fmla="*/ 11 h 15"/>
                  <a:gd name="T92" fmla="*/ 4 w 12"/>
                  <a:gd name="T93" fmla="*/ 1 h 15"/>
                  <a:gd name="T94" fmla="*/ 4 w 12"/>
                  <a:gd name="T95" fmla="*/ 1 h 15"/>
                  <a:gd name="T96" fmla="*/ 2 w 12"/>
                  <a:gd name="T97" fmla="*/ 1 h 15"/>
                  <a:gd name="T98" fmla="*/ 2 w 12"/>
                  <a:gd name="T99" fmla="*/ 0 h 15"/>
                  <a:gd name="T100" fmla="*/ 0 w 12"/>
                  <a:gd name="T101" fmla="*/ 0 h 15"/>
                  <a:gd name="T102" fmla="*/ 2 w 12"/>
                  <a:gd name="T103" fmla="*/ 0 h 15"/>
                  <a:gd name="T104" fmla="*/ 2 w 12"/>
                  <a:gd name="T105" fmla="*/ 1 h 15"/>
                  <a:gd name="T106" fmla="*/ 6 w 12"/>
                  <a:gd name="T107" fmla="*/ 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2" h="15">
                    <a:moveTo>
                      <a:pt x="8" y="13"/>
                    </a:moveTo>
                    <a:lnTo>
                      <a:pt x="8" y="13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8" y="15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10" y="11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8" y="13"/>
                    </a:lnTo>
                    <a:close/>
                    <a:moveTo>
                      <a:pt x="12" y="13"/>
                    </a:moveTo>
                    <a:lnTo>
                      <a:pt x="12" y="13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10" y="13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12" y="13"/>
                    </a:lnTo>
                    <a:lnTo>
                      <a:pt x="12" y="13"/>
                    </a:lnTo>
                    <a:close/>
                    <a:moveTo>
                      <a:pt x="12" y="11"/>
                    </a:move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8" y="11"/>
                    </a:lnTo>
                    <a:lnTo>
                      <a:pt x="10" y="9"/>
                    </a:lnTo>
                    <a:lnTo>
                      <a:pt x="10" y="9"/>
                    </a:lnTo>
                    <a:lnTo>
                      <a:pt x="10" y="9"/>
                    </a:lnTo>
                    <a:lnTo>
                      <a:pt x="10" y="11"/>
                    </a:lnTo>
                    <a:lnTo>
                      <a:pt x="10" y="9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0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12" y="11"/>
                    </a:lnTo>
                    <a:lnTo>
                      <a:pt x="12" y="11"/>
                    </a:lnTo>
                    <a:close/>
                    <a:moveTo>
                      <a:pt x="4" y="1"/>
                    </a:moveTo>
                    <a:lnTo>
                      <a:pt x="4" y="1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4" y="1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6" y="1"/>
                    </a:lnTo>
                    <a:lnTo>
                      <a:pt x="6" y="1"/>
                    </a:lnTo>
                    <a:lnTo>
                      <a:pt x="4" y="1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Freeform 126">
                <a:extLst>
                  <a:ext uri="{FF2B5EF4-FFF2-40B4-BE49-F238E27FC236}">
                    <a16:creationId xmlns="" xmlns:a16="http://schemas.microsoft.com/office/drawing/2014/main" id="{D6B1DB78-7E8C-4410-99FD-EF917CE941F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57388" y="2874963"/>
                <a:ext cx="22225" cy="26988"/>
              </a:xfrm>
              <a:custGeom>
                <a:avLst/>
                <a:gdLst>
                  <a:gd name="T0" fmla="*/ 14 w 14"/>
                  <a:gd name="T1" fmla="*/ 17 h 17"/>
                  <a:gd name="T2" fmla="*/ 14 w 14"/>
                  <a:gd name="T3" fmla="*/ 17 h 17"/>
                  <a:gd name="T4" fmla="*/ 14 w 14"/>
                  <a:gd name="T5" fmla="*/ 17 h 17"/>
                  <a:gd name="T6" fmla="*/ 14 w 14"/>
                  <a:gd name="T7" fmla="*/ 17 h 17"/>
                  <a:gd name="T8" fmla="*/ 4 w 14"/>
                  <a:gd name="T9" fmla="*/ 9 h 17"/>
                  <a:gd name="T10" fmla="*/ 4 w 14"/>
                  <a:gd name="T11" fmla="*/ 9 h 17"/>
                  <a:gd name="T12" fmla="*/ 14 w 14"/>
                  <a:gd name="T13" fmla="*/ 15 h 17"/>
                  <a:gd name="T14" fmla="*/ 14 w 14"/>
                  <a:gd name="T15" fmla="*/ 15 h 17"/>
                  <a:gd name="T16" fmla="*/ 0 w 14"/>
                  <a:gd name="T17" fmla="*/ 5 h 17"/>
                  <a:gd name="T18" fmla="*/ 0 w 14"/>
                  <a:gd name="T19" fmla="*/ 5 h 17"/>
                  <a:gd name="T20" fmla="*/ 2 w 14"/>
                  <a:gd name="T21" fmla="*/ 5 h 17"/>
                  <a:gd name="T22" fmla="*/ 2 w 14"/>
                  <a:gd name="T23" fmla="*/ 5 h 17"/>
                  <a:gd name="T24" fmla="*/ 2 w 14"/>
                  <a:gd name="T25" fmla="*/ 5 h 17"/>
                  <a:gd name="T26" fmla="*/ 2 w 14"/>
                  <a:gd name="T27" fmla="*/ 5 h 17"/>
                  <a:gd name="T28" fmla="*/ 2 w 14"/>
                  <a:gd name="T29" fmla="*/ 5 h 17"/>
                  <a:gd name="T30" fmla="*/ 2 w 14"/>
                  <a:gd name="T31" fmla="*/ 4 h 17"/>
                  <a:gd name="T32" fmla="*/ 4 w 14"/>
                  <a:gd name="T33" fmla="*/ 4 h 17"/>
                  <a:gd name="T34" fmla="*/ 4 w 14"/>
                  <a:gd name="T35" fmla="*/ 4 h 17"/>
                  <a:gd name="T36" fmla="*/ 4 w 14"/>
                  <a:gd name="T37" fmla="*/ 4 h 17"/>
                  <a:gd name="T38" fmla="*/ 4 w 14"/>
                  <a:gd name="T39" fmla="*/ 4 h 17"/>
                  <a:gd name="T40" fmla="*/ 4 w 14"/>
                  <a:gd name="T41" fmla="*/ 4 h 17"/>
                  <a:gd name="T42" fmla="*/ 4 w 14"/>
                  <a:gd name="T43" fmla="*/ 4 h 17"/>
                  <a:gd name="T44" fmla="*/ 4 w 14"/>
                  <a:gd name="T45" fmla="*/ 4 h 17"/>
                  <a:gd name="T46" fmla="*/ 4 w 14"/>
                  <a:gd name="T47" fmla="*/ 4 h 17"/>
                  <a:gd name="T48" fmla="*/ 4 w 14"/>
                  <a:gd name="T49" fmla="*/ 4 h 17"/>
                  <a:gd name="T50" fmla="*/ 6 w 14"/>
                  <a:gd name="T51" fmla="*/ 5 h 17"/>
                  <a:gd name="T52" fmla="*/ 6 w 14"/>
                  <a:gd name="T53" fmla="*/ 5 h 17"/>
                  <a:gd name="T54" fmla="*/ 6 w 14"/>
                  <a:gd name="T55" fmla="*/ 5 h 17"/>
                  <a:gd name="T56" fmla="*/ 6 w 14"/>
                  <a:gd name="T57" fmla="*/ 5 h 17"/>
                  <a:gd name="T58" fmla="*/ 6 w 14"/>
                  <a:gd name="T59" fmla="*/ 5 h 17"/>
                  <a:gd name="T60" fmla="*/ 6 w 14"/>
                  <a:gd name="T61" fmla="*/ 5 h 17"/>
                  <a:gd name="T62" fmla="*/ 4 w 14"/>
                  <a:gd name="T63" fmla="*/ 4 h 17"/>
                  <a:gd name="T64" fmla="*/ 4 w 14"/>
                  <a:gd name="T65" fmla="*/ 4 h 17"/>
                  <a:gd name="T66" fmla="*/ 4 w 14"/>
                  <a:gd name="T67" fmla="*/ 4 h 17"/>
                  <a:gd name="T68" fmla="*/ 4 w 14"/>
                  <a:gd name="T69" fmla="*/ 4 h 17"/>
                  <a:gd name="T70" fmla="*/ 2 w 14"/>
                  <a:gd name="T71" fmla="*/ 4 h 17"/>
                  <a:gd name="T72" fmla="*/ 4 w 14"/>
                  <a:gd name="T73" fmla="*/ 2 h 17"/>
                  <a:gd name="T74" fmla="*/ 4 w 14"/>
                  <a:gd name="T75" fmla="*/ 4 h 17"/>
                  <a:gd name="T76" fmla="*/ 4 w 14"/>
                  <a:gd name="T77" fmla="*/ 4 h 17"/>
                  <a:gd name="T78" fmla="*/ 8 w 14"/>
                  <a:gd name="T79" fmla="*/ 5 h 17"/>
                  <a:gd name="T80" fmla="*/ 8 w 14"/>
                  <a:gd name="T81" fmla="*/ 5 h 17"/>
                  <a:gd name="T82" fmla="*/ 4 w 14"/>
                  <a:gd name="T83" fmla="*/ 4 h 17"/>
                  <a:gd name="T84" fmla="*/ 4 w 14"/>
                  <a:gd name="T85" fmla="*/ 4 h 17"/>
                  <a:gd name="T86" fmla="*/ 4 w 14"/>
                  <a:gd name="T87" fmla="*/ 0 h 17"/>
                  <a:gd name="T88" fmla="*/ 4 w 14"/>
                  <a:gd name="T89" fmla="*/ 0 h 17"/>
                  <a:gd name="T90" fmla="*/ 8 w 14"/>
                  <a:gd name="T91" fmla="*/ 2 h 17"/>
                  <a:gd name="T92" fmla="*/ 8 w 14"/>
                  <a:gd name="T93" fmla="*/ 2 h 17"/>
                  <a:gd name="T94" fmla="*/ 8 w 14"/>
                  <a:gd name="T95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4" h="17">
                    <a:moveTo>
                      <a:pt x="14" y="17"/>
                    </a:moveTo>
                    <a:lnTo>
                      <a:pt x="14" y="17"/>
                    </a:lnTo>
                    <a:lnTo>
                      <a:pt x="14" y="17"/>
                    </a:lnTo>
                    <a:lnTo>
                      <a:pt x="14" y="17"/>
                    </a:lnTo>
                    <a:lnTo>
                      <a:pt x="14" y="17"/>
                    </a:lnTo>
                    <a:lnTo>
                      <a:pt x="14" y="17"/>
                    </a:lnTo>
                    <a:lnTo>
                      <a:pt x="14" y="17"/>
                    </a:lnTo>
                    <a:lnTo>
                      <a:pt x="14" y="17"/>
                    </a:lnTo>
                    <a:close/>
                    <a:moveTo>
                      <a:pt x="4" y="9"/>
                    </a:moveTo>
                    <a:lnTo>
                      <a:pt x="4" y="9"/>
                    </a:lnTo>
                    <a:lnTo>
                      <a:pt x="4" y="9"/>
                    </a:lnTo>
                    <a:lnTo>
                      <a:pt x="4" y="9"/>
                    </a:lnTo>
                    <a:close/>
                    <a:moveTo>
                      <a:pt x="14" y="15"/>
                    </a:moveTo>
                    <a:lnTo>
                      <a:pt x="14" y="15"/>
                    </a:lnTo>
                    <a:lnTo>
                      <a:pt x="14" y="15"/>
                    </a:lnTo>
                    <a:lnTo>
                      <a:pt x="14" y="15"/>
                    </a:lnTo>
                    <a:close/>
                    <a:moveTo>
                      <a:pt x="0" y="5"/>
                    </a:move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close/>
                    <a:moveTo>
                      <a:pt x="2" y="5"/>
                    </a:move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close/>
                    <a:moveTo>
                      <a:pt x="2" y="4"/>
                    </a:moveTo>
                    <a:lnTo>
                      <a:pt x="2" y="5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6" y="5"/>
                    </a:move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close/>
                    <a:moveTo>
                      <a:pt x="6" y="5"/>
                    </a:move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4" y="2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8" y="5"/>
                    </a:moveTo>
                    <a:lnTo>
                      <a:pt x="8" y="5"/>
                    </a:lnTo>
                    <a:lnTo>
                      <a:pt x="8" y="5"/>
                    </a:lnTo>
                    <a:lnTo>
                      <a:pt x="8" y="5"/>
                    </a:lnTo>
                    <a:lnTo>
                      <a:pt x="8" y="5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  <a:moveTo>
                      <a:pt x="8" y="2"/>
                    </a:move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8" y="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Freeform 127">
                <a:extLst>
                  <a:ext uri="{FF2B5EF4-FFF2-40B4-BE49-F238E27FC236}">
                    <a16:creationId xmlns="" xmlns:a16="http://schemas.microsoft.com/office/drawing/2014/main" id="{76738214-CCAE-4AF1-BA80-B3B1209AE2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0250" y="3946526"/>
                <a:ext cx="430213" cy="398463"/>
              </a:xfrm>
              <a:custGeom>
                <a:avLst/>
                <a:gdLst>
                  <a:gd name="T0" fmla="*/ 229 w 271"/>
                  <a:gd name="T1" fmla="*/ 80 h 251"/>
                  <a:gd name="T2" fmla="*/ 235 w 271"/>
                  <a:gd name="T3" fmla="*/ 96 h 251"/>
                  <a:gd name="T4" fmla="*/ 241 w 271"/>
                  <a:gd name="T5" fmla="*/ 105 h 251"/>
                  <a:gd name="T6" fmla="*/ 248 w 271"/>
                  <a:gd name="T7" fmla="*/ 109 h 251"/>
                  <a:gd name="T8" fmla="*/ 248 w 271"/>
                  <a:gd name="T9" fmla="*/ 121 h 251"/>
                  <a:gd name="T10" fmla="*/ 262 w 271"/>
                  <a:gd name="T11" fmla="*/ 136 h 251"/>
                  <a:gd name="T12" fmla="*/ 262 w 271"/>
                  <a:gd name="T13" fmla="*/ 149 h 251"/>
                  <a:gd name="T14" fmla="*/ 267 w 271"/>
                  <a:gd name="T15" fmla="*/ 165 h 251"/>
                  <a:gd name="T16" fmla="*/ 262 w 271"/>
                  <a:gd name="T17" fmla="*/ 176 h 251"/>
                  <a:gd name="T18" fmla="*/ 252 w 271"/>
                  <a:gd name="T19" fmla="*/ 182 h 251"/>
                  <a:gd name="T20" fmla="*/ 225 w 271"/>
                  <a:gd name="T21" fmla="*/ 188 h 251"/>
                  <a:gd name="T22" fmla="*/ 198 w 271"/>
                  <a:gd name="T23" fmla="*/ 194 h 251"/>
                  <a:gd name="T24" fmla="*/ 177 w 271"/>
                  <a:gd name="T25" fmla="*/ 207 h 251"/>
                  <a:gd name="T26" fmla="*/ 164 w 271"/>
                  <a:gd name="T27" fmla="*/ 203 h 251"/>
                  <a:gd name="T28" fmla="*/ 162 w 271"/>
                  <a:gd name="T29" fmla="*/ 211 h 251"/>
                  <a:gd name="T30" fmla="*/ 152 w 271"/>
                  <a:gd name="T31" fmla="*/ 246 h 251"/>
                  <a:gd name="T32" fmla="*/ 125 w 271"/>
                  <a:gd name="T33" fmla="*/ 244 h 251"/>
                  <a:gd name="T34" fmla="*/ 127 w 271"/>
                  <a:gd name="T35" fmla="*/ 226 h 251"/>
                  <a:gd name="T36" fmla="*/ 129 w 271"/>
                  <a:gd name="T37" fmla="*/ 215 h 251"/>
                  <a:gd name="T38" fmla="*/ 125 w 271"/>
                  <a:gd name="T39" fmla="*/ 199 h 251"/>
                  <a:gd name="T40" fmla="*/ 114 w 271"/>
                  <a:gd name="T41" fmla="*/ 188 h 251"/>
                  <a:gd name="T42" fmla="*/ 104 w 271"/>
                  <a:gd name="T43" fmla="*/ 173 h 251"/>
                  <a:gd name="T44" fmla="*/ 94 w 271"/>
                  <a:gd name="T45" fmla="*/ 169 h 251"/>
                  <a:gd name="T46" fmla="*/ 87 w 271"/>
                  <a:gd name="T47" fmla="*/ 169 h 251"/>
                  <a:gd name="T48" fmla="*/ 79 w 271"/>
                  <a:gd name="T49" fmla="*/ 149 h 251"/>
                  <a:gd name="T50" fmla="*/ 64 w 271"/>
                  <a:gd name="T51" fmla="*/ 153 h 251"/>
                  <a:gd name="T52" fmla="*/ 54 w 271"/>
                  <a:gd name="T53" fmla="*/ 149 h 251"/>
                  <a:gd name="T54" fmla="*/ 62 w 271"/>
                  <a:gd name="T55" fmla="*/ 136 h 251"/>
                  <a:gd name="T56" fmla="*/ 64 w 271"/>
                  <a:gd name="T57" fmla="*/ 124 h 251"/>
                  <a:gd name="T58" fmla="*/ 64 w 271"/>
                  <a:gd name="T59" fmla="*/ 113 h 251"/>
                  <a:gd name="T60" fmla="*/ 60 w 271"/>
                  <a:gd name="T61" fmla="*/ 105 h 251"/>
                  <a:gd name="T62" fmla="*/ 50 w 271"/>
                  <a:gd name="T63" fmla="*/ 105 h 251"/>
                  <a:gd name="T64" fmla="*/ 45 w 271"/>
                  <a:gd name="T65" fmla="*/ 96 h 251"/>
                  <a:gd name="T66" fmla="*/ 31 w 271"/>
                  <a:gd name="T67" fmla="*/ 96 h 251"/>
                  <a:gd name="T68" fmla="*/ 21 w 271"/>
                  <a:gd name="T69" fmla="*/ 88 h 251"/>
                  <a:gd name="T70" fmla="*/ 8 w 271"/>
                  <a:gd name="T71" fmla="*/ 90 h 251"/>
                  <a:gd name="T72" fmla="*/ 4 w 271"/>
                  <a:gd name="T73" fmla="*/ 67 h 251"/>
                  <a:gd name="T74" fmla="*/ 2 w 271"/>
                  <a:gd name="T75" fmla="*/ 44 h 251"/>
                  <a:gd name="T76" fmla="*/ 12 w 271"/>
                  <a:gd name="T77" fmla="*/ 28 h 251"/>
                  <a:gd name="T78" fmla="*/ 25 w 271"/>
                  <a:gd name="T79" fmla="*/ 19 h 251"/>
                  <a:gd name="T80" fmla="*/ 29 w 271"/>
                  <a:gd name="T81" fmla="*/ 9 h 251"/>
                  <a:gd name="T82" fmla="*/ 39 w 271"/>
                  <a:gd name="T83" fmla="*/ 3 h 251"/>
                  <a:gd name="T84" fmla="*/ 52 w 271"/>
                  <a:gd name="T85" fmla="*/ 0 h 251"/>
                  <a:gd name="T86" fmla="*/ 62 w 271"/>
                  <a:gd name="T87" fmla="*/ 9 h 251"/>
                  <a:gd name="T88" fmla="*/ 73 w 271"/>
                  <a:gd name="T89" fmla="*/ 23 h 251"/>
                  <a:gd name="T90" fmla="*/ 85 w 271"/>
                  <a:gd name="T91" fmla="*/ 26 h 251"/>
                  <a:gd name="T92" fmla="*/ 96 w 271"/>
                  <a:gd name="T93" fmla="*/ 23 h 251"/>
                  <a:gd name="T94" fmla="*/ 104 w 271"/>
                  <a:gd name="T95" fmla="*/ 40 h 251"/>
                  <a:gd name="T96" fmla="*/ 112 w 271"/>
                  <a:gd name="T97" fmla="*/ 40 h 251"/>
                  <a:gd name="T98" fmla="*/ 123 w 271"/>
                  <a:gd name="T99" fmla="*/ 40 h 251"/>
                  <a:gd name="T100" fmla="*/ 131 w 271"/>
                  <a:gd name="T101" fmla="*/ 44 h 251"/>
                  <a:gd name="T102" fmla="*/ 144 w 271"/>
                  <a:gd name="T103" fmla="*/ 44 h 251"/>
                  <a:gd name="T104" fmla="*/ 158 w 271"/>
                  <a:gd name="T105" fmla="*/ 40 h 251"/>
                  <a:gd name="T106" fmla="*/ 166 w 271"/>
                  <a:gd name="T107" fmla="*/ 48 h 251"/>
                  <a:gd name="T108" fmla="*/ 175 w 271"/>
                  <a:gd name="T109" fmla="*/ 59 h 251"/>
                  <a:gd name="T110" fmla="*/ 179 w 271"/>
                  <a:gd name="T111" fmla="*/ 63 h 251"/>
                  <a:gd name="T112" fmla="*/ 196 w 271"/>
                  <a:gd name="T113" fmla="*/ 67 h 251"/>
                  <a:gd name="T114" fmla="*/ 204 w 271"/>
                  <a:gd name="T115" fmla="*/ 61 h 251"/>
                  <a:gd name="T116" fmla="*/ 210 w 271"/>
                  <a:gd name="T117" fmla="*/ 65 h 251"/>
                  <a:gd name="T118" fmla="*/ 221 w 271"/>
                  <a:gd name="T119" fmla="*/ 67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71" h="251">
                    <a:moveTo>
                      <a:pt x="223" y="67"/>
                    </a:moveTo>
                    <a:lnTo>
                      <a:pt x="223" y="69"/>
                    </a:lnTo>
                    <a:lnTo>
                      <a:pt x="219" y="73"/>
                    </a:lnTo>
                    <a:lnTo>
                      <a:pt x="219" y="74"/>
                    </a:lnTo>
                    <a:lnTo>
                      <a:pt x="221" y="74"/>
                    </a:lnTo>
                    <a:lnTo>
                      <a:pt x="223" y="74"/>
                    </a:lnTo>
                    <a:lnTo>
                      <a:pt x="223" y="76"/>
                    </a:lnTo>
                    <a:lnTo>
                      <a:pt x="225" y="76"/>
                    </a:lnTo>
                    <a:lnTo>
                      <a:pt x="225" y="78"/>
                    </a:lnTo>
                    <a:lnTo>
                      <a:pt x="225" y="80"/>
                    </a:lnTo>
                    <a:lnTo>
                      <a:pt x="227" y="80"/>
                    </a:lnTo>
                    <a:lnTo>
                      <a:pt x="229" y="80"/>
                    </a:lnTo>
                    <a:lnTo>
                      <a:pt x="227" y="86"/>
                    </a:lnTo>
                    <a:lnTo>
                      <a:pt x="227" y="88"/>
                    </a:lnTo>
                    <a:lnTo>
                      <a:pt x="229" y="88"/>
                    </a:lnTo>
                    <a:lnTo>
                      <a:pt x="229" y="90"/>
                    </a:lnTo>
                    <a:lnTo>
                      <a:pt x="229" y="96"/>
                    </a:lnTo>
                    <a:lnTo>
                      <a:pt x="227" y="98"/>
                    </a:lnTo>
                    <a:lnTo>
                      <a:pt x="229" y="99"/>
                    </a:lnTo>
                    <a:lnTo>
                      <a:pt x="229" y="98"/>
                    </a:lnTo>
                    <a:lnTo>
                      <a:pt x="229" y="96"/>
                    </a:lnTo>
                    <a:lnTo>
                      <a:pt x="231" y="96"/>
                    </a:lnTo>
                    <a:lnTo>
                      <a:pt x="233" y="94"/>
                    </a:lnTo>
                    <a:lnTo>
                      <a:pt x="235" y="96"/>
                    </a:lnTo>
                    <a:lnTo>
                      <a:pt x="237" y="96"/>
                    </a:lnTo>
                    <a:lnTo>
                      <a:pt x="237" y="98"/>
                    </a:lnTo>
                    <a:lnTo>
                      <a:pt x="239" y="98"/>
                    </a:lnTo>
                    <a:lnTo>
                      <a:pt x="239" y="99"/>
                    </a:lnTo>
                    <a:lnTo>
                      <a:pt x="239" y="98"/>
                    </a:lnTo>
                    <a:lnTo>
                      <a:pt x="242" y="99"/>
                    </a:lnTo>
                    <a:lnTo>
                      <a:pt x="242" y="101"/>
                    </a:lnTo>
                    <a:lnTo>
                      <a:pt x="244" y="103"/>
                    </a:lnTo>
                    <a:lnTo>
                      <a:pt x="242" y="103"/>
                    </a:lnTo>
                    <a:lnTo>
                      <a:pt x="241" y="105"/>
                    </a:lnTo>
                    <a:lnTo>
                      <a:pt x="242" y="105"/>
                    </a:lnTo>
                    <a:lnTo>
                      <a:pt x="241" y="105"/>
                    </a:lnTo>
                    <a:lnTo>
                      <a:pt x="239" y="107"/>
                    </a:lnTo>
                    <a:lnTo>
                      <a:pt x="241" y="107"/>
                    </a:lnTo>
                    <a:lnTo>
                      <a:pt x="242" y="107"/>
                    </a:lnTo>
                    <a:lnTo>
                      <a:pt x="244" y="107"/>
                    </a:lnTo>
                    <a:lnTo>
                      <a:pt x="242" y="109"/>
                    </a:lnTo>
                    <a:lnTo>
                      <a:pt x="244" y="111"/>
                    </a:lnTo>
                    <a:lnTo>
                      <a:pt x="242" y="111"/>
                    </a:lnTo>
                    <a:lnTo>
                      <a:pt x="242" y="113"/>
                    </a:lnTo>
                    <a:lnTo>
                      <a:pt x="244" y="113"/>
                    </a:lnTo>
                    <a:lnTo>
                      <a:pt x="246" y="111"/>
                    </a:lnTo>
                    <a:lnTo>
                      <a:pt x="246" y="109"/>
                    </a:lnTo>
                    <a:lnTo>
                      <a:pt x="248" y="109"/>
                    </a:lnTo>
                    <a:lnTo>
                      <a:pt x="248" y="111"/>
                    </a:lnTo>
                    <a:lnTo>
                      <a:pt x="248" y="109"/>
                    </a:lnTo>
                    <a:lnTo>
                      <a:pt x="248" y="111"/>
                    </a:lnTo>
                    <a:lnTo>
                      <a:pt x="248" y="113"/>
                    </a:lnTo>
                    <a:lnTo>
                      <a:pt x="248" y="115"/>
                    </a:lnTo>
                    <a:lnTo>
                      <a:pt x="248" y="117"/>
                    </a:lnTo>
                    <a:lnTo>
                      <a:pt x="248" y="119"/>
                    </a:lnTo>
                    <a:lnTo>
                      <a:pt x="246" y="119"/>
                    </a:lnTo>
                    <a:lnTo>
                      <a:pt x="246" y="121"/>
                    </a:lnTo>
                    <a:lnTo>
                      <a:pt x="246" y="123"/>
                    </a:lnTo>
                    <a:lnTo>
                      <a:pt x="246" y="121"/>
                    </a:lnTo>
                    <a:lnTo>
                      <a:pt x="248" y="121"/>
                    </a:lnTo>
                    <a:lnTo>
                      <a:pt x="250" y="121"/>
                    </a:lnTo>
                    <a:lnTo>
                      <a:pt x="250" y="123"/>
                    </a:lnTo>
                    <a:lnTo>
                      <a:pt x="250" y="124"/>
                    </a:lnTo>
                    <a:lnTo>
                      <a:pt x="248" y="126"/>
                    </a:lnTo>
                    <a:lnTo>
                      <a:pt x="248" y="128"/>
                    </a:lnTo>
                    <a:lnTo>
                      <a:pt x="250" y="128"/>
                    </a:lnTo>
                    <a:lnTo>
                      <a:pt x="256" y="130"/>
                    </a:lnTo>
                    <a:lnTo>
                      <a:pt x="258" y="130"/>
                    </a:lnTo>
                    <a:lnTo>
                      <a:pt x="256" y="134"/>
                    </a:lnTo>
                    <a:lnTo>
                      <a:pt x="260" y="134"/>
                    </a:lnTo>
                    <a:lnTo>
                      <a:pt x="260" y="136"/>
                    </a:lnTo>
                    <a:lnTo>
                      <a:pt x="262" y="136"/>
                    </a:lnTo>
                    <a:lnTo>
                      <a:pt x="260" y="140"/>
                    </a:lnTo>
                    <a:lnTo>
                      <a:pt x="258" y="138"/>
                    </a:lnTo>
                    <a:lnTo>
                      <a:pt x="256" y="142"/>
                    </a:lnTo>
                    <a:lnTo>
                      <a:pt x="256" y="144"/>
                    </a:lnTo>
                    <a:lnTo>
                      <a:pt x="256" y="142"/>
                    </a:lnTo>
                    <a:lnTo>
                      <a:pt x="258" y="142"/>
                    </a:lnTo>
                    <a:lnTo>
                      <a:pt x="258" y="144"/>
                    </a:lnTo>
                    <a:lnTo>
                      <a:pt x="260" y="146"/>
                    </a:lnTo>
                    <a:lnTo>
                      <a:pt x="262" y="144"/>
                    </a:lnTo>
                    <a:lnTo>
                      <a:pt x="264" y="144"/>
                    </a:lnTo>
                    <a:lnTo>
                      <a:pt x="262" y="148"/>
                    </a:lnTo>
                    <a:lnTo>
                      <a:pt x="262" y="149"/>
                    </a:lnTo>
                    <a:lnTo>
                      <a:pt x="262" y="148"/>
                    </a:lnTo>
                    <a:lnTo>
                      <a:pt x="264" y="148"/>
                    </a:lnTo>
                    <a:lnTo>
                      <a:pt x="264" y="149"/>
                    </a:lnTo>
                    <a:lnTo>
                      <a:pt x="267" y="149"/>
                    </a:lnTo>
                    <a:lnTo>
                      <a:pt x="265" y="151"/>
                    </a:lnTo>
                    <a:lnTo>
                      <a:pt x="267" y="153"/>
                    </a:lnTo>
                    <a:lnTo>
                      <a:pt x="269" y="153"/>
                    </a:lnTo>
                    <a:lnTo>
                      <a:pt x="269" y="155"/>
                    </a:lnTo>
                    <a:lnTo>
                      <a:pt x="271" y="157"/>
                    </a:lnTo>
                    <a:lnTo>
                      <a:pt x="269" y="157"/>
                    </a:lnTo>
                    <a:lnTo>
                      <a:pt x="267" y="163"/>
                    </a:lnTo>
                    <a:lnTo>
                      <a:pt x="267" y="165"/>
                    </a:lnTo>
                    <a:lnTo>
                      <a:pt x="267" y="167"/>
                    </a:lnTo>
                    <a:lnTo>
                      <a:pt x="265" y="171"/>
                    </a:lnTo>
                    <a:lnTo>
                      <a:pt x="265" y="173"/>
                    </a:lnTo>
                    <a:lnTo>
                      <a:pt x="265" y="174"/>
                    </a:lnTo>
                    <a:lnTo>
                      <a:pt x="265" y="176"/>
                    </a:lnTo>
                    <a:lnTo>
                      <a:pt x="264" y="180"/>
                    </a:lnTo>
                    <a:lnTo>
                      <a:pt x="262" y="178"/>
                    </a:lnTo>
                    <a:lnTo>
                      <a:pt x="262" y="180"/>
                    </a:lnTo>
                    <a:lnTo>
                      <a:pt x="260" y="178"/>
                    </a:lnTo>
                    <a:lnTo>
                      <a:pt x="262" y="176"/>
                    </a:lnTo>
                    <a:lnTo>
                      <a:pt x="262" y="178"/>
                    </a:lnTo>
                    <a:lnTo>
                      <a:pt x="262" y="176"/>
                    </a:lnTo>
                    <a:lnTo>
                      <a:pt x="262" y="178"/>
                    </a:lnTo>
                    <a:lnTo>
                      <a:pt x="262" y="176"/>
                    </a:lnTo>
                    <a:lnTo>
                      <a:pt x="262" y="178"/>
                    </a:lnTo>
                    <a:lnTo>
                      <a:pt x="262" y="176"/>
                    </a:lnTo>
                    <a:lnTo>
                      <a:pt x="260" y="174"/>
                    </a:lnTo>
                    <a:lnTo>
                      <a:pt x="260" y="173"/>
                    </a:lnTo>
                    <a:lnTo>
                      <a:pt x="258" y="173"/>
                    </a:lnTo>
                    <a:lnTo>
                      <a:pt x="256" y="176"/>
                    </a:lnTo>
                    <a:lnTo>
                      <a:pt x="256" y="174"/>
                    </a:lnTo>
                    <a:lnTo>
                      <a:pt x="254" y="174"/>
                    </a:lnTo>
                    <a:lnTo>
                      <a:pt x="252" y="180"/>
                    </a:lnTo>
                    <a:lnTo>
                      <a:pt x="252" y="182"/>
                    </a:lnTo>
                    <a:lnTo>
                      <a:pt x="250" y="182"/>
                    </a:lnTo>
                    <a:lnTo>
                      <a:pt x="248" y="184"/>
                    </a:lnTo>
                    <a:lnTo>
                      <a:pt x="244" y="182"/>
                    </a:lnTo>
                    <a:lnTo>
                      <a:pt x="244" y="184"/>
                    </a:lnTo>
                    <a:lnTo>
                      <a:pt x="242" y="184"/>
                    </a:lnTo>
                    <a:lnTo>
                      <a:pt x="242" y="186"/>
                    </a:lnTo>
                    <a:lnTo>
                      <a:pt x="242" y="188"/>
                    </a:lnTo>
                    <a:lnTo>
                      <a:pt x="239" y="190"/>
                    </a:lnTo>
                    <a:lnTo>
                      <a:pt x="235" y="190"/>
                    </a:lnTo>
                    <a:lnTo>
                      <a:pt x="229" y="188"/>
                    </a:lnTo>
                    <a:lnTo>
                      <a:pt x="227" y="188"/>
                    </a:lnTo>
                    <a:lnTo>
                      <a:pt x="225" y="188"/>
                    </a:lnTo>
                    <a:lnTo>
                      <a:pt x="223" y="190"/>
                    </a:lnTo>
                    <a:lnTo>
                      <a:pt x="221" y="190"/>
                    </a:lnTo>
                    <a:lnTo>
                      <a:pt x="216" y="194"/>
                    </a:lnTo>
                    <a:lnTo>
                      <a:pt x="208" y="190"/>
                    </a:lnTo>
                    <a:lnTo>
                      <a:pt x="206" y="190"/>
                    </a:lnTo>
                    <a:lnTo>
                      <a:pt x="206" y="188"/>
                    </a:lnTo>
                    <a:lnTo>
                      <a:pt x="204" y="188"/>
                    </a:lnTo>
                    <a:lnTo>
                      <a:pt x="202" y="188"/>
                    </a:lnTo>
                    <a:lnTo>
                      <a:pt x="202" y="190"/>
                    </a:lnTo>
                    <a:lnTo>
                      <a:pt x="200" y="192"/>
                    </a:lnTo>
                    <a:lnTo>
                      <a:pt x="198" y="192"/>
                    </a:lnTo>
                    <a:lnTo>
                      <a:pt x="198" y="194"/>
                    </a:lnTo>
                    <a:lnTo>
                      <a:pt x="198" y="196"/>
                    </a:lnTo>
                    <a:lnTo>
                      <a:pt x="198" y="198"/>
                    </a:lnTo>
                    <a:lnTo>
                      <a:pt x="198" y="199"/>
                    </a:lnTo>
                    <a:lnTo>
                      <a:pt x="198" y="201"/>
                    </a:lnTo>
                    <a:lnTo>
                      <a:pt x="198" y="203"/>
                    </a:lnTo>
                    <a:lnTo>
                      <a:pt x="196" y="203"/>
                    </a:lnTo>
                    <a:lnTo>
                      <a:pt x="191" y="203"/>
                    </a:lnTo>
                    <a:lnTo>
                      <a:pt x="189" y="203"/>
                    </a:lnTo>
                    <a:lnTo>
                      <a:pt x="187" y="203"/>
                    </a:lnTo>
                    <a:lnTo>
                      <a:pt x="185" y="203"/>
                    </a:lnTo>
                    <a:lnTo>
                      <a:pt x="181" y="205"/>
                    </a:lnTo>
                    <a:lnTo>
                      <a:pt x="177" y="207"/>
                    </a:lnTo>
                    <a:lnTo>
                      <a:pt x="175" y="207"/>
                    </a:lnTo>
                    <a:lnTo>
                      <a:pt x="171" y="209"/>
                    </a:lnTo>
                    <a:lnTo>
                      <a:pt x="169" y="209"/>
                    </a:lnTo>
                    <a:lnTo>
                      <a:pt x="168" y="209"/>
                    </a:lnTo>
                    <a:lnTo>
                      <a:pt x="168" y="207"/>
                    </a:lnTo>
                    <a:lnTo>
                      <a:pt x="166" y="207"/>
                    </a:lnTo>
                    <a:lnTo>
                      <a:pt x="166" y="205"/>
                    </a:lnTo>
                    <a:lnTo>
                      <a:pt x="164" y="205"/>
                    </a:lnTo>
                    <a:lnTo>
                      <a:pt x="166" y="205"/>
                    </a:lnTo>
                    <a:lnTo>
                      <a:pt x="164" y="205"/>
                    </a:lnTo>
                    <a:lnTo>
                      <a:pt x="166" y="205"/>
                    </a:lnTo>
                    <a:lnTo>
                      <a:pt x="164" y="203"/>
                    </a:lnTo>
                    <a:lnTo>
                      <a:pt x="166" y="203"/>
                    </a:lnTo>
                    <a:lnTo>
                      <a:pt x="164" y="203"/>
                    </a:lnTo>
                    <a:lnTo>
                      <a:pt x="164" y="201"/>
                    </a:lnTo>
                    <a:lnTo>
                      <a:pt x="162" y="203"/>
                    </a:lnTo>
                    <a:lnTo>
                      <a:pt x="162" y="205"/>
                    </a:lnTo>
                    <a:lnTo>
                      <a:pt x="164" y="205"/>
                    </a:lnTo>
                    <a:lnTo>
                      <a:pt x="164" y="207"/>
                    </a:lnTo>
                    <a:lnTo>
                      <a:pt x="162" y="207"/>
                    </a:lnTo>
                    <a:lnTo>
                      <a:pt x="164" y="207"/>
                    </a:lnTo>
                    <a:lnTo>
                      <a:pt x="162" y="207"/>
                    </a:lnTo>
                    <a:lnTo>
                      <a:pt x="162" y="209"/>
                    </a:lnTo>
                    <a:lnTo>
                      <a:pt x="162" y="211"/>
                    </a:lnTo>
                    <a:lnTo>
                      <a:pt x="160" y="215"/>
                    </a:lnTo>
                    <a:lnTo>
                      <a:pt x="158" y="223"/>
                    </a:lnTo>
                    <a:lnTo>
                      <a:pt x="156" y="228"/>
                    </a:lnTo>
                    <a:lnTo>
                      <a:pt x="156" y="230"/>
                    </a:lnTo>
                    <a:lnTo>
                      <a:pt x="156" y="232"/>
                    </a:lnTo>
                    <a:lnTo>
                      <a:pt x="156" y="234"/>
                    </a:lnTo>
                    <a:lnTo>
                      <a:pt x="154" y="236"/>
                    </a:lnTo>
                    <a:lnTo>
                      <a:pt x="150" y="240"/>
                    </a:lnTo>
                    <a:lnTo>
                      <a:pt x="152" y="240"/>
                    </a:lnTo>
                    <a:lnTo>
                      <a:pt x="154" y="242"/>
                    </a:lnTo>
                    <a:lnTo>
                      <a:pt x="152" y="244"/>
                    </a:lnTo>
                    <a:lnTo>
                      <a:pt x="152" y="246"/>
                    </a:lnTo>
                    <a:lnTo>
                      <a:pt x="154" y="246"/>
                    </a:lnTo>
                    <a:lnTo>
                      <a:pt x="144" y="249"/>
                    </a:lnTo>
                    <a:lnTo>
                      <a:pt x="141" y="249"/>
                    </a:lnTo>
                    <a:lnTo>
                      <a:pt x="133" y="249"/>
                    </a:lnTo>
                    <a:lnTo>
                      <a:pt x="131" y="251"/>
                    </a:lnTo>
                    <a:lnTo>
                      <a:pt x="131" y="249"/>
                    </a:lnTo>
                    <a:lnTo>
                      <a:pt x="129" y="249"/>
                    </a:lnTo>
                    <a:lnTo>
                      <a:pt x="129" y="248"/>
                    </a:lnTo>
                    <a:lnTo>
                      <a:pt x="129" y="246"/>
                    </a:lnTo>
                    <a:lnTo>
                      <a:pt x="127" y="246"/>
                    </a:lnTo>
                    <a:lnTo>
                      <a:pt x="127" y="244"/>
                    </a:lnTo>
                    <a:lnTo>
                      <a:pt x="125" y="244"/>
                    </a:lnTo>
                    <a:lnTo>
                      <a:pt x="127" y="244"/>
                    </a:lnTo>
                    <a:lnTo>
                      <a:pt x="127" y="242"/>
                    </a:lnTo>
                    <a:lnTo>
                      <a:pt x="127" y="240"/>
                    </a:lnTo>
                    <a:lnTo>
                      <a:pt x="127" y="238"/>
                    </a:lnTo>
                    <a:lnTo>
                      <a:pt x="127" y="236"/>
                    </a:lnTo>
                    <a:lnTo>
                      <a:pt x="127" y="234"/>
                    </a:lnTo>
                    <a:lnTo>
                      <a:pt x="127" y="232"/>
                    </a:lnTo>
                    <a:lnTo>
                      <a:pt x="129" y="232"/>
                    </a:lnTo>
                    <a:lnTo>
                      <a:pt x="129" y="230"/>
                    </a:lnTo>
                    <a:lnTo>
                      <a:pt x="129" y="228"/>
                    </a:lnTo>
                    <a:lnTo>
                      <a:pt x="129" y="226"/>
                    </a:lnTo>
                    <a:lnTo>
                      <a:pt x="127" y="226"/>
                    </a:lnTo>
                    <a:lnTo>
                      <a:pt x="129" y="226"/>
                    </a:lnTo>
                    <a:lnTo>
                      <a:pt x="129" y="224"/>
                    </a:lnTo>
                    <a:lnTo>
                      <a:pt x="127" y="224"/>
                    </a:lnTo>
                    <a:lnTo>
                      <a:pt x="127" y="223"/>
                    </a:lnTo>
                    <a:lnTo>
                      <a:pt x="129" y="223"/>
                    </a:lnTo>
                    <a:lnTo>
                      <a:pt x="129" y="221"/>
                    </a:lnTo>
                    <a:lnTo>
                      <a:pt x="127" y="221"/>
                    </a:lnTo>
                    <a:lnTo>
                      <a:pt x="129" y="221"/>
                    </a:lnTo>
                    <a:lnTo>
                      <a:pt x="127" y="219"/>
                    </a:lnTo>
                    <a:lnTo>
                      <a:pt x="129" y="219"/>
                    </a:lnTo>
                    <a:lnTo>
                      <a:pt x="129" y="217"/>
                    </a:lnTo>
                    <a:lnTo>
                      <a:pt x="129" y="215"/>
                    </a:lnTo>
                    <a:lnTo>
                      <a:pt x="127" y="215"/>
                    </a:lnTo>
                    <a:lnTo>
                      <a:pt x="127" y="213"/>
                    </a:lnTo>
                    <a:lnTo>
                      <a:pt x="127" y="211"/>
                    </a:lnTo>
                    <a:lnTo>
                      <a:pt x="127" y="209"/>
                    </a:lnTo>
                    <a:lnTo>
                      <a:pt x="127" y="207"/>
                    </a:lnTo>
                    <a:lnTo>
                      <a:pt x="125" y="207"/>
                    </a:lnTo>
                    <a:lnTo>
                      <a:pt x="125" y="205"/>
                    </a:lnTo>
                    <a:lnTo>
                      <a:pt x="127" y="205"/>
                    </a:lnTo>
                    <a:lnTo>
                      <a:pt x="127" y="203"/>
                    </a:lnTo>
                    <a:lnTo>
                      <a:pt x="125" y="203"/>
                    </a:lnTo>
                    <a:lnTo>
                      <a:pt x="125" y="201"/>
                    </a:lnTo>
                    <a:lnTo>
                      <a:pt x="125" y="199"/>
                    </a:lnTo>
                    <a:lnTo>
                      <a:pt x="125" y="198"/>
                    </a:lnTo>
                    <a:lnTo>
                      <a:pt x="123" y="196"/>
                    </a:lnTo>
                    <a:lnTo>
                      <a:pt x="121" y="198"/>
                    </a:lnTo>
                    <a:lnTo>
                      <a:pt x="119" y="198"/>
                    </a:lnTo>
                    <a:lnTo>
                      <a:pt x="118" y="199"/>
                    </a:lnTo>
                    <a:lnTo>
                      <a:pt x="116" y="199"/>
                    </a:lnTo>
                    <a:lnTo>
                      <a:pt x="112" y="196"/>
                    </a:lnTo>
                    <a:lnTo>
                      <a:pt x="112" y="198"/>
                    </a:lnTo>
                    <a:lnTo>
                      <a:pt x="110" y="196"/>
                    </a:lnTo>
                    <a:lnTo>
                      <a:pt x="112" y="192"/>
                    </a:lnTo>
                    <a:lnTo>
                      <a:pt x="110" y="192"/>
                    </a:lnTo>
                    <a:lnTo>
                      <a:pt x="114" y="188"/>
                    </a:lnTo>
                    <a:lnTo>
                      <a:pt x="108" y="184"/>
                    </a:lnTo>
                    <a:lnTo>
                      <a:pt x="108" y="186"/>
                    </a:lnTo>
                    <a:lnTo>
                      <a:pt x="104" y="184"/>
                    </a:lnTo>
                    <a:lnTo>
                      <a:pt x="104" y="182"/>
                    </a:lnTo>
                    <a:lnTo>
                      <a:pt x="104" y="180"/>
                    </a:lnTo>
                    <a:lnTo>
                      <a:pt x="102" y="180"/>
                    </a:lnTo>
                    <a:lnTo>
                      <a:pt x="104" y="178"/>
                    </a:lnTo>
                    <a:lnTo>
                      <a:pt x="104" y="176"/>
                    </a:lnTo>
                    <a:lnTo>
                      <a:pt x="102" y="176"/>
                    </a:lnTo>
                    <a:lnTo>
                      <a:pt x="104" y="174"/>
                    </a:lnTo>
                    <a:lnTo>
                      <a:pt x="106" y="173"/>
                    </a:lnTo>
                    <a:lnTo>
                      <a:pt x="104" y="173"/>
                    </a:lnTo>
                    <a:lnTo>
                      <a:pt x="102" y="171"/>
                    </a:lnTo>
                    <a:lnTo>
                      <a:pt x="104" y="171"/>
                    </a:lnTo>
                    <a:lnTo>
                      <a:pt x="104" y="169"/>
                    </a:lnTo>
                    <a:lnTo>
                      <a:pt x="104" y="167"/>
                    </a:lnTo>
                    <a:lnTo>
                      <a:pt x="102" y="167"/>
                    </a:lnTo>
                    <a:lnTo>
                      <a:pt x="102" y="169"/>
                    </a:lnTo>
                    <a:lnTo>
                      <a:pt x="102" y="167"/>
                    </a:lnTo>
                    <a:lnTo>
                      <a:pt x="100" y="167"/>
                    </a:lnTo>
                    <a:lnTo>
                      <a:pt x="100" y="165"/>
                    </a:lnTo>
                    <a:lnTo>
                      <a:pt x="98" y="165"/>
                    </a:lnTo>
                    <a:lnTo>
                      <a:pt x="96" y="169"/>
                    </a:lnTo>
                    <a:lnTo>
                      <a:pt x="94" y="169"/>
                    </a:lnTo>
                    <a:lnTo>
                      <a:pt x="94" y="167"/>
                    </a:lnTo>
                    <a:lnTo>
                      <a:pt x="93" y="167"/>
                    </a:lnTo>
                    <a:lnTo>
                      <a:pt x="93" y="169"/>
                    </a:lnTo>
                    <a:lnTo>
                      <a:pt x="91" y="169"/>
                    </a:lnTo>
                    <a:lnTo>
                      <a:pt x="91" y="171"/>
                    </a:lnTo>
                    <a:lnTo>
                      <a:pt x="91" y="173"/>
                    </a:lnTo>
                    <a:lnTo>
                      <a:pt x="91" y="171"/>
                    </a:lnTo>
                    <a:lnTo>
                      <a:pt x="91" y="173"/>
                    </a:lnTo>
                    <a:lnTo>
                      <a:pt x="93" y="173"/>
                    </a:lnTo>
                    <a:lnTo>
                      <a:pt x="91" y="173"/>
                    </a:lnTo>
                    <a:lnTo>
                      <a:pt x="89" y="171"/>
                    </a:lnTo>
                    <a:lnTo>
                      <a:pt x="87" y="169"/>
                    </a:lnTo>
                    <a:lnTo>
                      <a:pt x="85" y="167"/>
                    </a:lnTo>
                    <a:lnTo>
                      <a:pt x="83" y="171"/>
                    </a:lnTo>
                    <a:lnTo>
                      <a:pt x="77" y="167"/>
                    </a:lnTo>
                    <a:lnTo>
                      <a:pt x="79" y="161"/>
                    </a:lnTo>
                    <a:lnTo>
                      <a:pt x="81" y="161"/>
                    </a:lnTo>
                    <a:lnTo>
                      <a:pt x="83" y="159"/>
                    </a:lnTo>
                    <a:lnTo>
                      <a:pt x="81" y="157"/>
                    </a:lnTo>
                    <a:lnTo>
                      <a:pt x="81" y="155"/>
                    </a:lnTo>
                    <a:lnTo>
                      <a:pt x="79" y="155"/>
                    </a:lnTo>
                    <a:lnTo>
                      <a:pt x="79" y="153"/>
                    </a:lnTo>
                    <a:lnTo>
                      <a:pt x="79" y="151"/>
                    </a:lnTo>
                    <a:lnTo>
                      <a:pt x="79" y="149"/>
                    </a:lnTo>
                    <a:lnTo>
                      <a:pt x="79" y="148"/>
                    </a:lnTo>
                    <a:lnTo>
                      <a:pt x="75" y="148"/>
                    </a:lnTo>
                    <a:lnTo>
                      <a:pt x="73" y="148"/>
                    </a:lnTo>
                    <a:lnTo>
                      <a:pt x="71" y="148"/>
                    </a:lnTo>
                    <a:lnTo>
                      <a:pt x="70" y="149"/>
                    </a:lnTo>
                    <a:lnTo>
                      <a:pt x="70" y="151"/>
                    </a:lnTo>
                    <a:lnTo>
                      <a:pt x="68" y="155"/>
                    </a:lnTo>
                    <a:lnTo>
                      <a:pt x="68" y="157"/>
                    </a:lnTo>
                    <a:lnTo>
                      <a:pt x="66" y="157"/>
                    </a:lnTo>
                    <a:lnTo>
                      <a:pt x="66" y="155"/>
                    </a:lnTo>
                    <a:lnTo>
                      <a:pt x="64" y="155"/>
                    </a:lnTo>
                    <a:lnTo>
                      <a:pt x="64" y="153"/>
                    </a:lnTo>
                    <a:lnTo>
                      <a:pt x="62" y="153"/>
                    </a:lnTo>
                    <a:lnTo>
                      <a:pt x="62" y="155"/>
                    </a:lnTo>
                    <a:lnTo>
                      <a:pt x="60" y="155"/>
                    </a:lnTo>
                    <a:lnTo>
                      <a:pt x="60" y="153"/>
                    </a:lnTo>
                    <a:lnTo>
                      <a:pt x="62" y="151"/>
                    </a:lnTo>
                    <a:lnTo>
                      <a:pt x="60" y="151"/>
                    </a:lnTo>
                    <a:lnTo>
                      <a:pt x="58" y="149"/>
                    </a:lnTo>
                    <a:lnTo>
                      <a:pt x="60" y="149"/>
                    </a:lnTo>
                    <a:lnTo>
                      <a:pt x="58" y="149"/>
                    </a:lnTo>
                    <a:lnTo>
                      <a:pt x="58" y="151"/>
                    </a:lnTo>
                    <a:lnTo>
                      <a:pt x="56" y="149"/>
                    </a:lnTo>
                    <a:lnTo>
                      <a:pt x="54" y="149"/>
                    </a:lnTo>
                    <a:lnTo>
                      <a:pt x="50" y="148"/>
                    </a:lnTo>
                    <a:lnTo>
                      <a:pt x="52" y="148"/>
                    </a:lnTo>
                    <a:lnTo>
                      <a:pt x="52" y="146"/>
                    </a:lnTo>
                    <a:lnTo>
                      <a:pt x="54" y="144"/>
                    </a:lnTo>
                    <a:lnTo>
                      <a:pt x="56" y="142"/>
                    </a:lnTo>
                    <a:lnTo>
                      <a:pt x="54" y="142"/>
                    </a:lnTo>
                    <a:lnTo>
                      <a:pt x="54" y="140"/>
                    </a:lnTo>
                    <a:lnTo>
                      <a:pt x="56" y="140"/>
                    </a:lnTo>
                    <a:lnTo>
                      <a:pt x="58" y="140"/>
                    </a:lnTo>
                    <a:lnTo>
                      <a:pt x="60" y="138"/>
                    </a:lnTo>
                    <a:lnTo>
                      <a:pt x="62" y="138"/>
                    </a:lnTo>
                    <a:lnTo>
                      <a:pt x="62" y="136"/>
                    </a:lnTo>
                    <a:lnTo>
                      <a:pt x="64" y="132"/>
                    </a:lnTo>
                    <a:lnTo>
                      <a:pt x="66" y="132"/>
                    </a:lnTo>
                    <a:lnTo>
                      <a:pt x="64" y="132"/>
                    </a:lnTo>
                    <a:lnTo>
                      <a:pt x="66" y="132"/>
                    </a:lnTo>
                    <a:lnTo>
                      <a:pt x="66" y="130"/>
                    </a:lnTo>
                    <a:lnTo>
                      <a:pt x="66" y="128"/>
                    </a:lnTo>
                    <a:lnTo>
                      <a:pt x="64" y="128"/>
                    </a:lnTo>
                    <a:lnTo>
                      <a:pt x="64" y="126"/>
                    </a:lnTo>
                    <a:lnTo>
                      <a:pt x="64" y="128"/>
                    </a:lnTo>
                    <a:lnTo>
                      <a:pt x="66" y="126"/>
                    </a:lnTo>
                    <a:lnTo>
                      <a:pt x="64" y="126"/>
                    </a:lnTo>
                    <a:lnTo>
                      <a:pt x="64" y="124"/>
                    </a:lnTo>
                    <a:lnTo>
                      <a:pt x="66" y="124"/>
                    </a:lnTo>
                    <a:lnTo>
                      <a:pt x="66" y="123"/>
                    </a:lnTo>
                    <a:lnTo>
                      <a:pt x="66" y="121"/>
                    </a:lnTo>
                    <a:lnTo>
                      <a:pt x="68" y="121"/>
                    </a:lnTo>
                    <a:lnTo>
                      <a:pt x="66" y="121"/>
                    </a:lnTo>
                    <a:lnTo>
                      <a:pt x="66" y="119"/>
                    </a:lnTo>
                    <a:lnTo>
                      <a:pt x="66" y="117"/>
                    </a:lnTo>
                    <a:lnTo>
                      <a:pt x="64" y="117"/>
                    </a:lnTo>
                    <a:lnTo>
                      <a:pt x="64" y="115"/>
                    </a:lnTo>
                    <a:lnTo>
                      <a:pt x="64" y="113"/>
                    </a:lnTo>
                    <a:lnTo>
                      <a:pt x="66" y="113"/>
                    </a:lnTo>
                    <a:lnTo>
                      <a:pt x="64" y="113"/>
                    </a:lnTo>
                    <a:lnTo>
                      <a:pt x="64" y="111"/>
                    </a:lnTo>
                    <a:lnTo>
                      <a:pt x="64" y="109"/>
                    </a:lnTo>
                    <a:lnTo>
                      <a:pt x="62" y="111"/>
                    </a:lnTo>
                    <a:lnTo>
                      <a:pt x="64" y="111"/>
                    </a:lnTo>
                    <a:lnTo>
                      <a:pt x="62" y="111"/>
                    </a:lnTo>
                    <a:lnTo>
                      <a:pt x="60" y="111"/>
                    </a:lnTo>
                    <a:lnTo>
                      <a:pt x="60" y="109"/>
                    </a:lnTo>
                    <a:lnTo>
                      <a:pt x="62" y="107"/>
                    </a:lnTo>
                    <a:lnTo>
                      <a:pt x="60" y="107"/>
                    </a:lnTo>
                    <a:lnTo>
                      <a:pt x="60" y="105"/>
                    </a:lnTo>
                    <a:lnTo>
                      <a:pt x="60" y="107"/>
                    </a:lnTo>
                    <a:lnTo>
                      <a:pt x="60" y="105"/>
                    </a:lnTo>
                    <a:lnTo>
                      <a:pt x="60" y="107"/>
                    </a:lnTo>
                    <a:lnTo>
                      <a:pt x="58" y="107"/>
                    </a:lnTo>
                    <a:lnTo>
                      <a:pt x="58" y="105"/>
                    </a:lnTo>
                    <a:lnTo>
                      <a:pt x="58" y="107"/>
                    </a:lnTo>
                    <a:lnTo>
                      <a:pt x="58" y="105"/>
                    </a:lnTo>
                    <a:lnTo>
                      <a:pt x="58" y="107"/>
                    </a:lnTo>
                    <a:lnTo>
                      <a:pt x="56" y="107"/>
                    </a:lnTo>
                    <a:lnTo>
                      <a:pt x="56" y="105"/>
                    </a:lnTo>
                    <a:lnTo>
                      <a:pt x="54" y="103"/>
                    </a:lnTo>
                    <a:lnTo>
                      <a:pt x="52" y="101"/>
                    </a:lnTo>
                    <a:lnTo>
                      <a:pt x="52" y="103"/>
                    </a:lnTo>
                    <a:lnTo>
                      <a:pt x="50" y="105"/>
                    </a:lnTo>
                    <a:lnTo>
                      <a:pt x="50" y="103"/>
                    </a:lnTo>
                    <a:lnTo>
                      <a:pt x="48" y="103"/>
                    </a:lnTo>
                    <a:lnTo>
                      <a:pt x="50" y="101"/>
                    </a:lnTo>
                    <a:lnTo>
                      <a:pt x="50" y="99"/>
                    </a:lnTo>
                    <a:lnTo>
                      <a:pt x="50" y="98"/>
                    </a:lnTo>
                    <a:lnTo>
                      <a:pt x="48" y="98"/>
                    </a:lnTo>
                    <a:lnTo>
                      <a:pt x="48" y="96"/>
                    </a:lnTo>
                    <a:lnTo>
                      <a:pt x="48" y="98"/>
                    </a:lnTo>
                    <a:lnTo>
                      <a:pt x="46" y="98"/>
                    </a:lnTo>
                    <a:lnTo>
                      <a:pt x="45" y="96"/>
                    </a:lnTo>
                    <a:lnTo>
                      <a:pt x="45" y="98"/>
                    </a:lnTo>
                    <a:lnTo>
                      <a:pt x="45" y="96"/>
                    </a:lnTo>
                    <a:lnTo>
                      <a:pt x="43" y="96"/>
                    </a:lnTo>
                    <a:lnTo>
                      <a:pt x="43" y="94"/>
                    </a:lnTo>
                    <a:lnTo>
                      <a:pt x="41" y="94"/>
                    </a:lnTo>
                    <a:lnTo>
                      <a:pt x="39" y="96"/>
                    </a:lnTo>
                    <a:lnTo>
                      <a:pt x="39" y="98"/>
                    </a:lnTo>
                    <a:lnTo>
                      <a:pt x="37" y="98"/>
                    </a:lnTo>
                    <a:lnTo>
                      <a:pt x="37" y="99"/>
                    </a:lnTo>
                    <a:lnTo>
                      <a:pt x="35" y="98"/>
                    </a:lnTo>
                    <a:lnTo>
                      <a:pt x="35" y="96"/>
                    </a:lnTo>
                    <a:lnTo>
                      <a:pt x="33" y="98"/>
                    </a:lnTo>
                    <a:lnTo>
                      <a:pt x="33" y="96"/>
                    </a:lnTo>
                    <a:lnTo>
                      <a:pt x="31" y="96"/>
                    </a:lnTo>
                    <a:lnTo>
                      <a:pt x="31" y="98"/>
                    </a:lnTo>
                    <a:lnTo>
                      <a:pt x="33" y="94"/>
                    </a:lnTo>
                    <a:lnTo>
                      <a:pt x="33" y="92"/>
                    </a:lnTo>
                    <a:lnTo>
                      <a:pt x="31" y="92"/>
                    </a:lnTo>
                    <a:lnTo>
                      <a:pt x="31" y="90"/>
                    </a:lnTo>
                    <a:lnTo>
                      <a:pt x="29" y="90"/>
                    </a:lnTo>
                    <a:lnTo>
                      <a:pt x="27" y="92"/>
                    </a:lnTo>
                    <a:lnTo>
                      <a:pt x="25" y="92"/>
                    </a:lnTo>
                    <a:lnTo>
                      <a:pt x="25" y="90"/>
                    </a:lnTo>
                    <a:lnTo>
                      <a:pt x="23" y="90"/>
                    </a:lnTo>
                    <a:lnTo>
                      <a:pt x="21" y="90"/>
                    </a:lnTo>
                    <a:lnTo>
                      <a:pt x="21" y="88"/>
                    </a:lnTo>
                    <a:lnTo>
                      <a:pt x="21" y="90"/>
                    </a:lnTo>
                    <a:lnTo>
                      <a:pt x="20" y="90"/>
                    </a:lnTo>
                    <a:lnTo>
                      <a:pt x="21" y="90"/>
                    </a:lnTo>
                    <a:lnTo>
                      <a:pt x="20" y="90"/>
                    </a:lnTo>
                    <a:lnTo>
                      <a:pt x="20" y="92"/>
                    </a:lnTo>
                    <a:lnTo>
                      <a:pt x="18" y="92"/>
                    </a:lnTo>
                    <a:lnTo>
                      <a:pt x="16" y="90"/>
                    </a:lnTo>
                    <a:lnTo>
                      <a:pt x="14" y="90"/>
                    </a:lnTo>
                    <a:lnTo>
                      <a:pt x="10" y="90"/>
                    </a:lnTo>
                    <a:lnTo>
                      <a:pt x="10" y="88"/>
                    </a:lnTo>
                    <a:lnTo>
                      <a:pt x="10" y="90"/>
                    </a:lnTo>
                    <a:lnTo>
                      <a:pt x="8" y="90"/>
                    </a:lnTo>
                    <a:lnTo>
                      <a:pt x="6" y="90"/>
                    </a:lnTo>
                    <a:lnTo>
                      <a:pt x="6" y="88"/>
                    </a:lnTo>
                    <a:lnTo>
                      <a:pt x="6" y="84"/>
                    </a:lnTo>
                    <a:lnTo>
                      <a:pt x="6" y="82"/>
                    </a:lnTo>
                    <a:lnTo>
                      <a:pt x="6" y="80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2" y="74"/>
                    </a:lnTo>
                    <a:lnTo>
                      <a:pt x="2" y="73"/>
                    </a:lnTo>
                    <a:lnTo>
                      <a:pt x="0" y="67"/>
                    </a:lnTo>
                    <a:lnTo>
                      <a:pt x="2" y="67"/>
                    </a:lnTo>
                    <a:lnTo>
                      <a:pt x="4" y="67"/>
                    </a:lnTo>
                    <a:lnTo>
                      <a:pt x="4" y="65"/>
                    </a:lnTo>
                    <a:lnTo>
                      <a:pt x="2" y="65"/>
                    </a:lnTo>
                    <a:lnTo>
                      <a:pt x="2" y="61"/>
                    </a:lnTo>
                    <a:lnTo>
                      <a:pt x="2" y="59"/>
                    </a:lnTo>
                    <a:lnTo>
                      <a:pt x="4" y="59"/>
                    </a:lnTo>
                    <a:lnTo>
                      <a:pt x="4" y="57"/>
                    </a:lnTo>
                    <a:lnTo>
                      <a:pt x="6" y="57"/>
                    </a:lnTo>
                    <a:lnTo>
                      <a:pt x="4" y="55"/>
                    </a:lnTo>
                    <a:lnTo>
                      <a:pt x="4" y="57"/>
                    </a:lnTo>
                    <a:lnTo>
                      <a:pt x="4" y="49"/>
                    </a:lnTo>
                    <a:lnTo>
                      <a:pt x="4" y="48"/>
                    </a:lnTo>
                    <a:lnTo>
                      <a:pt x="2" y="44"/>
                    </a:lnTo>
                    <a:lnTo>
                      <a:pt x="0" y="42"/>
                    </a:lnTo>
                    <a:lnTo>
                      <a:pt x="2" y="42"/>
                    </a:lnTo>
                    <a:lnTo>
                      <a:pt x="2" y="40"/>
                    </a:lnTo>
                    <a:lnTo>
                      <a:pt x="2" y="38"/>
                    </a:lnTo>
                    <a:lnTo>
                      <a:pt x="2" y="36"/>
                    </a:lnTo>
                    <a:lnTo>
                      <a:pt x="4" y="34"/>
                    </a:lnTo>
                    <a:lnTo>
                      <a:pt x="4" y="32"/>
                    </a:lnTo>
                    <a:lnTo>
                      <a:pt x="6" y="32"/>
                    </a:lnTo>
                    <a:lnTo>
                      <a:pt x="6" y="30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2" y="28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6" y="26"/>
                    </a:lnTo>
                    <a:lnTo>
                      <a:pt x="18" y="26"/>
                    </a:lnTo>
                    <a:lnTo>
                      <a:pt x="18" y="24"/>
                    </a:lnTo>
                    <a:lnTo>
                      <a:pt x="18" y="23"/>
                    </a:lnTo>
                    <a:lnTo>
                      <a:pt x="20" y="23"/>
                    </a:lnTo>
                    <a:lnTo>
                      <a:pt x="20" y="21"/>
                    </a:lnTo>
                    <a:lnTo>
                      <a:pt x="21" y="21"/>
                    </a:lnTo>
                    <a:lnTo>
                      <a:pt x="21" y="19"/>
                    </a:lnTo>
                    <a:lnTo>
                      <a:pt x="23" y="19"/>
                    </a:lnTo>
                    <a:lnTo>
                      <a:pt x="25" y="19"/>
                    </a:lnTo>
                    <a:lnTo>
                      <a:pt x="25" y="17"/>
                    </a:lnTo>
                    <a:lnTo>
                      <a:pt x="25" y="15"/>
                    </a:lnTo>
                    <a:lnTo>
                      <a:pt x="25" y="17"/>
                    </a:lnTo>
                    <a:lnTo>
                      <a:pt x="25" y="15"/>
                    </a:lnTo>
                    <a:lnTo>
                      <a:pt x="27" y="15"/>
                    </a:lnTo>
                    <a:lnTo>
                      <a:pt x="25" y="15"/>
                    </a:lnTo>
                    <a:lnTo>
                      <a:pt x="27" y="15"/>
                    </a:lnTo>
                    <a:lnTo>
                      <a:pt x="25" y="13"/>
                    </a:lnTo>
                    <a:lnTo>
                      <a:pt x="27" y="13"/>
                    </a:lnTo>
                    <a:lnTo>
                      <a:pt x="27" y="11"/>
                    </a:lnTo>
                    <a:lnTo>
                      <a:pt x="29" y="11"/>
                    </a:lnTo>
                    <a:lnTo>
                      <a:pt x="29" y="9"/>
                    </a:lnTo>
                    <a:lnTo>
                      <a:pt x="31" y="7"/>
                    </a:lnTo>
                    <a:lnTo>
                      <a:pt x="31" y="9"/>
                    </a:lnTo>
                    <a:lnTo>
                      <a:pt x="31" y="7"/>
                    </a:lnTo>
                    <a:lnTo>
                      <a:pt x="33" y="7"/>
                    </a:lnTo>
                    <a:lnTo>
                      <a:pt x="33" y="9"/>
                    </a:lnTo>
                    <a:lnTo>
                      <a:pt x="33" y="7"/>
                    </a:lnTo>
                    <a:lnTo>
                      <a:pt x="35" y="9"/>
                    </a:lnTo>
                    <a:lnTo>
                      <a:pt x="35" y="7"/>
                    </a:lnTo>
                    <a:lnTo>
                      <a:pt x="37" y="7"/>
                    </a:lnTo>
                    <a:lnTo>
                      <a:pt x="37" y="5"/>
                    </a:lnTo>
                    <a:lnTo>
                      <a:pt x="39" y="5"/>
                    </a:lnTo>
                    <a:lnTo>
                      <a:pt x="39" y="3"/>
                    </a:lnTo>
                    <a:lnTo>
                      <a:pt x="41" y="1"/>
                    </a:lnTo>
                    <a:lnTo>
                      <a:pt x="41" y="0"/>
                    </a:lnTo>
                    <a:lnTo>
                      <a:pt x="43" y="1"/>
                    </a:lnTo>
                    <a:lnTo>
                      <a:pt x="43" y="3"/>
                    </a:lnTo>
                    <a:lnTo>
                      <a:pt x="45" y="1"/>
                    </a:lnTo>
                    <a:lnTo>
                      <a:pt x="45" y="3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6" y="3"/>
                    </a:lnTo>
                    <a:lnTo>
                      <a:pt x="48" y="1"/>
                    </a:lnTo>
                    <a:lnTo>
                      <a:pt x="50" y="0"/>
                    </a:lnTo>
                    <a:lnTo>
                      <a:pt x="52" y="0"/>
                    </a:lnTo>
                    <a:lnTo>
                      <a:pt x="52" y="1"/>
                    </a:lnTo>
                    <a:lnTo>
                      <a:pt x="54" y="1"/>
                    </a:lnTo>
                    <a:lnTo>
                      <a:pt x="52" y="1"/>
                    </a:lnTo>
                    <a:lnTo>
                      <a:pt x="54" y="1"/>
                    </a:lnTo>
                    <a:lnTo>
                      <a:pt x="54" y="3"/>
                    </a:lnTo>
                    <a:lnTo>
                      <a:pt x="54" y="5"/>
                    </a:lnTo>
                    <a:lnTo>
                      <a:pt x="54" y="7"/>
                    </a:lnTo>
                    <a:lnTo>
                      <a:pt x="56" y="7"/>
                    </a:lnTo>
                    <a:lnTo>
                      <a:pt x="56" y="9"/>
                    </a:lnTo>
                    <a:lnTo>
                      <a:pt x="58" y="9"/>
                    </a:lnTo>
                    <a:lnTo>
                      <a:pt x="60" y="9"/>
                    </a:lnTo>
                    <a:lnTo>
                      <a:pt x="62" y="9"/>
                    </a:lnTo>
                    <a:lnTo>
                      <a:pt x="64" y="11"/>
                    </a:lnTo>
                    <a:lnTo>
                      <a:pt x="66" y="11"/>
                    </a:lnTo>
                    <a:lnTo>
                      <a:pt x="68" y="11"/>
                    </a:lnTo>
                    <a:lnTo>
                      <a:pt x="70" y="11"/>
                    </a:lnTo>
                    <a:lnTo>
                      <a:pt x="70" y="13"/>
                    </a:lnTo>
                    <a:lnTo>
                      <a:pt x="70" y="15"/>
                    </a:lnTo>
                    <a:lnTo>
                      <a:pt x="71" y="15"/>
                    </a:lnTo>
                    <a:lnTo>
                      <a:pt x="71" y="17"/>
                    </a:lnTo>
                    <a:lnTo>
                      <a:pt x="73" y="17"/>
                    </a:lnTo>
                    <a:lnTo>
                      <a:pt x="73" y="19"/>
                    </a:lnTo>
                    <a:lnTo>
                      <a:pt x="73" y="21"/>
                    </a:lnTo>
                    <a:lnTo>
                      <a:pt x="73" y="23"/>
                    </a:lnTo>
                    <a:lnTo>
                      <a:pt x="75" y="21"/>
                    </a:lnTo>
                    <a:lnTo>
                      <a:pt x="75" y="23"/>
                    </a:lnTo>
                    <a:lnTo>
                      <a:pt x="77" y="23"/>
                    </a:lnTo>
                    <a:lnTo>
                      <a:pt x="77" y="24"/>
                    </a:lnTo>
                    <a:lnTo>
                      <a:pt x="79" y="24"/>
                    </a:lnTo>
                    <a:lnTo>
                      <a:pt x="79" y="26"/>
                    </a:lnTo>
                    <a:lnTo>
                      <a:pt x="81" y="26"/>
                    </a:lnTo>
                    <a:lnTo>
                      <a:pt x="81" y="28"/>
                    </a:lnTo>
                    <a:lnTo>
                      <a:pt x="83" y="28"/>
                    </a:lnTo>
                    <a:lnTo>
                      <a:pt x="81" y="28"/>
                    </a:lnTo>
                    <a:lnTo>
                      <a:pt x="83" y="26"/>
                    </a:lnTo>
                    <a:lnTo>
                      <a:pt x="85" y="26"/>
                    </a:lnTo>
                    <a:lnTo>
                      <a:pt x="85" y="24"/>
                    </a:lnTo>
                    <a:lnTo>
                      <a:pt x="87" y="24"/>
                    </a:lnTo>
                    <a:lnTo>
                      <a:pt x="89" y="24"/>
                    </a:lnTo>
                    <a:lnTo>
                      <a:pt x="91" y="24"/>
                    </a:lnTo>
                    <a:lnTo>
                      <a:pt x="93" y="24"/>
                    </a:lnTo>
                    <a:lnTo>
                      <a:pt x="93" y="23"/>
                    </a:lnTo>
                    <a:lnTo>
                      <a:pt x="93" y="21"/>
                    </a:lnTo>
                    <a:lnTo>
                      <a:pt x="94" y="21"/>
                    </a:lnTo>
                    <a:lnTo>
                      <a:pt x="94" y="19"/>
                    </a:lnTo>
                    <a:lnTo>
                      <a:pt x="96" y="19"/>
                    </a:lnTo>
                    <a:lnTo>
                      <a:pt x="96" y="21"/>
                    </a:lnTo>
                    <a:lnTo>
                      <a:pt x="96" y="23"/>
                    </a:lnTo>
                    <a:lnTo>
                      <a:pt x="98" y="24"/>
                    </a:lnTo>
                    <a:lnTo>
                      <a:pt x="98" y="26"/>
                    </a:lnTo>
                    <a:lnTo>
                      <a:pt x="100" y="28"/>
                    </a:lnTo>
                    <a:lnTo>
                      <a:pt x="102" y="28"/>
                    </a:lnTo>
                    <a:lnTo>
                      <a:pt x="102" y="30"/>
                    </a:lnTo>
                    <a:lnTo>
                      <a:pt x="104" y="32"/>
                    </a:lnTo>
                    <a:lnTo>
                      <a:pt x="102" y="34"/>
                    </a:lnTo>
                    <a:lnTo>
                      <a:pt x="100" y="36"/>
                    </a:lnTo>
                    <a:lnTo>
                      <a:pt x="102" y="36"/>
                    </a:lnTo>
                    <a:lnTo>
                      <a:pt x="104" y="36"/>
                    </a:lnTo>
                    <a:lnTo>
                      <a:pt x="104" y="38"/>
                    </a:lnTo>
                    <a:lnTo>
                      <a:pt x="104" y="40"/>
                    </a:lnTo>
                    <a:lnTo>
                      <a:pt x="104" y="42"/>
                    </a:lnTo>
                    <a:lnTo>
                      <a:pt x="106" y="42"/>
                    </a:lnTo>
                    <a:lnTo>
                      <a:pt x="106" y="40"/>
                    </a:lnTo>
                    <a:lnTo>
                      <a:pt x="106" y="38"/>
                    </a:lnTo>
                    <a:lnTo>
                      <a:pt x="108" y="38"/>
                    </a:lnTo>
                    <a:lnTo>
                      <a:pt x="108" y="36"/>
                    </a:lnTo>
                    <a:lnTo>
                      <a:pt x="108" y="38"/>
                    </a:lnTo>
                    <a:lnTo>
                      <a:pt x="108" y="36"/>
                    </a:lnTo>
                    <a:lnTo>
                      <a:pt x="110" y="36"/>
                    </a:lnTo>
                    <a:lnTo>
                      <a:pt x="112" y="36"/>
                    </a:lnTo>
                    <a:lnTo>
                      <a:pt x="112" y="38"/>
                    </a:lnTo>
                    <a:lnTo>
                      <a:pt x="112" y="40"/>
                    </a:lnTo>
                    <a:lnTo>
                      <a:pt x="114" y="40"/>
                    </a:lnTo>
                    <a:lnTo>
                      <a:pt x="114" y="42"/>
                    </a:lnTo>
                    <a:lnTo>
                      <a:pt x="114" y="40"/>
                    </a:lnTo>
                    <a:lnTo>
                      <a:pt x="116" y="40"/>
                    </a:lnTo>
                    <a:lnTo>
                      <a:pt x="118" y="40"/>
                    </a:lnTo>
                    <a:lnTo>
                      <a:pt x="116" y="42"/>
                    </a:lnTo>
                    <a:lnTo>
                      <a:pt x="118" y="42"/>
                    </a:lnTo>
                    <a:lnTo>
                      <a:pt x="119" y="42"/>
                    </a:lnTo>
                    <a:lnTo>
                      <a:pt x="121" y="40"/>
                    </a:lnTo>
                    <a:lnTo>
                      <a:pt x="121" y="42"/>
                    </a:lnTo>
                    <a:lnTo>
                      <a:pt x="123" y="42"/>
                    </a:lnTo>
                    <a:lnTo>
                      <a:pt x="123" y="40"/>
                    </a:lnTo>
                    <a:lnTo>
                      <a:pt x="125" y="38"/>
                    </a:lnTo>
                    <a:lnTo>
                      <a:pt x="125" y="40"/>
                    </a:lnTo>
                    <a:lnTo>
                      <a:pt x="125" y="42"/>
                    </a:lnTo>
                    <a:lnTo>
                      <a:pt x="127" y="42"/>
                    </a:lnTo>
                    <a:lnTo>
                      <a:pt x="125" y="42"/>
                    </a:lnTo>
                    <a:lnTo>
                      <a:pt x="127" y="40"/>
                    </a:lnTo>
                    <a:lnTo>
                      <a:pt x="129" y="40"/>
                    </a:lnTo>
                    <a:lnTo>
                      <a:pt x="129" y="42"/>
                    </a:lnTo>
                    <a:lnTo>
                      <a:pt x="131" y="42"/>
                    </a:lnTo>
                    <a:lnTo>
                      <a:pt x="129" y="42"/>
                    </a:lnTo>
                    <a:lnTo>
                      <a:pt x="129" y="44"/>
                    </a:lnTo>
                    <a:lnTo>
                      <a:pt x="131" y="44"/>
                    </a:lnTo>
                    <a:lnTo>
                      <a:pt x="131" y="46"/>
                    </a:lnTo>
                    <a:lnTo>
                      <a:pt x="131" y="48"/>
                    </a:lnTo>
                    <a:lnTo>
                      <a:pt x="133" y="48"/>
                    </a:lnTo>
                    <a:lnTo>
                      <a:pt x="133" y="49"/>
                    </a:lnTo>
                    <a:lnTo>
                      <a:pt x="135" y="49"/>
                    </a:lnTo>
                    <a:lnTo>
                      <a:pt x="135" y="51"/>
                    </a:lnTo>
                    <a:lnTo>
                      <a:pt x="137" y="49"/>
                    </a:lnTo>
                    <a:lnTo>
                      <a:pt x="139" y="49"/>
                    </a:lnTo>
                    <a:lnTo>
                      <a:pt x="139" y="48"/>
                    </a:lnTo>
                    <a:lnTo>
                      <a:pt x="141" y="46"/>
                    </a:lnTo>
                    <a:lnTo>
                      <a:pt x="143" y="46"/>
                    </a:lnTo>
                    <a:lnTo>
                      <a:pt x="144" y="44"/>
                    </a:lnTo>
                    <a:lnTo>
                      <a:pt x="144" y="46"/>
                    </a:lnTo>
                    <a:lnTo>
                      <a:pt x="146" y="46"/>
                    </a:lnTo>
                    <a:lnTo>
                      <a:pt x="146" y="44"/>
                    </a:lnTo>
                    <a:lnTo>
                      <a:pt x="148" y="42"/>
                    </a:lnTo>
                    <a:lnTo>
                      <a:pt x="150" y="42"/>
                    </a:lnTo>
                    <a:lnTo>
                      <a:pt x="152" y="42"/>
                    </a:lnTo>
                    <a:lnTo>
                      <a:pt x="152" y="44"/>
                    </a:lnTo>
                    <a:lnTo>
                      <a:pt x="152" y="42"/>
                    </a:lnTo>
                    <a:lnTo>
                      <a:pt x="154" y="42"/>
                    </a:lnTo>
                    <a:lnTo>
                      <a:pt x="154" y="40"/>
                    </a:lnTo>
                    <a:lnTo>
                      <a:pt x="156" y="40"/>
                    </a:lnTo>
                    <a:lnTo>
                      <a:pt x="158" y="40"/>
                    </a:lnTo>
                    <a:lnTo>
                      <a:pt x="158" y="42"/>
                    </a:lnTo>
                    <a:lnTo>
                      <a:pt x="160" y="42"/>
                    </a:lnTo>
                    <a:lnTo>
                      <a:pt x="162" y="42"/>
                    </a:lnTo>
                    <a:lnTo>
                      <a:pt x="162" y="44"/>
                    </a:lnTo>
                    <a:lnTo>
                      <a:pt x="164" y="44"/>
                    </a:lnTo>
                    <a:lnTo>
                      <a:pt x="164" y="42"/>
                    </a:lnTo>
                    <a:lnTo>
                      <a:pt x="166" y="42"/>
                    </a:lnTo>
                    <a:lnTo>
                      <a:pt x="166" y="44"/>
                    </a:lnTo>
                    <a:lnTo>
                      <a:pt x="166" y="46"/>
                    </a:lnTo>
                    <a:lnTo>
                      <a:pt x="164" y="46"/>
                    </a:lnTo>
                    <a:lnTo>
                      <a:pt x="166" y="46"/>
                    </a:lnTo>
                    <a:lnTo>
                      <a:pt x="166" y="48"/>
                    </a:lnTo>
                    <a:lnTo>
                      <a:pt x="166" y="49"/>
                    </a:lnTo>
                    <a:lnTo>
                      <a:pt x="168" y="51"/>
                    </a:lnTo>
                    <a:lnTo>
                      <a:pt x="169" y="51"/>
                    </a:lnTo>
                    <a:lnTo>
                      <a:pt x="169" y="53"/>
                    </a:lnTo>
                    <a:lnTo>
                      <a:pt x="171" y="53"/>
                    </a:lnTo>
                    <a:lnTo>
                      <a:pt x="173" y="53"/>
                    </a:lnTo>
                    <a:lnTo>
                      <a:pt x="175" y="53"/>
                    </a:lnTo>
                    <a:lnTo>
                      <a:pt x="175" y="55"/>
                    </a:lnTo>
                    <a:lnTo>
                      <a:pt x="173" y="55"/>
                    </a:lnTo>
                    <a:lnTo>
                      <a:pt x="173" y="57"/>
                    </a:lnTo>
                    <a:lnTo>
                      <a:pt x="175" y="57"/>
                    </a:lnTo>
                    <a:lnTo>
                      <a:pt x="175" y="59"/>
                    </a:lnTo>
                    <a:lnTo>
                      <a:pt x="173" y="59"/>
                    </a:lnTo>
                    <a:lnTo>
                      <a:pt x="173" y="61"/>
                    </a:lnTo>
                    <a:lnTo>
                      <a:pt x="175" y="61"/>
                    </a:lnTo>
                    <a:lnTo>
                      <a:pt x="175" y="59"/>
                    </a:lnTo>
                    <a:lnTo>
                      <a:pt x="177" y="59"/>
                    </a:lnTo>
                    <a:lnTo>
                      <a:pt x="179" y="59"/>
                    </a:lnTo>
                    <a:lnTo>
                      <a:pt x="179" y="61"/>
                    </a:lnTo>
                    <a:lnTo>
                      <a:pt x="177" y="61"/>
                    </a:lnTo>
                    <a:lnTo>
                      <a:pt x="179" y="61"/>
                    </a:lnTo>
                    <a:lnTo>
                      <a:pt x="179" y="63"/>
                    </a:lnTo>
                    <a:lnTo>
                      <a:pt x="179" y="61"/>
                    </a:lnTo>
                    <a:lnTo>
                      <a:pt x="179" y="63"/>
                    </a:lnTo>
                    <a:lnTo>
                      <a:pt x="181" y="63"/>
                    </a:lnTo>
                    <a:lnTo>
                      <a:pt x="181" y="61"/>
                    </a:lnTo>
                    <a:lnTo>
                      <a:pt x="181" y="63"/>
                    </a:lnTo>
                    <a:lnTo>
                      <a:pt x="183" y="63"/>
                    </a:lnTo>
                    <a:lnTo>
                      <a:pt x="185" y="63"/>
                    </a:lnTo>
                    <a:lnTo>
                      <a:pt x="185" y="65"/>
                    </a:lnTo>
                    <a:lnTo>
                      <a:pt x="187" y="65"/>
                    </a:lnTo>
                    <a:lnTo>
                      <a:pt x="191" y="65"/>
                    </a:lnTo>
                    <a:lnTo>
                      <a:pt x="192" y="65"/>
                    </a:lnTo>
                    <a:lnTo>
                      <a:pt x="194" y="65"/>
                    </a:lnTo>
                    <a:lnTo>
                      <a:pt x="194" y="67"/>
                    </a:lnTo>
                    <a:lnTo>
                      <a:pt x="196" y="67"/>
                    </a:lnTo>
                    <a:lnTo>
                      <a:pt x="196" y="69"/>
                    </a:lnTo>
                    <a:lnTo>
                      <a:pt x="198" y="69"/>
                    </a:lnTo>
                    <a:lnTo>
                      <a:pt x="198" y="67"/>
                    </a:lnTo>
                    <a:lnTo>
                      <a:pt x="200" y="65"/>
                    </a:lnTo>
                    <a:lnTo>
                      <a:pt x="200" y="63"/>
                    </a:lnTo>
                    <a:lnTo>
                      <a:pt x="200" y="65"/>
                    </a:lnTo>
                    <a:lnTo>
                      <a:pt x="202" y="65"/>
                    </a:lnTo>
                    <a:lnTo>
                      <a:pt x="202" y="63"/>
                    </a:lnTo>
                    <a:lnTo>
                      <a:pt x="204" y="63"/>
                    </a:lnTo>
                    <a:lnTo>
                      <a:pt x="202" y="63"/>
                    </a:lnTo>
                    <a:lnTo>
                      <a:pt x="204" y="63"/>
                    </a:lnTo>
                    <a:lnTo>
                      <a:pt x="204" y="61"/>
                    </a:lnTo>
                    <a:lnTo>
                      <a:pt x="206" y="61"/>
                    </a:lnTo>
                    <a:lnTo>
                      <a:pt x="206" y="63"/>
                    </a:lnTo>
                    <a:lnTo>
                      <a:pt x="206" y="65"/>
                    </a:lnTo>
                    <a:lnTo>
                      <a:pt x="206" y="67"/>
                    </a:lnTo>
                    <a:lnTo>
                      <a:pt x="204" y="67"/>
                    </a:lnTo>
                    <a:lnTo>
                      <a:pt x="206" y="67"/>
                    </a:lnTo>
                    <a:lnTo>
                      <a:pt x="206" y="69"/>
                    </a:lnTo>
                    <a:lnTo>
                      <a:pt x="208" y="69"/>
                    </a:lnTo>
                    <a:lnTo>
                      <a:pt x="210" y="69"/>
                    </a:lnTo>
                    <a:lnTo>
                      <a:pt x="212" y="67"/>
                    </a:lnTo>
                    <a:lnTo>
                      <a:pt x="212" y="65"/>
                    </a:lnTo>
                    <a:lnTo>
                      <a:pt x="210" y="65"/>
                    </a:lnTo>
                    <a:lnTo>
                      <a:pt x="210" y="63"/>
                    </a:lnTo>
                    <a:lnTo>
                      <a:pt x="212" y="63"/>
                    </a:lnTo>
                    <a:lnTo>
                      <a:pt x="214" y="63"/>
                    </a:lnTo>
                    <a:lnTo>
                      <a:pt x="212" y="63"/>
                    </a:lnTo>
                    <a:lnTo>
                      <a:pt x="214" y="63"/>
                    </a:lnTo>
                    <a:lnTo>
                      <a:pt x="216" y="63"/>
                    </a:lnTo>
                    <a:lnTo>
                      <a:pt x="216" y="65"/>
                    </a:lnTo>
                    <a:lnTo>
                      <a:pt x="217" y="65"/>
                    </a:lnTo>
                    <a:lnTo>
                      <a:pt x="219" y="63"/>
                    </a:lnTo>
                    <a:lnTo>
                      <a:pt x="221" y="63"/>
                    </a:lnTo>
                    <a:lnTo>
                      <a:pt x="221" y="65"/>
                    </a:lnTo>
                    <a:lnTo>
                      <a:pt x="221" y="67"/>
                    </a:lnTo>
                    <a:lnTo>
                      <a:pt x="223" y="67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Freeform 128">
                <a:extLst>
                  <a:ext uri="{FF2B5EF4-FFF2-40B4-BE49-F238E27FC236}">
                    <a16:creationId xmlns="" xmlns:a16="http://schemas.microsoft.com/office/drawing/2014/main" id="{7D5A065E-D6E2-44D2-9AA2-6B97CB09A9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8300" y="3279776"/>
                <a:ext cx="282575" cy="263525"/>
              </a:xfrm>
              <a:custGeom>
                <a:avLst/>
                <a:gdLst>
                  <a:gd name="T0" fmla="*/ 176 w 178"/>
                  <a:gd name="T1" fmla="*/ 83 h 166"/>
                  <a:gd name="T2" fmla="*/ 173 w 178"/>
                  <a:gd name="T3" fmla="*/ 91 h 166"/>
                  <a:gd name="T4" fmla="*/ 165 w 178"/>
                  <a:gd name="T5" fmla="*/ 98 h 166"/>
                  <a:gd name="T6" fmla="*/ 157 w 178"/>
                  <a:gd name="T7" fmla="*/ 108 h 166"/>
                  <a:gd name="T8" fmla="*/ 152 w 178"/>
                  <a:gd name="T9" fmla="*/ 116 h 166"/>
                  <a:gd name="T10" fmla="*/ 144 w 178"/>
                  <a:gd name="T11" fmla="*/ 120 h 166"/>
                  <a:gd name="T12" fmla="*/ 140 w 178"/>
                  <a:gd name="T13" fmla="*/ 122 h 166"/>
                  <a:gd name="T14" fmla="*/ 132 w 178"/>
                  <a:gd name="T15" fmla="*/ 123 h 166"/>
                  <a:gd name="T16" fmla="*/ 123 w 178"/>
                  <a:gd name="T17" fmla="*/ 133 h 166"/>
                  <a:gd name="T18" fmla="*/ 115 w 178"/>
                  <a:gd name="T19" fmla="*/ 131 h 166"/>
                  <a:gd name="T20" fmla="*/ 109 w 178"/>
                  <a:gd name="T21" fmla="*/ 129 h 166"/>
                  <a:gd name="T22" fmla="*/ 98 w 178"/>
                  <a:gd name="T23" fmla="*/ 135 h 166"/>
                  <a:gd name="T24" fmla="*/ 92 w 178"/>
                  <a:gd name="T25" fmla="*/ 123 h 166"/>
                  <a:gd name="T26" fmla="*/ 82 w 178"/>
                  <a:gd name="T27" fmla="*/ 122 h 166"/>
                  <a:gd name="T28" fmla="*/ 77 w 178"/>
                  <a:gd name="T29" fmla="*/ 127 h 166"/>
                  <a:gd name="T30" fmla="*/ 73 w 178"/>
                  <a:gd name="T31" fmla="*/ 133 h 166"/>
                  <a:gd name="T32" fmla="*/ 65 w 178"/>
                  <a:gd name="T33" fmla="*/ 139 h 166"/>
                  <a:gd name="T34" fmla="*/ 57 w 178"/>
                  <a:gd name="T35" fmla="*/ 141 h 166"/>
                  <a:gd name="T36" fmla="*/ 55 w 178"/>
                  <a:gd name="T37" fmla="*/ 145 h 166"/>
                  <a:gd name="T38" fmla="*/ 48 w 178"/>
                  <a:gd name="T39" fmla="*/ 147 h 166"/>
                  <a:gd name="T40" fmla="*/ 40 w 178"/>
                  <a:gd name="T41" fmla="*/ 152 h 166"/>
                  <a:gd name="T42" fmla="*/ 30 w 178"/>
                  <a:gd name="T43" fmla="*/ 156 h 166"/>
                  <a:gd name="T44" fmla="*/ 17 w 178"/>
                  <a:gd name="T45" fmla="*/ 162 h 166"/>
                  <a:gd name="T46" fmla="*/ 13 w 178"/>
                  <a:gd name="T47" fmla="*/ 160 h 166"/>
                  <a:gd name="T48" fmla="*/ 11 w 178"/>
                  <a:gd name="T49" fmla="*/ 154 h 166"/>
                  <a:gd name="T50" fmla="*/ 15 w 178"/>
                  <a:gd name="T51" fmla="*/ 145 h 166"/>
                  <a:gd name="T52" fmla="*/ 11 w 178"/>
                  <a:gd name="T53" fmla="*/ 135 h 166"/>
                  <a:gd name="T54" fmla="*/ 7 w 178"/>
                  <a:gd name="T55" fmla="*/ 127 h 166"/>
                  <a:gd name="T56" fmla="*/ 2 w 178"/>
                  <a:gd name="T57" fmla="*/ 123 h 166"/>
                  <a:gd name="T58" fmla="*/ 6 w 178"/>
                  <a:gd name="T59" fmla="*/ 118 h 166"/>
                  <a:gd name="T60" fmla="*/ 13 w 178"/>
                  <a:gd name="T61" fmla="*/ 110 h 166"/>
                  <a:gd name="T62" fmla="*/ 11 w 178"/>
                  <a:gd name="T63" fmla="*/ 104 h 166"/>
                  <a:gd name="T64" fmla="*/ 7 w 178"/>
                  <a:gd name="T65" fmla="*/ 91 h 166"/>
                  <a:gd name="T66" fmla="*/ 11 w 178"/>
                  <a:gd name="T67" fmla="*/ 79 h 166"/>
                  <a:gd name="T68" fmla="*/ 13 w 178"/>
                  <a:gd name="T69" fmla="*/ 70 h 166"/>
                  <a:gd name="T70" fmla="*/ 19 w 178"/>
                  <a:gd name="T71" fmla="*/ 66 h 166"/>
                  <a:gd name="T72" fmla="*/ 17 w 178"/>
                  <a:gd name="T73" fmla="*/ 56 h 166"/>
                  <a:gd name="T74" fmla="*/ 19 w 178"/>
                  <a:gd name="T75" fmla="*/ 45 h 166"/>
                  <a:gd name="T76" fmla="*/ 27 w 178"/>
                  <a:gd name="T77" fmla="*/ 41 h 166"/>
                  <a:gd name="T78" fmla="*/ 32 w 178"/>
                  <a:gd name="T79" fmla="*/ 35 h 166"/>
                  <a:gd name="T80" fmla="*/ 36 w 178"/>
                  <a:gd name="T81" fmla="*/ 27 h 166"/>
                  <a:gd name="T82" fmla="*/ 44 w 178"/>
                  <a:gd name="T83" fmla="*/ 16 h 166"/>
                  <a:gd name="T84" fmla="*/ 54 w 178"/>
                  <a:gd name="T85" fmla="*/ 4 h 166"/>
                  <a:gd name="T86" fmla="*/ 63 w 178"/>
                  <a:gd name="T87" fmla="*/ 2 h 166"/>
                  <a:gd name="T88" fmla="*/ 69 w 178"/>
                  <a:gd name="T89" fmla="*/ 8 h 166"/>
                  <a:gd name="T90" fmla="*/ 79 w 178"/>
                  <a:gd name="T91" fmla="*/ 16 h 166"/>
                  <a:gd name="T92" fmla="*/ 86 w 178"/>
                  <a:gd name="T93" fmla="*/ 18 h 166"/>
                  <a:gd name="T94" fmla="*/ 84 w 178"/>
                  <a:gd name="T95" fmla="*/ 27 h 166"/>
                  <a:gd name="T96" fmla="*/ 90 w 178"/>
                  <a:gd name="T97" fmla="*/ 29 h 166"/>
                  <a:gd name="T98" fmla="*/ 96 w 178"/>
                  <a:gd name="T99" fmla="*/ 31 h 166"/>
                  <a:gd name="T100" fmla="*/ 98 w 178"/>
                  <a:gd name="T101" fmla="*/ 35 h 166"/>
                  <a:gd name="T102" fmla="*/ 105 w 178"/>
                  <a:gd name="T103" fmla="*/ 43 h 166"/>
                  <a:gd name="T104" fmla="*/ 111 w 178"/>
                  <a:gd name="T105" fmla="*/ 47 h 166"/>
                  <a:gd name="T106" fmla="*/ 117 w 178"/>
                  <a:gd name="T107" fmla="*/ 48 h 166"/>
                  <a:gd name="T108" fmla="*/ 130 w 178"/>
                  <a:gd name="T109" fmla="*/ 47 h 166"/>
                  <a:gd name="T110" fmla="*/ 138 w 178"/>
                  <a:gd name="T111" fmla="*/ 41 h 166"/>
                  <a:gd name="T112" fmla="*/ 144 w 178"/>
                  <a:gd name="T113" fmla="*/ 43 h 166"/>
                  <a:gd name="T114" fmla="*/ 152 w 178"/>
                  <a:gd name="T115" fmla="*/ 45 h 166"/>
                  <a:gd name="T116" fmla="*/ 159 w 178"/>
                  <a:gd name="T117" fmla="*/ 50 h 166"/>
                  <a:gd name="T118" fmla="*/ 161 w 178"/>
                  <a:gd name="T119" fmla="*/ 60 h 166"/>
                  <a:gd name="T120" fmla="*/ 171 w 178"/>
                  <a:gd name="T121" fmla="*/ 62 h 166"/>
                  <a:gd name="T122" fmla="*/ 178 w 178"/>
                  <a:gd name="T123" fmla="*/ 68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78" h="166">
                    <a:moveTo>
                      <a:pt x="178" y="70"/>
                    </a:moveTo>
                    <a:lnTo>
                      <a:pt x="178" y="72"/>
                    </a:lnTo>
                    <a:lnTo>
                      <a:pt x="178" y="73"/>
                    </a:lnTo>
                    <a:lnTo>
                      <a:pt x="178" y="75"/>
                    </a:lnTo>
                    <a:lnTo>
                      <a:pt x="176" y="75"/>
                    </a:lnTo>
                    <a:lnTo>
                      <a:pt x="176" y="77"/>
                    </a:lnTo>
                    <a:lnTo>
                      <a:pt x="176" y="79"/>
                    </a:lnTo>
                    <a:lnTo>
                      <a:pt x="176" y="81"/>
                    </a:lnTo>
                    <a:lnTo>
                      <a:pt x="176" y="83"/>
                    </a:lnTo>
                    <a:lnTo>
                      <a:pt x="176" y="85"/>
                    </a:lnTo>
                    <a:lnTo>
                      <a:pt x="175" y="85"/>
                    </a:lnTo>
                    <a:lnTo>
                      <a:pt x="173" y="87"/>
                    </a:lnTo>
                    <a:lnTo>
                      <a:pt x="175" y="87"/>
                    </a:lnTo>
                    <a:lnTo>
                      <a:pt x="173" y="87"/>
                    </a:lnTo>
                    <a:lnTo>
                      <a:pt x="173" y="89"/>
                    </a:lnTo>
                    <a:lnTo>
                      <a:pt x="173" y="91"/>
                    </a:lnTo>
                    <a:lnTo>
                      <a:pt x="171" y="91"/>
                    </a:lnTo>
                    <a:lnTo>
                      <a:pt x="173" y="91"/>
                    </a:lnTo>
                    <a:lnTo>
                      <a:pt x="173" y="93"/>
                    </a:lnTo>
                    <a:lnTo>
                      <a:pt x="171" y="95"/>
                    </a:lnTo>
                    <a:lnTo>
                      <a:pt x="169" y="95"/>
                    </a:lnTo>
                    <a:lnTo>
                      <a:pt x="169" y="93"/>
                    </a:lnTo>
                    <a:lnTo>
                      <a:pt x="167" y="93"/>
                    </a:lnTo>
                    <a:lnTo>
                      <a:pt x="167" y="95"/>
                    </a:lnTo>
                    <a:lnTo>
                      <a:pt x="167" y="97"/>
                    </a:lnTo>
                    <a:lnTo>
                      <a:pt x="165" y="97"/>
                    </a:lnTo>
                    <a:lnTo>
                      <a:pt x="165" y="98"/>
                    </a:lnTo>
                    <a:lnTo>
                      <a:pt x="163" y="98"/>
                    </a:lnTo>
                    <a:lnTo>
                      <a:pt x="163" y="100"/>
                    </a:lnTo>
                    <a:lnTo>
                      <a:pt x="163" y="102"/>
                    </a:lnTo>
                    <a:lnTo>
                      <a:pt x="161" y="102"/>
                    </a:lnTo>
                    <a:lnTo>
                      <a:pt x="161" y="104"/>
                    </a:lnTo>
                    <a:lnTo>
                      <a:pt x="159" y="104"/>
                    </a:lnTo>
                    <a:lnTo>
                      <a:pt x="159" y="106"/>
                    </a:lnTo>
                    <a:lnTo>
                      <a:pt x="157" y="106"/>
                    </a:lnTo>
                    <a:lnTo>
                      <a:pt x="157" y="108"/>
                    </a:lnTo>
                    <a:lnTo>
                      <a:pt x="157" y="110"/>
                    </a:lnTo>
                    <a:lnTo>
                      <a:pt x="155" y="110"/>
                    </a:lnTo>
                    <a:lnTo>
                      <a:pt x="155" y="112"/>
                    </a:lnTo>
                    <a:lnTo>
                      <a:pt x="157" y="112"/>
                    </a:lnTo>
                    <a:lnTo>
                      <a:pt x="157" y="114"/>
                    </a:lnTo>
                    <a:lnTo>
                      <a:pt x="155" y="114"/>
                    </a:lnTo>
                    <a:lnTo>
                      <a:pt x="155" y="116"/>
                    </a:lnTo>
                    <a:lnTo>
                      <a:pt x="153" y="116"/>
                    </a:lnTo>
                    <a:lnTo>
                      <a:pt x="152" y="116"/>
                    </a:lnTo>
                    <a:lnTo>
                      <a:pt x="150" y="118"/>
                    </a:lnTo>
                    <a:lnTo>
                      <a:pt x="152" y="118"/>
                    </a:lnTo>
                    <a:lnTo>
                      <a:pt x="150" y="118"/>
                    </a:lnTo>
                    <a:lnTo>
                      <a:pt x="150" y="120"/>
                    </a:lnTo>
                    <a:lnTo>
                      <a:pt x="148" y="120"/>
                    </a:lnTo>
                    <a:lnTo>
                      <a:pt x="146" y="120"/>
                    </a:lnTo>
                    <a:lnTo>
                      <a:pt x="146" y="122"/>
                    </a:lnTo>
                    <a:lnTo>
                      <a:pt x="144" y="122"/>
                    </a:lnTo>
                    <a:lnTo>
                      <a:pt x="144" y="120"/>
                    </a:lnTo>
                    <a:lnTo>
                      <a:pt x="144" y="122"/>
                    </a:lnTo>
                    <a:lnTo>
                      <a:pt x="144" y="120"/>
                    </a:lnTo>
                    <a:lnTo>
                      <a:pt x="144" y="122"/>
                    </a:lnTo>
                    <a:lnTo>
                      <a:pt x="142" y="122"/>
                    </a:lnTo>
                    <a:lnTo>
                      <a:pt x="142" y="120"/>
                    </a:lnTo>
                    <a:lnTo>
                      <a:pt x="142" y="122"/>
                    </a:lnTo>
                    <a:lnTo>
                      <a:pt x="140" y="122"/>
                    </a:lnTo>
                    <a:lnTo>
                      <a:pt x="142" y="122"/>
                    </a:lnTo>
                    <a:lnTo>
                      <a:pt x="140" y="122"/>
                    </a:lnTo>
                    <a:lnTo>
                      <a:pt x="140" y="123"/>
                    </a:lnTo>
                    <a:lnTo>
                      <a:pt x="138" y="123"/>
                    </a:lnTo>
                    <a:lnTo>
                      <a:pt x="136" y="123"/>
                    </a:lnTo>
                    <a:lnTo>
                      <a:pt x="134" y="123"/>
                    </a:lnTo>
                    <a:lnTo>
                      <a:pt x="134" y="125"/>
                    </a:lnTo>
                    <a:lnTo>
                      <a:pt x="132" y="125"/>
                    </a:lnTo>
                    <a:lnTo>
                      <a:pt x="132" y="123"/>
                    </a:lnTo>
                    <a:lnTo>
                      <a:pt x="132" y="122"/>
                    </a:lnTo>
                    <a:lnTo>
                      <a:pt x="132" y="123"/>
                    </a:lnTo>
                    <a:lnTo>
                      <a:pt x="130" y="123"/>
                    </a:lnTo>
                    <a:lnTo>
                      <a:pt x="128" y="123"/>
                    </a:lnTo>
                    <a:lnTo>
                      <a:pt x="128" y="125"/>
                    </a:lnTo>
                    <a:lnTo>
                      <a:pt x="128" y="127"/>
                    </a:lnTo>
                    <a:lnTo>
                      <a:pt x="127" y="127"/>
                    </a:lnTo>
                    <a:lnTo>
                      <a:pt x="127" y="129"/>
                    </a:lnTo>
                    <a:lnTo>
                      <a:pt x="127" y="131"/>
                    </a:lnTo>
                    <a:lnTo>
                      <a:pt x="125" y="131"/>
                    </a:lnTo>
                    <a:lnTo>
                      <a:pt x="123" y="133"/>
                    </a:lnTo>
                    <a:lnTo>
                      <a:pt x="121" y="133"/>
                    </a:lnTo>
                    <a:lnTo>
                      <a:pt x="121" y="135"/>
                    </a:lnTo>
                    <a:lnTo>
                      <a:pt x="121" y="133"/>
                    </a:lnTo>
                    <a:lnTo>
                      <a:pt x="119" y="133"/>
                    </a:lnTo>
                    <a:lnTo>
                      <a:pt x="119" y="131"/>
                    </a:lnTo>
                    <a:lnTo>
                      <a:pt x="117" y="131"/>
                    </a:lnTo>
                    <a:lnTo>
                      <a:pt x="117" y="133"/>
                    </a:lnTo>
                    <a:lnTo>
                      <a:pt x="115" y="133"/>
                    </a:lnTo>
                    <a:lnTo>
                      <a:pt x="115" y="131"/>
                    </a:lnTo>
                    <a:lnTo>
                      <a:pt x="113" y="131"/>
                    </a:lnTo>
                    <a:lnTo>
                      <a:pt x="113" y="129"/>
                    </a:lnTo>
                    <a:lnTo>
                      <a:pt x="111" y="129"/>
                    </a:lnTo>
                    <a:lnTo>
                      <a:pt x="111" y="127"/>
                    </a:lnTo>
                    <a:lnTo>
                      <a:pt x="109" y="127"/>
                    </a:lnTo>
                    <a:lnTo>
                      <a:pt x="109" y="125"/>
                    </a:lnTo>
                    <a:lnTo>
                      <a:pt x="107" y="127"/>
                    </a:lnTo>
                    <a:lnTo>
                      <a:pt x="109" y="127"/>
                    </a:lnTo>
                    <a:lnTo>
                      <a:pt x="109" y="129"/>
                    </a:lnTo>
                    <a:lnTo>
                      <a:pt x="111" y="129"/>
                    </a:lnTo>
                    <a:lnTo>
                      <a:pt x="109" y="131"/>
                    </a:lnTo>
                    <a:lnTo>
                      <a:pt x="107" y="133"/>
                    </a:lnTo>
                    <a:lnTo>
                      <a:pt x="105" y="133"/>
                    </a:lnTo>
                    <a:lnTo>
                      <a:pt x="105" y="135"/>
                    </a:lnTo>
                    <a:lnTo>
                      <a:pt x="103" y="135"/>
                    </a:lnTo>
                    <a:lnTo>
                      <a:pt x="103" y="137"/>
                    </a:lnTo>
                    <a:lnTo>
                      <a:pt x="100" y="135"/>
                    </a:lnTo>
                    <a:lnTo>
                      <a:pt x="98" y="135"/>
                    </a:lnTo>
                    <a:lnTo>
                      <a:pt x="98" y="133"/>
                    </a:lnTo>
                    <a:lnTo>
                      <a:pt x="96" y="133"/>
                    </a:lnTo>
                    <a:lnTo>
                      <a:pt x="96" y="131"/>
                    </a:lnTo>
                    <a:lnTo>
                      <a:pt x="96" y="129"/>
                    </a:lnTo>
                    <a:lnTo>
                      <a:pt x="96" y="127"/>
                    </a:lnTo>
                    <a:lnTo>
                      <a:pt x="94" y="127"/>
                    </a:lnTo>
                    <a:lnTo>
                      <a:pt x="94" y="125"/>
                    </a:lnTo>
                    <a:lnTo>
                      <a:pt x="92" y="125"/>
                    </a:lnTo>
                    <a:lnTo>
                      <a:pt x="92" y="123"/>
                    </a:lnTo>
                    <a:lnTo>
                      <a:pt x="90" y="123"/>
                    </a:lnTo>
                    <a:lnTo>
                      <a:pt x="88" y="123"/>
                    </a:lnTo>
                    <a:lnTo>
                      <a:pt x="88" y="122"/>
                    </a:lnTo>
                    <a:lnTo>
                      <a:pt x="86" y="122"/>
                    </a:lnTo>
                    <a:lnTo>
                      <a:pt x="86" y="120"/>
                    </a:lnTo>
                    <a:lnTo>
                      <a:pt x="84" y="120"/>
                    </a:lnTo>
                    <a:lnTo>
                      <a:pt x="84" y="122"/>
                    </a:lnTo>
                    <a:lnTo>
                      <a:pt x="82" y="120"/>
                    </a:lnTo>
                    <a:lnTo>
                      <a:pt x="82" y="122"/>
                    </a:lnTo>
                    <a:lnTo>
                      <a:pt x="80" y="122"/>
                    </a:lnTo>
                    <a:lnTo>
                      <a:pt x="79" y="123"/>
                    </a:lnTo>
                    <a:lnTo>
                      <a:pt x="80" y="123"/>
                    </a:lnTo>
                    <a:lnTo>
                      <a:pt x="80" y="125"/>
                    </a:lnTo>
                    <a:lnTo>
                      <a:pt x="79" y="125"/>
                    </a:lnTo>
                    <a:lnTo>
                      <a:pt x="77" y="125"/>
                    </a:lnTo>
                    <a:lnTo>
                      <a:pt x="77" y="123"/>
                    </a:lnTo>
                    <a:lnTo>
                      <a:pt x="77" y="125"/>
                    </a:lnTo>
                    <a:lnTo>
                      <a:pt x="77" y="127"/>
                    </a:lnTo>
                    <a:lnTo>
                      <a:pt x="75" y="127"/>
                    </a:lnTo>
                    <a:lnTo>
                      <a:pt x="75" y="125"/>
                    </a:lnTo>
                    <a:lnTo>
                      <a:pt x="75" y="127"/>
                    </a:lnTo>
                    <a:lnTo>
                      <a:pt x="75" y="129"/>
                    </a:lnTo>
                    <a:lnTo>
                      <a:pt x="75" y="131"/>
                    </a:lnTo>
                    <a:lnTo>
                      <a:pt x="75" y="133"/>
                    </a:lnTo>
                    <a:lnTo>
                      <a:pt x="73" y="133"/>
                    </a:lnTo>
                    <a:lnTo>
                      <a:pt x="73" y="135"/>
                    </a:lnTo>
                    <a:lnTo>
                      <a:pt x="73" y="133"/>
                    </a:lnTo>
                    <a:lnTo>
                      <a:pt x="71" y="133"/>
                    </a:lnTo>
                    <a:lnTo>
                      <a:pt x="71" y="135"/>
                    </a:lnTo>
                    <a:lnTo>
                      <a:pt x="69" y="135"/>
                    </a:lnTo>
                    <a:lnTo>
                      <a:pt x="69" y="137"/>
                    </a:lnTo>
                    <a:lnTo>
                      <a:pt x="67" y="137"/>
                    </a:lnTo>
                    <a:lnTo>
                      <a:pt x="67" y="139"/>
                    </a:lnTo>
                    <a:lnTo>
                      <a:pt x="65" y="139"/>
                    </a:lnTo>
                    <a:lnTo>
                      <a:pt x="65" y="137"/>
                    </a:lnTo>
                    <a:lnTo>
                      <a:pt x="65" y="139"/>
                    </a:lnTo>
                    <a:lnTo>
                      <a:pt x="63" y="139"/>
                    </a:lnTo>
                    <a:lnTo>
                      <a:pt x="63" y="141"/>
                    </a:lnTo>
                    <a:lnTo>
                      <a:pt x="61" y="141"/>
                    </a:lnTo>
                    <a:lnTo>
                      <a:pt x="63" y="143"/>
                    </a:lnTo>
                    <a:lnTo>
                      <a:pt x="61" y="143"/>
                    </a:lnTo>
                    <a:lnTo>
                      <a:pt x="59" y="141"/>
                    </a:lnTo>
                    <a:lnTo>
                      <a:pt x="59" y="143"/>
                    </a:lnTo>
                    <a:lnTo>
                      <a:pt x="59" y="141"/>
                    </a:lnTo>
                    <a:lnTo>
                      <a:pt x="57" y="141"/>
                    </a:lnTo>
                    <a:lnTo>
                      <a:pt x="57" y="143"/>
                    </a:lnTo>
                    <a:lnTo>
                      <a:pt x="55" y="143"/>
                    </a:lnTo>
                    <a:lnTo>
                      <a:pt x="57" y="143"/>
                    </a:lnTo>
                    <a:lnTo>
                      <a:pt x="57" y="145"/>
                    </a:lnTo>
                    <a:lnTo>
                      <a:pt x="55" y="145"/>
                    </a:lnTo>
                    <a:lnTo>
                      <a:pt x="57" y="145"/>
                    </a:lnTo>
                    <a:lnTo>
                      <a:pt x="57" y="147"/>
                    </a:lnTo>
                    <a:lnTo>
                      <a:pt x="55" y="147"/>
                    </a:lnTo>
                    <a:lnTo>
                      <a:pt x="55" y="145"/>
                    </a:lnTo>
                    <a:lnTo>
                      <a:pt x="54" y="145"/>
                    </a:lnTo>
                    <a:lnTo>
                      <a:pt x="54" y="147"/>
                    </a:lnTo>
                    <a:lnTo>
                      <a:pt x="52" y="147"/>
                    </a:lnTo>
                    <a:lnTo>
                      <a:pt x="52" y="148"/>
                    </a:lnTo>
                    <a:lnTo>
                      <a:pt x="50" y="148"/>
                    </a:lnTo>
                    <a:lnTo>
                      <a:pt x="50" y="147"/>
                    </a:lnTo>
                    <a:lnTo>
                      <a:pt x="48" y="147"/>
                    </a:lnTo>
                    <a:lnTo>
                      <a:pt x="46" y="147"/>
                    </a:lnTo>
                    <a:lnTo>
                      <a:pt x="48" y="147"/>
                    </a:lnTo>
                    <a:lnTo>
                      <a:pt x="48" y="148"/>
                    </a:lnTo>
                    <a:lnTo>
                      <a:pt x="46" y="148"/>
                    </a:lnTo>
                    <a:lnTo>
                      <a:pt x="44" y="148"/>
                    </a:lnTo>
                    <a:lnTo>
                      <a:pt x="44" y="150"/>
                    </a:lnTo>
                    <a:lnTo>
                      <a:pt x="44" y="152"/>
                    </a:lnTo>
                    <a:lnTo>
                      <a:pt x="42" y="152"/>
                    </a:lnTo>
                    <a:lnTo>
                      <a:pt x="40" y="152"/>
                    </a:lnTo>
                    <a:lnTo>
                      <a:pt x="40" y="150"/>
                    </a:lnTo>
                    <a:lnTo>
                      <a:pt x="40" y="152"/>
                    </a:lnTo>
                    <a:lnTo>
                      <a:pt x="38" y="154"/>
                    </a:lnTo>
                    <a:lnTo>
                      <a:pt x="38" y="156"/>
                    </a:lnTo>
                    <a:lnTo>
                      <a:pt x="36" y="156"/>
                    </a:lnTo>
                    <a:lnTo>
                      <a:pt x="34" y="156"/>
                    </a:lnTo>
                    <a:lnTo>
                      <a:pt x="34" y="154"/>
                    </a:lnTo>
                    <a:lnTo>
                      <a:pt x="34" y="156"/>
                    </a:lnTo>
                    <a:lnTo>
                      <a:pt x="34" y="154"/>
                    </a:lnTo>
                    <a:lnTo>
                      <a:pt x="32" y="156"/>
                    </a:lnTo>
                    <a:lnTo>
                      <a:pt x="30" y="156"/>
                    </a:lnTo>
                    <a:lnTo>
                      <a:pt x="29" y="156"/>
                    </a:lnTo>
                    <a:lnTo>
                      <a:pt x="29" y="158"/>
                    </a:lnTo>
                    <a:lnTo>
                      <a:pt x="27" y="158"/>
                    </a:lnTo>
                    <a:lnTo>
                      <a:pt x="25" y="158"/>
                    </a:lnTo>
                    <a:lnTo>
                      <a:pt x="23" y="158"/>
                    </a:lnTo>
                    <a:lnTo>
                      <a:pt x="21" y="160"/>
                    </a:lnTo>
                    <a:lnTo>
                      <a:pt x="19" y="160"/>
                    </a:lnTo>
                    <a:lnTo>
                      <a:pt x="19" y="162"/>
                    </a:lnTo>
                    <a:lnTo>
                      <a:pt x="17" y="162"/>
                    </a:lnTo>
                    <a:lnTo>
                      <a:pt x="17" y="164"/>
                    </a:lnTo>
                    <a:lnTo>
                      <a:pt x="17" y="166"/>
                    </a:lnTo>
                    <a:lnTo>
                      <a:pt x="15" y="166"/>
                    </a:lnTo>
                    <a:lnTo>
                      <a:pt x="15" y="164"/>
                    </a:lnTo>
                    <a:lnTo>
                      <a:pt x="13" y="164"/>
                    </a:lnTo>
                    <a:lnTo>
                      <a:pt x="13" y="166"/>
                    </a:lnTo>
                    <a:lnTo>
                      <a:pt x="11" y="164"/>
                    </a:lnTo>
                    <a:lnTo>
                      <a:pt x="13" y="162"/>
                    </a:lnTo>
                    <a:lnTo>
                      <a:pt x="13" y="160"/>
                    </a:lnTo>
                    <a:lnTo>
                      <a:pt x="11" y="160"/>
                    </a:lnTo>
                    <a:lnTo>
                      <a:pt x="11" y="158"/>
                    </a:lnTo>
                    <a:lnTo>
                      <a:pt x="11" y="156"/>
                    </a:lnTo>
                    <a:lnTo>
                      <a:pt x="11" y="158"/>
                    </a:lnTo>
                    <a:lnTo>
                      <a:pt x="9" y="158"/>
                    </a:lnTo>
                    <a:lnTo>
                      <a:pt x="11" y="156"/>
                    </a:lnTo>
                    <a:lnTo>
                      <a:pt x="11" y="154"/>
                    </a:lnTo>
                    <a:lnTo>
                      <a:pt x="9" y="154"/>
                    </a:lnTo>
                    <a:lnTo>
                      <a:pt x="11" y="154"/>
                    </a:lnTo>
                    <a:lnTo>
                      <a:pt x="9" y="152"/>
                    </a:lnTo>
                    <a:lnTo>
                      <a:pt x="9" y="150"/>
                    </a:lnTo>
                    <a:lnTo>
                      <a:pt x="9" y="147"/>
                    </a:lnTo>
                    <a:lnTo>
                      <a:pt x="11" y="147"/>
                    </a:lnTo>
                    <a:lnTo>
                      <a:pt x="11" y="145"/>
                    </a:lnTo>
                    <a:lnTo>
                      <a:pt x="11" y="143"/>
                    </a:lnTo>
                    <a:lnTo>
                      <a:pt x="13" y="143"/>
                    </a:lnTo>
                    <a:lnTo>
                      <a:pt x="13" y="145"/>
                    </a:lnTo>
                    <a:lnTo>
                      <a:pt x="15" y="145"/>
                    </a:lnTo>
                    <a:lnTo>
                      <a:pt x="15" y="143"/>
                    </a:lnTo>
                    <a:lnTo>
                      <a:pt x="17" y="143"/>
                    </a:lnTo>
                    <a:lnTo>
                      <a:pt x="17" y="141"/>
                    </a:lnTo>
                    <a:lnTo>
                      <a:pt x="15" y="141"/>
                    </a:lnTo>
                    <a:lnTo>
                      <a:pt x="15" y="139"/>
                    </a:lnTo>
                    <a:lnTo>
                      <a:pt x="13" y="139"/>
                    </a:lnTo>
                    <a:lnTo>
                      <a:pt x="13" y="137"/>
                    </a:lnTo>
                    <a:lnTo>
                      <a:pt x="13" y="135"/>
                    </a:lnTo>
                    <a:lnTo>
                      <a:pt x="11" y="135"/>
                    </a:lnTo>
                    <a:lnTo>
                      <a:pt x="13" y="135"/>
                    </a:lnTo>
                    <a:lnTo>
                      <a:pt x="11" y="135"/>
                    </a:lnTo>
                    <a:lnTo>
                      <a:pt x="11" y="133"/>
                    </a:lnTo>
                    <a:lnTo>
                      <a:pt x="11" y="131"/>
                    </a:lnTo>
                    <a:lnTo>
                      <a:pt x="11" y="129"/>
                    </a:lnTo>
                    <a:lnTo>
                      <a:pt x="9" y="129"/>
                    </a:lnTo>
                    <a:lnTo>
                      <a:pt x="7" y="127"/>
                    </a:lnTo>
                    <a:lnTo>
                      <a:pt x="7" y="129"/>
                    </a:lnTo>
                    <a:lnTo>
                      <a:pt x="7" y="127"/>
                    </a:lnTo>
                    <a:lnTo>
                      <a:pt x="6" y="127"/>
                    </a:lnTo>
                    <a:lnTo>
                      <a:pt x="4" y="127"/>
                    </a:lnTo>
                    <a:lnTo>
                      <a:pt x="4" y="125"/>
                    </a:lnTo>
                    <a:lnTo>
                      <a:pt x="4" y="127"/>
                    </a:lnTo>
                    <a:lnTo>
                      <a:pt x="4" y="125"/>
                    </a:lnTo>
                    <a:lnTo>
                      <a:pt x="4" y="127"/>
                    </a:lnTo>
                    <a:lnTo>
                      <a:pt x="2" y="127"/>
                    </a:lnTo>
                    <a:lnTo>
                      <a:pt x="2" y="125"/>
                    </a:lnTo>
                    <a:lnTo>
                      <a:pt x="2" y="123"/>
                    </a:lnTo>
                    <a:lnTo>
                      <a:pt x="0" y="123"/>
                    </a:lnTo>
                    <a:lnTo>
                      <a:pt x="0" y="122"/>
                    </a:lnTo>
                    <a:lnTo>
                      <a:pt x="2" y="122"/>
                    </a:lnTo>
                    <a:lnTo>
                      <a:pt x="2" y="120"/>
                    </a:lnTo>
                    <a:lnTo>
                      <a:pt x="2" y="122"/>
                    </a:lnTo>
                    <a:lnTo>
                      <a:pt x="2" y="120"/>
                    </a:lnTo>
                    <a:lnTo>
                      <a:pt x="4" y="120"/>
                    </a:lnTo>
                    <a:lnTo>
                      <a:pt x="6" y="120"/>
                    </a:lnTo>
                    <a:lnTo>
                      <a:pt x="6" y="118"/>
                    </a:lnTo>
                    <a:lnTo>
                      <a:pt x="7" y="118"/>
                    </a:lnTo>
                    <a:lnTo>
                      <a:pt x="7" y="116"/>
                    </a:lnTo>
                    <a:lnTo>
                      <a:pt x="9" y="116"/>
                    </a:lnTo>
                    <a:lnTo>
                      <a:pt x="11" y="114"/>
                    </a:lnTo>
                    <a:lnTo>
                      <a:pt x="11" y="112"/>
                    </a:lnTo>
                    <a:lnTo>
                      <a:pt x="11" y="114"/>
                    </a:lnTo>
                    <a:lnTo>
                      <a:pt x="11" y="112"/>
                    </a:lnTo>
                    <a:lnTo>
                      <a:pt x="13" y="112"/>
                    </a:lnTo>
                    <a:lnTo>
                      <a:pt x="13" y="110"/>
                    </a:lnTo>
                    <a:lnTo>
                      <a:pt x="15" y="110"/>
                    </a:lnTo>
                    <a:lnTo>
                      <a:pt x="15" y="108"/>
                    </a:lnTo>
                    <a:lnTo>
                      <a:pt x="13" y="108"/>
                    </a:lnTo>
                    <a:lnTo>
                      <a:pt x="11" y="108"/>
                    </a:lnTo>
                    <a:lnTo>
                      <a:pt x="11" y="106"/>
                    </a:lnTo>
                    <a:lnTo>
                      <a:pt x="13" y="106"/>
                    </a:lnTo>
                    <a:lnTo>
                      <a:pt x="13" y="104"/>
                    </a:lnTo>
                    <a:lnTo>
                      <a:pt x="11" y="106"/>
                    </a:lnTo>
                    <a:lnTo>
                      <a:pt x="11" y="104"/>
                    </a:lnTo>
                    <a:lnTo>
                      <a:pt x="11" y="102"/>
                    </a:lnTo>
                    <a:lnTo>
                      <a:pt x="9" y="102"/>
                    </a:lnTo>
                    <a:lnTo>
                      <a:pt x="9" y="100"/>
                    </a:lnTo>
                    <a:lnTo>
                      <a:pt x="9" y="98"/>
                    </a:lnTo>
                    <a:lnTo>
                      <a:pt x="7" y="98"/>
                    </a:lnTo>
                    <a:lnTo>
                      <a:pt x="7" y="97"/>
                    </a:lnTo>
                    <a:lnTo>
                      <a:pt x="7" y="95"/>
                    </a:lnTo>
                    <a:lnTo>
                      <a:pt x="7" y="93"/>
                    </a:lnTo>
                    <a:lnTo>
                      <a:pt x="7" y="91"/>
                    </a:lnTo>
                    <a:lnTo>
                      <a:pt x="7" y="89"/>
                    </a:lnTo>
                    <a:lnTo>
                      <a:pt x="6" y="89"/>
                    </a:lnTo>
                    <a:lnTo>
                      <a:pt x="7" y="87"/>
                    </a:lnTo>
                    <a:lnTo>
                      <a:pt x="9" y="85"/>
                    </a:lnTo>
                    <a:lnTo>
                      <a:pt x="9" y="83"/>
                    </a:lnTo>
                    <a:lnTo>
                      <a:pt x="11" y="83"/>
                    </a:lnTo>
                    <a:lnTo>
                      <a:pt x="11" y="81"/>
                    </a:lnTo>
                    <a:lnTo>
                      <a:pt x="9" y="79"/>
                    </a:lnTo>
                    <a:lnTo>
                      <a:pt x="11" y="79"/>
                    </a:lnTo>
                    <a:lnTo>
                      <a:pt x="11" y="77"/>
                    </a:lnTo>
                    <a:lnTo>
                      <a:pt x="13" y="75"/>
                    </a:lnTo>
                    <a:lnTo>
                      <a:pt x="13" y="73"/>
                    </a:lnTo>
                    <a:lnTo>
                      <a:pt x="11" y="73"/>
                    </a:lnTo>
                    <a:lnTo>
                      <a:pt x="11" y="72"/>
                    </a:lnTo>
                    <a:lnTo>
                      <a:pt x="11" y="70"/>
                    </a:lnTo>
                    <a:lnTo>
                      <a:pt x="11" y="68"/>
                    </a:lnTo>
                    <a:lnTo>
                      <a:pt x="13" y="68"/>
                    </a:lnTo>
                    <a:lnTo>
                      <a:pt x="13" y="70"/>
                    </a:lnTo>
                    <a:lnTo>
                      <a:pt x="13" y="68"/>
                    </a:lnTo>
                    <a:lnTo>
                      <a:pt x="13" y="70"/>
                    </a:lnTo>
                    <a:lnTo>
                      <a:pt x="13" y="68"/>
                    </a:lnTo>
                    <a:lnTo>
                      <a:pt x="15" y="68"/>
                    </a:lnTo>
                    <a:lnTo>
                      <a:pt x="13" y="68"/>
                    </a:lnTo>
                    <a:lnTo>
                      <a:pt x="15" y="68"/>
                    </a:lnTo>
                    <a:lnTo>
                      <a:pt x="17" y="68"/>
                    </a:lnTo>
                    <a:lnTo>
                      <a:pt x="17" y="66"/>
                    </a:lnTo>
                    <a:lnTo>
                      <a:pt x="19" y="66"/>
                    </a:lnTo>
                    <a:lnTo>
                      <a:pt x="19" y="64"/>
                    </a:lnTo>
                    <a:lnTo>
                      <a:pt x="21" y="64"/>
                    </a:lnTo>
                    <a:lnTo>
                      <a:pt x="19" y="62"/>
                    </a:lnTo>
                    <a:lnTo>
                      <a:pt x="17" y="62"/>
                    </a:lnTo>
                    <a:lnTo>
                      <a:pt x="17" y="60"/>
                    </a:lnTo>
                    <a:lnTo>
                      <a:pt x="15" y="60"/>
                    </a:lnTo>
                    <a:lnTo>
                      <a:pt x="15" y="58"/>
                    </a:lnTo>
                    <a:lnTo>
                      <a:pt x="17" y="58"/>
                    </a:lnTo>
                    <a:lnTo>
                      <a:pt x="17" y="56"/>
                    </a:lnTo>
                    <a:lnTo>
                      <a:pt x="17" y="54"/>
                    </a:lnTo>
                    <a:lnTo>
                      <a:pt x="17" y="52"/>
                    </a:lnTo>
                    <a:lnTo>
                      <a:pt x="15" y="52"/>
                    </a:lnTo>
                    <a:lnTo>
                      <a:pt x="15" y="50"/>
                    </a:lnTo>
                    <a:lnTo>
                      <a:pt x="15" y="48"/>
                    </a:lnTo>
                    <a:lnTo>
                      <a:pt x="13" y="47"/>
                    </a:lnTo>
                    <a:lnTo>
                      <a:pt x="17" y="45"/>
                    </a:lnTo>
                    <a:lnTo>
                      <a:pt x="19" y="43"/>
                    </a:lnTo>
                    <a:lnTo>
                      <a:pt x="19" y="45"/>
                    </a:lnTo>
                    <a:lnTo>
                      <a:pt x="19" y="43"/>
                    </a:lnTo>
                    <a:lnTo>
                      <a:pt x="21" y="43"/>
                    </a:lnTo>
                    <a:lnTo>
                      <a:pt x="21" y="41"/>
                    </a:lnTo>
                    <a:lnTo>
                      <a:pt x="23" y="41"/>
                    </a:lnTo>
                    <a:lnTo>
                      <a:pt x="25" y="41"/>
                    </a:lnTo>
                    <a:lnTo>
                      <a:pt x="25" y="43"/>
                    </a:lnTo>
                    <a:lnTo>
                      <a:pt x="25" y="41"/>
                    </a:lnTo>
                    <a:lnTo>
                      <a:pt x="27" y="43"/>
                    </a:lnTo>
                    <a:lnTo>
                      <a:pt x="27" y="41"/>
                    </a:lnTo>
                    <a:lnTo>
                      <a:pt x="29" y="41"/>
                    </a:lnTo>
                    <a:lnTo>
                      <a:pt x="27" y="39"/>
                    </a:lnTo>
                    <a:lnTo>
                      <a:pt x="29" y="39"/>
                    </a:lnTo>
                    <a:lnTo>
                      <a:pt x="29" y="37"/>
                    </a:lnTo>
                    <a:lnTo>
                      <a:pt x="29" y="39"/>
                    </a:lnTo>
                    <a:lnTo>
                      <a:pt x="30" y="39"/>
                    </a:lnTo>
                    <a:lnTo>
                      <a:pt x="32" y="39"/>
                    </a:lnTo>
                    <a:lnTo>
                      <a:pt x="32" y="37"/>
                    </a:lnTo>
                    <a:lnTo>
                      <a:pt x="32" y="35"/>
                    </a:lnTo>
                    <a:lnTo>
                      <a:pt x="34" y="35"/>
                    </a:lnTo>
                    <a:lnTo>
                      <a:pt x="34" y="33"/>
                    </a:lnTo>
                    <a:lnTo>
                      <a:pt x="34" y="35"/>
                    </a:lnTo>
                    <a:lnTo>
                      <a:pt x="34" y="33"/>
                    </a:lnTo>
                    <a:lnTo>
                      <a:pt x="36" y="31"/>
                    </a:lnTo>
                    <a:lnTo>
                      <a:pt x="36" y="29"/>
                    </a:lnTo>
                    <a:lnTo>
                      <a:pt x="34" y="29"/>
                    </a:lnTo>
                    <a:lnTo>
                      <a:pt x="36" y="29"/>
                    </a:lnTo>
                    <a:lnTo>
                      <a:pt x="36" y="27"/>
                    </a:lnTo>
                    <a:lnTo>
                      <a:pt x="36" y="25"/>
                    </a:lnTo>
                    <a:lnTo>
                      <a:pt x="36" y="23"/>
                    </a:lnTo>
                    <a:lnTo>
                      <a:pt x="36" y="22"/>
                    </a:lnTo>
                    <a:lnTo>
                      <a:pt x="38" y="20"/>
                    </a:lnTo>
                    <a:lnTo>
                      <a:pt x="40" y="20"/>
                    </a:lnTo>
                    <a:lnTo>
                      <a:pt x="42" y="18"/>
                    </a:lnTo>
                    <a:lnTo>
                      <a:pt x="42" y="20"/>
                    </a:lnTo>
                    <a:lnTo>
                      <a:pt x="44" y="18"/>
                    </a:lnTo>
                    <a:lnTo>
                      <a:pt x="44" y="16"/>
                    </a:lnTo>
                    <a:lnTo>
                      <a:pt x="46" y="14"/>
                    </a:lnTo>
                    <a:lnTo>
                      <a:pt x="48" y="14"/>
                    </a:lnTo>
                    <a:lnTo>
                      <a:pt x="48" y="12"/>
                    </a:lnTo>
                    <a:lnTo>
                      <a:pt x="48" y="10"/>
                    </a:lnTo>
                    <a:lnTo>
                      <a:pt x="50" y="10"/>
                    </a:lnTo>
                    <a:lnTo>
                      <a:pt x="52" y="10"/>
                    </a:lnTo>
                    <a:lnTo>
                      <a:pt x="52" y="8"/>
                    </a:lnTo>
                    <a:lnTo>
                      <a:pt x="54" y="6"/>
                    </a:lnTo>
                    <a:lnTo>
                      <a:pt x="54" y="4"/>
                    </a:lnTo>
                    <a:lnTo>
                      <a:pt x="54" y="6"/>
                    </a:lnTo>
                    <a:lnTo>
                      <a:pt x="54" y="4"/>
                    </a:lnTo>
                    <a:lnTo>
                      <a:pt x="55" y="4"/>
                    </a:lnTo>
                    <a:lnTo>
                      <a:pt x="57" y="4"/>
                    </a:lnTo>
                    <a:lnTo>
                      <a:pt x="59" y="4"/>
                    </a:lnTo>
                    <a:lnTo>
                      <a:pt x="59" y="2"/>
                    </a:lnTo>
                    <a:lnTo>
                      <a:pt x="61" y="2"/>
                    </a:lnTo>
                    <a:lnTo>
                      <a:pt x="61" y="0"/>
                    </a:lnTo>
                    <a:lnTo>
                      <a:pt x="63" y="2"/>
                    </a:lnTo>
                    <a:lnTo>
                      <a:pt x="63" y="4"/>
                    </a:lnTo>
                    <a:lnTo>
                      <a:pt x="65" y="4"/>
                    </a:lnTo>
                    <a:lnTo>
                      <a:pt x="65" y="6"/>
                    </a:lnTo>
                    <a:lnTo>
                      <a:pt x="63" y="6"/>
                    </a:lnTo>
                    <a:lnTo>
                      <a:pt x="65" y="6"/>
                    </a:lnTo>
                    <a:lnTo>
                      <a:pt x="67" y="6"/>
                    </a:lnTo>
                    <a:lnTo>
                      <a:pt x="67" y="8"/>
                    </a:lnTo>
                    <a:lnTo>
                      <a:pt x="67" y="6"/>
                    </a:lnTo>
                    <a:lnTo>
                      <a:pt x="69" y="8"/>
                    </a:lnTo>
                    <a:lnTo>
                      <a:pt x="69" y="10"/>
                    </a:lnTo>
                    <a:lnTo>
                      <a:pt x="69" y="12"/>
                    </a:lnTo>
                    <a:lnTo>
                      <a:pt x="71" y="12"/>
                    </a:lnTo>
                    <a:lnTo>
                      <a:pt x="73" y="12"/>
                    </a:lnTo>
                    <a:lnTo>
                      <a:pt x="75" y="12"/>
                    </a:lnTo>
                    <a:lnTo>
                      <a:pt x="75" y="14"/>
                    </a:lnTo>
                    <a:lnTo>
                      <a:pt x="77" y="14"/>
                    </a:lnTo>
                    <a:lnTo>
                      <a:pt x="77" y="16"/>
                    </a:lnTo>
                    <a:lnTo>
                      <a:pt x="79" y="16"/>
                    </a:lnTo>
                    <a:lnTo>
                      <a:pt x="77" y="18"/>
                    </a:lnTo>
                    <a:lnTo>
                      <a:pt x="79" y="18"/>
                    </a:lnTo>
                    <a:lnTo>
                      <a:pt x="79" y="20"/>
                    </a:lnTo>
                    <a:lnTo>
                      <a:pt x="80" y="18"/>
                    </a:lnTo>
                    <a:lnTo>
                      <a:pt x="80" y="16"/>
                    </a:lnTo>
                    <a:lnTo>
                      <a:pt x="82" y="16"/>
                    </a:lnTo>
                    <a:lnTo>
                      <a:pt x="84" y="16"/>
                    </a:lnTo>
                    <a:lnTo>
                      <a:pt x="84" y="18"/>
                    </a:lnTo>
                    <a:lnTo>
                      <a:pt x="86" y="18"/>
                    </a:lnTo>
                    <a:lnTo>
                      <a:pt x="86" y="20"/>
                    </a:lnTo>
                    <a:lnTo>
                      <a:pt x="88" y="22"/>
                    </a:lnTo>
                    <a:lnTo>
                      <a:pt x="86" y="22"/>
                    </a:lnTo>
                    <a:lnTo>
                      <a:pt x="86" y="23"/>
                    </a:lnTo>
                    <a:lnTo>
                      <a:pt x="88" y="23"/>
                    </a:lnTo>
                    <a:lnTo>
                      <a:pt x="86" y="25"/>
                    </a:lnTo>
                    <a:lnTo>
                      <a:pt x="84" y="23"/>
                    </a:lnTo>
                    <a:lnTo>
                      <a:pt x="84" y="25"/>
                    </a:lnTo>
                    <a:lnTo>
                      <a:pt x="84" y="27"/>
                    </a:lnTo>
                    <a:lnTo>
                      <a:pt x="84" y="25"/>
                    </a:lnTo>
                    <a:lnTo>
                      <a:pt x="86" y="27"/>
                    </a:lnTo>
                    <a:lnTo>
                      <a:pt x="86" y="25"/>
                    </a:lnTo>
                    <a:lnTo>
                      <a:pt x="86" y="27"/>
                    </a:lnTo>
                    <a:lnTo>
                      <a:pt x="88" y="27"/>
                    </a:lnTo>
                    <a:lnTo>
                      <a:pt x="88" y="25"/>
                    </a:lnTo>
                    <a:lnTo>
                      <a:pt x="88" y="27"/>
                    </a:lnTo>
                    <a:lnTo>
                      <a:pt x="90" y="27"/>
                    </a:lnTo>
                    <a:lnTo>
                      <a:pt x="90" y="29"/>
                    </a:lnTo>
                    <a:lnTo>
                      <a:pt x="92" y="29"/>
                    </a:lnTo>
                    <a:lnTo>
                      <a:pt x="94" y="27"/>
                    </a:lnTo>
                    <a:lnTo>
                      <a:pt x="94" y="29"/>
                    </a:lnTo>
                    <a:lnTo>
                      <a:pt x="96" y="29"/>
                    </a:lnTo>
                    <a:lnTo>
                      <a:pt x="96" y="31"/>
                    </a:lnTo>
                    <a:lnTo>
                      <a:pt x="94" y="31"/>
                    </a:lnTo>
                    <a:lnTo>
                      <a:pt x="96" y="31"/>
                    </a:lnTo>
                    <a:lnTo>
                      <a:pt x="96" y="29"/>
                    </a:lnTo>
                    <a:lnTo>
                      <a:pt x="96" y="31"/>
                    </a:lnTo>
                    <a:lnTo>
                      <a:pt x="96" y="33"/>
                    </a:lnTo>
                    <a:lnTo>
                      <a:pt x="98" y="31"/>
                    </a:lnTo>
                    <a:lnTo>
                      <a:pt x="100" y="31"/>
                    </a:lnTo>
                    <a:lnTo>
                      <a:pt x="100" y="33"/>
                    </a:lnTo>
                    <a:lnTo>
                      <a:pt x="98" y="35"/>
                    </a:lnTo>
                    <a:lnTo>
                      <a:pt x="96" y="35"/>
                    </a:lnTo>
                    <a:lnTo>
                      <a:pt x="96" y="37"/>
                    </a:lnTo>
                    <a:lnTo>
                      <a:pt x="98" y="37"/>
                    </a:lnTo>
                    <a:lnTo>
                      <a:pt x="98" y="35"/>
                    </a:lnTo>
                    <a:lnTo>
                      <a:pt x="100" y="35"/>
                    </a:lnTo>
                    <a:lnTo>
                      <a:pt x="100" y="37"/>
                    </a:lnTo>
                    <a:lnTo>
                      <a:pt x="102" y="37"/>
                    </a:lnTo>
                    <a:lnTo>
                      <a:pt x="102" y="35"/>
                    </a:lnTo>
                    <a:lnTo>
                      <a:pt x="102" y="37"/>
                    </a:lnTo>
                    <a:lnTo>
                      <a:pt x="103" y="39"/>
                    </a:lnTo>
                    <a:lnTo>
                      <a:pt x="103" y="41"/>
                    </a:lnTo>
                    <a:lnTo>
                      <a:pt x="105" y="41"/>
                    </a:lnTo>
                    <a:lnTo>
                      <a:pt x="105" y="43"/>
                    </a:lnTo>
                    <a:lnTo>
                      <a:pt x="107" y="43"/>
                    </a:lnTo>
                    <a:lnTo>
                      <a:pt x="107" y="45"/>
                    </a:lnTo>
                    <a:lnTo>
                      <a:pt x="107" y="43"/>
                    </a:lnTo>
                    <a:lnTo>
                      <a:pt x="107" y="45"/>
                    </a:lnTo>
                    <a:lnTo>
                      <a:pt x="109" y="45"/>
                    </a:lnTo>
                    <a:lnTo>
                      <a:pt x="109" y="43"/>
                    </a:lnTo>
                    <a:lnTo>
                      <a:pt x="109" y="45"/>
                    </a:lnTo>
                    <a:lnTo>
                      <a:pt x="109" y="47"/>
                    </a:lnTo>
                    <a:lnTo>
                      <a:pt x="111" y="47"/>
                    </a:lnTo>
                    <a:lnTo>
                      <a:pt x="111" y="45"/>
                    </a:lnTo>
                    <a:lnTo>
                      <a:pt x="111" y="47"/>
                    </a:lnTo>
                    <a:lnTo>
                      <a:pt x="111" y="48"/>
                    </a:lnTo>
                    <a:lnTo>
                      <a:pt x="113" y="48"/>
                    </a:lnTo>
                    <a:lnTo>
                      <a:pt x="115" y="47"/>
                    </a:lnTo>
                    <a:lnTo>
                      <a:pt x="117" y="47"/>
                    </a:lnTo>
                    <a:lnTo>
                      <a:pt x="119" y="47"/>
                    </a:lnTo>
                    <a:lnTo>
                      <a:pt x="119" y="48"/>
                    </a:lnTo>
                    <a:lnTo>
                      <a:pt x="117" y="48"/>
                    </a:lnTo>
                    <a:lnTo>
                      <a:pt x="119" y="48"/>
                    </a:lnTo>
                    <a:lnTo>
                      <a:pt x="121" y="48"/>
                    </a:lnTo>
                    <a:lnTo>
                      <a:pt x="121" y="47"/>
                    </a:lnTo>
                    <a:lnTo>
                      <a:pt x="121" y="48"/>
                    </a:lnTo>
                    <a:lnTo>
                      <a:pt x="123" y="48"/>
                    </a:lnTo>
                    <a:lnTo>
                      <a:pt x="125" y="48"/>
                    </a:lnTo>
                    <a:lnTo>
                      <a:pt x="127" y="48"/>
                    </a:lnTo>
                    <a:lnTo>
                      <a:pt x="128" y="48"/>
                    </a:lnTo>
                    <a:lnTo>
                      <a:pt x="130" y="47"/>
                    </a:lnTo>
                    <a:lnTo>
                      <a:pt x="130" y="48"/>
                    </a:lnTo>
                    <a:lnTo>
                      <a:pt x="130" y="47"/>
                    </a:lnTo>
                    <a:lnTo>
                      <a:pt x="132" y="47"/>
                    </a:lnTo>
                    <a:lnTo>
                      <a:pt x="134" y="47"/>
                    </a:lnTo>
                    <a:lnTo>
                      <a:pt x="136" y="47"/>
                    </a:lnTo>
                    <a:lnTo>
                      <a:pt x="136" y="45"/>
                    </a:lnTo>
                    <a:lnTo>
                      <a:pt x="138" y="45"/>
                    </a:lnTo>
                    <a:lnTo>
                      <a:pt x="138" y="43"/>
                    </a:lnTo>
                    <a:lnTo>
                      <a:pt x="138" y="41"/>
                    </a:lnTo>
                    <a:lnTo>
                      <a:pt x="138" y="43"/>
                    </a:lnTo>
                    <a:lnTo>
                      <a:pt x="140" y="43"/>
                    </a:lnTo>
                    <a:lnTo>
                      <a:pt x="142" y="45"/>
                    </a:lnTo>
                    <a:lnTo>
                      <a:pt x="140" y="45"/>
                    </a:lnTo>
                    <a:lnTo>
                      <a:pt x="142" y="45"/>
                    </a:lnTo>
                    <a:lnTo>
                      <a:pt x="144" y="45"/>
                    </a:lnTo>
                    <a:lnTo>
                      <a:pt x="144" y="43"/>
                    </a:lnTo>
                    <a:lnTo>
                      <a:pt x="142" y="43"/>
                    </a:lnTo>
                    <a:lnTo>
                      <a:pt x="144" y="43"/>
                    </a:lnTo>
                    <a:lnTo>
                      <a:pt x="144" y="41"/>
                    </a:lnTo>
                    <a:lnTo>
                      <a:pt x="146" y="41"/>
                    </a:lnTo>
                    <a:lnTo>
                      <a:pt x="146" y="43"/>
                    </a:lnTo>
                    <a:lnTo>
                      <a:pt x="148" y="39"/>
                    </a:lnTo>
                    <a:lnTo>
                      <a:pt x="148" y="41"/>
                    </a:lnTo>
                    <a:lnTo>
                      <a:pt x="150" y="41"/>
                    </a:lnTo>
                    <a:lnTo>
                      <a:pt x="150" y="43"/>
                    </a:lnTo>
                    <a:lnTo>
                      <a:pt x="152" y="43"/>
                    </a:lnTo>
                    <a:lnTo>
                      <a:pt x="152" y="45"/>
                    </a:lnTo>
                    <a:lnTo>
                      <a:pt x="153" y="45"/>
                    </a:lnTo>
                    <a:lnTo>
                      <a:pt x="155" y="45"/>
                    </a:lnTo>
                    <a:lnTo>
                      <a:pt x="157" y="45"/>
                    </a:lnTo>
                    <a:lnTo>
                      <a:pt x="157" y="47"/>
                    </a:lnTo>
                    <a:lnTo>
                      <a:pt x="157" y="48"/>
                    </a:lnTo>
                    <a:lnTo>
                      <a:pt x="157" y="50"/>
                    </a:lnTo>
                    <a:lnTo>
                      <a:pt x="157" y="52"/>
                    </a:lnTo>
                    <a:lnTo>
                      <a:pt x="159" y="52"/>
                    </a:lnTo>
                    <a:lnTo>
                      <a:pt x="159" y="50"/>
                    </a:lnTo>
                    <a:lnTo>
                      <a:pt x="159" y="52"/>
                    </a:lnTo>
                    <a:lnTo>
                      <a:pt x="161" y="50"/>
                    </a:lnTo>
                    <a:lnTo>
                      <a:pt x="161" y="52"/>
                    </a:lnTo>
                    <a:lnTo>
                      <a:pt x="161" y="54"/>
                    </a:lnTo>
                    <a:lnTo>
                      <a:pt x="159" y="54"/>
                    </a:lnTo>
                    <a:lnTo>
                      <a:pt x="161" y="54"/>
                    </a:lnTo>
                    <a:lnTo>
                      <a:pt x="161" y="56"/>
                    </a:lnTo>
                    <a:lnTo>
                      <a:pt x="161" y="58"/>
                    </a:lnTo>
                    <a:lnTo>
                      <a:pt x="161" y="60"/>
                    </a:lnTo>
                    <a:lnTo>
                      <a:pt x="163" y="60"/>
                    </a:lnTo>
                    <a:lnTo>
                      <a:pt x="163" y="62"/>
                    </a:lnTo>
                    <a:lnTo>
                      <a:pt x="163" y="64"/>
                    </a:lnTo>
                    <a:lnTo>
                      <a:pt x="165" y="64"/>
                    </a:lnTo>
                    <a:lnTo>
                      <a:pt x="165" y="62"/>
                    </a:lnTo>
                    <a:lnTo>
                      <a:pt x="167" y="62"/>
                    </a:lnTo>
                    <a:lnTo>
                      <a:pt x="169" y="60"/>
                    </a:lnTo>
                    <a:lnTo>
                      <a:pt x="169" y="62"/>
                    </a:lnTo>
                    <a:lnTo>
                      <a:pt x="171" y="62"/>
                    </a:lnTo>
                    <a:lnTo>
                      <a:pt x="171" y="64"/>
                    </a:lnTo>
                    <a:lnTo>
                      <a:pt x="173" y="64"/>
                    </a:lnTo>
                    <a:lnTo>
                      <a:pt x="175" y="64"/>
                    </a:lnTo>
                    <a:lnTo>
                      <a:pt x="175" y="66"/>
                    </a:lnTo>
                    <a:lnTo>
                      <a:pt x="176" y="66"/>
                    </a:lnTo>
                    <a:lnTo>
                      <a:pt x="178" y="66"/>
                    </a:lnTo>
                    <a:lnTo>
                      <a:pt x="176" y="66"/>
                    </a:lnTo>
                    <a:lnTo>
                      <a:pt x="176" y="68"/>
                    </a:lnTo>
                    <a:lnTo>
                      <a:pt x="178" y="68"/>
                    </a:lnTo>
                    <a:lnTo>
                      <a:pt x="176" y="70"/>
                    </a:lnTo>
                    <a:lnTo>
                      <a:pt x="178" y="70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Freeform 129">
                <a:extLst>
                  <a:ext uri="{FF2B5EF4-FFF2-40B4-BE49-F238E27FC236}">
                    <a16:creationId xmlns="" xmlns:a16="http://schemas.microsoft.com/office/drawing/2014/main" id="{C58E4DE1-7DF7-4F2F-A805-A23D04DABF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2575" y="4497388"/>
                <a:ext cx="258763" cy="342900"/>
              </a:xfrm>
              <a:custGeom>
                <a:avLst/>
                <a:gdLst>
                  <a:gd name="T0" fmla="*/ 142 w 163"/>
                  <a:gd name="T1" fmla="*/ 168 h 216"/>
                  <a:gd name="T2" fmla="*/ 131 w 163"/>
                  <a:gd name="T3" fmla="*/ 170 h 216"/>
                  <a:gd name="T4" fmla="*/ 133 w 163"/>
                  <a:gd name="T5" fmla="*/ 179 h 216"/>
                  <a:gd name="T6" fmla="*/ 123 w 163"/>
                  <a:gd name="T7" fmla="*/ 185 h 216"/>
                  <a:gd name="T8" fmla="*/ 121 w 163"/>
                  <a:gd name="T9" fmla="*/ 191 h 216"/>
                  <a:gd name="T10" fmla="*/ 127 w 163"/>
                  <a:gd name="T11" fmla="*/ 198 h 216"/>
                  <a:gd name="T12" fmla="*/ 102 w 163"/>
                  <a:gd name="T13" fmla="*/ 204 h 216"/>
                  <a:gd name="T14" fmla="*/ 92 w 163"/>
                  <a:gd name="T15" fmla="*/ 216 h 216"/>
                  <a:gd name="T16" fmla="*/ 88 w 163"/>
                  <a:gd name="T17" fmla="*/ 214 h 216"/>
                  <a:gd name="T18" fmla="*/ 88 w 163"/>
                  <a:gd name="T19" fmla="*/ 212 h 216"/>
                  <a:gd name="T20" fmla="*/ 84 w 163"/>
                  <a:gd name="T21" fmla="*/ 200 h 216"/>
                  <a:gd name="T22" fmla="*/ 71 w 163"/>
                  <a:gd name="T23" fmla="*/ 195 h 216"/>
                  <a:gd name="T24" fmla="*/ 83 w 163"/>
                  <a:gd name="T25" fmla="*/ 183 h 216"/>
                  <a:gd name="T26" fmla="*/ 73 w 163"/>
                  <a:gd name="T27" fmla="*/ 185 h 216"/>
                  <a:gd name="T28" fmla="*/ 65 w 163"/>
                  <a:gd name="T29" fmla="*/ 174 h 216"/>
                  <a:gd name="T30" fmla="*/ 56 w 163"/>
                  <a:gd name="T31" fmla="*/ 179 h 216"/>
                  <a:gd name="T32" fmla="*/ 50 w 163"/>
                  <a:gd name="T33" fmla="*/ 179 h 216"/>
                  <a:gd name="T34" fmla="*/ 40 w 163"/>
                  <a:gd name="T35" fmla="*/ 174 h 216"/>
                  <a:gd name="T36" fmla="*/ 38 w 163"/>
                  <a:gd name="T37" fmla="*/ 164 h 216"/>
                  <a:gd name="T38" fmla="*/ 29 w 163"/>
                  <a:gd name="T39" fmla="*/ 162 h 216"/>
                  <a:gd name="T40" fmla="*/ 19 w 163"/>
                  <a:gd name="T41" fmla="*/ 164 h 216"/>
                  <a:gd name="T42" fmla="*/ 15 w 163"/>
                  <a:gd name="T43" fmla="*/ 156 h 216"/>
                  <a:gd name="T44" fmla="*/ 17 w 163"/>
                  <a:gd name="T45" fmla="*/ 149 h 216"/>
                  <a:gd name="T46" fmla="*/ 13 w 163"/>
                  <a:gd name="T47" fmla="*/ 147 h 216"/>
                  <a:gd name="T48" fmla="*/ 10 w 163"/>
                  <a:gd name="T49" fmla="*/ 141 h 216"/>
                  <a:gd name="T50" fmla="*/ 13 w 163"/>
                  <a:gd name="T51" fmla="*/ 135 h 216"/>
                  <a:gd name="T52" fmla="*/ 21 w 163"/>
                  <a:gd name="T53" fmla="*/ 133 h 216"/>
                  <a:gd name="T54" fmla="*/ 29 w 163"/>
                  <a:gd name="T55" fmla="*/ 127 h 216"/>
                  <a:gd name="T56" fmla="*/ 21 w 163"/>
                  <a:gd name="T57" fmla="*/ 127 h 216"/>
                  <a:gd name="T58" fmla="*/ 17 w 163"/>
                  <a:gd name="T59" fmla="*/ 120 h 216"/>
                  <a:gd name="T60" fmla="*/ 10 w 163"/>
                  <a:gd name="T61" fmla="*/ 112 h 216"/>
                  <a:gd name="T62" fmla="*/ 8 w 163"/>
                  <a:gd name="T63" fmla="*/ 102 h 216"/>
                  <a:gd name="T64" fmla="*/ 4 w 163"/>
                  <a:gd name="T65" fmla="*/ 89 h 216"/>
                  <a:gd name="T66" fmla="*/ 8 w 163"/>
                  <a:gd name="T67" fmla="*/ 81 h 216"/>
                  <a:gd name="T68" fmla="*/ 17 w 163"/>
                  <a:gd name="T69" fmla="*/ 74 h 216"/>
                  <a:gd name="T70" fmla="*/ 13 w 163"/>
                  <a:gd name="T71" fmla="*/ 56 h 216"/>
                  <a:gd name="T72" fmla="*/ 17 w 163"/>
                  <a:gd name="T73" fmla="*/ 47 h 216"/>
                  <a:gd name="T74" fmla="*/ 8 w 163"/>
                  <a:gd name="T75" fmla="*/ 39 h 216"/>
                  <a:gd name="T76" fmla="*/ 11 w 163"/>
                  <a:gd name="T77" fmla="*/ 29 h 216"/>
                  <a:gd name="T78" fmla="*/ 21 w 163"/>
                  <a:gd name="T79" fmla="*/ 12 h 216"/>
                  <a:gd name="T80" fmla="*/ 36 w 163"/>
                  <a:gd name="T81" fmla="*/ 12 h 216"/>
                  <a:gd name="T82" fmla="*/ 35 w 163"/>
                  <a:gd name="T83" fmla="*/ 4 h 216"/>
                  <a:gd name="T84" fmla="*/ 52 w 163"/>
                  <a:gd name="T85" fmla="*/ 8 h 216"/>
                  <a:gd name="T86" fmla="*/ 61 w 163"/>
                  <a:gd name="T87" fmla="*/ 14 h 216"/>
                  <a:gd name="T88" fmla="*/ 75 w 163"/>
                  <a:gd name="T89" fmla="*/ 16 h 216"/>
                  <a:gd name="T90" fmla="*/ 88 w 163"/>
                  <a:gd name="T91" fmla="*/ 25 h 216"/>
                  <a:gd name="T92" fmla="*/ 104 w 163"/>
                  <a:gd name="T93" fmla="*/ 22 h 216"/>
                  <a:gd name="T94" fmla="*/ 111 w 163"/>
                  <a:gd name="T95" fmla="*/ 31 h 216"/>
                  <a:gd name="T96" fmla="*/ 117 w 163"/>
                  <a:gd name="T97" fmla="*/ 45 h 216"/>
                  <a:gd name="T98" fmla="*/ 129 w 163"/>
                  <a:gd name="T99" fmla="*/ 52 h 216"/>
                  <a:gd name="T100" fmla="*/ 133 w 163"/>
                  <a:gd name="T101" fmla="*/ 58 h 216"/>
                  <a:gd name="T102" fmla="*/ 133 w 163"/>
                  <a:gd name="T103" fmla="*/ 68 h 216"/>
                  <a:gd name="T104" fmla="*/ 131 w 163"/>
                  <a:gd name="T105" fmla="*/ 85 h 216"/>
                  <a:gd name="T106" fmla="*/ 142 w 163"/>
                  <a:gd name="T107" fmla="*/ 102 h 216"/>
                  <a:gd name="T108" fmla="*/ 148 w 163"/>
                  <a:gd name="T109" fmla="*/ 110 h 216"/>
                  <a:gd name="T110" fmla="*/ 163 w 163"/>
                  <a:gd name="T111" fmla="*/ 15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63" h="216">
                    <a:moveTo>
                      <a:pt x="161" y="150"/>
                    </a:moveTo>
                    <a:lnTo>
                      <a:pt x="161" y="152"/>
                    </a:lnTo>
                    <a:lnTo>
                      <a:pt x="156" y="156"/>
                    </a:lnTo>
                    <a:lnTo>
                      <a:pt x="154" y="160"/>
                    </a:lnTo>
                    <a:lnTo>
                      <a:pt x="146" y="166"/>
                    </a:lnTo>
                    <a:lnTo>
                      <a:pt x="144" y="166"/>
                    </a:lnTo>
                    <a:lnTo>
                      <a:pt x="142" y="168"/>
                    </a:lnTo>
                    <a:lnTo>
                      <a:pt x="138" y="170"/>
                    </a:lnTo>
                    <a:lnTo>
                      <a:pt x="138" y="168"/>
                    </a:lnTo>
                    <a:lnTo>
                      <a:pt x="136" y="168"/>
                    </a:lnTo>
                    <a:lnTo>
                      <a:pt x="134" y="168"/>
                    </a:lnTo>
                    <a:lnTo>
                      <a:pt x="134" y="166"/>
                    </a:lnTo>
                    <a:lnTo>
                      <a:pt x="131" y="168"/>
                    </a:lnTo>
                    <a:lnTo>
                      <a:pt x="131" y="170"/>
                    </a:lnTo>
                    <a:lnTo>
                      <a:pt x="131" y="172"/>
                    </a:lnTo>
                    <a:lnTo>
                      <a:pt x="129" y="170"/>
                    </a:lnTo>
                    <a:lnTo>
                      <a:pt x="129" y="174"/>
                    </a:lnTo>
                    <a:lnTo>
                      <a:pt x="131" y="175"/>
                    </a:lnTo>
                    <a:lnTo>
                      <a:pt x="133" y="175"/>
                    </a:lnTo>
                    <a:lnTo>
                      <a:pt x="133" y="177"/>
                    </a:lnTo>
                    <a:lnTo>
                      <a:pt x="133" y="179"/>
                    </a:lnTo>
                    <a:lnTo>
                      <a:pt x="134" y="179"/>
                    </a:lnTo>
                    <a:lnTo>
                      <a:pt x="133" y="179"/>
                    </a:lnTo>
                    <a:lnTo>
                      <a:pt x="133" y="181"/>
                    </a:lnTo>
                    <a:lnTo>
                      <a:pt x="131" y="183"/>
                    </a:lnTo>
                    <a:lnTo>
                      <a:pt x="129" y="185"/>
                    </a:lnTo>
                    <a:lnTo>
                      <a:pt x="127" y="187"/>
                    </a:lnTo>
                    <a:lnTo>
                      <a:pt x="123" y="185"/>
                    </a:lnTo>
                    <a:lnTo>
                      <a:pt x="121" y="185"/>
                    </a:lnTo>
                    <a:lnTo>
                      <a:pt x="117" y="185"/>
                    </a:lnTo>
                    <a:lnTo>
                      <a:pt x="113" y="187"/>
                    </a:lnTo>
                    <a:lnTo>
                      <a:pt x="115" y="187"/>
                    </a:lnTo>
                    <a:lnTo>
                      <a:pt x="115" y="189"/>
                    </a:lnTo>
                    <a:lnTo>
                      <a:pt x="117" y="189"/>
                    </a:lnTo>
                    <a:lnTo>
                      <a:pt x="121" y="191"/>
                    </a:lnTo>
                    <a:lnTo>
                      <a:pt x="121" y="193"/>
                    </a:lnTo>
                    <a:lnTo>
                      <a:pt x="123" y="193"/>
                    </a:lnTo>
                    <a:lnTo>
                      <a:pt x="125" y="195"/>
                    </a:lnTo>
                    <a:lnTo>
                      <a:pt x="127" y="195"/>
                    </a:lnTo>
                    <a:lnTo>
                      <a:pt x="129" y="197"/>
                    </a:lnTo>
                    <a:lnTo>
                      <a:pt x="127" y="197"/>
                    </a:lnTo>
                    <a:lnTo>
                      <a:pt x="127" y="198"/>
                    </a:lnTo>
                    <a:lnTo>
                      <a:pt x="121" y="206"/>
                    </a:lnTo>
                    <a:lnTo>
                      <a:pt x="119" y="204"/>
                    </a:lnTo>
                    <a:lnTo>
                      <a:pt x="115" y="214"/>
                    </a:lnTo>
                    <a:lnTo>
                      <a:pt x="108" y="208"/>
                    </a:lnTo>
                    <a:lnTo>
                      <a:pt x="109" y="204"/>
                    </a:lnTo>
                    <a:lnTo>
                      <a:pt x="104" y="200"/>
                    </a:lnTo>
                    <a:lnTo>
                      <a:pt x="102" y="204"/>
                    </a:lnTo>
                    <a:lnTo>
                      <a:pt x="102" y="206"/>
                    </a:lnTo>
                    <a:lnTo>
                      <a:pt x="100" y="212"/>
                    </a:lnTo>
                    <a:lnTo>
                      <a:pt x="96" y="216"/>
                    </a:lnTo>
                    <a:lnTo>
                      <a:pt x="96" y="214"/>
                    </a:lnTo>
                    <a:lnTo>
                      <a:pt x="94" y="214"/>
                    </a:lnTo>
                    <a:lnTo>
                      <a:pt x="92" y="214"/>
                    </a:lnTo>
                    <a:lnTo>
                      <a:pt x="92" y="216"/>
                    </a:lnTo>
                    <a:lnTo>
                      <a:pt x="90" y="216"/>
                    </a:lnTo>
                    <a:lnTo>
                      <a:pt x="90" y="214"/>
                    </a:lnTo>
                    <a:lnTo>
                      <a:pt x="90" y="216"/>
                    </a:lnTo>
                    <a:lnTo>
                      <a:pt x="88" y="216"/>
                    </a:lnTo>
                    <a:lnTo>
                      <a:pt x="88" y="214"/>
                    </a:lnTo>
                    <a:lnTo>
                      <a:pt x="86" y="214"/>
                    </a:lnTo>
                    <a:lnTo>
                      <a:pt x="88" y="214"/>
                    </a:lnTo>
                    <a:lnTo>
                      <a:pt x="88" y="212"/>
                    </a:lnTo>
                    <a:lnTo>
                      <a:pt x="88" y="214"/>
                    </a:lnTo>
                    <a:lnTo>
                      <a:pt x="86" y="214"/>
                    </a:lnTo>
                    <a:lnTo>
                      <a:pt x="86" y="212"/>
                    </a:lnTo>
                    <a:lnTo>
                      <a:pt x="88" y="212"/>
                    </a:lnTo>
                    <a:lnTo>
                      <a:pt x="88" y="210"/>
                    </a:lnTo>
                    <a:lnTo>
                      <a:pt x="88" y="212"/>
                    </a:lnTo>
                    <a:lnTo>
                      <a:pt x="88" y="210"/>
                    </a:lnTo>
                    <a:lnTo>
                      <a:pt x="86" y="210"/>
                    </a:lnTo>
                    <a:lnTo>
                      <a:pt x="90" y="204"/>
                    </a:lnTo>
                    <a:lnTo>
                      <a:pt x="86" y="202"/>
                    </a:lnTo>
                    <a:lnTo>
                      <a:pt x="88" y="200"/>
                    </a:lnTo>
                    <a:lnTo>
                      <a:pt x="86" y="200"/>
                    </a:lnTo>
                    <a:lnTo>
                      <a:pt x="84" y="200"/>
                    </a:lnTo>
                    <a:lnTo>
                      <a:pt x="84" y="198"/>
                    </a:lnTo>
                    <a:lnTo>
                      <a:pt x="83" y="198"/>
                    </a:lnTo>
                    <a:lnTo>
                      <a:pt x="81" y="198"/>
                    </a:lnTo>
                    <a:lnTo>
                      <a:pt x="79" y="198"/>
                    </a:lnTo>
                    <a:lnTo>
                      <a:pt x="75" y="197"/>
                    </a:lnTo>
                    <a:lnTo>
                      <a:pt x="73" y="195"/>
                    </a:lnTo>
                    <a:lnTo>
                      <a:pt x="71" y="195"/>
                    </a:lnTo>
                    <a:lnTo>
                      <a:pt x="75" y="189"/>
                    </a:lnTo>
                    <a:lnTo>
                      <a:pt x="77" y="189"/>
                    </a:lnTo>
                    <a:lnTo>
                      <a:pt x="79" y="187"/>
                    </a:lnTo>
                    <a:lnTo>
                      <a:pt x="81" y="189"/>
                    </a:lnTo>
                    <a:lnTo>
                      <a:pt x="83" y="185"/>
                    </a:lnTo>
                    <a:lnTo>
                      <a:pt x="84" y="183"/>
                    </a:lnTo>
                    <a:lnTo>
                      <a:pt x="83" y="183"/>
                    </a:lnTo>
                    <a:lnTo>
                      <a:pt x="81" y="183"/>
                    </a:lnTo>
                    <a:lnTo>
                      <a:pt x="81" y="185"/>
                    </a:lnTo>
                    <a:lnTo>
                      <a:pt x="79" y="185"/>
                    </a:lnTo>
                    <a:lnTo>
                      <a:pt x="77" y="185"/>
                    </a:lnTo>
                    <a:lnTo>
                      <a:pt x="75" y="187"/>
                    </a:lnTo>
                    <a:lnTo>
                      <a:pt x="73" y="187"/>
                    </a:lnTo>
                    <a:lnTo>
                      <a:pt x="73" y="185"/>
                    </a:lnTo>
                    <a:lnTo>
                      <a:pt x="71" y="183"/>
                    </a:lnTo>
                    <a:lnTo>
                      <a:pt x="73" y="181"/>
                    </a:lnTo>
                    <a:lnTo>
                      <a:pt x="67" y="177"/>
                    </a:lnTo>
                    <a:lnTo>
                      <a:pt x="65" y="175"/>
                    </a:lnTo>
                    <a:lnTo>
                      <a:pt x="67" y="175"/>
                    </a:lnTo>
                    <a:lnTo>
                      <a:pt x="65" y="175"/>
                    </a:lnTo>
                    <a:lnTo>
                      <a:pt x="65" y="174"/>
                    </a:lnTo>
                    <a:lnTo>
                      <a:pt x="63" y="174"/>
                    </a:lnTo>
                    <a:lnTo>
                      <a:pt x="63" y="175"/>
                    </a:lnTo>
                    <a:lnTo>
                      <a:pt x="63" y="174"/>
                    </a:lnTo>
                    <a:lnTo>
                      <a:pt x="61" y="175"/>
                    </a:lnTo>
                    <a:lnTo>
                      <a:pt x="60" y="175"/>
                    </a:lnTo>
                    <a:lnTo>
                      <a:pt x="58" y="175"/>
                    </a:lnTo>
                    <a:lnTo>
                      <a:pt x="56" y="179"/>
                    </a:lnTo>
                    <a:lnTo>
                      <a:pt x="54" y="179"/>
                    </a:lnTo>
                    <a:lnTo>
                      <a:pt x="54" y="181"/>
                    </a:lnTo>
                    <a:lnTo>
                      <a:pt x="52" y="183"/>
                    </a:lnTo>
                    <a:lnTo>
                      <a:pt x="52" y="181"/>
                    </a:lnTo>
                    <a:lnTo>
                      <a:pt x="50" y="181"/>
                    </a:lnTo>
                    <a:lnTo>
                      <a:pt x="52" y="179"/>
                    </a:lnTo>
                    <a:lnTo>
                      <a:pt x="50" y="179"/>
                    </a:lnTo>
                    <a:lnTo>
                      <a:pt x="48" y="179"/>
                    </a:lnTo>
                    <a:lnTo>
                      <a:pt x="48" y="177"/>
                    </a:lnTo>
                    <a:lnTo>
                      <a:pt x="46" y="177"/>
                    </a:lnTo>
                    <a:lnTo>
                      <a:pt x="46" y="175"/>
                    </a:lnTo>
                    <a:lnTo>
                      <a:pt x="44" y="174"/>
                    </a:lnTo>
                    <a:lnTo>
                      <a:pt x="42" y="174"/>
                    </a:lnTo>
                    <a:lnTo>
                      <a:pt x="40" y="174"/>
                    </a:lnTo>
                    <a:lnTo>
                      <a:pt x="38" y="174"/>
                    </a:lnTo>
                    <a:lnTo>
                      <a:pt x="36" y="174"/>
                    </a:lnTo>
                    <a:lnTo>
                      <a:pt x="36" y="175"/>
                    </a:lnTo>
                    <a:lnTo>
                      <a:pt x="36" y="172"/>
                    </a:lnTo>
                    <a:lnTo>
                      <a:pt x="36" y="170"/>
                    </a:lnTo>
                    <a:lnTo>
                      <a:pt x="38" y="166"/>
                    </a:lnTo>
                    <a:lnTo>
                      <a:pt x="38" y="164"/>
                    </a:lnTo>
                    <a:lnTo>
                      <a:pt x="38" y="162"/>
                    </a:lnTo>
                    <a:lnTo>
                      <a:pt x="36" y="162"/>
                    </a:lnTo>
                    <a:lnTo>
                      <a:pt x="35" y="164"/>
                    </a:lnTo>
                    <a:lnTo>
                      <a:pt x="33" y="166"/>
                    </a:lnTo>
                    <a:lnTo>
                      <a:pt x="33" y="164"/>
                    </a:lnTo>
                    <a:lnTo>
                      <a:pt x="31" y="164"/>
                    </a:lnTo>
                    <a:lnTo>
                      <a:pt x="29" y="162"/>
                    </a:lnTo>
                    <a:lnTo>
                      <a:pt x="27" y="162"/>
                    </a:lnTo>
                    <a:lnTo>
                      <a:pt x="25" y="162"/>
                    </a:lnTo>
                    <a:lnTo>
                      <a:pt x="23" y="162"/>
                    </a:lnTo>
                    <a:lnTo>
                      <a:pt x="21" y="162"/>
                    </a:lnTo>
                    <a:lnTo>
                      <a:pt x="21" y="164"/>
                    </a:lnTo>
                    <a:lnTo>
                      <a:pt x="21" y="166"/>
                    </a:lnTo>
                    <a:lnTo>
                      <a:pt x="19" y="164"/>
                    </a:lnTo>
                    <a:lnTo>
                      <a:pt x="17" y="164"/>
                    </a:lnTo>
                    <a:lnTo>
                      <a:pt x="17" y="162"/>
                    </a:lnTo>
                    <a:lnTo>
                      <a:pt x="15" y="160"/>
                    </a:lnTo>
                    <a:lnTo>
                      <a:pt x="13" y="160"/>
                    </a:lnTo>
                    <a:lnTo>
                      <a:pt x="13" y="158"/>
                    </a:lnTo>
                    <a:lnTo>
                      <a:pt x="15" y="158"/>
                    </a:lnTo>
                    <a:lnTo>
                      <a:pt x="15" y="156"/>
                    </a:lnTo>
                    <a:lnTo>
                      <a:pt x="17" y="156"/>
                    </a:lnTo>
                    <a:lnTo>
                      <a:pt x="17" y="154"/>
                    </a:lnTo>
                    <a:lnTo>
                      <a:pt x="15" y="152"/>
                    </a:lnTo>
                    <a:lnTo>
                      <a:pt x="15" y="150"/>
                    </a:lnTo>
                    <a:lnTo>
                      <a:pt x="17" y="152"/>
                    </a:lnTo>
                    <a:lnTo>
                      <a:pt x="17" y="150"/>
                    </a:lnTo>
                    <a:lnTo>
                      <a:pt x="17" y="149"/>
                    </a:lnTo>
                    <a:lnTo>
                      <a:pt x="15" y="149"/>
                    </a:lnTo>
                    <a:lnTo>
                      <a:pt x="17" y="149"/>
                    </a:lnTo>
                    <a:lnTo>
                      <a:pt x="17" y="147"/>
                    </a:lnTo>
                    <a:lnTo>
                      <a:pt x="19" y="145"/>
                    </a:lnTo>
                    <a:lnTo>
                      <a:pt x="15" y="145"/>
                    </a:lnTo>
                    <a:lnTo>
                      <a:pt x="13" y="145"/>
                    </a:lnTo>
                    <a:lnTo>
                      <a:pt x="13" y="147"/>
                    </a:lnTo>
                    <a:lnTo>
                      <a:pt x="11" y="147"/>
                    </a:lnTo>
                    <a:lnTo>
                      <a:pt x="13" y="147"/>
                    </a:lnTo>
                    <a:lnTo>
                      <a:pt x="11" y="147"/>
                    </a:lnTo>
                    <a:lnTo>
                      <a:pt x="11" y="145"/>
                    </a:lnTo>
                    <a:lnTo>
                      <a:pt x="10" y="145"/>
                    </a:lnTo>
                    <a:lnTo>
                      <a:pt x="10" y="143"/>
                    </a:lnTo>
                    <a:lnTo>
                      <a:pt x="10" y="141"/>
                    </a:lnTo>
                    <a:lnTo>
                      <a:pt x="11" y="139"/>
                    </a:lnTo>
                    <a:lnTo>
                      <a:pt x="10" y="141"/>
                    </a:lnTo>
                    <a:lnTo>
                      <a:pt x="10" y="139"/>
                    </a:lnTo>
                    <a:lnTo>
                      <a:pt x="10" y="137"/>
                    </a:lnTo>
                    <a:lnTo>
                      <a:pt x="11" y="137"/>
                    </a:lnTo>
                    <a:lnTo>
                      <a:pt x="11" y="135"/>
                    </a:lnTo>
                    <a:lnTo>
                      <a:pt x="13" y="135"/>
                    </a:lnTo>
                    <a:lnTo>
                      <a:pt x="13" y="133"/>
                    </a:lnTo>
                    <a:lnTo>
                      <a:pt x="15" y="133"/>
                    </a:lnTo>
                    <a:lnTo>
                      <a:pt x="17" y="133"/>
                    </a:lnTo>
                    <a:lnTo>
                      <a:pt x="19" y="133"/>
                    </a:lnTo>
                    <a:lnTo>
                      <a:pt x="21" y="133"/>
                    </a:lnTo>
                    <a:lnTo>
                      <a:pt x="21" y="131"/>
                    </a:lnTo>
                    <a:lnTo>
                      <a:pt x="21" y="133"/>
                    </a:lnTo>
                    <a:lnTo>
                      <a:pt x="23" y="133"/>
                    </a:lnTo>
                    <a:lnTo>
                      <a:pt x="23" y="131"/>
                    </a:lnTo>
                    <a:lnTo>
                      <a:pt x="25" y="133"/>
                    </a:lnTo>
                    <a:lnTo>
                      <a:pt x="25" y="131"/>
                    </a:lnTo>
                    <a:lnTo>
                      <a:pt x="29" y="131"/>
                    </a:lnTo>
                    <a:lnTo>
                      <a:pt x="29" y="129"/>
                    </a:lnTo>
                    <a:lnTo>
                      <a:pt x="29" y="127"/>
                    </a:lnTo>
                    <a:lnTo>
                      <a:pt x="29" y="125"/>
                    </a:lnTo>
                    <a:lnTo>
                      <a:pt x="29" y="124"/>
                    </a:lnTo>
                    <a:lnTo>
                      <a:pt x="27" y="124"/>
                    </a:lnTo>
                    <a:lnTo>
                      <a:pt x="27" y="125"/>
                    </a:lnTo>
                    <a:lnTo>
                      <a:pt x="25" y="125"/>
                    </a:lnTo>
                    <a:lnTo>
                      <a:pt x="23" y="124"/>
                    </a:lnTo>
                    <a:lnTo>
                      <a:pt x="21" y="127"/>
                    </a:lnTo>
                    <a:lnTo>
                      <a:pt x="19" y="127"/>
                    </a:lnTo>
                    <a:lnTo>
                      <a:pt x="19" y="125"/>
                    </a:lnTo>
                    <a:lnTo>
                      <a:pt x="19" y="124"/>
                    </a:lnTo>
                    <a:lnTo>
                      <a:pt x="21" y="124"/>
                    </a:lnTo>
                    <a:lnTo>
                      <a:pt x="19" y="124"/>
                    </a:lnTo>
                    <a:lnTo>
                      <a:pt x="19" y="122"/>
                    </a:lnTo>
                    <a:lnTo>
                      <a:pt x="17" y="120"/>
                    </a:lnTo>
                    <a:lnTo>
                      <a:pt x="17" y="118"/>
                    </a:lnTo>
                    <a:lnTo>
                      <a:pt x="15" y="118"/>
                    </a:lnTo>
                    <a:lnTo>
                      <a:pt x="13" y="116"/>
                    </a:lnTo>
                    <a:lnTo>
                      <a:pt x="11" y="114"/>
                    </a:lnTo>
                    <a:lnTo>
                      <a:pt x="10" y="114"/>
                    </a:lnTo>
                    <a:lnTo>
                      <a:pt x="11" y="114"/>
                    </a:lnTo>
                    <a:lnTo>
                      <a:pt x="10" y="112"/>
                    </a:lnTo>
                    <a:lnTo>
                      <a:pt x="10" y="110"/>
                    </a:lnTo>
                    <a:lnTo>
                      <a:pt x="10" y="108"/>
                    </a:lnTo>
                    <a:lnTo>
                      <a:pt x="10" y="106"/>
                    </a:lnTo>
                    <a:lnTo>
                      <a:pt x="11" y="106"/>
                    </a:lnTo>
                    <a:lnTo>
                      <a:pt x="11" y="104"/>
                    </a:lnTo>
                    <a:lnTo>
                      <a:pt x="10" y="102"/>
                    </a:lnTo>
                    <a:lnTo>
                      <a:pt x="8" y="102"/>
                    </a:lnTo>
                    <a:lnTo>
                      <a:pt x="6" y="102"/>
                    </a:lnTo>
                    <a:lnTo>
                      <a:pt x="4" y="100"/>
                    </a:lnTo>
                    <a:lnTo>
                      <a:pt x="4" y="99"/>
                    </a:lnTo>
                    <a:lnTo>
                      <a:pt x="2" y="99"/>
                    </a:lnTo>
                    <a:lnTo>
                      <a:pt x="2" y="97"/>
                    </a:lnTo>
                    <a:lnTo>
                      <a:pt x="0" y="95"/>
                    </a:lnTo>
                    <a:lnTo>
                      <a:pt x="4" y="89"/>
                    </a:lnTo>
                    <a:lnTo>
                      <a:pt x="2" y="89"/>
                    </a:lnTo>
                    <a:lnTo>
                      <a:pt x="0" y="89"/>
                    </a:lnTo>
                    <a:lnTo>
                      <a:pt x="2" y="85"/>
                    </a:lnTo>
                    <a:lnTo>
                      <a:pt x="2" y="83"/>
                    </a:lnTo>
                    <a:lnTo>
                      <a:pt x="2" y="81"/>
                    </a:lnTo>
                    <a:lnTo>
                      <a:pt x="6" y="81"/>
                    </a:lnTo>
                    <a:lnTo>
                      <a:pt x="8" y="81"/>
                    </a:lnTo>
                    <a:lnTo>
                      <a:pt x="10" y="79"/>
                    </a:lnTo>
                    <a:lnTo>
                      <a:pt x="10" y="81"/>
                    </a:lnTo>
                    <a:lnTo>
                      <a:pt x="10" y="79"/>
                    </a:lnTo>
                    <a:lnTo>
                      <a:pt x="11" y="79"/>
                    </a:lnTo>
                    <a:lnTo>
                      <a:pt x="13" y="77"/>
                    </a:lnTo>
                    <a:lnTo>
                      <a:pt x="15" y="75"/>
                    </a:lnTo>
                    <a:lnTo>
                      <a:pt x="17" y="74"/>
                    </a:lnTo>
                    <a:lnTo>
                      <a:pt x="19" y="68"/>
                    </a:lnTo>
                    <a:lnTo>
                      <a:pt x="17" y="68"/>
                    </a:lnTo>
                    <a:lnTo>
                      <a:pt x="13" y="64"/>
                    </a:lnTo>
                    <a:lnTo>
                      <a:pt x="13" y="62"/>
                    </a:lnTo>
                    <a:lnTo>
                      <a:pt x="13" y="60"/>
                    </a:lnTo>
                    <a:lnTo>
                      <a:pt x="13" y="58"/>
                    </a:lnTo>
                    <a:lnTo>
                      <a:pt x="13" y="56"/>
                    </a:lnTo>
                    <a:lnTo>
                      <a:pt x="13" y="54"/>
                    </a:lnTo>
                    <a:lnTo>
                      <a:pt x="17" y="50"/>
                    </a:lnTo>
                    <a:lnTo>
                      <a:pt x="17" y="49"/>
                    </a:lnTo>
                    <a:lnTo>
                      <a:pt x="15" y="47"/>
                    </a:lnTo>
                    <a:lnTo>
                      <a:pt x="17" y="47"/>
                    </a:lnTo>
                    <a:lnTo>
                      <a:pt x="15" y="47"/>
                    </a:lnTo>
                    <a:lnTo>
                      <a:pt x="17" y="47"/>
                    </a:lnTo>
                    <a:lnTo>
                      <a:pt x="17" y="45"/>
                    </a:lnTo>
                    <a:lnTo>
                      <a:pt x="15" y="45"/>
                    </a:lnTo>
                    <a:lnTo>
                      <a:pt x="15" y="47"/>
                    </a:lnTo>
                    <a:lnTo>
                      <a:pt x="13" y="45"/>
                    </a:lnTo>
                    <a:lnTo>
                      <a:pt x="13" y="47"/>
                    </a:lnTo>
                    <a:lnTo>
                      <a:pt x="8" y="41"/>
                    </a:lnTo>
                    <a:lnTo>
                      <a:pt x="8" y="39"/>
                    </a:lnTo>
                    <a:lnTo>
                      <a:pt x="10" y="39"/>
                    </a:lnTo>
                    <a:lnTo>
                      <a:pt x="10" y="37"/>
                    </a:lnTo>
                    <a:lnTo>
                      <a:pt x="10" y="35"/>
                    </a:lnTo>
                    <a:lnTo>
                      <a:pt x="10" y="33"/>
                    </a:lnTo>
                    <a:lnTo>
                      <a:pt x="11" y="33"/>
                    </a:lnTo>
                    <a:lnTo>
                      <a:pt x="11" y="31"/>
                    </a:lnTo>
                    <a:lnTo>
                      <a:pt x="11" y="29"/>
                    </a:lnTo>
                    <a:lnTo>
                      <a:pt x="11" y="27"/>
                    </a:lnTo>
                    <a:lnTo>
                      <a:pt x="11" y="25"/>
                    </a:lnTo>
                    <a:lnTo>
                      <a:pt x="13" y="22"/>
                    </a:lnTo>
                    <a:lnTo>
                      <a:pt x="11" y="22"/>
                    </a:lnTo>
                    <a:lnTo>
                      <a:pt x="11" y="20"/>
                    </a:lnTo>
                    <a:lnTo>
                      <a:pt x="17" y="10"/>
                    </a:lnTo>
                    <a:lnTo>
                      <a:pt x="21" y="12"/>
                    </a:lnTo>
                    <a:lnTo>
                      <a:pt x="23" y="12"/>
                    </a:lnTo>
                    <a:lnTo>
                      <a:pt x="25" y="14"/>
                    </a:lnTo>
                    <a:lnTo>
                      <a:pt x="25" y="16"/>
                    </a:lnTo>
                    <a:lnTo>
                      <a:pt x="29" y="18"/>
                    </a:lnTo>
                    <a:lnTo>
                      <a:pt x="31" y="12"/>
                    </a:lnTo>
                    <a:lnTo>
                      <a:pt x="35" y="14"/>
                    </a:lnTo>
                    <a:lnTo>
                      <a:pt x="36" y="12"/>
                    </a:lnTo>
                    <a:lnTo>
                      <a:pt x="35" y="12"/>
                    </a:lnTo>
                    <a:lnTo>
                      <a:pt x="36" y="12"/>
                    </a:lnTo>
                    <a:lnTo>
                      <a:pt x="36" y="10"/>
                    </a:lnTo>
                    <a:lnTo>
                      <a:pt x="36" y="8"/>
                    </a:lnTo>
                    <a:lnTo>
                      <a:pt x="38" y="8"/>
                    </a:lnTo>
                    <a:lnTo>
                      <a:pt x="38" y="6"/>
                    </a:lnTo>
                    <a:lnTo>
                      <a:pt x="35" y="4"/>
                    </a:lnTo>
                    <a:lnTo>
                      <a:pt x="38" y="0"/>
                    </a:lnTo>
                    <a:lnTo>
                      <a:pt x="46" y="6"/>
                    </a:lnTo>
                    <a:lnTo>
                      <a:pt x="48" y="2"/>
                    </a:lnTo>
                    <a:lnTo>
                      <a:pt x="48" y="4"/>
                    </a:lnTo>
                    <a:lnTo>
                      <a:pt x="50" y="4"/>
                    </a:lnTo>
                    <a:lnTo>
                      <a:pt x="52" y="6"/>
                    </a:lnTo>
                    <a:lnTo>
                      <a:pt x="52" y="8"/>
                    </a:lnTo>
                    <a:lnTo>
                      <a:pt x="54" y="8"/>
                    </a:lnTo>
                    <a:lnTo>
                      <a:pt x="56" y="10"/>
                    </a:lnTo>
                    <a:lnTo>
                      <a:pt x="58" y="10"/>
                    </a:lnTo>
                    <a:lnTo>
                      <a:pt x="58" y="12"/>
                    </a:lnTo>
                    <a:lnTo>
                      <a:pt x="60" y="12"/>
                    </a:lnTo>
                    <a:lnTo>
                      <a:pt x="61" y="12"/>
                    </a:lnTo>
                    <a:lnTo>
                      <a:pt x="61" y="14"/>
                    </a:lnTo>
                    <a:lnTo>
                      <a:pt x="63" y="16"/>
                    </a:lnTo>
                    <a:lnTo>
                      <a:pt x="65" y="16"/>
                    </a:lnTo>
                    <a:lnTo>
                      <a:pt x="69" y="20"/>
                    </a:lnTo>
                    <a:lnTo>
                      <a:pt x="69" y="22"/>
                    </a:lnTo>
                    <a:lnTo>
                      <a:pt x="71" y="22"/>
                    </a:lnTo>
                    <a:lnTo>
                      <a:pt x="73" y="20"/>
                    </a:lnTo>
                    <a:lnTo>
                      <a:pt x="75" y="16"/>
                    </a:lnTo>
                    <a:lnTo>
                      <a:pt x="77" y="16"/>
                    </a:lnTo>
                    <a:lnTo>
                      <a:pt x="77" y="14"/>
                    </a:lnTo>
                    <a:lnTo>
                      <a:pt x="79" y="12"/>
                    </a:lnTo>
                    <a:lnTo>
                      <a:pt x="84" y="14"/>
                    </a:lnTo>
                    <a:lnTo>
                      <a:pt x="81" y="20"/>
                    </a:lnTo>
                    <a:lnTo>
                      <a:pt x="79" y="24"/>
                    </a:lnTo>
                    <a:lnTo>
                      <a:pt x="88" y="25"/>
                    </a:lnTo>
                    <a:lnTo>
                      <a:pt x="94" y="24"/>
                    </a:lnTo>
                    <a:lnTo>
                      <a:pt x="96" y="25"/>
                    </a:lnTo>
                    <a:lnTo>
                      <a:pt x="100" y="24"/>
                    </a:lnTo>
                    <a:lnTo>
                      <a:pt x="102" y="24"/>
                    </a:lnTo>
                    <a:lnTo>
                      <a:pt x="104" y="22"/>
                    </a:lnTo>
                    <a:lnTo>
                      <a:pt x="104" y="20"/>
                    </a:lnTo>
                    <a:lnTo>
                      <a:pt x="104" y="22"/>
                    </a:lnTo>
                    <a:lnTo>
                      <a:pt x="106" y="22"/>
                    </a:lnTo>
                    <a:lnTo>
                      <a:pt x="108" y="20"/>
                    </a:lnTo>
                    <a:lnTo>
                      <a:pt x="109" y="20"/>
                    </a:lnTo>
                    <a:lnTo>
                      <a:pt x="108" y="24"/>
                    </a:lnTo>
                    <a:lnTo>
                      <a:pt x="109" y="25"/>
                    </a:lnTo>
                    <a:lnTo>
                      <a:pt x="109" y="29"/>
                    </a:lnTo>
                    <a:lnTo>
                      <a:pt x="111" y="31"/>
                    </a:lnTo>
                    <a:lnTo>
                      <a:pt x="113" y="31"/>
                    </a:lnTo>
                    <a:lnTo>
                      <a:pt x="113" y="33"/>
                    </a:lnTo>
                    <a:lnTo>
                      <a:pt x="115" y="33"/>
                    </a:lnTo>
                    <a:lnTo>
                      <a:pt x="117" y="37"/>
                    </a:lnTo>
                    <a:lnTo>
                      <a:pt x="115" y="41"/>
                    </a:lnTo>
                    <a:lnTo>
                      <a:pt x="117" y="43"/>
                    </a:lnTo>
                    <a:lnTo>
                      <a:pt x="117" y="45"/>
                    </a:lnTo>
                    <a:lnTo>
                      <a:pt x="119" y="47"/>
                    </a:lnTo>
                    <a:lnTo>
                      <a:pt x="121" y="49"/>
                    </a:lnTo>
                    <a:lnTo>
                      <a:pt x="123" y="49"/>
                    </a:lnTo>
                    <a:lnTo>
                      <a:pt x="125" y="50"/>
                    </a:lnTo>
                    <a:lnTo>
                      <a:pt x="127" y="50"/>
                    </a:lnTo>
                    <a:lnTo>
                      <a:pt x="127" y="52"/>
                    </a:lnTo>
                    <a:lnTo>
                      <a:pt x="129" y="52"/>
                    </a:lnTo>
                    <a:lnTo>
                      <a:pt x="129" y="54"/>
                    </a:lnTo>
                    <a:lnTo>
                      <a:pt x="131" y="54"/>
                    </a:lnTo>
                    <a:lnTo>
                      <a:pt x="131" y="56"/>
                    </a:lnTo>
                    <a:lnTo>
                      <a:pt x="133" y="56"/>
                    </a:lnTo>
                    <a:lnTo>
                      <a:pt x="131" y="56"/>
                    </a:lnTo>
                    <a:lnTo>
                      <a:pt x="133" y="56"/>
                    </a:lnTo>
                    <a:lnTo>
                      <a:pt x="133" y="58"/>
                    </a:lnTo>
                    <a:lnTo>
                      <a:pt x="131" y="58"/>
                    </a:lnTo>
                    <a:lnTo>
                      <a:pt x="131" y="60"/>
                    </a:lnTo>
                    <a:lnTo>
                      <a:pt x="133" y="62"/>
                    </a:lnTo>
                    <a:lnTo>
                      <a:pt x="134" y="64"/>
                    </a:lnTo>
                    <a:lnTo>
                      <a:pt x="133" y="64"/>
                    </a:lnTo>
                    <a:lnTo>
                      <a:pt x="133" y="66"/>
                    </a:lnTo>
                    <a:lnTo>
                      <a:pt x="133" y="68"/>
                    </a:lnTo>
                    <a:lnTo>
                      <a:pt x="133" y="72"/>
                    </a:lnTo>
                    <a:lnTo>
                      <a:pt x="133" y="74"/>
                    </a:lnTo>
                    <a:lnTo>
                      <a:pt x="131" y="75"/>
                    </a:lnTo>
                    <a:lnTo>
                      <a:pt x="131" y="77"/>
                    </a:lnTo>
                    <a:lnTo>
                      <a:pt x="131" y="79"/>
                    </a:lnTo>
                    <a:lnTo>
                      <a:pt x="131" y="83"/>
                    </a:lnTo>
                    <a:lnTo>
                      <a:pt x="131" y="85"/>
                    </a:lnTo>
                    <a:lnTo>
                      <a:pt x="133" y="87"/>
                    </a:lnTo>
                    <a:lnTo>
                      <a:pt x="133" y="89"/>
                    </a:lnTo>
                    <a:lnTo>
                      <a:pt x="134" y="91"/>
                    </a:lnTo>
                    <a:lnTo>
                      <a:pt x="136" y="95"/>
                    </a:lnTo>
                    <a:lnTo>
                      <a:pt x="138" y="97"/>
                    </a:lnTo>
                    <a:lnTo>
                      <a:pt x="140" y="100"/>
                    </a:lnTo>
                    <a:lnTo>
                      <a:pt x="142" y="102"/>
                    </a:lnTo>
                    <a:lnTo>
                      <a:pt x="142" y="104"/>
                    </a:lnTo>
                    <a:lnTo>
                      <a:pt x="144" y="104"/>
                    </a:lnTo>
                    <a:lnTo>
                      <a:pt x="144" y="106"/>
                    </a:lnTo>
                    <a:lnTo>
                      <a:pt x="146" y="106"/>
                    </a:lnTo>
                    <a:lnTo>
                      <a:pt x="146" y="108"/>
                    </a:lnTo>
                    <a:lnTo>
                      <a:pt x="148" y="108"/>
                    </a:lnTo>
                    <a:lnTo>
                      <a:pt x="148" y="110"/>
                    </a:lnTo>
                    <a:lnTo>
                      <a:pt x="150" y="116"/>
                    </a:lnTo>
                    <a:lnTo>
                      <a:pt x="152" y="118"/>
                    </a:lnTo>
                    <a:lnTo>
                      <a:pt x="154" y="120"/>
                    </a:lnTo>
                    <a:lnTo>
                      <a:pt x="154" y="122"/>
                    </a:lnTo>
                    <a:lnTo>
                      <a:pt x="161" y="135"/>
                    </a:lnTo>
                    <a:lnTo>
                      <a:pt x="163" y="141"/>
                    </a:lnTo>
                    <a:lnTo>
                      <a:pt x="163" y="150"/>
                    </a:lnTo>
                    <a:lnTo>
                      <a:pt x="161" y="150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Freeform 130">
                <a:extLst>
                  <a:ext uri="{FF2B5EF4-FFF2-40B4-BE49-F238E27FC236}">
                    <a16:creationId xmlns="" xmlns:a16="http://schemas.microsoft.com/office/drawing/2014/main" id="{A2483B6A-94D1-4828-92C3-F95E1A00EC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9575" y="3384551"/>
                <a:ext cx="493713" cy="625475"/>
              </a:xfrm>
              <a:custGeom>
                <a:avLst/>
                <a:gdLst>
                  <a:gd name="T0" fmla="*/ 305 w 311"/>
                  <a:gd name="T1" fmla="*/ 298 h 394"/>
                  <a:gd name="T2" fmla="*/ 294 w 311"/>
                  <a:gd name="T3" fmla="*/ 315 h 394"/>
                  <a:gd name="T4" fmla="*/ 286 w 311"/>
                  <a:gd name="T5" fmla="*/ 321 h 394"/>
                  <a:gd name="T6" fmla="*/ 276 w 311"/>
                  <a:gd name="T7" fmla="*/ 319 h 394"/>
                  <a:gd name="T8" fmla="*/ 259 w 311"/>
                  <a:gd name="T9" fmla="*/ 330 h 394"/>
                  <a:gd name="T10" fmla="*/ 253 w 311"/>
                  <a:gd name="T11" fmla="*/ 348 h 394"/>
                  <a:gd name="T12" fmla="*/ 252 w 311"/>
                  <a:gd name="T13" fmla="*/ 371 h 394"/>
                  <a:gd name="T14" fmla="*/ 242 w 311"/>
                  <a:gd name="T15" fmla="*/ 380 h 394"/>
                  <a:gd name="T16" fmla="*/ 230 w 311"/>
                  <a:gd name="T17" fmla="*/ 377 h 394"/>
                  <a:gd name="T18" fmla="*/ 221 w 311"/>
                  <a:gd name="T19" fmla="*/ 386 h 394"/>
                  <a:gd name="T20" fmla="*/ 207 w 311"/>
                  <a:gd name="T21" fmla="*/ 390 h 394"/>
                  <a:gd name="T22" fmla="*/ 198 w 311"/>
                  <a:gd name="T23" fmla="*/ 378 h 394"/>
                  <a:gd name="T24" fmla="*/ 190 w 311"/>
                  <a:gd name="T25" fmla="*/ 382 h 394"/>
                  <a:gd name="T26" fmla="*/ 182 w 311"/>
                  <a:gd name="T27" fmla="*/ 375 h 394"/>
                  <a:gd name="T28" fmla="*/ 167 w 311"/>
                  <a:gd name="T29" fmla="*/ 375 h 394"/>
                  <a:gd name="T30" fmla="*/ 159 w 311"/>
                  <a:gd name="T31" fmla="*/ 375 h 394"/>
                  <a:gd name="T32" fmla="*/ 150 w 311"/>
                  <a:gd name="T33" fmla="*/ 384 h 394"/>
                  <a:gd name="T34" fmla="*/ 138 w 311"/>
                  <a:gd name="T35" fmla="*/ 390 h 394"/>
                  <a:gd name="T36" fmla="*/ 134 w 311"/>
                  <a:gd name="T37" fmla="*/ 377 h 394"/>
                  <a:gd name="T38" fmla="*/ 127 w 311"/>
                  <a:gd name="T39" fmla="*/ 373 h 394"/>
                  <a:gd name="T40" fmla="*/ 117 w 311"/>
                  <a:gd name="T41" fmla="*/ 373 h 394"/>
                  <a:gd name="T42" fmla="*/ 109 w 311"/>
                  <a:gd name="T43" fmla="*/ 377 h 394"/>
                  <a:gd name="T44" fmla="*/ 98 w 311"/>
                  <a:gd name="T45" fmla="*/ 371 h 394"/>
                  <a:gd name="T46" fmla="*/ 88 w 311"/>
                  <a:gd name="T47" fmla="*/ 369 h 394"/>
                  <a:gd name="T48" fmla="*/ 77 w 311"/>
                  <a:gd name="T49" fmla="*/ 361 h 394"/>
                  <a:gd name="T50" fmla="*/ 61 w 311"/>
                  <a:gd name="T51" fmla="*/ 348 h 394"/>
                  <a:gd name="T52" fmla="*/ 54 w 311"/>
                  <a:gd name="T53" fmla="*/ 355 h 394"/>
                  <a:gd name="T54" fmla="*/ 48 w 311"/>
                  <a:gd name="T55" fmla="*/ 357 h 394"/>
                  <a:gd name="T56" fmla="*/ 38 w 311"/>
                  <a:gd name="T57" fmla="*/ 357 h 394"/>
                  <a:gd name="T58" fmla="*/ 27 w 311"/>
                  <a:gd name="T59" fmla="*/ 354 h 394"/>
                  <a:gd name="T60" fmla="*/ 19 w 311"/>
                  <a:gd name="T61" fmla="*/ 350 h 394"/>
                  <a:gd name="T62" fmla="*/ 8 w 311"/>
                  <a:gd name="T63" fmla="*/ 344 h 394"/>
                  <a:gd name="T64" fmla="*/ 2 w 311"/>
                  <a:gd name="T65" fmla="*/ 336 h 394"/>
                  <a:gd name="T66" fmla="*/ 4 w 311"/>
                  <a:gd name="T67" fmla="*/ 327 h 394"/>
                  <a:gd name="T68" fmla="*/ 13 w 311"/>
                  <a:gd name="T69" fmla="*/ 307 h 394"/>
                  <a:gd name="T70" fmla="*/ 15 w 311"/>
                  <a:gd name="T71" fmla="*/ 288 h 394"/>
                  <a:gd name="T72" fmla="*/ 31 w 311"/>
                  <a:gd name="T73" fmla="*/ 290 h 394"/>
                  <a:gd name="T74" fmla="*/ 40 w 311"/>
                  <a:gd name="T75" fmla="*/ 288 h 394"/>
                  <a:gd name="T76" fmla="*/ 44 w 311"/>
                  <a:gd name="T77" fmla="*/ 286 h 394"/>
                  <a:gd name="T78" fmla="*/ 46 w 311"/>
                  <a:gd name="T79" fmla="*/ 271 h 394"/>
                  <a:gd name="T80" fmla="*/ 59 w 311"/>
                  <a:gd name="T81" fmla="*/ 250 h 394"/>
                  <a:gd name="T82" fmla="*/ 82 w 311"/>
                  <a:gd name="T83" fmla="*/ 246 h 394"/>
                  <a:gd name="T84" fmla="*/ 88 w 311"/>
                  <a:gd name="T85" fmla="*/ 229 h 394"/>
                  <a:gd name="T86" fmla="*/ 109 w 311"/>
                  <a:gd name="T87" fmla="*/ 219 h 394"/>
                  <a:gd name="T88" fmla="*/ 117 w 311"/>
                  <a:gd name="T89" fmla="*/ 200 h 394"/>
                  <a:gd name="T90" fmla="*/ 119 w 311"/>
                  <a:gd name="T91" fmla="*/ 180 h 394"/>
                  <a:gd name="T92" fmla="*/ 113 w 311"/>
                  <a:gd name="T93" fmla="*/ 152 h 394"/>
                  <a:gd name="T94" fmla="*/ 113 w 311"/>
                  <a:gd name="T95" fmla="*/ 136 h 394"/>
                  <a:gd name="T96" fmla="*/ 138 w 311"/>
                  <a:gd name="T97" fmla="*/ 117 h 394"/>
                  <a:gd name="T98" fmla="*/ 152 w 311"/>
                  <a:gd name="T99" fmla="*/ 98 h 394"/>
                  <a:gd name="T100" fmla="*/ 169 w 311"/>
                  <a:gd name="T101" fmla="*/ 75 h 394"/>
                  <a:gd name="T102" fmla="*/ 175 w 311"/>
                  <a:gd name="T103" fmla="*/ 54 h 394"/>
                  <a:gd name="T104" fmla="*/ 184 w 311"/>
                  <a:gd name="T105" fmla="*/ 32 h 394"/>
                  <a:gd name="T106" fmla="*/ 190 w 311"/>
                  <a:gd name="T107" fmla="*/ 15 h 394"/>
                  <a:gd name="T108" fmla="*/ 202 w 311"/>
                  <a:gd name="T109" fmla="*/ 2 h 394"/>
                  <a:gd name="T110" fmla="*/ 209 w 311"/>
                  <a:gd name="T111" fmla="*/ 11 h 394"/>
                  <a:gd name="T112" fmla="*/ 223 w 311"/>
                  <a:gd name="T113" fmla="*/ 25 h 394"/>
                  <a:gd name="T114" fmla="*/ 265 w 311"/>
                  <a:gd name="T115" fmla="*/ 71 h 394"/>
                  <a:gd name="T116" fmla="*/ 267 w 311"/>
                  <a:gd name="T117" fmla="*/ 140 h 394"/>
                  <a:gd name="T118" fmla="*/ 273 w 311"/>
                  <a:gd name="T119" fmla="*/ 155 h 394"/>
                  <a:gd name="T120" fmla="*/ 290 w 311"/>
                  <a:gd name="T121" fmla="*/ 213 h 394"/>
                  <a:gd name="T122" fmla="*/ 303 w 311"/>
                  <a:gd name="T123" fmla="*/ 261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1" h="394">
                    <a:moveTo>
                      <a:pt x="311" y="273"/>
                    </a:moveTo>
                    <a:lnTo>
                      <a:pt x="311" y="275"/>
                    </a:lnTo>
                    <a:lnTo>
                      <a:pt x="311" y="277"/>
                    </a:lnTo>
                    <a:lnTo>
                      <a:pt x="309" y="279"/>
                    </a:lnTo>
                    <a:lnTo>
                      <a:pt x="307" y="288"/>
                    </a:lnTo>
                    <a:lnTo>
                      <a:pt x="307" y="290"/>
                    </a:lnTo>
                    <a:lnTo>
                      <a:pt x="307" y="292"/>
                    </a:lnTo>
                    <a:lnTo>
                      <a:pt x="307" y="294"/>
                    </a:lnTo>
                    <a:lnTo>
                      <a:pt x="305" y="296"/>
                    </a:lnTo>
                    <a:lnTo>
                      <a:pt x="305" y="298"/>
                    </a:lnTo>
                    <a:lnTo>
                      <a:pt x="305" y="302"/>
                    </a:lnTo>
                    <a:lnTo>
                      <a:pt x="305" y="305"/>
                    </a:lnTo>
                    <a:lnTo>
                      <a:pt x="307" y="313"/>
                    </a:lnTo>
                    <a:lnTo>
                      <a:pt x="305" y="313"/>
                    </a:lnTo>
                    <a:lnTo>
                      <a:pt x="303" y="313"/>
                    </a:lnTo>
                    <a:lnTo>
                      <a:pt x="301" y="313"/>
                    </a:lnTo>
                    <a:lnTo>
                      <a:pt x="300" y="313"/>
                    </a:lnTo>
                    <a:lnTo>
                      <a:pt x="300" y="315"/>
                    </a:lnTo>
                    <a:lnTo>
                      <a:pt x="296" y="315"/>
                    </a:lnTo>
                    <a:lnTo>
                      <a:pt x="294" y="315"/>
                    </a:lnTo>
                    <a:lnTo>
                      <a:pt x="294" y="317"/>
                    </a:lnTo>
                    <a:lnTo>
                      <a:pt x="292" y="319"/>
                    </a:lnTo>
                    <a:lnTo>
                      <a:pt x="292" y="317"/>
                    </a:lnTo>
                    <a:lnTo>
                      <a:pt x="290" y="317"/>
                    </a:lnTo>
                    <a:lnTo>
                      <a:pt x="288" y="315"/>
                    </a:lnTo>
                    <a:lnTo>
                      <a:pt x="288" y="317"/>
                    </a:lnTo>
                    <a:lnTo>
                      <a:pt x="286" y="317"/>
                    </a:lnTo>
                    <a:lnTo>
                      <a:pt x="288" y="319"/>
                    </a:lnTo>
                    <a:lnTo>
                      <a:pt x="286" y="319"/>
                    </a:lnTo>
                    <a:lnTo>
                      <a:pt x="286" y="321"/>
                    </a:lnTo>
                    <a:lnTo>
                      <a:pt x="284" y="321"/>
                    </a:lnTo>
                    <a:lnTo>
                      <a:pt x="284" y="323"/>
                    </a:lnTo>
                    <a:lnTo>
                      <a:pt x="282" y="323"/>
                    </a:lnTo>
                    <a:lnTo>
                      <a:pt x="280" y="325"/>
                    </a:lnTo>
                    <a:lnTo>
                      <a:pt x="280" y="323"/>
                    </a:lnTo>
                    <a:lnTo>
                      <a:pt x="280" y="321"/>
                    </a:lnTo>
                    <a:lnTo>
                      <a:pt x="280" y="319"/>
                    </a:lnTo>
                    <a:lnTo>
                      <a:pt x="280" y="317"/>
                    </a:lnTo>
                    <a:lnTo>
                      <a:pt x="278" y="317"/>
                    </a:lnTo>
                    <a:lnTo>
                      <a:pt x="276" y="319"/>
                    </a:lnTo>
                    <a:lnTo>
                      <a:pt x="273" y="319"/>
                    </a:lnTo>
                    <a:lnTo>
                      <a:pt x="271" y="321"/>
                    </a:lnTo>
                    <a:lnTo>
                      <a:pt x="267" y="321"/>
                    </a:lnTo>
                    <a:lnTo>
                      <a:pt x="261" y="323"/>
                    </a:lnTo>
                    <a:lnTo>
                      <a:pt x="259" y="325"/>
                    </a:lnTo>
                    <a:lnTo>
                      <a:pt x="259" y="327"/>
                    </a:lnTo>
                    <a:lnTo>
                      <a:pt x="259" y="329"/>
                    </a:lnTo>
                    <a:lnTo>
                      <a:pt x="261" y="329"/>
                    </a:lnTo>
                    <a:lnTo>
                      <a:pt x="261" y="330"/>
                    </a:lnTo>
                    <a:lnTo>
                      <a:pt x="259" y="330"/>
                    </a:lnTo>
                    <a:lnTo>
                      <a:pt x="259" y="332"/>
                    </a:lnTo>
                    <a:lnTo>
                      <a:pt x="259" y="334"/>
                    </a:lnTo>
                    <a:lnTo>
                      <a:pt x="257" y="336"/>
                    </a:lnTo>
                    <a:lnTo>
                      <a:pt x="255" y="336"/>
                    </a:lnTo>
                    <a:lnTo>
                      <a:pt x="253" y="340"/>
                    </a:lnTo>
                    <a:lnTo>
                      <a:pt x="253" y="342"/>
                    </a:lnTo>
                    <a:lnTo>
                      <a:pt x="253" y="344"/>
                    </a:lnTo>
                    <a:lnTo>
                      <a:pt x="252" y="346"/>
                    </a:lnTo>
                    <a:lnTo>
                      <a:pt x="252" y="348"/>
                    </a:lnTo>
                    <a:lnTo>
                      <a:pt x="253" y="348"/>
                    </a:lnTo>
                    <a:lnTo>
                      <a:pt x="253" y="350"/>
                    </a:lnTo>
                    <a:lnTo>
                      <a:pt x="255" y="352"/>
                    </a:lnTo>
                    <a:lnTo>
                      <a:pt x="253" y="354"/>
                    </a:lnTo>
                    <a:lnTo>
                      <a:pt x="253" y="357"/>
                    </a:lnTo>
                    <a:lnTo>
                      <a:pt x="253" y="359"/>
                    </a:lnTo>
                    <a:lnTo>
                      <a:pt x="252" y="363"/>
                    </a:lnTo>
                    <a:lnTo>
                      <a:pt x="252" y="365"/>
                    </a:lnTo>
                    <a:lnTo>
                      <a:pt x="252" y="369"/>
                    </a:lnTo>
                    <a:lnTo>
                      <a:pt x="250" y="369"/>
                    </a:lnTo>
                    <a:lnTo>
                      <a:pt x="252" y="371"/>
                    </a:lnTo>
                    <a:lnTo>
                      <a:pt x="250" y="371"/>
                    </a:lnTo>
                    <a:lnTo>
                      <a:pt x="252" y="371"/>
                    </a:lnTo>
                    <a:lnTo>
                      <a:pt x="250" y="373"/>
                    </a:lnTo>
                    <a:lnTo>
                      <a:pt x="252" y="377"/>
                    </a:lnTo>
                    <a:lnTo>
                      <a:pt x="253" y="375"/>
                    </a:lnTo>
                    <a:lnTo>
                      <a:pt x="257" y="375"/>
                    </a:lnTo>
                    <a:lnTo>
                      <a:pt x="253" y="378"/>
                    </a:lnTo>
                    <a:lnTo>
                      <a:pt x="252" y="384"/>
                    </a:lnTo>
                    <a:lnTo>
                      <a:pt x="244" y="380"/>
                    </a:lnTo>
                    <a:lnTo>
                      <a:pt x="242" y="380"/>
                    </a:lnTo>
                    <a:lnTo>
                      <a:pt x="244" y="378"/>
                    </a:lnTo>
                    <a:lnTo>
                      <a:pt x="242" y="377"/>
                    </a:lnTo>
                    <a:lnTo>
                      <a:pt x="240" y="377"/>
                    </a:lnTo>
                    <a:lnTo>
                      <a:pt x="238" y="377"/>
                    </a:lnTo>
                    <a:lnTo>
                      <a:pt x="236" y="377"/>
                    </a:lnTo>
                    <a:lnTo>
                      <a:pt x="234" y="377"/>
                    </a:lnTo>
                    <a:lnTo>
                      <a:pt x="232" y="377"/>
                    </a:lnTo>
                    <a:lnTo>
                      <a:pt x="232" y="375"/>
                    </a:lnTo>
                    <a:lnTo>
                      <a:pt x="232" y="377"/>
                    </a:lnTo>
                    <a:lnTo>
                      <a:pt x="230" y="377"/>
                    </a:lnTo>
                    <a:lnTo>
                      <a:pt x="230" y="378"/>
                    </a:lnTo>
                    <a:lnTo>
                      <a:pt x="225" y="377"/>
                    </a:lnTo>
                    <a:lnTo>
                      <a:pt x="223" y="378"/>
                    </a:lnTo>
                    <a:lnTo>
                      <a:pt x="225" y="378"/>
                    </a:lnTo>
                    <a:lnTo>
                      <a:pt x="223" y="378"/>
                    </a:lnTo>
                    <a:lnTo>
                      <a:pt x="223" y="380"/>
                    </a:lnTo>
                    <a:lnTo>
                      <a:pt x="225" y="380"/>
                    </a:lnTo>
                    <a:lnTo>
                      <a:pt x="223" y="384"/>
                    </a:lnTo>
                    <a:lnTo>
                      <a:pt x="221" y="384"/>
                    </a:lnTo>
                    <a:lnTo>
                      <a:pt x="221" y="386"/>
                    </a:lnTo>
                    <a:lnTo>
                      <a:pt x="219" y="386"/>
                    </a:lnTo>
                    <a:lnTo>
                      <a:pt x="219" y="384"/>
                    </a:lnTo>
                    <a:lnTo>
                      <a:pt x="215" y="388"/>
                    </a:lnTo>
                    <a:lnTo>
                      <a:pt x="217" y="390"/>
                    </a:lnTo>
                    <a:lnTo>
                      <a:pt x="215" y="392"/>
                    </a:lnTo>
                    <a:lnTo>
                      <a:pt x="215" y="394"/>
                    </a:lnTo>
                    <a:lnTo>
                      <a:pt x="211" y="392"/>
                    </a:lnTo>
                    <a:lnTo>
                      <a:pt x="211" y="390"/>
                    </a:lnTo>
                    <a:lnTo>
                      <a:pt x="209" y="390"/>
                    </a:lnTo>
                    <a:lnTo>
                      <a:pt x="207" y="390"/>
                    </a:lnTo>
                    <a:lnTo>
                      <a:pt x="205" y="390"/>
                    </a:lnTo>
                    <a:lnTo>
                      <a:pt x="203" y="388"/>
                    </a:lnTo>
                    <a:lnTo>
                      <a:pt x="203" y="386"/>
                    </a:lnTo>
                    <a:lnTo>
                      <a:pt x="202" y="386"/>
                    </a:lnTo>
                    <a:lnTo>
                      <a:pt x="202" y="384"/>
                    </a:lnTo>
                    <a:lnTo>
                      <a:pt x="200" y="384"/>
                    </a:lnTo>
                    <a:lnTo>
                      <a:pt x="200" y="382"/>
                    </a:lnTo>
                    <a:lnTo>
                      <a:pt x="198" y="382"/>
                    </a:lnTo>
                    <a:lnTo>
                      <a:pt x="200" y="380"/>
                    </a:lnTo>
                    <a:lnTo>
                      <a:pt x="198" y="378"/>
                    </a:lnTo>
                    <a:lnTo>
                      <a:pt x="198" y="377"/>
                    </a:lnTo>
                    <a:lnTo>
                      <a:pt x="196" y="377"/>
                    </a:lnTo>
                    <a:lnTo>
                      <a:pt x="196" y="378"/>
                    </a:lnTo>
                    <a:lnTo>
                      <a:pt x="194" y="378"/>
                    </a:lnTo>
                    <a:lnTo>
                      <a:pt x="194" y="377"/>
                    </a:lnTo>
                    <a:lnTo>
                      <a:pt x="192" y="378"/>
                    </a:lnTo>
                    <a:lnTo>
                      <a:pt x="190" y="380"/>
                    </a:lnTo>
                    <a:lnTo>
                      <a:pt x="190" y="382"/>
                    </a:lnTo>
                    <a:lnTo>
                      <a:pt x="190" y="384"/>
                    </a:lnTo>
                    <a:lnTo>
                      <a:pt x="190" y="382"/>
                    </a:lnTo>
                    <a:lnTo>
                      <a:pt x="188" y="380"/>
                    </a:lnTo>
                    <a:lnTo>
                      <a:pt x="190" y="378"/>
                    </a:lnTo>
                    <a:lnTo>
                      <a:pt x="188" y="378"/>
                    </a:lnTo>
                    <a:lnTo>
                      <a:pt x="188" y="377"/>
                    </a:lnTo>
                    <a:lnTo>
                      <a:pt x="186" y="378"/>
                    </a:lnTo>
                    <a:lnTo>
                      <a:pt x="186" y="377"/>
                    </a:lnTo>
                    <a:lnTo>
                      <a:pt x="184" y="377"/>
                    </a:lnTo>
                    <a:lnTo>
                      <a:pt x="184" y="375"/>
                    </a:lnTo>
                    <a:lnTo>
                      <a:pt x="184" y="377"/>
                    </a:lnTo>
                    <a:lnTo>
                      <a:pt x="182" y="375"/>
                    </a:lnTo>
                    <a:lnTo>
                      <a:pt x="180" y="373"/>
                    </a:lnTo>
                    <a:lnTo>
                      <a:pt x="179" y="373"/>
                    </a:lnTo>
                    <a:lnTo>
                      <a:pt x="177" y="373"/>
                    </a:lnTo>
                    <a:lnTo>
                      <a:pt x="175" y="375"/>
                    </a:lnTo>
                    <a:lnTo>
                      <a:pt x="173" y="373"/>
                    </a:lnTo>
                    <a:lnTo>
                      <a:pt x="171" y="373"/>
                    </a:lnTo>
                    <a:lnTo>
                      <a:pt x="171" y="377"/>
                    </a:lnTo>
                    <a:lnTo>
                      <a:pt x="169" y="377"/>
                    </a:lnTo>
                    <a:lnTo>
                      <a:pt x="169" y="375"/>
                    </a:lnTo>
                    <a:lnTo>
                      <a:pt x="167" y="375"/>
                    </a:lnTo>
                    <a:lnTo>
                      <a:pt x="167" y="377"/>
                    </a:lnTo>
                    <a:lnTo>
                      <a:pt x="165" y="375"/>
                    </a:lnTo>
                    <a:lnTo>
                      <a:pt x="167" y="375"/>
                    </a:lnTo>
                    <a:lnTo>
                      <a:pt x="167" y="373"/>
                    </a:lnTo>
                    <a:lnTo>
                      <a:pt x="167" y="371"/>
                    </a:lnTo>
                    <a:lnTo>
                      <a:pt x="165" y="371"/>
                    </a:lnTo>
                    <a:lnTo>
                      <a:pt x="163" y="371"/>
                    </a:lnTo>
                    <a:lnTo>
                      <a:pt x="161" y="373"/>
                    </a:lnTo>
                    <a:lnTo>
                      <a:pt x="159" y="373"/>
                    </a:lnTo>
                    <a:lnTo>
                      <a:pt x="159" y="375"/>
                    </a:lnTo>
                    <a:lnTo>
                      <a:pt x="157" y="377"/>
                    </a:lnTo>
                    <a:lnTo>
                      <a:pt x="157" y="375"/>
                    </a:lnTo>
                    <a:lnTo>
                      <a:pt x="157" y="377"/>
                    </a:lnTo>
                    <a:lnTo>
                      <a:pt x="155" y="377"/>
                    </a:lnTo>
                    <a:lnTo>
                      <a:pt x="154" y="377"/>
                    </a:lnTo>
                    <a:lnTo>
                      <a:pt x="154" y="378"/>
                    </a:lnTo>
                    <a:lnTo>
                      <a:pt x="152" y="380"/>
                    </a:lnTo>
                    <a:lnTo>
                      <a:pt x="152" y="382"/>
                    </a:lnTo>
                    <a:lnTo>
                      <a:pt x="150" y="382"/>
                    </a:lnTo>
                    <a:lnTo>
                      <a:pt x="150" y="384"/>
                    </a:lnTo>
                    <a:lnTo>
                      <a:pt x="148" y="384"/>
                    </a:lnTo>
                    <a:lnTo>
                      <a:pt x="146" y="384"/>
                    </a:lnTo>
                    <a:lnTo>
                      <a:pt x="146" y="382"/>
                    </a:lnTo>
                    <a:lnTo>
                      <a:pt x="144" y="384"/>
                    </a:lnTo>
                    <a:lnTo>
                      <a:pt x="144" y="386"/>
                    </a:lnTo>
                    <a:lnTo>
                      <a:pt x="144" y="388"/>
                    </a:lnTo>
                    <a:lnTo>
                      <a:pt x="142" y="390"/>
                    </a:lnTo>
                    <a:lnTo>
                      <a:pt x="142" y="394"/>
                    </a:lnTo>
                    <a:lnTo>
                      <a:pt x="140" y="392"/>
                    </a:lnTo>
                    <a:lnTo>
                      <a:pt x="138" y="390"/>
                    </a:lnTo>
                    <a:lnTo>
                      <a:pt x="136" y="388"/>
                    </a:lnTo>
                    <a:lnTo>
                      <a:pt x="138" y="386"/>
                    </a:lnTo>
                    <a:lnTo>
                      <a:pt x="136" y="384"/>
                    </a:lnTo>
                    <a:lnTo>
                      <a:pt x="136" y="382"/>
                    </a:lnTo>
                    <a:lnTo>
                      <a:pt x="136" y="384"/>
                    </a:lnTo>
                    <a:lnTo>
                      <a:pt x="134" y="384"/>
                    </a:lnTo>
                    <a:lnTo>
                      <a:pt x="134" y="382"/>
                    </a:lnTo>
                    <a:lnTo>
                      <a:pt x="134" y="380"/>
                    </a:lnTo>
                    <a:lnTo>
                      <a:pt x="134" y="378"/>
                    </a:lnTo>
                    <a:lnTo>
                      <a:pt x="134" y="377"/>
                    </a:lnTo>
                    <a:lnTo>
                      <a:pt x="132" y="377"/>
                    </a:lnTo>
                    <a:lnTo>
                      <a:pt x="130" y="377"/>
                    </a:lnTo>
                    <a:lnTo>
                      <a:pt x="130" y="378"/>
                    </a:lnTo>
                    <a:lnTo>
                      <a:pt x="129" y="378"/>
                    </a:lnTo>
                    <a:lnTo>
                      <a:pt x="129" y="377"/>
                    </a:lnTo>
                    <a:lnTo>
                      <a:pt x="130" y="377"/>
                    </a:lnTo>
                    <a:lnTo>
                      <a:pt x="129" y="377"/>
                    </a:lnTo>
                    <a:lnTo>
                      <a:pt x="129" y="375"/>
                    </a:lnTo>
                    <a:lnTo>
                      <a:pt x="129" y="373"/>
                    </a:lnTo>
                    <a:lnTo>
                      <a:pt x="127" y="373"/>
                    </a:lnTo>
                    <a:lnTo>
                      <a:pt x="125" y="373"/>
                    </a:lnTo>
                    <a:lnTo>
                      <a:pt x="123" y="373"/>
                    </a:lnTo>
                    <a:lnTo>
                      <a:pt x="123" y="371"/>
                    </a:lnTo>
                    <a:lnTo>
                      <a:pt x="121" y="371"/>
                    </a:lnTo>
                    <a:lnTo>
                      <a:pt x="121" y="369"/>
                    </a:lnTo>
                    <a:lnTo>
                      <a:pt x="119" y="369"/>
                    </a:lnTo>
                    <a:lnTo>
                      <a:pt x="117" y="369"/>
                    </a:lnTo>
                    <a:lnTo>
                      <a:pt x="115" y="369"/>
                    </a:lnTo>
                    <a:lnTo>
                      <a:pt x="115" y="371"/>
                    </a:lnTo>
                    <a:lnTo>
                      <a:pt x="117" y="373"/>
                    </a:lnTo>
                    <a:lnTo>
                      <a:pt x="117" y="375"/>
                    </a:lnTo>
                    <a:lnTo>
                      <a:pt x="117" y="377"/>
                    </a:lnTo>
                    <a:lnTo>
                      <a:pt x="117" y="378"/>
                    </a:lnTo>
                    <a:lnTo>
                      <a:pt x="115" y="378"/>
                    </a:lnTo>
                    <a:lnTo>
                      <a:pt x="113" y="378"/>
                    </a:lnTo>
                    <a:lnTo>
                      <a:pt x="113" y="380"/>
                    </a:lnTo>
                    <a:lnTo>
                      <a:pt x="113" y="378"/>
                    </a:lnTo>
                    <a:lnTo>
                      <a:pt x="111" y="378"/>
                    </a:lnTo>
                    <a:lnTo>
                      <a:pt x="109" y="378"/>
                    </a:lnTo>
                    <a:lnTo>
                      <a:pt x="109" y="377"/>
                    </a:lnTo>
                    <a:lnTo>
                      <a:pt x="107" y="377"/>
                    </a:lnTo>
                    <a:lnTo>
                      <a:pt x="107" y="375"/>
                    </a:lnTo>
                    <a:lnTo>
                      <a:pt x="106" y="375"/>
                    </a:lnTo>
                    <a:lnTo>
                      <a:pt x="104" y="375"/>
                    </a:lnTo>
                    <a:lnTo>
                      <a:pt x="104" y="373"/>
                    </a:lnTo>
                    <a:lnTo>
                      <a:pt x="102" y="371"/>
                    </a:lnTo>
                    <a:lnTo>
                      <a:pt x="102" y="373"/>
                    </a:lnTo>
                    <a:lnTo>
                      <a:pt x="100" y="373"/>
                    </a:lnTo>
                    <a:lnTo>
                      <a:pt x="98" y="373"/>
                    </a:lnTo>
                    <a:lnTo>
                      <a:pt x="98" y="371"/>
                    </a:lnTo>
                    <a:lnTo>
                      <a:pt x="96" y="371"/>
                    </a:lnTo>
                    <a:lnTo>
                      <a:pt x="96" y="369"/>
                    </a:lnTo>
                    <a:lnTo>
                      <a:pt x="94" y="371"/>
                    </a:lnTo>
                    <a:lnTo>
                      <a:pt x="94" y="369"/>
                    </a:lnTo>
                    <a:lnTo>
                      <a:pt x="92" y="369"/>
                    </a:lnTo>
                    <a:lnTo>
                      <a:pt x="90" y="369"/>
                    </a:lnTo>
                    <a:lnTo>
                      <a:pt x="90" y="367"/>
                    </a:lnTo>
                    <a:lnTo>
                      <a:pt x="90" y="369"/>
                    </a:lnTo>
                    <a:lnTo>
                      <a:pt x="88" y="367"/>
                    </a:lnTo>
                    <a:lnTo>
                      <a:pt x="88" y="369"/>
                    </a:lnTo>
                    <a:lnTo>
                      <a:pt x="86" y="369"/>
                    </a:lnTo>
                    <a:lnTo>
                      <a:pt x="86" y="367"/>
                    </a:lnTo>
                    <a:lnTo>
                      <a:pt x="84" y="367"/>
                    </a:lnTo>
                    <a:lnTo>
                      <a:pt x="82" y="365"/>
                    </a:lnTo>
                    <a:lnTo>
                      <a:pt x="82" y="367"/>
                    </a:lnTo>
                    <a:lnTo>
                      <a:pt x="81" y="365"/>
                    </a:lnTo>
                    <a:lnTo>
                      <a:pt x="81" y="363"/>
                    </a:lnTo>
                    <a:lnTo>
                      <a:pt x="79" y="363"/>
                    </a:lnTo>
                    <a:lnTo>
                      <a:pt x="79" y="361"/>
                    </a:lnTo>
                    <a:lnTo>
                      <a:pt x="77" y="361"/>
                    </a:lnTo>
                    <a:lnTo>
                      <a:pt x="75" y="361"/>
                    </a:lnTo>
                    <a:lnTo>
                      <a:pt x="73" y="361"/>
                    </a:lnTo>
                    <a:lnTo>
                      <a:pt x="69" y="359"/>
                    </a:lnTo>
                    <a:lnTo>
                      <a:pt x="71" y="357"/>
                    </a:lnTo>
                    <a:lnTo>
                      <a:pt x="73" y="355"/>
                    </a:lnTo>
                    <a:lnTo>
                      <a:pt x="69" y="354"/>
                    </a:lnTo>
                    <a:lnTo>
                      <a:pt x="71" y="352"/>
                    </a:lnTo>
                    <a:lnTo>
                      <a:pt x="65" y="352"/>
                    </a:lnTo>
                    <a:lnTo>
                      <a:pt x="61" y="350"/>
                    </a:lnTo>
                    <a:lnTo>
                      <a:pt x="61" y="348"/>
                    </a:lnTo>
                    <a:lnTo>
                      <a:pt x="59" y="348"/>
                    </a:lnTo>
                    <a:lnTo>
                      <a:pt x="57" y="348"/>
                    </a:lnTo>
                    <a:lnTo>
                      <a:pt x="56" y="348"/>
                    </a:lnTo>
                    <a:lnTo>
                      <a:pt x="56" y="350"/>
                    </a:lnTo>
                    <a:lnTo>
                      <a:pt x="57" y="350"/>
                    </a:lnTo>
                    <a:lnTo>
                      <a:pt x="57" y="352"/>
                    </a:lnTo>
                    <a:lnTo>
                      <a:pt x="57" y="354"/>
                    </a:lnTo>
                    <a:lnTo>
                      <a:pt x="56" y="354"/>
                    </a:lnTo>
                    <a:lnTo>
                      <a:pt x="56" y="355"/>
                    </a:lnTo>
                    <a:lnTo>
                      <a:pt x="54" y="355"/>
                    </a:lnTo>
                    <a:lnTo>
                      <a:pt x="54" y="357"/>
                    </a:lnTo>
                    <a:lnTo>
                      <a:pt x="54" y="355"/>
                    </a:lnTo>
                    <a:lnTo>
                      <a:pt x="54" y="357"/>
                    </a:lnTo>
                    <a:lnTo>
                      <a:pt x="52" y="357"/>
                    </a:lnTo>
                    <a:lnTo>
                      <a:pt x="52" y="355"/>
                    </a:lnTo>
                    <a:lnTo>
                      <a:pt x="50" y="355"/>
                    </a:lnTo>
                    <a:lnTo>
                      <a:pt x="48" y="355"/>
                    </a:lnTo>
                    <a:lnTo>
                      <a:pt x="50" y="355"/>
                    </a:lnTo>
                    <a:lnTo>
                      <a:pt x="50" y="357"/>
                    </a:lnTo>
                    <a:lnTo>
                      <a:pt x="48" y="357"/>
                    </a:lnTo>
                    <a:lnTo>
                      <a:pt x="48" y="359"/>
                    </a:lnTo>
                    <a:lnTo>
                      <a:pt x="46" y="361"/>
                    </a:lnTo>
                    <a:lnTo>
                      <a:pt x="44" y="361"/>
                    </a:lnTo>
                    <a:lnTo>
                      <a:pt x="44" y="363"/>
                    </a:lnTo>
                    <a:lnTo>
                      <a:pt x="42" y="363"/>
                    </a:lnTo>
                    <a:lnTo>
                      <a:pt x="42" y="361"/>
                    </a:lnTo>
                    <a:lnTo>
                      <a:pt x="40" y="361"/>
                    </a:lnTo>
                    <a:lnTo>
                      <a:pt x="40" y="359"/>
                    </a:lnTo>
                    <a:lnTo>
                      <a:pt x="38" y="359"/>
                    </a:lnTo>
                    <a:lnTo>
                      <a:pt x="38" y="357"/>
                    </a:lnTo>
                    <a:lnTo>
                      <a:pt x="38" y="355"/>
                    </a:lnTo>
                    <a:lnTo>
                      <a:pt x="36" y="355"/>
                    </a:lnTo>
                    <a:lnTo>
                      <a:pt x="36" y="354"/>
                    </a:lnTo>
                    <a:lnTo>
                      <a:pt x="34" y="354"/>
                    </a:lnTo>
                    <a:lnTo>
                      <a:pt x="34" y="352"/>
                    </a:lnTo>
                    <a:lnTo>
                      <a:pt x="33" y="350"/>
                    </a:lnTo>
                    <a:lnTo>
                      <a:pt x="33" y="352"/>
                    </a:lnTo>
                    <a:lnTo>
                      <a:pt x="31" y="354"/>
                    </a:lnTo>
                    <a:lnTo>
                      <a:pt x="29" y="354"/>
                    </a:lnTo>
                    <a:lnTo>
                      <a:pt x="27" y="354"/>
                    </a:lnTo>
                    <a:lnTo>
                      <a:pt x="27" y="355"/>
                    </a:lnTo>
                    <a:lnTo>
                      <a:pt x="27" y="354"/>
                    </a:lnTo>
                    <a:lnTo>
                      <a:pt x="27" y="352"/>
                    </a:lnTo>
                    <a:lnTo>
                      <a:pt x="25" y="352"/>
                    </a:lnTo>
                    <a:lnTo>
                      <a:pt x="25" y="354"/>
                    </a:lnTo>
                    <a:lnTo>
                      <a:pt x="25" y="352"/>
                    </a:lnTo>
                    <a:lnTo>
                      <a:pt x="23" y="352"/>
                    </a:lnTo>
                    <a:lnTo>
                      <a:pt x="23" y="350"/>
                    </a:lnTo>
                    <a:lnTo>
                      <a:pt x="21" y="348"/>
                    </a:lnTo>
                    <a:lnTo>
                      <a:pt x="19" y="350"/>
                    </a:lnTo>
                    <a:lnTo>
                      <a:pt x="17" y="348"/>
                    </a:lnTo>
                    <a:lnTo>
                      <a:pt x="15" y="348"/>
                    </a:lnTo>
                    <a:lnTo>
                      <a:pt x="13" y="348"/>
                    </a:lnTo>
                    <a:lnTo>
                      <a:pt x="13" y="346"/>
                    </a:lnTo>
                    <a:lnTo>
                      <a:pt x="13" y="344"/>
                    </a:lnTo>
                    <a:lnTo>
                      <a:pt x="11" y="344"/>
                    </a:lnTo>
                    <a:lnTo>
                      <a:pt x="9" y="344"/>
                    </a:lnTo>
                    <a:lnTo>
                      <a:pt x="8" y="344"/>
                    </a:lnTo>
                    <a:lnTo>
                      <a:pt x="8" y="342"/>
                    </a:lnTo>
                    <a:lnTo>
                      <a:pt x="8" y="344"/>
                    </a:lnTo>
                    <a:lnTo>
                      <a:pt x="6" y="344"/>
                    </a:lnTo>
                    <a:lnTo>
                      <a:pt x="6" y="346"/>
                    </a:lnTo>
                    <a:lnTo>
                      <a:pt x="4" y="344"/>
                    </a:lnTo>
                    <a:lnTo>
                      <a:pt x="4" y="346"/>
                    </a:lnTo>
                    <a:lnTo>
                      <a:pt x="2" y="344"/>
                    </a:lnTo>
                    <a:lnTo>
                      <a:pt x="2" y="342"/>
                    </a:lnTo>
                    <a:lnTo>
                      <a:pt x="0" y="340"/>
                    </a:lnTo>
                    <a:lnTo>
                      <a:pt x="2" y="340"/>
                    </a:lnTo>
                    <a:lnTo>
                      <a:pt x="2" y="338"/>
                    </a:lnTo>
                    <a:lnTo>
                      <a:pt x="2" y="336"/>
                    </a:lnTo>
                    <a:lnTo>
                      <a:pt x="4" y="336"/>
                    </a:lnTo>
                    <a:lnTo>
                      <a:pt x="4" y="334"/>
                    </a:lnTo>
                    <a:lnTo>
                      <a:pt x="2" y="334"/>
                    </a:lnTo>
                    <a:lnTo>
                      <a:pt x="2" y="332"/>
                    </a:lnTo>
                    <a:lnTo>
                      <a:pt x="4" y="332"/>
                    </a:lnTo>
                    <a:lnTo>
                      <a:pt x="2" y="332"/>
                    </a:lnTo>
                    <a:lnTo>
                      <a:pt x="2" y="330"/>
                    </a:lnTo>
                    <a:lnTo>
                      <a:pt x="4" y="330"/>
                    </a:lnTo>
                    <a:lnTo>
                      <a:pt x="4" y="329"/>
                    </a:lnTo>
                    <a:lnTo>
                      <a:pt x="4" y="327"/>
                    </a:lnTo>
                    <a:lnTo>
                      <a:pt x="4" y="325"/>
                    </a:lnTo>
                    <a:lnTo>
                      <a:pt x="2" y="323"/>
                    </a:lnTo>
                    <a:lnTo>
                      <a:pt x="4" y="321"/>
                    </a:lnTo>
                    <a:lnTo>
                      <a:pt x="6" y="317"/>
                    </a:lnTo>
                    <a:lnTo>
                      <a:pt x="8" y="315"/>
                    </a:lnTo>
                    <a:lnTo>
                      <a:pt x="9" y="313"/>
                    </a:lnTo>
                    <a:lnTo>
                      <a:pt x="9" y="311"/>
                    </a:lnTo>
                    <a:lnTo>
                      <a:pt x="11" y="309"/>
                    </a:lnTo>
                    <a:lnTo>
                      <a:pt x="9" y="309"/>
                    </a:lnTo>
                    <a:lnTo>
                      <a:pt x="13" y="307"/>
                    </a:lnTo>
                    <a:lnTo>
                      <a:pt x="13" y="305"/>
                    </a:lnTo>
                    <a:lnTo>
                      <a:pt x="11" y="304"/>
                    </a:lnTo>
                    <a:lnTo>
                      <a:pt x="11" y="302"/>
                    </a:lnTo>
                    <a:lnTo>
                      <a:pt x="11" y="300"/>
                    </a:lnTo>
                    <a:lnTo>
                      <a:pt x="11" y="298"/>
                    </a:lnTo>
                    <a:lnTo>
                      <a:pt x="11" y="296"/>
                    </a:lnTo>
                    <a:lnTo>
                      <a:pt x="11" y="294"/>
                    </a:lnTo>
                    <a:lnTo>
                      <a:pt x="11" y="292"/>
                    </a:lnTo>
                    <a:lnTo>
                      <a:pt x="13" y="290"/>
                    </a:lnTo>
                    <a:lnTo>
                      <a:pt x="15" y="288"/>
                    </a:lnTo>
                    <a:lnTo>
                      <a:pt x="17" y="288"/>
                    </a:lnTo>
                    <a:lnTo>
                      <a:pt x="19" y="290"/>
                    </a:lnTo>
                    <a:lnTo>
                      <a:pt x="19" y="292"/>
                    </a:lnTo>
                    <a:lnTo>
                      <a:pt x="23" y="294"/>
                    </a:lnTo>
                    <a:lnTo>
                      <a:pt x="25" y="294"/>
                    </a:lnTo>
                    <a:lnTo>
                      <a:pt x="27" y="294"/>
                    </a:lnTo>
                    <a:lnTo>
                      <a:pt x="29" y="292"/>
                    </a:lnTo>
                    <a:lnTo>
                      <a:pt x="29" y="294"/>
                    </a:lnTo>
                    <a:lnTo>
                      <a:pt x="31" y="292"/>
                    </a:lnTo>
                    <a:lnTo>
                      <a:pt x="31" y="290"/>
                    </a:lnTo>
                    <a:lnTo>
                      <a:pt x="33" y="292"/>
                    </a:lnTo>
                    <a:lnTo>
                      <a:pt x="36" y="286"/>
                    </a:lnTo>
                    <a:lnTo>
                      <a:pt x="36" y="288"/>
                    </a:lnTo>
                    <a:lnTo>
                      <a:pt x="38" y="286"/>
                    </a:lnTo>
                    <a:lnTo>
                      <a:pt x="38" y="288"/>
                    </a:lnTo>
                    <a:lnTo>
                      <a:pt x="38" y="286"/>
                    </a:lnTo>
                    <a:lnTo>
                      <a:pt x="40" y="286"/>
                    </a:lnTo>
                    <a:lnTo>
                      <a:pt x="40" y="288"/>
                    </a:lnTo>
                    <a:lnTo>
                      <a:pt x="38" y="288"/>
                    </a:lnTo>
                    <a:lnTo>
                      <a:pt x="40" y="288"/>
                    </a:lnTo>
                    <a:lnTo>
                      <a:pt x="40" y="290"/>
                    </a:lnTo>
                    <a:lnTo>
                      <a:pt x="40" y="288"/>
                    </a:lnTo>
                    <a:lnTo>
                      <a:pt x="40" y="290"/>
                    </a:lnTo>
                    <a:lnTo>
                      <a:pt x="42" y="290"/>
                    </a:lnTo>
                    <a:lnTo>
                      <a:pt x="42" y="288"/>
                    </a:lnTo>
                    <a:lnTo>
                      <a:pt x="44" y="286"/>
                    </a:lnTo>
                    <a:lnTo>
                      <a:pt x="42" y="286"/>
                    </a:lnTo>
                    <a:lnTo>
                      <a:pt x="42" y="284"/>
                    </a:lnTo>
                    <a:lnTo>
                      <a:pt x="44" y="284"/>
                    </a:lnTo>
                    <a:lnTo>
                      <a:pt x="44" y="286"/>
                    </a:lnTo>
                    <a:lnTo>
                      <a:pt x="46" y="284"/>
                    </a:lnTo>
                    <a:lnTo>
                      <a:pt x="44" y="282"/>
                    </a:lnTo>
                    <a:lnTo>
                      <a:pt x="44" y="280"/>
                    </a:lnTo>
                    <a:lnTo>
                      <a:pt x="42" y="279"/>
                    </a:lnTo>
                    <a:lnTo>
                      <a:pt x="44" y="279"/>
                    </a:lnTo>
                    <a:lnTo>
                      <a:pt x="46" y="277"/>
                    </a:lnTo>
                    <a:lnTo>
                      <a:pt x="46" y="275"/>
                    </a:lnTo>
                    <a:lnTo>
                      <a:pt x="44" y="273"/>
                    </a:lnTo>
                    <a:lnTo>
                      <a:pt x="46" y="273"/>
                    </a:lnTo>
                    <a:lnTo>
                      <a:pt x="46" y="271"/>
                    </a:lnTo>
                    <a:lnTo>
                      <a:pt x="52" y="261"/>
                    </a:lnTo>
                    <a:lnTo>
                      <a:pt x="50" y="261"/>
                    </a:lnTo>
                    <a:lnTo>
                      <a:pt x="52" y="259"/>
                    </a:lnTo>
                    <a:lnTo>
                      <a:pt x="52" y="257"/>
                    </a:lnTo>
                    <a:lnTo>
                      <a:pt x="54" y="257"/>
                    </a:lnTo>
                    <a:lnTo>
                      <a:pt x="54" y="255"/>
                    </a:lnTo>
                    <a:lnTo>
                      <a:pt x="56" y="254"/>
                    </a:lnTo>
                    <a:lnTo>
                      <a:pt x="56" y="255"/>
                    </a:lnTo>
                    <a:lnTo>
                      <a:pt x="57" y="254"/>
                    </a:lnTo>
                    <a:lnTo>
                      <a:pt x="59" y="250"/>
                    </a:lnTo>
                    <a:lnTo>
                      <a:pt x="59" y="252"/>
                    </a:lnTo>
                    <a:lnTo>
                      <a:pt x="69" y="255"/>
                    </a:lnTo>
                    <a:lnTo>
                      <a:pt x="67" y="259"/>
                    </a:lnTo>
                    <a:lnTo>
                      <a:pt x="69" y="263"/>
                    </a:lnTo>
                    <a:lnTo>
                      <a:pt x="81" y="255"/>
                    </a:lnTo>
                    <a:lnTo>
                      <a:pt x="82" y="255"/>
                    </a:lnTo>
                    <a:lnTo>
                      <a:pt x="82" y="254"/>
                    </a:lnTo>
                    <a:lnTo>
                      <a:pt x="84" y="250"/>
                    </a:lnTo>
                    <a:lnTo>
                      <a:pt x="82" y="248"/>
                    </a:lnTo>
                    <a:lnTo>
                      <a:pt x="82" y="246"/>
                    </a:lnTo>
                    <a:lnTo>
                      <a:pt x="82" y="244"/>
                    </a:lnTo>
                    <a:lnTo>
                      <a:pt x="81" y="244"/>
                    </a:lnTo>
                    <a:lnTo>
                      <a:pt x="81" y="242"/>
                    </a:lnTo>
                    <a:lnTo>
                      <a:pt x="81" y="240"/>
                    </a:lnTo>
                    <a:lnTo>
                      <a:pt x="81" y="238"/>
                    </a:lnTo>
                    <a:lnTo>
                      <a:pt x="81" y="236"/>
                    </a:lnTo>
                    <a:lnTo>
                      <a:pt x="82" y="234"/>
                    </a:lnTo>
                    <a:lnTo>
                      <a:pt x="84" y="232"/>
                    </a:lnTo>
                    <a:lnTo>
                      <a:pt x="86" y="230"/>
                    </a:lnTo>
                    <a:lnTo>
                      <a:pt x="88" y="229"/>
                    </a:lnTo>
                    <a:lnTo>
                      <a:pt x="90" y="227"/>
                    </a:lnTo>
                    <a:lnTo>
                      <a:pt x="92" y="227"/>
                    </a:lnTo>
                    <a:lnTo>
                      <a:pt x="94" y="227"/>
                    </a:lnTo>
                    <a:lnTo>
                      <a:pt x="96" y="227"/>
                    </a:lnTo>
                    <a:lnTo>
                      <a:pt x="98" y="229"/>
                    </a:lnTo>
                    <a:lnTo>
                      <a:pt x="100" y="227"/>
                    </a:lnTo>
                    <a:lnTo>
                      <a:pt x="104" y="225"/>
                    </a:lnTo>
                    <a:lnTo>
                      <a:pt x="106" y="223"/>
                    </a:lnTo>
                    <a:lnTo>
                      <a:pt x="109" y="221"/>
                    </a:lnTo>
                    <a:lnTo>
                      <a:pt x="109" y="219"/>
                    </a:lnTo>
                    <a:lnTo>
                      <a:pt x="111" y="219"/>
                    </a:lnTo>
                    <a:lnTo>
                      <a:pt x="115" y="217"/>
                    </a:lnTo>
                    <a:lnTo>
                      <a:pt x="117" y="215"/>
                    </a:lnTo>
                    <a:lnTo>
                      <a:pt x="119" y="207"/>
                    </a:lnTo>
                    <a:lnTo>
                      <a:pt x="119" y="205"/>
                    </a:lnTo>
                    <a:lnTo>
                      <a:pt x="121" y="204"/>
                    </a:lnTo>
                    <a:lnTo>
                      <a:pt x="121" y="202"/>
                    </a:lnTo>
                    <a:lnTo>
                      <a:pt x="121" y="200"/>
                    </a:lnTo>
                    <a:lnTo>
                      <a:pt x="119" y="200"/>
                    </a:lnTo>
                    <a:lnTo>
                      <a:pt x="117" y="200"/>
                    </a:lnTo>
                    <a:lnTo>
                      <a:pt x="115" y="198"/>
                    </a:lnTo>
                    <a:lnTo>
                      <a:pt x="115" y="196"/>
                    </a:lnTo>
                    <a:lnTo>
                      <a:pt x="113" y="194"/>
                    </a:lnTo>
                    <a:lnTo>
                      <a:pt x="113" y="192"/>
                    </a:lnTo>
                    <a:lnTo>
                      <a:pt x="115" y="188"/>
                    </a:lnTo>
                    <a:lnTo>
                      <a:pt x="115" y="186"/>
                    </a:lnTo>
                    <a:lnTo>
                      <a:pt x="117" y="184"/>
                    </a:lnTo>
                    <a:lnTo>
                      <a:pt x="119" y="186"/>
                    </a:lnTo>
                    <a:lnTo>
                      <a:pt x="121" y="182"/>
                    </a:lnTo>
                    <a:lnTo>
                      <a:pt x="119" y="180"/>
                    </a:lnTo>
                    <a:lnTo>
                      <a:pt x="119" y="179"/>
                    </a:lnTo>
                    <a:lnTo>
                      <a:pt x="121" y="177"/>
                    </a:lnTo>
                    <a:lnTo>
                      <a:pt x="125" y="169"/>
                    </a:lnTo>
                    <a:lnTo>
                      <a:pt x="123" y="167"/>
                    </a:lnTo>
                    <a:lnTo>
                      <a:pt x="123" y="163"/>
                    </a:lnTo>
                    <a:lnTo>
                      <a:pt x="121" y="161"/>
                    </a:lnTo>
                    <a:lnTo>
                      <a:pt x="117" y="159"/>
                    </a:lnTo>
                    <a:lnTo>
                      <a:pt x="115" y="157"/>
                    </a:lnTo>
                    <a:lnTo>
                      <a:pt x="113" y="155"/>
                    </a:lnTo>
                    <a:lnTo>
                      <a:pt x="113" y="152"/>
                    </a:lnTo>
                    <a:lnTo>
                      <a:pt x="115" y="152"/>
                    </a:lnTo>
                    <a:lnTo>
                      <a:pt x="113" y="148"/>
                    </a:lnTo>
                    <a:lnTo>
                      <a:pt x="113" y="146"/>
                    </a:lnTo>
                    <a:lnTo>
                      <a:pt x="113" y="144"/>
                    </a:lnTo>
                    <a:lnTo>
                      <a:pt x="111" y="144"/>
                    </a:lnTo>
                    <a:lnTo>
                      <a:pt x="109" y="142"/>
                    </a:lnTo>
                    <a:lnTo>
                      <a:pt x="107" y="142"/>
                    </a:lnTo>
                    <a:lnTo>
                      <a:pt x="107" y="140"/>
                    </a:lnTo>
                    <a:lnTo>
                      <a:pt x="111" y="138"/>
                    </a:lnTo>
                    <a:lnTo>
                      <a:pt x="113" y="136"/>
                    </a:lnTo>
                    <a:lnTo>
                      <a:pt x="119" y="127"/>
                    </a:lnTo>
                    <a:lnTo>
                      <a:pt x="121" y="129"/>
                    </a:lnTo>
                    <a:lnTo>
                      <a:pt x="123" y="130"/>
                    </a:lnTo>
                    <a:lnTo>
                      <a:pt x="129" y="121"/>
                    </a:lnTo>
                    <a:lnTo>
                      <a:pt x="130" y="123"/>
                    </a:lnTo>
                    <a:lnTo>
                      <a:pt x="132" y="121"/>
                    </a:lnTo>
                    <a:lnTo>
                      <a:pt x="136" y="117"/>
                    </a:lnTo>
                    <a:lnTo>
                      <a:pt x="138" y="119"/>
                    </a:lnTo>
                    <a:lnTo>
                      <a:pt x="140" y="119"/>
                    </a:lnTo>
                    <a:lnTo>
                      <a:pt x="138" y="117"/>
                    </a:lnTo>
                    <a:lnTo>
                      <a:pt x="140" y="117"/>
                    </a:lnTo>
                    <a:lnTo>
                      <a:pt x="140" y="115"/>
                    </a:lnTo>
                    <a:lnTo>
                      <a:pt x="142" y="113"/>
                    </a:lnTo>
                    <a:lnTo>
                      <a:pt x="144" y="111"/>
                    </a:lnTo>
                    <a:lnTo>
                      <a:pt x="144" y="109"/>
                    </a:lnTo>
                    <a:lnTo>
                      <a:pt x="146" y="107"/>
                    </a:lnTo>
                    <a:lnTo>
                      <a:pt x="148" y="106"/>
                    </a:lnTo>
                    <a:lnTo>
                      <a:pt x="150" y="102"/>
                    </a:lnTo>
                    <a:lnTo>
                      <a:pt x="152" y="100"/>
                    </a:lnTo>
                    <a:lnTo>
                      <a:pt x="152" y="98"/>
                    </a:lnTo>
                    <a:lnTo>
                      <a:pt x="154" y="96"/>
                    </a:lnTo>
                    <a:lnTo>
                      <a:pt x="154" y="94"/>
                    </a:lnTo>
                    <a:lnTo>
                      <a:pt x="155" y="92"/>
                    </a:lnTo>
                    <a:lnTo>
                      <a:pt x="157" y="90"/>
                    </a:lnTo>
                    <a:lnTo>
                      <a:pt x="159" y="88"/>
                    </a:lnTo>
                    <a:lnTo>
                      <a:pt x="161" y="86"/>
                    </a:lnTo>
                    <a:lnTo>
                      <a:pt x="163" y="88"/>
                    </a:lnTo>
                    <a:lnTo>
                      <a:pt x="165" y="84"/>
                    </a:lnTo>
                    <a:lnTo>
                      <a:pt x="167" y="79"/>
                    </a:lnTo>
                    <a:lnTo>
                      <a:pt x="169" y="75"/>
                    </a:lnTo>
                    <a:lnTo>
                      <a:pt x="171" y="73"/>
                    </a:lnTo>
                    <a:lnTo>
                      <a:pt x="173" y="71"/>
                    </a:lnTo>
                    <a:lnTo>
                      <a:pt x="173" y="69"/>
                    </a:lnTo>
                    <a:lnTo>
                      <a:pt x="175" y="65"/>
                    </a:lnTo>
                    <a:lnTo>
                      <a:pt x="177" y="61"/>
                    </a:lnTo>
                    <a:lnTo>
                      <a:pt x="175" y="61"/>
                    </a:lnTo>
                    <a:lnTo>
                      <a:pt x="173" y="59"/>
                    </a:lnTo>
                    <a:lnTo>
                      <a:pt x="175" y="57"/>
                    </a:lnTo>
                    <a:lnTo>
                      <a:pt x="175" y="56"/>
                    </a:lnTo>
                    <a:lnTo>
                      <a:pt x="175" y="54"/>
                    </a:lnTo>
                    <a:lnTo>
                      <a:pt x="177" y="52"/>
                    </a:lnTo>
                    <a:lnTo>
                      <a:pt x="177" y="50"/>
                    </a:lnTo>
                    <a:lnTo>
                      <a:pt x="177" y="48"/>
                    </a:lnTo>
                    <a:lnTo>
                      <a:pt x="177" y="46"/>
                    </a:lnTo>
                    <a:lnTo>
                      <a:pt x="177" y="42"/>
                    </a:lnTo>
                    <a:lnTo>
                      <a:pt x="177" y="40"/>
                    </a:lnTo>
                    <a:lnTo>
                      <a:pt x="179" y="38"/>
                    </a:lnTo>
                    <a:lnTo>
                      <a:pt x="180" y="36"/>
                    </a:lnTo>
                    <a:lnTo>
                      <a:pt x="182" y="34"/>
                    </a:lnTo>
                    <a:lnTo>
                      <a:pt x="184" y="32"/>
                    </a:lnTo>
                    <a:lnTo>
                      <a:pt x="186" y="32"/>
                    </a:lnTo>
                    <a:lnTo>
                      <a:pt x="186" y="31"/>
                    </a:lnTo>
                    <a:lnTo>
                      <a:pt x="186" y="29"/>
                    </a:lnTo>
                    <a:lnTo>
                      <a:pt x="188" y="27"/>
                    </a:lnTo>
                    <a:lnTo>
                      <a:pt x="188" y="25"/>
                    </a:lnTo>
                    <a:lnTo>
                      <a:pt x="188" y="23"/>
                    </a:lnTo>
                    <a:lnTo>
                      <a:pt x="190" y="21"/>
                    </a:lnTo>
                    <a:lnTo>
                      <a:pt x="190" y="19"/>
                    </a:lnTo>
                    <a:lnTo>
                      <a:pt x="188" y="17"/>
                    </a:lnTo>
                    <a:lnTo>
                      <a:pt x="190" y="15"/>
                    </a:lnTo>
                    <a:lnTo>
                      <a:pt x="192" y="11"/>
                    </a:lnTo>
                    <a:lnTo>
                      <a:pt x="192" y="9"/>
                    </a:lnTo>
                    <a:lnTo>
                      <a:pt x="192" y="7"/>
                    </a:lnTo>
                    <a:lnTo>
                      <a:pt x="192" y="6"/>
                    </a:lnTo>
                    <a:lnTo>
                      <a:pt x="194" y="4"/>
                    </a:lnTo>
                    <a:lnTo>
                      <a:pt x="196" y="4"/>
                    </a:lnTo>
                    <a:lnTo>
                      <a:pt x="196" y="2"/>
                    </a:lnTo>
                    <a:lnTo>
                      <a:pt x="198" y="2"/>
                    </a:lnTo>
                    <a:lnTo>
                      <a:pt x="200" y="0"/>
                    </a:lnTo>
                    <a:lnTo>
                      <a:pt x="202" y="2"/>
                    </a:lnTo>
                    <a:lnTo>
                      <a:pt x="203" y="2"/>
                    </a:lnTo>
                    <a:lnTo>
                      <a:pt x="203" y="4"/>
                    </a:lnTo>
                    <a:lnTo>
                      <a:pt x="205" y="4"/>
                    </a:lnTo>
                    <a:lnTo>
                      <a:pt x="207" y="4"/>
                    </a:lnTo>
                    <a:lnTo>
                      <a:pt x="209" y="6"/>
                    </a:lnTo>
                    <a:lnTo>
                      <a:pt x="209" y="7"/>
                    </a:lnTo>
                    <a:lnTo>
                      <a:pt x="211" y="7"/>
                    </a:lnTo>
                    <a:lnTo>
                      <a:pt x="211" y="9"/>
                    </a:lnTo>
                    <a:lnTo>
                      <a:pt x="211" y="11"/>
                    </a:lnTo>
                    <a:lnTo>
                      <a:pt x="209" y="11"/>
                    </a:lnTo>
                    <a:lnTo>
                      <a:pt x="209" y="13"/>
                    </a:lnTo>
                    <a:lnTo>
                      <a:pt x="209" y="15"/>
                    </a:lnTo>
                    <a:lnTo>
                      <a:pt x="207" y="17"/>
                    </a:lnTo>
                    <a:lnTo>
                      <a:pt x="207" y="19"/>
                    </a:lnTo>
                    <a:lnTo>
                      <a:pt x="209" y="21"/>
                    </a:lnTo>
                    <a:lnTo>
                      <a:pt x="211" y="21"/>
                    </a:lnTo>
                    <a:lnTo>
                      <a:pt x="215" y="21"/>
                    </a:lnTo>
                    <a:lnTo>
                      <a:pt x="217" y="23"/>
                    </a:lnTo>
                    <a:lnTo>
                      <a:pt x="221" y="23"/>
                    </a:lnTo>
                    <a:lnTo>
                      <a:pt x="223" y="25"/>
                    </a:lnTo>
                    <a:lnTo>
                      <a:pt x="225" y="25"/>
                    </a:lnTo>
                    <a:lnTo>
                      <a:pt x="230" y="29"/>
                    </a:lnTo>
                    <a:lnTo>
                      <a:pt x="234" y="31"/>
                    </a:lnTo>
                    <a:lnTo>
                      <a:pt x="238" y="32"/>
                    </a:lnTo>
                    <a:lnTo>
                      <a:pt x="240" y="36"/>
                    </a:lnTo>
                    <a:lnTo>
                      <a:pt x="246" y="44"/>
                    </a:lnTo>
                    <a:lnTo>
                      <a:pt x="252" y="52"/>
                    </a:lnTo>
                    <a:lnTo>
                      <a:pt x="253" y="56"/>
                    </a:lnTo>
                    <a:lnTo>
                      <a:pt x="253" y="57"/>
                    </a:lnTo>
                    <a:lnTo>
                      <a:pt x="265" y="71"/>
                    </a:lnTo>
                    <a:lnTo>
                      <a:pt x="267" y="73"/>
                    </a:lnTo>
                    <a:lnTo>
                      <a:pt x="269" y="77"/>
                    </a:lnTo>
                    <a:lnTo>
                      <a:pt x="271" y="84"/>
                    </a:lnTo>
                    <a:lnTo>
                      <a:pt x="271" y="92"/>
                    </a:lnTo>
                    <a:lnTo>
                      <a:pt x="267" y="98"/>
                    </a:lnTo>
                    <a:lnTo>
                      <a:pt x="265" y="102"/>
                    </a:lnTo>
                    <a:lnTo>
                      <a:pt x="263" y="115"/>
                    </a:lnTo>
                    <a:lnTo>
                      <a:pt x="265" y="123"/>
                    </a:lnTo>
                    <a:lnTo>
                      <a:pt x="265" y="129"/>
                    </a:lnTo>
                    <a:lnTo>
                      <a:pt x="267" y="140"/>
                    </a:lnTo>
                    <a:lnTo>
                      <a:pt x="265" y="144"/>
                    </a:lnTo>
                    <a:lnTo>
                      <a:pt x="269" y="150"/>
                    </a:lnTo>
                    <a:lnTo>
                      <a:pt x="271" y="152"/>
                    </a:lnTo>
                    <a:lnTo>
                      <a:pt x="271" y="154"/>
                    </a:lnTo>
                    <a:lnTo>
                      <a:pt x="273" y="154"/>
                    </a:lnTo>
                    <a:lnTo>
                      <a:pt x="275" y="154"/>
                    </a:lnTo>
                    <a:lnTo>
                      <a:pt x="273" y="154"/>
                    </a:lnTo>
                    <a:lnTo>
                      <a:pt x="275" y="154"/>
                    </a:lnTo>
                    <a:lnTo>
                      <a:pt x="275" y="155"/>
                    </a:lnTo>
                    <a:lnTo>
                      <a:pt x="273" y="155"/>
                    </a:lnTo>
                    <a:lnTo>
                      <a:pt x="273" y="157"/>
                    </a:lnTo>
                    <a:lnTo>
                      <a:pt x="273" y="159"/>
                    </a:lnTo>
                    <a:lnTo>
                      <a:pt x="273" y="165"/>
                    </a:lnTo>
                    <a:lnTo>
                      <a:pt x="273" y="173"/>
                    </a:lnTo>
                    <a:lnTo>
                      <a:pt x="273" y="179"/>
                    </a:lnTo>
                    <a:lnTo>
                      <a:pt x="269" y="194"/>
                    </a:lnTo>
                    <a:lnTo>
                      <a:pt x="267" y="198"/>
                    </a:lnTo>
                    <a:lnTo>
                      <a:pt x="269" y="205"/>
                    </a:lnTo>
                    <a:lnTo>
                      <a:pt x="284" y="209"/>
                    </a:lnTo>
                    <a:lnTo>
                      <a:pt x="290" y="213"/>
                    </a:lnTo>
                    <a:lnTo>
                      <a:pt x="300" y="219"/>
                    </a:lnTo>
                    <a:lnTo>
                      <a:pt x="298" y="225"/>
                    </a:lnTo>
                    <a:lnTo>
                      <a:pt x="298" y="227"/>
                    </a:lnTo>
                    <a:lnTo>
                      <a:pt x="300" y="227"/>
                    </a:lnTo>
                    <a:lnTo>
                      <a:pt x="301" y="227"/>
                    </a:lnTo>
                    <a:lnTo>
                      <a:pt x="301" y="230"/>
                    </a:lnTo>
                    <a:lnTo>
                      <a:pt x="301" y="238"/>
                    </a:lnTo>
                    <a:lnTo>
                      <a:pt x="300" y="246"/>
                    </a:lnTo>
                    <a:lnTo>
                      <a:pt x="300" y="250"/>
                    </a:lnTo>
                    <a:lnTo>
                      <a:pt x="303" y="261"/>
                    </a:lnTo>
                    <a:lnTo>
                      <a:pt x="303" y="267"/>
                    </a:lnTo>
                    <a:lnTo>
                      <a:pt x="311" y="273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Freeform 131">
                <a:extLst>
                  <a:ext uri="{FF2B5EF4-FFF2-40B4-BE49-F238E27FC236}">
                    <a16:creationId xmlns="" xmlns:a16="http://schemas.microsoft.com/office/drawing/2014/main" id="{5F2BD97C-9F00-4085-86ED-F8AD8D755F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7225" y="3768726"/>
                <a:ext cx="180975" cy="238125"/>
              </a:xfrm>
              <a:custGeom>
                <a:avLst/>
                <a:gdLst>
                  <a:gd name="T0" fmla="*/ 110 w 114"/>
                  <a:gd name="T1" fmla="*/ 17 h 150"/>
                  <a:gd name="T2" fmla="*/ 102 w 114"/>
                  <a:gd name="T3" fmla="*/ 29 h 150"/>
                  <a:gd name="T4" fmla="*/ 106 w 114"/>
                  <a:gd name="T5" fmla="*/ 37 h 150"/>
                  <a:gd name="T6" fmla="*/ 104 w 114"/>
                  <a:gd name="T7" fmla="*/ 40 h 150"/>
                  <a:gd name="T8" fmla="*/ 104 w 114"/>
                  <a:gd name="T9" fmla="*/ 52 h 150"/>
                  <a:gd name="T10" fmla="*/ 104 w 114"/>
                  <a:gd name="T11" fmla="*/ 63 h 150"/>
                  <a:gd name="T12" fmla="*/ 108 w 114"/>
                  <a:gd name="T13" fmla="*/ 77 h 150"/>
                  <a:gd name="T14" fmla="*/ 108 w 114"/>
                  <a:gd name="T15" fmla="*/ 87 h 150"/>
                  <a:gd name="T16" fmla="*/ 100 w 114"/>
                  <a:gd name="T17" fmla="*/ 102 h 150"/>
                  <a:gd name="T18" fmla="*/ 98 w 114"/>
                  <a:gd name="T19" fmla="*/ 106 h 150"/>
                  <a:gd name="T20" fmla="*/ 92 w 114"/>
                  <a:gd name="T21" fmla="*/ 112 h 150"/>
                  <a:gd name="T22" fmla="*/ 87 w 114"/>
                  <a:gd name="T23" fmla="*/ 112 h 150"/>
                  <a:gd name="T24" fmla="*/ 81 w 114"/>
                  <a:gd name="T25" fmla="*/ 121 h 150"/>
                  <a:gd name="T26" fmla="*/ 75 w 114"/>
                  <a:gd name="T27" fmla="*/ 121 h 150"/>
                  <a:gd name="T28" fmla="*/ 73 w 114"/>
                  <a:gd name="T29" fmla="*/ 127 h 150"/>
                  <a:gd name="T30" fmla="*/ 67 w 114"/>
                  <a:gd name="T31" fmla="*/ 131 h 150"/>
                  <a:gd name="T32" fmla="*/ 62 w 114"/>
                  <a:gd name="T33" fmla="*/ 138 h 150"/>
                  <a:gd name="T34" fmla="*/ 52 w 114"/>
                  <a:gd name="T35" fmla="*/ 144 h 150"/>
                  <a:gd name="T36" fmla="*/ 46 w 114"/>
                  <a:gd name="T37" fmla="*/ 148 h 150"/>
                  <a:gd name="T38" fmla="*/ 43 w 114"/>
                  <a:gd name="T39" fmla="*/ 142 h 150"/>
                  <a:gd name="T40" fmla="*/ 41 w 114"/>
                  <a:gd name="T41" fmla="*/ 138 h 150"/>
                  <a:gd name="T42" fmla="*/ 39 w 114"/>
                  <a:gd name="T43" fmla="*/ 140 h 150"/>
                  <a:gd name="T44" fmla="*/ 37 w 114"/>
                  <a:gd name="T45" fmla="*/ 138 h 150"/>
                  <a:gd name="T46" fmla="*/ 31 w 114"/>
                  <a:gd name="T47" fmla="*/ 133 h 150"/>
                  <a:gd name="T48" fmla="*/ 27 w 114"/>
                  <a:gd name="T49" fmla="*/ 129 h 150"/>
                  <a:gd name="T50" fmla="*/ 23 w 114"/>
                  <a:gd name="T51" fmla="*/ 119 h 150"/>
                  <a:gd name="T52" fmla="*/ 19 w 114"/>
                  <a:gd name="T53" fmla="*/ 119 h 150"/>
                  <a:gd name="T54" fmla="*/ 16 w 114"/>
                  <a:gd name="T55" fmla="*/ 117 h 150"/>
                  <a:gd name="T56" fmla="*/ 6 w 114"/>
                  <a:gd name="T57" fmla="*/ 115 h 150"/>
                  <a:gd name="T58" fmla="*/ 6 w 114"/>
                  <a:gd name="T59" fmla="*/ 108 h 150"/>
                  <a:gd name="T60" fmla="*/ 8 w 114"/>
                  <a:gd name="T61" fmla="*/ 100 h 150"/>
                  <a:gd name="T62" fmla="*/ 4 w 114"/>
                  <a:gd name="T63" fmla="*/ 96 h 150"/>
                  <a:gd name="T64" fmla="*/ 0 w 114"/>
                  <a:gd name="T65" fmla="*/ 90 h 150"/>
                  <a:gd name="T66" fmla="*/ 6 w 114"/>
                  <a:gd name="T67" fmla="*/ 90 h 150"/>
                  <a:gd name="T68" fmla="*/ 8 w 114"/>
                  <a:gd name="T69" fmla="*/ 83 h 150"/>
                  <a:gd name="T70" fmla="*/ 14 w 114"/>
                  <a:gd name="T71" fmla="*/ 83 h 150"/>
                  <a:gd name="T72" fmla="*/ 16 w 114"/>
                  <a:gd name="T73" fmla="*/ 75 h 150"/>
                  <a:gd name="T74" fmla="*/ 14 w 114"/>
                  <a:gd name="T75" fmla="*/ 69 h 150"/>
                  <a:gd name="T76" fmla="*/ 10 w 114"/>
                  <a:gd name="T77" fmla="*/ 60 h 150"/>
                  <a:gd name="T78" fmla="*/ 10 w 114"/>
                  <a:gd name="T79" fmla="*/ 54 h 150"/>
                  <a:gd name="T80" fmla="*/ 6 w 114"/>
                  <a:gd name="T81" fmla="*/ 46 h 150"/>
                  <a:gd name="T82" fmla="*/ 10 w 114"/>
                  <a:gd name="T83" fmla="*/ 38 h 150"/>
                  <a:gd name="T84" fmla="*/ 12 w 114"/>
                  <a:gd name="T85" fmla="*/ 37 h 150"/>
                  <a:gd name="T86" fmla="*/ 18 w 114"/>
                  <a:gd name="T87" fmla="*/ 35 h 150"/>
                  <a:gd name="T88" fmla="*/ 23 w 114"/>
                  <a:gd name="T89" fmla="*/ 25 h 150"/>
                  <a:gd name="T90" fmla="*/ 27 w 114"/>
                  <a:gd name="T91" fmla="*/ 21 h 150"/>
                  <a:gd name="T92" fmla="*/ 33 w 114"/>
                  <a:gd name="T93" fmla="*/ 12 h 150"/>
                  <a:gd name="T94" fmla="*/ 43 w 114"/>
                  <a:gd name="T95" fmla="*/ 6 h 150"/>
                  <a:gd name="T96" fmla="*/ 46 w 114"/>
                  <a:gd name="T97" fmla="*/ 6 h 150"/>
                  <a:gd name="T98" fmla="*/ 52 w 114"/>
                  <a:gd name="T99" fmla="*/ 2 h 150"/>
                  <a:gd name="T100" fmla="*/ 58 w 114"/>
                  <a:gd name="T101" fmla="*/ 2 h 150"/>
                  <a:gd name="T102" fmla="*/ 66 w 114"/>
                  <a:gd name="T103" fmla="*/ 4 h 150"/>
                  <a:gd name="T104" fmla="*/ 67 w 114"/>
                  <a:gd name="T105" fmla="*/ 10 h 150"/>
                  <a:gd name="T106" fmla="*/ 71 w 114"/>
                  <a:gd name="T107" fmla="*/ 17 h 150"/>
                  <a:gd name="T108" fmla="*/ 77 w 114"/>
                  <a:gd name="T109" fmla="*/ 13 h 150"/>
                  <a:gd name="T110" fmla="*/ 89 w 114"/>
                  <a:gd name="T111" fmla="*/ 2 h 150"/>
                  <a:gd name="T112" fmla="*/ 96 w 114"/>
                  <a:gd name="T113" fmla="*/ 6 h 150"/>
                  <a:gd name="T114" fmla="*/ 104 w 114"/>
                  <a:gd name="T115" fmla="*/ 8 h 150"/>
                  <a:gd name="T116" fmla="*/ 112 w 114"/>
                  <a:gd name="T117" fmla="*/ 12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14" h="150">
                    <a:moveTo>
                      <a:pt x="114" y="13"/>
                    </a:moveTo>
                    <a:lnTo>
                      <a:pt x="114" y="15"/>
                    </a:lnTo>
                    <a:lnTo>
                      <a:pt x="112" y="15"/>
                    </a:lnTo>
                    <a:lnTo>
                      <a:pt x="112" y="13"/>
                    </a:lnTo>
                    <a:lnTo>
                      <a:pt x="112" y="15"/>
                    </a:lnTo>
                    <a:lnTo>
                      <a:pt x="110" y="15"/>
                    </a:lnTo>
                    <a:lnTo>
                      <a:pt x="110" y="17"/>
                    </a:lnTo>
                    <a:lnTo>
                      <a:pt x="110" y="19"/>
                    </a:lnTo>
                    <a:lnTo>
                      <a:pt x="108" y="21"/>
                    </a:lnTo>
                    <a:lnTo>
                      <a:pt x="106" y="25"/>
                    </a:lnTo>
                    <a:lnTo>
                      <a:pt x="106" y="27"/>
                    </a:lnTo>
                    <a:lnTo>
                      <a:pt x="104" y="27"/>
                    </a:lnTo>
                    <a:lnTo>
                      <a:pt x="104" y="29"/>
                    </a:lnTo>
                    <a:lnTo>
                      <a:pt x="102" y="29"/>
                    </a:lnTo>
                    <a:lnTo>
                      <a:pt x="104" y="29"/>
                    </a:lnTo>
                    <a:lnTo>
                      <a:pt x="106" y="29"/>
                    </a:lnTo>
                    <a:lnTo>
                      <a:pt x="104" y="31"/>
                    </a:lnTo>
                    <a:lnTo>
                      <a:pt x="104" y="33"/>
                    </a:lnTo>
                    <a:lnTo>
                      <a:pt x="106" y="33"/>
                    </a:lnTo>
                    <a:lnTo>
                      <a:pt x="106" y="35"/>
                    </a:lnTo>
                    <a:lnTo>
                      <a:pt x="106" y="37"/>
                    </a:lnTo>
                    <a:lnTo>
                      <a:pt x="106" y="38"/>
                    </a:lnTo>
                    <a:lnTo>
                      <a:pt x="104" y="38"/>
                    </a:lnTo>
                    <a:lnTo>
                      <a:pt x="102" y="38"/>
                    </a:lnTo>
                    <a:lnTo>
                      <a:pt x="104" y="38"/>
                    </a:lnTo>
                    <a:lnTo>
                      <a:pt x="102" y="38"/>
                    </a:lnTo>
                    <a:lnTo>
                      <a:pt x="102" y="40"/>
                    </a:lnTo>
                    <a:lnTo>
                      <a:pt x="104" y="40"/>
                    </a:lnTo>
                    <a:lnTo>
                      <a:pt x="104" y="42"/>
                    </a:lnTo>
                    <a:lnTo>
                      <a:pt x="104" y="44"/>
                    </a:lnTo>
                    <a:lnTo>
                      <a:pt x="104" y="46"/>
                    </a:lnTo>
                    <a:lnTo>
                      <a:pt x="106" y="44"/>
                    </a:lnTo>
                    <a:lnTo>
                      <a:pt x="104" y="48"/>
                    </a:lnTo>
                    <a:lnTo>
                      <a:pt x="104" y="50"/>
                    </a:lnTo>
                    <a:lnTo>
                      <a:pt x="104" y="52"/>
                    </a:lnTo>
                    <a:lnTo>
                      <a:pt x="104" y="54"/>
                    </a:lnTo>
                    <a:lnTo>
                      <a:pt x="106" y="56"/>
                    </a:lnTo>
                    <a:lnTo>
                      <a:pt x="104" y="58"/>
                    </a:lnTo>
                    <a:lnTo>
                      <a:pt x="102" y="58"/>
                    </a:lnTo>
                    <a:lnTo>
                      <a:pt x="102" y="60"/>
                    </a:lnTo>
                    <a:lnTo>
                      <a:pt x="104" y="62"/>
                    </a:lnTo>
                    <a:lnTo>
                      <a:pt x="104" y="63"/>
                    </a:lnTo>
                    <a:lnTo>
                      <a:pt x="104" y="65"/>
                    </a:lnTo>
                    <a:lnTo>
                      <a:pt x="104" y="67"/>
                    </a:lnTo>
                    <a:lnTo>
                      <a:pt x="104" y="69"/>
                    </a:lnTo>
                    <a:lnTo>
                      <a:pt x="104" y="71"/>
                    </a:lnTo>
                    <a:lnTo>
                      <a:pt x="106" y="73"/>
                    </a:lnTo>
                    <a:lnTo>
                      <a:pt x="106" y="75"/>
                    </a:lnTo>
                    <a:lnTo>
                      <a:pt x="108" y="77"/>
                    </a:lnTo>
                    <a:lnTo>
                      <a:pt x="108" y="79"/>
                    </a:lnTo>
                    <a:lnTo>
                      <a:pt x="108" y="81"/>
                    </a:lnTo>
                    <a:lnTo>
                      <a:pt x="106" y="81"/>
                    </a:lnTo>
                    <a:lnTo>
                      <a:pt x="108" y="81"/>
                    </a:lnTo>
                    <a:lnTo>
                      <a:pt x="108" y="83"/>
                    </a:lnTo>
                    <a:lnTo>
                      <a:pt x="108" y="85"/>
                    </a:lnTo>
                    <a:lnTo>
                      <a:pt x="108" y="87"/>
                    </a:lnTo>
                    <a:lnTo>
                      <a:pt x="108" y="88"/>
                    </a:lnTo>
                    <a:lnTo>
                      <a:pt x="108" y="92"/>
                    </a:lnTo>
                    <a:lnTo>
                      <a:pt x="108" y="94"/>
                    </a:lnTo>
                    <a:lnTo>
                      <a:pt x="106" y="102"/>
                    </a:lnTo>
                    <a:lnTo>
                      <a:pt x="104" y="102"/>
                    </a:lnTo>
                    <a:lnTo>
                      <a:pt x="100" y="104"/>
                    </a:lnTo>
                    <a:lnTo>
                      <a:pt x="100" y="102"/>
                    </a:lnTo>
                    <a:lnTo>
                      <a:pt x="98" y="102"/>
                    </a:lnTo>
                    <a:lnTo>
                      <a:pt x="98" y="104"/>
                    </a:lnTo>
                    <a:lnTo>
                      <a:pt x="98" y="102"/>
                    </a:lnTo>
                    <a:lnTo>
                      <a:pt x="98" y="104"/>
                    </a:lnTo>
                    <a:lnTo>
                      <a:pt x="96" y="104"/>
                    </a:lnTo>
                    <a:lnTo>
                      <a:pt x="96" y="106"/>
                    </a:lnTo>
                    <a:lnTo>
                      <a:pt x="98" y="106"/>
                    </a:lnTo>
                    <a:lnTo>
                      <a:pt x="98" y="108"/>
                    </a:lnTo>
                    <a:lnTo>
                      <a:pt x="96" y="108"/>
                    </a:lnTo>
                    <a:lnTo>
                      <a:pt x="94" y="106"/>
                    </a:lnTo>
                    <a:lnTo>
                      <a:pt x="94" y="108"/>
                    </a:lnTo>
                    <a:lnTo>
                      <a:pt x="92" y="110"/>
                    </a:lnTo>
                    <a:lnTo>
                      <a:pt x="94" y="112"/>
                    </a:lnTo>
                    <a:lnTo>
                      <a:pt x="92" y="112"/>
                    </a:lnTo>
                    <a:lnTo>
                      <a:pt x="92" y="113"/>
                    </a:lnTo>
                    <a:lnTo>
                      <a:pt x="92" y="112"/>
                    </a:lnTo>
                    <a:lnTo>
                      <a:pt x="92" y="113"/>
                    </a:lnTo>
                    <a:lnTo>
                      <a:pt x="91" y="113"/>
                    </a:lnTo>
                    <a:lnTo>
                      <a:pt x="89" y="115"/>
                    </a:lnTo>
                    <a:lnTo>
                      <a:pt x="89" y="113"/>
                    </a:lnTo>
                    <a:lnTo>
                      <a:pt x="87" y="112"/>
                    </a:lnTo>
                    <a:lnTo>
                      <a:pt x="87" y="113"/>
                    </a:lnTo>
                    <a:lnTo>
                      <a:pt x="85" y="115"/>
                    </a:lnTo>
                    <a:lnTo>
                      <a:pt x="85" y="117"/>
                    </a:lnTo>
                    <a:lnTo>
                      <a:pt x="83" y="117"/>
                    </a:lnTo>
                    <a:lnTo>
                      <a:pt x="83" y="119"/>
                    </a:lnTo>
                    <a:lnTo>
                      <a:pt x="81" y="119"/>
                    </a:lnTo>
                    <a:lnTo>
                      <a:pt x="81" y="121"/>
                    </a:lnTo>
                    <a:lnTo>
                      <a:pt x="79" y="119"/>
                    </a:lnTo>
                    <a:lnTo>
                      <a:pt x="79" y="121"/>
                    </a:lnTo>
                    <a:lnTo>
                      <a:pt x="79" y="119"/>
                    </a:lnTo>
                    <a:lnTo>
                      <a:pt x="77" y="119"/>
                    </a:lnTo>
                    <a:lnTo>
                      <a:pt x="77" y="121"/>
                    </a:lnTo>
                    <a:lnTo>
                      <a:pt x="77" y="119"/>
                    </a:lnTo>
                    <a:lnTo>
                      <a:pt x="75" y="121"/>
                    </a:lnTo>
                    <a:lnTo>
                      <a:pt x="75" y="123"/>
                    </a:lnTo>
                    <a:lnTo>
                      <a:pt x="73" y="123"/>
                    </a:lnTo>
                    <a:lnTo>
                      <a:pt x="73" y="125"/>
                    </a:lnTo>
                    <a:lnTo>
                      <a:pt x="71" y="125"/>
                    </a:lnTo>
                    <a:lnTo>
                      <a:pt x="73" y="127"/>
                    </a:lnTo>
                    <a:lnTo>
                      <a:pt x="71" y="127"/>
                    </a:lnTo>
                    <a:lnTo>
                      <a:pt x="73" y="127"/>
                    </a:lnTo>
                    <a:lnTo>
                      <a:pt x="71" y="127"/>
                    </a:lnTo>
                    <a:lnTo>
                      <a:pt x="71" y="129"/>
                    </a:lnTo>
                    <a:lnTo>
                      <a:pt x="71" y="127"/>
                    </a:lnTo>
                    <a:lnTo>
                      <a:pt x="71" y="129"/>
                    </a:lnTo>
                    <a:lnTo>
                      <a:pt x="71" y="131"/>
                    </a:lnTo>
                    <a:lnTo>
                      <a:pt x="69" y="131"/>
                    </a:lnTo>
                    <a:lnTo>
                      <a:pt x="67" y="131"/>
                    </a:lnTo>
                    <a:lnTo>
                      <a:pt x="67" y="133"/>
                    </a:lnTo>
                    <a:lnTo>
                      <a:pt x="66" y="133"/>
                    </a:lnTo>
                    <a:lnTo>
                      <a:pt x="66" y="135"/>
                    </a:lnTo>
                    <a:lnTo>
                      <a:pt x="64" y="135"/>
                    </a:lnTo>
                    <a:lnTo>
                      <a:pt x="64" y="136"/>
                    </a:lnTo>
                    <a:lnTo>
                      <a:pt x="64" y="138"/>
                    </a:lnTo>
                    <a:lnTo>
                      <a:pt x="62" y="138"/>
                    </a:lnTo>
                    <a:lnTo>
                      <a:pt x="60" y="138"/>
                    </a:lnTo>
                    <a:lnTo>
                      <a:pt x="60" y="140"/>
                    </a:lnTo>
                    <a:lnTo>
                      <a:pt x="58" y="140"/>
                    </a:lnTo>
                    <a:lnTo>
                      <a:pt x="58" y="142"/>
                    </a:lnTo>
                    <a:lnTo>
                      <a:pt x="54" y="142"/>
                    </a:lnTo>
                    <a:lnTo>
                      <a:pt x="52" y="142"/>
                    </a:lnTo>
                    <a:lnTo>
                      <a:pt x="52" y="144"/>
                    </a:lnTo>
                    <a:lnTo>
                      <a:pt x="50" y="144"/>
                    </a:lnTo>
                    <a:lnTo>
                      <a:pt x="50" y="146"/>
                    </a:lnTo>
                    <a:lnTo>
                      <a:pt x="48" y="148"/>
                    </a:lnTo>
                    <a:lnTo>
                      <a:pt x="48" y="150"/>
                    </a:lnTo>
                    <a:lnTo>
                      <a:pt x="46" y="150"/>
                    </a:lnTo>
                    <a:lnTo>
                      <a:pt x="48" y="148"/>
                    </a:lnTo>
                    <a:lnTo>
                      <a:pt x="46" y="148"/>
                    </a:lnTo>
                    <a:lnTo>
                      <a:pt x="44" y="148"/>
                    </a:lnTo>
                    <a:lnTo>
                      <a:pt x="43" y="148"/>
                    </a:lnTo>
                    <a:lnTo>
                      <a:pt x="43" y="146"/>
                    </a:lnTo>
                    <a:lnTo>
                      <a:pt x="41" y="146"/>
                    </a:lnTo>
                    <a:lnTo>
                      <a:pt x="41" y="144"/>
                    </a:lnTo>
                    <a:lnTo>
                      <a:pt x="43" y="144"/>
                    </a:lnTo>
                    <a:lnTo>
                      <a:pt x="43" y="142"/>
                    </a:lnTo>
                    <a:lnTo>
                      <a:pt x="44" y="142"/>
                    </a:lnTo>
                    <a:lnTo>
                      <a:pt x="44" y="140"/>
                    </a:lnTo>
                    <a:lnTo>
                      <a:pt x="43" y="140"/>
                    </a:lnTo>
                    <a:lnTo>
                      <a:pt x="43" y="138"/>
                    </a:lnTo>
                    <a:lnTo>
                      <a:pt x="43" y="136"/>
                    </a:lnTo>
                    <a:lnTo>
                      <a:pt x="43" y="138"/>
                    </a:lnTo>
                    <a:lnTo>
                      <a:pt x="41" y="138"/>
                    </a:lnTo>
                    <a:lnTo>
                      <a:pt x="41" y="136"/>
                    </a:lnTo>
                    <a:lnTo>
                      <a:pt x="41" y="135"/>
                    </a:lnTo>
                    <a:lnTo>
                      <a:pt x="39" y="136"/>
                    </a:lnTo>
                    <a:lnTo>
                      <a:pt x="39" y="135"/>
                    </a:lnTo>
                    <a:lnTo>
                      <a:pt x="39" y="136"/>
                    </a:lnTo>
                    <a:lnTo>
                      <a:pt x="39" y="138"/>
                    </a:lnTo>
                    <a:lnTo>
                      <a:pt x="39" y="140"/>
                    </a:lnTo>
                    <a:lnTo>
                      <a:pt x="37" y="140"/>
                    </a:lnTo>
                    <a:lnTo>
                      <a:pt x="37" y="142"/>
                    </a:lnTo>
                    <a:lnTo>
                      <a:pt x="37" y="140"/>
                    </a:lnTo>
                    <a:lnTo>
                      <a:pt x="37" y="142"/>
                    </a:lnTo>
                    <a:lnTo>
                      <a:pt x="37" y="140"/>
                    </a:lnTo>
                    <a:lnTo>
                      <a:pt x="35" y="140"/>
                    </a:lnTo>
                    <a:lnTo>
                      <a:pt x="37" y="138"/>
                    </a:lnTo>
                    <a:lnTo>
                      <a:pt x="35" y="136"/>
                    </a:lnTo>
                    <a:lnTo>
                      <a:pt x="35" y="138"/>
                    </a:lnTo>
                    <a:lnTo>
                      <a:pt x="33" y="138"/>
                    </a:lnTo>
                    <a:lnTo>
                      <a:pt x="33" y="136"/>
                    </a:lnTo>
                    <a:lnTo>
                      <a:pt x="31" y="136"/>
                    </a:lnTo>
                    <a:lnTo>
                      <a:pt x="31" y="135"/>
                    </a:lnTo>
                    <a:lnTo>
                      <a:pt x="31" y="133"/>
                    </a:lnTo>
                    <a:lnTo>
                      <a:pt x="29" y="133"/>
                    </a:lnTo>
                    <a:lnTo>
                      <a:pt x="31" y="133"/>
                    </a:lnTo>
                    <a:lnTo>
                      <a:pt x="31" y="131"/>
                    </a:lnTo>
                    <a:lnTo>
                      <a:pt x="29" y="131"/>
                    </a:lnTo>
                    <a:lnTo>
                      <a:pt x="27" y="131"/>
                    </a:lnTo>
                    <a:lnTo>
                      <a:pt x="29" y="129"/>
                    </a:lnTo>
                    <a:lnTo>
                      <a:pt x="27" y="129"/>
                    </a:lnTo>
                    <a:lnTo>
                      <a:pt x="27" y="127"/>
                    </a:lnTo>
                    <a:lnTo>
                      <a:pt x="25" y="127"/>
                    </a:lnTo>
                    <a:lnTo>
                      <a:pt x="25" y="125"/>
                    </a:lnTo>
                    <a:lnTo>
                      <a:pt x="25" y="123"/>
                    </a:lnTo>
                    <a:lnTo>
                      <a:pt x="23" y="123"/>
                    </a:lnTo>
                    <a:lnTo>
                      <a:pt x="23" y="121"/>
                    </a:lnTo>
                    <a:lnTo>
                      <a:pt x="23" y="119"/>
                    </a:lnTo>
                    <a:lnTo>
                      <a:pt x="21" y="119"/>
                    </a:lnTo>
                    <a:lnTo>
                      <a:pt x="23" y="119"/>
                    </a:lnTo>
                    <a:lnTo>
                      <a:pt x="21" y="119"/>
                    </a:lnTo>
                    <a:lnTo>
                      <a:pt x="21" y="121"/>
                    </a:lnTo>
                    <a:lnTo>
                      <a:pt x="21" y="119"/>
                    </a:lnTo>
                    <a:lnTo>
                      <a:pt x="21" y="121"/>
                    </a:lnTo>
                    <a:lnTo>
                      <a:pt x="19" y="119"/>
                    </a:lnTo>
                    <a:lnTo>
                      <a:pt x="19" y="117"/>
                    </a:lnTo>
                    <a:lnTo>
                      <a:pt x="18" y="117"/>
                    </a:lnTo>
                    <a:lnTo>
                      <a:pt x="18" y="115"/>
                    </a:lnTo>
                    <a:lnTo>
                      <a:pt x="18" y="117"/>
                    </a:lnTo>
                    <a:lnTo>
                      <a:pt x="18" y="115"/>
                    </a:lnTo>
                    <a:lnTo>
                      <a:pt x="16" y="115"/>
                    </a:lnTo>
                    <a:lnTo>
                      <a:pt x="16" y="117"/>
                    </a:lnTo>
                    <a:lnTo>
                      <a:pt x="16" y="119"/>
                    </a:lnTo>
                    <a:lnTo>
                      <a:pt x="14" y="117"/>
                    </a:lnTo>
                    <a:lnTo>
                      <a:pt x="12" y="117"/>
                    </a:lnTo>
                    <a:lnTo>
                      <a:pt x="10" y="117"/>
                    </a:lnTo>
                    <a:lnTo>
                      <a:pt x="8" y="117"/>
                    </a:lnTo>
                    <a:lnTo>
                      <a:pt x="8" y="115"/>
                    </a:lnTo>
                    <a:lnTo>
                      <a:pt x="6" y="115"/>
                    </a:lnTo>
                    <a:lnTo>
                      <a:pt x="6" y="113"/>
                    </a:lnTo>
                    <a:lnTo>
                      <a:pt x="4" y="113"/>
                    </a:lnTo>
                    <a:lnTo>
                      <a:pt x="4" y="112"/>
                    </a:lnTo>
                    <a:lnTo>
                      <a:pt x="4" y="113"/>
                    </a:lnTo>
                    <a:lnTo>
                      <a:pt x="2" y="112"/>
                    </a:lnTo>
                    <a:lnTo>
                      <a:pt x="4" y="110"/>
                    </a:lnTo>
                    <a:lnTo>
                      <a:pt x="6" y="108"/>
                    </a:lnTo>
                    <a:lnTo>
                      <a:pt x="8" y="106"/>
                    </a:lnTo>
                    <a:lnTo>
                      <a:pt x="8" y="108"/>
                    </a:lnTo>
                    <a:lnTo>
                      <a:pt x="8" y="106"/>
                    </a:lnTo>
                    <a:lnTo>
                      <a:pt x="10" y="106"/>
                    </a:lnTo>
                    <a:lnTo>
                      <a:pt x="10" y="104"/>
                    </a:lnTo>
                    <a:lnTo>
                      <a:pt x="8" y="102"/>
                    </a:lnTo>
                    <a:lnTo>
                      <a:pt x="8" y="100"/>
                    </a:lnTo>
                    <a:lnTo>
                      <a:pt x="6" y="100"/>
                    </a:lnTo>
                    <a:lnTo>
                      <a:pt x="6" y="102"/>
                    </a:lnTo>
                    <a:lnTo>
                      <a:pt x="6" y="100"/>
                    </a:lnTo>
                    <a:lnTo>
                      <a:pt x="6" y="98"/>
                    </a:lnTo>
                    <a:lnTo>
                      <a:pt x="4" y="96"/>
                    </a:lnTo>
                    <a:lnTo>
                      <a:pt x="4" y="98"/>
                    </a:lnTo>
                    <a:lnTo>
                      <a:pt x="4" y="96"/>
                    </a:lnTo>
                    <a:lnTo>
                      <a:pt x="2" y="96"/>
                    </a:lnTo>
                    <a:lnTo>
                      <a:pt x="2" y="94"/>
                    </a:lnTo>
                    <a:lnTo>
                      <a:pt x="0" y="94"/>
                    </a:lnTo>
                    <a:lnTo>
                      <a:pt x="0" y="92"/>
                    </a:lnTo>
                    <a:lnTo>
                      <a:pt x="0" y="90"/>
                    </a:lnTo>
                    <a:lnTo>
                      <a:pt x="2" y="90"/>
                    </a:lnTo>
                    <a:lnTo>
                      <a:pt x="0" y="90"/>
                    </a:lnTo>
                    <a:lnTo>
                      <a:pt x="2" y="90"/>
                    </a:lnTo>
                    <a:lnTo>
                      <a:pt x="4" y="90"/>
                    </a:lnTo>
                    <a:lnTo>
                      <a:pt x="4" y="88"/>
                    </a:lnTo>
                    <a:lnTo>
                      <a:pt x="4" y="90"/>
                    </a:lnTo>
                    <a:lnTo>
                      <a:pt x="4" y="88"/>
                    </a:lnTo>
                    <a:lnTo>
                      <a:pt x="4" y="90"/>
                    </a:lnTo>
                    <a:lnTo>
                      <a:pt x="6" y="90"/>
                    </a:lnTo>
                    <a:lnTo>
                      <a:pt x="6" y="88"/>
                    </a:lnTo>
                    <a:lnTo>
                      <a:pt x="6" y="87"/>
                    </a:lnTo>
                    <a:lnTo>
                      <a:pt x="8" y="87"/>
                    </a:lnTo>
                    <a:lnTo>
                      <a:pt x="6" y="87"/>
                    </a:lnTo>
                    <a:lnTo>
                      <a:pt x="6" y="85"/>
                    </a:lnTo>
                    <a:lnTo>
                      <a:pt x="8" y="85"/>
                    </a:lnTo>
                    <a:lnTo>
                      <a:pt x="8" y="83"/>
                    </a:lnTo>
                    <a:lnTo>
                      <a:pt x="10" y="83"/>
                    </a:lnTo>
                    <a:lnTo>
                      <a:pt x="12" y="83"/>
                    </a:lnTo>
                    <a:lnTo>
                      <a:pt x="10" y="83"/>
                    </a:lnTo>
                    <a:lnTo>
                      <a:pt x="10" y="81"/>
                    </a:lnTo>
                    <a:lnTo>
                      <a:pt x="12" y="81"/>
                    </a:lnTo>
                    <a:lnTo>
                      <a:pt x="14" y="81"/>
                    </a:lnTo>
                    <a:lnTo>
                      <a:pt x="14" y="83"/>
                    </a:lnTo>
                    <a:lnTo>
                      <a:pt x="14" y="81"/>
                    </a:lnTo>
                    <a:lnTo>
                      <a:pt x="16" y="81"/>
                    </a:lnTo>
                    <a:lnTo>
                      <a:pt x="16" y="83"/>
                    </a:lnTo>
                    <a:lnTo>
                      <a:pt x="16" y="81"/>
                    </a:lnTo>
                    <a:lnTo>
                      <a:pt x="16" y="79"/>
                    </a:lnTo>
                    <a:lnTo>
                      <a:pt x="16" y="77"/>
                    </a:lnTo>
                    <a:lnTo>
                      <a:pt x="16" y="75"/>
                    </a:lnTo>
                    <a:lnTo>
                      <a:pt x="14" y="75"/>
                    </a:lnTo>
                    <a:lnTo>
                      <a:pt x="12" y="75"/>
                    </a:lnTo>
                    <a:lnTo>
                      <a:pt x="14" y="73"/>
                    </a:lnTo>
                    <a:lnTo>
                      <a:pt x="14" y="71"/>
                    </a:lnTo>
                    <a:lnTo>
                      <a:pt x="14" y="69"/>
                    </a:lnTo>
                    <a:lnTo>
                      <a:pt x="12" y="69"/>
                    </a:lnTo>
                    <a:lnTo>
                      <a:pt x="14" y="69"/>
                    </a:lnTo>
                    <a:lnTo>
                      <a:pt x="12" y="67"/>
                    </a:lnTo>
                    <a:lnTo>
                      <a:pt x="10" y="65"/>
                    </a:lnTo>
                    <a:lnTo>
                      <a:pt x="10" y="63"/>
                    </a:lnTo>
                    <a:lnTo>
                      <a:pt x="8" y="63"/>
                    </a:lnTo>
                    <a:lnTo>
                      <a:pt x="8" y="62"/>
                    </a:lnTo>
                    <a:lnTo>
                      <a:pt x="10" y="62"/>
                    </a:lnTo>
                    <a:lnTo>
                      <a:pt x="10" y="60"/>
                    </a:lnTo>
                    <a:lnTo>
                      <a:pt x="12" y="60"/>
                    </a:lnTo>
                    <a:lnTo>
                      <a:pt x="12" y="58"/>
                    </a:lnTo>
                    <a:lnTo>
                      <a:pt x="10" y="60"/>
                    </a:lnTo>
                    <a:lnTo>
                      <a:pt x="10" y="58"/>
                    </a:lnTo>
                    <a:lnTo>
                      <a:pt x="8" y="56"/>
                    </a:lnTo>
                    <a:lnTo>
                      <a:pt x="10" y="56"/>
                    </a:lnTo>
                    <a:lnTo>
                      <a:pt x="10" y="54"/>
                    </a:lnTo>
                    <a:lnTo>
                      <a:pt x="8" y="54"/>
                    </a:lnTo>
                    <a:lnTo>
                      <a:pt x="10" y="52"/>
                    </a:lnTo>
                    <a:lnTo>
                      <a:pt x="8" y="52"/>
                    </a:lnTo>
                    <a:lnTo>
                      <a:pt x="8" y="50"/>
                    </a:lnTo>
                    <a:lnTo>
                      <a:pt x="8" y="48"/>
                    </a:lnTo>
                    <a:lnTo>
                      <a:pt x="6" y="48"/>
                    </a:lnTo>
                    <a:lnTo>
                      <a:pt x="6" y="46"/>
                    </a:lnTo>
                    <a:lnTo>
                      <a:pt x="8" y="46"/>
                    </a:lnTo>
                    <a:lnTo>
                      <a:pt x="8" y="44"/>
                    </a:lnTo>
                    <a:lnTo>
                      <a:pt x="6" y="44"/>
                    </a:lnTo>
                    <a:lnTo>
                      <a:pt x="8" y="42"/>
                    </a:lnTo>
                    <a:lnTo>
                      <a:pt x="8" y="40"/>
                    </a:lnTo>
                    <a:lnTo>
                      <a:pt x="10" y="40"/>
                    </a:lnTo>
                    <a:lnTo>
                      <a:pt x="10" y="38"/>
                    </a:lnTo>
                    <a:lnTo>
                      <a:pt x="8" y="38"/>
                    </a:lnTo>
                    <a:lnTo>
                      <a:pt x="10" y="37"/>
                    </a:lnTo>
                    <a:lnTo>
                      <a:pt x="8" y="37"/>
                    </a:lnTo>
                    <a:lnTo>
                      <a:pt x="10" y="37"/>
                    </a:lnTo>
                    <a:lnTo>
                      <a:pt x="12" y="37"/>
                    </a:lnTo>
                    <a:lnTo>
                      <a:pt x="12" y="35"/>
                    </a:lnTo>
                    <a:lnTo>
                      <a:pt x="12" y="37"/>
                    </a:lnTo>
                    <a:lnTo>
                      <a:pt x="14" y="37"/>
                    </a:lnTo>
                    <a:lnTo>
                      <a:pt x="14" y="35"/>
                    </a:lnTo>
                    <a:lnTo>
                      <a:pt x="16" y="37"/>
                    </a:lnTo>
                    <a:lnTo>
                      <a:pt x="14" y="37"/>
                    </a:lnTo>
                    <a:lnTo>
                      <a:pt x="16" y="37"/>
                    </a:lnTo>
                    <a:lnTo>
                      <a:pt x="16" y="35"/>
                    </a:lnTo>
                    <a:lnTo>
                      <a:pt x="18" y="35"/>
                    </a:lnTo>
                    <a:lnTo>
                      <a:pt x="19" y="31"/>
                    </a:lnTo>
                    <a:lnTo>
                      <a:pt x="19" y="29"/>
                    </a:lnTo>
                    <a:lnTo>
                      <a:pt x="19" y="27"/>
                    </a:lnTo>
                    <a:lnTo>
                      <a:pt x="21" y="27"/>
                    </a:lnTo>
                    <a:lnTo>
                      <a:pt x="21" y="25"/>
                    </a:lnTo>
                    <a:lnTo>
                      <a:pt x="23" y="27"/>
                    </a:lnTo>
                    <a:lnTo>
                      <a:pt x="23" y="25"/>
                    </a:lnTo>
                    <a:lnTo>
                      <a:pt x="25" y="25"/>
                    </a:lnTo>
                    <a:lnTo>
                      <a:pt x="25" y="23"/>
                    </a:lnTo>
                    <a:lnTo>
                      <a:pt x="23" y="21"/>
                    </a:lnTo>
                    <a:lnTo>
                      <a:pt x="25" y="21"/>
                    </a:lnTo>
                    <a:lnTo>
                      <a:pt x="25" y="23"/>
                    </a:lnTo>
                    <a:lnTo>
                      <a:pt x="27" y="23"/>
                    </a:lnTo>
                    <a:lnTo>
                      <a:pt x="27" y="21"/>
                    </a:lnTo>
                    <a:lnTo>
                      <a:pt x="29" y="21"/>
                    </a:lnTo>
                    <a:lnTo>
                      <a:pt x="29" y="19"/>
                    </a:lnTo>
                    <a:lnTo>
                      <a:pt x="29" y="17"/>
                    </a:lnTo>
                    <a:lnTo>
                      <a:pt x="31" y="17"/>
                    </a:lnTo>
                    <a:lnTo>
                      <a:pt x="31" y="15"/>
                    </a:lnTo>
                    <a:lnTo>
                      <a:pt x="31" y="13"/>
                    </a:lnTo>
                    <a:lnTo>
                      <a:pt x="33" y="12"/>
                    </a:lnTo>
                    <a:lnTo>
                      <a:pt x="33" y="10"/>
                    </a:lnTo>
                    <a:lnTo>
                      <a:pt x="35" y="8"/>
                    </a:lnTo>
                    <a:lnTo>
                      <a:pt x="37" y="6"/>
                    </a:lnTo>
                    <a:lnTo>
                      <a:pt x="39" y="6"/>
                    </a:lnTo>
                    <a:lnTo>
                      <a:pt x="39" y="8"/>
                    </a:lnTo>
                    <a:lnTo>
                      <a:pt x="41" y="6"/>
                    </a:lnTo>
                    <a:lnTo>
                      <a:pt x="43" y="6"/>
                    </a:lnTo>
                    <a:lnTo>
                      <a:pt x="41" y="6"/>
                    </a:lnTo>
                    <a:lnTo>
                      <a:pt x="43" y="6"/>
                    </a:lnTo>
                    <a:lnTo>
                      <a:pt x="44" y="4"/>
                    </a:lnTo>
                    <a:lnTo>
                      <a:pt x="44" y="6"/>
                    </a:lnTo>
                    <a:lnTo>
                      <a:pt x="44" y="8"/>
                    </a:lnTo>
                    <a:lnTo>
                      <a:pt x="46" y="8"/>
                    </a:lnTo>
                    <a:lnTo>
                      <a:pt x="46" y="6"/>
                    </a:lnTo>
                    <a:lnTo>
                      <a:pt x="48" y="6"/>
                    </a:lnTo>
                    <a:lnTo>
                      <a:pt x="50" y="6"/>
                    </a:lnTo>
                    <a:lnTo>
                      <a:pt x="50" y="4"/>
                    </a:lnTo>
                    <a:lnTo>
                      <a:pt x="50" y="2"/>
                    </a:lnTo>
                    <a:lnTo>
                      <a:pt x="52" y="2"/>
                    </a:lnTo>
                    <a:lnTo>
                      <a:pt x="52" y="0"/>
                    </a:lnTo>
                    <a:lnTo>
                      <a:pt x="52" y="2"/>
                    </a:lnTo>
                    <a:lnTo>
                      <a:pt x="52" y="4"/>
                    </a:lnTo>
                    <a:lnTo>
                      <a:pt x="54" y="4"/>
                    </a:lnTo>
                    <a:lnTo>
                      <a:pt x="56" y="4"/>
                    </a:lnTo>
                    <a:lnTo>
                      <a:pt x="56" y="2"/>
                    </a:lnTo>
                    <a:lnTo>
                      <a:pt x="56" y="4"/>
                    </a:lnTo>
                    <a:lnTo>
                      <a:pt x="58" y="4"/>
                    </a:lnTo>
                    <a:lnTo>
                      <a:pt x="58" y="2"/>
                    </a:lnTo>
                    <a:lnTo>
                      <a:pt x="58" y="4"/>
                    </a:lnTo>
                    <a:lnTo>
                      <a:pt x="60" y="4"/>
                    </a:lnTo>
                    <a:lnTo>
                      <a:pt x="60" y="2"/>
                    </a:lnTo>
                    <a:lnTo>
                      <a:pt x="62" y="2"/>
                    </a:lnTo>
                    <a:lnTo>
                      <a:pt x="64" y="2"/>
                    </a:lnTo>
                    <a:lnTo>
                      <a:pt x="64" y="4"/>
                    </a:lnTo>
                    <a:lnTo>
                      <a:pt x="66" y="4"/>
                    </a:lnTo>
                    <a:lnTo>
                      <a:pt x="64" y="4"/>
                    </a:lnTo>
                    <a:lnTo>
                      <a:pt x="64" y="6"/>
                    </a:lnTo>
                    <a:lnTo>
                      <a:pt x="64" y="8"/>
                    </a:lnTo>
                    <a:lnTo>
                      <a:pt x="64" y="10"/>
                    </a:lnTo>
                    <a:lnTo>
                      <a:pt x="66" y="10"/>
                    </a:lnTo>
                    <a:lnTo>
                      <a:pt x="67" y="8"/>
                    </a:lnTo>
                    <a:lnTo>
                      <a:pt x="67" y="10"/>
                    </a:lnTo>
                    <a:lnTo>
                      <a:pt x="69" y="12"/>
                    </a:lnTo>
                    <a:lnTo>
                      <a:pt x="69" y="13"/>
                    </a:lnTo>
                    <a:lnTo>
                      <a:pt x="69" y="15"/>
                    </a:lnTo>
                    <a:lnTo>
                      <a:pt x="67" y="15"/>
                    </a:lnTo>
                    <a:lnTo>
                      <a:pt x="69" y="15"/>
                    </a:lnTo>
                    <a:lnTo>
                      <a:pt x="69" y="17"/>
                    </a:lnTo>
                    <a:lnTo>
                      <a:pt x="71" y="17"/>
                    </a:lnTo>
                    <a:lnTo>
                      <a:pt x="73" y="17"/>
                    </a:lnTo>
                    <a:lnTo>
                      <a:pt x="73" y="15"/>
                    </a:lnTo>
                    <a:lnTo>
                      <a:pt x="75" y="15"/>
                    </a:lnTo>
                    <a:lnTo>
                      <a:pt x="75" y="17"/>
                    </a:lnTo>
                    <a:lnTo>
                      <a:pt x="77" y="17"/>
                    </a:lnTo>
                    <a:lnTo>
                      <a:pt x="77" y="15"/>
                    </a:lnTo>
                    <a:lnTo>
                      <a:pt x="77" y="13"/>
                    </a:lnTo>
                    <a:lnTo>
                      <a:pt x="79" y="15"/>
                    </a:lnTo>
                    <a:lnTo>
                      <a:pt x="81" y="15"/>
                    </a:lnTo>
                    <a:lnTo>
                      <a:pt x="83" y="13"/>
                    </a:lnTo>
                    <a:lnTo>
                      <a:pt x="83" y="12"/>
                    </a:lnTo>
                    <a:lnTo>
                      <a:pt x="85" y="8"/>
                    </a:lnTo>
                    <a:lnTo>
                      <a:pt x="87" y="6"/>
                    </a:lnTo>
                    <a:lnTo>
                      <a:pt x="89" y="2"/>
                    </a:lnTo>
                    <a:lnTo>
                      <a:pt x="91" y="2"/>
                    </a:lnTo>
                    <a:lnTo>
                      <a:pt x="92" y="2"/>
                    </a:lnTo>
                    <a:lnTo>
                      <a:pt x="94" y="4"/>
                    </a:lnTo>
                    <a:lnTo>
                      <a:pt x="96" y="2"/>
                    </a:lnTo>
                    <a:lnTo>
                      <a:pt x="98" y="4"/>
                    </a:lnTo>
                    <a:lnTo>
                      <a:pt x="98" y="6"/>
                    </a:lnTo>
                    <a:lnTo>
                      <a:pt x="96" y="6"/>
                    </a:lnTo>
                    <a:lnTo>
                      <a:pt x="98" y="6"/>
                    </a:lnTo>
                    <a:lnTo>
                      <a:pt x="100" y="4"/>
                    </a:lnTo>
                    <a:lnTo>
                      <a:pt x="102" y="6"/>
                    </a:lnTo>
                    <a:lnTo>
                      <a:pt x="104" y="6"/>
                    </a:lnTo>
                    <a:lnTo>
                      <a:pt x="104" y="8"/>
                    </a:lnTo>
                    <a:lnTo>
                      <a:pt x="104" y="6"/>
                    </a:lnTo>
                    <a:lnTo>
                      <a:pt x="104" y="8"/>
                    </a:lnTo>
                    <a:lnTo>
                      <a:pt x="106" y="6"/>
                    </a:lnTo>
                    <a:lnTo>
                      <a:pt x="106" y="8"/>
                    </a:lnTo>
                    <a:lnTo>
                      <a:pt x="108" y="8"/>
                    </a:lnTo>
                    <a:lnTo>
                      <a:pt x="108" y="10"/>
                    </a:lnTo>
                    <a:lnTo>
                      <a:pt x="110" y="10"/>
                    </a:lnTo>
                    <a:lnTo>
                      <a:pt x="112" y="10"/>
                    </a:lnTo>
                    <a:lnTo>
                      <a:pt x="112" y="12"/>
                    </a:lnTo>
                    <a:lnTo>
                      <a:pt x="114" y="13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Freeform 132">
                <a:extLst>
                  <a:ext uri="{FF2B5EF4-FFF2-40B4-BE49-F238E27FC236}">
                    <a16:creationId xmlns="" xmlns:a16="http://schemas.microsoft.com/office/drawing/2014/main" id="{3B4B9141-83F9-4CA1-ACCD-23238186E7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67150" y="3713163"/>
                <a:ext cx="704850" cy="595313"/>
              </a:xfrm>
              <a:custGeom>
                <a:avLst/>
                <a:gdLst>
                  <a:gd name="T0" fmla="*/ 315 w 444"/>
                  <a:gd name="T1" fmla="*/ 58 h 375"/>
                  <a:gd name="T2" fmla="*/ 313 w 444"/>
                  <a:gd name="T3" fmla="*/ 73 h 375"/>
                  <a:gd name="T4" fmla="*/ 309 w 444"/>
                  <a:gd name="T5" fmla="*/ 91 h 375"/>
                  <a:gd name="T6" fmla="*/ 350 w 444"/>
                  <a:gd name="T7" fmla="*/ 97 h 375"/>
                  <a:gd name="T8" fmla="*/ 394 w 444"/>
                  <a:gd name="T9" fmla="*/ 118 h 375"/>
                  <a:gd name="T10" fmla="*/ 405 w 444"/>
                  <a:gd name="T11" fmla="*/ 147 h 375"/>
                  <a:gd name="T12" fmla="*/ 417 w 444"/>
                  <a:gd name="T13" fmla="*/ 171 h 375"/>
                  <a:gd name="T14" fmla="*/ 402 w 444"/>
                  <a:gd name="T15" fmla="*/ 208 h 375"/>
                  <a:gd name="T16" fmla="*/ 427 w 444"/>
                  <a:gd name="T17" fmla="*/ 235 h 375"/>
                  <a:gd name="T18" fmla="*/ 444 w 444"/>
                  <a:gd name="T19" fmla="*/ 243 h 375"/>
                  <a:gd name="T20" fmla="*/ 444 w 444"/>
                  <a:gd name="T21" fmla="*/ 248 h 375"/>
                  <a:gd name="T22" fmla="*/ 438 w 444"/>
                  <a:gd name="T23" fmla="*/ 260 h 375"/>
                  <a:gd name="T24" fmla="*/ 432 w 444"/>
                  <a:gd name="T25" fmla="*/ 268 h 375"/>
                  <a:gd name="T26" fmla="*/ 427 w 444"/>
                  <a:gd name="T27" fmla="*/ 268 h 375"/>
                  <a:gd name="T28" fmla="*/ 421 w 444"/>
                  <a:gd name="T29" fmla="*/ 295 h 375"/>
                  <a:gd name="T30" fmla="*/ 407 w 444"/>
                  <a:gd name="T31" fmla="*/ 312 h 375"/>
                  <a:gd name="T32" fmla="*/ 382 w 444"/>
                  <a:gd name="T33" fmla="*/ 329 h 375"/>
                  <a:gd name="T34" fmla="*/ 373 w 444"/>
                  <a:gd name="T35" fmla="*/ 323 h 375"/>
                  <a:gd name="T36" fmla="*/ 367 w 444"/>
                  <a:gd name="T37" fmla="*/ 323 h 375"/>
                  <a:gd name="T38" fmla="*/ 361 w 444"/>
                  <a:gd name="T39" fmla="*/ 323 h 375"/>
                  <a:gd name="T40" fmla="*/ 350 w 444"/>
                  <a:gd name="T41" fmla="*/ 321 h 375"/>
                  <a:gd name="T42" fmla="*/ 340 w 444"/>
                  <a:gd name="T43" fmla="*/ 321 h 375"/>
                  <a:gd name="T44" fmla="*/ 329 w 444"/>
                  <a:gd name="T45" fmla="*/ 331 h 375"/>
                  <a:gd name="T46" fmla="*/ 317 w 444"/>
                  <a:gd name="T47" fmla="*/ 345 h 375"/>
                  <a:gd name="T48" fmla="*/ 300 w 444"/>
                  <a:gd name="T49" fmla="*/ 345 h 375"/>
                  <a:gd name="T50" fmla="*/ 286 w 444"/>
                  <a:gd name="T51" fmla="*/ 348 h 375"/>
                  <a:gd name="T52" fmla="*/ 271 w 444"/>
                  <a:gd name="T53" fmla="*/ 356 h 375"/>
                  <a:gd name="T54" fmla="*/ 254 w 444"/>
                  <a:gd name="T55" fmla="*/ 360 h 375"/>
                  <a:gd name="T56" fmla="*/ 248 w 444"/>
                  <a:gd name="T57" fmla="*/ 373 h 375"/>
                  <a:gd name="T58" fmla="*/ 236 w 444"/>
                  <a:gd name="T59" fmla="*/ 371 h 375"/>
                  <a:gd name="T60" fmla="*/ 240 w 444"/>
                  <a:gd name="T61" fmla="*/ 362 h 375"/>
                  <a:gd name="T62" fmla="*/ 235 w 444"/>
                  <a:gd name="T63" fmla="*/ 341 h 375"/>
                  <a:gd name="T64" fmla="*/ 235 w 444"/>
                  <a:gd name="T65" fmla="*/ 333 h 375"/>
                  <a:gd name="T66" fmla="*/ 235 w 444"/>
                  <a:gd name="T67" fmla="*/ 316 h 375"/>
                  <a:gd name="T68" fmla="*/ 225 w 444"/>
                  <a:gd name="T69" fmla="*/ 318 h 375"/>
                  <a:gd name="T70" fmla="*/ 221 w 444"/>
                  <a:gd name="T71" fmla="*/ 320 h 375"/>
                  <a:gd name="T72" fmla="*/ 204 w 444"/>
                  <a:gd name="T73" fmla="*/ 323 h 375"/>
                  <a:gd name="T74" fmla="*/ 144 w 444"/>
                  <a:gd name="T75" fmla="*/ 310 h 375"/>
                  <a:gd name="T76" fmla="*/ 110 w 444"/>
                  <a:gd name="T77" fmla="*/ 262 h 375"/>
                  <a:gd name="T78" fmla="*/ 31 w 444"/>
                  <a:gd name="T79" fmla="*/ 235 h 375"/>
                  <a:gd name="T80" fmla="*/ 8 w 444"/>
                  <a:gd name="T81" fmla="*/ 202 h 375"/>
                  <a:gd name="T82" fmla="*/ 8 w 444"/>
                  <a:gd name="T83" fmla="*/ 150 h 375"/>
                  <a:gd name="T84" fmla="*/ 33 w 444"/>
                  <a:gd name="T85" fmla="*/ 112 h 375"/>
                  <a:gd name="T86" fmla="*/ 50 w 444"/>
                  <a:gd name="T87" fmla="*/ 85 h 375"/>
                  <a:gd name="T88" fmla="*/ 73 w 444"/>
                  <a:gd name="T89" fmla="*/ 62 h 375"/>
                  <a:gd name="T90" fmla="*/ 81 w 444"/>
                  <a:gd name="T91" fmla="*/ 43 h 375"/>
                  <a:gd name="T92" fmla="*/ 81 w 444"/>
                  <a:gd name="T93" fmla="*/ 27 h 375"/>
                  <a:gd name="T94" fmla="*/ 92 w 444"/>
                  <a:gd name="T95" fmla="*/ 20 h 375"/>
                  <a:gd name="T96" fmla="*/ 92 w 444"/>
                  <a:gd name="T97" fmla="*/ 16 h 375"/>
                  <a:gd name="T98" fmla="*/ 90 w 444"/>
                  <a:gd name="T99" fmla="*/ 12 h 375"/>
                  <a:gd name="T100" fmla="*/ 96 w 444"/>
                  <a:gd name="T101" fmla="*/ 0 h 375"/>
                  <a:gd name="T102" fmla="*/ 119 w 444"/>
                  <a:gd name="T103" fmla="*/ 10 h 375"/>
                  <a:gd name="T104" fmla="*/ 142 w 444"/>
                  <a:gd name="T105" fmla="*/ 10 h 375"/>
                  <a:gd name="T106" fmla="*/ 148 w 444"/>
                  <a:gd name="T107" fmla="*/ 12 h 375"/>
                  <a:gd name="T108" fmla="*/ 154 w 444"/>
                  <a:gd name="T109" fmla="*/ 12 h 375"/>
                  <a:gd name="T110" fmla="*/ 160 w 444"/>
                  <a:gd name="T111" fmla="*/ 16 h 375"/>
                  <a:gd name="T112" fmla="*/ 160 w 444"/>
                  <a:gd name="T113" fmla="*/ 25 h 375"/>
                  <a:gd name="T114" fmla="*/ 179 w 444"/>
                  <a:gd name="T115" fmla="*/ 25 h 375"/>
                  <a:gd name="T116" fmla="*/ 211 w 444"/>
                  <a:gd name="T117" fmla="*/ 33 h 375"/>
                  <a:gd name="T118" fmla="*/ 248 w 444"/>
                  <a:gd name="T119" fmla="*/ 33 h 375"/>
                  <a:gd name="T120" fmla="*/ 298 w 444"/>
                  <a:gd name="T121" fmla="*/ 31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44" h="375">
                    <a:moveTo>
                      <a:pt x="306" y="31"/>
                    </a:moveTo>
                    <a:lnTo>
                      <a:pt x="306" y="33"/>
                    </a:lnTo>
                    <a:lnTo>
                      <a:pt x="306" y="35"/>
                    </a:lnTo>
                    <a:lnTo>
                      <a:pt x="308" y="35"/>
                    </a:lnTo>
                    <a:lnTo>
                      <a:pt x="309" y="39"/>
                    </a:lnTo>
                    <a:lnTo>
                      <a:pt x="311" y="45"/>
                    </a:lnTo>
                    <a:lnTo>
                      <a:pt x="311" y="48"/>
                    </a:lnTo>
                    <a:lnTo>
                      <a:pt x="313" y="52"/>
                    </a:lnTo>
                    <a:lnTo>
                      <a:pt x="313" y="54"/>
                    </a:lnTo>
                    <a:lnTo>
                      <a:pt x="315" y="56"/>
                    </a:lnTo>
                    <a:lnTo>
                      <a:pt x="315" y="58"/>
                    </a:lnTo>
                    <a:lnTo>
                      <a:pt x="315" y="60"/>
                    </a:lnTo>
                    <a:lnTo>
                      <a:pt x="317" y="62"/>
                    </a:lnTo>
                    <a:lnTo>
                      <a:pt x="317" y="64"/>
                    </a:lnTo>
                    <a:lnTo>
                      <a:pt x="317" y="66"/>
                    </a:lnTo>
                    <a:lnTo>
                      <a:pt x="317" y="68"/>
                    </a:lnTo>
                    <a:lnTo>
                      <a:pt x="315" y="66"/>
                    </a:lnTo>
                    <a:lnTo>
                      <a:pt x="315" y="68"/>
                    </a:lnTo>
                    <a:lnTo>
                      <a:pt x="315" y="70"/>
                    </a:lnTo>
                    <a:lnTo>
                      <a:pt x="315" y="72"/>
                    </a:lnTo>
                    <a:lnTo>
                      <a:pt x="313" y="72"/>
                    </a:lnTo>
                    <a:lnTo>
                      <a:pt x="313" y="73"/>
                    </a:lnTo>
                    <a:lnTo>
                      <a:pt x="313" y="75"/>
                    </a:lnTo>
                    <a:lnTo>
                      <a:pt x="311" y="75"/>
                    </a:lnTo>
                    <a:lnTo>
                      <a:pt x="311" y="77"/>
                    </a:lnTo>
                    <a:lnTo>
                      <a:pt x="311" y="79"/>
                    </a:lnTo>
                    <a:lnTo>
                      <a:pt x="309" y="81"/>
                    </a:lnTo>
                    <a:lnTo>
                      <a:pt x="309" y="85"/>
                    </a:lnTo>
                    <a:lnTo>
                      <a:pt x="309" y="87"/>
                    </a:lnTo>
                    <a:lnTo>
                      <a:pt x="308" y="87"/>
                    </a:lnTo>
                    <a:lnTo>
                      <a:pt x="308" y="89"/>
                    </a:lnTo>
                    <a:lnTo>
                      <a:pt x="308" y="91"/>
                    </a:lnTo>
                    <a:lnTo>
                      <a:pt x="309" y="91"/>
                    </a:lnTo>
                    <a:lnTo>
                      <a:pt x="311" y="95"/>
                    </a:lnTo>
                    <a:lnTo>
                      <a:pt x="313" y="97"/>
                    </a:lnTo>
                    <a:lnTo>
                      <a:pt x="317" y="97"/>
                    </a:lnTo>
                    <a:lnTo>
                      <a:pt x="323" y="97"/>
                    </a:lnTo>
                    <a:lnTo>
                      <a:pt x="327" y="97"/>
                    </a:lnTo>
                    <a:lnTo>
                      <a:pt x="332" y="98"/>
                    </a:lnTo>
                    <a:lnTo>
                      <a:pt x="334" y="98"/>
                    </a:lnTo>
                    <a:lnTo>
                      <a:pt x="336" y="98"/>
                    </a:lnTo>
                    <a:lnTo>
                      <a:pt x="346" y="97"/>
                    </a:lnTo>
                    <a:lnTo>
                      <a:pt x="348" y="97"/>
                    </a:lnTo>
                    <a:lnTo>
                      <a:pt x="350" y="97"/>
                    </a:lnTo>
                    <a:lnTo>
                      <a:pt x="350" y="95"/>
                    </a:lnTo>
                    <a:lnTo>
                      <a:pt x="352" y="95"/>
                    </a:lnTo>
                    <a:lnTo>
                      <a:pt x="369" y="97"/>
                    </a:lnTo>
                    <a:lnTo>
                      <a:pt x="371" y="98"/>
                    </a:lnTo>
                    <a:lnTo>
                      <a:pt x="377" y="100"/>
                    </a:lnTo>
                    <a:lnTo>
                      <a:pt x="381" y="102"/>
                    </a:lnTo>
                    <a:lnTo>
                      <a:pt x="382" y="102"/>
                    </a:lnTo>
                    <a:lnTo>
                      <a:pt x="382" y="110"/>
                    </a:lnTo>
                    <a:lnTo>
                      <a:pt x="384" y="116"/>
                    </a:lnTo>
                    <a:lnTo>
                      <a:pt x="392" y="118"/>
                    </a:lnTo>
                    <a:lnTo>
                      <a:pt x="394" y="118"/>
                    </a:lnTo>
                    <a:lnTo>
                      <a:pt x="394" y="120"/>
                    </a:lnTo>
                    <a:lnTo>
                      <a:pt x="396" y="122"/>
                    </a:lnTo>
                    <a:lnTo>
                      <a:pt x="396" y="123"/>
                    </a:lnTo>
                    <a:lnTo>
                      <a:pt x="396" y="125"/>
                    </a:lnTo>
                    <a:lnTo>
                      <a:pt x="398" y="127"/>
                    </a:lnTo>
                    <a:lnTo>
                      <a:pt x="398" y="131"/>
                    </a:lnTo>
                    <a:lnTo>
                      <a:pt x="400" y="133"/>
                    </a:lnTo>
                    <a:lnTo>
                      <a:pt x="400" y="135"/>
                    </a:lnTo>
                    <a:lnTo>
                      <a:pt x="404" y="143"/>
                    </a:lnTo>
                    <a:lnTo>
                      <a:pt x="404" y="147"/>
                    </a:lnTo>
                    <a:lnTo>
                      <a:pt x="405" y="147"/>
                    </a:lnTo>
                    <a:lnTo>
                      <a:pt x="409" y="147"/>
                    </a:lnTo>
                    <a:lnTo>
                      <a:pt x="415" y="147"/>
                    </a:lnTo>
                    <a:lnTo>
                      <a:pt x="421" y="145"/>
                    </a:lnTo>
                    <a:lnTo>
                      <a:pt x="425" y="145"/>
                    </a:lnTo>
                    <a:lnTo>
                      <a:pt x="427" y="145"/>
                    </a:lnTo>
                    <a:lnTo>
                      <a:pt x="425" y="150"/>
                    </a:lnTo>
                    <a:lnTo>
                      <a:pt x="430" y="164"/>
                    </a:lnTo>
                    <a:lnTo>
                      <a:pt x="429" y="166"/>
                    </a:lnTo>
                    <a:lnTo>
                      <a:pt x="423" y="168"/>
                    </a:lnTo>
                    <a:lnTo>
                      <a:pt x="419" y="171"/>
                    </a:lnTo>
                    <a:lnTo>
                      <a:pt x="417" y="171"/>
                    </a:lnTo>
                    <a:lnTo>
                      <a:pt x="415" y="173"/>
                    </a:lnTo>
                    <a:lnTo>
                      <a:pt x="413" y="177"/>
                    </a:lnTo>
                    <a:lnTo>
                      <a:pt x="411" y="181"/>
                    </a:lnTo>
                    <a:lnTo>
                      <a:pt x="407" y="189"/>
                    </a:lnTo>
                    <a:lnTo>
                      <a:pt x="405" y="189"/>
                    </a:lnTo>
                    <a:lnTo>
                      <a:pt x="405" y="191"/>
                    </a:lnTo>
                    <a:lnTo>
                      <a:pt x="404" y="193"/>
                    </a:lnTo>
                    <a:lnTo>
                      <a:pt x="402" y="195"/>
                    </a:lnTo>
                    <a:lnTo>
                      <a:pt x="402" y="196"/>
                    </a:lnTo>
                    <a:lnTo>
                      <a:pt x="402" y="200"/>
                    </a:lnTo>
                    <a:lnTo>
                      <a:pt x="402" y="208"/>
                    </a:lnTo>
                    <a:lnTo>
                      <a:pt x="404" y="214"/>
                    </a:lnTo>
                    <a:lnTo>
                      <a:pt x="404" y="216"/>
                    </a:lnTo>
                    <a:lnTo>
                      <a:pt x="404" y="218"/>
                    </a:lnTo>
                    <a:lnTo>
                      <a:pt x="405" y="221"/>
                    </a:lnTo>
                    <a:lnTo>
                      <a:pt x="405" y="223"/>
                    </a:lnTo>
                    <a:lnTo>
                      <a:pt x="409" y="225"/>
                    </a:lnTo>
                    <a:lnTo>
                      <a:pt x="413" y="227"/>
                    </a:lnTo>
                    <a:lnTo>
                      <a:pt x="419" y="229"/>
                    </a:lnTo>
                    <a:lnTo>
                      <a:pt x="423" y="229"/>
                    </a:lnTo>
                    <a:lnTo>
                      <a:pt x="427" y="233"/>
                    </a:lnTo>
                    <a:lnTo>
                      <a:pt x="427" y="235"/>
                    </a:lnTo>
                    <a:lnTo>
                      <a:pt x="429" y="235"/>
                    </a:lnTo>
                    <a:lnTo>
                      <a:pt x="430" y="237"/>
                    </a:lnTo>
                    <a:lnTo>
                      <a:pt x="432" y="235"/>
                    </a:lnTo>
                    <a:lnTo>
                      <a:pt x="434" y="237"/>
                    </a:lnTo>
                    <a:lnTo>
                      <a:pt x="436" y="237"/>
                    </a:lnTo>
                    <a:lnTo>
                      <a:pt x="440" y="237"/>
                    </a:lnTo>
                    <a:lnTo>
                      <a:pt x="442" y="237"/>
                    </a:lnTo>
                    <a:lnTo>
                      <a:pt x="442" y="239"/>
                    </a:lnTo>
                    <a:lnTo>
                      <a:pt x="444" y="239"/>
                    </a:lnTo>
                    <a:lnTo>
                      <a:pt x="444" y="241"/>
                    </a:lnTo>
                    <a:lnTo>
                      <a:pt x="444" y="243"/>
                    </a:lnTo>
                    <a:lnTo>
                      <a:pt x="444" y="245"/>
                    </a:lnTo>
                    <a:lnTo>
                      <a:pt x="442" y="245"/>
                    </a:lnTo>
                    <a:lnTo>
                      <a:pt x="444" y="245"/>
                    </a:lnTo>
                    <a:lnTo>
                      <a:pt x="442" y="245"/>
                    </a:lnTo>
                    <a:lnTo>
                      <a:pt x="442" y="246"/>
                    </a:lnTo>
                    <a:lnTo>
                      <a:pt x="444" y="246"/>
                    </a:lnTo>
                    <a:lnTo>
                      <a:pt x="442" y="246"/>
                    </a:lnTo>
                    <a:lnTo>
                      <a:pt x="444" y="246"/>
                    </a:lnTo>
                    <a:lnTo>
                      <a:pt x="442" y="246"/>
                    </a:lnTo>
                    <a:lnTo>
                      <a:pt x="442" y="248"/>
                    </a:lnTo>
                    <a:lnTo>
                      <a:pt x="444" y="248"/>
                    </a:lnTo>
                    <a:lnTo>
                      <a:pt x="442" y="250"/>
                    </a:lnTo>
                    <a:lnTo>
                      <a:pt x="444" y="250"/>
                    </a:lnTo>
                    <a:lnTo>
                      <a:pt x="442" y="250"/>
                    </a:lnTo>
                    <a:lnTo>
                      <a:pt x="442" y="252"/>
                    </a:lnTo>
                    <a:lnTo>
                      <a:pt x="442" y="254"/>
                    </a:lnTo>
                    <a:lnTo>
                      <a:pt x="444" y="256"/>
                    </a:lnTo>
                    <a:lnTo>
                      <a:pt x="442" y="256"/>
                    </a:lnTo>
                    <a:lnTo>
                      <a:pt x="444" y="256"/>
                    </a:lnTo>
                    <a:lnTo>
                      <a:pt x="442" y="258"/>
                    </a:lnTo>
                    <a:lnTo>
                      <a:pt x="442" y="260"/>
                    </a:lnTo>
                    <a:lnTo>
                      <a:pt x="438" y="260"/>
                    </a:lnTo>
                    <a:lnTo>
                      <a:pt x="434" y="260"/>
                    </a:lnTo>
                    <a:lnTo>
                      <a:pt x="434" y="262"/>
                    </a:lnTo>
                    <a:lnTo>
                      <a:pt x="434" y="264"/>
                    </a:lnTo>
                    <a:lnTo>
                      <a:pt x="434" y="266"/>
                    </a:lnTo>
                    <a:lnTo>
                      <a:pt x="434" y="268"/>
                    </a:lnTo>
                    <a:lnTo>
                      <a:pt x="436" y="268"/>
                    </a:lnTo>
                    <a:lnTo>
                      <a:pt x="434" y="268"/>
                    </a:lnTo>
                    <a:lnTo>
                      <a:pt x="432" y="268"/>
                    </a:lnTo>
                    <a:lnTo>
                      <a:pt x="434" y="268"/>
                    </a:lnTo>
                    <a:lnTo>
                      <a:pt x="434" y="266"/>
                    </a:lnTo>
                    <a:lnTo>
                      <a:pt x="432" y="268"/>
                    </a:lnTo>
                    <a:lnTo>
                      <a:pt x="432" y="270"/>
                    </a:lnTo>
                    <a:lnTo>
                      <a:pt x="430" y="268"/>
                    </a:lnTo>
                    <a:lnTo>
                      <a:pt x="432" y="268"/>
                    </a:lnTo>
                    <a:lnTo>
                      <a:pt x="432" y="266"/>
                    </a:lnTo>
                    <a:lnTo>
                      <a:pt x="430" y="266"/>
                    </a:lnTo>
                    <a:lnTo>
                      <a:pt x="430" y="268"/>
                    </a:lnTo>
                    <a:lnTo>
                      <a:pt x="429" y="270"/>
                    </a:lnTo>
                    <a:lnTo>
                      <a:pt x="429" y="271"/>
                    </a:lnTo>
                    <a:lnTo>
                      <a:pt x="427" y="271"/>
                    </a:lnTo>
                    <a:lnTo>
                      <a:pt x="427" y="270"/>
                    </a:lnTo>
                    <a:lnTo>
                      <a:pt x="427" y="268"/>
                    </a:lnTo>
                    <a:lnTo>
                      <a:pt x="425" y="273"/>
                    </a:lnTo>
                    <a:lnTo>
                      <a:pt x="423" y="277"/>
                    </a:lnTo>
                    <a:lnTo>
                      <a:pt x="421" y="285"/>
                    </a:lnTo>
                    <a:lnTo>
                      <a:pt x="417" y="285"/>
                    </a:lnTo>
                    <a:lnTo>
                      <a:pt x="415" y="289"/>
                    </a:lnTo>
                    <a:lnTo>
                      <a:pt x="413" y="291"/>
                    </a:lnTo>
                    <a:lnTo>
                      <a:pt x="413" y="293"/>
                    </a:lnTo>
                    <a:lnTo>
                      <a:pt x="415" y="293"/>
                    </a:lnTo>
                    <a:lnTo>
                      <a:pt x="417" y="295"/>
                    </a:lnTo>
                    <a:lnTo>
                      <a:pt x="419" y="295"/>
                    </a:lnTo>
                    <a:lnTo>
                      <a:pt x="421" y="295"/>
                    </a:lnTo>
                    <a:lnTo>
                      <a:pt x="419" y="298"/>
                    </a:lnTo>
                    <a:lnTo>
                      <a:pt x="417" y="306"/>
                    </a:lnTo>
                    <a:lnTo>
                      <a:pt x="415" y="314"/>
                    </a:lnTo>
                    <a:lnTo>
                      <a:pt x="413" y="314"/>
                    </a:lnTo>
                    <a:lnTo>
                      <a:pt x="413" y="316"/>
                    </a:lnTo>
                    <a:lnTo>
                      <a:pt x="411" y="314"/>
                    </a:lnTo>
                    <a:lnTo>
                      <a:pt x="411" y="312"/>
                    </a:lnTo>
                    <a:lnTo>
                      <a:pt x="409" y="312"/>
                    </a:lnTo>
                    <a:lnTo>
                      <a:pt x="409" y="310"/>
                    </a:lnTo>
                    <a:lnTo>
                      <a:pt x="409" y="312"/>
                    </a:lnTo>
                    <a:lnTo>
                      <a:pt x="407" y="312"/>
                    </a:lnTo>
                    <a:lnTo>
                      <a:pt x="405" y="312"/>
                    </a:lnTo>
                    <a:lnTo>
                      <a:pt x="405" y="314"/>
                    </a:lnTo>
                    <a:lnTo>
                      <a:pt x="402" y="316"/>
                    </a:lnTo>
                    <a:lnTo>
                      <a:pt x="400" y="318"/>
                    </a:lnTo>
                    <a:lnTo>
                      <a:pt x="398" y="320"/>
                    </a:lnTo>
                    <a:lnTo>
                      <a:pt x="396" y="321"/>
                    </a:lnTo>
                    <a:lnTo>
                      <a:pt x="390" y="323"/>
                    </a:lnTo>
                    <a:lnTo>
                      <a:pt x="390" y="325"/>
                    </a:lnTo>
                    <a:lnTo>
                      <a:pt x="386" y="327"/>
                    </a:lnTo>
                    <a:lnTo>
                      <a:pt x="384" y="327"/>
                    </a:lnTo>
                    <a:lnTo>
                      <a:pt x="382" y="329"/>
                    </a:lnTo>
                    <a:lnTo>
                      <a:pt x="382" y="327"/>
                    </a:lnTo>
                    <a:lnTo>
                      <a:pt x="382" y="325"/>
                    </a:lnTo>
                    <a:lnTo>
                      <a:pt x="382" y="323"/>
                    </a:lnTo>
                    <a:lnTo>
                      <a:pt x="382" y="321"/>
                    </a:lnTo>
                    <a:lnTo>
                      <a:pt x="382" y="320"/>
                    </a:lnTo>
                    <a:lnTo>
                      <a:pt x="381" y="321"/>
                    </a:lnTo>
                    <a:lnTo>
                      <a:pt x="379" y="321"/>
                    </a:lnTo>
                    <a:lnTo>
                      <a:pt x="377" y="323"/>
                    </a:lnTo>
                    <a:lnTo>
                      <a:pt x="375" y="323"/>
                    </a:lnTo>
                    <a:lnTo>
                      <a:pt x="375" y="325"/>
                    </a:lnTo>
                    <a:lnTo>
                      <a:pt x="373" y="323"/>
                    </a:lnTo>
                    <a:lnTo>
                      <a:pt x="375" y="321"/>
                    </a:lnTo>
                    <a:lnTo>
                      <a:pt x="373" y="321"/>
                    </a:lnTo>
                    <a:lnTo>
                      <a:pt x="371" y="321"/>
                    </a:lnTo>
                    <a:lnTo>
                      <a:pt x="369" y="321"/>
                    </a:lnTo>
                    <a:lnTo>
                      <a:pt x="369" y="320"/>
                    </a:lnTo>
                    <a:lnTo>
                      <a:pt x="367" y="320"/>
                    </a:lnTo>
                    <a:lnTo>
                      <a:pt x="367" y="321"/>
                    </a:lnTo>
                    <a:lnTo>
                      <a:pt x="367" y="323"/>
                    </a:lnTo>
                    <a:lnTo>
                      <a:pt x="367" y="321"/>
                    </a:lnTo>
                    <a:lnTo>
                      <a:pt x="369" y="323"/>
                    </a:lnTo>
                    <a:lnTo>
                      <a:pt x="367" y="323"/>
                    </a:lnTo>
                    <a:lnTo>
                      <a:pt x="369" y="323"/>
                    </a:lnTo>
                    <a:lnTo>
                      <a:pt x="367" y="323"/>
                    </a:lnTo>
                    <a:lnTo>
                      <a:pt x="367" y="325"/>
                    </a:lnTo>
                    <a:lnTo>
                      <a:pt x="369" y="325"/>
                    </a:lnTo>
                    <a:lnTo>
                      <a:pt x="367" y="325"/>
                    </a:lnTo>
                    <a:lnTo>
                      <a:pt x="367" y="327"/>
                    </a:lnTo>
                    <a:lnTo>
                      <a:pt x="365" y="327"/>
                    </a:lnTo>
                    <a:lnTo>
                      <a:pt x="363" y="327"/>
                    </a:lnTo>
                    <a:lnTo>
                      <a:pt x="361" y="327"/>
                    </a:lnTo>
                    <a:lnTo>
                      <a:pt x="361" y="325"/>
                    </a:lnTo>
                    <a:lnTo>
                      <a:pt x="361" y="323"/>
                    </a:lnTo>
                    <a:lnTo>
                      <a:pt x="361" y="325"/>
                    </a:lnTo>
                    <a:lnTo>
                      <a:pt x="359" y="325"/>
                    </a:lnTo>
                    <a:lnTo>
                      <a:pt x="359" y="327"/>
                    </a:lnTo>
                    <a:lnTo>
                      <a:pt x="357" y="327"/>
                    </a:lnTo>
                    <a:lnTo>
                      <a:pt x="357" y="325"/>
                    </a:lnTo>
                    <a:lnTo>
                      <a:pt x="357" y="323"/>
                    </a:lnTo>
                    <a:lnTo>
                      <a:pt x="356" y="321"/>
                    </a:lnTo>
                    <a:lnTo>
                      <a:pt x="354" y="321"/>
                    </a:lnTo>
                    <a:lnTo>
                      <a:pt x="352" y="320"/>
                    </a:lnTo>
                    <a:lnTo>
                      <a:pt x="350" y="320"/>
                    </a:lnTo>
                    <a:lnTo>
                      <a:pt x="350" y="321"/>
                    </a:lnTo>
                    <a:lnTo>
                      <a:pt x="350" y="323"/>
                    </a:lnTo>
                    <a:lnTo>
                      <a:pt x="350" y="321"/>
                    </a:lnTo>
                    <a:lnTo>
                      <a:pt x="348" y="321"/>
                    </a:lnTo>
                    <a:lnTo>
                      <a:pt x="348" y="323"/>
                    </a:lnTo>
                    <a:lnTo>
                      <a:pt x="346" y="323"/>
                    </a:lnTo>
                    <a:lnTo>
                      <a:pt x="344" y="325"/>
                    </a:lnTo>
                    <a:lnTo>
                      <a:pt x="344" y="323"/>
                    </a:lnTo>
                    <a:lnTo>
                      <a:pt x="342" y="325"/>
                    </a:lnTo>
                    <a:lnTo>
                      <a:pt x="342" y="323"/>
                    </a:lnTo>
                    <a:lnTo>
                      <a:pt x="342" y="321"/>
                    </a:lnTo>
                    <a:lnTo>
                      <a:pt x="340" y="321"/>
                    </a:lnTo>
                    <a:lnTo>
                      <a:pt x="340" y="320"/>
                    </a:lnTo>
                    <a:lnTo>
                      <a:pt x="338" y="320"/>
                    </a:lnTo>
                    <a:lnTo>
                      <a:pt x="336" y="320"/>
                    </a:lnTo>
                    <a:lnTo>
                      <a:pt x="336" y="321"/>
                    </a:lnTo>
                    <a:lnTo>
                      <a:pt x="334" y="323"/>
                    </a:lnTo>
                    <a:lnTo>
                      <a:pt x="334" y="325"/>
                    </a:lnTo>
                    <a:lnTo>
                      <a:pt x="332" y="325"/>
                    </a:lnTo>
                    <a:lnTo>
                      <a:pt x="332" y="327"/>
                    </a:lnTo>
                    <a:lnTo>
                      <a:pt x="331" y="329"/>
                    </a:lnTo>
                    <a:lnTo>
                      <a:pt x="329" y="329"/>
                    </a:lnTo>
                    <a:lnTo>
                      <a:pt x="329" y="331"/>
                    </a:lnTo>
                    <a:lnTo>
                      <a:pt x="325" y="331"/>
                    </a:lnTo>
                    <a:lnTo>
                      <a:pt x="323" y="333"/>
                    </a:lnTo>
                    <a:lnTo>
                      <a:pt x="321" y="335"/>
                    </a:lnTo>
                    <a:lnTo>
                      <a:pt x="323" y="337"/>
                    </a:lnTo>
                    <a:lnTo>
                      <a:pt x="321" y="337"/>
                    </a:lnTo>
                    <a:lnTo>
                      <a:pt x="319" y="337"/>
                    </a:lnTo>
                    <a:lnTo>
                      <a:pt x="319" y="339"/>
                    </a:lnTo>
                    <a:lnTo>
                      <a:pt x="317" y="339"/>
                    </a:lnTo>
                    <a:lnTo>
                      <a:pt x="313" y="341"/>
                    </a:lnTo>
                    <a:lnTo>
                      <a:pt x="315" y="343"/>
                    </a:lnTo>
                    <a:lnTo>
                      <a:pt x="317" y="345"/>
                    </a:lnTo>
                    <a:lnTo>
                      <a:pt x="313" y="345"/>
                    </a:lnTo>
                    <a:lnTo>
                      <a:pt x="309" y="345"/>
                    </a:lnTo>
                    <a:lnTo>
                      <a:pt x="309" y="346"/>
                    </a:lnTo>
                    <a:lnTo>
                      <a:pt x="308" y="345"/>
                    </a:lnTo>
                    <a:lnTo>
                      <a:pt x="306" y="345"/>
                    </a:lnTo>
                    <a:lnTo>
                      <a:pt x="308" y="345"/>
                    </a:lnTo>
                    <a:lnTo>
                      <a:pt x="306" y="343"/>
                    </a:lnTo>
                    <a:lnTo>
                      <a:pt x="304" y="343"/>
                    </a:lnTo>
                    <a:lnTo>
                      <a:pt x="302" y="343"/>
                    </a:lnTo>
                    <a:lnTo>
                      <a:pt x="302" y="345"/>
                    </a:lnTo>
                    <a:lnTo>
                      <a:pt x="300" y="345"/>
                    </a:lnTo>
                    <a:lnTo>
                      <a:pt x="298" y="345"/>
                    </a:lnTo>
                    <a:lnTo>
                      <a:pt x="298" y="346"/>
                    </a:lnTo>
                    <a:lnTo>
                      <a:pt x="298" y="348"/>
                    </a:lnTo>
                    <a:lnTo>
                      <a:pt x="296" y="348"/>
                    </a:lnTo>
                    <a:lnTo>
                      <a:pt x="294" y="350"/>
                    </a:lnTo>
                    <a:lnTo>
                      <a:pt x="294" y="348"/>
                    </a:lnTo>
                    <a:lnTo>
                      <a:pt x="292" y="348"/>
                    </a:lnTo>
                    <a:lnTo>
                      <a:pt x="292" y="346"/>
                    </a:lnTo>
                    <a:lnTo>
                      <a:pt x="290" y="346"/>
                    </a:lnTo>
                    <a:lnTo>
                      <a:pt x="288" y="348"/>
                    </a:lnTo>
                    <a:lnTo>
                      <a:pt x="286" y="348"/>
                    </a:lnTo>
                    <a:lnTo>
                      <a:pt x="284" y="348"/>
                    </a:lnTo>
                    <a:lnTo>
                      <a:pt x="284" y="350"/>
                    </a:lnTo>
                    <a:lnTo>
                      <a:pt x="283" y="350"/>
                    </a:lnTo>
                    <a:lnTo>
                      <a:pt x="281" y="350"/>
                    </a:lnTo>
                    <a:lnTo>
                      <a:pt x="279" y="350"/>
                    </a:lnTo>
                    <a:lnTo>
                      <a:pt x="279" y="352"/>
                    </a:lnTo>
                    <a:lnTo>
                      <a:pt x="277" y="352"/>
                    </a:lnTo>
                    <a:lnTo>
                      <a:pt x="275" y="352"/>
                    </a:lnTo>
                    <a:lnTo>
                      <a:pt x="275" y="354"/>
                    </a:lnTo>
                    <a:lnTo>
                      <a:pt x="273" y="356"/>
                    </a:lnTo>
                    <a:lnTo>
                      <a:pt x="271" y="356"/>
                    </a:lnTo>
                    <a:lnTo>
                      <a:pt x="271" y="354"/>
                    </a:lnTo>
                    <a:lnTo>
                      <a:pt x="269" y="352"/>
                    </a:lnTo>
                    <a:lnTo>
                      <a:pt x="267" y="350"/>
                    </a:lnTo>
                    <a:lnTo>
                      <a:pt x="263" y="352"/>
                    </a:lnTo>
                    <a:lnTo>
                      <a:pt x="259" y="352"/>
                    </a:lnTo>
                    <a:lnTo>
                      <a:pt x="259" y="354"/>
                    </a:lnTo>
                    <a:lnTo>
                      <a:pt x="258" y="354"/>
                    </a:lnTo>
                    <a:lnTo>
                      <a:pt x="258" y="356"/>
                    </a:lnTo>
                    <a:lnTo>
                      <a:pt x="256" y="358"/>
                    </a:lnTo>
                    <a:lnTo>
                      <a:pt x="256" y="360"/>
                    </a:lnTo>
                    <a:lnTo>
                      <a:pt x="254" y="360"/>
                    </a:lnTo>
                    <a:lnTo>
                      <a:pt x="252" y="364"/>
                    </a:lnTo>
                    <a:lnTo>
                      <a:pt x="254" y="364"/>
                    </a:lnTo>
                    <a:lnTo>
                      <a:pt x="252" y="364"/>
                    </a:lnTo>
                    <a:lnTo>
                      <a:pt x="252" y="366"/>
                    </a:lnTo>
                    <a:lnTo>
                      <a:pt x="252" y="368"/>
                    </a:lnTo>
                    <a:lnTo>
                      <a:pt x="250" y="368"/>
                    </a:lnTo>
                    <a:lnTo>
                      <a:pt x="248" y="368"/>
                    </a:lnTo>
                    <a:lnTo>
                      <a:pt x="250" y="370"/>
                    </a:lnTo>
                    <a:lnTo>
                      <a:pt x="248" y="370"/>
                    </a:lnTo>
                    <a:lnTo>
                      <a:pt x="248" y="371"/>
                    </a:lnTo>
                    <a:lnTo>
                      <a:pt x="248" y="373"/>
                    </a:lnTo>
                    <a:lnTo>
                      <a:pt x="246" y="373"/>
                    </a:lnTo>
                    <a:lnTo>
                      <a:pt x="246" y="375"/>
                    </a:lnTo>
                    <a:lnTo>
                      <a:pt x="242" y="373"/>
                    </a:lnTo>
                    <a:lnTo>
                      <a:pt x="244" y="373"/>
                    </a:lnTo>
                    <a:lnTo>
                      <a:pt x="242" y="373"/>
                    </a:lnTo>
                    <a:lnTo>
                      <a:pt x="242" y="371"/>
                    </a:lnTo>
                    <a:lnTo>
                      <a:pt x="242" y="373"/>
                    </a:lnTo>
                    <a:lnTo>
                      <a:pt x="240" y="373"/>
                    </a:lnTo>
                    <a:lnTo>
                      <a:pt x="240" y="371"/>
                    </a:lnTo>
                    <a:lnTo>
                      <a:pt x="238" y="371"/>
                    </a:lnTo>
                    <a:lnTo>
                      <a:pt x="236" y="371"/>
                    </a:lnTo>
                    <a:lnTo>
                      <a:pt x="236" y="373"/>
                    </a:lnTo>
                    <a:lnTo>
                      <a:pt x="236" y="371"/>
                    </a:lnTo>
                    <a:lnTo>
                      <a:pt x="235" y="371"/>
                    </a:lnTo>
                    <a:lnTo>
                      <a:pt x="235" y="370"/>
                    </a:lnTo>
                    <a:lnTo>
                      <a:pt x="233" y="370"/>
                    </a:lnTo>
                    <a:lnTo>
                      <a:pt x="233" y="368"/>
                    </a:lnTo>
                    <a:lnTo>
                      <a:pt x="235" y="368"/>
                    </a:lnTo>
                    <a:lnTo>
                      <a:pt x="236" y="366"/>
                    </a:lnTo>
                    <a:lnTo>
                      <a:pt x="236" y="364"/>
                    </a:lnTo>
                    <a:lnTo>
                      <a:pt x="238" y="362"/>
                    </a:lnTo>
                    <a:lnTo>
                      <a:pt x="240" y="362"/>
                    </a:lnTo>
                    <a:lnTo>
                      <a:pt x="240" y="360"/>
                    </a:lnTo>
                    <a:lnTo>
                      <a:pt x="240" y="358"/>
                    </a:lnTo>
                    <a:lnTo>
                      <a:pt x="238" y="354"/>
                    </a:lnTo>
                    <a:lnTo>
                      <a:pt x="238" y="352"/>
                    </a:lnTo>
                    <a:lnTo>
                      <a:pt x="236" y="350"/>
                    </a:lnTo>
                    <a:lnTo>
                      <a:pt x="236" y="348"/>
                    </a:lnTo>
                    <a:lnTo>
                      <a:pt x="236" y="346"/>
                    </a:lnTo>
                    <a:lnTo>
                      <a:pt x="238" y="345"/>
                    </a:lnTo>
                    <a:lnTo>
                      <a:pt x="236" y="345"/>
                    </a:lnTo>
                    <a:lnTo>
                      <a:pt x="235" y="343"/>
                    </a:lnTo>
                    <a:lnTo>
                      <a:pt x="235" y="341"/>
                    </a:lnTo>
                    <a:lnTo>
                      <a:pt x="235" y="343"/>
                    </a:lnTo>
                    <a:lnTo>
                      <a:pt x="235" y="341"/>
                    </a:lnTo>
                    <a:lnTo>
                      <a:pt x="236" y="341"/>
                    </a:lnTo>
                    <a:lnTo>
                      <a:pt x="235" y="339"/>
                    </a:lnTo>
                    <a:lnTo>
                      <a:pt x="236" y="339"/>
                    </a:lnTo>
                    <a:lnTo>
                      <a:pt x="236" y="337"/>
                    </a:lnTo>
                    <a:lnTo>
                      <a:pt x="235" y="335"/>
                    </a:lnTo>
                    <a:lnTo>
                      <a:pt x="235" y="337"/>
                    </a:lnTo>
                    <a:lnTo>
                      <a:pt x="233" y="337"/>
                    </a:lnTo>
                    <a:lnTo>
                      <a:pt x="233" y="335"/>
                    </a:lnTo>
                    <a:lnTo>
                      <a:pt x="235" y="333"/>
                    </a:lnTo>
                    <a:lnTo>
                      <a:pt x="236" y="331"/>
                    </a:lnTo>
                    <a:lnTo>
                      <a:pt x="235" y="331"/>
                    </a:lnTo>
                    <a:lnTo>
                      <a:pt x="236" y="329"/>
                    </a:lnTo>
                    <a:lnTo>
                      <a:pt x="236" y="327"/>
                    </a:lnTo>
                    <a:lnTo>
                      <a:pt x="236" y="325"/>
                    </a:lnTo>
                    <a:lnTo>
                      <a:pt x="238" y="323"/>
                    </a:lnTo>
                    <a:lnTo>
                      <a:pt x="240" y="323"/>
                    </a:lnTo>
                    <a:lnTo>
                      <a:pt x="242" y="321"/>
                    </a:lnTo>
                    <a:lnTo>
                      <a:pt x="236" y="314"/>
                    </a:lnTo>
                    <a:lnTo>
                      <a:pt x="235" y="314"/>
                    </a:lnTo>
                    <a:lnTo>
                      <a:pt x="235" y="316"/>
                    </a:lnTo>
                    <a:lnTo>
                      <a:pt x="233" y="316"/>
                    </a:lnTo>
                    <a:lnTo>
                      <a:pt x="231" y="316"/>
                    </a:lnTo>
                    <a:lnTo>
                      <a:pt x="231" y="314"/>
                    </a:lnTo>
                    <a:lnTo>
                      <a:pt x="229" y="314"/>
                    </a:lnTo>
                    <a:lnTo>
                      <a:pt x="227" y="314"/>
                    </a:lnTo>
                    <a:lnTo>
                      <a:pt x="227" y="316"/>
                    </a:lnTo>
                    <a:lnTo>
                      <a:pt x="225" y="316"/>
                    </a:lnTo>
                    <a:lnTo>
                      <a:pt x="227" y="318"/>
                    </a:lnTo>
                    <a:lnTo>
                      <a:pt x="225" y="318"/>
                    </a:lnTo>
                    <a:lnTo>
                      <a:pt x="227" y="318"/>
                    </a:lnTo>
                    <a:lnTo>
                      <a:pt x="225" y="318"/>
                    </a:lnTo>
                    <a:lnTo>
                      <a:pt x="225" y="320"/>
                    </a:lnTo>
                    <a:lnTo>
                      <a:pt x="227" y="320"/>
                    </a:lnTo>
                    <a:lnTo>
                      <a:pt x="225" y="320"/>
                    </a:lnTo>
                    <a:lnTo>
                      <a:pt x="227" y="320"/>
                    </a:lnTo>
                    <a:lnTo>
                      <a:pt x="227" y="321"/>
                    </a:lnTo>
                    <a:lnTo>
                      <a:pt x="225" y="321"/>
                    </a:lnTo>
                    <a:lnTo>
                      <a:pt x="223" y="321"/>
                    </a:lnTo>
                    <a:lnTo>
                      <a:pt x="223" y="320"/>
                    </a:lnTo>
                    <a:lnTo>
                      <a:pt x="221" y="320"/>
                    </a:lnTo>
                    <a:lnTo>
                      <a:pt x="221" y="321"/>
                    </a:lnTo>
                    <a:lnTo>
                      <a:pt x="221" y="320"/>
                    </a:lnTo>
                    <a:lnTo>
                      <a:pt x="221" y="321"/>
                    </a:lnTo>
                    <a:lnTo>
                      <a:pt x="219" y="321"/>
                    </a:lnTo>
                    <a:lnTo>
                      <a:pt x="217" y="321"/>
                    </a:lnTo>
                    <a:lnTo>
                      <a:pt x="215" y="321"/>
                    </a:lnTo>
                    <a:lnTo>
                      <a:pt x="213" y="321"/>
                    </a:lnTo>
                    <a:lnTo>
                      <a:pt x="211" y="321"/>
                    </a:lnTo>
                    <a:lnTo>
                      <a:pt x="211" y="323"/>
                    </a:lnTo>
                    <a:lnTo>
                      <a:pt x="210" y="323"/>
                    </a:lnTo>
                    <a:lnTo>
                      <a:pt x="208" y="323"/>
                    </a:lnTo>
                    <a:lnTo>
                      <a:pt x="206" y="323"/>
                    </a:lnTo>
                    <a:lnTo>
                      <a:pt x="204" y="323"/>
                    </a:lnTo>
                    <a:lnTo>
                      <a:pt x="202" y="323"/>
                    </a:lnTo>
                    <a:lnTo>
                      <a:pt x="198" y="323"/>
                    </a:lnTo>
                    <a:lnTo>
                      <a:pt x="194" y="325"/>
                    </a:lnTo>
                    <a:lnTo>
                      <a:pt x="185" y="327"/>
                    </a:lnTo>
                    <a:lnTo>
                      <a:pt x="183" y="325"/>
                    </a:lnTo>
                    <a:lnTo>
                      <a:pt x="181" y="320"/>
                    </a:lnTo>
                    <a:lnTo>
                      <a:pt x="181" y="318"/>
                    </a:lnTo>
                    <a:lnTo>
                      <a:pt x="175" y="306"/>
                    </a:lnTo>
                    <a:lnTo>
                      <a:pt x="160" y="308"/>
                    </a:lnTo>
                    <a:lnTo>
                      <a:pt x="148" y="308"/>
                    </a:lnTo>
                    <a:lnTo>
                      <a:pt x="144" y="310"/>
                    </a:lnTo>
                    <a:lnTo>
                      <a:pt x="142" y="308"/>
                    </a:lnTo>
                    <a:lnTo>
                      <a:pt x="140" y="302"/>
                    </a:lnTo>
                    <a:lnTo>
                      <a:pt x="138" y="296"/>
                    </a:lnTo>
                    <a:lnTo>
                      <a:pt x="135" y="291"/>
                    </a:lnTo>
                    <a:lnTo>
                      <a:pt x="135" y="289"/>
                    </a:lnTo>
                    <a:lnTo>
                      <a:pt x="131" y="283"/>
                    </a:lnTo>
                    <a:lnTo>
                      <a:pt x="129" y="277"/>
                    </a:lnTo>
                    <a:lnTo>
                      <a:pt x="127" y="273"/>
                    </a:lnTo>
                    <a:lnTo>
                      <a:pt x="123" y="270"/>
                    </a:lnTo>
                    <a:lnTo>
                      <a:pt x="117" y="266"/>
                    </a:lnTo>
                    <a:lnTo>
                      <a:pt x="110" y="262"/>
                    </a:lnTo>
                    <a:lnTo>
                      <a:pt x="106" y="260"/>
                    </a:lnTo>
                    <a:lnTo>
                      <a:pt x="98" y="256"/>
                    </a:lnTo>
                    <a:lnTo>
                      <a:pt x="92" y="254"/>
                    </a:lnTo>
                    <a:lnTo>
                      <a:pt x="94" y="250"/>
                    </a:lnTo>
                    <a:lnTo>
                      <a:pt x="92" y="250"/>
                    </a:lnTo>
                    <a:lnTo>
                      <a:pt x="85" y="248"/>
                    </a:lnTo>
                    <a:lnTo>
                      <a:pt x="71" y="246"/>
                    </a:lnTo>
                    <a:lnTo>
                      <a:pt x="50" y="243"/>
                    </a:lnTo>
                    <a:lnTo>
                      <a:pt x="46" y="243"/>
                    </a:lnTo>
                    <a:lnTo>
                      <a:pt x="39" y="237"/>
                    </a:lnTo>
                    <a:lnTo>
                      <a:pt x="31" y="235"/>
                    </a:lnTo>
                    <a:lnTo>
                      <a:pt x="25" y="233"/>
                    </a:lnTo>
                    <a:lnTo>
                      <a:pt x="21" y="233"/>
                    </a:lnTo>
                    <a:lnTo>
                      <a:pt x="21" y="231"/>
                    </a:lnTo>
                    <a:lnTo>
                      <a:pt x="19" y="227"/>
                    </a:lnTo>
                    <a:lnTo>
                      <a:pt x="19" y="223"/>
                    </a:lnTo>
                    <a:lnTo>
                      <a:pt x="19" y="221"/>
                    </a:lnTo>
                    <a:lnTo>
                      <a:pt x="15" y="221"/>
                    </a:lnTo>
                    <a:lnTo>
                      <a:pt x="15" y="220"/>
                    </a:lnTo>
                    <a:lnTo>
                      <a:pt x="14" y="204"/>
                    </a:lnTo>
                    <a:lnTo>
                      <a:pt x="12" y="204"/>
                    </a:lnTo>
                    <a:lnTo>
                      <a:pt x="8" y="202"/>
                    </a:lnTo>
                    <a:lnTo>
                      <a:pt x="10" y="198"/>
                    </a:lnTo>
                    <a:lnTo>
                      <a:pt x="12" y="191"/>
                    </a:lnTo>
                    <a:lnTo>
                      <a:pt x="14" y="183"/>
                    </a:lnTo>
                    <a:lnTo>
                      <a:pt x="12" y="179"/>
                    </a:lnTo>
                    <a:lnTo>
                      <a:pt x="10" y="177"/>
                    </a:lnTo>
                    <a:lnTo>
                      <a:pt x="0" y="168"/>
                    </a:lnTo>
                    <a:lnTo>
                      <a:pt x="8" y="164"/>
                    </a:lnTo>
                    <a:lnTo>
                      <a:pt x="4" y="156"/>
                    </a:lnTo>
                    <a:lnTo>
                      <a:pt x="4" y="152"/>
                    </a:lnTo>
                    <a:lnTo>
                      <a:pt x="6" y="150"/>
                    </a:lnTo>
                    <a:lnTo>
                      <a:pt x="8" y="150"/>
                    </a:lnTo>
                    <a:lnTo>
                      <a:pt x="14" y="147"/>
                    </a:lnTo>
                    <a:lnTo>
                      <a:pt x="8" y="137"/>
                    </a:lnTo>
                    <a:lnTo>
                      <a:pt x="12" y="135"/>
                    </a:lnTo>
                    <a:lnTo>
                      <a:pt x="10" y="131"/>
                    </a:lnTo>
                    <a:lnTo>
                      <a:pt x="12" y="131"/>
                    </a:lnTo>
                    <a:lnTo>
                      <a:pt x="19" y="125"/>
                    </a:lnTo>
                    <a:lnTo>
                      <a:pt x="21" y="123"/>
                    </a:lnTo>
                    <a:lnTo>
                      <a:pt x="27" y="120"/>
                    </a:lnTo>
                    <a:lnTo>
                      <a:pt x="31" y="116"/>
                    </a:lnTo>
                    <a:lnTo>
                      <a:pt x="31" y="114"/>
                    </a:lnTo>
                    <a:lnTo>
                      <a:pt x="33" y="112"/>
                    </a:lnTo>
                    <a:lnTo>
                      <a:pt x="33" y="108"/>
                    </a:lnTo>
                    <a:lnTo>
                      <a:pt x="33" y="102"/>
                    </a:lnTo>
                    <a:lnTo>
                      <a:pt x="33" y="98"/>
                    </a:lnTo>
                    <a:lnTo>
                      <a:pt x="35" y="98"/>
                    </a:lnTo>
                    <a:lnTo>
                      <a:pt x="37" y="97"/>
                    </a:lnTo>
                    <a:lnTo>
                      <a:pt x="39" y="97"/>
                    </a:lnTo>
                    <a:lnTo>
                      <a:pt x="40" y="93"/>
                    </a:lnTo>
                    <a:lnTo>
                      <a:pt x="42" y="89"/>
                    </a:lnTo>
                    <a:lnTo>
                      <a:pt x="44" y="89"/>
                    </a:lnTo>
                    <a:lnTo>
                      <a:pt x="46" y="87"/>
                    </a:lnTo>
                    <a:lnTo>
                      <a:pt x="50" y="85"/>
                    </a:lnTo>
                    <a:lnTo>
                      <a:pt x="52" y="81"/>
                    </a:lnTo>
                    <a:lnTo>
                      <a:pt x="56" y="81"/>
                    </a:lnTo>
                    <a:lnTo>
                      <a:pt x="60" y="81"/>
                    </a:lnTo>
                    <a:lnTo>
                      <a:pt x="62" y="81"/>
                    </a:lnTo>
                    <a:lnTo>
                      <a:pt x="64" y="81"/>
                    </a:lnTo>
                    <a:lnTo>
                      <a:pt x="67" y="81"/>
                    </a:lnTo>
                    <a:lnTo>
                      <a:pt x="67" y="79"/>
                    </a:lnTo>
                    <a:lnTo>
                      <a:pt x="67" y="77"/>
                    </a:lnTo>
                    <a:lnTo>
                      <a:pt x="69" y="73"/>
                    </a:lnTo>
                    <a:lnTo>
                      <a:pt x="71" y="72"/>
                    </a:lnTo>
                    <a:lnTo>
                      <a:pt x="73" y="62"/>
                    </a:lnTo>
                    <a:lnTo>
                      <a:pt x="75" y="54"/>
                    </a:lnTo>
                    <a:lnTo>
                      <a:pt x="75" y="52"/>
                    </a:lnTo>
                    <a:lnTo>
                      <a:pt x="77" y="50"/>
                    </a:lnTo>
                    <a:lnTo>
                      <a:pt x="77" y="48"/>
                    </a:lnTo>
                    <a:lnTo>
                      <a:pt x="75" y="48"/>
                    </a:lnTo>
                    <a:lnTo>
                      <a:pt x="75" y="47"/>
                    </a:lnTo>
                    <a:lnTo>
                      <a:pt x="77" y="47"/>
                    </a:lnTo>
                    <a:lnTo>
                      <a:pt x="77" y="45"/>
                    </a:lnTo>
                    <a:lnTo>
                      <a:pt x="79" y="45"/>
                    </a:lnTo>
                    <a:lnTo>
                      <a:pt x="79" y="43"/>
                    </a:lnTo>
                    <a:lnTo>
                      <a:pt x="81" y="43"/>
                    </a:lnTo>
                    <a:lnTo>
                      <a:pt x="81" y="41"/>
                    </a:lnTo>
                    <a:lnTo>
                      <a:pt x="81" y="39"/>
                    </a:lnTo>
                    <a:lnTo>
                      <a:pt x="83" y="37"/>
                    </a:lnTo>
                    <a:lnTo>
                      <a:pt x="81" y="37"/>
                    </a:lnTo>
                    <a:lnTo>
                      <a:pt x="83" y="37"/>
                    </a:lnTo>
                    <a:lnTo>
                      <a:pt x="83" y="35"/>
                    </a:lnTo>
                    <a:lnTo>
                      <a:pt x="81" y="35"/>
                    </a:lnTo>
                    <a:lnTo>
                      <a:pt x="81" y="33"/>
                    </a:lnTo>
                    <a:lnTo>
                      <a:pt x="81" y="31"/>
                    </a:lnTo>
                    <a:lnTo>
                      <a:pt x="81" y="29"/>
                    </a:lnTo>
                    <a:lnTo>
                      <a:pt x="81" y="27"/>
                    </a:lnTo>
                    <a:lnTo>
                      <a:pt x="83" y="27"/>
                    </a:lnTo>
                    <a:lnTo>
                      <a:pt x="83" y="25"/>
                    </a:lnTo>
                    <a:lnTo>
                      <a:pt x="83" y="23"/>
                    </a:lnTo>
                    <a:lnTo>
                      <a:pt x="85" y="23"/>
                    </a:lnTo>
                    <a:lnTo>
                      <a:pt x="87" y="23"/>
                    </a:lnTo>
                    <a:lnTo>
                      <a:pt x="87" y="22"/>
                    </a:lnTo>
                    <a:lnTo>
                      <a:pt x="88" y="22"/>
                    </a:lnTo>
                    <a:lnTo>
                      <a:pt x="90" y="22"/>
                    </a:lnTo>
                    <a:lnTo>
                      <a:pt x="90" y="20"/>
                    </a:lnTo>
                    <a:lnTo>
                      <a:pt x="92" y="22"/>
                    </a:lnTo>
                    <a:lnTo>
                      <a:pt x="92" y="20"/>
                    </a:lnTo>
                    <a:lnTo>
                      <a:pt x="90" y="20"/>
                    </a:lnTo>
                    <a:lnTo>
                      <a:pt x="92" y="20"/>
                    </a:lnTo>
                    <a:lnTo>
                      <a:pt x="92" y="18"/>
                    </a:lnTo>
                    <a:lnTo>
                      <a:pt x="90" y="18"/>
                    </a:lnTo>
                    <a:lnTo>
                      <a:pt x="92" y="18"/>
                    </a:lnTo>
                    <a:lnTo>
                      <a:pt x="90" y="18"/>
                    </a:lnTo>
                    <a:lnTo>
                      <a:pt x="92" y="18"/>
                    </a:lnTo>
                    <a:lnTo>
                      <a:pt x="90" y="18"/>
                    </a:lnTo>
                    <a:lnTo>
                      <a:pt x="92" y="18"/>
                    </a:lnTo>
                    <a:lnTo>
                      <a:pt x="90" y="18"/>
                    </a:lnTo>
                    <a:lnTo>
                      <a:pt x="92" y="16"/>
                    </a:lnTo>
                    <a:lnTo>
                      <a:pt x="92" y="18"/>
                    </a:lnTo>
                    <a:lnTo>
                      <a:pt x="92" y="16"/>
                    </a:lnTo>
                    <a:lnTo>
                      <a:pt x="92" y="14"/>
                    </a:lnTo>
                    <a:lnTo>
                      <a:pt x="92" y="16"/>
                    </a:lnTo>
                    <a:lnTo>
                      <a:pt x="90" y="16"/>
                    </a:lnTo>
                    <a:lnTo>
                      <a:pt x="90" y="14"/>
                    </a:lnTo>
                    <a:lnTo>
                      <a:pt x="90" y="16"/>
                    </a:lnTo>
                    <a:lnTo>
                      <a:pt x="90" y="14"/>
                    </a:lnTo>
                    <a:lnTo>
                      <a:pt x="88" y="14"/>
                    </a:lnTo>
                    <a:lnTo>
                      <a:pt x="90" y="14"/>
                    </a:lnTo>
                    <a:lnTo>
                      <a:pt x="90" y="12"/>
                    </a:lnTo>
                    <a:lnTo>
                      <a:pt x="92" y="10"/>
                    </a:lnTo>
                    <a:lnTo>
                      <a:pt x="94" y="10"/>
                    </a:lnTo>
                    <a:lnTo>
                      <a:pt x="94" y="8"/>
                    </a:lnTo>
                    <a:lnTo>
                      <a:pt x="94" y="6"/>
                    </a:lnTo>
                    <a:lnTo>
                      <a:pt x="94" y="4"/>
                    </a:lnTo>
                    <a:lnTo>
                      <a:pt x="96" y="2"/>
                    </a:lnTo>
                    <a:lnTo>
                      <a:pt x="94" y="2"/>
                    </a:lnTo>
                    <a:lnTo>
                      <a:pt x="96" y="2"/>
                    </a:lnTo>
                    <a:lnTo>
                      <a:pt x="96" y="0"/>
                    </a:lnTo>
                    <a:lnTo>
                      <a:pt x="94" y="0"/>
                    </a:lnTo>
                    <a:lnTo>
                      <a:pt x="96" y="0"/>
                    </a:lnTo>
                    <a:lnTo>
                      <a:pt x="98" y="0"/>
                    </a:lnTo>
                    <a:lnTo>
                      <a:pt x="100" y="2"/>
                    </a:lnTo>
                    <a:lnTo>
                      <a:pt x="102" y="2"/>
                    </a:lnTo>
                    <a:lnTo>
                      <a:pt x="104" y="4"/>
                    </a:lnTo>
                    <a:lnTo>
                      <a:pt x="106" y="4"/>
                    </a:lnTo>
                    <a:lnTo>
                      <a:pt x="108" y="4"/>
                    </a:lnTo>
                    <a:lnTo>
                      <a:pt x="112" y="4"/>
                    </a:lnTo>
                    <a:lnTo>
                      <a:pt x="113" y="6"/>
                    </a:lnTo>
                    <a:lnTo>
                      <a:pt x="115" y="8"/>
                    </a:lnTo>
                    <a:lnTo>
                      <a:pt x="117" y="10"/>
                    </a:lnTo>
                    <a:lnTo>
                      <a:pt x="119" y="10"/>
                    </a:lnTo>
                    <a:lnTo>
                      <a:pt x="119" y="12"/>
                    </a:lnTo>
                    <a:lnTo>
                      <a:pt x="121" y="12"/>
                    </a:lnTo>
                    <a:lnTo>
                      <a:pt x="121" y="10"/>
                    </a:lnTo>
                    <a:lnTo>
                      <a:pt x="125" y="8"/>
                    </a:lnTo>
                    <a:lnTo>
                      <a:pt x="127" y="8"/>
                    </a:lnTo>
                    <a:lnTo>
                      <a:pt x="129" y="10"/>
                    </a:lnTo>
                    <a:lnTo>
                      <a:pt x="131" y="10"/>
                    </a:lnTo>
                    <a:lnTo>
                      <a:pt x="135" y="12"/>
                    </a:lnTo>
                    <a:lnTo>
                      <a:pt x="138" y="12"/>
                    </a:lnTo>
                    <a:lnTo>
                      <a:pt x="140" y="10"/>
                    </a:lnTo>
                    <a:lnTo>
                      <a:pt x="142" y="10"/>
                    </a:lnTo>
                    <a:lnTo>
                      <a:pt x="142" y="12"/>
                    </a:lnTo>
                    <a:lnTo>
                      <a:pt x="144" y="14"/>
                    </a:lnTo>
                    <a:lnTo>
                      <a:pt x="144" y="16"/>
                    </a:lnTo>
                    <a:lnTo>
                      <a:pt x="144" y="14"/>
                    </a:lnTo>
                    <a:lnTo>
                      <a:pt x="144" y="16"/>
                    </a:lnTo>
                    <a:lnTo>
                      <a:pt x="144" y="14"/>
                    </a:lnTo>
                    <a:lnTo>
                      <a:pt x="146" y="14"/>
                    </a:lnTo>
                    <a:lnTo>
                      <a:pt x="146" y="16"/>
                    </a:lnTo>
                    <a:lnTo>
                      <a:pt x="146" y="14"/>
                    </a:lnTo>
                    <a:lnTo>
                      <a:pt x="148" y="14"/>
                    </a:lnTo>
                    <a:lnTo>
                      <a:pt x="148" y="12"/>
                    </a:lnTo>
                    <a:lnTo>
                      <a:pt x="148" y="14"/>
                    </a:lnTo>
                    <a:lnTo>
                      <a:pt x="150" y="14"/>
                    </a:lnTo>
                    <a:lnTo>
                      <a:pt x="150" y="12"/>
                    </a:lnTo>
                    <a:lnTo>
                      <a:pt x="152" y="12"/>
                    </a:lnTo>
                    <a:lnTo>
                      <a:pt x="150" y="12"/>
                    </a:lnTo>
                    <a:lnTo>
                      <a:pt x="152" y="12"/>
                    </a:lnTo>
                    <a:lnTo>
                      <a:pt x="152" y="14"/>
                    </a:lnTo>
                    <a:lnTo>
                      <a:pt x="154" y="14"/>
                    </a:lnTo>
                    <a:lnTo>
                      <a:pt x="154" y="12"/>
                    </a:lnTo>
                    <a:lnTo>
                      <a:pt x="154" y="14"/>
                    </a:lnTo>
                    <a:lnTo>
                      <a:pt x="154" y="12"/>
                    </a:lnTo>
                    <a:lnTo>
                      <a:pt x="156" y="12"/>
                    </a:lnTo>
                    <a:lnTo>
                      <a:pt x="156" y="14"/>
                    </a:lnTo>
                    <a:lnTo>
                      <a:pt x="156" y="12"/>
                    </a:lnTo>
                    <a:lnTo>
                      <a:pt x="158" y="12"/>
                    </a:lnTo>
                    <a:lnTo>
                      <a:pt x="156" y="12"/>
                    </a:lnTo>
                    <a:lnTo>
                      <a:pt x="158" y="12"/>
                    </a:lnTo>
                    <a:lnTo>
                      <a:pt x="156" y="12"/>
                    </a:lnTo>
                    <a:lnTo>
                      <a:pt x="158" y="12"/>
                    </a:lnTo>
                    <a:lnTo>
                      <a:pt x="158" y="14"/>
                    </a:lnTo>
                    <a:lnTo>
                      <a:pt x="160" y="14"/>
                    </a:lnTo>
                    <a:lnTo>
                      <a:pt x="160" y="16"/>
                    </a:lnTo>
                    <a:lnTo>
                      <a:pt x="158" y="16"/>
                    </a:lnTo>
                    <a:lnTo>
                      <a:pt x="160" y="16"/>
                    </a:lnTo>
                    <a:lnTo>
                      <a:pt x="160" y="18"/>
                    </a:lnTo>
                    <a:lnTo>
                      <a:pt x="158" y="18"/>
                    </a:lnTo>
                    <a:lnTo>
                      <a:pt x="160" y="18"/>
                    </a:lnTo>
                    <a:lnTo>
                      <a:pt x="160" y="20"/>
                    </a:lnTo>
                    <a:lnTo>
                      <a:pt x="158" y="20"/>
                    </a:lnTo>
                    <a:lnTo>
                      <a:pt x="158" y="22"/>
                    </a:lnTo>
                    <a:lnTo>
                      <a:pt x="160" y="22"/>
                    </a:lnTo>
                    <a:lnTo>
                      <a:pt x="160" y="23"/>
                    </a:lnTo>
                    <a:lnTo>
                      <a:pt x="160" y="25"/>
                    </a:lnTo>
                    <a:lnTo>
                      <a:pt x="161" y="25"/>
                    </a:lnTo>
                    <a:lnTo>
                      <a:pt x="163" y="25"/>
                    </a:lnTo>
                    <a:lnTo>
                      <a:pt x="163" y="23"/>
                    </a:lnTo>
                    <a:lnTo>
                      <a:pt x="165" y="23"/>
                    </a:lnTo>
                    <a:lnTo>
                      <a:pt x="165" y="25"/>
                    </a:lnTo>
                    <a:lnTo>
                      <a:pt x="165" y="23"/>
                    </a:lnTo>
                    <a:lnTo>
                      <a:pt x="167" y="23"/>
                    </a:lnTo>
                    <a:lnTo>
                      <a:pt x="169" y="23"/>
                    </a:lnTo>
                    <a:lnTo>
                      <a:pt x="175" y="25"/>
                    </a:lnTo>
                    <a:lnTo>
                      <a:pt x="177" y="25"/>
                    </a:lnTo>
                    <a:lnTo>
                      <a:pt x="179" y="25"/>
                    </a:lnTo>
                    <a:lnTo>
                      <a:pt x="185" y="27"/>
                    </a:lnTo>
                    <a:lnTo>
                      <a:pt x="186" y="25"/>
                    </a:lnTo>
                    <a:lnTo>
                      <a:pt x="192" y="23"/>
                    </a:lnTo>
                    <a:lnTo>
                      <a:pt x="198" y="23"/>
                    </a:lnTo>
                    <a:lnTo>
                      <a:pt x="200" y="20"/>
                    </a:lnTo>
                    <a:lnTo>
                      <a:pt x="210" y="25"/>
                    </a:lnTo>
                    <a:lnTo>
                      <a:pt x="210" y="27"/>
                    </a:lnTo>
                    <a:lnTo>
                      <a:pt x="210" y="29"/>
                    </a:lnTo>
                    <a:lnTo>
                      <a:pt x="210" y="31"/>
                    </a:lnTo>
                    <a:lnTo>
                      <a:pt x="211" y="31"/>
                    </a:lnTo>
                    <a:lnTo>
                      <a:pt x="211" y="33"/>
                    </a:lnTo>
                    <a:lnTo>
                      <a:pt x="221" y="37"/>
                    </a:lnTo>
                    <a:lnTo>
                      <a:pt x="225" y="35"/>
                    </a:lnTo>
                    <a:lnTo>
                      <a:pt x="233" y="37"/>
                    </a:lnTo>
                    <a:lnTo>
                      <a:pt x="235" y="39"/>
                    </a:lnTo>
                    <a:lnTo>
                      <a:pt x="238" y="43"/>
                    </a:lnTo>
                    <a:lnTo>
                      <a:pt x="240" y="45"/>
                    </a:lnTo>
                    <a:lnTo>
                      <a:pt x="244" y="43"/>
                    </a:lnTo>
                    <a:lnTo>
                      <a:pt x="248" y="41"/>
                    </a:lnTo>
                    <a:lnTo>
                      <a:pt x="248" y="37"/>
                    </a:lnTo>
                    <a:lnTo>
                      <a:pt x="248" y="35"/>
                    </a:lnTo>
                    <a:lnTo>
                      <a:pt x="248" y="33"/>
                    </a:lnTo>
                    <a:lnTo>
                      <a:pt x="254" y="29"/>
                    </a:lnTo>
                    <a:lnTo>
                      <a:pt x="258" y="27"/>
                    </a:lnTo>
                    <a:lnTo>
                      <a:pt x="261" y="25"/>
                    </a:lnTo>
                    <a:lnTo>
                      <a:pt x="273" y="18"/>
                    </a:lnTo>
                    <a:lnTo>
                      <a:pt x="275" y="16"/>
                    </a:lnTo>
                    <a:lnTo>
                      <a:pt x="279" y="16"/>
                    </a:lnTo>
                    <a:lnTo>
                      <a:pt x="284" y="16"/>
                    </a:lnTo>
                    <a:lnTo>
                      <a:pt x="290" y="25"/>
                    </a:lnTo>
                    <a:lnTo>
                      <a:pt x="294" y="27"/>
                    </a:lnTo>
                    <a:lnTo>
                      <a:pt x="296" y="29"/>
                    </a:lnTo>
                    <a:lnTo>
                      <a:pt x="298" y="31"/>
                    </a:lnTo>
                    <a:lnTo>
                      <a:pt x="302" y="31"/>
                    </a:lnTo>
                    <a:lnTo>
                      <a:pt x="304" y="31"/>
                    </a:lnTo>
                    <a:lnTo>
                      <a:pt x="306" y="31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Freeform 133">
                <a:extLst>
                  <a:ext uri="{FF2B5EF4-FFF2-40B4-BE49-F238E27FC236}">
                    <a16:creationId xmlns="" xmlns:a16="http://schemas.microsoft.com/office/drawing/2014/main" id="{9768EFDE-8678-4839-B0D5-F4ADEC6FE1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11338" y="3552826"/>
                <a:ext cx="177800" cy="206375"/>
              </a:xfrm>
              <a:custGeom>
                <a:avLst/>
                <a:gdLst>
                  <a:gd name="T0" fmla="*/ 100 w 112"/>
                  <a:gd name="T1" fmla="*/ 65 h 130"/>
                  <a:gd name="T2" fmla="*/ 96 w 112"/>
                  <a:gd name="T3" fmla="*/ 71 h 130"/>
                  <a:gd name="T4" fmla="*/ 98 w 112"/>
                  <a:gd name="T5" fmla="*/ 76 h 130"/>
                  <a:gd name="T6" fmla="*/ 94 w 112"/>
                  <a:gd name="T7" fmla="*/ 84 h 130"/>
                  <a:gd name="T8" fmla="*/ 91 w 112"/>
                  <a:gd name="T9" fmla="*/ 86 h 130"/>
                  <a:gd name="T10" fmla="*/ 91 w 112"/>
                  <a:gd name="T11" fmla="*/ 94 h 130"/>
                  <a:gd name="T12" fmla="*/ 85 w 112"/>
                  <a:gd name="T13" fmla="*/ 101 h 130"/>
                  <a:gd name="T14" fmla="*/ 79 w 112"/>
                  <a:gd name="T15" fmla="*/ 103 h 130"/>
                  <a:gd name="T16" fmla="*/ 75 w 112"/>
                  <a:gd name="T17" fmla="*/ 107 h 130"/>
                  <a:gd name="T18" fmla="*/ 67 w 112"/>
                  <a:gd name="T19" fmla="*/ 113 h 130"/>
                  <a:gd name="T20" fmla="*/ 62 w 112"/>
                  <a:gd name="T21" fmla="*/ 113 h 130"/>
                  <a:gd name="T22" fmla="*/ 62 w 112"/>
                  <a:gd name="T23" fmla="*/ 119 h 130"/>
                  <a:gd name="T24" fmla="*/ 62 w 112"/>
                  <a:gd name="T25" fmla="*/ 124 h 130"/>
                  <a:gd name="T26" fmla="*/ 56 w 112"/>
                  <a:gd name="T27" fmla="*/ 130 h 130"/>
                  <a:gd name="T28" fmla="*/ 52 w 112"/>
                  <a:gd name="T29" fmla="*/ 126 h 130"/>
                  <a:gd name="T30" fmla="*/ 44 w 112"/>
                  <a:gd name="T31" fmla="*/ 126 h 130"/>
                  <a:gd name="T32" fmla="*/ 41 w 112"/>
                  <a:gd name="T33" fmla="*/ 119 h 130"/>
                  <a:gd name="T34" fmla="*/ 33 w 112"/>
                  <a:gd name="T35" fmla="*/ 117 h 130"/>
                  <a:gd name="T36" fmla="*/ 33 w 112"/>
                  <a:gd name="T37" fmla="*/ 107 h 130"/>
                  <a:gd name="T38" fmla="*/ 33 w 112"/>
                  <a:gd name="T39" fmla="*/ 99 h 130"/>
                  <a:gd name="T40" fmla="*/ 29 w 112"/>
                  <a:gd name="T41" fmla="*/ 90 h 130"/>
                  <a:gd name="T42" fmla="*/ 19 w 112"/>
                  <a:gd name="T43" fmla="*/ 86 h 130"/>
                  <a:gd name="T44" fmla="*/ 18 w 112"/>
                  <a:gd name="T45" fmla="*/ 84 h 130"/>
                  <a:gd name="T46" fmla="*/ 12 w 112"/>
                  <a:gd name="T47" fmla="*/ 78 h 130"/>
                  <a:gd name="T48" fmla="*/ 12 w 112"/>
                  <a:gd name="T49" fmla="*/ 69 h 130"/>
                  <a:gd name="T50" fmla="*/ 6 w 112"/>
                  <a:gd name="T51" fmla="*/ 65 h 130"/>
                  <a:gd name="T52" fmla="*/ 8 w 112"/>
                  <a:gd name="T53" fmla="*/ 57 h 130"/>
                  <a:gd name="T54" fmla="*/ 0 w 112"/>
                  <a:gd name="T55" fmla="*/ 49 h 130"/>
                  <a:gd name="T56" fmla="*/ 6 w 112"/>
                  <a:gd name="T57" fmla="*/ 44 h 130"/>
                  <a:gd name="T58" fmla="*/ 6 w 112"/>
                  <a:gd name="T59" fmla="*/ 38 h 130"/>
                  <a:gd name="T60" fmla="*/ 8 w 112"/>
                  <a:gd name="T61" fmla="*/ 30 h 130"/>
                  <a:gd name="T62" fmla="*/ 18 w 112"/>
                  <a:gd name="T63" fmla="*/ 28 h 130"/>
                  <a:gd name="T64" fmla="*/ 23 w 112"/>
                  <a:gd name="T65" fmla="*/ 24 h 130"/>
                  <a:gd name="T66" fmla="*/ 23 w 112"/>
                  <a:gd name="T67" fmla="*/ 19 h 130"/>
                  <a:gd name="T68" fmla="*/ 25 w 112"/>
                  <a:gd name="T69" fmla="*/ 15 h 130"/>
                  <a:gd name="T70" fmla="*/ 33 w 112"/>
                  <a:gd name="T71" fmla="*/ 17 h 130"/>
                  <a:gd name="T72" fmla="*/ 39 w 112"/>
                  <a:gd name="T73" fmla="*/ 19 h 130"/>
                  <a:gd name="T74" fmla="*/ 46 w 112"/>
                  <a:gd name="T75" fmla="*/ 21 h 130"/>
                  <a:gd name="T76" fmla="*/ 50 w 112"/>
                  <a:gd name="T77" fmla="*/ 24 h 130"/>
                  <a:gd name="T78" fmla="*/ 56 w 112"/>
                  <a:gd name="T79" fmla="*/ 23 h 130"/>
                  <a:gd name="T80" fmla="*/ 62 w 112"/>
                  <a:gd name="T81" fmla="*/ 17 h 130"/>
                  <a:gd name="T82" fmla="*/ 62 w 112"/>
                  <a:gd name="T83" fmla="*/ 13 h 130"/>
                  <a:gd name="T84" fmla="*/ 67 w 112"/>
                  <a:gd name="T85" fmla="*/ 9 h 130"/>
                  <a:gd name="T86" fmla="*/ 73 w 112"/>
                  <a:gd name="T87" fmla="*/ 11 h 130"/>
                  <a:gd name="T88" fmla="*/ 81 w 112"/>
                  <a:gd name="T89" fmla="*/ 3 h 130"/>
                  <a:gd name="T90" fmla="*/ 89 w 112"/>
                  <a:gd name="T91" fmla="*/ 3 h 130"/>
                  <a:gd name="T92" fmla="*/ 91 w 112"/>
                  <a:gd name="T93" fmla="*/ 9 h 130"/>
                  <a:gd name="T94" fmla="*/ 96 w 112"/>
                  <a:gd name="T95" fmla="*/ 15 h 130"/>
                  <a:gd name="T96" fmla="*/ 102 w 112"/>
                  <a:gd name="T97" fmla="*/ 11 h 130"/>
                  <a:gd name="T98" fmla="*/ 102 w 112"/>
                  <a:gd name="T99" fmla="*/ 21 h 130"/>
                  <a:gd name="T100" fmla="*/ 106 w 112"/>
                  <a:gd name="T101" fmla="*/ 26 h 130"/>
                  <a:gd name="T102" fmla="*/ 110 w 112"/>
                  <a:gd name="T103" fmla="*/ 32 h 130"/>
                  <a:gd name="T104" fmla="*/ 110 w 112"/>
                  <a:gd name="T105" fmla="*/ 38 h 130"/>
                  <a:gd name="T106" fmla="*/ 104 w 112"/>
                  <a:gd name="T107" fmla="*/ 38 h 130"/>
                  <a:gd name="T108" fmla="*/ 102 w 112"/>
                  <a:gd name="T109" fmla="*/ 46 h 130"/>
                  <a:gd name="T110" fmla="*/ 100 w 112"/>
                  <a:gd name="T111" fmla="*/ 51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" h="130">
                    <a:moveTo>
                      <a:pt x="102" y="59"/>
                    </a:moveTo>
                    <a:lnTo>
                      <a:pt x="102" y="61"/>
                    </a:lnTo>
                    <a:lnTo>
                      <a:pt x="104" y="61"/>
                    </a:lnTo>
                    <a:lnTo>
                      <a:pt x="102" y="61"/>
                    </a:lnTo>
                    <a:lnTo>
                      <a:pt x="102" y="63"/>
                    </a:lnTo>
                    <a:lnTo>
                      <a:pt x="102" y="65"/>
                    </a:lnTo>
                    <a:lnTo>
                      <a:pt x="100" y="65"/>
                    </a:lnTo>
                    <a:lnTo>
                      <a:pt x="102" y="65"/>
                    </a:lnTo>
                    <a:lnTo>
                      <a:pt x="102" y="67"/>
                    </a:lnTo>
                    <a:lnTo>
                      <a:pt x="102" y="69"/>
                    </a:lnTo>
                    <a:lnTo>
                      <a:pt x="100" y="69"/>
                    </a:lnTo>
                    <a:lnTo>
                      <a:pt x="98" y="69"/>
                    </a:lnTo>
                    <a:lnTo>
                      <a:pt x="96" y="69"/>
                    </a:lnTo>
                    <a:lnTo>
                      <a:pt x="96" y="71"/>
                    </a:lnTo>
                    <a:lnTo>
                      <a:pt x="96" y="73"/>
                    </a:lnTo>
                    <a:lnTo>
                      <a:pt x="96" y="74"/>
                    </a:lnTo>
                    <a:lnTo>
                      <a:pt x="96" y="76"/>
                    </a:lnTo>
                    <a:lnTo>
                      <a:pt x="96" y="74"/>
                    </a:lnTo>
                    <a:lnTo>
                      <a:pt x="98" y="74"/>
                    </a:lnTo>
                    <a:lnTo>
                      <a:pt x="96" y="74"/>
                    </a:lnTo>
                    <a:lnTo>
                      <a:pt x="98" y="76"/>
                    </a:lnTo>
                    <a:lnTo>
                      <a:pt x="96" y="76"/>
                    </a:lnTo>
                    <a:lnTo>
                      <a:pt x="96" y="78"/>
                    </a:lnTo>
                    <a:lnTo>
                      <a:pt x="94" y="78"/>
                    </a:lnTo>
                    <a:lnTo>
                      <a:pt x="94" y="80"/>
                    </a:lnTo>
                    <a:lnTo>
                      <a:pt x="96" y="80"/>
                    </a:lnTo>
                    <a:lnTo>
                      <a:pt x="96" y="82"/>
                    </a:lnTo>
                    <a:lnTo>
                      <a:pt x="94" y="84"/>
                    </a:lnTo>
                    <a:lnTo>
                      <a:pt x="92" y="82"/>
                    </a:lnTo>
                    <a:lnTo>
                      <a:pt x="92" y="84"/>
                    </a:lnTo>
                    <a:lnTo>
                      <a:pt x="92" y="86"/>
                    </a:lnTo>
                    <a:lnTo>
                      <a:pt x="92" y="88"/>
                    </a:lnTo>
                    <a:lnTo>
                      <a:pt x="92" y="86"/>
                    </a:lnTo>
                    <a:lnTo>
                      <a:pt x="91" y="88"/>
                    </a:lnTo>
                    <a:lnTo>
                      <a:pt x="91" y="86"/>
                    </a:lnTo>
                    <a:lnTo>
                      <a:pt x="91" y="88"/>
                    </a:lnTo>
                    <a:lnTo>
                      <a:pt x="91" y="90"/>
                    </a:lnTo>
                    <a:lnTo>
                      <a:pt x="89" y="90"/>
                    </a:lnTo>
                    <a:lnTo>
                      <a:pt x="89" y="92"/>
                    </a:lnTo>
                    <a:lnTo>
                      <a:pt x="91" y="92"/>
                    </a:lnTo>
                    <a:lnTo>
                      <a:pt x="92" y="92"/>
                    </a:lnTo>
                    <a:lnTo>
                      <a:pt x="91" y="94"/>
                    </a:lnTo>
                    <a:lnTo>
                      <a:pt x="91" y="96"/>
                    </a:lnTo>
                    <a:lnTo>
                      <a:pt x="89" y="96"/>
                    </a:lnTo>
                    <a:lnTo>
                      <a:pt x="89" y="98"/>
                    </a:lnTo>
                    <a:lnTo>
                      <a:pt x="87" y="98"/>
                    </a:lnTo>
                    <a:lnTo>
                      <a:pt x="87" y="99"/>
                    </a:lnTo>
                    <a:lnTo>
                      <a:pt x="85" y="99"/>
                    </a:lnTo>
                    <a:lnTo>
                      <a:pt x="85" y="101"/>
                    </a:lnTo>
                    <a:lnTo>
                      <a:pt x="87" y="101"/>
                    </a:lnTo>
                    <a:lnTo>
                      <a:pt x="87" y="103"/>
                    </a:lnTo>
                    <a:lnTo>
                      <a:pt x="85" y="103"/>
                    </a:lnTo>
                    <a:lnTo>
                      <a:pt x="83" y="105"/>
                    </a:lnTo>
                    <a:lnTo>
                      <a:pt x="83" y="103"/>
                    </a:lnTo>
                    <a:lnTo>
                      <a:pt x="81" y="103"/>
                    </a:lnTo>
                    <a:lnTo>
                      <a:pt x="79" y="103"/>
                    </a:lnTo>
                    <a:lnTo>
                      <a:pt x="77" y="103"/>
                    </a:lnTo>
                    <a:lnTo>
                      <a:pt x="75" y="103"/>
                    </a:lnTo>
                    <a:lnTo>
                      <a:pt x="75" y="105"/>
                    </a:lnTo>
                    <a:lnTo>
                      <a:pt x="77" y="105"/>
                    </a:lnTo>
                    <a:lnTo>
                      <a:pt x="75" y="105"/>
                    </a:lnTo>
                    <a:lnTo>
                      <a:pt x="77" y="107"/>
                    </a:lnTo>
                    <a:lnTo>
                      <a:pt x="75" y="107"/>
                    </a:lnTo>
                    <a:lnTo>
                      <a:pt x="73" y="107"/>
                    </a:lnTo>
                    <a:lnTo>
                      <a:pt x="73" y="109"/>
                    </a:lnTo>
                    <a:lnTo>
                      <a:pt x="73" y="111"/>
                    </a:lnTo>
                    <a:lnTo>
                      <a:pt x="73" y="113"/>
                    </a:lnTo>
                    <a:lnTo>
                      <a:pt x="71" y="113"/>
                    </a:lnTo>
                    <a:lnTo>
                      <a:pt x="69" y="113"/>
                    </a:lnTo>
                    <a:lnTo>
                      <a:pt x="67" y="113"/>
                    </a:lnTo>
                    <a:lnTo>
                      <a:pt x="67" y="111"/>
                    </a:lnTo>
                    <a:lnTo>
                      <a:pt x="66" y="111"/>
                    </a:lnTo>
                    <a:lnTo>
                      <a:pt x="64" y="111"/>
                    </a:lnTo>
                    <a:lnTo>
                      <a:pt x="64" y="113"/>
                    </a:lnTo>
                    <a:lnTo>
                      <a:pt x="62" y="113"/>
                    </a:lnTo>
                    <a:lnTo>
                      <a:pt x="64" y="113"/>
                    </a:lnTo>
                    <a:lnTo>
                      <a:pt x="62" y="113"/>
                    </a:lnTo>
                    <a:lnTo>
                      <a:pt x="64" y="115"/>
                    </a:lnTo>
                    <a:lnTo>
                      <a:pt x="62" y="115"/>
                    </a:lnTo>
                    <a:lnTo>
                      <a:pt x="64" y="115"/>
                    </a:lnTo>
                    <a:lnTo>
                      <a:pt x="64" y="117"/>
                    </a:lnTo>
                    <a:lnTo>
                      <a:pt x="62" y="119"/>
                    </a:lnTo>
                    <a:lnTo>
                      <a:pt x="64" y="119"/>
                    </a:lnTo>
                    <a:lnTo>
                      <a:pt x="62" y="119"/>
                    </a:lnTo>
                    <a:lnTo>
                      <a:pt x="62" y="121"/>
                    </a:lnTo>
                    <a:lnTo>
                      <a:pt x="62" y="119"/>
                    </a:lnTo>
                    <a:lnTo>
                      <a:pt x="62" y="121"/>
                    </a:lnTo>
                    <a:lnTo>
                      <a:pt x="60" y="121"/>
                    </a:lnTo>
                    <a:lnTo>
                      <a:pt x="60" y="123"/>
                    </a:lnTo>
                    <a:lnTo>
                      <a:pt x="60" y="124"/>
                    </a:lnTo>
                    <a:lnTo>
                      <a:pt x="62" y="124"/>
                    </a:lnTo>
                    <a:lnTo>
                      <a:pt x="60" y="124"/>
                    </a:lnTo>
                    <a:lnTo>
                      <a:pt x="60" y="126"/>
                    </a:lnTo>
                    <a:lnTo>
                      <a:pt x="58" y="126"/>
                    </a:lnTo>
                    <a:lnTo>
                      <a:pt x="58" y="128"/>
                    </a:lnTo>
                    <a:lnTo>
                      <a:pt x="56" y="126"/>
                    </a:lnTo>
                    <a:lnTo>
                      <a:pt x="56" y="128"/>
                    </a:lnTo>
                    <a:lnTo>
                      <a:pt x="56" y="130"/>
                    </a:lnTo>
                    <a:lnTo>
                      <a:pt x="56" y="128"/>
                    </a:lnTo>
                    <a:lnTo>
                      <a:pt x="54" y="128"/>
                    </a:lnTo>
                    <a:lnTo>
                      <a:pt x="52" y="130"/>
                    </a:lnTo>
                    <a:lnTo>
                      <a:pt x="50" y="130"/>
                    </a:lnTo>
                    <a:lnTo>
                      <a:pt x="52" y="130"/>
                    </a:lnTo>
                    <a:lnTo>
                      <a:pt x="52" y="128"/>
                    </a:lnTo>
                    <a:lnTo>
                      <a:pt x="52" y="126"/>
                    </a:lnTo>
                    <a:lnTo>
                      <a:pt x="50" y="126"/>
                    </a:lnTo>
                    <a:lnTo>
                      <a:pt x="50" y="128"/>
                    </a:lnTo>
                    <a:lnTo>
                      <a:pt x="48" y="128"/>
                    </a:lnTo>
                    <a:lnTo>
                      <a:pt x="46" y="126"/>
                    </a:lnTo>
                    <a:lnTo>
                      <a:pt x="46" y="128"/>
                    </a:lnTo>
                    <a:lnTo>
                      <a:pt x="44" y="128"/>
                    </a:lnTo>
                    <a:lnTo>
                      <a:pt x="44" y="126"/>
                    </a:lnTo>
                    <a:lnTo>
                      <a:pt x="44" y="124"/>
                    </a:lnTo>
                    <a:lnTo>
                      <a:pt x="43" y="124"/>
                    </a:lnTo>
                    <a:lnTo>
                      <a:pt x="43" y="123"/>
                    </a:lnTo>
                    <a:lnTo>
                      <a:pt x="43" y="121"/>
                    </a:lnTo>
                    <a:lnTo>
                      <a:pt x="41" y="121"/>
                    </a:lnTo>
                    <a:lnTo>
                      <a:pt x="43" y="119"/>
                    </a:lnTo>
                    <a:lnTo>
                      <a:pt x="41" y="119"/>
                    </a:lnTo>
                    <a:lnTo>
                      <a:pt x="39" y="119"/>
                    </a:lnTo>
                    <a:lnTo>
                      <a:pt x="39" y="117"/>
                    </a:lnTo>
                    <a:lnTo>
                      <a:pt x="37" y="117"/>
                    </a:lnTo>
                    <a:lnTo>
                      <a:pt x="37" y="115"/>
                    </a:lnTo>
                    <a:lnTo>
                      <a:pt x="35" y="115"/>
                    </a:lnTo>
                    <a:lnTo>
                      <a:pt x="35" y="117"/>
                    </a:lnTo>
                    <a:lnTo>
                      <a:pt x="33" y="117"/>
                    </a:lnTo>
                    <a:lnTo>
                      <a:pt x="33" y="115"/>
                    </a:lnTo>
                    <a:lnTo>
                      <a:pt x="33" y="113"/>
                    </a:lnTo>
                    <a:lnTo>
                      <a:pt x="33" y="111"/>
                    </a:lnTo>
                    <a:lnTo>
                      <a:pt x="35" y="111"/>
                    </a:lnTo>
                    <a:lnTo>
                      <a:pt x="33" y="111"/>
                    </a:lnTo>
                    <a:lnTo>
                      <a:pt x="33" y="109"/>
                    </a:lnTo>
                    <a:lnTo>
                      <a:pt x="33" y="107"/>
                    </a:lnTo>
                    <a:lnTo>
                      <a:pt x="31" y="107"/>
                    </a:lnTo>
                    <a:lnTo>
                      <a:pt x="29" y="107"/>
                    </a:lnTo>
                    <a:lnTo>
                      <a:pt x="29" y="105"/>
                    </a:lnTo>
                    <a:lnTo>
                      <a:pt x="29" y="103"/>
                    </a:lnTo>
                    <a:lnTo>
                      <a:pt x="31" y="101"/>
                    </a:lnTo>
                    <a:lnTo>
                      <a:pt x="31" y="99"/>
                    </a:lnTo>
                    <a:lnTo>
                      <a:pt x="33" y="99"/>
                    </a:lnTo>
                    <a:lnTo>
                      <a:pt x="33" y="98"/>
                    </a:lnTo>
                    <a:lnTo>
                      <a:pt x="35" y="96"/>
                    </a:lnTo>
                    <a:lnTo>
                      <a:pt x="33" y="96"/>
                    </a:lnTo>
                    <a:lnTo>
                      <a:pt x="31" y="96"/>
                    </a:lnTo>
                    <a:lnTo>
                      <a:pt x="31" y="94"/>
                    </a:lnTo>
                    <a:lnTo>
                      <a:pt x="31" y="92"/>
                    </a:lnTo>
                    <a:lnTo>
                      <a:pt x="29" y="90"/>
                    </a:lnTo>
                    <a:lnTo>
                      <a:pt x="29" y="92"/>
                    </a:lnTo>
                    <a:lnTo>
                      <a:pt x="29" y="90"/>
                    </a:lnTo>
                    <a:lnTo>
                      <a:pt x="25" y="90"/>
                    </a:lnTo>
                    <a:lnTo>
                      <a:pt x="23" y="90"/>
                    </a:lnTo>
                    <a:lnTo>
                      <a:pt x="21" y="88"/>
                    </a:lnTo>
                    <a:lnTo>
                      <a:pt x="21" y="86"/>
                    </a:lnTo>
                    <a:lnTo>
                      <a:pt x="19" y="86"/>
                    </a:lnTo>
                    <a:lnTo>
                      <a:pt x="18" y="86"/>
                    </a:lnTo>
                    <a:lnTo>
                      <a:pt x="18" y="84"/>
                    </a:lnTo>
                    <a:lnTo>
                      <a:pt x="19" y="84"/>
                    </a:lnTo>
                    <a:lnTo>
                      <a:pt x="19" y="82"/>
                    </a:lnTo>
                    <a:lnTo>
                      <a:pt x="18" y="84"/>
                    </a:lnTo>
                    <a:lnTo>
                      <a:pt x="18" y="82"/>
                    </a:lnTo>
                    <a:lnTo>
                      <a:pt x="18" y="84"/>
                    </a:lnTo>
                    <a:lnTo>
                      <a:pt x="18" y="82"/>
                    </a:lnTo>
                    <a:lnTo>
                      <a:pt x="16" y="82"/>
                    </a:lnTo>
                    <a:lnTo>
                      <a:pt x="14" y="82"/>
                    </a:lnTo>
                    <a:lnTo>
                      <a:pt x="16" y="82"/>
                    </a:lnTo>
                    <a:lnTo>
                      <a:pt x="14" y="80"/>
                    </a:lnTo>
                    <a:lnTo>
                      <a:pt x="12" y="80"/>
                    </a:lnTo>
                    <a:lnTo>
                      <a:pt x="12" y="78"/>
                    </a:lnTo>
                    <a:lnTo>
                      <a:pt x="12" y="76"/>
                    </a:lnTo>
                    <a:lnTo>
                      <a:pt x="12" y="74"/>
                    </a:lnTo>
                    <a:lnTo>
                      <a:pt x="12" y="73"/>
                    </a:lnTo>
                    <a:lnTo>
                      <a:pt x="14" y="73"/>
                    </a:lnTo>
                    <a:lnTo>
                      <a:pt x="14" y="71"/>
                    </a:lnTo>
                    <a:lnTo>
                      <a:pt x="12" y="71"/>
                    </a:lnTo>
                    <a:lnTo>
                      <a:pt x="12" y="69"/>
                    </a:lnTo>
                    <a:lnTo>
                      <a:pt x="12" y="71"/>
                    </a:lnTo>
                    <a:lnTo>
                      <a:pt x="10" y="71"/>
                    </a:lnTo>
                    <a:lnTo>
                      <a:pt x="8" y="71"/>
                    </a:lnTo>
                    <a:lnTo>
                      <a:pt x="8" y="69"/>
                    </a:lnTo>
                    <a:lnTo>
                      <a:pt x="8" y="67"/>
                    </a:lnTo>
                    <a:lnTo>
                      <a:pt x="8" y="65"/>
                    </a:lnTo>
                    <a:lnTo>
                      <a:pt x="6" y="65"/>
                    </a:lnTo>
                    <a:lnTo>
                      <a:pt x="8" y="65"/>
                    </a:lnTo>
                    <a:lnTo>
                      <a:pt x="6" y="65"/>
                    </a:lnTo>
                    <a:lnTo>
                      <a:pt x="6" y="63"/>
                    </a:lnTo>
                    <a:lnTo>
                      <a:pt x="6" y="61"/>
                    </a:lnTo>
                    <a:lnTo>
                      <a:pt x="6" y="59"/>
                    </a:lnTo>
                    <a:lnTo>
                      <a:pt x="6" y="57"/>
                    </a:lnTo>
                    <a:lnTo>
                      <a:pt x="8" y="57"/>
                    </a:lnTo>
                    <a:lnTo>
                      <a:pt x="8" y="55"/>
                    </a:lnTo>
                    <a:lnTo>
                      <a:pt x="6" y="55"/>
                    </a:lnTo>
                    <a:lnTo>
                      <a:pt x="6" y="53"/>
                    </a:lnTo>
                    <a:lnTo>
                      <a:pt x="4" y="53"/>
                    </a:lnTo>
                    <a:lnTo>
                      <a:pt x="2" y="51"/>
                    </a:lnTo>
                    <a:lnTo>
                      <a:pt x="2" y="49"/>
                    </a:lnTo>
                    <a:lnTo>
                      <a:pt x="0" y="49"/>
                    </a:lnTo>
                    <a:lnTo>
                      <a:pt x="0" y="48"/>
                    </a:lnTo>
                    <a:lnTo>
                      <a:pt x="2" y="48"/>
                    </a:lnTo>
                    <a:lnTo>
                      <a:pt x="4" y="48"/>
                    </a:lnTo>
                    <a:lnTo>
                      <a:pt x="2" y="46"/>
                    </a:lnTo>
                    <a:lnTo>
                      <a:pt x="2" y="44"/>
                    </a:lnTo>
                    <a:lnTo>
                      <a:pt x="4" y="44"/>
                    </a:lnTo>
                    <a:lnTo>
                      <a:pt x="6" y="44"/>
                    </a:lnTo>
                    <a:lnTo>
                      <a:pt x="8" y="42"/>
                    </a:lnTo>
                    <a:lnTo>
                      <a:pt x="6" y="42"/>
                    </a:lnTo>
                    <a:lnTo>
                      <a:pt x="6" y="40"/>
                    </a:lnTo>
                    <a:lnTo>
                      <a:pt x="8" y="40"/>
                    </a:lnTo>
                    <a:lnTo>
                      <a:pt x="6" y="40"/>
                    </a:lnTo>
                    <a:lnTo>
                      <a:pt x="4" y="40"/>
                    </a:lnTo>
                    <a:lnTo>
                      <a:pt x="6" y="38"/>
                    </a:lnTo>
                    <a:lnTo>
                      <a:pt x="6" y="36"/>
                    </a:lnTo>
                    <a:lnTo>
                      <a:pt x="6" y="34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10" y="34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10" y="30"/>
                    </a:lnTo>
                    <a:lnTo>
                      <a:pt x="10" y="32"/>
                    </a:lnTo>
                    <a:lnTo>
                      <a:pt x="12" y="32"/>
                    </a:lnTo>
                    <a:lnTo>
                      <a:pt x="12" y="30"/>
                    </a:lnTo>
                    <a:lnTo>
                      <a:pt x="14" y="28"/>
                    </a:lnTo>
                    <a:lnTo>
                      <a:pt x="16" y="28"/>
                    </a:lnTo>
                    <a:lnTo>
                      <a:pt x="18" y="28"/>
                    </a:lnTo>
                    <a:lnTo>
                      <a:pt x="18" y="30"/>
                    </a:lnTo>
                    <a:lnTo>
                      <a:pt x="19" y="30"/>
                    </a:lnTo>
                    <a:lnTo>
                      <a:pt x="19" y="28"/>
                    </a:lnTo>
                    <a:lnTo>
                      <a:pt x="19" y="26"/>
                    </a:lnTo>
                    <a:lnTo>
                      <a:pt x="21" y="26"/>
                    </a:lnTo>
                    <a:lnTo>
                      <a:pt x="21" y="24"/>
                    </a:lnTo>
                    <a:lnTo>
                      <a:pt x="23" y="24"/>
                    </a:lnTo>
                    <a:lnTo>
                      <a:pt x="25" y="24"/>
                    </a:lnTo>
                    <a:lnTo>
                      <a:pt x="27" y="23"/>
                    </a:lnTo>
                    <a:lnTo>
                      <a:pt x="25" y="21"/>
                    </a:lnTo>
                    <a:lnTo>
                      <a:pt x="23" y="21"/>
                    </a:lnTo>
                    <a:lnTo>
                      <a:pt x="23" y="19"/>
                    </a:lnTo>
                    <a:lnTo>
                      <a:pt x="25" y="19"/>
                    </a:lnTo>
                    <a:lnTo>
                      <a:pt x="23" y="19"/>
                    </a:lnTo>
                    <a:lnTo>
                      <a:pt x="23" y="21"/>
                    </a:lnTo>
                    <a:lnTo>
                      <a:pt x="25" y="21"/>
                    </a:lnTo>
                    <a:lnTo>
                      <a:pt x="25" y="19"/>
                    </a:lnTo>
                    <a:lnTo>
                      <a:pt x="23" y="19"/>
                    </a:lnTo>
                    <a:lnTo>
                      <a:pt x="23" y="17"/>
                    </a:lnTo>
                    <a:lnTo>
                      <a:pt x="25" y="17"/>
                    </a:lnTo>
                    <a:lnTo>
                      <a:pt x="25" y="15"/>
                    </a:lnTo>
                    <a:lnTo>
                      <a:pt x="27" y="15"/>
                    </a:lnTo>
                    <a:lnTo>
                      <a:pt x="27" y="17"/>
                    </a:lnTo>
                    <a:lnTo>
                      <a:pt x="29" y="17"/>
                    </a:lnTo>
                    <a:lnTo>
                      <a:pt x="29" y="19"/>
                    </a:lnTo>
                    <a:lnTo>
                      <a:pt x="31" y="19"/>
                    </a:lnTo>
                    <a:lnTo>
                      <a:pt x="31" y="17"/>
                    </a:lnTo>
                    <a:lnTo>
                      <a:pt x="33" y="17"/>
                    </a:lnTo>
                    <a:lnTo>
                      <a:pt x="35" y="17"/>
                    </a:lnTo>
                    <a:lnTo>
                      <a:pt x="35" y="19"/>
                    </a:lnTo>
                    <a:lnTo>
                      <a:pt x="35" y="21"/>
                    </a:lnTo>
                    <a:lnTo>
                      <a:pt x="35" y="19"/>
                    </a:lnTo>
                    <a:lnTo>
                      <a:pt x="37" y="19"/>
                    </a:lnTo>
                    <a:lnTo>
                      <a:pt x="37" y="21"/>
                    </a:lnTo>
                    <a:lnTo>
                      <a:pt x="39" y="19"/>
                    </a:lnTo>
                    <a:lnTo>
                      <a:pt x="41" y="19"/>
                    </a:lnTo>
                    <a:lnTo>
                      <a:pt x="43" y="19"/>
                    </a:lnTo>
                    <a:lnTo>
                      <a:pt x="43" y="17"/>
                    </a:lnTo>
                    <a:lnTo>
                      <a:pt x="43" y="19"/>
                    </a:lnTo>
                    <a:lnTo>
                      <a:pt x="44" y="19"/>
                    </a:lnTo>
                    <a:lnTo>
                      <a:pt x="46" y="19"/>
                    </a:lnTo>
                    <a:lnTo>
                      <a:pt x="46" y="21"/>
                    </a:lnTo>
                    <a:lnTo>
                      <a:pt x="48" y="19"/>
                    </a:lnTo>
                    <a:lnTo>
                      <a:pt x="48" y="21"/>
                    </a:lnTo>
                    <a:lnTo>
                      <a:pt x="48" y="23"/>
                    </a:lnTo>
                    <a:lnTo>
                      <a:pt x="50" y="23"/>
                    </a:lnTo>
                    <a:lnTo>
                      <a:pt x="48" y="23"/>
                    </a:lnTo>
                    <a:lnTo>
                      <a:pt x="48" y="24"/>
                    </a:lnTo>
                    <a:lnTo>
                      <a:pt x="50" y="24"/>
                    </a:lnTo>
                    <a:lnTo>
                      <a:pt x="50" y="23"/>
                    </a:lnTo>
                    <a:lnTo>
                      <a:pt x="50" y="24"/>
                    </a:lnTo>
                    <a:lnTo>
                      <a:pt x="52" y="24"/>
                    </a:lnTo>
                    <a:lnTo>
                      <a:pt x="54" y="24"/>
                    </a:lnTo>
                    <a:lnTo>
                      <a:pt x="56" y="26"/>
                    </a:lnTo>
                    <a:lnTo>
                      <a:pt x="56" y="24"/>
                    </a:lnTo>
                    <a:lnTo>
                      <a:pt x="56" y="23"/>
                    </a:lnTo>
                    <a:lnTo>
                      <a:pt x="58" y="23"/>
                    </a:lnTo>
                    <a:lnTo>
                      <a:pt x="58" y="21"/>
                    </a:lnTo>
                    <a:lnTo>
                      <a:pt x="60" y="21"/>
                    </a:lnTo>
                    <a:lnTo>
                      <a:pt x="60" y="19"/>
                    </a:lnTo>
                    <a:lnTo>
                      <a:pt x="62" y="19"/>
                    </a:lnTo>
                    <a:lnTo>
                      <a:pt x="60" y="17"/>
                    </a:lnTo>
                    <a:lnTo>
                      <a:pt x="62" y="17"/>
                    </a:lnTo>
                    <a:lnTo>
                      <a:pt x="60" y="17"/>
                    </a:lnTo>
                    <a:lnTo>
                      <a:pt x="58" y="17"/>
                    </a:lnTo>
                    <a:lnTo>
                      <a:pt x="58" y="15"/>
                    </a:lnTo>
                    <a:lnTo>
                      <a:pt x="60" y="15"/>
                    </a:lnTo>
                    <a:lnTo>
                      <a:pt x="60" y="13"/>
                    </a:lnTo>
                    <a:lnTo>
                      <a:pt x="62" y="11"/>
                    </a:lnTo>
                    <a:lnTo>
                      <a:pt x="62" y="13"/>
                    </a:lnTo>
                    <a:lnTo>
                      <a:pt x="64" y="11"/>
                    </a:lnTo>
                    <a:lnTo>
                      <a:pt x="64" y="9"/>
                    </a:lnTo>
                    <a:lnTo>
                      <a:pt x="66" y="9"/>
                    </a:lnTo>
                    <a:lnTo>
                      <a:pt x="66" y="7"/>
                    </a:lnTo>
                    <a:lnTo>
                      <a:pt x="66" y="9"/>
                    </a:lnTo>
                    <a:lnTo>
                      <a:pt x="67" y="7"/>
                    </a:lnTo>
                    <a:lnTo>
                      <a:pt x="67" y="9"/>
                    </a:lnTo>
                    <a:lnTo>
                      <a:pt x="69" y="9"/>
                    </a:lnTo>
                    <a:lnTo>
                      <a:pt x="69" y="11"/>
                    </a:lnTo>
                    <a:lnTo>
                      <a:pt x="67" y="13"/>
                    </a:lnTo>
                    <a:lnTo>
                      <a:pt x="69" y="13"/>
                    </a:lnTo>
                    <a:lnTo>
                      <a:pt x="69" y="15"/>
                    </a:lnTo>
                    <a:lnTo>
                      <a:pt x="71" y="13"/>
                    </a:lnTo>
                    <a:lnTo>
                      <a:pt x="73" y="11"/>
                    </a:lnTo>
                    <a:lnTo>
                      <a:pt x="75" y="11"/>
                    </a:lnTo>
                    <a:lnTo>
                      <a:pt x="77" y="9"/>
                    </a:lnTo>
                    <a:lnTo>
                      <a:pt x="77" y="7"/>
                    </a:lnTo>
                    <a:lnTo>
                      <a:pt x="79" y="7"/>
                    </a:lnTo>
                    <a:lnTo>
                      <a:pt x="79" y="5"/>
                    </a:lnTo>
                    <a:lnTo>
                      <a:pt x="81" y="5"/>
                    </a:lnTo>
                    <a:lnTo>
                      <a:pt x="81" y="3"/>
                    </a:lnTo>
                    <a:lnTo>
                      <a:pt x="83" y="1"/>
                    </a:lnTo>
                    <a:lnTo>
                      <a:pt x="85" y="1"/>
                    </a:lnTo>
                    <a:lnTo>
                      <a:pt x="85" y="0"/>
                    </a:lnTo>
                    <a:lnTo>
                      <a:pt x="85" y="1"/>
                    </a:lnTo>
                    <a:lnTo>
                      <a:pt x="87" y="1"/>
                    </a:lnTo>
                    <a:lnTo>
                      <a:pt x="89" y="1"/>
                    </a:lnTo>
                    <a:lnTo>
                      <a:pt x="89" y="3"/>
                    </a:lnTo>
                    <a:lnTo>
                      <a:pt x="91" y="3"/>
                    </a:lnTo>
                    <a:lnTo>
                      <a:pt x="89" y="3"/>
                    </a:lnTo>
                    <a:lnTo>
                      <a:pt x="91" y="5"/>
                    </a:lnTo>
                    <a:lnTo>
                      <a:pt x="91" y="7"/>
                    </a:lnTo>
                    <a:lnTo>
                      <a:pt x="89" y="7"/>
                    </a:lnTo>
                    <a:lnTo>
                      <a:pt x="89" y="9"/>
                    </a:lnTo>
                    <a:lnTo>
                      <a:pt x="91" y="9"/>
                    </a:lnTo>
                    <a:lnTo>
                      <a:pt x="91" y="11"/>
                    </a:lnTo>
                    <a:lnTo>
                      <a:pt x="89" y="11"/>
                    </a:lnTo>
                    <a:lnTo>
                      <a:pt x="91" y="11"/>
                    </a:lnTo>
                    <a:lnTo>
                      <a:pt x="91" y="13"/>
                    </a:lnTo>
                    <a:lnTo>
                      <a:pt x="92" y="15"/>
                    </a:lnTo>
                    <a:lnTo>
                      <a:pt x="94" y="15"/>
                    </a:lnTo>
                    <a:lnTo>
                      <a:pt x="96" y="15"/>
                    </a:lnTo>
                    <a:lnTo>
                      <a:pt x="96" y="13"/>
                    </a:lnTo>
                    <a:lnTo>
                      <a:pt x="98" y="13"/>
                    </a:lnTo>
                    <a:lnTo>
                      <a:pt x="96" y="11"/>
                    </a:lnTo>
                    <a:lnTo>
                      <a:pt x="98" y="11"/>
                    </a:lnTo>
                    <a:lnTo>
                      <a:pt x="98" y="9"/>
                    </a:lnTo>
                    <a:lnTo>
                      <a:pt x="98" y="11"/>
                    </a:lnTo>
                    <a:lnTo>
                      <a:pt x="102" y="11"/>
                    </a:lnTo>
                    <a:lnTo>
                      <a:pt x="104" y="13"/>
                    </a:lnTo>
                    <a:lnTo>
                      <a:pt x="104" y="15"/>
                    </a:lnTo>
                    <a:lnTo>
                      <a:pt x="104" y="17"/>
                    </a:lnTo>
                    <a:lnTo>
                      <a:pt x="102" y="17"/>
                    </a:lnTo>
                    <a:lnTo>
                      <a:pt x="104" y="17"/>
                    </a:lnTo>
                    <a:lnTo>
                      <a:pt x="104" y="19"/>
                    </a:lnTo>
                    <a:lnTo>
                      <a:pt x="102" y="21"/>
                    </a:lnTo>
                    <a:lnTo>
                      <a:pt x="102" y="23"/>
                    </a:lnTo>
                    <a:lnTo>
                      <a:pt x="104" y="23"/>
                    </a:lnTo>
                    <a:lnTo>
                      <a:pt x="104" y="24"/>
                    </a:lnTo>
                    <a:lnTo>
                      <a:pt x="104" y="26"/>
                    </a:lnTo>
                    <a:lnTo>
                      <a:pt x="104" y="24"/>
                    </a:lnTo>
                    <a:lnTo>
                      <a:pt x="106" y="24"/>
                    </a:lnTo>
                    <a:lnTo>
                      <a:pt x="106" y="26"/>
                    </a:lnTo>
                    <a:lnTo>
                      <a:pt x="104" y="26"/>
                    </a:lnTo>
                    <a:lnTo>
                      <a:pt x="106" y="28"/>
                    </a:lnTo>
                    <a:lnTo>
                      <a:pt x="108" y="28"/>
                    </a:lnTo>
                    <a:lnTo>
                      <a:pt x="108" y="30"/>
                    </a:lnTo>
                    <a:lnTo>
                      <a:pt x="110" y="30"/>
                    </a:lnTo>
                    <a:lnTo>
                      <a:pt x="108" y="32"/>
                    </a:lnTo>
                    <a:lnTo>
                      <a:pt x="110" y="32"/>
                    </a:lnTo>
                    <a:lnTo>
                      <a:pt x="110" y="34"/>
                    </a:lnTo>
                    <a:lnTo>
                      <a:pt x="112" y="32"/>
                    </a:lnTo>
                    <a:lnTo>
                      <a:pt x="112" y="34"/>
                    </a:lnTo>
                    <a:lnTo>
                      <a:pt x="112" y="36"/>
                    </a:lnTo>
                    <a:lnTo>
                      <a:pt x="110" y="36"/>
                    </a:lnTo>
                    <a:lnTo>
                      <a:pt x="112" y="36"/>
                    </a:lnTo>
                    <a:lnTo>
                      <a:pt x="110" y="38"/>
                    </a:lnTo>
                    <a:lnTo>
                      <a:pt x="108" y="38"/>
                    </a:lnTo>
                    <a:lnTo>
                      <a:pt x="108" y="40"/>
                    </a:lnTo>
                    <a:lnTo>
                      <a:pt x="108" y="38"/>
                    </a:lnTo>
                    <a:lnTo>
                      <a:pt x="106" y="40"/>
                    </a:lnTo>
                    <a:lnTo>
                      <a:pt x="106" y="38"/>
                    </a:lnTo>
                    <a:lnTo>
                      <a:pt x="106" y="40"/>
                    </a:lnTo>
                    <a:lnTo>
                      <a:pt x="104" y="38"/>
                    </a:lnTo>
                    <a:lnTo>
                      <a:pt x="104" y="40"/>
                    </a:lnTo>
                    <a:lnTo>
                      <a:pt x="104" y="42"/>
                    </a:lnTo>
                    <a:lnTo>
                      <a:pt x="102" y="42"/>
                    </a:lnTo>
                    <a:lnTo>
                      <a:pt x="102" y="44"/>
                    </a:lnTo>
                    <a:lnTo>
                      <a:pt x="104" y="44"/>
                    </a:lnTo>
                    <a:lnTo>
                      <a:pt x="102" y="44"/>
                    </a:lnTo>
                    <a:lnTo>
                      <a:pt x="102" y="46"/>
                    </a:lnTo>
                    <a:lnTo>
                      <a:pt x="104" y="46"/>
                    </a:lnTo>
                    <a:lnTo>
                      <a:pt x="102" y="46"/>
                    </a:lnTo>
                    <a:lnTo>
                      <a:pt x="102" y="48"/>
                    </a:lnTo>
                    <a:lnTo>
                      <a:pt x="104" y="49"/>
                    </a:lnTo>
                    <a:lnTo>
                      <a:pt x="102" y="49"/>
                    </a:lnTo>
                    <a:lnTo>
                      <a:pt x="102" y="51"/>
                    </a:lnTo>
                    <a:lnTo>
                      <a:pt x="100" y="51"/>
                    </a:lnTo>
                    <a:lnTo>
                      <a:pt x="102" y="51"/>
                    </a:lnTo>
                    <a:lnTo>
                      <a:pt x="100" y="51"/>
                    </a:lnTo>
                    <a:lnTo>
                      <a:pt x="100" y="53"/>
                    </a:lnTo>
                    <a:lnTo>
                      <a:pt x="100" y="55"/>
                    </a:lnTo>
                    <a:lnTo>
                      <a:pt x="102" y="57"/>
                    </a:lnTo>
                    <a:lnTo>
                      <a:pt x="102" y="59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Freeform 134">
                <a:extLst>
                  <a:ext uri="{FF2B5EF4-FFF2-40B4-BE49-F238E27FC236}">
                    <a16:creationId xmlns="" xmlns:a16="http://schemas.microsoft.com/office/drawing/2014/main" id="{3F31725A-EBEE-45C8-B25C-B83A03B5B8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1013" y="3152776"/>
                <a:ext cx="430213" cy="255588"/>
              </a:xfrm>
              <a:custGeom>
                <a:avLst/>
                <a:gdLst>
                  <a:gd name="T0" fmla="*/ 257 w 271"/>
                  <a:gd name="T1" fmla="*/ 57 h 161"/>
                  <a:gd name="T2" fmla="*/ 255 w 271"/>
                  <a:gd name="T3" fmla="*/ 71 h 161"/>
                  <a:gd name="T4" fmla="*/ 248 w 271"/>
                  <a:gd name="T5" fmla="*/ 78 h 161"/>
                  <a:gd name="T6" fmla="*/ 242 w 271"/>
                  <a:gd name="T7" fmla="*/ 82 h 161"/>
                  <a:gd name="T8" fmla="*/ 240 w 271"/>
                  <a:gd name="T9" fmla="*/ 92 h 161"/>
                  <a:gd name="T10" fmla="*/ 238 w 271"/>
                  <a:gd name="T11" fmla="*/ 111 h 161"/>
                  <a:gd name="T12" fmla="*/ 244 w 271"/>
                  <a:gd name="T13" fmla="*/ 127 h 161"/>
                  <a:gd name="T14" fmla="*/ 236 w 271"/>
                  <a:gd name="T15" fmla="*/ 134 h 161"/>
                  <a:gd name="T16" fmla="*/ 230 w 271"/>
                  <a:gd name="T17" fmla="*/ 146 h 161"/>
                  <a:gd name="T18" fmla="*/ 223 w 271"/>
                  <a:gd name="T19" fmla="*/ 152 h 161"/>
                  <a:gd name="T20" fmla="*/ 219 w 271"/>
                  <a:gd name="T21" fmla="*/ 157 h 161"/>
                  <a:gd name="T22" fmla="*/ 215 w 271"/>
                  <a:gd name="T23" fmla="*/ 142 h 161"/>
                  <a:gd name="T24" fmla="*/ 200 w 271"/>
                  <a:gd name="T25" fmla="*/ 144 h 161"/>
                  <a:gd name="T26" fmla="*/ 190 w 271"/>
                  <a:gd name="T27" fmla="*/ 146 h 161"/>
                  <a:gd name="T28" fmla="*/ 178 w 271"/>
                  <a:gd name="T29" fmla="*/ 150 h 161"/>
                  <a:gd name="T30" fmla="*/ 165 w 271"/>
                  <a:gd name="T31" fmla="*/ 146 h 161"/>
                  <a:gd name="T32" fmla="*/ 146 w 271"/>
                  <a:gd name="T33" fmla="*/ 144 h 161"/>
                  <a:gd name="T34" fmla="*/ 140 w 271"/>
                  <a:gd name="T35" fmla="*/ 134 h 161"/>
                  <a:gd name="T36" fmla="*/ 134 w 271"/>
                  <a:gd name="T37" fmla="*/ 128 h 161"/>
                  <a:gd name="T38" fmla="*/ 127 w 271"/>
                  <a:gd name="T39" fmla="*/ 140 h 161"/>
                  <a:gd name="T40" fmla="*/ 115 w 271"/>
                  <a:gd name="T41" fmla="*/ 146 h 161"/>
                  <a:gd name="T42" fmla="*/ 105 w 271"/>
                  <a:gd name="T43" fmla="*/ 146 h 161"/>
                  <a:gd name="T44" fmla="*/ 92 w 271"/>
                  <a:gd name="T45" fmla="*/ 144 h 161"/>
                  <a:gd name="T46" fmla="*/ 88 w 271"/>
                  <a:gd name="T47" fmla="*/ 132 h 161"/>
                  <a:gd name="T48" fmla="*/ 77 w 271"/>
                  <a:gd name="T49" fmla="*/ 119 h 161"/>
                  <a:gd name="T50" fmla="*/ 67 w 271"/>
                  <a:gd name="T51" fmla="*/ 121 h 161"/>
                  <a:gd name="T52" fmla="*/ 52 w 271"/>
                  <a:gd name="T53" fmla="*/ 128 h 161"/>
                  <a:gd name="T54" fmla="*/ 40 w 271"/>
                  <a:gd name="T55" fmla="*/ 125 h 161"/>
                  <a:gd name="T56" fmla="*/ 32 w 271"/>
                  <a:gd name="T57" fmla="*/ 119 h 161"/>
                  <a:gd name="T58" fmla="*/ 27 w 271"/>
                  <a:gd name="T59" fmla="*/ 111 h 161"/>
                  <a:gd name="T60" fmla="*/ 17 w 271"/>
                  <a:gd name="T61" fmla="*/ 107 h 161"/>
                  <a:gd name="T62" fmla="*/ 15 w 271"/>
                  <a:gd name="T63" fmla="*/ 102 h 161"/>
                  <a:gd name="T64" fmla="*/ 6 w 271"/>
                  <a:gd name="T65" fmla="*/ 96 h 161"/>
                  <a:gd name="T66" fmla="*/ 6 w 271"/>
                  <a:gd name="T67" fmla="*/ 82 h 161"/>
                  <a:gd name="T68" fmla="*/ 17 w 271"/>
                  <a:gd name="T69" fmla="*/ 69 h 161"/>
                  <a:gd name="T70" fmla="*/ 21 w 271"/>
                  <a:gd name="T71" fmla="*/ 55 h 161"/>
                  <a:gd name="T72" fmla="*/ 21 w 271"/>
                  <a:gd name="T73" fmla="*/ 38 h 161"/>
                  <a:gd name="T74" fmla="*/ 23 w 271"/>
                  <a:gd name="T75" fmla="*/ 27 h 161"/>
                  <a:gd name="T76" fmla="*/ 29 w 271"/>
                  <a:gd name="T77" fmla="*/ 21 h 161"/>
                  <a:gd name="T78" fmla="*/ 38 w 271"/>
                  <a:gd name="T79" fmla="*/ 13 h 161"/>
                  <a:gd name="T80" fmla="*/ 52 w 271"/>
                  <a:gd name="T81" fmla="*/ 25 h 161"/>
                  <a:gd name="T82" fmla="*/ 63 w 271"/>
                  <a:gd name="T83" fmla="*/ 23 h 161"/>
                  <a:gd name="T84" fmla="*/ 71 w 271"/>
                  <a:gd name="T85" fmla="*/ 27 h 161"/>
                  <a:gd name="T86" fmla="*/ 82 w 271"/>
                  <a:gd name="T87" fmla="*/ 23 h 161"/>
                  <a:gd name="T88" fmla="*/ 92 w 271"/>
                  <a:gd name="T89" fmla="*/ 25 h 161"/>
                  <a:gd name="T90" fmla="*/ 107 w 271"/>
                  <a:gd name="T91" fmla="*/ 23 h 161"/>
                  <a:gd name="T92" fmla="*/ 113 w 271"/>
                  <a:gd name="T93" fmla="*/ 32 h 161"/>
                  <a:gd name="T94" fmla="*/ 127 w 271"/>
                  <a:gd name="T95" fmla="*/ 21 h 161"/>
                  <a:gd name="T96" fmla="*/ 138 w 271"/>
                  <a:gd name="T97" fmla="*/ 19 h 161"/>
                  <a:gd name="T98" fmla="*/ 148 w 271"/>
                  <a:gd name="T99" fmla="*/ 4 h 161"/>
                  <a:gd name="T100" fmla="*/ 165 w 271"/>
                  <a:gd name="T101" fmla="*/ 5 h 161"/>
                  <a:gd name="T102" fmla="*/ 175 w 271"/>
                  <a:gd name="T103" fmla="*/ 15 h 161"/>
                  <a:gd name="T104" fmla="*/ 182 w 271"/>
                  <a:gd name="T105" fmla="*/ 17 h 161"/>
                  <a:gd name="T106" fmla="*/ 202 w 271"/>
                  <a:gd name="T107" fmla="*/ 21 h 161"/>
                  <a:gd name="T108" fmla="*/ 213 w 271"/>
                  <a:gd name="T109" fmla="*/ 19 h 161"/>
                  <a:gd name="T110" fmla="*/ 225 w 271"/>
                  <a:gd name="T111" fmla="*/ 25 h 161"/>
                  <a:gd name="T112" fmla="*/ 242 w 271"/>
                  <a:gd name="T113" fmla="*/ 30 h 161"/>
                  <a:gd name="T114" fmla="*/ 250 w 271"/>
                  <a:gd name="T115" fmla="*/ 25 h 161"/>
                  <a:gd name="T116" fmla="*/ 263 w 271"/>
                  <a:gd name="T117" fmla="*/ 19 h 161"/>
                  <a:gd name="T118" fmla="*/ 269 w 271"/>
                  <a:gd name="T119" fmla="*/ 28 h 161"/>
                  <a:gd name="T120" fmla="*/ 271 w 271"/>
                  <a:gd name="T121" fmla="*/ 53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71" h="161">
                    <a:moveTo>
                      <a:pt x="271" y="53"/>
                    </a:moveTo>
                    <a:lnTo>
                      <a:pt x="269" y="55"/>
                    </a:lnTo>
                    <a:lnTo>
                      <a:pt x="269" y="53"/>
                    </a:lnTo>
                    <a:lnTo>
                      <a:pt x="269" y="55"/>
                    </a:lnTo>
                    <a:lnTo>
                      <a:pt x="267" y="55"/>
                    </a:lnTo>
                    <a:lnTo>
                      <a:pt x="265" y="55"/>
                    </a:lnTo>
                    <a:lnTo>
                      <a:pt x="263" y="55"/>
                    </a:lnTo>
                    <a:lnTo>
                      <a:pt x="261" y="55"/>
                    </a:lnTo>
                    <a:lnTo>
                      <a:pt x="261" y="53"/>
                    </a:lnTo>
                    <a:lnTo>
                      <a:pt x="261" y="55"/>
                    </a:lnTo>
                    <a:lnTo>
                      <a:pt x="259" y="55"/>
                    </a:lnTo>
                    <a:lnTo>
                      <a:pt x="257" y="55"/>
                    </a:lnTo>
                    <a:lnTo>
                      <a:pt x="257" y="57"/>
                    </a:lnTo>
                    <a:lnTo>
                      <a:pt x="257" y="59"/>
                    </a:lnTo>
                    <a:lnTo>
                      <a:pt x="257" y="61"/>
                    </a:lnTo>
                    <a:lnTo>
                      <a:pt x="255" y="61"/>
                    </a:lnTo>
                    <a:lnTo>
                      <a:pt x="255" y="59"/>
                    </a:lnTo>
                    <a:lnTo>
                      <a:pt x="255" y="61"/>
                    </a:lnTo>
                    <a:lnTo>
                      <a:pt x="253" y="61"/>
                    </a:lnTo>
                    <a:lnTo>
                      <a:pt x="251" y="61"/>
                    </a:lnTo>
                    <a:lnTo>
                      <a:pt x="253" y="63"/>
                    </a:lnTo>
                    <a:lnTo>
                      <a:pt x="253" y="65"/>
                    </a:lnTo>
                    <a:lnTo>
                      <a:pt x="253" y="67"/>
                    </a:lnTo>
                    <a:lnTo>
                      <a:pt x="255" y="67"/>
                    </a:lnTo>
                    <a:lnTo>
                      <a:pt x="255" y="69"/>
                    </a:lnTo>
                    <a:lnTo>
                      <a:pt x="255" y="71"/>
                    </a:lnTo>
                    <a:lnTo>
                      <a:pt x="255" y="73"/>
                    </a:lnTo>
                    <a:lnTo>
                      <a:pt x="255" y="75"/>
                    </a:lnTo>
                    <a:lnTo>
                      <a:pt x="257" y="75"/>
                    </a:lnTo>
                    <a:lnTo>
                      <a:pt x="257" y="77"/>
                    </a:lnTo>
                    <a:lnTo>
                      <a:pt x="255" y="77"/>
                    </a:lnTo>
                    <a:lnTo>
                      <a:pt x="253" y="75"/>
                    </a:lnTo>
                    <a:lnTo>
                      <a:pt x="251" y="75"/>
                    </a:lnTo>
                    <a:lnTo>
                      <a:pt x="251" y="77"/>
                    </a:lnTo>
                    <a:lnTo>
                      <a:pt x="250" y="75"/>
                    </a:lnTo>
                    <a:lnTo>
                      <a:pt x="250" y="77"/>
                    </a:lnTo>
                    <a:lnTo>
                      <a:pt x="248" y="78"/>
                    </a:lnTo>
                    <a:lnTo>
                      <a:pt x="250" y="78"/>
                    </a:lnTo>
                    <a:lnTo>
                      <a:pt x="248" y="78"/>
                    </a:lnTo>
                    <a:lnTo>
                      <a:pt x="246" y="78"/>
                    </a:lnTo>
                    <a:lnTo>
                      <a:pt x="246" y="77"/>
                    </a:lnTo>
                    <a:lnTo>
                      <a:pt x="244" y="77"/>
                    </a:lnTo>
                    <a:lnTo>
                      <a:pt x="244" y="75"/>
                    </a:lnTo>
                    <a:lnTo>
                      <a:pt x="244" y="77"/>
                    </a:lnTo>
                    <a:lnTo>
                      <a:pt x="242" y="77"/>
                    </a:lnTo>
                    <a:lnTo>
                      <a:pt x="242" y="78"/>
                    </a:lnTo>
                    <a:lnTo>
                      <a:pt x="244" y="78"/>
                    </a:lnTo>
                    <a:lnTo>
                      <a:pt x="244" y="80"/>
                    </a:lnTo>
                    <a:lnTo>
                      <a:pt x="242" y="80"/>
                    </a:lnTo>
                    <a:lnTo>
                      <a:pt x="244" y="82"/>
                    </a:lnTo>
                    <a:lnTo>
                      <a:pt x="242" y="80"/>
                    </a:lnTo>
                    <a:lnTo>
                      <a:pt x="242" y="82"/>
                    </a:lnTo>
                    <a:lnTo>
                      <a:pt x="242" y="80"/>
                    </a:lnTo>
                    <a:lnTo>
                      <a:pt x="240" y="80"/>
                    </a:lnTo>
                    <a:lnTo>
                      <a:pt x="240" y="82"/>
                    </a:lnTo>
                    <a:lnTo>
                      <a:pt x="242" y="82"/>
                    </a:lnTo>
                    <a:lnTo>
                      <a:pt x="242" y="84"/>
                    </a:lnTo>
                    <a:lnTo>
                      <a:pt x="240" y="84"/>
                    </a:lnTo>
                    <a:lnTo>
                      <a:pt x="240" y="86"/>
                    </a:lnTo>
                    <a:lnTo>
                      <a:pt x="238" y="84"/>
                    </a:lnTo>
                    <a:lnTo>
                      <a:pt x="238" y="86"/>
                    </a:lnTo>
                    <a:lnTo>
                      <a:pt x="240" y="86"/>
                    </a:lnTo>
                    <a:lnTo>
                      <a:pt x="240" y="88"/>
                    </a:lnTo>
                    <a:lnTo>
                      <a:pt x="240" y="90"/>
                    </a:lnTo>
                    <a:lnTo>
                      <a:pt x="240" y="92"/>
                    </a:lnTo>
                    <a:lnTo>
                      <a:pt x="240" y="94"/>
                    </a:lnTo>
                    <a:lnTo>
                      <a:pt x="240" y="96"/>
                    </a:lnTo>
                    <a:lnTo>
                      <a:pt x="240" y="98"/>
                    </a:lnTo>
                    <a:lnTo>
                      <a:pt x="240" y="100"/>
                    </a:lnTo>
                    <a:lnTo>
                      <a:pt x="240" y="102"/>
                    </a:lnTo>
                    <a:lnTo>
                      <a:pt x="240" y="103"/>
                    </a:lnTo>
                    <a:lnTo>
                      <a:pt x="242" y="103"/>
                    </a:lnTo>
                    <a:lnTo>
                      <a:pt x="242" y="105"/>
                    </a:lnTo>
                    <a:lnTo>
                      <a:pt x="242" y="107"/>
                    </a:lnTo>
                    <a:lnTo>
                      <a:pt x="240" y="107"/>
                    </a:lnTo>
                    <a:lnTo>
                      <a:pt x="240" y="109"/>
                    </a:lnTo>
                    <a:lnTo>
                      <a:pt x="238" y="109"/>
                    </a:lnTo>
                    <a:lnTo>
                      <a:pt x="238" y="111"/>
                    </a:lnTo>
                    <a:lnTo>
                      <a:pt x="238" y="113"/>
                    </a:lnTo>
                    <a:lnTo>
                      <a:pt x="236" y="113"/>
                    </a:lnTo>
                    <a:lnTo>
                      <a:pt x="236" y="115"/>
                    </a:lnTo>
                    <a:lnTo>
                      <a:pt x="236" y="117"/>
                    </a:lnTo>
                    <a:lnTo>
                      <a:pt x="236" y="119"/>
                    </a:lnTo>
                    <a:lnTo>
                      <a:pt x="236" y="121"/>
                    </a:lnTo>
                    <a:lnTo>
                      <a:pt x="236" y="123"/>
                    </a:lnTo>
                    <a:lnTo>
                      <a:pt x="238" y="123"/>
                    </a:lnTo>
                    <a:lnTo>
                      <a:pt x="238" y="125"/>
                    </a:lnTo>
                    <a:lnTo>
                      <a:pt x="240" y="127"/>
                    </a:lnTo>
                    <a:lnTo>
                      <a:pt x="242" y="125"/>
                    </a:lnTo>
                    <a:lnTo>
                      <a:pt x="242" y="127"/>
                    </a:lnTo>
                    <a:lnTo>
                      <a:pt x="244" y="127"/>
                    </a:lnTo>
                    <a:lnTo>
                      <a:pt x="246" y="127"/>
                    </a:lnTo>
                    <a:lnTo>
                      <a:pt x="246" y="128"/>
                    </a:lnTo>
                    <a:lnTo>
                      <a:pt x="244" y="130"/>
                    </a:lnTo>
                    <a:lnTo>
                      <a:pt x="244" y="132"/>
                    </a:lnTo>
                    <a:lnTo>
                      <a:pt x="242" y="132"/>
                    </a:lnTo>
                    <a:lnTo>
                      <a:pt x="242" y="134"/>
                    </a:lnTo>
                    <a:lnTo>
                      <a:pt x="242" y="132"/>
                    </a:lnTo>
                    <a:lnTo>
                      <a:pt x="240" y="132"/>
                    </a:lnTo>
                    <a:lnTo>
                      <a:pt x="240" y="134"/>
                    </a:lnTo>
                    <a:lnTo>
                      <a:pt x="240" y="132"/>
                    </a:lnTo>
                    <a:lnTo>
                      <a:pt x="238" y="132"/>
                    </a:lnTo>
                    <a:lnTo>
                      <a:pt x="236" y="132"/>
                    </a:lnTo>
                    <a:lnTo>
                      <a:pt x="236" y="134"/>
                    </a:lnTo>
                    <a:lnTo>
                      <a:pt x="234" y="134"/>
                    </a:lnTo>
                    <a:lnTo>
                      <a:pt x="234" y="136"/>
                    </a:lnTo>
                    <a:lnTo>
                      <a:pt x="236" y="136"/>
                    </a:lnTo>
                    <a:lnTo>
                      <a:pt x="236" y="138"/>
                    </a:lnTo>
                    <a:lnTo>
                      <a:pt x="234" y="138"/>
                    </a:lnTo>
                    <a:lnTo>
                      <a:pt x="234" y="140"/>
                    </a:lnTo>
                    <a:lnTo>
                      <a:pt x="234" y="142"/>
                    </a:lnTo>
                    <a:lnTo>
                      <a:pt x="232" y="142"/>
                    </a:lnTo>
                    <a:lnTo>
                      <a:pt x="234" y="142"/>
                    </a:lnTo>
                    <a:lnTo>
                      <a:pt x="234" y="144"/>
                    </a:lnTo>
                    <a:lnTo>
                      <a:pt x="232" y="144"/>
                    </a:lnTo>
                    <a:lnTo>
                      <a:pt x="232" y="146"/>
                    </a:lnTo>
                    <a:lnTo>
                      <a:pt x="230" y="146"/>
                    </a:lnTo>
                    <a:lnTo>
                      <a:pt x="228" y="148"/>
                    </a:lnTo>
                    <a:lnTo>
                      <a:pt x="228" y="146"/>
                    </a:lnTo>
                    <a:lnTo>
                      <a:pt x="227" y="148"/>
                    </a:lnTo>
                    <a:lnTo>
                      <a:pt x="228" y="148"/>
                    </a:lnTo>
                    <a:lnTo>
                      <a:pt x="227" y="148"/>
                    </a:lnTo>
                    <a:lnTo>
                      <a:pt x="227" y="150"/>
                    </a:lnTo>
                    <a:lnTo>
                      <a:pt x="228" y="150"/>
                    </a:lnTo>
                    <a:lnTo>
                      <a:pt x="227" y="150"/>
                    </a:lnTo>
                    <a:lnTo>
                      <a:pt x="227" y="152"/>
                    </a:lnTo>
                    <a:lnTo>
                      <a:pt x="225" y="152"/>
                    </a:lnTo>
                    <a:lnTo>
                      <a:pt x="223" y="152"/>
                    </a:lnTo>
                    <a:lnTo>
                      <a:pt x="221" y="152"/>
                    </a:lnTo>
                    <a:lnTo>
                      <a:pt x="223" y="152"/>
                    </a:lnTo>
                    <a:lnTo>
                      <a:pt x="223" y="153"/>
                    </a:lnTo>
                    <a:lnTo>
                      <a:pt x="221" y="153"/>
                    </a:lnTo>
                    <a:lnTo>
                      <a:pt x="221" y="155"/>
                    </a:lnTo>
                    <a:lnTo>
                      <a:pt x="223" y="155"/>
                    </a:lnTo>
                    <a:lnTo>
                      <a:pt x="223" y="157"/>
                    </a:lnTo>
                    <a:lnTo>
                      <a:pt x="225" y="157"/>
                    </a:lnTo>
                    <a:lnTo>
                      <a:pt x="223" y="157"/>
                    </a:lnTo>
                    <a:lnTo>
                      <a:pt x="223" y="159"/>
                    </a:lnTo>
                    <a:lnTo>
                      <a:pt x="223" y="161"/>
                    </a:lnTo>
                    <a:lnTo>
                      <a:pt x="221" y="161"/>
                    </a:lnTo>
                    <a:lnTo>
                      <a:pt x="221" y="159"/>
                    </a:lnTo>
                    <a:lnTo>
                      <a:pt x="219" y="159"/>
                    </a:lnTo>
                    <a:lnTo>
                      <a:pt x="219" y="157"/>
                    </a:lnTo>
                    <a:lnTo>
                      <a:pt x="217" y="157"/>
                    </a:lnTo>
                    <a:lnTo>
                      <a:pt x="217" y="155"/>
                    </a:lnTo>
                    <a:lnTo>
                      <a:pt x="215" y="155"/>
                    </a:lnTo>
                    <a:lnTo>
                      <a:pt x="217" y="153"/>
                    </a:lnTo>
                    <a:lnTo>
                      <a:pt x="217" y="152"/>
                    </a:lnTo>
                    <a:lnTo>
                      <a:pt x="219" y="150"/>
                    </a:lnTo>
                    <a:lnTo>
                      <a:pt x="217" y="150"/>
                    </a:lnTo>
                    <a:lnTo>
                      <a:pt x="219" y="148"/>
                    </a:lnTo>
                    <a:lnTo>
                      <a:pt x="217" y="148"/>
                    </a:lnTo>
                    <a:lnTo>
                      <a:pt x="217" y="146"/>
                    </a:lnTo>
                    <a:lnTo>
                      <a:pt x="217" y="144"/>
                    </a:lnTo>
                    <a:lnTo>
                      <a:pt x="215" y="144"/>
                    </a:lnTo>
                    <a:lnTo>
                      <a:pt x="215" y="142"/>
                    </a:lnTo>
                    <a:lnTo>
                      <a:pt x="215" y="140"/>
                    </a:lnTo>
                    <a:lnTo>
                      <a:pt x="213" y="140"/>
                    </a:lnTo>
                    <a:lnTo>
                      <a:pt x="211" y="140"/>
                    </a:lnTo>
                    <a:lnTo>
                      <a:pt x="209" y="140"/>
                    </a:lnTo>
                    <a:lnTo>
                      <a:pt x="207" y="140"/>
                    </a:lnTo>
                    <a:lnTo>
                      <a:pt x="207" y="142"/>
                    </a:lnTo>
                    <a:lnTo>
                      <a:pt x="205" y="142"/>
                    </a:lnTo>
                    <a:lnTo>
                      <a:pt x="205" y="144"/>
                    </a:lnTo>
                    <a:lnTo>
                      <a:pt x="203" y="144"/>
                    </a:lnTo>
                    <a:lnTo>
                      <a:pt x="203" y="146"/>
                    </a:lnTo>
                    <a:lnTo>
                      <a:pt x="202" y="146"/>
                    </a:lnTo>
                    <a:lnTo>
                      <a:pt x="202" y="144"/>
                    </a:lnTo>
                    <a:lnTo>
                      <a:pt x="200" y="144"/>
                    </a:lnTo>
                    <a:lnTo>
                      <a:pt x="198" y="144"/>
                    </a:lnTo>
                    <a:lnTo>
                      <a:pt x="196" y="144"/>
                    </a:lnTo>
                    <a:lnTo>
                      <a:pt x="196" y="142"/>
                    </a:lnTo>
                    <a:lnTo>
                      <a:pt x="196" y="144"/>
                    </a:lnTo>
                    <a:lnTo>
                      <a:pt x="194" y="144"/>
                    </a:lnTo>
                    <a:lnTo>
                      <a:pt x="194" y="142"/>
                    </a:lnTo>
                    <a:lnTo>
                      <a:pt x="196" y="142"/>
                    </a:lnTo>
                    <a:lnTo>
                      <a:pt x="196" y="140"/>
                    </a:lnTo>
                    <a:lnTo>
                      <a:pt x="194" y="142"/>
                    </a:lnTo>
                    <a:lnTo>
                      <a:pt x="192" y="142"/>
                    </a:lnTo>
                    <a:lnTo>
                      <a:pt x="190" y="142"/>
                    </a:lnTo>
                    <a:lnTo>
                      <a:pt x="190" y="144"/>
                    </a:lnTo>
                    <a:lnTo>
                      <a:pt x="190" y="146"/>
                    </a:lnTo>
                    <a:lnTo>
                      <a:pt x="188" y="146"/>
                    </a:lnTo>
                    <a:lnTo>
                      <a:pt x="188" y="148"/>
                    </a:lnTo>
                    <a:lnTo>
                      <a:pt x="186" y="148"/>
                    </a:lnTo>
                    <a:lnTo>
                      <a:pt x="186" y="150"/>
                    </a:lnTo>
                    <a:lnTo>
                      <a:pt x="186" y="152"/>
                    </a:lnTo>
                    <a:lnTo>
                      <a:pt x="184" y="152"/>
                    </a:lnTo>
                    <a:lnTo>
                      <a:pt x="182" y="152"/>
                    </a:lnTo>
                    <a:lnTo>
                      <a:pt x="182" y="153"/>
                    </a:lnTo>
                    <a:lnTo>
                      <a:pt x="182" y="152"/>
                    </a:lnTo>
                    <a:lnTo>
                      <a:pt x="182" y="153"/>
                    </a:lnTo>
                    <a:lnTo>
                      <a:pt x="180" y="153"/>
                    </a:lnTo>
                    <a:lnTo>
                      <a:pt x="180" y="152"/>
                    </a:lnTo>
                    <a:lnTo>
                      <a:pt x="178" y="150"/>
                    </a:lnTo>
                    <a:lnTo>
                      <a:pt x="180" y="150"/>
                    </a:lnTo>
                    <a:lnTo>
                      <a:pt x="180" y="148"/>
                    </a:lnTo>
                    <a:lnTo>
                      <a:pt x="178" y="148"/>
                    </a:lnTo>
                    <a:lnTo>
                      <a:pt x="178" y="146"/>
                    </a:lnTo>
                    <a:lnTo>
                      <a:pt x="177" y="146"/>
                    </a:lnTo>
                    <a:lnTo>
                      <a:pt x="177" y="144"/>
                    </a:lnTo>
                    <a:lnTo>
                      <a:pt x="177" y="146"/>
                    </a:lnTo>
                    <a:lnTo>
                      <a:pt x="175" y="146"/>
                    </a:lnTo>
                    <a:lnTo>
                      <a:pt x="173" y="146"/>
                    </a:lnTo>
                    <a:lnTo>
                      <a:pt x="171" y="146"/>
                    </a:lnTo>
                    <a:lnTo>
                      <a:pt x="169" y="146"/>
                    </a:lnTo>
                    <a:lnTo>
                      <a:pt x="167" y="146"/>
                    </a:lnTo>
                    <a:lnTo>
                      <a:pt x="165" y="146"/>
                    </a:lnTo>
                    <a:lnTo>
                      <a:pt x="163" y="144"/>
                    </a:lnTo>
                    <a:lnTo>
                      <a:pt x="161" y="144"/>
                    </a:lnTo>
                    <a:lnTo>
                      <a:pt x="159" y="144"/>
                    </a:lnTo>
                    <a:lnTo>
                      <a:pt x="157" y="144"/>
                    </a:lnTo>
                    <a:lnTo>
                      <a:pt x="155" y="144"/>
                    </a:lnTo>
                    <a:lnTo>
                      <a:pt x="152" y="142"/>
                    </a:lnTo>
                    <a:lnTo>
                      <a:pt x="152" y="144"/>
                    </a:lnTo>
                    <a:lnTo>
                      <a:pt x="150" y="144"/>
                    </a:lnTo>
                    <a:lnTo>
                      <a:pt x="148" y="144"/>
                    </a:lnTo>
                    <a:lnTo>
                      <a:pt x="148" y="146"/>
                    </a:lnTo>
                    <a:lnTo>
                      <a:pt x="148" y="144"/>
                    </a:lnTo>
                    <a:lnTo>
                      <a:pt x="146" y="146"/>
                    </a:lnTo>
                    <a:lnTo>
                      <a:pt x="146" y="144"/>
                    </a:lnTo>
                    <a:lnTo>
                      <a:pt x="148" y="144"/>
                    </a:lnTo>
                    <a:lnTo>
                      <a:pt x="148" y="142"/>
                    </a:lnTo>
                    <a:lnTo>
                      <a:pt x="148" y="144"/>
                    </a:lnTo>
                    <a:lnTo>
                      <a:pt x="148" y="142"/>
                    </a:lnTo>
                    <a:lnTo>
                      <a:pt x="146" y="142"/>
                    </a:lnTo>
                    <a:lnTo>
                      <a:pt x="144" y="140"/>
                    </a:lnTo>
                    <a:lnTo>
                      <a:pt x="144" y="138"/>
                    </a:lnTo>
                    <a:lnTo>
                      <a:pt x="142" y="138"/>
                    </a:lnTo>
                    <a:lnTo>
                      <a:pt x="144" y="138"/>
                    </a:lnTo>
                    <a:lnTo>
                      <a:pt x="142" y="138"/>
                    </a:lnTo>
                    <a:lnTo>
                      <a:pt x="142" y="136"/>
                    </a:lnTo>
                    <a:lnTo>
                      <a:pt x="140" y="136"/>
                    </a:lnTo>
                    <a:lnTo>
                      <a:pt x="140" y="134"/>
                    </a:lnTo>
                    <a:lnTo>
                      <a:pt x="140" y="132"/>
                    </a:lnTo>
                    <a:lnTo>
                      <a:pt x="140" y="130"/>
                    </a:lnTo>
                    <a:lnTo>
                      <a:pt x="140" y="128"/>
                    </a:lnTo>
                    <a:lnTo>
                      <a:pt x="138" y="128"/>
                    </a:lnTo>
                    <a:lnTo>
                      <a:pt x="138" y="130"/>
                    </a:lnTo>
                    <a:lnTo>
                      <a:pt x="138" y="128"/>
                    </a:lnTo>
                    <a:lnTo>
                      <a:pt x="136" y="128"/>
                    </a:lnTo>
                    <a:lnTo>
                      <a:pt x="136" y="130"/>
                    </a:lnTo>
                    <a:lnTo>
                      <a:pt x="134" y="128"/>
                    </a:lnTo>
                    <a:lnTo>
                      <a:pt x="136" y="128"/>
                    </a:lnTo>
                    <a:lnTo>
                      <a:pt x="136" y="127"/>
                    </a:lnTo>
                    <a:lnTo>
                      <a:pt x="134" y="127"/>
                    </a:lnTo>
                    <a:lnTo>
                      <a:pt x="134" y="128"/>
                    </a:lnTo>
                    <a:lnTo>
                      <a:pt x="132" y="128"/>
                    </a:lnTo>
                    <a:lnTo>
                      <a:pt x="132" y="130"/>
                    </a:lnTo>
                    <a:lnTo>
                      <a:pt x="132" y="132"/>
                    </a:lnTo>
                    <a:lnTo>
                      <a:pt x="134" y="130"/>
                    </a:lnTo>
                    <a:lnTo>
                      <a:pt x="134" y="132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30" y="134"/>
                    </a:lnTo>
                    <a:lnTo>
                      <a:pt x="130" y="136"/>
                    </a:lnTo>
                    <a:lnTo>
                      <a:pt x="130" y="138"/>
                    </a:lnTo>
                    <a:lnTo>
                      <a:pt x="129" y="138"/>
                    </a:lnTo>
                    <a:lnTo>
                      <a:pt x="129" y="140"/>
                    </a:lnTo>
                    <a:lnTo>
                      <a:pt x="127" y="140"/>
                    </a:lnTo>
                    <a:lnTo>
                      <a:pt x="127" y="138"/>
                    </a:lnTo>
                    <a:lnTo>
                      <a:pt x="125" y="138"/>
                    </a:lnTo>
                    <a:lnTo>
                      <a:pt x="123" y="138"/>
                    </a:lnTo>
                    <a:lnTo>
                      <a:pt x="123" y="140"/>
                    </a:lnTo>
                    <a:lnTo>
                      <a:pt x="121" y="140"/>
                    </a:lnTo>
                    <a:lnTo>
                      <a:pt x="121" y="142"/>
                    </a:lnTo>
                    <a:lnTo>
                      <a:pt x="119" y="142"/>
                    </a:lnTo>
                    <a:lnTo>
                      <a:pt x="119" y="144"/>
                    </a:lnTo>
                    <a:lnTo>
                      <a:pt x="117" y="142"/>
                    </a:lnTo>
                    <a:lnTo>
                      <a:pt x="117" y="144"/>
                    </a:lnTo>
                    <a:lnTo>
                      <a:pt x="119" y="146"/>
                    </a:lnTo>
                    <a:lnTo>
                      <a:pt x="117" y="146"/>
                    </a:lnTo>
                    <a:lnTo>
                      <a:pt x="115" y="146"/>
                    </a:lnTo>
                    <a:lnTo>
                      <a:pt x="115" y="148"/>
                    </a:lnTo>
                    <a:lnTo>
                      <a:pt x="115" y="146"/>
                    </a:lnTo>
                    <a:lnTo>
                      <a:pt x="113" y="146"/>
                    </a:lnTo>
                    <a:lnTo>
                      <a:pt x="113" y="148"/>
                    </a:lnTo>
                    <a:lnTo>
                      <a:pt x="111" y="148"/>
                    </a:lnTo>
                    <a:lnTo>
                      <a:pt x="109" y="148"/>
                    </a:lnTo>
                    <a:lnTo>
                      <a:pt x="109" y="150"/>
                    </a:lnTo>
                    <a:lnTo>
                      <a:pt x="107" y="148"/>
                    </a:lnTo>
                    <a:lnTo>
                      <a:pt x="107" y="150"/>
                    </a:lnTo>
                    <a:lnTo>
                      <a:pt x="105" y="150"/>
                    </a:lnTo>
                    <a:lnTo>
                      <a:pt x="107" y="148"/>
                    </a:lnTo>
                    <a:lnTo>
                      <a:pt x="105" y="148"/>
                    </a:lnTo>
                    <a:lnTo>
                      <a:pt x="105" y="146"/>
                    </a:lnTo>
                    <a:lnTo>
                      <a:pt x="107" y="146"/>
                    </a:lnTo>
                    <a:lnTo>
                      <a:pt x="105" y="146"/>
                    </a:lnTo>
                    <a:lnTo>
                      <a:pt x="104" y="146"/>
                    </a:lnTo>
                    <a:lnTo>
                      <a:pt x="104" y="144"/>
                    </a:lnTo>
                    <a:lnTo>
                      <a:pt x="102" y="144"/>
                    </a:lnTo>
                    <a:lnTo>
                      <a:pt x="100" y="144"/>
                    </a:lnTo>
                    <a:lnTo>
                      <a:pt x="100" y="142"/>
                    </a:lnTo>
                    <a:lnTo>
                      <a:pt x="98" y="142"/>
                    </a:lnTo>
                    <a:lnTo>
                      <a:pt x="98" y="140"/>
                    </a:lnTo>
                    <a:lnTo>
                      <a:pt x="96" y="142"/>
                    </a:lnTo>
                    <a:lnTo>
                      <a:pt x="94" y="142"/>
                    </a:lnTo>
                    <a:lnTo>
                      <a:pt x="94" y="144"/>
                    </a:lnTo>
                    <a:lnTo>
                      <a:pt x="92" y="144"/>
                    </a:lnTo>
                    <a:lnTo>
                      <a:pt x="92" y="142"/>
                    </a:lnTo>
                    <a:lnTo>
                      <a:pt x="92" y="140"/>
                    </a:lnTo>
                    <a:lnTo>
                      <a:pt x="90" y="140"/>
                    </a:lnTo>
                    <a:lnTo>
                      <a:pt x="90" y="138"/>
                    </a:lnTo>
                    <a:lnTo>
                      <a:pt x="90" y="136"/>
                    </a:lnTo>
                    <a:lnTo>
                      <a:pt x="90" y="134"/>
                    </a:lnTo>
                    <a:lnTo>
                      <a:pt x="88" y="134"/>
                    </a:lnTo>
                    <a:lnTo>
                      <a:pt x="90" y="134"/>
                    </a:lnTo>
                    <a:lnTo>
                      <a:pt x="90" y="132"/>
                    </a:lnTo>
                    <a:lnTo>
                      <a:pt x="90" y="130"/>
                    </a:lnTo>
                    <a:lnTo>
                      <a:pt x="88" y="132"/>
                    </a:lnTo>
                    <a:lnTo>
                      <a:pt x="88" y="130"/>
                    </a:lnTo>
                    <a:lnTo>
                      <a:pt x="88" y="132"/>
                    </a:lnTo>
                    <a:lnTo>
                      <a:pt x="86" y="132"/>
                    </a:lnTo>
                    <a:lnTo>
                      <a:pt x="86" y="130"/>
                    </a:lnTo>
                    <a:lnTo>
                      <a:pt x="86" y="128"/>
                    </a:lnTo>
                    <a:lnTo>
                      <a:pt x="86" y="127"/>
                    </a:lnTo>
                    <a:lnTo>
                      <a:pt x="86" y="125"/>
                    </a:lnTo>
                    <a:lnTo>
                      <a:pt x="84" y="125"/>
                    </a:lnTo>
                    <a:lnTo>
                      <a:pt x="82" y="125"/>
                    </a:lnTo>
                    <a:lnTo>
                      <a:pt x="81" y="125"/>
                    </a:lnTo>
                    <a:lnTo>
                      <a:pt x="81" y="123"/>
                    </a:lnTo>
                    <a:lnTo>
                      <a:pt x="79" y="123"/>
                    </a:lnTo>
                    <a:lnTo>
                      <a:pt x="79" y="121"/>
                    </a:lnTo>
                    <a:lnTo>
                      <a:pt x="77" y="121"/>
                    </a:lnTo>
                    <a:lnTo>
                      <a:pt x="77" y="119"/>
                    </a:lnTo>
                    <a:lnTo>
                      <a:pt x="75" y="123"/>
                    </a:lnTo>
                    <a:lnTo>
                      <a:pt x="75" y="121"/>
                    </a:lnTo>
                    <a:lnTo>
                      <a:pt x="73" y="121"/>
                    </a:lnTo>
                    <a:lnTo>
                      <a:pt x="73" y="123"/>
                    </a:lnTo>
                    <a:lnTo>
                      <a:pt x="71" y="123"/>
                    </a:lnTo>
                    <a:lnTo>
                      <a:pt x="73" y="123"/>
                    </a:lnTo>
                    <a:lnTo>
                      <a:pt x="73" y="125"/>
                    </a:lnTo>
                    <a:lnTo>
                      <a:pt x="71" y="125"/>
                    </a:lnTo>
                    <a:lnTo>
                      <a:pt x="69" y="125"/>
                    </a:lnTo>
                    <a:lnTo>
                      <a:pt x="71" y="125"/>
                    </a:lnTo>
                    <a:lnTo>
                      <a:pt x="69" y="123"/>
                    </a:lnTo>
                    <a:lnTo>
                      <a:pt x="67" y="123"/>
                    </a:lnTo>
                    <a:lnTo>
                      <a:pt x="67" y="121"/>
                    </a:lnTo>
                    <a:lnTo>
                      <a:pt x="67" y="123"/>
                    </a:lnTo>
                    <a:lnTo>
                      <a:pt x="67" y="125"/>
                    </a:lnTo>
                    <a:lnTo>
                      <a:pt x="65" y="125"/>
                    </a:lnTo>
                    <a:lnTo>
                      <a:pt x="65" y="127"/>
                    </a:lnTo>
                    <a:lnTo>
                      <a:pt x="63" y="127"/>
                    </a:lnTo>
                    <a:lnTo>
                      <a:pt x="61" y="127"/>
                    </a:lnTo>
                    <a:lnTo>
                      <a:pt x="59" y="127"/>
                    </a:lnTo>
                    <a:lnTo>
                      <a:pt x="59" y="128"/>
                    </a:lnTo>
                    <a:lnTo>
                      <a:pt x="59" y="127"/>
                    </a:lnTo>
                    <a:lnTo>
                      <a:pt x="57" y="128"/>
                    </a:lnTo>
                    <a:lnTo>
                      <a:pt x="56" y="128"/>
                    </a:lnTo>
                    <a:lnTo>
                      <a:pt x="54" y="128"/>
                    </a:lnTo>
                    <a:lnTo>
                      <a:pt x="52" y="128"/>
                    </a:lnTo>
                    <a:lnTo>
                      <a:pt x="50" y="128"/>
                    </a:lnTo>
                    <a:lnTo>
                      <a:pt x="50" y="127"/>
                    </a:lnTo>
                    <a:lnTo>
                      <a:pt x="50" y="128"/>
                    </a:lnTo>
                    <a:lnTo>
                      <a:pt x="48" y="128"/>
                    </a:lnTo>
                    <a:lnTo>
                      <a:pt x="46" y="128"/>
                    </a:lnTo>
                    <a:lnTo>
                      <a:pt x="48" y="128"/>
                    </a:lnTo>
                    <a:lnTo>
                      <a:pt x="48" y="127"/>
                    </a:lnTo>
                    <a:lnTo>
                      <a:pt x="46" y="127"/>
                    </a:lnTo>
                    <a:lnTo>
                      <a:pt x="44" y="127"/>
                    </a:lnTo>
                    <a:lnTo>
                      <a:pt x="42" y="128"/>
                    </a:lnTo>
                    <a:lnTo>
                      <a:pt x="40" y="128"/>
                    </a:lnTo>
                    <a:lnTo>
                      <a:pt x="40" y="127"/>
                    </a:lnTo>
                    <a:lnTo>
                      <a:pt x="40" y="125"/>
                    </a:lnTo>
                    <a:lnTo>
                      <a:pt x="40" y="127"/>
                    </a:lnTo>
                    <a:lnTo>
                      <a:pt x="38" y="127"/>
                    </a:lnTo>
                    <a:lnTo>
                      <a:pt x="38" y="125"/>
                    </a:lnTo>
                    <a:lnTo>
                      <a:pt x="38" y="123"/>
                    </a:lnTo>
                    <a:lnTo>
                      <a:pt x="38" y="125"/>
                    </a:lnTo>
                    <a:lnTo>
                      <a:pt x="36" y="125"/>
                    </a:lnTo>
                    <a:lnTo>
                      <a:pt x="36" y="123"/>
                    </a:lnTo>
                    <a:lnTo>
                      <a:pt x="36" y="125"/>
                    </a:lnTo>
                    <a:lnTo>
                      <a:pt x="36" y="123"/>
                    </a:lnTo>
                    <a:lnTo>
                      <a:pt x="34" y="123"/>
                    </a:lnTo>
                    <a:lnTo>
                      <a:pt x="34" y="121"/>
                    </a:lnTo>
                    <a:lnTo>
                      <a:pt x="32" y="121"/>
                    </a:lnTo>
                    <a:lnTo>
                      <a:pt x="32" y="119"/>
                    </a:lnTo>
                    <a:lnTo>
                      <a:pt x="31" y="117"/>
                    </a:lnTo>
                    <a:lnTo>
                      <a:pt x="31" y="115"/>
                    </a:lnTo>
                    <a:lnTo>
                      <a:pt x="31" y="117"/>
                    </a:lnTo>
                    <a:lnTo>
                      <a:pt x="29" y="117"/>
                    </a:lnTo>
                    <a:lnTo>
                      <a:pt x="29" y="115"/>
                    </a:lnTo>
                    <a:lnTo>
                      <a:pt x="27" y="115"/>
                    </a:lnTo>
                    <a:lnTo>
                      <a:pt x="27" y="117"/>
                    </a:lnTo>
                    <a:lnTo>
                      <a:pt x="25" y="117"/>
                    </a:lnTo>
                    <a:lnTo>
                      <a:pt x="25" y="115"/>
                    </a:lnTo>
                    <a:lnTo>
                      <a:pt x="27" y="115"/>
                    </a:lnTo>
                    <a:lnTo>
                      <a:pt x="29" y="113"/>
                    </a:lnTo>
                    <a:lnTo>
                      <a:pt x="29" y="111"/>
                    </a:lnTo>
                    <a:lnTo>
                      <a:pt x="27" y="111"/>
                    </a:lnTo>
                    <a:lnTo>
                      <a:pt x="25" y="113"/>
                    </a:lnTo>
                    <a:lnTo>
                      <a:pt x="25" y="111"/>
                    </a:lnTo>
                    <a:lnTo>
                      <a:pt x="25" y="109"/>
                    </a:lnTo>
                    <a:lnTo>
                      <a:pt x="25" y="111"/>
                    </a:lnTo>
                    <a:lnTo>
                      <a:pt x="23" y="111"/>
                    </a:lnTo>
                    <a:lnTo>
                      <a:pt x="25" y="111"/>
                    </a:lnTo>
                    <a:lnTo>
                      <a:pt x="25" y="109"/>
                    </a:lnTo>
                    <a:lnTo>
                      <a:pt x="23" y="109"/>
                    </a:lnTo>
                    <a:lnTo>
                      <a:pt x="23" y="107"/>
                    </a:lnTo>
                    <a:lnTo>
                      <a:pt x="21" y="109"/>
                    </a:lnTo>
                    <a:lnTo>
                      <a:pt x="19" y="109"/>
                    </a:lnTo>
                    <a:lnTo>
                      <a:pt x="19" y="107"/>
                    </a:lnTo>
                    <a:lnTo>
                      <a:pt x="17" y="107"/>
                    </a:lnTo>
                    <a:lnTo>
                      <a:pt x="17" y="105"/>
                    </a:lnTo>
                    <a:lnTo>
                      <a:pt x="17" y="107"/>
                    </a:lnTo>
                    <a:lnTo>
                      <a:pt x="15" y="107"/>
                    </a:lnTo>
                    <a:lnTo>
                      <a:pt x="15" y="105"/>
                    </a:lnTo>
                    <a:lnTo>
                      <a:pt x="15" y="107"/>
                    </a:lnTo>
                    <a:lnTo>
                      <a:pt x="13" y="105"/>
                    </a:lnTo>
                    <a:lnTo>
                      <a:pt x="13" y="107"/>
                    </a:lnTo>
                    <a:lnTo>
                      <a:pt x="13" y="105"/>
                    </a:lnTo>
                    <a:lnTo>
                      <a:pt x="13" y="103"/>
                    </a:lnTo>
                    <a:lnTo>
                      <a:pt x="15" y="105"/>
                    </a:lnTo>
                    <a:lnTo>
                      <a:pt x="17" y="103"/>
                    </a:lnTo>
                    <a:lnTo>
                      <a:pt x="15" y="103"/>
                    </a:lnTo>
                    <a:lnTo>
                      <a:pt x="15" y="102"/>
                    </a:lnTo>
                    <a:lnTo>
                      <a:pt x="17" y="102"/>
                    </a:lnTo>
                    <a:lnTo>
                      <a:pt x="15" y="100"/>
                    </a:lnTo>
                    <a:lnTo>
                      <a:pt x="15" y="98"/>
                    </a:lnTo>
                    <a:lnTo>
                      <a:pt x="13" y="98"/>
                    </a:lnTo>
                    <a:lnTo>
                      <a:pt x="13" y="96"/>
                    </a:lnTo>
                    <a:lnTo>
                      <a:pt x="11" y="96"/>
                    </a:lnTo>
                    <a:lnTo>
                      <a:pt x="9" y="96"/>
                    </a:lnTo>
                    <a:lnTo>
                      <a:pt x="9" y="98"/>
                    </a:lnTo>
                    <a:lnTo>
                      <a:pt x="8" y="100"/>
                    </a:lnTo>
                    <a:lnTo>
                      <a:pt x="8" y="98"/>
                    </a:lnTo>
                    <a:lnTo>
                      <a:pt x="6" y="98"/>
                    </a:lnTo>
                    <a:lnTo>
                      <a:pt x="8" y="96"/>
                    </a:lnTo>
                    <a:lnTo>
                      <a:pt x="6" y="96"/>
                    </a:lnTo>
                    <a:lnTo>
                      <a:pt x="6" y="94"/>
                    </a:lnTo>
                    <a:lnTo>
                      <a:pt x="4" y="94"/>
                    </a:lnTo>
                    <a:lnTo>
                      <a:pt x="4" y="92"/>
                    </a:lnTo>
                    <a:lnTo>
                      <a:pt x="2" y="92"/>
                    </a:lnTo>
                    <a:lnTo>
                      <a:pt x="0" y="92"/>
                    </a:lnTo>
                    <a:lnTo>
                      <a:pt x="0" y="90"/>
                    </a:lnTo>
                    <a:lnTo>
                      <a:pt x="2" y="90"/>
                    </a:lnTo>
                    <a:lnTo>
                      <a:pt x="2" y="88"/>
                    </a:lnTo>
                    <a:lnTo>
                      <a:pt x="2" y="86"/>
                    </a:lnTo>
                    <a:lnTo>
                      <a:pt x="2" y="84"/>
                    </a:lnTo>
                    <a:lnTo>
                      <a:pt x="4" y="84"/>
                    </a:lnTo>
                    <a:lnTo>
                      <a:pt x="4" y="82"/>
                    </a:lnTo>
                    <a:lnTo>
                      <a:pt x="6" y="82"/>
                    </a:lnTo>
                    <a:lnTo>
                      <a:pt x="6" y="80"/>
                    </a:lnTo>
                    <a:lnTo>
                      <a:pt x="6" y="78"/>
                    </a:lnTo>
                    <a:lnTo>
                      <a:pt x="6" y="77"/>
                    </a:lnTo>
                    <a:lnTo>
                      <a:pt x="8" y="77"/>
                    </a:lnTo>
                    <a:lnTo>
                      <a:pt x="9" y="77"/>
                    </a:lnTo>
                    <a:lnTo>
                      <a:pt x="9" y="75"/>
                    </a:lnTo>
                    <a:lnTo>
                      <a:pt x="11" y="75"/>
                    </a:lnTo>
                    <a:lnTo>
                      <a:pt x="13" y="75"/>
                    </a:lnTo>
                    <a:lnTo>
                      <a:pt x="15" y="75"/>
                    </a:lnTo>
                    <a:lnTo>
                      <a:pt x="15" y="73"/>
                    </a:lnTo>
                    <a:lnTo>
                      <a:pt x="15" y="71"/>
                    </a:lnTo>
                    <a:lnTo>
                      <a:pt x="15" y="69"/>
                    </a:lnTo>
                    <a:lnTo>
                      <a:pt x="17" y="69"/>
                    </a:lnTo>
                    <a:lnTo>
                      <a:pt x="19" y="69"/>
                    </a:lnTo>
                    <a:lnTo>
                      <a:pt x="21" y="67"/>
                    </a:lnTo>
                    <a:lnTo>
                      <a:pt x="19" y="65"/>
                    </a:lnTo>
                    <a:lnTo>
                      <a:pt x="21" y="63"/>
                    </a:lnTo>
                    <a:lnTo>
                      <a:pt x="23" y="63"/>
                    </a:lnTo>
                    <a:lnTo>
                      <a:pt x="25" y="61"/>
                    </a:lnTo>
                    <a:lnTo>
                      <a:pt x="25" y="59"/>
                    </a:lnTo>
                    <a:lnTo>
                      <a:pt x="23" y="59"/>
                    </a:lnTo>
                    <a:lnTo>
                      <a:pt x="23" y="57"/>
                    </a:lnTo>
                    <a:lnTo>
                      <a:pt x="21" y="57"/>
                    </a:lnTo>
                    <a:lnTo>
                      <a:pt x="23" y="57"/>
                    </a:lnTo>
                    <a:lnTo>
                      <a:pt x="21" y="57"/>
                    </a:lnTo>
                    <a:lnTo>
                      <a:pt x="21" y="55"/>
                    </a:lnTo>
                    <a:lnTo>
                      <a:pt x="19" y="55"/>
                    </a:lnTo>
                    <a:lnTo>
                      <a:pt x="19" y="53"/>
                    </a:lnTo>
                    <a:lnTo>
                      <a:pt x="19" y="52"/>
                    </a:lnTo>
                    <a:lnTo>
                      <a:pt x="21" y="52"/>
                    </a:lnTo>
                    <a:lnTo>
                      <a:pt x="21" y="50"/>
                    </a:lnTo>
                    <a:lnTo>
                      <a:pt x="23" y="50"/>
                    </a:lnTo>
                    <a:lnTo>
                      <a:pt x="23" y="48"/>
                    </a:lnTo>
                    <a:lnTo>
                      <a:pt x="21" y="46"/>
                    </a:lnTo>
                    <a:lnTo>
                      <a:pt x="21" y="44"/>
                    </a:lnTo>
                    <a:lnTo>
                      <a:pt x="19" y="42"/>
                    </a:lnTo>
                    <a:lnTo>
                      <a:pt x="19" y="40"/>
                    </a:lnTo>
                    <a:lnTo>
                      <a:pt x="21" y="40"/>
                    </a:lnTo>
                    <a:lnTo>
                      <a:pt x="21" y="38"/>
                    </a:lnTo>
                    <a:lnTo>
                      <a:pt x="21" y="40"/>
                    </a:lnTo>
                    <a:lnTo>
                      <a:pt x="21" y="38"/>
                    </a:lnTo>
                    <a:lnTo>
                      <a:pt x="23" y="38"/>
                    </a:lnTo>
                    <a:lnTo>
                      <a:pt x="23" y="36"/>
                    </a:lnTo>
                    <a:lnTo>
                      <a:pt x="25" y="36"/>
                    </a:lnTo>
                    <a:lnTo>
                      <a:pt x="27" y="34"/>
                    </a:lnTo>
                    <a:lnTo>
                      <a:pt x="29" y="34"/>
                    </a:lnTo>
                    <a:lnTo>
                      <a:pt x="27" y="34"/>
                    </a:lnTo>
                    <a:lnTo>
                      <a:pt x="27" y="32"/>
                    </a:lnTo>
                    <a:lnTo>
                      <a:pt x="25" y="30"/>
                    </a:lnTo>
                    <a:lnTo>
                      <a:pt x="23" y="30"/>
                    </a:lnTo>
                    <a:lnTo>
                      <a:pt x="23" y="28"/>
                    </a:lnTo>
                    <a:lnTo>
                      <a:pt x="23" y="27"/>
                    </a:lnTo>
                    <a:lnTo>
                      <a:pt x="23" y="25"/>
                    </a:lnTo>
                    <a:lnTo>
                      <a:pt x="25" y="25"/>
                    </a:lnTo>
                    <a:lnTo>
                      <a:pt x="25" y="23"/>
                    </a:lnTo>
                    <a:lnTo>
                      <a:pt x="23" y="23"/>
                    </a:lnTo>
                    <a:lnTo>
                      <a:pt x="25" y="23"/>
                    </a:lnTo>
                    <a:lnTo>
                      <a:pt x="25" y="25"/>
                    </a:lnTo>
                    <a:lnTo>
                      <a:pt x="25" y="23"/>
                    </a:lnTo>
                    <a:lnTo>
                      <a:pt x="27" y="23"/>
                    </a:lnTo>
                    <a:lnTo>
                      <a:pt x="25" y="23"/>
                    </a:lnTo>
                    <a:lnTo>
                      <a:pt x="25" y="21"/>
                    </a:lnTo>
                    <a:lnTo>
                      <a:pt x="27" y="21"/>
                    </a:lnTo>
                    <a:lnTo>
                      <a:pt x="27" y="19"/>
                    </a:lnTo>
                    <a:lnTo>
                      <a:pt x="29" y="21"/>
                    </a:lnTo>
                    <a:lnTo>
                      <a:pt x="31" y="21"/>
                    </a:lnTo>
                    <a:lnTo>
                      <a:pt x="31" y="19"/>
                    </a:lnTo>
                    <a:lnTo>
                      <a:pt x="32" y="19"/>
                    </a:lnTo>
                    <a:lnTo>
                      <a:pt x="31" y="19"/>
                    </a:lnTo>
                    <a:lnTo>
                      <a:pt x="31" y="17"/>
                    </a:lnTo>
                    <a:lnTo>
                      <a:pt x="32" y="17"/>
                    </a:lnTo>
                    <a:lnTo>
                      <a:pt x="32" y="19"/>
                    </a:lnTo>
                    <a:lnTo>
                      <a:pt x="34" y="19"/>
                    </a:lnTo>
                    <a:lnTo>
                      <a:pt x="34" y="17"/>
                    </a:lnTo>
                    <a:lnTo>
                      <a:pt x="36" y="17"/>
                    </a:lnTo>
                    <a:lnTo>
                      <a:pt x="36" y="15"/>
                    </a:lnTo>
                    <a:lnTo>
                      <a:pt x="38" y="15"/>
                    </a:lnTo>
                    <a:lnTo>
                      <a:pt x="38" y="13"/>
                    </a:lnTo>
                    <a:lnTo>
                      <a:pt x="38" y="15"/>
                    </a:lnTo>
                    <a:lnTo>
                      <a:pt x="40" y="15"/>
                    </a:lnTo>
                    <a:lnTo>
                      <a:pt x="40" y="13"/>
                    </a:lnTo>
                    <a:lnTo>
                      <a:pt x="40" y="15"/>
                    </a:lnTo>
                    <a:lnTo>
                      <a:pt x="40" y="17"/>
                    </a:lnTo>
                    <a:lnTo>
                      <a:pt x="40" y="19"/>
                    </a:lnTo>
                    <a:lnTo>
                      <a:pt x="42" y="19"/>
                    </a:lnTo>
                    <a:lnTo>
                      <a:pt x="44" y="21"/>
                    </a:lnTo>
                    <a:lnTo>
                      <a:pt x="46" y="21"/>
                    </a:lnTo>
                    <a:lnTo>
                      <a:pt x="46" y="23"/>
                    </a:lnTo>
                    <a:lnTo>
                      <a:pt x="48" y="25"/>
                    </a:lnTo>
                    <a:lnTo>
                      <a:pt x="50" y="25"/>
                    </a:lnTo>
                    <a:lnTo>
                      <a:pt x="52" y="25"/>
                    </a:lnTo>
                    <a:lnTo>
                      <a:pt x="52" y="27"/>
                    </a:lnTo>
                    <a:lnTo>
                      <a:pt x="54" y="25"/>
                    </a:lnTo>
                    <a:lnTo>
                      <a:pt x="54" y="27"/>
                    </a:lnTo>
                    <a:lnTo>
                      <a:pt x="54" y="25"/>
                    </a:lnTo>
                    <a:lnTo>
                      <a:pt x="56" y="25"/>
                    </a:lnTo>
                    <a:lnTo>
                      <a:pt x="57" y="25"/>
                    </a:lnTo>
                    <a:lnTo>
                      <a:pt x="57" y="27"/>
                    </a:lnTo>
                    <a:lnTo>
                      <a:pt x="59" y="27"/>
                    </a:lnTo>
                    <a:lnTo>
                      <a:pt x="57" y="27"/>
                    </a:lnTo>
                    <a:lnTo>
                      <a:pt x="57" y="25"/>
                    </a:lnTo>
                    <a:lnTo>
                      <a:pt x="59" y="23"/>
                    </a:lnTo>
                    <a:lnTo>
                      <a:pt x="61" y="23"/>
                    </a:lnTo>
                    <a:lnTo>
                      <a:pt x="63" y="23"/>
                    </a:lnTo>
                    <a:lnTo>
                      <a:pt x="63" y="21"/>
                    </a:lnTo>
                    <a:lnTo>
                      <a:pt x="65" y="21"/>
                    </a:lnTo>
                    <a:lnTo>
                      <a:pt x="65" y="23"/>
                    </a:lnTo>
                    <a:lnTo>
                      <a:pt x="67" y="23"/>
                    </a:lnTo>
                    <a:lnTo>
                      <a:pt x="69" y="23"/>
                    </a:lnTo>
                    <a:lnTo>
                      <a:pt x="69" y="25"/>
                    </a:lnTo>
                    <a:lnTo>
                      <a:pt x="69" y="23"/>
                    </a:lnTo>
                    <a:lnTo>
                      <a:pt x="69" y="25"/>
                    </a:lnTo>
                    <a:lnTo>
                      <a:pt x="67" y="25"/>
                    </a:lnTo>
                    <a:lnTo>
                      <a:pt x="67" y="27"/>
                    </a:lnTo>
                    <a:lnTo>
                      <a:pt x="67" y="25"/>
                    </a:lnTo>
                    <a:lnTo>
                      <a:pt x="71" y="25"/>
                    </a:lnTo>
                    <a:lnTo>
                      <a:pt x="71" y="27"/>
                    </a:lnTo>
                    <a:lnTo>
                      <a:pt x="71" y="25"/>
                    </a:lnTo>
                    <a:lnTo>
                      <a:pt x="73" y="25"/>
                    </a:lnTo>
                    <a:lnTo>
                      <a:pt x="75" y="25"/>
                    </a:lnTo>
                    <a:lnTo>
                      <a:pt x="77" y="25"/>
                    </a:lnTo>
                    <a:lnTo>
                      <a:pt x="79" y="25"/>
                    </a:lnTo>
                    <a:lnTo>
                      <a:pt x="79" y="27"/>
                    </a:lnTo>
                    <a:lnTo>
                      <a:pt x="79" y="25"/>
                    </a:lnTo>
                    <a:lnTo>
                      <a:pt x="81" y="27"/>
                    </a:lnTo>
                    <a:lnTo>
                      <a:pt x="81" y="25"/>
                    </a:lnTo>
                    <a:lnTo>
                      <a:pt x="82" y="25"/>
                    </a:lnTo>
                    <a:lnTo>
                      <a:pt x="81" y="25"/>
                    </a:lnTo>
                    <a:lnTo>
                      <a:pt x="82" y="25"/>
                    </a:lnTo>
                    <a:lnTo>
                      <a:pt x="82" y="23"/>
                    </a:lnTo>
                    <a:lnTo>
                      <a:pt x="84" y="23"/>
                    </a:lnTo>
                    <a:lnTo>
                      <a:pt x="84" y="25"/>
                    </a:lnTo>
                    <a:lnTo>
                      <a:pt x="82" y="25"/>
                    </a:lnTo>
                    <a:lnTo>
                      <a:pt x="84" y="25"/>
                    </a:lnTo>
                    <a:lnTo>
                      <a:pt x="84" y="27"/>
                    </a:lnTo>
                    <a:lnTo>
                      <a:pt x="86" y="27"/>
                    </a:lnTo>
                    <a:lnTo>
                      <a:pt x="86" y="25"/>
                    </a:lnTo>
                    <a:lnTo>
                      <a:pt x="86" y="27"/>
                    </a:lnTo>
                    <a:lnTo>
                      <a:pt x="88" y="25"/>
                    </a:lnTo>
                    <a:lnTo>
                      <a:pt x="90" y="25"/>
                    </a:lnTo>
                    <a:lnTo>
                      <a:pt x="90" y="27"/>
                    </a:lnTo>
                    <a:lnTo>
                      <a:pt x="90" y="25"/>
                    </a:lnTo>
                    <a:lnTo>
                      <a:pt x="92" y="25"/>
                    </a:lnTo>
                    <a:lnTo>
                      <a:pt x="94" y="25"/>
                    </a:lnTo>
                    <a:lnTo>
                      <a:pt x="94" y="27"/>
                    </a:lnTo>
                    <a:lnTo>
                      <a:pt x="94" y="25"/>
                    </a:lnTo>
                    <a:lnTo>
                      <a:pt x="96" y="27"/>
                    </a:lnTo>
                    <a:lnTo>
                      <a:pt x="96" y="25"/>
                    </a:lnTo>
                    <a:lnTo>
                      <a:pt x="98" y="25"/>
                    </a:lnTo>
                    <a:lnTo>
                      <a:pt x="100" y="25"/>
                    </a:lnTo>
                    <a:lnTo>
                      <a:pt x="100" y="23"/>
                    </a:lnTo>
                    <a:lnTo>
                      <a:pt x="102" y="23"/>
                    </a:lnTo>
                    <a:lnTo>
                      <a:pt x="104" y="23"/>
                    </a:lnTo>
                    <a:lnTo>
                      <a:pt x="105" y="21"/>
                    </a:lnTo>
                    <a:lnTo>
                      <a:pt x="105" y="23"/>
                    </a:lnTo>
                    <a:lnTo>
                      <a:pt x="107" y="23"/>
                    </a:lnTo>
                    <a:lnTo>
                      <a:pt x="105" y="23"/>
                    </a:lnTo>
                    <a:lnTo>
                      <a:pt x="107" y="25"/>
                    </a:lnTo>
                    <a:lnTo>
                      <a:pt x="109" y="25"/>
                    </a:lnTo>
                    <a:lnTo>
                      <a:pt x="109" y="27"/>
                    </a:lnTo>
                    <a:lnTo>
                      <a:pt x="109" y="28"/>
                    </a:lnTo>
                    <a:lnTo>
                      <a:pt x="111" y="28"/>
                    </a:lnTo>
                    <a:lnTo>
                      <a:pt x="111" y="27"/>
                    </a:lnTo>
                    <a:lnTo>
                      <a:pt x="113" y="27"/>
                    </a:lnTo>
                    <a:lnTo>
                      <a:pt x="113" y="28"/>
                    </a:lnTo>
                    <a:lnTo>
                      <a:pt x="115" y="28"/>
                    </a:lnTo>
                    <a:lnTo>
                      <a:pt x="115" y="30"/>
                    </a:lnTo>
                    <a:lnTo>
                      <a:pt x="113" y="30"/>
                    </a:lnTo>
                    <a:lnTo>
                      <a:pt x="113" y="32"/>
                    </a:lnTo>
                    <a:lnTo>
                      <a:pt x="115" y="32"/>
                    </a:lnTo>
                    <a:lnTo>
                      <a:pt x="115" y="34"/>
                    </a:lnTo>
                    <a:lnTo>
                      <a:pt x="115" y="32"/>
                    </a:lnTo>
                    <a:lnTo>
                      <a:pt x="117" y="32"/>
                    </a:lnTo>
                    <a:lnTo>
                      <a:pt x="117" y="30"/>
                    </a:lnTo>
                    <a:lnTo>
                      <a:pt x="117" y="28"/>
                    </a:lnTo>
                    <a:lnTo>
                      <a:pt x="119" y="27"/>
                    </a:lnTo>
                    <a:lnTo>
                      <a:pt x="121" y="27"/>
                    </a:lnTo>
                    <a:lnTo>
                      <a:pt x="123" y="27"/>
                    </a:lnTo>
                    <a:lnTo>
                      <a:pt x="123" y="25"/>
                    </a:lnTo>
                    <a:lnTo>
                      <a:pt x="125" y="25"/>
                    </a:lnTo>
                    <a:lnTo>
                      <a:pt x="125" y="23"/>
                    </a:lnTo>
                    <a:lnTo>
                      <a:pt x="127" y="21"/>
                    </a:lnTo>
                    <a:lnTo>
                      <a:pt x="127" y="23"/>
                    </a:lnTo>
                    <a:lnTo>
                      <a:pt x="127" y="21"/>
                    </a:lnTo>
                    <a:lnTo>
                      <a:pt x="130" y="21"/>
                    </a:lnTo>
                    <a:lnTo>
                      <a:pt x="130" y="23"/>
                    </a:lnTo>
                    <a:lnTo>
                      <a:pt x="132" y="23"/>
                    </a:lnTo>
                    <a:lnTo>
                      <a:pt x="132" y="21"/>
                    </a:lnTo>
                    <a:lnTo>
                      <a:pt x="134" y="21"/>
                    </a:lnTo>
                    <a:lnTo>
                      <a:pt x="134" y="23"/>
                    </a:lnTo>
                    <a:lnTo>
                      <a:pt x="136" y="23"/>
                    </a:lnTo>
                    <a:lnTo>
                      <a:pt x="136" y="21"/>
                    </a:lnTo>
                    <a:lnTo>
                      <a:pt x="136" y="19"/>
                    </a:lnTo>
                    <a:lnTo>
                      <a:pt x="138" y="17"/>
                    </a:lnTo>
                    <a:lnTo>
                      <a:pt x="138" y="19"/>
                    </a:lnTo>
                    <a:lnTo>
                      <a:pt x="138" y="17"/>
                    </a:lnTo>
                    <a:lnTo>
                      <a:pt x="140" y="15"/>
                    </a:lnTo>
                    <a:lnTo>
                      <a:pt x="142" y="15"/>
                    </a:lnTo>
                    <a:lnTo>
                      <a:pt x="144" y="15"/>
                    </a:lnTo>
                    <a:lnTo>
                      <a:pt x="146" y="15"/>
                    </a:lnTo>
                    <a:lnTo>
                      <a:pt x="148" y="11"/>
                    </a:lnTo>
                    <a:lnTo>
                      <a:pt x="148" y="9"/>
                    </a:lnTo>
                    <a:lnTo>
                      <a:pt x="150" y="9"/>
                    </a:lnTo>
                    <a:lnTo>
                      <a:pt x="150" y="7"/>
                    </a:lnTo>
                    <a:lnTo>
                      <a:pt x="148" y="7"/>
                    </a:lnTo>
                    <a:lnTo>
                      <a:pt x="150" y="5"/>
                    </a:lnTo>
                    <a:lnTo>
                      <a:pt x="148" y="5"/>
                    </a:lnTo>
                    <a:lnTo>
                      <a:pt x="148" y="4"/>
                    </a:lnTo>
                    <a:lnTo>
                      <a:pt x="152" y="2"/>
                    </a:lnTo>
                    <a:lnTo>
                      <a:pt x="154" y="2"/>
                    </a:lnTo>
                    <a:lnTo>
                      <a:pt x="155" y="2"/>
                    </a:lnTo>
                    <a:lnTo>
                      <a:pt x="157" y="0"/>
                    </a:lnTo>
                    <a:lnTo>
                      <a:pt x="157" y="2"/>
                    </a:lnTo>
                    <a:lnTo>
                      <a:pt x="159" y="4"/>
                    </a:lnTo>
                    <a:lnTo>
                      <a:pt x="157" y="4"/>
                    </a:lnTo>
                    <a:lnTo>
                      <a:pt x="159" y="4"/>
                    </a:lnTo>
                    <a:lnTo>
                      <a:pt x="161" y="4"/>
                    </a:lnTo>
                    <a:lnTo>
                      <a:pt x="161" y="5"/>
                    </a:lnTo>
                    <a:lnTo>
                      <a:pt x="163" y="5"/>
                    </a:lnTo>
                    <a:lnTo>
                      <a:pt x="165" y="4"/>
                    </a:lnTo>
                    <a:lnTo>
                      <a:pt x="165" y="5"/>
                    </a:lnTo>
                    <a:lnTo>
                      <a:pt x="167" y="5"/>
                    </a:lnTo>
                    <a:lnTo>
                      <a:pt x="169" y="5"/>
                    </a:lnTo>
                    <a:lnTo>
                      <a:pt x="169" y="7"/>
                    </a:lnTo>
                    <a:lnTo>
                      <a:pt x="171" y="7"/>
                    </a:lnTo>
                    <a:lnTo>
                      <a:pt x="171" y="9"/>
                    </a:lnTo>
                    <a:lnTo>
                      <a:pt x="173" y="9"/>
                    </a:lnTo>
                    <a:lnTo>
                      <a:pt x="171" y="11"/>
                    </a:lnTo>
                    <a:lnTo>
                      <a:pt x="173" y="13"/>
                    </a:lnTo>
                    <a:lnTo>
                      <a:pt x="173" y="11"/>
                    </a:lnTo>
                    <a:lnTo>
                      <a:pt x="175" y="13"/>
                    </a:lnTo>
                    <a:lnTo>
                      <a:pt x="173" y="13"/>
                    </a:lnTo>
                    <a:lnTo>
                      <a:pt x="175" y="13"/>
                    </a:lnTo>
                    <a:lnTo>
                      <a:pt x="175" y="15"/>
                    </a:lnTo>
                    <a:lnTo>
                      <a:pt x="177" y="15"/>
                    </a:lnTo>
                    <a:lnTo>
                      <a:pt x="177" y="17"/>
                    </a:lnTo>
                    <a:lnTo>
                      <a:pt x="175" y="17"/>
                    </a:lnTo>
                    <a:lnTo>
                      <a:pt x="175" y="19"/>
                    </a:lnTo>
                    <a:lnTo>
                      <a:pt x="177" y="19"/>
                    </a:lnTo>
                    <a:lnTo>
                      <a:pt x="177" y="23"/>
                    </a:lnTo>
                    <a:lnTo>
                      <a:pt x="178" y="23"/>
                    </a:lnTo>
                    <a:lnTo>
                      <a:pt x="180" y="23"/>
                    </a:lnTo>
                    <a:lnTo>
                      <a:pt x="182" y="21"/>
                    </a:lnTo>
                    <a:lnTo>
                      <a:pt x="182" y="19"/>
                    </a:lnTo>
                    <a:lnTo>
                      <a:pt x="182" y="17"/>
                    </a:lnTo>
                    <a:lnTo>
                      <a:pt x="184" y="17"/>
                    </a:lnTo>
                    <a:lnTo>
                      <a:pt x="182" y="17"/>
                    </a:lnTo>
                    <a:lnTo>
                      <a:pt x="186" y="17"/>
                    </a:lnTo>
                    <a:lnTo>
                      <a:pt x="188" y="15"/>
                    </a:lnTo>
                    <a:lnTo>
                      <a:pt x="188" y="17"/>
                    </a:lnTo>
                    <a:lnTo>
                      <a:pt x="190" y="19"/>
                    </a:lnTo>
                    <a:lnTo>
                      <a:pt x="190" y="21"/>
                    </a:lnTo>
                    <a:lnTo>
                      <a:pt x="192" y="21"/>
                    </a:lnTo>
                    <a:lnTo>
                      <a:pt x="192" y="23"/>
                    </a:lnTo>
                    <a:lnTo>
                      <a:pt x="194" y="23"/>
                    </a:lnTo>
                    <a:lnTo>
                      <a:pt x="196" y="23"/>
                    </a:lnTo>
                    <a:lnTo>
                      <a:pt x="198" y="23"/>
                    </a:lnTo>
                    <a:lnTo>
                      <a:pt x="200" y="23"/>
                    </a:lnTo>
                    <a:lnTo>
                      <a:pt x="202" y="23"/>
                    </a:lnTo>
                    <a:lnTo>
                      <a:pt x="202" y="21"/>
                    </a:lnTo>
                    <a:lnTo>
                      <a:pt x="203" y="19"/>
                    </a:lnTo>
                    <a:lnTo>
                      <a:pt x="205" y="17"/>
                    </a:lnTo>
                    <a:lnTo>
                      <a:pt x="203" y="17"/>
                    </a:lnTo>
                    <a:lnTo>
                      <a:pt x="205" y="17"/>
                    </a:lnTo>
                    <a:lnTo>
                      <a:pt x="207" y="15"/>
                    </a:lnTo>
                    <a:lnTo>
                      <a:pt x="207" y="17"/>
                    </a:lnTo>
                    <a:lnTo>
                      <a:pt x="209" y="17"/>
                    </a:lnTo>
                    <a:lnTo>
                      <a:pt x="211" y="19"/>
                    </a:lnTo>
                    <a:lnTo>
                      <a:pt x="211" y="17"/>
                    </a:lnTo>
                    <a:lnTo>
                      <a:pt x="211" y="19"/>
                    </a:lnTo>
                    <a:lnTo>
                      <a:pt x="213" y="19"/>
                    </a:lnTo>
                    <a:lnTo>
                      <a:pt x="213" y="17"/>
                    </a:lnTo>
                    <a:lnTo>
                      <a:pt x="213" y="19"/>
                    </a:lnTo>
                    <a:lnTo>
                      <a:pt x="215" y="19"/>
                    </a:lnTo>
                    <a:lnTo>
                      <a:pt x="215" y="17"/>
                    </a:lnTo>
                    <a:lnTo>
                      <a:pt x="215" y="19"/>
                    </a:lnTo>
                    <a:lnTo>
                      <a:pt x="217" y="19"/>
                    </a:lnTo>
                    <a:lnTo>
                      <a:pt x="217" y="21"/>
                    </a:lnTo>
                    <a:lnTo>
                      <a:pt x="219" y="23"/>
                    </a:lnTo>
                    <a:lnTo>
                      <a:pt x="221" y="23"/>
                    </a:lnTo>
                    <a:lnTo>
                      <a:pt x="219" y="23"/>
                    </a:lnTo>
                    <a:lnTo>
                      <a:pt x="221" y="25"/>
                    </a:lnTo>
                    <a:lnTo>
                      <a:pt x="223" y="25"/>
                    </a:lnTo>
                    <a:lnTo>
                      <a:pt x="223" y="27"/>
                    </a:lnTo>
                    <a:lnTo>
                      <a:pt x="225" y="27"/>
                    </a:lnTo>
                    <a:lnTo>
                      <a:pt x="225" y="25"/>
                    </a:lnTo>
                    <a:lnTo>
                      <a:pt x="227" y="25"/>
                    </a:lnTo>
                    <a:lnTo>
                      <a:pt x="228" y="25"/>
                    </a:lnTo>
                    <a:lnTo>
                      <a:pt x="230" y="25"/>
                    </a:lnTo>
                    <a:lnTo>
                      <a:pt x="232" y="25"/>
                    </a:lnTo>
                    <a:lnTo>
                      <a:pt x="232" y="27"/>
                    </a:lnTo>
                    <a:lnTo>
                      <a:pt x="234" y="27"/>
                    </a:lnTo>
                    <a:lnTo>
                      <a:pt x="236" y="27"/>
                    </a:lnTo>
                    <a:lnTo>
                      <a:pt x="236" y="28"/>
                    </a:lnTo>
                    <a:lnTo>
                      <a:pt x="236" y="30"/>
                    </a:lnTo>
                    <a:lnTo>
                      <a:pt x="238" y="30"/>
                    </a:lnTo>
                    <a:lnTo>
                      <a:pt x="238" y="28"/>
                    </a:lnTo>
                    <a:lnTo>
                      <a:pt x="240" y="30"/>
                    </a:lnTo>
                    <a:lnTo>
                      <a:pt x="242" y="30"/>
                    </a:lnTo>
                    <a:lnTo>
                      <a:pt x="240" y="30"/>
                    </a:lnTo>
                    <a:lnTo>
                      <a:pt x="242" y="30"/>
                    </a:lnTo>
                    <a:lnTo>
                      <a:pt x="244" y="30"/>
                    </a:lnTo>
                    <a:lnTo>
                      <a:pt x="244" y="28"/>
                    </a:lnTo>
                    <a:lnTo>
                      <a:pt x="244" y="27"/>
                    </a:lnTo>
                    <a:lnTo>
                      <a:pt x="246" y="27"/>
                    </a:lnTo>
                    <a:lnTo>
                      <a:pt x="248" y="28"/>
                    </a:lnTo>
                    <a:lnTo>
                      <a:pt x="248" y="27"/>
                    </a:lnTo>
                    <a:lnTo>
                      <a:pt x="248" y="28"/>
                    </a:lnTo>
                    <a:lnTo>
                      <a:pt x="250" y="28"/>
                    </a:lnTo>
                    <a:lnTo>
                      <a:pt x="248" y="27"/>
                    </a:lnTo>
                    <a:lnTo>
                      <a:pt x="250" y="27"/>
                    </a:lnTo>
                    <a:lnTo>
                      <a:pt x="250" y="25"/>
                    </a:lnTo>
                    <a:lnTo>
                      <a:pt x="251" y="25"/>
                    </a:lnTo>
                    <a:lnTo>
                      <a:pt x="253" y="23"/>
                    </a:lnTo>
                    <a:lnTo>
                      <a:pt x="253" y="25"/>
                    </a:lnTo>
                    <a:lnTo>
                      <a:pt x="253" y="23"/>
                    </a:lnTo>
                    <a:lnTo>
                      <a:pt x="255" y="25"/>
                    </a:lnTo>
                    <a:lnTo>
                      <a:pt x="257" y="25"/>
                    </a:lnTo>
                    <a:lnTo>
                      <a:pt x="259" y="25"/>
                    </a:lnTo>
                    <a:lnTo>
                      <a:pt x="259" y="23"/>
                    </a:lnTo>
                    <a:lnTo>
                      <a:pt x="257" y="21"/>
                    </a:lnTo>
                    <a:lnTo>
                      <a:pt x="259" y="21"/>
                    </a:lnTo>
                    <a:lnTo>
                      <a:pt x="259" y="19"/>
                    </a:lnTo>
                    <a:lnTo>
                      <a:pt x="261" y="21"/>
                    </a:lnTo>
                    <a:lnTo>
                      <a:pt x="263" y="19"/>
                    </a:lnTo>
                    <a:lnTo>
                      <a:pt x="265" y="21"/>
                    </a:lnTo>
                    <a:lnTo>
                      <a:pt x="263" y="21"/>
                    </a:lnTo>
                    <a:lnTo>
                      <a:pt x="265" y="21"/>
                    </a:lnTo>
                    <a:lnTo>
                      <a:pt x="267" y="23"/>
                    </a:lnTo>
                    <a:lnTo>
                      <a:pt x="269" y="23"/>
                    </a:lnTo>
                    <a:lnTo>
                      <a:pt x="269" y="21"/>
                    </a:lnTo>
                    <a:lnTo>
                      <a:pt x="269" y="23"/>
                    </a:lnTo>
                    <a:lnTo>
                      <a:pt x="271" y="23"/>
                    </a:lnTo>
                    <a:lnTo>
                      <a:pt x="269" y="23"/>
                    </a:lnTo>
                    <a:lnTo>
                      <a:pt x="269" y="25"/>
                    </a:lnTo>
                    <a:lnTo>
                      <a:pt x="271" y="25"/>
                    </a:lnTo>
                    <a:lnTo>
                      <a:pt x="271" y="27"/>
                    </a:lnTo>
                    <a:lnTo>
                      <a:pt x="269" y="28"/>
                    </a:lnTo>
                    <a:lnTo>
                      <a:pt x="269" y="32"/>
                    </a:lnTo>
                    <a:lnTo>
                      <a:pt x="269" y="34"/>
                    </a:lnTo>
                    <a:lnTo>
                      <a:pt x="267" y="36"/>
                    </a:lnTo>
                    <a:lnTo>
                      <a:pt x="267" y="38"/>
                    </a:lnTo>
                    <a:lnTo>
                      <a:pt x="269" y="38"/>
                    </a:lnTo>
                    <a:lnTo>
                      <a:pt x="269" y="40"/>
                    </a:lnTo>
                    <a:lnTo>
                      <a:pt x="267" y="42"/>
                    </a:lnTo>
                    <a:lnTo>
                      <a:pt x="267" y="44"/>
                    </a:lnTo>
                    <a:lnTo>
                      <a:pt x="269" y="46"/>
                    </a:lnTo>
                    <a:lnTo>
                      <a:pt x="269" y="48"/>
                    </a:lnTo>
                    <a:lnTo>
                      <a:pt x="269" y="50"/>
                    </a:lnTo>
                    <a:lnTo>
                      <a:pt x="269" y="53"/>
                    </a:lnTo>
                    <a:lnTo>
                      <a:pt x="271" y="5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Freeform 135">
                <a:extLst>
                  <a:ext uri="{FF2B5EF4-FFF2-40B4-BE49-F238E27FC236}">
                    <a16:creationId xmlns="" xmlns:a16="http://schemas.microsoft.com/office/drawing/2014/main" id="{F4D3332D-32B2-4114-B223-319DD2CA8D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30575" y="3719513"/>
                <a:ext cx="555625" cy="515938"/>
              </a:xfrm>
              <a:custGeom>
                <a:avLst/>
                <a:gdLst>
                  <a:gd name="T0" fmla="*/ 334 w 350"/>
                  <a:gd name="T1" fmla="*/ 143 h 325"/>
                  <a:gd name="T2" fmla="*/ 323 w 350"/>
                  <a:gd name="T3" fmla="*/ 150 h 325"/>
                  <a:gd name="T4" fmla="*/ 273 w 350"/>
                  <a:gd name="T5" fmla="*/ 154 h 325"/>
                  <a:gd name="T6" fmla="*/ 246 w 350"/>
                  <a:gd name="T7" fmla="*/ 148 h 325"/>
                  <a:gd name="T8" fmla="*/ 223 w 350"/>
                  <a:gd name="T9" fmla="*/ 141 h 325"/>
                  <a:gd name="T10" fmla="*/ 227 w 350"/>
                  <a:gd name="T11" fmla="*/ 121 h 325"/>
                  <a:gd name="T12" fmla="*/ 223 w 350"/>
                  <a:gd name="T13" fmla="*/ 112 h 325"/>
                  <a:gd name="T14" fmla="*/ 213 w 350"/>
                  <a:gd name="T15" fmla="*/ 110 h 325"/>
                  <a:gd name="T16" fmla="*/ 192 w 350"/>
                  <a:gd name="T17" fmla="*/ 146 h 325"/>
                  <a:gd name="T18" fmla="*/ 194 w 350"/>
                  <a:gd name="T19" fmla="*/ 171 h 325"/>
                  <a:gd name="T20" fmla="*/ 183 w 350"/>
                  <a:gd name="T21" fmla="*/ 183 h 325"/>
                  <a:gd name="T22" fmla="*/ 190 w 350"/>
                  <a:gd name="T23" fmla="*/ 191 h 325"/>
                  <a:gd name="T24" fmla="*/ 196 w 350"/>
                  <a:gd name="T25" fmla="*/ 183 h 325"/>
                  <a:gd name="T26" fmla="*/ 204 w 350"/>
                  <a:gd name="T27" fmla="*/ 187 h 325"/>
                  <a:gd name="T28" fmla="*/ 206 w 350"/>
                  <a:gd name="T29" fmla="*/ 200 h 325"/>
                  <a:gd name="T30" fmla="*/ 211 w 350"/>
                  <a:gd name="T31" fmla="*/ 229 h 325"/>
                  <a:gd name="T32" fmla="*/ 196 w 350"/>
                  <a:gd name="T33" fmla="*/ 233 h 325"/>
                  <a:gd name="T34" fmla="*/ 186 w 350"/>
                  <a:gd name="T35" fmla="*/ 244 h 325"/>
                  <a:gd name="T36" fmla="*/ 183 w 350"/>
                  <a:gd name="T37" fmla="*/ 248 h 325"/>
                  <a:gd name="T38" fmla="*/ 175 w 350"/>
                  <a:gd name="T39" fmla="*/ 260 h 325"/>
                  <a:gd name="T40" fmla="*/ 177 w 350"/>
                  <a:gd name="T41" fmla="*/ 269 h 325"/>
                  <a:gd name="T42" fmla="*/ 161 w 350"/>
                  <a:gd name="T43" fmla="*/ 281 h 325"/>
                  <a:gd name="T44" fmla="*/ 163 w 350"/>
                  <a:gd name="T45" fmla="*/ 285 h 325"/>
                  <a:gd name="T46" fmla="*/ 161 w 350"/>
                  <a:gd name="T47" fmla="*/ 296 h 325"/>
                  <a:gd name="T48" fmla="*/ 158 w 350"/>
                  <a:gd name="T49" fmla="*/ 304 h 325"/>
                  <a:gd name="T50" fmla="*/ 148 w 350"/>
                  <a:gd name="T51" fmla="*/ 321 h 325"/>
                  <a:gd name="T52" fmla="*/ 129 w 350"/>
                  <a:gd name="T53" fmla="*/ 310 h 325"/>
                  <a:gd name="T54" fmla="*/ 119 w 350"/>
                  <a:gd name="T55" fmla="*/ 302 h 325"/>
                  <a:gd name="T56" fmla="*/ 108 w 350"/>
                  <a:gd name="T57" fmla="*/ 296 h 325"/>
                  <a:gd name="T58" fmla="*/ 102 w 350"/>
                  <a:gd name="T59" fmla="*/ 302 h 325"/>
                  <a:gd name="T60" fmla="*/ 88 w 350"/>
                  <a:gd name="T61" fmla="*/ 289 h 325"/>
                  <a:gd name="T62" fmla="*/ 85 w 350"/>
                  <a:gd name="T63" fmla="*/ 269 h 325"/>
                  <a:gd name="T64" fmla="*/ 75 w 350"/>
                  <a:gd name="T65" fmla="*/ 266 h 325"/>
                  <a:gd name="T66" fmla="*/ 60 w 350"/>
                  <a:gd name="T67" fmla="*/ 252 h 325"/>
                  <a:gd name="T68" fmla="*/ 50 w 350"/>
                  <a:gd name="T69" fmla="*/ 241 h 325"/>
                  <a:gd name="T70" fmla="*/ 35 w 350"/>
                  <a:gd name="T71" fmla="*/ 237 h 325"/>
                  <a:gd name="T72" fmla="*/ 21 w 350"/>
                  <a:gd name="T73" fmla="*/ 229 h 325"/>
                  <a:gd name="T74" fmla="*/ 8 w 350"/>
                  <a:gd name="T75" fmla="*/ 206 h 325"/>
                  <a:gd name="T76" fmla="*/ 2 w 350"/>
                  <a:gd name="T77" fmla="*/ 198 h 325"/>
                  <a:gd name="T78" fmla="*/ 0 w 350"/>
                  <a:gd name="T79" fmla="*/ 185 h 325"/>
                  <a:gd name="T80" fmla="*/ 4 w 350"/>
                  <a:gd name="T81" fmla="*/ 171 h 325"/>
                  <a:gd name="T82" fmla="*/ 12 w 350"/>
                  <a:gd name="T83" fmla="*/ 160 h 325"/>
                  <a:gd name="T84" fmla="*/ 13 w 350"/>
                  <a:gd name="T85" fmla="*/ 137 h 325"/>
                  <a:gd name="T86" fmla="*/ 19 w 350"/>
                  <a:gd name="T87" fmla="*/ 119 h 325"/>
                  <a:gd name="T88" fmla="*/ 36 w 350"/>
                  <a:gd name="T89" fmla="*/ 108 h 325"/>
                  <a:gd name="T90" fmla="*/ 46 w 350"/>
                  <a:gd name="T91" fmla="*/ 110 h 325"/>
                  <a:gd name="T92" fmla="*/ 54 w 350"/>
                  <a:gd name="T93" fmla="*/ 104 h 325"/>
                  <a:gd name="T94" fmla="*/ 65 w 350"/>
                  <a:gd name="T95" fmla="*/ 87 h 325"/>
                  <a:gd name="T96" fmla="*/ 75 w 350"/>
                  <a:gd name="T97" fmla="*/ 64 h 325"/>
                  <a:gd name="T98" fmla="*/ 108 w 350"/>
                  <a:gd name="T99" fmla="*/ 46 h 325"/>
                  <a:gd name="T100" fmla="*/ 156 w 350"/>
                  <a:gd name="T101" fmla="*/ 39 h 325"/>
                  <a:gd name="T102" fmla="*/ 192 w 350"/>
                  <a:gd name="T103" fmla="*/ 12 h 325"/>
                  <a:gd name="T104" fmla="*/ 204 w 350"/>
                  <a:gd name="T105" fmla="*/ 4 h 325"/>
                  <a:gd name="T106" fmla="*/ 221 w 350"/>
                  <a:gd name="T107" fmla="*/ 12 h 325"/>
                  <a:gd name="T108" fmla="*/ 242 w 350"/>
                  <a:gd name="T109" fmla="*/ 25 h 325"/>
                  <a:gd name="T110" fmla="*/ 263 w 350"/>
                  <a:gd name="T111" fmla="*/ 44 h 325"/>
                  <a:gd name="T112" fmla="*/ 275 w 350"/>
                  <a:gd name="T113" fmla="*/ 68 h 325"/>
                  <a:gd name="T114" fmla="*/ 290 w 350"/>
                  <a:gd name="T115" fmla="*/ 83 h 325"/>
                  <a:gd name="T116" fmla="*/ 311 w 350"/>
                  <a:gd name="T117" fmla="*/ 108 h 325"/>
                  <a:gd name="T118" fmla="*/ 344 w 350"/>
                  <a:gd name="T119" fmla="*/ 125 h 3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50" h="325">
                    <a:moveTo>
                      <a:pt x="348" y="127"/>
                    </a:moveTo>
                    <a:lnTo>
                      <a:pt x="350" y="131"/>
                    </a:lnTo>
                    <a:lnTo>
                      <a:pt x="346" y="133"/>
                    </a:lnTo>
                    <a:lnTo>
                      <a:pt x="344" y="135"/>
                    </a:lnTo>
                    <a:lnTo>
                      <a:pt x="340" y="137"/>
                    </a:lnTo>
                    <a:lnTo>
                      <a:pt x="340" y="139"/>
                    </a:lnTo>
                    <a:lnTo>
                      <a:pt x="338" y="141"/>
                    </a:lnTo>
                    <a:lnTo>
                      <a:pt x="338" y="143"/>
                    </a:lnTo>
                    <a:lnTo>
                      <a:pt x="336" y="143"/>
                    </a:lnTo>
                    <a:lnTo>
                      <a:pt x="334" y="143"/>
                    </a:lnTo>
                    <a:lnTo>
                      <a:pt x="330" y="144"/>
                    </a:lnTo>
                    <a:lnTo>
                      <a:pt x="330" y="146"/>
                    </a:lnTo>
                    <a:lnTo>
                      <a:pt x="329" y="146"/>
                    </a:lnTo>
                    <a:lnTo>
                      <a:pt x="329" y="148"/>
                    </a:lnTo>
                    <a:lnTo>
                      <a:pt x="327" y="148"/>
                    </a:lnTo>
                    <a:lnTo>
                      <a:pt x="329" y="148"/>
                    </a:lnTo>
                    <a:lnTo>
                      <a:pt x="329" y="150"/>
                    </a:lnTo>
                    <a:lnTo>
                      <a:pt x="327" y="150"/>
                    </a:lnTo>
                    <a:lnTo>
                      <a:pt x="325" y="150"/>
                    </a:lnTo>
                    <a:lnTo>
                      <a:pt x="323" y="150"/>
                    </a:lnTo>
                    <a:lnTo>
                      <a:pt x="321" y="152"/>
                    </a:lnTo>
                    <a:lnTo>
                      <a:pt x="319" y="152"/>
                    </a:lnTo>
                    <a:lnTo>
                      <a:pt x="317" y="154"/>
                    </a:lnTo>
                    <a:lnTo>
                      <a:pt x="313" y="156"/>
                    </a:lnTo>
                    <a:lnTo>
                      <a:pt x="290" y="152"/>
                    </a:lnTo>
                    <a:lnTo>
                      <a:pt x="282" y="148"/>
                    </a:lnTo>
                    <a:lnTo>
                      <a:pt x="280" y="148"/>
                    </a:lnTo>
                    <a:lnTo>
                      <a:pt x="275" y="152"/>
                    </a:lnTo>
                    <a:lnTo>
                      <a:pt x="273" y="152"/>
                    </a:lnTo>
                    <a:lnTo>
                      <a:pt x="273" y="154"/>
                    </a:lnTo>
                    <a:lnTo>
                      <a:pt x="271" y="154"/>
                    </a:lnTo>
                    <a:lnTo>
                      <a:pt x="271" y="156"/>
                    </a:lnTo>
                    <a:lnTo>
                      <a:pt x="269" y="156"/>
                    </a:lnTo>
                    <a:lnTo>
                      <a:pt x="267" y="156"/>
                    </a:lnTo>
                    <a:lnTo>
                      <a:pt x="259" y="154"/>
                    </a:lnTo>
                    <a:lnTo>
                      <a:pt x="257" y="154"/>
                    </a:lnTo>
                    <a:lnTo>
                      <a:pt x="252" y="152"/>
                    </a:lnTo>
                    <a:lnTo>
                      <a:pt x="248" y="150"/>
                    </a:lnTo>
                    <a:lnTo>
                      <a:pt x="248" y="148"/>
                    </a:lnTo>
                    <a:lnTo>
                      <a:pt x="246" y="148"/>
                    </a:lnTo>
                    <a:lnTo>
                      <a:pt x="246" y="146"/>
                    </a:lnTo>
                    <a:lnTo>
                      <a:pt x="246" y="144"/>
                    </a:lnTo>
                    <a:lnTo>
                      <a:pt x="244" y="143"/>
                    </a:lnTo>
                    <a:lnTo>
                      <a:pt x="240" y="143"/>
                    </a:lnTo>
                    <a:lnTo>
                      <a:pt x="231" y="143"/>
                    </a:lnTo>
                    <a:lnTo>
                      <a:pt x="229" y="143"/>
                    </a:lnTo>
                    <a:lnTo>
                      <a:pt x="227" y="143"/>
                    </a:lnTo>
                    <a:lnTo>
                      <a:pt x="225" y="143"/>
                    </a:lnTo>
                    <a:lnTo>
                      <a:pt x="225" y="141"/>
                    </a:lnTo>
                    <a:lnTo>
                      <a:pt x="223" y="141"/>
                    </a:lnTo>
                    <a:lnTo>
                      <a:pt x="221" y="141"/>
                    </a:lnTo>
                    <a:lnTo>
                      <a:pt x="219" y="141"/>
                    </a:lnTo>
                    <a:lnTo>
                      <a:pt x="219" y="139"/>
                    </a:lnTo>
                    <a:lnTo>
                      <a:pt x="221" y="139"/>
                    </a:lnTo>
                    <a:lnTo>
                      <a:pt x="221" y="137"/>
                    </a:lnTo>
                    <a:lnTo>
                      <a:pt x="221" y="135"/>
                    </a:lnTo>
                    <a:lnTo>
                      <a:pt x="223" y="129"/>
                    </a:lnTo>
                    <a:lnTo>
                      <a:pt x="225" y="123"/>
                    </a:lnTo>
                    <a:lnTo>
                      <a:pt x="227" y="123"/>
                    </a:lnTo>
                    <a:lnTo>
                      <a:pt x="227" y="121"/>
                    </a:lnTo>
                    <a:lnTo>
                      <a:pt x="229" y="119"/>
                    </a:lnTo>
                    <a:lnTo>
                      <a:pt x="227" y="119"/>
                    </a:lnTo>
                    <a:lnTo>
                      <a:pt x="227" y="118"/>
                    </a:lnTo>
                    <a:lnTo>
                      <a:pt x="225" y="118"/>
                    </a:lnTo>
                    <a:lnTo>
                      <a:pt x="225" y="116"/>
                    </a:lnTo>
                    <a:lnTo>
                      <a:pt x="223" y="116"/>
                    </a:lnTo>
                    <a:lnTo>
                      <a:pt x="223" y="114"/>
                    </a:lnTo>
                    <a:lnTo>
                      <a:pt x="223" y="112"/>
                    </a:lnTo>
                    <a:lnTo>
                      <a:pt x="223" y="114"/>
                    </a:lnTo>
                    <a:lnTo>
                      <a:pt x="223" y="112"/>
                    </a:lnTo>
                    <a:lnTo>
                      <a:pt x="223" y="110"/>
                    </a:lnTo>
                    <a:lnTo>
                      <a:pt x="223" y="112"/>
                    </a:lnTo>
                    <a:lnTo>
                      <a:pt x="223" y="110"/>
                    </a:lnTo>
                    <a:lnTo>
                      <a:pt x="221" y="110"/>
                    </a:lnTo>
                    <a:lnTo>
                      <a:pt x="219" y="110"/>
                    </a:lnTo>
                    <a:lnTo>
                      <a:pt x="219" y="108"/>
                    </a:lnTo>
                    <a:lnTo>
                      <a:pt x="217" y="108"/>
                    </a:lnTo>
                    <a:lnTo>
                      <a:pt x="215" y="108"/>
                    </a:lnTo>
                    <a:lnTo>
                      <a:pt x="215" y="110"/>
                    </a:lnTo>
                    <a:lnTo>
                      <a:pt x="213" y="110"/>
                    </a:lnTo>
                    <a:lnTo>
                      <a:pt x="215" y="110"/>
                    </a:lnTo>
                    <a:lnTo>
                      <a:pt x="213" y="110"/>
                    </a:lnTo>
                    <a:lnTo>
                      <a:pt x="213" y="112"/>
                    </a:lnTo>
                    <a:lnTo>
                      <a:pt x="200" y="133"/>
                    </a:lnTo>
                    <a:lnTo>
                      <a:pt x="196" y="141"/>
                    </a:lnTo>
                    <a:lnTo>
                      <a:pt x="194" y="143"/>
                    </a:lnTo>
                    <a:lnTo>
                      <a:pt x="192" y="143"/>
                    </a:lnTo>
                    <a:lnTo>
                      <a:pt x="190" y="144"/>
                    </a:lnTo>
                    <a:lnTo>
                      <a:pt x="192" y="144"/>
                    </a:lnTo>
                    <a:lnTo>
                      <a:pt x="192" y="146"/>
                    </a:lnTo>
                    <a:lnTo>
                      <a:pt x="192" y="148"/>
                    </a:lnTo>
                    <a:lnTo>
                      <a:pt x="192" y="150"/>
                    </a:lnTo>
                    <a:lnTo>
                      <a:pt x="190" y="152"/>
                    </a:lnTo>
                    <a:lnTo>
                      <a:pt x="192" y="154"/>
                    </a:lnTo>
                    <a:lnTo>
                      <a:pt x="192" y="156"/>
                    </a:lnTo>
                    <a:lnTo>
                      <a:pt x="194" y="158"/>
                    </a:lnTo>
                    <a:lnTo>
                      <a:pt x="192" y="167"/>
                    </a:lnTo>
                    <a:lnTo>
                      <a:pt x="194" y="167"/>
                    </a:lnTo>
                    <a:lnTo>
                      <a:pt x="196" y="169"/>
                    </a:lnTo>
                    <a:lnTo>
                      <a:pt x="194" y="171"/>
                    </a:lnTo>
                    <a:lnTo>
                      <a:pt x="194" y="173"/>
                    </a:lnTo>
                    <a:lnTo>
                      <a:pt x="192" y="173"/>
                    </a:lnTo>
                    <a:lnTo>
                      <a:pt x="190" y="173"/>
                    </a:lnTo>
                    <a:lnTo>
                      <a:pt x="190" y="175"/>
                    </a:lnTo>
                    <a:lnTo>
                      <a:pt x="188" y="175"/>
                    </a:lnTo>
                    <a:lnTo>
                      <a:pt x="186" y="177"/>
                    </a:lnTo>
                    <a:lnTo>
                      <a:pt x="184" y="177"/>
                    </a:lnTo>
                    <a:lnTo>
                      <a:pt x="183" y="179"/>
                    </a:lnTo>
                    <a:lnTo>
                      <a:pt x="183" y="181"/>
                    </a:lnTo>
                    <a:lnTo>
                      <a:pt x="183" y="183"/>
                    </a:lnTo>
                    <a:lnTo>
                      <a:pt x="184" y="187"/>
                    </a:lnTo>
                    <a:lnTo>
                      <a:pt x="186" y="187"/>
                    </a:lnTo>
                    <a:lnTo>
                      <a:pt x="188" y="187"/>
                    </a:lnTo>
                    <a:lnTo>
                      <a:pt x="188" y="189"/>
                    </a:lnTo>
                    <a:lnTo>
                      <a:pt x="188" y="191"/>
                    </a:lnTo>
                    <a:lnTo>
                      <a:pt x="186" y="191"/>
                    </a:lnTo>
                    <a:lnTo>
                      <a:pt x="186" y="192"/>
                    </a:lnTo>
                    <a:lnTo>
                      <a:pt x="188" y="192"/>
                    </a:lnTo>
                    <a:lnTo>
                      <a:pt x="190" y="192"/>
                    </a:lnTo>
                    <a:lnTo>
                      <a:pt x="190" y="191"/>
                    </a:lnTo>
                    <a:lnTo>
                      <a:pt x="192" y="191"/>
                    </a:lnTo>
                    <a:lnTo>
                      <a:pt x="192" y="189"/>
                    </a:lnTo>
                    <a:lnTo>
                      <a:pt x="194" y="189"/>
                    </a:lnTo>
                    <a:lnTo>
                      <a:pt x="192" y="187"/>
                    </a:lnTo>
                    <a:lnTo>
                      <a:pt x="192" y="185"/>
                    </a:lnTo>
                    <a:lnTo>
                      <a:pt x="194" y="187"/>
                    </a:lnTo>
                    <a:lnTo>
                      <a:pt x="194" y="185"/>
                    </a:lnTo>
                    <a:lnTo>
                      <a:pt x="194" y="183"/>
                    </a:lnTo>
                    <a:lnTo>
                      <a:pt x="196" y="185"/>
                    </a:lnTo>
                    <a:lnTo>
                      <a:pt x="196" y="183"/>
                    </a:lnTo>
                    <a:lnTo>
                      <a:pt x="198" y="183"/>
                    </a:lnTo>
                    <a:lnTo>
                      <a:pt x="198" y="185"/>
                    </a:lnTo>
                    <a:lnTo>
                      <a:pt x="200" y="185"/>
                    </a:lnTo>
                    <a:lnTo>
                      <a:pt x="200" y="183"/>
                    </a:lnTo>
                    <a:lnTo>
                      <a:pt x="202" y="183"/>
                    </a:lnTo>
                    <a:lnTo>
                      <a:pt x="202" y="185"/>
                    </a:lnTo>
                    <a:lnTo>
                      <a:pt x="202" y="187"/>
                    </a:lnTo>
                    <a:lnTo>
                      <a:pt x="202" y="185"/>
                    </a:lnTo>
                    <a:lnTo>
                      <a:pt x="204" y="185"/>
                    </a:lnTo>
                    <a:lnTo>
                      <a:pt x="204" y="187"/>
                    </a:lnTo>
                    <a:lnTo>
                      <a:pt x="202" y="191"/>
                    </a:lnTo>
                    <a:lnTo>
                      <a:pt x="204" y="191"/>
                    </a:lnTo>
                    <a:lnTo>
                      <a:pt x="204" y="192"/>
                    </a:lnTo>
                    <a:lnTo>
                      <a:pt x="202" y="192"/>
                    </a:lnTo>
                    <a:lnTo>
                      <a:pt x="202" y="194"/>
                    </a:lnTo>
                    <a:lnTo>
                      <a:pt x="202" y="196"/>
                    </a:lnTo>
                    <a:lnTo>
                      <a:pt x="204" y="196"/>
                    </a:lnTo>
                    <a:lnTo>
                      <a:pt x="206" y="196"/>
                    </a:lnTo>
                    <a:lnTo>
                      <a:pt x="206" y="198"/>
                    </a:lnTo>
                    <a:lnTo>
                      <a:pt x="206" y="200"/>
                    </a:lnTo>
                    <a:lnTo>
                      <a:pt x="206" y="202"/>
                    </a:lnTo>
                    <a:lnTo>
                      <a:pt x="207" y="204"/>
                    </a:lnTo>
                    <a:lnTo>
                      <a:pt x="207" y="206"/>
                    </a:lnTo>
                    <a:lnTo>
                      <a:pt x="207" y="208"/>
                    </a:lnTo>
                    <a:lnTo>
                      <a:pt x="211" y="216"/>
                    </a:lnTo>
                    <a:lnTo>
                      <a:pt x="213" y="219"/>
                    </a:lnTo>
                    <a:lnTo>
                      <a:pt x="213" y="221"/>
                    </a:lnTo>
                    <a:lnTo>
                      <a:pt x="213" y="227"/>
                    </a:lnTo>
                    <a:lnTo>
                      <a:pt x="213" y="229"/>
                    </a:lnTo>
                    <a:lnTo>
                      <a:pt x="211" y="229"/>
                    </a:lnTo>
                    <a:lnTo>
                      <a:pt x="209" y="229"/>
                    </a:lnTo>
                    <a:lnTo>
                      <a:pt x="209" y="231"/>
                    </a:lnTo>
                    <a:lnTo>
                      <a:pt x="209" y="233"/>
                    </a:lnTo>
                    <a:lnTo>
                      <a:pt x="207" y="235"/>
                    </a:lnTo>
                    <a:lnTo>
                      <a:pt x="206" y="233"/>
                    </a:lnTo>
                    <a:lnTo>
                      <a:pt x="204" y="233"/>
                    </a:lnTo>
                    <a:lnTo>
                      <a:pt x="202" y="235"/>
                    </a:lnTo>
                    <a:lnTo>
                      <a:pt x="200" y="235"/>
                    </a:lnTo>
                    <a:lnTo>
                      <a:pt x="198" y="233"/>
                    </a:lnTo>
                    <a:lnTo>
                      <a:pt x="196" y="233"/>
                    </a:lnTo>
                    <a:lnTo>
                      <a:pt x="194" y="233"/>
                    </a:lnTo>
                    <a:lnTo>
                      <a:pt x="194" y="231"/>
                    </a:lnTo>
                    <a:lnTo>
                      <a:pt x="194" y="229"/>
                    </a:lnTo>
                    <a:lnTo>
                      <a:pt x="192" y="229"/>
                    </a:lnTo>
                    <a:lnTo>
                      <a:pt x="190" y="233"/>
                    </a:lnTo>
                    <a:lnTo>
                      <a:pt x="194" y="235"/>
                    </a:lnTo>
                    <a:lnTo>
                      <a:pt x="192" y="239"/>
                    </a:lnTo>
                    <a:lnTo>
                      <a:pt x="190" y="241"/>
                    </a:lnTo>
                    <a:lnTo>
                      <a:pt x="188" y="241"/>
                    </a:lnTo>
                    <a:lnTo>
                      <a:pt x="186" y="244"/>
                    </a:lnTo>
                    <a:lnTo>
                      <a:pt x="184" y="244"/>
                    </a:lnTo>
                    <a:lnTo>
                      <a:pt x="184" y="242"/>
                    </a:lnTo>
                    <a:lnTo>
                      <a:pt x="183" y="242"/>
                    </a:lnTo>
                    <a:lnTo>
                      <a:pt x="181" y="242"/>
                    </a:lnTo>
                    <a:lnTo>
                      <a:pt x="179" y="244"/>
                    </a:lnTo>
                    <a:lnTo>
                      <a:pt x="181" y="246"/>
                    </a:lnTo>
                    <a:lnTo>
                      <a:pt x="181" y="244"/>
                    </a:lnTo>
                    <a:lnTo>
                      <a:pt x="183" y="244"/>
                    </a:lnTo>
                    <a:lnTo>
                      <a:pt x="183" y="246"/>
                    </a:lnTo>
                    <a:lnTo>
                      <a:pt x="183" y="248"/>
                    </a:lnTo>
                    <a:lnTo>
                      <a:pt x="184" y="248"/>
                    </a:lnTo>
                    <a:lnTo>
                      <a:pt x="184" y="250"/>
                    </a:lnTo>
                    <a:lnTo>
                      <a:pt x="183" y="252"/>
                    </a:lnTo>
                    <a:lnTo>
                      <a:pt x="183" y="254"/>
                    </a:lnTo>
                    <a:lnTo>
                      <a:pt x="181" y="254"/>
                    </a:lnTo>
                    <a:lnTo>
                      <a:pt x="179" y="256"/>
                    </a:lnTo>
                    <a:lnTo>
                      <a:pt x="177" y="256"/>
                    </a:lnTo>
                    <a:lnTo>
                      <a:pt x="175" y="256"/>
                    </a:lnTo>
                    <a:lnTo>
                      <a:pt x="175" y="258"/>
                    </a:lnTo>
                    <a:lnTo>
                      <a:pt x="175" y="260"/>
                    </a:lnTo>
                    <a:lnTo>
                      <a:pt x="175" y="258"/>
                    </a:lnTo>
                    <a:lnTo>
                      <a:pt x="177" y="258"/>
                    </a:lnTo>
                    <a:lnTo>
                      <a:pt x="177" y="260"/>
                    </a:lnTo>
                    <a:lnTo>
                      <a:pt x="175" y="260"/>
                    </a:lnTo>
                    <a:lnTo>
                      <a:pt x="177" y="262"/>
                    </a:lnTo>
                    <a:lnTo>
                      <a:pt x="177" y="264"/>
                    </a:lnTo>
                    <a:lnTo>
                      <a:pt x="179" y="264"/>
                    </a:lnTo>
                    <a:lnTo>
                      <a:pt x="179" y="266"/>
                    </a:lnTo>
                    <a:lnTo>
                      <a:pt x="179" y="267"/>
                    </a:lnTo>
                    <a:lnTo>
                      <a:pt x="177" y="269"/>
                    </a:lnTo>
                    <a:lnTo>
                      <a:pt x="177" y="271"/>
                    </a:lnTo>
                    <a:lnTo>
                      <a:pt x="175" y="277"/>
                    </a:lnTo>
                    <a:lnTo>
                      <a:pt x="173" y="279"/>
                    </a:lnTo>
                    <a:lnTo>
                      <a:pt x="171" y="279"/>
                    </a:lnTo>
                    <a:lnTo>
                      <a:pt x="167" y="279"/>
                    </a:lnTo>
                    <a:lnTo>
                      <a:pt x="165" y="277"/>
                    </a:lnTo>
                    <a:lnTo>
                      <a:pt x="161" y="277"/>
                    </a:lnTo>
                    <a:lnTo>
                      <a:pt x="161" y="279"/>
                    </a:lnTo>
                    <a:lnTo>
                      <a:pt x="159" y="281"/>
                    </a:lnTo>
                    <a:lnTo>
                      <a:pt x="161" y="281"/>
                    </a:lnTo>
                    <a:lnTo>
                      <a:pt x="163" y="283"/>
                    </a:lnTo>
                    <a:lnTo>
                      <a:pt x="163" y="281"/>
                    </a:lnTo>
                    <a:lnTo>
                      <a:pt x="165" y="281"/>
                    </a:lnTo>
                    <a:lnTo>
                      <a:pt x="167" y="281"/>
                    </a:lnTo>
                    <a:lnTo>
                      <a:pt x="169" y="281"/>
                    </a:lnTo>
                    <a:lnTo>
                      <a:pt x="169" y="283"/>
                    </a:lnTo>
                    <a:lnTo>
                      <a:pt x="169" y="285"/>
                    </a:lnTo>
                    <a:lnTo>
                      <a:pt x="167" y="285"/>
                    </a:lnTo>
                    <a:lnTo>
                      <a:pt x="165" y="285"/>
                    </a:lnTo>
                    <a:lnTo>
                      <a:pt x="163" y="285"/>
                    </a:lnTo>
                    <a:lnTo>
                      <a:pt x="161" y="285"/>
                    </a:lnTo>
                    <a:lnTo>
                      <a:pt x="161" y="287"/>
                    </a:lnTo>
                    <a:lnTo>
                      <a:pt x="163" y="287"/>
                    </a:lnTo>
                    <a:lnTo>
                      <a:pt x="161" y="287"/>
                    </a:lnTo>
                    <a:lnTo>
                      <a:pt x="161" y="289"/>
                    </a:lnTo>
                    <a:lnTo>
                      <a:pt x="159" y="289"/>
                    </a:lnTo>
                    <a:lnTo>
                      <a:pt x="159" y="291"/>
                    </a:lnTo>
                    <a:lnTo>
                      <a:pt x="159" y="292"/>
                    </a:lnTo>
                    <a:lnTo>
                      <a:pt x="159" y="294"/>
                    </a:lnTo>
                    <a:lnTo>
                      <a:pt x="161" y="296"/>
                    </a:lnTo>
                    <a:lnTo>
                      <a:pt x="163" y="296"/>
                    </a:lnTo>
                    <a:lnTo>
                      <a:pt x="165" y="298"/>
                    </a:lnTo>
                    <a:lnTo>
                      <a:pt x="165" y="300"/>
                    </a:lnTo>
                    <a:lnTo>
                      <a:pt x="163" y="300"/>
                    </a:lnTo>
                    <a:lnTo>
                      <a:pt x="163" y="302"/>
                    </a:lnTo>
                    <a:lnTo>
                      <a:pt x="161" y="304"/>
                    </a:lnTo>
                    <a:lnTo>
                      <a:pt x="161" y="306"/>
                    </a:lnTo>
                    <a:lnTo>
                      <a:pt x="159" y="306"/>
                    </a:lnTo>
                    <a:lnTo>
                      <a:pt x="159" y="304"/>
                    </a:lnTo>
                    <a:lnTo>
                      <a:pt x="158" y="304"/>
                    </a:lnTo>
                    <a:lnTo>
                      <a:pt x="156" y="304"/>
                    </a:lnTo>
                    <a:lnTo>
                      <a:pt x="154" y="308"/>
                    </a:lnTo>
                    <a:lnTo>
                      <a:pt x="152" y="310"/>
                    </a:lnTo>
                    <a:lnTo>
                      <a:pt x="152" y="312"/>
                    </a:lnTo>
                    <a:lnTo>
                      <a:pt x="152" y="314"/>
                    </a:lnTo>
                    <a:lnTo>
                      <a:pt x="152" y="316"/>
                    </a:lnTo>
                    <a:lnTo>
                      <a:pt x="152" y="317"/>
                    </a:lnTo>
                    <a:lnTo>
                      <a:pt x="150" y="317"/>
                    </a:lnTo>
                    <a:lnTo>
                      <a:pt x="148" y="319"/>
                    </a:lnTo>
                    <a:lnTo>
                      <a:pt x="148" y="321"/>
                    </a:lnTo>
                    <a:lnTo>
                      <a:pt x="144" y="323"/>
                    </a:lnTo>
                    <a:lnTo>
                      <a:pt x="140" y="325"/>
                    </a:lnTo>
                    <a:lnTo>
                      <a:pt x="138" y="323"/>
                    </a:lnTo>
                    <a:lnTo>
                      <a:pt x="136" y="321"/>
                    </a:lnTo>
                    <a:lnTo>
                      <a:pt x="136" y="319"/>
                    </a:lnTo>
                    <a:lnTo>
                      <a:pt x="133" y="319"/>
                    </a:lnTo>
                    <a:lnTo>
                      <a:pt x="133" y="317"/>
                    </a:lnTo>
                    <a:lnTo>
                      <a:pt x="131" y="314"/>
                    </a:lnTo>
                    <a:lnTo>
                      <a:pt x="131" y="312"/>
                    </a:lnTo>
                    <a:lnTo>
                      <a:pt x="129" y="310"/>
                    </a:lnTo>
                    <a:lnTo>
                      <a:pt x="129" y="308"/>
                    </a:lnTo>
                    <a:lnTo>
                      <a:pt x="127" y="308"/>
                    </a:lnTo>
                    <a:lnTo>
                      <a:pt x="125" y="306"/>
                    </a:lnTo>
                    <a:lnTo>
                      <a:pt x="123" y="306"/>
                    </a:lnTo>
                    <a:lnTo>
                      <a:pt x="121" y="306"/>
                    </a:lnTo>
                    <a:lnTo>
                      <a:pt x="119" y="306"/>
                    </a:lnTo>
                    <a:lnTo>
                      <a:pt x="119" y="304"/>
                    </a:lnTo>
                    <a:lnTo>
                      <a:pt x="117" y="304"/>
                    </a:lnTo>
                    <a:lnTo>
                      <a:pt x="119" y="304"/>
                    </a:lnTo>
                    <a:lnTo>
                      <a:pt x="119" y="302"/>
                    </a:lnTo>
                    <a:lnTo>
                      <a:pt x="117" y="302"/>
                    </a:lnTo>
                    <a:lnTo>
                      <a:pt x="115" y="302"/>
                    </a:lnTo>
                    <a:lnTo>
                      <a:pt x="115" y="304"/>
                    </a:lnTo>
                    <a:lnTo>
                      <a:pt x="113" y="304"/>
                    </a:lnTo>
                    <a:lnTo>
                      <a:pt x="111" y="304"/>
                    </a:lnTo>
                    <a:lnTo>
                      <a:pt x="109" y="304"/>
                    </a:lnTo>
                    <a:lnTo>
                      <a:pt x="109" y="302"/>
                    </a:lnTo>
                    <a:lnTo>
                      <a:pt x="109" y="300"/>
                    </a:lnTo>
                    <a:lnTo>
                      <a:pt x="109" y="298"/>
                    </a:lnTo>
                    <a:lnTo>
                      <a:pt x="108" y="296"/>
                    </a:lnTo>
                    <a:lnTo>
                      <a:pt x="106" y="296"/>
                    </a:lnTo>
                    <a:lnTo>
                      <a:pt x="106" y="294"/>
                    </a:lnTo>
                    <a:lnTo>
                      <a:pt x="104" y="294"/>
                    </a:lnTo>
                    <a:lnTo>
                      <a:pt x="102" y="296"/>
                    </a:lnTo>
                    <a:lnTo>
                      <a:pt x="102" y="298"/>
                    </a:lnTo>
                    <a:lnTo>
                      <a:pt x="104" y="300"/>
                    </a:lnTo>
                    <a:lnTo>
                      <a:pt x="104" y="302"/>
                    </a:lnTo>
                    <a:lnTo>
                      <a:pt x="104" y="306"/>
                    </a:lnTo>
                    <a:lnTo>
                      <a:pt x="102" y="304"/>
                    </a:lnTo>
                    <a:lnTo>
                      <a:pt x="102" y="302"/>
                    </a:lnTo>
                    <a:lnTo>
                      <a:pt x="100" y="300"/>
                    </a:lnTo>
                    <a:lnTo>
                      <a:pt x="98" y="298"/>
                    </a:lnTo>
                    <a:lnTo>
                      <a:pt x="96" y="296"/>
                    </a:lnTo>
                    <a:lnTo>
                      <a:pt x="94" y="298"/>
                    </a:lnTo>
                    <a:lnTo>
                      <a:pt x="94" y="296"/>
                    </a:lnTo>
                    <a:lnTo>
                      <a:pt x="92" y="292"/>
                    </a:lnTo>
                    <a:lnTo>
                      <a:pt x="90" y="292"/>
                    </a:lnTo>
                    <a:lnTo>
                      <a:pt x="88" y="292"/>
                    </a:lnTo>
                    <a:lnTo>
                      <a:pt x="88" y="291"/>
                    </a:lnTo>
                    <a:lnTo>
                      <a:pt x="88" y="289"/>
                    </a:lnTo>
                    <a:lnTo>
                      <a:pt x="86" y="287"/>
                    </a:lnTo>
                    <a:lnTo>
                      <a:pt x="86" y="285"/>
                    </a:lnTo>
                    <a:lnTo>
                      <a:pt x="86" y="283"/>
                    </a:lnTo>
                    <a:lnTo>
                      <a:pt x="86" y="281"/>
                    </a:lnTo>
                    <a:lnTo>
                      <a:pt x="85" y="279"/>
                    </a:lnTo>
                    <a:lnTo>
                      <a:pt x="83" y="279"/>
                    </a:lnTo>
                    <a:lnTo>
                      <a:pt x="83" y="277"/>
                    </a:lnTo>
                    <a:lnTo>
                      <a:pt x="83" y="275"/>
                    </a:lnTo>
                    <a:lnTo>
                      <a:pt x="85" y="271"/>
                    </a:lnTo>
                    <a:lnTo>
                      <a:pt x="85" y="269"/>
                    </a:lnTo>
                    <a:lnTo>
                      <a:pt x="83" y="269"/>
                    </a:lnTo>
                    <a:lnTo>
                      <a:pt x="81" y="269"/>
                    </a:lnTo>
                    <a:lnTo>
                      <a:pt x="79" y="269"/>
                    </a:lnTo>
                    <a:lnTo>
                      <a:pt x="77" y="271"/>
                    </a:lnTo>
                    <a:lnTo>
                      <a:pt x="75" y="271"/>
                    </a:lnTo>
                    <a:lnTo>
                      <a:pt x="75" y="269"/>
                    </a:lnTo>
                    <a:lnTo>
                      <a:pt x="73" y="269"/>
                    </a:lnTo>
                    <a:lnTo>
                      <a:pt x="73" y="267"/>
                    </a:lnTo>
                    <a:lnTo>
                      <a:pt x="75" y="267"/>
                    </a:lnTo>
                    <a:lnTo>
                      <a:pt x="75" y="266"/>
                    </a:lnTo>
                    <a:lnTo>
                      <a:pt x="73" y="266"/>
                    </a:lnTo>
                    <a:lnTo>
                      <a:pt x="71" y="266"/>
                    </a:lnTo>
                    <a:lnTo>
                      <a:pt x="67" y="266"/>
                    </a:lnTo>
                    <a:lnTo>
                      <a:pt x="67" y="264"/>
                    </a:lnTo>
                    <a:lnTo>
                      <a:pt x="65" y="266"/>
                    </a:lnTo>
                    <a:lnTo>
                      <a:pt x="65" y="264"/>
                    </a:lnTo>
                    <a:lnTo>
                      <a:pt x="61" y="264"/>
                    </a:lnTo>
                    <a:lnTo>
                      <a:pt x="61" y="262"/>
                    </a:lnTo>
                    <a:lnTo>
                      <a:pt x="61" y="256"/>
                    </a:lnTo>
                    <a:lnTo>
                      <a:pt x="60" y="252"/>
                    </a:lnTo>
                    <a:lnTo>
                      <a:pt x="61" y="252"/>
                    </a:lnTo>
                    <a:lnTo>
                      <a:pt x="60" y="250"/>
                    </a:lnTo>
                    <a:lnTo>
                      <a:pt x="60" y="246"/>
                    </a:lnTo>
                    <a:lnTo>
                      <a:pt x="61" y="246"/>
                    </a:lnTo>
                    <a:lnTo>
                      <a:pt x="60" y="244"/>
                    </a:lnTo>
                    <a:lnTo>
                      <a:pt x="56" y="244"/>
                    </a:lnTo>
                    <a:lnTo>
                      <a:pt x="54" y="242"/>
                    </a:lnTo>
                    <a:lnTo>
                      <a:pt x="52" y="242"/>
                    </a:lnTo>
                    <a:lnTo>
                      <a:pt x="52" y="241"/>
                    </a:lnTo>
                    <a:lnTo>
                      <a:pt x="50" y="241"/>
                    </a:lnTo>
                    <a:lnTo>
                      <a:pt x="44" y="241"/>
                    </a:lnTo>
                    <a:lnTo>
                      <a:pt x="46" y="237"/>
                    </a:lnTo>
                    <a:lnTo>
                      <a:pt x="44" y="237"/>
                    </a:lnTo>
                    <a:lnTo>
                      <a:pt x="44" y="235"/>
                    </a:lnTo>
                    <a:lnTo>
                      <a:pt x="42" y="235"/>
                    </a:lnTo>
                    <a:lnTo>
                      <a:pt x="42" y="237"/>
                    </a:lnTo>
                    <a:lnTo>
                      <a:pt x="40" y="237"/>
                    </a:lnTo>
                    <a:lnTo>
                      <a:pt x="36" y="237"/>
                    </a:lnTo>
                    <a:lnTo>
                      <a:pt x="35" y="239"/>
                    </a:lnTo>
                    <a:lnTo>
                      <a:pt x="35" y="237"/>
                    </a:lnTo>
                    <a:lnTo>
                      <a:pt x="35" y="235"/>
                    </a:lnTo>
                    <a:lnTo>
                      <a:pt x="33" y="233"/>
                    </a:lnTo>
                    <a:lnTo>
                      <a:pt x="33" y="229"/>
                    </a:lnTo>
                    <a:lnTo>
                      <a:pt x="31" y="229"/>
                    </a:lnTo>
                    <a:lnTo>
                      <a:pt x="29" y="229"/>
                    </a:lnTo>
                    <a:lnTo>
                      <a:pt x="27" y="229"/>
                    </a:lnTo>
                    <a:lnTo>
                      <a:pt x="25" y="231"/>
                    </a:lnTo>
                    <a:lnTo>
                      <a:pt x="23" y="231"/>
                    </a:lnTo>
                    <a:lnTo>
                      <a:pt x="21" y="231"/>
                    </a:lnTo>
                    <a:lnTo>
                      <a:pt x="21" y="229"/>
                    </a:lnTo>
                    <a:lnTo>
                      <a:pt x="17" y="223"/>
                    </a:lnTo>
                    <a:lnTo>
                      <a:pt x="17" y="221"/>
                    </a:lnTo>
                    <a:lnTo>
                      <a:pt x="17" y="219"/>
                    </a:lnTo>
                    <a:lnTo>
                      <a:pt x="17" y="216"/>
                    </a:lnTo>
                    <a:lnTo>
                      <a:pt x="15" y="216"/>
                    </a:lnTo>
                    <a:lnTo>
                      <a:pt x="15" y="214"/>
                    </a:lnTo>
                    <a:lnTo>
                      <a:pt x="17" y="210"/>
                    </a:lnTo>
                    <a:lnTo>
                      <a:pt x="13" y="208"/>
                    </a:lnTo>
                    <a:lnTo>
                      <a:pt x="10" y="208"/>
                    </a:lnTo>
                    <a:lnTo>
                      <a:pt x="8" y="206"/>
                    </a:lnTo>
                    <a:lnTo>
                      <a:pt x="6" y="206"/>
                    </a:lnTo>
                    <a:lnTo>
                      <a:pt x="4" y="206"/>
                    </a:lnTo>
                    <a:lnTo>
                      <a:pt x="2" y="204"/>
                    </a:lnTo>
                    <a:lnTo>
                      <a:pt x="0" y="202"/>
                    </a:lnTo>
                    <a:lnTo>
                      <a:pt x="0" y="200"/>
                    </a:lnTo>
                    <a:lnTo>
                      <a:pt x="2" y="200"/>
                    </a:lnTo>
                    <a:lnTo>
                      <a:pt x="4" y="202"/>
                    </a:lnTo>
                    <a:lnTo>
                      <a:pt x="4" y="200"/>
                    </a:lnTo>
                    <a:lnTo>
                      <a:pt x="4" y="198"/>
                    </a:lnTo>
                    <a:lnTo>
                      <a:pt x="2" y="198"/>
                    </a:lnTo>
                    <a:lnTo>
                      <a:pt x="2" y="196"/>
                    </a:lnTo>
                    <a:lnTo>
                      <a:pt x="2" y="194"/>
                    </a:lnTo>
                    <a:lnTo>
                      <a:pt x="2" y="192"/>
                    </a:lnTo>
                    <a:lnTo>
                      <a:pt x="0" y="192"/>
                    </a:lnTo>
                    <a:lnTo>
                      <a:pt x="0" y="191"/>
                    </a:lnTo>
                    <a:lnTo>
                      <a:pt x="0" y="189"/>
                    </a:lnTo>
                    <a:lnTo>
                      <a:pt x="0" y="187"/>
                    </a:lnTo>
                    <a:lnTo>
                      <a:pt x="2" y="187"/>
                    </a:lnTo>
                    <a:lnTo>
                      <a:pt x="2" y="185"/>
                    </a:lnTo>
                    <a:lnTo>
                      <a:pt x="0" y="185"/>
                    </a:lnTo>
                    <a:lnTo>
                      <a:pt x="2" y="185"/>
                    </a:lnTo>
                    <a:lnTo>
                      <a:pt x="2" y="183"/>
                    </a:lnTo>
                    <a:lnTo>
                      <a:pt x="2" y="181"/>
                    </a:lnTo>
                    <a:lnTo>
                      <a:pt x="4" y="181"/>
                    </a:lnTo>
                    <a:lnTo>
                      <a:pt x="4" y="179"/>
                    </a:lnTo>
                    <a:lnTo>
                      <a:pt x="2" y="179"/>
                    </a:lnTo>
                    <a:lnTo>
                      <a:pt x="4" y="177"/>
                    </a:lnTo>
                    <a:lnTo>
                      <a:pt x="4" y="175"/>
                    </a:lnTo>
                    <a:lnTo>
                      <a:pt x="4" y="173"/>
                    </a:lnTo>
                    <a:lnTo>
                      <a:pt x="4" y="171"/>
                    </a:lnTo>
                    <a:lnTo>
                      <a:pt x="4" y="169"/>
                    </a:lnTo>
                    <a:lnTo>
                      <a:pt x="12" y="173"/>
                    </a:lnTo>
                    <a:lnTo>
                      <a:pt x="13" y="167"/>
                    </a:lnTo>
                    <a:lnTo>
                      <a:pt x="17" y="164"/>
                    </a:lnTo>
                    <a:lnTo>
                      <a:pt x="13" y="164"/>
                    </a:lnTo>
                    <a:lnTo>
                      <a:pt x="12" y="166"/>
                    </a:lnTo>
                    <a:lnTo>
                      <a:pt x="10" y="162"/>
                    </a:lnTo>
                    <a:lnTo>
                      <a:pt x="12" y="160"/>
                    </a:lnTo>
                    <a:lnTo>
                      <a:pt x="10" y="160"/>
                    </a:lnTo>
                    <a:lnTo>
                      <a:pt x="12" y="160"/>
                    </a:lnTo>
                    <a:lnTo>
                      <a:pt x="10" y="158"/>
                    </a:lnTo>
                    <a:lnTo>
                      <a:pt x="12" y="158"/>
                    </a:lnTo>
                    <a:lnTo>
                      <a:pt x="12" y="154"/>
                    </a:lnTo>
                    <a:lnTo>
                      <a:pt x="12" y="152"/>
                    </a:lnTo>
                    <a:lnTo>
                      <a:pt x="13" y="148"/>
                    </a:lnTo>
                    <a:lnTo>
                      <a:pt x="13" y="146"/>
                    </a:lnTo>
                    <a:lnTo>
                      <a:pt x="13" y="143"/>
                    </a:lnTo>
                    <a:lnTo>
                      <a:pt x="15" y="141"/>
                    </a:lnTo>
                    <a:lnTo>
                      <a:pt x="13" y="139"/>
                    </a:lnTo>
                    <a:lnTo>
                      <a:pt x="13" y="137"/>
                    </a:lnTo>
                    <a:lnTo>
                      <a:pt x="12" y="137"/>
                    </a:lnTo>
                    <a:lnTo>
                      <a:pt x="12" y="135"/>
                    </a:lnTo>
                    <a:lnTo>
                      <a:pt x="13" y="133"/>
                    </a:lnTo>
                    <a:lnTo>
                      <a:pt x="13" y="131"/>
                    </a:lnTo>
                    <a:lnTo>
                      <a:pt x="13" y="129"/>
                    </a:lnTo>
                    <a:lnTo>
                      <a:pt x="15" y="125"/>
                    </a:lnTo>
                    <a:lnTo>
                      <a:pt x="17" y="125"/>
                    </a:lnTo>
                    <a:lnTo>
                      <a:pt x="19" y="123"/>
                    </a:lnTo>
                    <a:lnTo>
                      <a:pt x="19" y="121"/>
                    </a:lnTo>
                    <a:lnTo>
                      <a:pt x="19" y="119"/>
                    </a:lnTo>
                    <a:lnTo>
                      <a:pt x="21" y="119"/>
                    </a:lnTo>
                    <a:lnTo>
                      <a:pt x="21" y="118"/>
                    </a:lnTo>
                    <a:lnTo>
                      <a:pt x="19" y="118"/>
                    </a:lnTo>
                    <a:lnTo>
                      <a:pt x="19" y="116"/>
                    </a:lnTo>
                    <a:lnTo>
                      <a:pt x="19" y="114"/>
                    </a:lnTo>
                    <a:lnTo>
                      <a:pt x="21" y="112"/>
                    </a:lnTo>
                    <a:lnTo>
                      <a:pt x="27" y="110"/>
                    </a:lnTo>
                    <a:lnTo>
                      <a:pt x="31" y="110"/>
                    </a:lnTo>
                    <a:lnTo>
                      <a:pt x="33" y="108"/>
                    </a:lnTo>
                    <a:lnTo>
                      <a:pt x="36" y="108"/>
                    </a:lnTo>
                    <a:lnTo>
                      <a:pt x="38" y="106"/>
                    </a:lnTo>
                    <a:lnTo>
                      <a:pt x="40" y="106"/>
                    </a:lnTo>
                    <a:lnTo>
                      <a:pt x="40" y="108"/>
                    </a:lnTo>
                    <a:lnTo>
                      <a:pt x="40" y="110"/>
                    </a:lnTo>
                    <a:lnTo>
                      <a:pt x="40" y="112"/>
                    </a:lnTo>
                    <a:lnTo>
                      <a:pt x="40" y="114"/>
                    </a:lnTo>
                    <a:lnTo>
                      <a:pt x="42" y="112"/>
                    </a:lnTo>
                    <a:lnTo>
                      <a:pt x="44" y="112"/>
                    </a:lnTo>
                    <a:lnTo>
                      <a:pt x="44" y="110"/>
                    </a:lnTo>
                    <a:lnTo>
                      <a:pt x="46" y="110"/>
                    </a:lnTo>
                    <a:lnTo>
                      <a:pt x="46" y="108"/>
                    </a:lnTo>
                    <a:lnTo>
                      <a:pt x="48" y="108"/>
                    </a:lnTo>
                    <a:lnTo>
                      <a:pt x="46" y="106"/>
                    </a:lnTo>
                    <a:lnTo>
                      <a:pt x="48" y="106"/>
                    </a:lnTo>
                    <a:lnTo>
                      <a:pt x="48" y="104"/>
                    </a:lnTo>
                    <a:lnTo>
                      <a:pt x="50" y="106"/>
                    </a:lnTo>
                    <a:lnTo>
                      <a:pt x="52" y="106"/>
                    </a:lnTo>
                    <a:lnTo>
                      <a:pt x="52" y="108"/>
                    </a:lnTo>
                    <a:lnTo>
                      <a:pt x="54" y="106"/>
                    </a:lnTo>
                    <a:lnTo>
                      <a:pt x="54" y="104"/>
                    </a:lnTo>
                    <a:lnTo>
                      <a:pt x="56" y="104"/>
                    </a:lnTo>
                    <a:lnTo>
                      <a:pt x="60" y="104"/>
                    </a:lnTo>
                    <a:lnTo>
                      <a:pt x="60" y="102"/>
                    </a:lnTo>
                    <a:lnTo>
                      <a:pt x="61" y="102"/>
                    </a:lnTo>
                    <a:lnTo>
                      <a:pt x="63" y="102"/>
                    </a:lnTo>
                    <a:lnTo>
                      <a:pt x="65" y="102"/>
                    </a:lnTo>
                    <a:lnTo>
                      <a:pt x="67" y="102"/>
                    </a:lnTo>
                    <a:lnTo>
                      <a:pt x="65" y="94"/>
                    </a:lnTo>
                    <a:lnTo>
                      <a:pt x="65" y="91"/>
                    </a:lnTo>
                    <a:lnTo>
                      <a:pt x="65" y="87"/>
                    </a:lnTo>
                    <a:lnTo>
                      <a:pt x="65" y="85"/>
                    </a:lnTo>
                    <a:lnTo>
                      <a:pt x="67" y="83"/>
                    </a:lnTo>
                    <a:lnTo>
                      <a:pt x="67" y="81"/>
                    </a:lnTo>
                    <a:lnTo>
                      <a:pt x="67" y="79"/>
                    </a:lnTo>
                    <a:lnTo>
                      <a:pt x="67" y="77"/>
                    </a:lnTo>
                    <a:lnTo>
                      <a:pt x="69" y="68"/>
                    </a:lnTo>
                    <a:lnTo>
                      <a:pt x="71" y="66"/>
                    </a:lnTo>
                    <a:lnTo>
                      <a:pt x="71" y="64"/>
                    </a:lnTo>
                    <a:lnTo>
                      <a:pt x="71" y="62"/>
                    </a:lnTo>
                    <a:lnTo>
                      <a:pt x="75" y="64"/>
                    </a:lnTo>
                    <a:lnTo>
                      <a:pt x="77" y="64"/>
                    </a:lnTo>
                    <a:lnTo>
                      <a:pt x="79" y="64"/>
                    </a:lnTo>
                    <a:lnTo>
                      <a:pt x="83" y="66"/>
                    </a:lnTo>
                    <a:lnTo>
                      <a:pt x="83" y="68"/>
                    </a:lnTo>
                    <a:lnTo>
                      <a:pt x="88" y="66"/>
                    </a:lnTo>
                    <a:lnTo>
                      <a:pt x="98" y="66"/>
                    </a:lnTo>
                    <a:lnTo>
                      <a:pt x="100" y="58"/>
                    </a:lnTo>
                    <a:lnTo>
                      <a:pt x="102" y="48"/>
                    </a:lnTo>
                    <a:lnTo>
                      <a:pt x="106" y="48"/>
                    </a:lnTo>
                    <a:lnTo>
                      <a:pt x="108" y="46"/>
                    </a:lnTo>
                    <a:lnTo>
                      <a:pt x="109" y="50"/>
                    </a:lnTo>
                    <a:lnTo>
                      <a:pt x="113" y="48"/>
                    </a:lnTo>
                    <a:lnTo>
                      <a:pt x="119" y="46"/>
                    </a:lnTo>
                    <a:lnTo>
                      <a:pt x="129" y="44"/>
                    </a:lnTo>
                    <a:lnTo>
                      <a:pt x="133" y="41"/>
                    </a:lnTo>
                    <a:lnTo>
                      <a:pt x="134" y="39"/>
                    </a:lnTo>
                    <a:lnTo>
                      <a:pt x="138" y="39"/>
                    </a:lnTo>
                    <a:lnTo>
                      <a:pt x="142" y="41"/>
                    </a:lnTo>
                    <a:lnTo>
                      <a:pt x="146" y="41"/>
                    </a:lnTo>
                    <a:lnTo>
                      <a:pt x="156" y="39"/>
                    </a:lnTo>
                    <a:lnTo>
                      <a:pt x="158" y="35"/>
                    </a:lnTo>
                    <a:lnTo>
                      <a:pt x="161" y="31"/>
                    </a:lnTo>
                    <a:lnTo>
                      <a:pt x="163" y="29"/>
                    </a:lnTo>
                    <a:lnTo>
                      <a:pt x="165" y="23"/>
                    </a:lnTo>
                    <a:lnTo>
                      <a:pt x="167" y="21"/>
                    </a:lnTo>
                    <a:lnTo>
                      <a:pt x="171" y="23"/>
                    </a:lnTo>
                    <a:lnTo>
                      <a:pt x="183" y="18"/>
                    </a:lnTo>
                    <a:lnTo>
                      <a:pt x="190" y="16"/>
                    </a:lnTo>
                    <a:lnTo>
                      <a:pt x="192" y="14"/>
                    </a:lnTo>
                    <a:lnTo>
                      <a:pt x="192" y="12"/>
                    </a:lnTo>
                    <a:lnTo>
                      <a:pt x="190" y="10"/>
                    </a:lnTo>
                    <a:lnTo>
                      <a:pt x="188" y="6"/>
                    </a:lnTo>
                    <a:lnTo>
                      <a:pt x="186" y="4"/>
                    </a:lnTo>
                    <a:lnTo>
                      <a:pt x="188" y="2"/>
                    </a:lnTo>
                    <a:lnTo>
                      <a:pt x="190" y="2"/>
                    </a:lnTo>
                    <a:lnTo>
                      <a:pt x="194" y="0"/>
                    </a:lnTo>
                    <a:lnTo>
                      <a:pt x="198" y="2"/>
                    </a:lnTo>
                    <a:lnTo>
                      <a:pt x="200" y="2"/>
                    </a:lnTo>
                    <a:lnTo>
                      <a:pt x="202" y="4"/>
                    </a:lnTo>
                    <a:lnTo>
                      <a:pt x="204" y="4"/>
                    </a:lnTo>
                    <a:lnTo>
                      <a:pt x="204" y="6"/>
                    </a:lnTo>
                    <a:lnTo>
                      <a:pt x="204" y="8"/>
                    </a:lnTo>
                    <a:lnTo>
                      <a:pt x="207" y="10"/>
                    </a:lnTo>
                    <a:lnTo>
                      <a:pt x="209" y="10"/>
                    </a:lnTo>
                    <a:lnTo>
                      <a:pt x="211" y="10"/>
                    </a:lnTo>
                    <a:lnTo>
                      <a:pt x="213" y="10"/>
                    </a:lnTo>
                    <a:lnTo>
                      <a:pt x="215" y="10"/>
                    </a:lnTo>
                    <a:lnTo>
                      <a:pt x="217" y="10"/>
                    </a:lnTo>
                    <a:lnTo>
                      <a:pt x="219" y="10"/>
                    </a:lnTo>
                    <a:lnTo>
                      <a:pt x="221" y="12"/>
                    </a:lnTo>
                    <a:lnTo>
                      <a:pt x="223" y="14"/>
                    </a:lnTo>
                    <a:lnTo>
                      <a:pt x="223" y="16"/>
                    </a:lnTo>
                    <a:lnTo>
                      <a:pt x="223" y="18"/>
                    </a:lnTo>
                    <a:lnTo>
                      <a:pt x="225" y="18"/>
                    </a:lnTo>
                    <a:lnTo>
                      <a:pt x="225" y="19"/>
                    </a:lnTo>
                    <a:lnTo>
                      <a:pt x="227" y="19"/>
                    </a:lnTo>
                    <a:lnTo>
                      <a:pt x="231" y="19"/>
                    </a:lnTo>
                    <a:lnTo>
                      <a:pt x="234" y="18"/>
                    </a:lnTo>
                    <a:lnTo>
                      <a:pt x="236" y="19"/>
                    </a:lnTo>
                    <a:lnTo>
                      <a:pt x="242" y="25"/>
                    </a:lnTo>
                    <a:lnTo>
                      <a:pt x="244" y="23"/>
                    </a:lnTo>
                    <a:lnTo>
                      <a:pt x="248" y="19"/>
                    </a:lnTo>
                    <a:lnTo>
                      <a:pt x="250" y="29"/>
                    </a:lnTo>
                    <a:lnTo>
                      <a:pt x="252" y="31"/>
                    </a:lnTo>
                    <a:lnTo>
                      <a:pt x="254" y="31"/>
                    </a:lnTo>
                    <a:lnTo>
                      <a:pt x="256" y="35"/>
                    </a:lnTo>
                    <a:lnTo>
                      <a:pt x="256" y="39"/>
                    </a:lnTo>
                    <a:lnTo>
                      <a:pt x="261" y="41"/>
                    </a:lnTo>
                    <a:lnTo>
                      <a:pt x="263" y="43"/>
                    </a:lnTo>
                    <a:lnTo>
                      <a:pt x="263" y="44"/>
                    </a:lnTo>
                    <a:lnTo>
                      <a:pt x="263" y="46"/>
                    </a:lnTo>
                    <a:lnTo>
                      <a:pt x="263" y="48"/>
                    </a:lnTo>
                    <a:lnTo>
                      <a:pt x="265" y="48"/>
                    </a:lnTo>
                    <a:lnTo>
                      <a:pt x="267" y="48"/>
                    </a:lnTo>
                    <a:lnTo>
                      <a:pt x="269" y="50"/>
                    </a:lnTo>
                    <a:lnTo>
                      <a:pt x="271" y="54"/>
                    </a:lnTo>
                    <a:lnTo>
                      <a:pt x="271" y="58"/>
                    </a:lnTo>
                    <a:lnTo>
                      <a:pt x="273" y="62"/>
                    </a:lnTo>
                    <a:lnTo>
                      <a:pt x="275" y="64"/>
                    </a:lnTo>
                    <a:lnTo>
                      <a:pt x="275" y="68"/>
                    </a:lnTo>
                    <a:lnTo>
                      <a:pt x="277" y="69"/>
                    </a:lnTo>
                    <a:lnTo>
                      <a:pt x="275" y="71"/>
                    </a:lnTo>
                    <a:lnTo>
                      <a:pt x="275" y="73"/>
                    </a:lnTo>
                    <a:lnTo>
                      <a:pt x="275" y="75"/>
                    </a:lnTo>
                    <a:lnTo>
                      <a:pt x="277" y="77"/>
                    </a:lnTo>
                    <a:lnTo>
                      <a:pt x="277" y="79"/>
                    </a:lnTo>
                    <a:lnTo>
                      <a:pt x="282" y="81"/>
                    </a:lnTo>
                    <a:lnTo>
                      <a:pt x="284" y="81"/>
                    </a:lnTo>
                    <a:lnTo>
                      <a:pt x="286" y="81"/>
                    </a:lnTo>
                    <a:lnTo>
                      <a:pt x="290" y="83"/>
                    </a:lnTo>
                    <a:lnTo>
                      <a:pt x="288" y="89"/>
                    </a:lnTo>
                    <a:lnTo>
                      <a:pt x="288" y="91"/>
                    </a:lnTo>
                    <a:lnTo>
                      <a:pt x="290" y="96"/>
                    </a:lnTo>
                    <a:lnTo>
                      <a:pt x="286" y="98"/>
                    </a:lnTo>
                    <a:lnTo>
                      <a:pt x="286" y="100"/>
                    </a:lnTo>
                    <a:lnTo>
                      <a:pt x="290" y="102"/>
                    </a:lnTo>
                    <a:lnTo>
                      <a:pt x="302" y="108"/>
                    </a:lnTo>
                    <a:lnTo>
                      <a:pt x="304" y="106"/>
                    </a:lnTo>
                    <a:lnTo>
                      <a:pt x="307" y="106"/>
                    </a:lnTo>
                    <a:lnTo>
                      <a:pt x="311" y="108"/>
                    </a:lnTo>
                    <a:lnTo>
                      <a:pt x="311" y="110"/>
                    </a:lnTo>
                    <a:lnTo>
                      <a:pt x="315" y="112"/>
                    </a:lnTo>
                    <a:lnTo>
                      <a:pt x="317" y="116"/>
                    </a:lnTo>
                    <a:lnTo>
                      <a:pt x="319" y="118"/>
                    </a:lnTo>
                    <a:lnTo>
                      <a:pt x="325" y="118"/>
                    </a:lnTo>
                    <a:lnTo>
                      <a:pt x="330" y="119"/>
                    </a:lnTo>
                    <a:lnTo>
                      <a:pt x="332" y="119"/>
                    </a:lnTo>
                    <a:lnTo>
                      <a:pt x="338" y="121"/>
                    </a:lnTo>
                    <a:lnTo>
                      <a:pt x="342" y="125"/>
                    </a:lnTo>
                    <a:lnTo>
                      <a:pt x="344" y="125"/>
                    </a:lnTo>
                    <a:lnTo>
                      <a:pt x="348" y="127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Freeform 136">
                <a:extLst>
                  <a:ext uri="{FF2B5EF4-FFF2-40B4-BE49-F238E27FC236}">
                    <a16:creationId xmlns="" xmlns:a16="http://schemas.microsoft.com/office/drawing/2014/main" id="{5EF3ADA1-BFBB-44FA-8C94-AB8CBD5835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2713" y="3586163"/>
                <a:ext cx="223838" cy="282575"/>
              </a:xfrm>
              <a:custGeom>
                <a:avLst/>
                <a:gdLst>
                  <a:gd name="T0" fmla="*/ 135 w 141"/>
                  <a:gd name="T1" fmla="*/ 36 h 178"/>
                  <a:gd name="T2" fmla="*/ 137 w 141"/>
                  <a:gd name="T3" fmla="*/ 50 h 178"/>
                  <a:gd name="T4" fmla="*/ 133 w 141"/>
                  <a:gd name="T5" fmla="*/ 67 h 178"/>
                  <a:gd name="T6" fmla="*/ 125 w 141"/>
                  <a:gd name="T7" fmla="*/ 78 h 178"/>
                  <a:gd name="T8" fmla="*/ 125 w 141"/>
                  <a:gd name="T9" fmla="*/ 84 h 178"/>
                  <a:gd name="T10" fmla="*/ 122 w 141"/>
                  <a:gd name="T11" fmla="*/ 94 h 178"/>
                  <a:gd name="T12" fmla="*/ 123 w 141"/>
                  <a:gd name="T13" fmla="*/ 107 h 178"/>
                  <a:gd name="T14" fmla="*/ 122 w 141"/>
                  <a:gd name="T15" fmla="*/ 119 h 178"/>
                  <a:gd name="T16" fmla="*/ 100 w 141"/>
                  <a:gd name="T17" fmla="*/ 130 h 178"/>
                  <a:gd name="T18" fmla="*/ 95 w 141"/>
                  <a:gd name="T19" fmla="*/ 130 h 178"/>
                  <a:gd name="T20" fmla="*/ 97 w 141"/>
                  <a:gd name="T21" fmla="*/ 136 h 178"/>
                  <a:gd name="T22" fmla="*/ 98 w 141"/>
                  <a:gd name="T23" fmla="*/ 144 h 178"/>
                  <a:gd name="T24" fmla="*/ 100 w 141"/>
                  <a:gd name="T25" fmla="*/ 155 h 178"/>
                  <a:gd name="T26" fmla="*/ 98 w 141"/>
                  <a:gd name="T27" fmla="*/ 165 h 178"/>
                  <a:gd name="T28" fmla="*/ 85 w 141"/>
                  <a:gd name="T29" fmla="*/ 173 h 178"/>
                  <a:gd name="T30" fmla="*/ 72 w 141"/>
                  <a:gd name="T31" fmla="*/ 177 h 178"/>
                  <a:gd name="T32" fmla="*/ 56 w 141"/>
                  <a:gd name="T33" fmla="*/ 178 h 178"/>
                  <a:gd name="T34" fmla="*/ 58 w 141"/>
                  <a:gd name="T35" fmla="*/ 169 h 178"/>
                  <a:gd name="T36" fmla="*/ 66 w 141"/>
                  <a:gd name="T37" fmla="*/ 163 h 178"/>
                  <a:gd name="T38" fmla="*/ 70 w 141"/>
                  <a:gd name="T39" fmla="*/ 155 h 178"/>
                  <a:gd name="T40" fmla="*/ 64 w 141"/>
                  <a:gd name="T41" fmla="*/ 153 h 178"/>
                  <a:gd name="T42" fmla="*/ 58 w 141"/>
                  <a:gd name="T43" fmla="*/ 161 h 178"/>
                  <a:gd name="T44" fmla="*/ 56 w 141"/>
                  <a:gd name="T45" fmla="*/ 155 h 178"/>
                  <a:gd name="T46" fmla="*/ 54 w 141"/>
                  <a:gd name="T47" fmla="*/ 150 h 178"/>
                  <a:gd name="T48" fmla="*/ 56 w 141"/>
                  <a:gd name="T49" fmla="*/ 144 h 178"/>
                  <a:gd name="T50" fmla="*/ 66 w 141"/>
                  <a:gd name="T51" fmla="*/ 134 h 178"/>
                  <a:gd name="T52" fmla="*/ 62 w 141"/>
                  <a:gd name="T53" fmla="*/ 132 h 178"/>
                  <a:gd name="T54" fmla="*/ 54 w 141"/>
                  <a:gd name="T55" fmla="*/ 138 h 178"/>
                  <a:gd name="T56" fmla="*/ 45 w 141"/>
                  <a:gd name="T57" fmla="*/ 140 h 178"/>
                  <a:gd name="T58" fmla="*/ 50 w 141"/>
                  <a:gd name="T59" fmla="*/ 152 h 178"/>
                  <a:gd name="T60" fmla="*/ 45 w 141"/>
                  <a:gd name="T61" fmla="*/ 153 h 178"/>
                  <a:gd name="T62" fmla="*/ 37 w 141"/>
                  <a:gd name="T63" fmla="*/ 152 h 178"/>
                  <a:gd name="T64" fmla="*/ 29 w 141"/>
                  <a:gd name="T65" fmla="*/ 148 h 178"/>
                  <a:gd name="T66" fmla="*/ 25 w 141"/>
                  <a:gd name="T67" fmla="*/ 153 h 178"/>
                  <a:gd name="T68" fmla="*/ 20 w 141"/>
                  <a:gd name="T69" fmla="*/ 153 h 178"/>
                  <a:gd name="T70" fmla="*/ 10 w 141"/>
                  <a:gd name="T71" fmla="*/ 152 h 178"/>
                  <a:gd name="T72" fmla="*/ 8 w 141"/>
                  <a:gd name="T73" fmla="*/ 146 h 178"/>
                  <a:gd name="T74" fmla="*/ 0 w 141"/>
                  <a:gd name="T75" fmla="*/ 146 h 178"/>
                  <a:gd name="T76" fmla="*/ 8 w 141"/>
                  <a:gd name="T77" fmla="*/ 140 h 178"/>
                  <a:gd name="T78" fmla="*/ 10 w 141"/>
                  <a:gd name="T79" fmla="*/ 130 h 178"/>
                  <a:gd name="T80" fmla="*/ 10 w 141"/>
                  <a:gd name="T81" fmla="*/ 123 h 178"/>
                  <a:gd name="T82" fmla="*/ 8 w 141"/>
                  <a:gd name="T83" fmla="*/ 113 h 178"/>
                  <a:gd name="T84" fmla="*/ 18 w 141"/>
                  <a:gd name="T85" fmla="*/ 100 h 178"/>
                  <a:gd name="T86" fmla="*/ 31 w 141"/>
                  <a:gd name="T87" fmla="*/ 92 h 178"/>
                  <a:gd name="T88" fmla="*/ 27 w 141"/>
                  <a:gd name="T89" fmla="*/ 82 h 178"/>
                  <a:gd name="T90" fmla="*/ 29 w 141"/>
                  <a:gd name="T91" fmla="*/ 75 h 178"/>
                  <a:gd name="T92" fmla="*/ 31 w 141"/>
                  <a:gd name="T93" fmla="*/ 61 h 178"/>
                  <a:gd name="T94" fmla="*/ 54 w 141"/>
                  <a:gd name="T95" fmla="*/ 52 h 178"/>
                  <a:gd name="T96" fmla="*/ 64 w 141"/>
                  <a:gd name="T97" fmla="*/ 44 h 178"/>
                  <a:gd name="T98" fmla="*/ 68 w 141"/>
                  <a:gd name="T99" fmla="*/ 36 h 178"/>
                  <a:gd name="T100" fmla="*/ 73 w 141"/>
                  <a:gd name="T101" fmla="*/ 25 h 178"/>
                  <a:gd name="T102" fmla="*/ 72 w 141"/>
                  <a:gd name="T103" fmla="*/ 13 h 178"/>
                  <a:gd name="T104" fmla="*/ 81 w 141"/>
                  <a:gd name="T105" fmla="*/ 7 h 178"/>
                  <a:gd name="T106" fmla="*/ 89 w 141"/>
                  <a:gd name="T107" fmla="*/ 0 h 178"/>
                  <a:gd name="T108" fmla="*/ 110 w 141"/>
                  <a:gd name="T109" fmla="*/ 13 h 178"/>
                  <a:gd name="T110" fmla="*/ 122 w 141"/>
                  <a:gd name="T111" fmla="*/ 7 h 178"/>
                  <a:gd name="T112" fmla="*/ 129 w 141"/>
                  <a:gd name="T113" fmla="*/ 21 h 178"/>
                  <a:gd name="T114" fmla="*/ 139 w 141"/>
                  <a:gd name="T115" fmla="*/ 23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41" h="178">
                    <a:moveTo>
                      <a:pt x="141" y="23"/>
                    </a:moveTo>
                    <a:lnTo>
                      <a:pt x="139" y="25"/>
                    </a:lnTo>
                    <a:lnTo>
                      <a:pt x="139" y="27"/>
                    </a:lnTo>
                    <a:lnTo>
                      <a:pt x="139" y="28"/>
                    </a:lnTo>
                    <a:lnTo>
                      <a:pt x="139" y="30"/>
                    </a:lnTo>
                    <a:lnTo>
                      <a:pt x="141" y="32"/>
                    </a:lnTo>
                    <a:lnTo>
                      <a:pt x="139" y="32"/>
                    </a:lnTo>
                    <a:lnTo>
                      <a:pt x="139" y="34"/>
                    </a:lnTo>
                    <a:lnTo>
                      <a:pt x="137" y="34"/>
                    </a:lnTo>
                    <a:lnTo>
                      <a:pt x="135" y="36"/>
                    </a:lnTo>
                    <a:lnTo>
                      <a:pt x="135" y="38"/>
                    </a:lnTo>
                    <a:lnTo>
                      <a:pt x="137" y="40"/>
                    </a:lnTo>
                    <a:lnTo>
                      <a:pt x="137" y="42"/>
                    </a:lnTo>
                    <a:lnTo>
                      <a:pt x="135" y="42"/>
                    </a:lnTo>
                    <a:lnTo>
                      <a:pt x="137" y="42"/>
                    </a:lnTo>
                    <a:lnTo>
                      <a:pt x="137" y="44"/>
                    </a:lnTo>
                    <a:lnTo>
                      <a:pt x="137" y="46"/>
                    </a:lnTo>
                    <a:lnTo>
                      <a:pt x="135" y="46"/>
                    </a:lnTo>
                    <a:lnTo>
                      <a:pt x="135" y="48"/>
                    </a:lnTo>
                    <a:lnTo>
                      <a:pt x="137" y="50"/>
                    </a:lnTo>
                    <a:lnTo>
                      <a:pt x="137" y="52"/>
                    </a:lnTo>
                    <a:lnTo>
                      <a:pt x="137" y="53"/>
                    </a:lnTo>
                    <a:lnTo>
                      <a:pt x="137" y="55"/>
                    </a:lnTo>
                    <a:lnTo>
                      <a:pt x="137" y="57"/>
                    </a:lnTo>
                    <a:lnTo>
                      <a:pt x="135" y="59"/>
                    </a:lnTo>
                    <a:lnTo>
                      <a:pt x="135" y="61"/>
                    </a:lnTo>
                    <a:lnTo>
                      <a:pt x="135" y="63"/>
                    </a:lnTo>
                    <a:lnTo>
                      <a:pt x="135" y="65"/>
                    </a:lnTo>
                    <a:lnTo>
                      <a:pt x="133" y="65"/>
                    </a:lnTo>
                    <a:lnTo>
                      <a:pt x="133" y="67"/>
                    </a:lnTo>
                    <a:lnTo>
                      <a:pt x="133" y="69"/>
                    </a:lnTo>
                    <a:lnTo>
                      <a:pt x="131" y="71"/>
                    </a:lnTo>
                    <a:lnTo>
                      <a:pt x="131" y="73"/>
                    </a:lnTo>
                    <a:lnTo>
                      <a:pt x="131" y="75"/>
                    </a:lnTo>
                    <a:lnTo>
                      <a:pt x="129" y="73"/>
                    </a:lnTo>
                    <a:lnTo>
                      <a:pt x="127" y="73"/>
                    </a:lnTo>
                    <a:lnTo>
                      <a:pt x="127" y="75"/>
                    </a:lnTo>
                    <a:lnTo>
                      <a:pt x="127" y="77"/>
                    </a:lnTo>
                    <a:lnTo>
                      <a:pt x="127" y="78"/>
                    </a:lnTo>
                    <a:lnTo>
                      <a:pt x="125" y="78"/>
                    </a:lnTo>
                    <a:lnTo>
                      <a:pt x="123" y="80"/>
                    </a:lnTo>
                    <a:lnTo>
                      <a:pt x="123" y="78"/>
                    </a:lnTo>
                    <a:lnTo>
                      <a:pt x="123" y="80"/>
                    </a:lnTo>
                    <a:lnTo>
                      <a:pt x="122" y="78"/>
                    </a:lnTo>
                    <a:lnTo>
                      <a:pt x="122" y="80"/>
                    </a:lnTo>
                    <a:lnTo>
                      <a:pt x="123" y="80"/>
                    </a:lnTo>
                    <a:lnTo>
                      <a:pt x="123" y="82"/>
                    </a:lnTo>
                    <a:lnTo>
                      <a:pt x="122" y="82"/>
                    </a:lnTo>
                    <a:lnTo>
                      <a:pt x="123" y="84"/>
                    </a:lnTo>
                    <a:lnTo>
                      <a:pt x="125" y="84"/>
                    </a:lnTo>
                    <a:lnTo>
                      <a:pt x="127" y="84"/>
                    </a:lnTo>
                    <a:lnTo>
                      <a:pt x="125" y="86"/>
                    </a:lnTo>
                    <a:lnTo>
                      <a:pt x="125" y="88"/>
                    </a:lnTo>
                    <a:lnTo>
                      <a:pt x="125" y="90"/>
                    </a:lnTo>
                    <a:lnTo>
                      <a:pt x="127" y="90"/>
                    </a:lnTo>
                    <a:lnTo>
                      <a:pt x="127" y="92"/>
                    </a:lnTo>
                    <a:lnTo>
                      <a:pt x="125" y="92"/>
                    </a:lnTo>
                    <a:lnTo>
                      <a:pt x="123" y="94"/>
                    </a:lnTo>
                    <a:lnTo>
                      <a:pt x="123" y="92"/>
                    </a:lnTo>
                    <a:lnTo>
                      <a:pt x="122" y="94"/>
                    </a:lnTo>
                    <a:lnTo>
                      <a:pt x="120" y="96"/>
                    </a:lnTo>
                    <a:lnTo>
                      <a:pt x="120" y="98"/>
                    </a:lnTo>
                    <a:lnTo>
                      <a:pt x="122" y="98"/>
                    </a:lnTo>
                    <a:lnTo>
                      <a:pt x="122" y="100"/>
                    </a:lnTo>
                    <a:lnTo>
                      <a:pt x="125" y="102"/>
                    </a:lnTo>
                    <a:lnTo>
                      <a:pt x="123" y="102"/>
                    </a:lnTo>
                    <a:lnTo>
                      <a:pt x="123" y="103"/>
                    </a:lnTo>
                    <a:lnTo>
                      <a:pt x="122" y="103"/>
                    </a:lnTo>
                    <a:lnTo>
                      <a:pt x="123" y="105"/>
                    </a:lnTo>
                    <a:lnTo>
                      <a:pt x="123" y="107"/>
                    </a:lnTo>
                    <a:lnTo>
                      <a:pt x="122" y="107"/>
                    </a:lnTo>
                    <a:lnTo>
                      <a:pt x="122" y="109"/>
                    </a:lnTo>
                    <a:lnTo>
                      <a:pt x="120" y="111"/>
                    </a:lnTo>
                    <a:lnTo>
                      <a:pt x="118" y="113"/>
                    </a:lnTo>
                    <a:lnTo>
                      <a:pt x="120" y="113"/>
                    </a:lnTo>
                    <a:lnTo>
                      <a:pt x="118" y="113"/>
                    </a:lnTo>
                    <a:lnTo>
                      <a:pt x="120" y="115"/>
                    </a:lnTo>
                    <a:lnTo>
                      <a:pt x="120" y="117"/>
                    </a:lnTo>
                    <a:lnTo>
                      <a:pt x="120" y="119"/>
                    </a:lnTo>
                    <a:lnTo>
                      <a:pt x="122" y="119"/>
                    </a:lnTo>
                    <a:lnTo>
                      <a:pt x="120" y="121"/>
                    </a:lnTo>
                    <a:lnTo>
                      <a:pt x="118" y="121"/>
                    </a:lnTo>
                    <a:lnTo>
                      <a:pt x="116" y="121"/>
                    </a:lnTo>
                    <a:lnTo>
                      <a:pt x="112" y="119"/>
                    </a:lnTo>
                    <a:lnTo>
                      <a:pt x="110" y="121"/>
                    </a:lnTo>
                    <a:lnTo>
                      <a:pt x="106" y="127"/>
                    </a:lnTo>
                    <a:lnTo>
                      <a:pt x="104" y="128"/>
                    </a:lnTo>
                    <a:lnTo>
                      <a:pt x="102" y="128"/>
                    </a:lnTo>
                    <a:lnTo>
                      <a:pt x="102" y="130"/>
                    </a:lnTo>
                    <a:lnTo>
                      <a:pt x="100" y="130"/>
                    </a:lnTo>
                    <a:lnTo>
                      <a:pt x="98" y="130"/>
                    </a:lnTo>
                    <a:lnTo>
                      <a:pt x="98" y="128"/>
                    </a:lnTo>
                    <a:lnTo>
                      <a:pt x="98" y="125"/>
                    </a:lnTo>
                    <a:lnTo>
                      <a:pt x="97" y="125"/>
                    </a:lnTo>
                    <a:lnTo>
                      <a:pt x="95" y="125"/>
                    </a:lnTo>
                    <a:lnTo>
                      <a:pt x="97" y="127"/>
                    </a:lnTo>
                    <a:lnTo>
                      <a:pt x="95" y="127"/>
                    </a:lnTo>
                    <a:lnTo>
                      <a:pt x="95" y="128"/>
                    </a:lnTo>
                    <a:lnTo>
                      <a:pt x="97" y="128"/>
                    </a:lnTo>
                    <a:lnTo>
                      <a:pt x="95" y="130"/>
                    </a:lnTo>
                    <a:lnTo>
                      <a:pt x="97" y="132"/>
                    </a:lnTo>
                    <a:lnTo>
                      <a:pt x="95" y="134"/>
                    </a:lnTo>
                    <a:lnTo>
                      <a:pt x="93" y="134"/>
                    </a:lnTo>
                    <a:lnTo>
                      <a:pt x="93" y="136"/>
                    </a:lnTo>
                    <a:lnTo>
                      <a:pt x="91" y="136"/>
                    </a:lnTo>
                    <a:lnTo>
                      <a:pt x="91" y="138"/>
                    </a:lnTo>
                    <a:lnTo>
                      <a:pt x="93" y="138"/>
                    </a:lnTo>
                    <a:lnTo>
                      <a:pt x="93" y="136"/>
                    </a:lnTo>
                    <a:lnTo>
                      <a:pt x="95" y="136"/>
                    </a:lnTo>
                    <a:lnTo>
                      <a:pt x="97" y="136"/>
                    </a:lnTo>
                    <a:lnTo>
                      <a:pt x="95" y="138"/>
                    </a:lnTo>
                    <a:lnTo>
                      <a:pt x="97" y="138"/>
                    </a:lnTo>
                    <a:lnTo>
                      <a:pt x="98" y="136"/>
                    </a:lnTo>
                    <a:lnTo>
                      <a:pt x="100" y="138"/>
                    </a:lnTo>
                    <a:lnTo>
                      <a:pt x="98" y="138"/>
                    </a:lnTo>
                    <a:lnTo>
                      <a:pt x="98" y="140"/>
                    </a:lnTo>
                    <a:lnTo>
                      <a:pt x="97" y="140"/>
                    </a:lnTo>
                    <a:lnTo>
                      <a:pt x="97" y="142"/>
                    </a:lnTo>
                    <a:lnTo>
                      <a:pt x="98" y="142"/>
                    </a:lnTo>
                    <a:lnTo>
                      <a:pt x="98" y="144"/>
                    </a:lnTo>
                    <a:lnTo>
                      <a:pt x="98" y="146"/>
                    </a:lnTo>
                    <a:lnTo>
                      <a:pt x="100" y="146"/>
                    </a:lnTo>
                    <a:lnTo>
                      <a:pt x="98" y="148"/>
                    </a:lnTo>
                    <a:lnTo>
                      <a:pt x="100" y="148"/>
                    </a:lnTo>
                    <a:lnTo>
                      <a:pt x="98" y="150"/>
                    </a:lnTo>
                    <a:lnTo>
                      <a:pt x="98" y="152"/>
                    </a:lnTo>
                    <a:lnTo>
                      <a:pt x="102" y="152"/>
                    </a:lnTo>
                    <a:lnTo>
                      <a:pt x="102" y="153"/>
                    </a:lnTo>
                    <a:lnTo>
                      <a:pt x="102" y="155"/>
                    </a:lnTo>
                    <a:lnTo>
                      <a:pt x="100" y="155"/>
                    </a:lnTo>
                    <a:lnTo>
                      <a:pt x="100" y="157"/>
                    </a:lnTo>
                    <a:lnTo>
                      <a:pt x="100" y="159"/>
                    </a:lnTo>
                    <a:lnTo>
                      <a:pt x="100" y="161"/>
                    </a:lnTo>
                    <a:lnTo>
                      <a:pt x="98" y="161"/>
                    </a:lnTo>
                    <a:lnTo>
                      <a:pt x="98" y="163"/>
                    </a:lnTo>
                    <a:lnTo>
                      <a:pt x="100" y="163"/>
                    </a:lnTo>
                    <a:lnTo>
                      <a:pt x="100" y="165"/>
                    </a:lnTo>
                    <a:lnTo>
                      <a:pt x="100" y="163"/>
                    </a:lnTo>
                    <a:lnTo>
                      <a:pt x="100" y="165"/>
                    </a:lnTo>
                    <a:lnTo>
                      <a:pt x="98" y="165"/>
                    </a:lnTo>
                    <a:lnTo>
                      <a:pt x="98" y="167"/>
                    </a:lnTo>
                    <a:lnTo>
                      <a:pt x="97" y="167"/>
                    </a:lnTo>
                    <a:lnTo>
                      <a:pt x="95" y="167"/>
                    </a:lnTo>
                    <a:lnTo>
                      <a:pt x="93" y="167"/>
                    </a:lnTo>
                    <a:lnTo>
                      <a:pt x="93" y="169"/>
                    </a:lnTo>
                    <a:lnTo>
                      <a:pt x="91" y="169"/>
                    </a:lnTo>
                    <a:lnTo>
                      <a:pt x="89" y="169"/>
                    </a:lnTo>
                    <a:lnTo>
                      <a:pt x="87" y="171"/>
                    </a:lnTo>
                    <a:lnTo>
                      <a:pt x="85" y="171"/>
                    </a:lnTo>
                    <a:lnTo>
                      <a:pt x="85" y="173"/>
                    </a:lnTo>
                    <a:lnTo>
                      <a:pt x="83" y="175"/>
                    </a:lnTo>
                    <a:lnTo>
                      <a:pt x="81" y="177"/>
                    </a:lnTo>
                    <a:lnTo>
                      <a:pt x="79" y="177"/>
                    </a:lnTo>
                    <a:lnTo>
                      <a:pt x="77" y="175"/>
                    </a:lnTo>
                    <a:lnTo>
                      <a:pt x="77" y="173"/>
                    </a:lnTo>
                    <a:lnTo>
                      <a:pt x="75" y="173"/>
                    </a:lnTo>
                    <a:lnTo>
                      <a:pt x="75" y="175"/>
                    </a:lnTo>
                    <a:lnTo>
                      <a:pt x="73" y="175"/>
                    </a:lnTo>
                    <a:lnTo>
                      <a:pt x="73" y="177"/>
                    </a:lnTo>
                    <a:lnTo>
                      <a:pt x="72" y="177"/>
                    </a:lnTo>
                    <a:lnTo>
                      <a:pt x="70" y="177"/>
                    </a:lnTo>
                    <a:lnTo>
                      <a:pt x="70" y="175"/>
                    </a:lnTo>
                    <a:lnTo>
                      <a:pt x="70" y="177"/>
                    </a:lnTo>
                    <a:lnTo>
                      <a:pt x="68" y="178"/>
                    </a:lnTo>
                    <a:lnTo>
                      <a:pt x="66" y="178"/>
                    </a:lnTo>
                    <a:lnTo>
                      <a:pt x="64" y="177"/>
                    </a:lnTo>
                    <a:lnTo>
                      <a:pt x="62" y="178"/>
                    </a:lnTo>
                    <a:lnTo>
                      <a:pt x="60" y="178"/>
                    </a:lnTo>
                    <a:lnTo>
                      <a:pt x="58" y="178"/>
                    </a:lnTo>
                    <a:lnTo>
                      <a:pt x="56" y="178"/>
                    </a:lnTo>
                    <a:lnTo>
                      <a:pt x="54" y="177"/>
                    </a:lnTo>
                    <a:lnTo>
                      <a:pt x="52" y="175"/>
                    </a:lnTo>
                    <a:lnTo>
                      <a:pt x="54" y="175"/>
                    </a:lnTo>
                    <a:lnTo>
                      <a:pt x="52" y="173"/>
                    </a:lnTo>
                    <a:lnTo>
                      <a:pt x="52" y="171"/>
                    </a:lnTo>
                    <a:lnTo>
                      <a:pt x="54" y="171"/>
                    </a:lnTo>
                    <a:lnTo>
                      <a:pt x="56" y="173"/>
                    </a:lnTo>
                    <a:lnTo>
                      <a:pt x="56" y="171"/>
                    </a:lnTo>
                    <a:lnTo>
                      <a:pt x="58" y="171"/>
                    </a:lnTo>
                    <a:lnTo>
                      <a:pt x="58" y="169"/>
                    </a:lnTo>
                    <a:lnTo>
                      <a:pt x="60" y="171"/>
                    </a:lnTo>
                    <a:lnTo>
                      <a:pt x="60" y="169"/>
                    </a:lnTo>
                    <a:lnTo>
                      <a:pt x="62" y="169"/>
                    </a:lnTo>
                    <a:lnTo>
                      <a:pt x="60" y="169"/>
                    </a:lnTo>
                    <a:lnTo>
                      <a:pt x="62" y="169"/>
                    </a:lnTo>
                    <a:lnTo>
                      <a:pt x="64" y="169"/>
                    </a:lnTo>
                    <a:lnTo>
                      <a:pt x="64" y="167"/>
                    </a:lnTo>
                    <a:lnTo>
                      <a:pt x="64" y="165"/>
                    </a:lnTo>
                    <a:lnTo>
                      <a:pt x="66" y="165"/>
                    </a:lnTo>
                    <a:lnTo>
                      <a:pt x="66" y="163"/>
                    </a:lnTo>
                    <a:lnTo>
                      <a:pt x="68" y="163"/>
                    </a:lnTo>
                    <a:lnTo>
                      <a:pt x="70" y="165"/>
                    </a:lnTo>
                    <a:lnTo>
                      <a:pt x="70" y="163"/>
                    </a:lnTo>
                    <a:lnTo>
                      <a:pt x="72" y="161"/>
                    </a:lnTo>
                    <a:lnTo>
                      <a:pt x="72" y="159"/>
                    </a:lnTo>
                    <a:lnTo>
                      <a:pt x="72" y="157"/>
                    </a:lnTo>
                    <a:lnTo>
                      <a:pt x="73" y="157"/>
                    </a:lnTo>
                    <a:lnTo>
                      <a:pt x="72" y="157"/>
                    </a:lnTo>
                    <a:lnTo>
                      <a:pt x="72" y="155"/>
                    </a:lnTo>
                    <a:lnTo>
                      <a:pt x="70" y="155"/>
                    </a:lnTo>
                    <a:lnTo>
                      <a:pt x="70" y="153"/>
                    </a:lnTo>
                    <a:lnTo>
                      <a:pt x="72" y="153"/>
                    </a:lnTo>
                    <a:lnTo>
                      <a:pt x="70" y="153"/>
                    </a:lnTo>
                    <a:lnTo>
                      <a:pt x="70" y="152"/>
                    </a:lnTo>
                    <a:lnTo>
                      <a:pt x="68" y="153"/>
                    </a:lnTo>
                    <a:lnTo>
                      <a:pt x="68" y="152"/>
                    </a:lnTo>
                    <a:lnTo>
                      <a:pt x="66" y="153"/>
                    </a:lnTo>
                    <a:lnTo>
                      <a:pt x="66" y="152"/>
                    </a:lnTo>
                    <a:lnTo>
                      <a:pt x="64" y="152"/>
                    </a:lnTo>
                    <a:lnTo>
                      <a:pt x="64" y="153"/>
                    </a:lnTo>
                    <a:lnTo>
                      <a:pt x="64" y="155"/>
                    </a:lnTo>
                    <a:lnTo>
                      <a:pt x="64" y="159"/>
                    </a:lnTo>
                    <a:lnTo>
                      <a:pt x="64" y="161"/>
                    </a:lnTo>
                    <a:lnTo>
                      <a:pt x="62" y="161"/>
                    </a:lnTo>
                    <a:lnTo>
                      <a:pt x="64" y="163"/>
                    </a:lnTo>
                    <a:lnTo>
                      <a:pt x="62" y="163"/>
                    </a:lnTo>
                    <a:lnTo>
                      <a:pt x="62" y="165"/>
                    </a:lnTo>
                    <a:lnTo>
                      <a:pt x="60" y="163"/>
                    </a:lnTo>
                    <a:lnTo>
                      <a:pt x="60" y="161"/>
                    </a:lnTo>
                    <a:lnTo>
                      <a:pt x="58" y="161"/>
                    </a:lnTo>
                    <a:lnTo>
                      <a:pt x="58" y="159"/>
                    </a:lnTo>
                    <a:lnTo>
                      <a:pt x="58" y="161"/>
                    </a:lnTo>
                    <a:lnTo>
                      <a:pt x="58" y="159"/>
                    </a:lnTo>
                    <a:lnTo>
                      <a:pt x="58" y="157"/>
                    </a:lnTo>
                    <a:lnTo>
                      <a:pt x="58" y="155"/>
                    </a:lnTo>
                    <a:lnTo>
                      <a:pt x="58" y="157"/>
                    </a:lnTo>
                    <a:lnTo>
                      <a:pt x="56" y="157"/>
                    </a:lnTo>
                    <a:lnTo>
                      <a:pt x="56" y="159"/>
                    </a:lnTo>
                    <a:lnTo>
                      <a:pt x="54" y="157"/>
                    </a:lnTo>
                    <a:lnTo>
                      <a:pt x="56" y="155"/>
                    </a:lnTo>
                    <a:lnTo>
                      <a:pt x="58" y="155"/>
                    </a:lnTo>
                    <a:lnTo>
                      <a:pt x="58" y="153"/>
                    </a:lnTo>
                    <a:lnTo>
                      <a:pt x="56" y="153"/>
                    </a:lnTo>
                    <a:lnTo>
                      <a:pt x="56" y="152"/>
                    </a:lnTo>
                    <a:lnTo>
                      <a:pt x="56" y="153"/>
                    </a:lnTo>
                    <a:lnTo>
                      <a:pt x="54" y="153"/>
                    </a:lnTo>
                    <a:lnTo>
                      <a:pt x="54" y="152"/>
                    </a:lnTo>
                    <a:lnTo>
                      <a:pt x="56" y="152"/>
                    </a:lnTo>
                    <a:lnTo>
                      <a:pt x="54" y="152"/>
                    </a:lnTo>
                    <a:lnTo>
                      <a:pt x="54" y="150"/>
                    </a:lnTo>
                    <a:lnTo>
                      <a:pt x="56" y="150"/>
                    </a:lnTo>
                    <a:lnTo>
                      <a:pt x="54" y="150"/>
                    </a:lnTo>
                    <a:lnTo>
                      <a:pt x="54" y="148"/>
                    </a:lnTo>
                    <a:lnTo>
                      <a:pt x="56" y="148"/>
                    </a:lnTo>
                    <a:lnTo>
                      <a:pt x="56" y="146"/>
                    </a:lnTo>
                    <a:lnTo>
                      <a:pt x="56" y="148"/>
                    </a:lnTo>
                    <a:lnTo>
                      <a:pt x="56" y="146"/>
                    </a:lnTo>
                    <a:lnTo>
                      <a:pt x="58" y="146"/>
                    </a:lnTo>
                    <a:lnTo>
                      <a:pt x="56" y="146"/>
                    </a:lnTo>
                    <a:lnTo>
                      <a:pt x="56" y="144"/>
                    </a:lnTo>
                    <a:lnTo>
                      <a:pt x="58" y="144"/>
                    </a:lnTo>
                    <a:lnTo>
                      <a:pt x="58" y="142"/>
                    </a:lnTo>
                    <a:lnTo>
                      <a:pt x="60" y="142"/>
                    </a:lnTo>
                    <a:lnTo>
                      <a:pt x="60" y="140"/>
                    </a:lnTo>
                    <a:lnTo>
                      <a:pt x="62" y="138"/>
                    </a:lnTo>
                    <a:lnTo>
                      <a:pt x="62" y="136"/>
                    </a:lnTo>
                    <a:lnTo>
                      <a:pt x="64" y="138"/>
                    </a:lnTo>
                    <a:lnTo>
                      <a:pt x="64" y="136"/>
                    </a:lnTo>
                    <a:lnTo>
                      <a:pt x="66" y="136"/>
                    </a:lnTo>
                    <a:lnTo>
                      <a:pt x="66" y="134"/>
                    </a:lnTo>
                    <a:lnTo>
                      <a:pt x="68" y="134"/>
                    </a:lnTo>
                    <a:lnTo>
                      <a:pt x="68" y="132"/>
                    </a:lnTo>
                    <a:lnTo>
                      <a:pt x="66" y="132"/>
                    </a:lnTo>
                    <a:lnTo>
                      <a:pt x="64" y="130"/>
                    </a:lnTo>
                    <a:lnTo>
                      <a:pt x="64" y="132"/>
                    </a:lnTo>
                    <a:lnTo>
                      <a:pt x="62" y="132"/>
                    </a:lnTo>
                    <a:lnTo>
                      <a:pt x="60" y="132"/>
                    </a:lnTo>
                    <a:lnTo>
                      <a:pt x="60" y="130"/>
                    </a:lnTo>
                    <a:lnTo>
                      <a:pt x="60" y="132"/>
                    </a:lnTo>
                    <a:lnTo>
                      <a:pt x="62" y="132"/>
                    </a:lnTo>
                    <a:lnTo>
                      <a:pt x="62" y="134"/>
                    </a:lnTo>
                    <a:lnTo>
                      <a:pt x="60" y="134"/>
                    </a:lnTo>
                    <a:lnTo>
                      <a:pt x="62" y="134"/>
                    </a:lnTo>
                    <a:lnTo>
                      <a:pt x="62" y="136"/>
                    </a:lnTo>
                    <a:lnTo>
                      <a:pt x="60" y="136"/>
                    </a:lnTo>
                    <a:lnTo>
                      <a:pt x="58" y="138"/>
                    </a:lnTo>
                    <a:lnTo>
                      <a:pt x="56" y="138"/>
                    </a:lnTo>
                    <a:lnTo>
                      <a:pt x="54" y="138"/>
                    </a:lnTo>
                    <a:lnTo>
                      <a:pt x="54" y="136"/>
                    </a:lnTo>
                    <a:lnTo>
                      <a:pt x="54" y="138"/>
                    </a:lnTo>
                    <a:lnTo>
                      <a:pt x="52" y="136"/>
                    </a:lnTo>
                    <a:lnTo>
                      <a:pt x="52" y="138"/>
                    </a:lnTo>
                    <a:lnTo>
                      <a:pt x="50" y="140"/>
                    </a:lnTo>
                    <a:lnTo>
                      <a:pt x="49" y="140"/>
                    </a:lnTo>
                    <a:lnTo>
                      <a:pt x="49" y="142"/>
                    </a:lnTo>
                    <a:lnTo>
                      <a:pt x="49" y="140"/>
                    </a:lnTo>
                    <a:lnTo>
                      <a:pt x="47" y="140"/>
                    </a:lnTo>
                    <a:lnTo>
                      <a:pt x="47" y="142"/>
                    </a:lnTo>
                    <a:lnTo>
                      <a:pt x="47" y="140"/>
                    </a:lnTo>
                    <a:lnTo>
                      <a:pt x="45" y="140"/>
                    </a:lnTo>
                    <a:lnTo>
                      <a:pt x="45" y="142"/>
                    </a:lnTo>
                    <a:lnTo>
                      <a:pt x="43" y="144"/>
                    </a:lnTo>
                    <a:lnTo>
                      <a:pt x="45" y="146"/>
                    </a:lnTo>
                    <a:lnTo>
                      <a:pt x="47" y="146"/>
                    </a:lnTo>
                    <a:lnTo>
                      <a:pt x="49" y="146"/>
                    </a:lnTo>
                    <a:lnTo>
                      <a:pt x="49" y="148"/>
                    </a:lnTo>
                    <a:lnTo>
                      <a:pt x="50" y="150"/>
                    </a:lnTo>
                    <a:lnTo>
                      <a:pt x="49" y="150"/>
                    </a:lnTo>
                    <a:lnTo>
                      <a:pt x="49" y="152"/>
                    </a:lnTo>
                    <a:lnTo>
                      <a:pt x="50" y="152"/>
                    </a:lnTo>
                    <a:lnTo>
                      <a:pt x="50" y="153"/>
                    </a:lnTo>
                    <a:lnTo>
                      <a:pt x="49" y="153"/>
                    </a:lnTo>
                    <a:lnTo>
                      <a:pt x="47" y="153"/>
                    </a:lnTo>
                    <a:lnTo>
                      <a:pt x="49" y="155"/>
                    </a:lnTo>
                    <a:lnTo>
                      <a:pt x="47" y="157"/>
                    </a:lnTo>
                    <a:lnTo>
                      <a:pt x="47" y="155"/>
                    </a:lnTo>
                    <a:lnTo>
                      <a:pt x="47" y="153"/>
                    </a:lnTo>
                    <a:lnTo>
                      <a:pt x="45" y="153"/>
                    </a:lnTo>
                    <a:lnTo>
                      <a:pt x="45" y="152"/>
                    </a:lnTo>
                    <a:lnTo>
                      <a:pt x="45" y="153"/>
                    </a:lnTo>
                    <a:lnTo>
                      <a:pt x="45" y="155"/>
                    </a:lnTo>
                    <a:lnTo>
                      <a:pt x="45" y="157"/>
                    </a:lnTo>
                    <a:lnTo>
                      <a:pt x="43" y="159"/>
                    </a:lnTo>
                    <a:lnTo>
                      <a:pt x="43" y="161"/>
                    </a:lnTo>
                    <a:lnTo>
                      <a:pt x="41" y="161"/>
                    </a:lnTo>
                    <a:lnTo>
                      <a:pt x="41" y="159"/>
                    </a:lnTo>
                    <a:lnTo>
                      <a:pt x="39" y="157"/>
                    </a:lnTo>
                    <a:lnTo>
                      <a:pt x="39" y="155"/>
                    </a:lnTo>
                    <a:lnTo>
                      <a:pt x="37" y="153"/>
                    </a:lnTo>
                    <a:lnTo>
                      <a:pt x="37" y="152"/>
                    </a:lnTo>
                    <a:lnTo>
                      <a:pt x="35" y="152"/>
                    </a:lnTo>
                    <a:lnTo>
                      <a:pt x="35" y="153"/>
                    </a:lnTo>
                    <a:lnTo>
                      <a:pt x="35" y="155"/>
                    </a:lnTo>
                    <a:lnTo>
                      <a:pt x="33" y="155"/>
                    </a:lnTo>
                    <a:lnTo>
                      <a:pt x="33" y="153"/>
                    </a:lnTo>
                    <a:lnTo>
                      <a:pt x="31" y="153"/>
                    </a:lnTo>
                    <a:lnTo>
                      <a:pt x="31" y="152"/>
                    </a:lnTo>
                    <a:lnTo>
                      <a:pt x="31" y="150"/>
                    </a:lnTo>
                    <a:lnTo>
                      <a:pt x="29" y="150"/>
                    </a:lnTo>
                    <a:lnTo>
                      <a:pt x="29" y="148"/>
                    </a:lnTo>
                    <a:lnTo>
                      <a:pt x="27" y="150"/>
                    </a:lnTo>
                    <a:lnTo>
                      <a:pt x="27" y="148"/>
                    </a:lnTo>
                    <a:lnTo>
                      <a:pt x="27" y="150"/>
                    </a:lnTo>
                    <a:lnTo>
                      <a:pt x="29" y="150"/>
                    </a:lnTo>
                    <a:lnTo>
                      <a:pt x="29" y="152"/>
                    </a:lnTo>
                    <a:lnTo>
                      <a:pt x="27" y="152"/>
                    </a:lnTo>
                    <a:lnTo>
                      <a:pt x="29" y="152"/>
                    </a:lnTo>
                    <a:lnTo>
                      <a:pt x="27" y="152"/>
                    </a:lnTo>
                    <a:lnTo>
                      <a:pt x="25" y="152"/>
                    </a:lnTo>
                    <a:lnTo>
                      <a:pt x="25" y="153"/>
                    </a:lnTo>
                    <a:lnTo>
                      <a:pt x="25" y="155"/>
                    </a:lnTo>
                    <a:lnTo>
                      <a:pt x="25" y="157"/>
                    </a:lnTo>
                    <a:lnTo>
                      <a:pt x="24" y="155"/>
                    </a:lnTo>
                    <a:lnTo>
                      <a:pt x="24" y="157"/>
                    </a:lnTo>
                    <a:lnTo>
                      <a:pt x="22" y="157"/>
                    </a:lnTo>
                    <a:lnTo>
                      <a:pt x="22" y="159"/>
                    </a:lnTo>
                    <a:lnTo>
                      <a:pt x="20" y="157"/>
                    </a:lnTo>
                    <a:lnTo>
                      <a:pt x="18" y="157"/>
                    </a:lnTo>
                    <a:lnTo>
                      <a:pt x="20" y="155"/>
                    </a:lnTo>
                    <a:lnTo>
                      <a:pt x="20" y="153"/>
                    </a:lnTo>
                    <a:lnTo>
                      <a:pt x="20" y="152"/>
                    </a:lnTo>
                    <a:lnTo>
                      <a:pt x="18" y="152"/>
                    </a:lnTo>
                    <a:lnTo>
                      <a:pt x="18" y="150"/>
                    </a:lnTo>
                    <a:lnTo>
                      <a:pt x="16" y="152"/>
                    </a:lnTo>
                    <a:lnTo>
                      <a:pt x="14" y="153"/>
                    </a:lnTo>
                    <a:lnTo>
                      <a:pt x="14" y="152"/>
                    </a:lnTo>
                    <a:lnTo>
                      <a:pt x="12" y="152"/>
                    </a:lnTo>
                    <a:lnTo>
                      <a:pt x="12" y="153"/>
                    </a:lnTo>
                    <a:lnTo>
                      <a:pt x="10" y="153"/>
                    </a:lnTo>
                    <a:lnTo>
                      <a:pt x="10" y="152"/>
                    </a:lnTo>
                    <a:lnTo>
                      <a:pt x="12" y="152"/>
                    </a:lnTo>
                    <a:lnTo>
                      <a:pt x="10" y="152"/>
                    </a:lnTo>
                    <a:lnTo>
                      <a:pt x="10" y="150"/>
                    </a:lnTo>
                    <a:lnTo>
                      <a:pt x="12" y="150"/>
                    </a:lnTo>
                    <a:lnTo>
                      <a:pt x="12" y="148"/>
                    </a:lnTo>
                    <a:lnTo>
                      <a:pt x="10" y="148"/>
                    </a:lnTo>
                    <a:lnTo>
                      <a:pt x="10" y="150"/>
                    </a:lnTo>
                    <a:lnTo>
                      <a:pt x="8" y="150"/>
                    </a:lnTo>
                    <a:lnTo>
                      <a:pt x="8" y="148"/>
                    </a:lnTo>
                    <a:lnTo>
                      <a:pt x="8" y="146"/>
                    </a:lnTo>
                    <a:lnTo>
                      <a:pt x="8" y="148"/>
                    </a:lnTo>
                    <a:lnTo>
                      <a:pt x="8" y="146"/>
                    </a:lnTo>
                    <a:lnTo>
                      <a:pt x="8" y="148"/>
                    </a:lnTo>
                    <a:lnTo>
                      <a:pt x="6" y="148"/>
                    </a:lnTo>
                    <a:lnTo>
                      <a:pt x="6" y="146"/>
                    </a:lnTo>
                    <a:lnTo>
                      <a:pt x="4" y="146"/>
                    </a:lnTo>
                    <a:lnTo>
                      <a:pt x="4" y="148"/>
                    </a:lnTo>
                    <a:lnTo>
                      <a:pt x="2" y="148"/>
                    </a:lnTo>
                    <a:lnTo>
                      <a:pt x="2" y="146"/>
                    </a:lnTo>
                    <a:lnTo>
                      <a:pt x="0" y="146"/>
                    </a:lnTo>
                    <a:lnTo>
                      <a:pt x="0" y="144"/>
                    </a:lnTo>
                    <a:lnTo>
                      <a:pt x="2" y="144"/>
                    </a:lnTo>
                    <a:lnTo>
                      <a:pt x="2" y="142"/>
                    </a:lnTo>
                    <a:lnTo>
                      <a:pt x="2" y="140"/>
                    </a:lnTo>
                    <a:lnTo>
                      <a:pt x="4" y="140"/>
                    </a:lnTo>
                    <a:lnTo>
                      <a:pt x="6" y="140"/>
                    </a:lnTo>
                    <a:lnTo>
                      <a:pt x="6" y="138"/>
                    </a:lnTo>
                    <a:lnTo>
                      <a:pt x="8" y="140"/>
                    </a:lnTo>
                    <a:lnTo>
                      <a:pt x="8" y="138"/>
                    </a:lnTo>
                    <a:lnTo>
                      <a:pt x="8" y="140"/>
                    </a:lnTo>
                    <a:lnTo>
                      <a:pt x="10" y="140"/>
                    </a:lnTo>
                    <a:lnTo>
                      <a:pt x="12" y="140"/>
                    </a:lnTo>
                    <a:lnTo>
                      <a:pt x="12" y="138"/>
                    </a:lnTo>
                    <a:lnTo>
                      <a:pt x="12" y="136"/>
                    </a:lnTo>
                    <a:lnTo>
                      <a:pt x="10" y="136"/>
                    </a:lnTo>
                    <a:lnTo>
                      <a:pt x="6" y="134"/>
                    </a:lnTo>
                    <a:lnTo>
                      <a:pt x="8" y="134"/>
                    </a:lnTo>
                    <a:lnTo>
                      <a:pt x="8" y="132"/>
                    </a:lnTo>
                    <a:lnTo>
                      <a:pt x="8" y="130"/>
                    </a:lnTo>
                    <a:lnTo>
                      <a:pt x="10" y="130"/>
                    </a:lnTo>
                    <a:lnTo>
                      <a:pt x="10" y="128"/>
                    </a:lnTo>
                    <a:lnTo>
                      <a:pt x="8" y="128"/>
                    </a:lnTo>
                    <a:lnTo>
                      <a:pt x="6" y="130"/>
                    </a:lnTo>
                    <a:lnTo>
                      <a:pt x="6" y="128"/>
                    </a:lnTo>
                    <a:lnTo>
                      <a:pt x="8" y="128"/>
                    </a:lnTo>
                    <a:lnTo>
                      <a:pt x="12" y="127"/>
                    </a:lnTo>
                    <a:lnTo>
                      <a:pt x="10" y="127"/>
                    </a:lnTo>
                    <a:lnTo>
                      <a:pt x="12" y="125"/>
                    </a:lnTo>
                    <a:lnTo>
                      <a:pt x="10" y="125"/>
                    </a:lnTo>
                    <a:lnTo>
                      <a:pt x="10" y="123"/>
                    </a:lnTo>
                    <a:lnTo>
                      <a:pt x="10" y="121"/>
                    </a:lnTo>
                    <a:lnTo>
                      <a:pt x="8" y="121"/>
                    </a:lnTo>
                    <a:lnTo>
                      <a:pt x="8" y="119"/>
                    </a:lnTo>
                    <a:lnTo>
                      <a:pt x="10" y="119"/>
                    </a:lnTo>
                    <a:lnTo>
                      <a:pt x="8" y="119"/>
                    </a:lnTo>
                    <a:lnTo>
                      <a:pt x="10" y="119"/>
                    </a:lnTo>
                    <a:lnTo>
                      <a:pt x="10" y="117"/>
                    </a:lnTo>
                    <a:lnTo>
                      <a:pt x="10" y="115"/>
                    </a:lnTo>
                    <a:lnTo>
                      <a:pt x="12" y="115"/>
                    </a:lnTo>
                    <a:lnTo>
                      <a:pt x="8" y="113"/>
                    </a:lnTo>
                    <a:lnTo>
                      <a:pt x="8" y="111"/>
                    </a:lnTo>
                    <a:lnTo>
                      <a:pt x="8" y="109"/>
                    </a:lnTo>
                    <a:lnTo>
                      <a:pt x="10" y="107"/>
                    </a:lnTo>
                    <a:lnTo>
                      <a:pt x="8" y="107"/>
                    </a:lnTo>
                    <a:lnTo>
                      <a:pt x="10" y="105"/>
                    </a:lnTo>
                    <a:lnTo>
                      <a:pt x="10" y="103"/>
                    </a:lnTo>
                    <a:lnTo>
                      <a:pt x="12" y="102"/>
                    </a:lnTo>
                    <a:lnTo>
                      <a:pt x="14" y="100"/>
                    </a:lnTo>
                    <a:lnTo>
                      <a:pt x="16" y="96"/>
                    </a:lnTo>
                    <a:lnTo>
                      <a:pt x="18" y="100"/>
                    </a:lnTo>
                    <a:lnTo>
                      <a:pt x="22" y="102"/>
                    </a:lnTo>
                    <a:lnTo>
                      <a:pt x="24" y="98"/>
                    </a:lnTo>
                    <a:lnTo>
                      <a:pt x="24" y="96"/>
                    </a:lnTo>
                    <a:lnTo>
                      <a:pt x="24" y="94"/>
                    </a:lnTo>
                    <a:lnTo>
                      <a:pt x="25" y="94"/>
                    </a:lnTo>
                    <a:lnTo>
                      <a:pt x="25" y="96"/>
                    </a:lnTo>
                    <a:lnTo>
                      <a:pt x="25" y="94"/>
                    </a:lnTo>
                    <a:lnTo>
                      <a:pt x="27" y="94"/>
                    </a:lnTo>
                    <a:lnTo>
                      <a:pt x="29" y="92"/>
                    </a:lnTo>
                    <a:lnTo>
                      <a:pt x="31" y="92"/>
                    </a:lnTo>
                    <a:lnTo>
                      <a:pt x="31" y="90"/>
                    </a:lnTo>
                    <a:lnTo>
                      <a:pt x="31" y="88"/>
                    </a:lnTo>
                    <a:lnTo>
                      <a:pt x="31" y="90"/>
                    </a:lnTo>
                    <a:lnTo>
                      <a:pt x="29" y="88"/>
                    </a:lnTo>
                    <a:lnTo>
                      <a:pt x="29" y="86"/>
                    </a:lnTo>
                    <a:lnTo>
                      <a:pt x="29" y="84"/>
                    </a:lnTo>
                    <a:lnTo>
                      <a:pt x="27" y="84"/>
                    </a:lnTo>
                    <a:lnTo>
                      <a:pt x="27" y="82"/>
                    </a:lnTo>
                    <a:lnTo>
                      <a:pt x="29" y="82"/>
                    </a:lnTo>
                    <a:lnTo>
                      <a:pt x="27" y="82"/>
                    </a:lnTo>
                    <a:lnTo>
                      <a:pt x="29" y="82"/>
                    </a:lnTo>
                    <a:lnTo>
                      <a:pt x="27" y="82"/>
                    </a:lnTo>
                    <a:lnTo>
                      <a:pt x="27" y="80"/>
                    </a:lnTo>
                    <a:lnTo>
                      <a:pt x="29" y="80"/>
                    </a:lnTo>
                    <a:lnTo>
                      <a:pt x="27" y="78"/>
                    </a:lnTo>
                    <a:lnTo>
                      <a:pt x="29" y="78"/>
                    </a:lnTo>
                    <a:lnTo>
                      <a:pt x="27" y="77"/>
                    </a:lnTo>
                    <a:lnTo>
                      <a:pt x="29" y="77"/>
                    </a:lnTo>
                    <a:lnTo>
                      <a:pt x="27" y="75"/>
                    </a:lnTo>
                    <a:lnTo>
                      <a:pt x="29" y="75"/>
                    </a:lnTo>
                    <a:lnTo>
                      <a:pt x="27" y="73"/>
                    </a:lnTo>
                    <a:lnTo>
                      <a:pt x="29" y="71"/>
                    </a:lnTo>
                    <a:lnTo>
                      <a:pt x="31" y="71"/>
                    </a:lnTo>
                    <a:lnTo>
                      <a:pt x="29" y="69"/>
                    </a:lnTo>
                    <a:lnTo>
                      <a:pt x="31" y="65"/>
                    </a:lnTo>
                    <a:lnTo>
                      <a:pt x="29" y="65"/>
                    </a:lnTo>
                    <a:lnTo>
                      <a:pt x="31" y="63"/>
                    </a:lnTo>
                    <a:lnTo>
                      <a:pt x="31" y="61"/>
                    </a:lnTo>
                    <a:lnTo>
                      <a:pt x="29" y="61"/>
                    </a:lnTo>
                    <a:lnTo>
                      <a:pt x="31" y="61"/>
                    </a:lnTo>
                    <a:lnTo>
                      <a:pt x="31" y="59"/>
                    </a:lnTo>
                    <a:lnTo>
                      <a:pt x="33" y="55"/>
                    </a:lnTo>
                    <a:lnTo>
                      <a:pt x="37" y="52"/>
                    </a:lnTo>
                    <a:lnTo>
                      <a:pt x="37" y="50"/>
                    </a:lnTo>
                    <a:lnTo>
                      <a:pt x="45" y="52"/>
                    </a:lnTo>
                    <a:lnTo>
                      <a:pt x="49" y="53"/>
                    </a:lnTo>
                    <a:lnTo>
                      <a:pt x="50" y="55"/>
                    </a:lnTo>
                    <a:lnTo>
                      <a:pt x="50" y="53"/>
                    </a:lnTo>
                    <a:lnTo>
                      <a:pt x="52" y="52"/>
                    </a:lnTo>
                    <a:lnTo>
                      <a:pt x="54" y="52"/>
                    </a:lnTo>
                    <a:lnTo>
                      <a:pt x="54" y="53"/>
                    </a:lnTo>
                    <a:lnTo>
                      <a:pt x="56" y="53"/>
                    </a:lnTo>
                    <a:lnTo>
                      <a:pt x="56" y="52"/>
                    </a:lnTo>
                    <a:lnTo>
                      <a:pt x="58" y="52"/>
                    </a:lnTo>
                    <a:lnTo>
                      <a:pt x="58" y="50"/>
                    </a:lnTo>
                    <a:lnTo>
                      <a:pt x="58" y="52"/>
                    </a:lnTo>
                    <a:lnTo>
                      <a:pt x="60" y="50"/>
                    </a:lnTo>
                    <a:lnTo>
                      <a:pt x="62" y="48"/>
                    </a:lnTo>
                    <a:lnTo>
                      <a:pt x="64" y="46"/>
                    </a:lnTo>
                    <a:lnTo>
                      <a:pt x="64" y="44"/>
                    </a:lnTo>
                    <a:lnTo>
                      <a:pt x="66" y="44"/>
                    </a:lnTo>
                    <a:lnTo>
                      <a:pt x="66" y="42"/>
                    </a:lnTo>
                    <a:lnTo>
                      <a:pt x="68" y="42"/>
                    </a:lnTo>
                    <a:lnTo>
                      <a:pt x="70" y="42"/>
                    </a:lnTo>
                    <a:lnTo>
                      <a:pt x="70" y="40"/>
                    </a:lnTo>
                    <a:lnTo>
                      <a:pt x="70" y="38"/>
                    </a:lnTo>
                    <a:lnTo>
                      <a:pt x="70" y="36"/>
                    </a:lnTo>
                    <a:lnTo>
                      <a:pt x="68" y="36"/>
                    </a:lnTo>
                    <a:lnTo>
                      <a:pt x="68" y="34"/>
                    </a:lnTo>
                    <a:lnTo>
                      <a:pt x="68" y="36"/>
                    </a:lnTo>
                    <a:lnTo>
                      <a:pt x="68" y="34"/>
                    </a:lnTo>
                    <a:lnTo>
                      <a:pt x="70" y="34"/>
                    </a:lnTo>
                    <a:lnTo>
                      <a:pt x="70" y="32"/>
                    </a:lnTo>
                    <a:lnTo>
                      <a:pt x="70" y="30"/>
                    </a:lnTo>
                    <a:lnTo>
                      <a:pt x="72" y="30"/>
                    </a:lnTo>
                    <a:lnTo>
                      <a:pt x="72" y="28"/>
                    </a:lnTo>
                    <a:lnTo>
                      <a:pt x="73" y="28"/>
                    </a:lnTo>
                    <a:lnTo>
                      <a:pt x="73" y="27"/>
                    </a:lnTo>
                    <a:lnTo>
                      <a:pt x="75" y="27"/>
                    </a:lnTo>
                    <a:lnTo>
                      <a:pt x="73" y="25"/>
                    </a:lnTo>
                    <a:lnTo>
                      <a:pt x="73" y="23"/>
                    </a:lnTo>
                    <a:lnTo>
                      <a:pt x="73" y="25"/>
                    </a:lnTo>
                    <a:lnTo>
                      <a:pt x="73" y="23"/>
                    </a:lnTo>
                    <a:lnTo>
                      <a:pt x="73" y="21"/>
                    </a:lnTo>
                    <a:lnTo>
                      <a:pt x="75" y="21"/>
                    </a:lnTo>
                    <a:lnTo>
                      <a:pt x="75" y="19"/>
                    </a:lnTo>
                    <a:lnTo>
                      <a:pt x="75" y="17"/>
                    </a:lnTo>
                    <a:lnTo>
                      <a:pt x="75" y="15"/>
                    </a:lnTo>
                    <a:lnTo>
                      <a:pt x="73" y="15"/>
                    </a:lnTo>
                    <a:lnTo>
                      <a:pt x="72" y="13"/>
                    </a:lnTo>
                    <a:lnTo>
                      <a:pt x="73" y="13"/>
                    </a:lnTo>
                    <a:lnTo>
                      <a:pt x="73" y="11"/>
                    </a:lnTo>
                    <a:lnTo>
                      <a:pt x="75" y="11"/>
                    </a:lnTo>
                    <a:lnTo>
                      <a:pt x="75" y="9"/>
                    </a:lnTo>
                    <a:lnTo>
                      <a:pt x="77" y="9"/>
                    </a:lnTo>
                    <a:lnTo>
                      <a:pt x="77" y="7"/>
                    </a:lnTo>
                    <a:lnTo>
                      <a:pt x="77" y="9"/>
                    </a:lnTo>
                    <a:lnTo>
                      <a:pt x="77" y="7"/>
                    </a:lnTo>
                    <a:lnTo>
                      <a:pt x="79" y="7"/>
                    </a:lnTo>
                    <a:lnTo>
                      <a:pt x="81" y="7"/>
                    </a:lnTo>
                    <a:lnTo>
                      <a:pt x="79" y="7"/>
                    </a:lnTo>
                    <a:lnTo>
                      <a:pt x="81" y="7"/>
                    </a:lnTo>
                    <a:lnTo>
                      <a:pt x="81" y="5"/>
                    </a:lnTo>
                    <a:lnTo>
                      <a:pt x="81" y="3"/>
                    </a:lnTo>
                    <a:lnTo>
                      <a:pt x="81" y="2"/>
                    </a:lnTo>
                    <a:lnTo>
                      <a:pt x="83" y="2"/>
                    </a:lnTo>
                    <a:lnTo>
                      <a:pt x="83" y="3"/>
                    </a:lnTo>
                    <a:lnTo>
                      <a:pt x="85" y="2"/>
                    </a:lnTo>
                    <a:lnTo>
                      <a:pt x="87" y="0"/>
                    </a:lnTo>
                    <a:lnTo>
                      <a:pt x="89" y="0"/>
                    </a:lnTo>
                    <a:lnTo>
                      <a:pt x="93" y="0"/>
                    </a:lnTo>
                    <a:lnTo>
                      <a:pt x="97" y="0"/>
                    </a:lnTo>
                    <a:lnTo>
                      <a:pt x="97" y="2"/>
                    </a:lnTo>
                    <a:lnTo>
                      <a:pt x="98" y="2"/>
                    </a:lnTo>
                    <a:lnTo>
                      <a:pt x="98" y="3"/>
                    </a:lnTo>
                    <a:lnTo>
                      <a:pt x="98" y="5"/>
                    </a:lnTo>
                    <a:lnTo>
                      <a:pt x="100" y="5"/>
                    </a:lnTo>
                    <a:lnTo>
                      <a:pt x="104" y="9"/>
                    </a:lnTo>
                    <a:lnTo>
                      <a:pt x="106" y="11"/>
                    </a:lnTo>
                    <a:lnTo>
                      <a:pt x="110" y="13"/>
                    </a:lnTo>
                    <a:lnTo>
                      <a:pt x="112" y="15"/>
                    </a:lnTo>
                    <a:lnTo>
                      <a:pt x="114" y="15"/>
                    </a:lnTo>
                    <a:lnTo>
                      <a:pt x="114" y="13"/>
                    </a:lnTo>
                    <a:lnTo>
                      <a:pt x="116" y="11"/>
                    </a:lnTo>
                    <a:lnTo>
                      <a:pt x="118" y="9"/>
                    </a:lnTo>
                    <a:lnTo>
                      <a:pt x="118" y="7"/>
                    </a:lnTo>
                    <a:lnTo>
                      <a:pt x="120" y="7"/>
                    </a:lnTo>
                    <a:lnTo>
                      <a:pt x="122" y="7"/>
                    </a:lnTo>
                    <a:lnTo>
                      <a:pt x="122" y="9"/>
                    </a:lnTo>
                    <a:lnTo>
                      <a:pt x="122" y="7"/>
                    </a:lnTo>
                    <a:lnTo>
                      <a:pt x="125" y="9"/>
                    </a:lnTo>
                    <a:lnTo>
                      <a:pt x="123" y="11"/>
                    </a:lnTo>
                    <a:lnTo>
                      <a:pt x="123" y="13"/>
                    </a:lnTo>
                    <a:lnTo>
                      <a:pt x="123" y="15"/>
                    </a:lnTo>
                    <a:lnTo>
                      <a:pt x="125" y="17"/>
                    </a:lnTo>
                    <a:lnTo>
                      <a:pt x="123" y="19"/>
                    </a:lnTo>
                    <a:lnTo>
                      <a:pt x="125" y="21"/>
                    </a:lnTo>
                    <a:lnTo>
                      <a:pt x="127" y="23"/>
                    </a:lnTo>
                    <a:lnTo>
                      <a:pt x="127" y="21"/>
                    </a:lnTo>
                    <a:lnTo>
                      <a:pt x="129" y="21"/>
                    </a:lnTo>
                    <a:lnTo>
                      <a:pt x="131" y="21"/>
                    </a:lnTo>
                    <a:lnTo>
                      <a:pt x="131" y="19"/>
                    </a:lnTo>
                    <a:lnTo>
                      <a:pt x="133" y="19"/>
                    </a:lnTo>
                    <a:lnTo>
                      <a:pt x="133" y="21"/>
                    </a:lnTo>
                    <a:lnTo>
                      <a:pt x="135" y="21"/>
                    </a:lnTo>
                    <a:lnTo>
                      <a:pt x="137" y="19"/>
                    </a:lnTo>
                    <a:lnTo>
                      <a:pt x="137" y="21"/>
                    </a:lnTo>
                    <a:lnTo>
                      <a:pt x="137" y="19"/>
                    </a:lnTo>
                    <a:lnTo>
                      <a:pt x="137" y="21"/>
                    </a:lnTo>
                    <a:lnTo>
                      <a:pt x="139" y="23"/>
                    </a:lnTo>
                    <a:lnTo>
                      <a:pt x="141" y="23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Freeform 137">
                <a:extLst>
                  <a:ext uri="{FF2B5EF4-FFF2-40B4-BE49-F238E27FC236}">
                    <a16:creationId xmlns="" xmlns:a16="http://schemas.microsoft.com/office/drawing/2014/main" id="{319A6DB3-1B17-4AAE-A543-AA98A46C6C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68538" y="3811588"/>
                <a:ext cx="254000" cy="244475"/>
              </a:xfrm>
              <a:custGeom>
                <a:avLst/>
                <a:gdLst>
                  <a:gd name="T0" fmla="*/ 158 w 160"/>
                  <a:gd name="T1" fmla="*/ 86 h 154"/>
                  <a:gd name="T2" fmla="*/ 152 w 160"/>
                  <a:gd name="T3" fmla="*/ 98 h 154"/>
                  <a:gd name="T4" fmla="*/ 143 w 160"/>
                  <a:gd name="T5" fmla="*/ 104 h 154"/>
                  <a:gd name="T6" fmla="*/ 139 w 160"/>
                  <a:gd name="T7" fmla="*/ 111 h 154"/>
                  <a:gd name="T8" fmla="*/ 131 w 160"/>
                  <a:gd name="T9" fmla="*/ 106 h 154"/>
                  <a:gd name="T10" fmla="*/ 121 w 160"/>
                  <a:gd name="T11" fmla="*/ 104 h 154"/>
                  <a:gd name="T12" fmla="*/ 108 w 160"/>
                  <a:gd name="T13" fmla="*/ 96 h 154"/>
                  <a:gd name="T14" fmla="*/ 93 w 160"/>
                  <a:gd name="T15" fmla="*/ 100 h 154"/>
                  <a:gd name="T16" fmla="*/ 87 w 160"/>
                  <a:gd name="T17" fmla="*/ 100 h 154"/>
                  <a:gd name="T18" fmla="*/ 83 w 160"/>
                  <a:gd name="T19" fmla="*/ 100 h 154"/>
                  <a:gd name="T20" fmla="*/ 81 w 160"/>
                  <a:gd name="T21" fmla="*/ 106 h 154"/>
                  <a:gd name="T22" fmla="*/ 72 w 160"/>
                  <a:gd name="T23" fmla="*/ 106 h 154"/>
                  <a:gd name="T24" fmla="*/ 64 w 160"/>
                  <a:gd name="T25" fmla="*/ 106 h 154"/>
                  <a:gd name="T26" fmla="*/ 60 w 160"/>
                  <a:gd name="T27" fmla="*/ 117 h 154"/>
                  <a:gd name="T28" fmla="*/ 58 w 160"/>
                  <a:gd name="T29" fmla="*/ 131 h 154"/>
                  <a:gd name="T30" fmla="*/ 62 w 160"/>
                  <a:gd name="T31" fmla="*/ 136 h 154"/>
                  <a:gd name="T32" fmla="*/ 62 w 160"/>
                  <a:gd name="T33" fmla="*/ 150 h 154"/>
                  <a:gd name="T34" fmla="*/ 48 w 160"/>
                  <a:gd name="T35" fmla="*/ 150 h 154"/>
                  <a:gd name="T36" fmla="*/ 41 w 160"/>
                  <a:gd name="T37" fmla="*/ 150 h 154"/>
                  <a:gd name="T38" fmla="*/ 37 w 160"/>
                  <a:gd name="T39" fmla="*/ 152 h 154"/>
                  <a:gd name="T40" fmla="*/ 33 w 160"/>
                  <a:gd name="T41" fmla="*/ 148 h 154"/>
                  <a:gd name="T42" fmla="*/ 27 w 160"/>
                  <a:gd name="T43" fmla="*/ 152 h 154"/>
                  <a:gd name="T44" fmla="*/ 14 w 160"/>
                  <a:gd name="T45" fmla="*/ 148 h 154"/>
                  <a:gd name="T46" fmla="*/ 8 w 160"/>
                  <a:gd name="T47" fmla="*/ 146 h 154"/>
                  <a:gd name="T48" fmla="*/ 6 w 160"/>
                  <a:gd name="T49" fmla="*/ 144 h 154"/>
                  <a:gd name="T50" fmla="*/ 0 w 160"/>
                  <a:gd name="T51" fmla="*/ 138 h 154"/>
                  <a:gd name="T52" fmla="*/ 8 w 160"/>
                  <a:gd name="T53" fmla="*/ 131 h 154"/>
                  <a:gd name="T54" fmla="*/ 14 w 160"/>
                  <a:gd name="T55" fmla="*/ 121 h 154"/>
                  <a:gd name="T56" fmla="*/ 22 w 160"/>
                  <a:gd name="T57" fmla="*/ 109 h 154"/>
                  <a:gd name="T58" fmla="*/ 25 w 160"/>
                  <a:gd name="T59" fmla="*/ 98 h 154"/>
                  <a:gd name="T60" fmla="*/ 23 w 160"/>
                  <a:gd name="T61" fmla="*/ 88 h 154"/>
                  <a:gd name="T62" fmla="*/ 22 w 160"/>
                  <a:gd name="T63" fmla="*/ 81 h 154"/>
                  <a:gd name="T64" fmla="*/ 20 w 160"/>
                  <a:gd name="T65" fmla="*/ 77 h 154"/>
                  <a:gd name="T66" fmla="*/ 22 w 160"/>
                  <a:gd name="T67" fmla="*/ 63 h 154"/>
                  <a:gd name="T68" fmla="*/ 20 w 160"/>
                  <a:gd name="T69" fmla="*/ 54 h 154"/>
                  <a:gd name="T70" fmla="*/ 23 w 160"/>
                  <a:gd name="T71" fmla="*/ 46 h 154"/>
                  <a:gd name="T72" fmla="*/ 20 w 160"/>
                  <a:gd name="T73" fmla="*/ 36 h 154"/>
                  <a:gd name="T74" fmla="*/ 14 w 160"/>
                  <a:gd name="T75" fmla="*/ 38 h 154"/>
                  <a:gd name="T76" fmla="*/ 22 w 160"/>
                  <a:gd name="T77" fmla="*/ 35 h 154"/>
                  <a:gd name="T78" fmla="*/ 29 w 160"/>
                  <a:gd name="T79" fmla="*/ 33 h 154"/>
                  <a:gd name="T80" fmla="*/ 39 w 160"/>
                  <a:gd name="T81" fmla="*/ 35 h 154"/>
                  <a:gd name="T82" fmla="*/ 45 w 160"/>
                  <a:gd name="T83" fmla="*/ 33 h 154"/>
                  <a:gd name="T84" fmla="*/ 50 w 160"/>
                  <a:gd name="T85" fmla="*/ 33 h 154"/>
                  <a:gd name="T86" fmla="*/ 52 w 160"/>
                  <a:gd name="T87" fmla="*/ 25 h 154"/>
                  <a:gd name="T88" fmla="*/ 52 w 160"/>
                  <a:gd name="T89" fmla="*/ 17 h 154"/>
                  <a:gd name="T90" fmla="*/ 52 w 160"/>
                  <a:gd name="T91" fmla="*/ 13 h 154"/>
                  <a:gd name="T92" fmla="*/ 56 w 160"/>
                  <a:gd name="T93" fmla="*/ 4 h 154"/>
                  <a:gd name="T94" fmla="*/ 60 w 160"/>
                  <a:gd name="T95" fmla="*/ 2 h 154"/>
                  <a:gd name="T96" fmla="*/ 66 w 160"/>
                  <a:gd name="T97" fmla="*/ 11 h 154"/>
                  <a:gd name="T98" fmla="*/ 73 w 160"/>
                  <a:gd name="T99" fmla="*/ 15 h 154"/>
                  <a:gd name="T100" fmla="*/ 81 w 160"/>
                  <a:gd name="T101" fmla="*/ 21 h 154"/>
                  <a:gd name="T102" fmla="*/ 79 w 160"/>
                  <a:gd name="T103" fmla="*/ 33 h 154"/>
                  <a:gd name="T104" fmla="*/ 89 w 160"/>
                  <a:gd name="T105" fmla="*/ 31 h 154"/>
                  <a:gd name="T106" fmla="*/ 98 w 160"/>
                  <a:gd name="T107" fmla="*/ 25 h 154"/>
                  <a:gd name="T108" fmla="*/ 100 w 160"/>
                  <a:gd name="T109" fmla="*/ 29 h 154"/>
                  <a:gd name="T110" fmla="*/ 108 w 160"/>
                  <a:gd name="T111" fmla="*/ 29 h 154"/>
                  <a:gd name="T112" fmla="*/ 110 w 160"/>
                  <a:gd name="T113" fmla="*/ 36 h 154"/>
                  <a:gd name="T114" fmla="*/ 133 w 160"/>
                  <a:gd name="T115" fmla="*/ 36 h 154"/>
                  <a:gd name="T116" fmla="*/ 145 w 160"/>
                  <a:gd name="T117" fmla="*/ 38 h 154"/>
                  <a:gd name="T118" fmla="*/ 150 w 160"/>
                  <a:gd name="T119" fmla="*/ 42 h 154"/>
                  <a:gd name="T120" fmla="*/ 150 w 160"/>
                  <a:gd name="T121" fmla="*/ 52 h 154"/>
                  <a:gd name="T122" fmla="*/ 146 w 160"/>
                  <a:gd name="T123" fmla="*/ 58 h 154"/>
                  <a:gd name="T124" fmla="*/ 152 w 160"/>
                  <a:gd name="T125" fmla="*/ 63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60" h="154">
                    <a:moveTo>
                      <a:pt x="160" y="73"/>
                    </a:moveTo>
                    <a:lnTo>
                      <a:pt x="160" y="75"/>
                    </a:lnTo>
                    <a:lnTo>
                      <a:pt x="158" y="79"/>
                    </a:lnTo>
                    <a:lnTo>
                      <a:pt x="160" y="79"/>
                    </a:lnTo>
                    <a:lnTo>
                      <a:pt x="158" y="81"/>
                    </a:lnTo>
                    <a:lnTo>
                      <a:pt x="158" y="83"/>
                    </a:lnTo>
                    <a:lnTo>
                      <a:pt x="158" y="85"/>
                    </a:lnTo>
                    <a:lnTo>
                      <a:pt x="158" y="86"/>
                    </a:lnTo>
                    <a:lnTo>
                      <a:pt x="158" y="88"/>
                    </a:lnTo>
                    <a:lnTo>
                      <a:pt x="156" y="88"/>
                    </a:lnTo>
                    <a:lnTo>
                      <a:pt x="156" y="92"/>
                    </a:lnTo>
                    <a:lnTo>
                      <a:pt x="156" y="94"/>
                    </a:lnTo>
                    <a:lnTo>
                      <a:pt x="154" y="94"/>
                    </a:lnTo>
                    <a:lnTo>
                      <a:pt x="154" y="96"/>
                    </a:lnTo>
                    <a:lnTo>
                      <a:pt x="152" y="96"/>
                    </a:lnTo>
                    <a:lnTo>
                      <a:pt x="152" y="98"/>
                    </a:lnTo>
                    <a:lnTo>
                      <a:pt x="152" y="100"/>
                    </a:lnTo>
                    <a:lnTo>
                      <a:pt x="150" y="100"/>
                    </a:lnTo>
                    <a:lnTo>
                      <a:pt x="150" y="102"/>
                    </a:lnTo>
                    <a:lnTo>
                      <a:pt x="150" y="104"/>
                    </a:lnTo>
                    <a:lnTo>
                      <a:pt x="148" y="104"/>
                    </a:lnTo>
                    <a:lnTo>
                      <a:pt x="146" y="104"/>
                    </a:lnTo>
                    <a:lnTo>
                      <a:pt x="145" y="104"/>
                    </a:lnTo>
                    <a:lnTo>
                      <a:pt x="143" y="104"/>
                    </a:lnTo>
                    <a:lnTo>
                      <a:pt x="143" y="106"/>
                    </a:lnTo>
                    <a:lnTo>
                      <a:pt x="143" y="104"/>
                    </a:lnTo>
                    <a:lnTo>
                      <a:pt x="141" y="104"/>
                    </a:lnTo>
                    <a:lnTo>
                      <a:pt x="139" y="106"/>
                    </a:lnTo>
                    <a:lnTo>
                      <a:pt x="137" y="108"/>
                    </a:lnTo>
                    <a:lnTo>
                      <a:pt x="137" y="109"/>
                    </a:lnTo>
                    <a:lnTo>
                      <a:pt x="139" y="109"/>
                    </a:lnTo>
                    <a:lnTo>
                      <a:pt x="139" y="111"/>
                    </a:lnTo>
                    <a:lnTo>
                      <a:pt x="139" y="113"/>
                    </a:lnTo>
                    <a:lnTo>
                      <a:pt x="137" y="115"/>
                    </a:lnTo>
                    <a:lnTo>
                      <a:pt x="137" y="113"/>
                    </a:lnTo>
                    <a:lnTo>
                      <a:pt x="133" y="111"/>
                    </a:lnTo>
                    <a:lnTo>
                      <a:pt x="133" y="109"/>
                    </a:lnTo>
                    <a:lnTo>
                      <a:pt x="135" y="108"/>
                    </a:lnTo>
                    <a:lnTo>
                      <a:pt x="133" y="108"/>
                    </a:lnTo>
                    <a:lnTo>
                      <a:pt x="131" y="106"/>
                    </a:lnTo>
                    <a:lnTo>
                      <a:pt x="129" y="106"/>
                    </a:lnTo>
                    <a:lnTo>
                      <a:pt x="129" y="108"/>
                    </a:lnTo>
                    <a:lnTo>
                      <a:pt x="127" y="108"/>
                    </a:lnTo>
                    <a:lnTo>
                      <a:pt x="125" y="108"/>
                    </a:lnTo>
                    <a:lnTo>
                      <a:pt x="123" y="109"/>
                    </a:lnTo>
                    <a:lnTo>
                      <a:pt x="123" y="108"/>
                    </a:lnTo>
                    <a:lnTo>
                      <a:pt x="125" y="106"/>
                    </a:lnTo>
                    <a:lnTo>
                      <a:pt x="121" y="104"/>
                    </a:lnTo>
                    <a:lnTo>
                      <a:pt x="120" y="104"/>
                    </a:lnTo>
                    <a:lnTo>
                      <a:pt x="120" y="102"/>
                    </a:lnTo>
                    <a:lnTo>
                      <a:pt x="118" y="100"/>
                    </a:lnTo>
                    <a:lnTo>
                      <a:pt x="116" y="102"/>
                    </a:lnTo>
                    <a:lnTo>
                      <a:pt x="114" y="102"/>
                    </a:lnTo>
                    <a:lnTo>
                      <a:pt x="114" y="98"/>
                    </a:lnTo>
                    <a:lnTo>
                      <a:pt x="110" y="96"/>
                    </a:lnTo>
                    <a:lnTo>
                      <a:pt x="108" y="96"/>
                    </a:lnTo>
                    <a:lnTo>
                      <a:pt x="106" y="98"/>
                    </a:lnTo>
                    <a:lnTo>
                      <a:pt x="104" y="100"/>
                    </a:lnTo>
                    <a:lnTo>
                      <a:pt x="98" y="104"/>
                    </a:lnTo>
                    <a:lnTo>
                      <a:pt x="98" y="102"/>
                    </a:lnTo>
                    <a:lnTo>
                      <a:pt x="96" y="102"/>
                    </a:lnTo>
                    <a:lnTo>
                      <a:pt x="96" y="100"/>
                    </a:lnTo>
                    <a:lnTo>
                      <a:pt x="95" y="100"/>
                    </a:lnTo>
                    <a:lnTo>
                      <a:pt x="93" y="100"/>
                    </a:lnTo>
                    <a:lnTo>
                      <a:pt x="93" y="98"/>
                    </a:lnTo>
                    <a:lnTo>
                      <a:pt x="91" y="98"/>
                    </a:lnTo>
                    <a:lnTo>
                      <a:pt x="91" y="96"/>
                    </a:lnTo>
                    <a:lnTo>
                      <a:pt x="89" y="94"/>
                    </a:lnTo>
                    <a:lnTo>
                      <a:pt x="87" y="94"/>
                    </a:lnTo>
                    <a:lnTo>
                      <a:pt x="87" y="96"/>
                    </a:lnTo>
                    <a:lnTo>
                      <a:pt x="87" y="98"/>
                    </a:lnTo>
                    <a:lnTo>
                      <a:pt x="87" y="100"/>
                    </a:lnTo>
                    <a:lnTo>
                      <a:pt x="87" y="102"/>
                    </a:lnTo>
                    <a:lnTo>
                      <a:pt x="89" y="102"/>
                    </a:lnTo>
                    <a:lnTo>
                      <a:pt x="87" y="102"/>
                    </a:lnTo>
                    <a:lnTo>
                      <a:pt x="85" y="102"/>
                    </a:lnTo>
                    <a:lnTo>
                      <a:pt x="85" y="100"/>
                    </a:lnTo>
                    <a:lnTo>
                      <a:pt x="83" y="100"/>
                    </a:lnTo>
                    <a:lnTo>
                      <a:pt x="81" y="100"/>
                    </a:lnTo>
                    <a:lnTo>
                      <a:pt x="83" y="100"/>
                    </a:lnTo>
                    <a:lnTo>
                      <a:pt x="81" y="102"/>
                    </a:lnTo>
                    <a:lnTo>
                      <a:pt x="81" y="100"/>
                    </a:lnTo>
                    <a:lnTo>
                      <a:pt x="81" y="98"/>
                    </a:lnTo>
                    <a:lnTo>
                      <a:pt x="79" y="98"/>
                    </a:lnTo>
                    <a:lnTo>
                      <a:pt x="79" y="100"/>
                    </a:lnTo>
                    <a:lnTo>
                      <a:pt x="79" y="102"/>
                    </a:lnTo>
                    <a:lnTo>
                      <a:pt x="79" y="104"/>
                    </a:lnTo>
                    <a:lnTo>
                      <a:pt x="81" y="106"/>
                    </a:lnTo>
                    <a:lnTo>
                      <a:pt x="79" y="106"/>
                    </a:lnTo>
                    <a:lnTo>
                      <a:pt x="77" y="108"/>
                    </a:lnTo>
                    <a:lnTo>
                      <a:pt x="77" y="109"/>
                    </a:lnTo>
                    <a:lnTo>
                      <a:pt x="75" y="109"/>
                    </a:lnTo>
                    <a:lnTo>
                      <a:pt x="73" y="109"/>
                    </a:lnTo>
                    <a:lnTo>
                      <a:pt x="72" y="109"/>
                    </a:lnTo>
                    <a:lnTo>
                      <a:pt x="72" y="108"/>
                    </a:lnTo>
                    <a:lnTo>
                      <a:pt x="72" y="106"/>
                    </a:lnTo>
                    <a:lnTo>
                      <a:pt x="70" y="106"/>
                    </a:lnTo>
                    <a:lnTo>
                      <a:pt x="70" y="108"/>
                    </a:lnTo>
                    <a:lnTo>
                      <a:pt x="70" y="106"/>
                    </a:lnTo>
                    <a:lnTo>
                      <a:pt x="68" y="104"/>
                    </a:lnTo>
                    <a:lnTo>
                      <a:pt x="68" y="106"/>
                    </a:lnTo>
                    <a:lnTo>
                      <a:pt x="66" y="104"/>
                    </a:lnTo>
                    <a:lnTo>
                      <a:pt x="64" y="104"/>
                    </a:lnTo>
                    <a:lnTo>
                      <a:pt x="64" y="106"/>
                    </a:lnTo>
                    <a:lnTo>
                      <a:pt x="62" y="108"/>
                    </a:lnTo>
                    <a:lnTo>
                      <a:pt x="60" y="109"/>
                    </a:lnTo>
                    <a:lnTo>
                      <a:pt x="58" y="109"/>
                    </a:lnTo>
                    <a:lnTo>
                      <a:pt x="58" y="111"/>
                    </a:lnTo>
                    <a:lnTo>
                      <a:pt x="60" y="111"/>
                    </a:lnTo>
                    <a:lnTo>
                      <a:pt x="60" y="113"/>
                    </a:lnTo>
                    <a:lnTo>
                      <a:pt x="60" y="115"/>
                    </a:lnTo>
                    <a:lnTo>
                      <a:pt x="60" y="117"/>
                    </a:lnTo>
                    <a:lnTo>
                      <a:pt x="60" y="119"/>
                    </a:lnTo>
                    <a:lnTo>
                      <a:pt x="60" y="121"/>
                    </a:lnTo>
                    <a:lnTo>
                      <a:pt x="58" y="123"/>
                    </a:lnTo>
                    <a:lnTo>
                      <a:pt x="60" y="125"/>
                    </a:lnTo>
                    <a:lnTo>
                      <a:pt x="60" y="127"/>
                    </a:lnTo>
                    <a:lnTo>
                      <a:pt x="60" y="129"/>
                    </a:lnTo>
                    <a:lnTo>
                      <a:pt x="58" y="129"/>
                    </a:lnTo>
                    <a:lnTo>
                      <a:pt x="58" y="131"/>
                    </a:lnTo>
                    <a:lnTo>
                      <a:pt x="56" y="131"/>
                    </a:lnTo>
                    <a:lnTo>
                      <a:pt x="54" y="133"/>
                    </a:lnTo>
                    <a:lnTo>
                      <a:pt x="56" y="133"/>
                    </a:lnTo>
                    <a:lnTo>
                      <a:pt x="56" y="134"/>
                    </a:lnTo>
                    <a:lnTo>
                      <a:pt x="56" y="136"/>
                    </a:lnTo>
                    <a:lnTo>
                      <a:pt x="60" y="133"/>
                    </a:lnTo>
                    <a:lnTo>
                      <a:pt x="62" y="134"/>
                    </a:lnTo>
                    <a:lnTo>
                      <a:pt x="62" y="136"/>
                    </a:lnTo>
                    <a:lnTo>
                      <a:pt x="60" y="138"/>
                    </a:lnTo>
                    <a:lnTo>
                      <a:pt x="60" y="140"/>
                    </a:lnTo>
                    <a:lnTo>
                      <a:pt x="62" y="142"/>
                    </a:lnTo>
                    <a:lnTo>
                      <a:pt x="62" y="144"/>
                    </a:lnTo>
                    <a:lnTo>
                      <a:pt x="64" y="144"/>
                    </a:lnTo>
                    <a:lnTo>
                      <a:pt x="64" y="146"/>
                    </a:lnTo>
                    <a:lnTo>
                      <a:pt x="64" y="148"/>
                    </a:lnTo>
                    <a:lnTo>
                      <a:pt x="62" y="150"/>
                    </a:lnTo>
                    <a:lnTo>
                      <a:pt x="58" y="150"/>
                    </a:lnTo>
                    <a:lnTo>
                      <a:pt x="56" y="152"/>
                    </a:lnTo>
                    <a:lnTo>
                      <a:pt x="54" y="152"/>
                    </a:lnTo>
                    <a:lnTo>
                      <a:pt x="52" y="152"/>
                    </a:lnTo>
                    <a:lnTo>
                      <a:pt x="52" y="150"/>
                    </a:lnTo>
                    <a:lnTo>
                      <a:pt x="52" y="148"/>
                    </a:lnTo>
                    <a:lnTo>
                      <a:pt x="50" y="148"/>
                    </a:lnTo>
                    <a:lnTo>
                      <a:pt x="48" y="150"/>
                    </a:lnTo>
                    <a:lnTo>
                      <a:pt x="47" y="150"/>
                    </a:lnTo>
                    <a:lnTo>
                      <a:pt x="47" y="148"/>
                    </a:lnTo>
                    <a:lnTo>
                      <a:pt x="45" y="148"/>
                    </a:lnTo>
                    <a:lnTo>
                      <a:pt x="43" y="148"/>
                    </a:lnTo>
                    <a:lnTo>
                      <a:pt x="45" y="148"/>
                    </a:lnTo>
                    <a:lnTo>
                      <a:pt x="43" y="148"/>
                    </a:lnTo>
                    <a:lnTo>
                      <a:pt x="41" y="148"/>
                    </a:lnTo>
                    <a:lnTo>
                      <a:pt x="41" y="150"/>
                    </a:lnTo>
                    <a:lnTo>
                      <a:pt x="43" y="150"/>
                    </a:lnTo>
                    <a:lnTo>
                      <a:pt x="43" y="152"/>
                    </a:lnTo>
                    <a:lnTo>
                      <a:pt x="41" y="154"/>
                    </a:lnTo>
                    <a:lnTo>
                      <a:pt x="39" y="154"/>
                    </a:lnTo>
                    <a:lnTo>
                      <a:pt x="37" y="154"/>
                    </a:lnTo>
                    <a:lnTo>
                      <a:pt x="37" y="152"/>
                    </a:lnTo>
                    <a:lnTo>
                      <a:pt x="35" y="152"/>
                    </a:lnTo>
                    <a:lnTo>
                      <a:pt x="37" y="152"/>
                    </a:lnTo>
                    <a:lnTo>
                      <a:pt x="37" y="150"/>
                    </a:lnTo>
                    <a:lnTo>
                      <a:pt x="37" y="148"/>
                    </a:lnTo>
                    <a:lnTo>
                      <a:pt x="37" y="146"/>
                    </a:lnTo>
                    <a:lnTo>
                      <a:pt x="35" y="146"/>
                    </a:lnTo>
                    <a:lnTo>
                      <a:pt x="35" y="148"/>
                    </a:lnTo>
                    <a:lnTo>
                      <a:pt x="33" y="148"/>
                    </a:lnTo>
                    <a:lnTo>
                      <a:pt x="35" y="148"/>
                    </a:lnTo>
                    <a:lnTo>
                      <a:pt x="33" y="148"/>
                    </a:lnTo>
                    <a:lnTo>
                      <a:pt x="33" y="150"/>
                    </a:lnTo>
                    <a:lnTo>
                      <a:pt x="31" y="150"/>
                    </a:lnTo>
                    <a:lnTo>
                      <a:pt x="31" y="148"/>
                    </a:lnTo>
                    <a:lnTo>
                      <a:pt x="31" y="150"/>
                    </a:lnTo>
                    <a:lnTo>
                      <a:pt x="29" y="152"/>
                    </a:lnTo>
                    <a:lnTo>
                      <a:pt x="29" y="154"/>
                    </a:lnTo>
                    <a:lnTo>
                      <a:pt x="27" y="154"/>
                    </a:lnTo>
                    <a:lnTo>
                      <a:pt x="27" y="152"/>
                    </a:lnTo>
                    <a:lnTo>
                      <a:pt x="25" y="152"/>
                    </a:lnTo>
                    <a:lnTo>
                      <a:pt x="25" y="150"/>
                    </a:lnTo>
                    <a:lnTo>
                      <a:pt x="23" y="150"/>
                    </a:lnTo>
                    <a:lnTo>
                      <a:pt x="22" y="150"/>
                    </a:lnTo>
                    <a:lnTo>
                      <a:pt x="18" y="150"/>
                    </a:lnTo>
                    <a:lnTo>
                      <a:pt x="16" y="150"/>
                    </a:lnTo>
                    <a:lnTo>
                      <a:pt x="16" y="148"/>
                    </a:lnTo>
                    <a:lnTo>
                      <a:pt x="14" y="148"/>
                    </a:lnTo>
                    <a:lnTo>
                      <a:pt x="12" y="148"/>
                    </a:lnTo>
                    <a:lnTo>
                      <a:pt x="12" y="146"/>
                    </a:lnTo>
                    <a:lnTo>
                      <a:pt x="12" y="148"/>
                    </a:lnTo>
                    <a:lnTo>
                      <a:pt x="10" y="148"/>
                    </a:lnTo>
                    <a:lnTo>
                      <a:pt x="10" y="146"/>
                    </a:lnTo>
                    <a:lnTo>
                      <a:pt x="10" y="148"/>
                    </a:lnTo>
                    <a:lnTo>
                      <a:pt x="10" y="146"/>
                    </a:lnTo>
                    <a:lnTo>
                      <a:pt x="8" y="146"/>
                    </a:lnTo>
                    <a:lnTo>
                      <a:pt x="10" y="146"/>
                    </a:lnTo>
                    <a:lnTo>
                      <a:pt x="10" y="144"/>
                    </a:lnTo>
                    <a:lnTo>
                      <a:pt x="8" y="144"/>
                    </a:lnTo>
                    <a:lnTo>
                      <a:pt x="6" y="144"/>
                    </a:lnTo>
                    <a:lnTo>
                      <a:pt x="6" y="146"/>
                    </a:lnTo>
                    <a:lnTo>
                      <a:pt x="4" y="146"/>
                    </a:lnTo>
                    <a:lnTo>
                      <a:pt x="4" y="144"/>
                    </a:lnTo>
                    <a:lnTo>
                      <a:pt x="6" y="144"/>
                    </a:lnTo>
                    <a:lnTo>
                      <a:pt x="6" y="142"/>
                    </a:lnTo>
                    <a:lnTo>
                      <a:pt x="4" y="142"/>
                    </a:lnTo>
                    <a:lnTo>
                      <a:pt x="4" y="140"/>
                    </a:lnTo>
                    <a:lnTo>
                      <a:pt x="6" y="140"/>
                    </a:lnTo>
                    <a:lnTo>
                      <a:pt x="6" y="138"/>
                    </a:lnTo>
                    <a:lnTo>
                      <a:pt x="4" y="138"/>
                    </a:lnTo>
                    <a:lnTo>
                      <a:pt x="2" y="138"/>
                    </a:lnTo>
                    <a:lnTo>
                      <a:pt x="0" y="138"/>
                    </a:lnTo>
                    <a:lnTo>
                      <a:pt x="0" y="136"/>
                    </a:lnTo>
                    <a:lnTo>
                      <a:pt x="0" y="134"/>
                    </a:lnTo>
                    <a:lnTo>
                      <a:pt x="2" y="134"/>
                    </a:lnTo>
                    <a:lnTo>
                      <a:pt x="2" y="133"/>
                    </a:lnTo>
                    <a:lnTo>
                      <a:pt x="4" y="133"/>
                    </a:lnTo>
                    <a:lnTo>
                      <a:pt x="6" y="133"/>
                    </a:lnTo>
                    <a:lnTo>
                      <a:pt x="8" y="133"/>
                    </a:lnTo>
                    <a:lnTo>
                      <a:pt x="8" y="131"/>
                    </a:lnTo>
                    <a:lnTo>
                      <a:pt x="10" y="131"/>
                    </a:lnTo>
                    <a:lnTo>
                      <a:pt x="10" y="129"/>
                    </a:lnTo>
                    <a:lnTo>
                      <a:pt x="12" y="127"/>
                    </a:lnTo>
                    <a:lnTo>
                      <a:pt x="10" y="127"/>
                    </a:lnTo>
                    <a:lnTo>
                      <a:pt x="12" y="125"/>
                    </a:lnTo>
                    <a:lnTo>
                      <a:pt x="12" y="123"/>
                    </a:lnTo>
                    <a:lnTo>
                      <a:pt x="12" y="121"/>
                    </a:lnTo>
                    <a:lnTo>
                      <a:pt x="14" y="121"/>
                    </a:lnTo>
                    <a:lnTo>
                      <a:pt x="14" y="119"/>
                    </a:lnTo>
                    <a:lnTo>
                      <a:pt x="16" y="117"/>
                    </a:lnTo>
                    <a:lnTo>
                      <a:pt x="14" y="117"/>
                    </a:lnTo>
                    <a:lnTo>
                      <a:pt x="18" y="113"/>
                    </a:lnTo>
                    <a:lnTo>
                      <a:pt x="20" y="109"/>
                    </a:lnTo>
                    <a:lnTo>
                      <a:pt x="18" y="109"/>
                    </a:lnTo>
                    <a:lnTo>
                      <a:pt x="20" y="109"/>
                    </a:lnTo>
                    <a:lnTo>
                      <a:pt x="22" y="109"/>
                    </a:lnTo>
                    <a:lnTo>
                      <a:pt x="22" y="108"/>
                    </a:lnTo>
                    <a:lnTo>
                      <a:pt x="22" y="106"/>
                    </a:lnTo>
                    <a:lnTo>
                      <a:pt x="20" y="104"/>
                    </a:lnTo>
                    <a:lnTo>
                      <a:pt x="22" y="102"/>
                    </a:lnTo>
                    <a:lnTo>
                      <a:pt x="22" y="100"/>
                    </a:lnTo>
                    <a:lnTo>
                      <a:pt x="23" y="100"/>
                    </a:lnTo>
                    <a:lnTo>
                      <a:pt x="25" y="100"/>
                    </a:lnTo>
                    <a:lnTo>
                      <a:pt x="25" y="98"/>
                    </a:lnTo>
                    <a:lnTo>
                      <a:pt x="23" y="98"/>
                    </a:lnTo>
                    <a:lnTo>
                      <a:pt x="25" y="94"/>
                    </a:lnTo>
                    <a:lnTo>
                      <a:pt x="27" y="94"/>
                    </a:lnTo>
                    <a:lnTo>
                      <a:pt x="25" y="94"/>
                    </a:lnTo>
                    <a:lnTo>
                      <a:pt x="25" y="92"/>
                    </a:lnTo>
                    <a:lnTo>
                      <a:pt x="25" y="90"/>
                    </a:lnTo>
                    <a:lnTo>
                      <a:pt x="25" y="88"/>
                    </a:lnTo>
                    <a:lnTo>
                      <a:pt x="23" y="88"/>
                    </a:lnTo>
                    <a:lnTo>
                      <a:pt x="23" y="86"/>
                    </a:lnTo>
                    <a:lnTo>
                      <a:pt x="23" y="85"/>
                    </a:lnTo>
                    <a:lnTo>
                      <a:pt x="22" y="86"/>
                    </a:lnTo>
                    <a:lnTo>
                      <a:pt x="22" y="85"/>
                    </a:lnTo>
                    <a:lnTo>
                      <a:pt x="23" y="85"/>
                    </a:lnTo>
                    <a:lnTo>
                      <a:pt x="23" y="83"/>
                    </a:lnTo>
                    <a:lnTo>
                      <a:pt x="22" y="83"/>
                    </a:lnTo>
                    <a:lnTo>
                      <a:pt x="22" y="81"/>
                    </a:lnTo>
                    <a:lnTo>
                      <a:pt x="20" y="81"/>
                    </a:lnTo>
                    <a:lnTo>
                      <a:pt x="22" y="79"/>
                    </a:lnTo>
                    <a:lnTo>
                      <a:pt x="20" y="79"/>
                    </a:lnTo>
                    <a:lnTo>
                      <a:pt x="20" y="81"/>
                    </a:lnTo>
                    <a:lnTo>
                      <a:pt x="20" y="79"/>
                    </a:lnTo>
                    <a:lnTo>
                      <a:pt x="18" y="79"/>
                    </a:lnTo>
                    <a:lnTo>
                      <a:pt x="18" y="77"/>
                    </a:lnTo>
                    <a:lnTo>
                      <a:pt x="20" y="77"/>
                    </a:lnTo>
                    <a:lnTo>
                      <a:pt x="20" y="75"/>
                    </a:lnTo>
                    <a:lnTo>
                      <a:pt x="22" y="71"/>
                    </a:lnTo>
                    <a:lnTo>
                      <a:pt x="22" y="69"/>
                    </a:lnTo>
                    <a:lnTo>
                      <a:pt x="23" y="69"/>
                    </a:lnTo>
                    <a:lnTo>
                      <a:pt x="23" y="67"/>
                    </a:lnTo>
                    <a:lnTo>
                      <a:pt x="22" y="67"/>
                    </a:lnTo>
                    <a:lnTo>
                      <a:pt x="22" y="65"/>
                    </a:lnTo>
                    <a:lnTo>
                      <a:pt x="22" y="63"/>
                    </a:lnTo>
                    <a:lnTo>
                      <a:pt x="22" y="61"/>
                    </a:lnTo>
                    <a:lnTo>
                      <a:pt x="22" y="60"/>
                    </a:lnTo>
                    <a:lnTo>
                      <a:pt x="20" y="60"/>
                    </a:lnTo>
                    <a:lnTo>
                      <a:pt x="20" y="58"/>
                    </a:lnTo>
                    <a:lnTo>
                      <a:pt x="22" y="58"/>
                    </a:lnTo>
                    <a:lnTo>
                      <a:pt x="22" y="56"/>
                    </a:lnTo>
                    <a:lnTo>
                      <a:pt x="20" y="56"/>
                    </a:lnTo>
                    <a:lnTo>
                      <a:pt x="20" y="54"/>
                    </a:lnTo>
                    <a:lnTo>
                      <a:pt x="18" y="54"/>
                    </a:lnTo>
                    <a:lnTo>
                      <a:pt x="20" y="54"/>
                    </a:lnTo>
                    <a:lnTo>
                      <a:pt x="20" y="52"/>
                    </a:lnTo>
                    <a:lnTo>
                      <a:pt x="22" y="52"/>
                    </a:lnTo>
                    <a:lnTo>
                      <a:pt x="22" y="50"/>
                    </a:lnTo>
                    <a:lnTo>
                      <a:pt x="23" y="50"/>
                    </a:lnTo>
                    <a:lnTo>
                      <a:pt x="23" y="48"/>
                    </a:lnTo>
                    <a:lnTo>
                      <a:pt x="23" y="46"/>
                    </a:lnTo>
                    <a:lnTo>
                      <a:pt x="22" y="46"/>
                    </a:lnTo>
                    <a:lnTo>
                      <a:pt x="22" y="44"/>
                    </a:lnTo>
                    <a:lnTo>
                      <a:pt x="22" y="42"/>
                    </a:lnTo>
                    <a:lnTo>
                      <a:pt x="20" y="42"/>
                    </a:lnTo>
                    <a:lnTo>
                      <a:pt x="22" y="40"/>
                    </a:lnTo>
                    <a:lnTo>
                      <a:pt x="20" y="40"/>
                    </a:lnTo>
                    <a:lnTo>
                      <a:pt x="20" y="38"/>
                    </a:lnTo>
                    <a:lnTo>
                      <a:pt x="20" y="36"/>
                    </a:lnTo>
                    <a:lnTo>
                      <a:pt x="20" y="38"/>
                    </a:lnTo>
                    <a:lnTo>
                      <a:pt x="18" y="38"/>
                    </a:lnTo>
                    <a:lnTo>
                      <a:pt x="18" y="40"/>
                    </a:lnTo>
                    <a:lnTo>
                      <a:pt x="18" y="38"/>
                    </a:lnTo>
                    <a:lnTo>
                      <a:pt x="16" y="38"/>
                    </a:lnTo>
                    <a:lnTo>
                      <a:pt x="14" y="38"/>
                    </a:lnTo>
                    <a:lnTo>
                      <a:pt x="12" y="38"/>
                    </a:lnTo>
                    <a:lnTo>
                      <a:pt x="14" y="38"/>
                    </a:lnTo>
                    <a:lnTo>
                      <a:pt x="14" y="36"/>
                    </a:lnTo>
                    <a:lnTo>
                      <a:pt x="14" y="38"/>
                    </a:lnTo>
                    <a:lnTo>
                      <a:pt x="14" y="36"/>
                    </a:lnTo>
                    <a:lnTo>
                      <a:pt x="16" y="36"/>
                    </a:lnTo>
                    <a:lnTo>
                      <a:pt x="16" y="38"/>
                    </a:lnTo>
                    <a:lnTo>
                      <a:pt x="18" y="36"/>
                    </a:lnTo>
                    <a:lnTo>
                      <a:pt x="20" y="35"/>
                    </a:lnTo>
                    <a:lnTo>
                      <a:pt x="22" y="35"/>
                    </a:lnTo>
                    <a:lnTo>
                      <a:pt x="22" y="33"/>
                    </a:lnTo>
                    <a:lnTo>
                      <a:pt x="23" y="33"/>
                    </a:lnTo>
                    <a:lnTo>
                      <a:pt x="23" y="31"/>
                    </a:lnTo>
                    <a:lnTo>
                      <a:pt x="25" y="31"/>
                    </a:lnTo>
                    <a:lnTo>
                      <a:pt x="27" y="29"/>
                    </a:lnTo>
                    <a:lnTo>
                      <a:pt x="27" y="31"/>
                    </a:lnTo>
                    <a:lnTo>
                      <a:pt x="29" y="31"/>
                    </a:lnTo>
                    <a:lnTo>
                      <a:pt x="29" y="33"/>
                    </a:lnTo>
                    <a:lnTo>
                      <a:pt x="31" y="33"/>
                    </a:lnTo>
                    <a:lnTo>
                      <a:pt x="33" y="33"/>
                    </a:lnTo>
                    <a:lnTo>
                      <a:pt x="35" y="33"/>
                    </a:lnTo>
                    <a:lnTo>
                      <a:pt x="37" y="33"/>
                    </a:lnTo>
                    <a:lnTo>
                      <a:pt x="37" y="35"/>
                    </a:lnTo>
                    <a:lnTo>
                      <a:pt x="37" y="33"/>
                    </a:lnTo>
                    <a:lnTo>
                      <a:pt x="37" y="35"/>
                    </a:lnTo>
                    <a:lnTo>
                      <a:pt x="39" y="35"/>
                    </a:lnTo>
                    <a:lnTo>
                      <a:pt x="39" y="33"/>
                    </a:lnTo>
                    <a:lnTo>
                      <a:pt x="41" y="33"/>
                    </a:lnTo>
                    <a:lnTo>
                      <a:pt x="41" y="35"/>
                    </a:lnTo>
                    <a:lnTo>
                      <a:pt x="41" y="33"/>
                    </a:lnTo>
                    <a:lnTo>
                      <a:pt x="43" y="33"/>
                    </a:lnTo>
                    <a:lnTo>
                      <a:pt x="43" y="31"/>
                    </a:lnTo>
                    <a:lnTo>
                      <a:pt x="43" y="33"/>
                    </a:lnTo>
                    <a:lnTo>
                      <a:pt x="45" y="33"/>
                    </a:lnTo>
                    <a:lnTo>
                      <a:pt x="47" y="33"/>
                    </a:lnTo>
                    <a:lnTo>
                      <a:pt x="45" y="33"/>
                    </a:lnTo>
                    <a:lnTo>
                      <a:pt x="47" y="33"/>
                    </a:lnTo>
                    <a:lnTo>
                      <a:pt x="47" y="31"/>
                    </a:lnTo>
                    <a:lnTo>
                      <a:pt x="48" y="33"/>
                    </a:lnTo>
                    <a:lnTo>
                      <a:pt x="48" y="31"/>
                    </a:lnTo>
                    <a:lnTo>
                      <a:pt x="48" y="33"/>
                    </a:lnTo>
                    <a:lnTo>
                      <a:pt x="50" y="33"/>
                    </a:lnTo>
                    <a:lnTo>
                      <a:pt x="52" y="33"/>
                    </a:lnTo>
                    <a:lnTo>
                      <a:pt x="52" y="31"/>
                    </a:lnTo>
                    <a:lnTo>
                      <a:pt x="54" y="29"/>
                    </a:lnTo>
                    <a:lnTo>
                      <a:pt x="54" y="27"/>
                    </a:lnTo>
                    <a:lnTo>
                      <a:pt x="54" y="29"/>
                    </a:lnTo>
                    <a:lnTo>
                      <a:pt x="54" y="27"/>
                    </a:lnTo>
                    <a:lnTo>
                      <a:pt x="52" y="27"/>
                    </a:lnTo>
                    <a:lnTo>
                      <a:pt x="52" y="25"/>
                    </a:lnTo>
                    <a:lnTo>
                      <a:pt x="52" y="23"/>
                    </a:lnTo>
                    <a:lnTo>
                      <a:pt x="52" y="21"/>
                    </a:lnTo>
                    <a:lnTo>
                      <a:pt x="52" y="19"/>
                    </a:lnTo>
                    <a:lnTo>
                      <a:pt x="54" y="19"/>
                    </a:lnTo>
                    <a:lnTo>
                      <a:pt x="52" y="19"/>
                    </a:lnTo>
                    <a:lnTo>
                      <a:pt x="50" y="19"/>
                    </a:lnTo>
                    <a:lnTo>
                      <a:pt x="50" y="17"/>
                    </a:lnTo>
                    <a:lnTo>
                      <a:pt x="52" y="17"/>
                    </a:lnTo>
                    <a:lnTo>
                      <a:pt x="54" y="17"/>
                    </a:lnTo>
                    <a:lnTo>
                      <a:pt x="54" y="15"/>
                    </a:lnTo>
                    <a:lnTo>
                      <a:pt x="54" y="13"/>
                    </a:lnTo>
                    <a:lnTo>
                      <a:pt x="56" y="13"/>
                    </a:lnTo>
                    <a:lnTo>
                      <a:pt x="54" y="13"/>
                    </a:lnTo>
                    <a:lnTo>
                      <a:pt x="52" y="13"/>
                    </a:lnTo>
                    <a:lnTo>
                      <a:pt x="52" y="11"/>
                    </a:lnTo>
                    <a:lnTo>
                      <a:pt x="52" y="13"/>
                    </a:lnTo>
                    <a:lnTo>
                      <a:pt x="52" y="11"/>
                    </a:lnTo>
                    <a:lnTo>
                      <a:pt x="54" y="11"/>
                    </a:lnTo>
                    <a:lnTo>
                      <a:pt x="54" y="10"/>
                    </a:lnTo>
                    <a:lnTo>
                      <a:pt x="56" y="10"/>
                    </a:lnTo>
                    <a:lnTo>
                      <a:pt x="58" y="10"/>
                    </a:lnTo>
                    <a:lnTo>
                      <a:pt x="58" y="8"/>
                    </a:lnTo>
                    <a:lnTo>
                      <a:pt x="56" y="6"/>
                    </a:lnTo>
                    <a:lnTo>
                      <a:pt x="56" y="4"/>
                    </a:lnTo>
                    <a:lnTo>
                      <a:pt x="58" y="4"/>
                    </a:lnTo>
                    <a:lnTo>
                      <a:pt x="58" y="2"/>
                    </a:lnTo>
                    <a:lnTo>
                      <a:pt x="56" y="2"/>
                    </a:lnTo>
                    <a:lnTo>
                      <a:pt x="58" y="2"/>
                    </a:lnTo>
                    <a:lnTo>
                      <a:pt x="56" y="2"/>
                    </a:lnTo>
                    <a:lnTo>
                      <a:pt x="58" y="2"/>
                    </a:lnTo>
                    <a:lnTo>
                      <a:pt x="58" y="0"/>
                    </a:lnTo>
                    <a:lnTo>
                      <a:pt x="60" y="2"/>
                    </a:lnTo>
                    <a:lnTo>
                      <a:pt x="60" y="4"/>
                    </a:lnTo>
                    <a:lnTo>
                      <a:pt x="60" y="6"/>
                    </a:lnTo>
                    <a:lnTo>
                      <a:pt x="62" y="6"/>
                    </a:lnTo>
                    <a:lnTo>
                      <a:pt x="62" y="8"/>
                    </a:lnTo>
                    <a:lnTo>
                      <a:pt x="62" y="10"/>
                    </a:lnTo>
                    <a:lnTo>
                      <a:pt x="64" y="10"/>
                    </a:lnTo>
                    <a:lnTo>
                      <a:pt x="66" y="10"/>
                    </a:lnTo>
                    <a:lnTo>
                      <a:pt x="66" y="11"/>
                    </a:lnTo>
                    <a:lnTo>
                      <a:pt x="66" y="13"/>
                    </a:lnTo>
                    <a:lnTo>
                      <a:pt x="66" y="15"/>
                    </a:lnTo>
                    <a:lnTo>
                      <a:pt x="68" y="15"/>
                    </a:lnTo>
                    <a:lnTo>
                      <a:pt x="68" y="13"/>
                    </a:lnTo>
                    <a:lnTo>
                      <a:pt x="68" y="15"/>
                    </a:lnTo>
                    <a:lnTo>
                      <a:pt x="70" y="15"/>
                    </a:lnTo>
                    <a:lnTo>
                      <a:pt x="72" y="13"/>
                    </a:lnTo>
                    <a:lnTo>
                      <a:pt x="73" y="15"/>
                    </a:lnTo>
                    <a:lnTo>
                      <a:pt x="75" y="13"/>
                    </a:lnTo>
                    <a:lnTo>
                      <a:pt x="75" y="15"/>
                    </a:lnTo>
                    <a:lnTo>
                      <a:pt x="75" y="17"/>
                    </a:lnTo>
                    <a:lnTo>
                      <a:pt x="77" y="17"/>
                    </a:lnTo>
                    <a:lnTo>
                      <a:pt x="77" y="19"/>
                    </a:lnTo>
                    <a:lnTo>
                      <a:pt x="79" y="19"/>
                    </a:lnTo>
                    <a:lnTo>
                      <a:pt x="81" y="19"/>
                    </a:lnTo>
                    <a:lnTo>
                      <a:pt x="81" y="21"/>
                    </a:lnTo>
                    <a:lnTo>
                      <a:pt x="83" y="21"/>
                    </a:lnTo>
                    <a:lnTo>
                      <a:pt x="81" y="21"/>
                    </a:lnTo>
                    <a:lnTo>
                      <a:pt x="81" y="23"/>
                    </a:lnTo>
                    <a:lnTo>
                      <a:pt x="81" y="25"/>
                    </a:lnTo>
                    <a:lnTo>
                      <a:pt x="79" y="27"/>
                    </a:lnTo>
                    <a:lnTo>
                      <a:pt x="79" y="29"/>
                    </a:lnTo>
                    <a:lnTo>
                      <a:pt x="79" y="31"/>
                    </a:lnTo>
                    <a:lnTo>
                      <a:pt x="79" y="33"/>
                    </a:lnTo>
                    <a:lnTo>
                      <a:pt x="79" y="31"/>
                    </a:lnTo>
                    <a:lnTo>
                      <a:pt x="81" y="31"/>
                    </a:lnTo>
                    <a:lnTo>
                      <a:pt x="81" y="29"/>
                    </a:lnTo>
                    <a:lnTo>
                      <a:pt x="83" y="29"/>
                    </a:lnTo>
                    <a:lnTo>
                      <a:pt x="83" y="31"/>
                    </a:lnTo>
                    <a:lnTo>
                      <a:pt x="85" y="33"/>
                    </a:lnTo>
                    <a:lnTo>
                      <a:pt x="87" y="31"/>
                    </a:lnTo>
                    <a:lnTo>
                      <a:pt x="89" y="31"/>
                    </a:lnTo>
                    <a:lnTo>
                      <a:pt x="89" y="29"/>
                    </a:lnTo>
                    <a:lnTo>
                      <a:pt x="91" y="29"/>
                    </a:lnTo>
                    <a:lnTo>
                      <a:pt x="93" y="27"/>
                    </a:lnTo>
                    <a:lnTo>
                      <a:pt x="93" y="25"/>
                    </a:lnTo>
                    <a:lnTo>
                      <a:pt x="95" y="25"/>
                    </a:lnTo>
                    <a:lnTo>
                      <a:pt x="95" y="23"/>
                    </a:lnTo>
                    <a:lnTo>
                      <a:pt x="96" y="23"/>
                    </a:lnTo>
                    <a:lnTo>
                      <a:pt x="98" y="25"/>
                    </a:lnTo>
                    <a:lnTo>
                      <a:pt x="98" y="27"/>
                    </a:lnTo>
                    <a:lnTo>
                      <a:pt x="96" y="27"/>
                    </a:lnTo>
                    <a:lnTo>
                      <a:pt x="96" y="29"/>
                    </a:lnTo>
                    <a:lnTo>
                      <a:pt x="96" y="31"/>
                    </a:lnTo>
                    <a:lnTo>
                      <a:pt x="98" y="31"/>
                    </a:lnTo>
                    <a:lnTo>
                      <a:pt x="100" y="31"/>
                    </a:lnTo>
                    <a:lnTo>
                      <a:pt x="98" y="29"/>
                    </a:lnTo>
                    <a:lnTo>
                      <a:pt x="100" y="29"/>
                    </a:lnTo>
                    <a:lnTo>
                      <a:pt x="102" y="27"/>
                    </a:lnTo>
                    <a:lnTo>
                      <a:pt x="102" y="29"/>
                    </a:lnTo>
                    <a:lnTo>
                      <a:pt x="104" y="29"/>
                    </a:lnTo>
                    <a:lnTo>
                      <a:pt x="104" y="27"/>
                    </a:lnTo>
                    <a:lnTo>
                      <a:pt x="104" y="29"/>
                    </a:lnTo>
                    <a:lnTo>
                      <a:pt x="106" y="29"/>
                    </a:lnTo>
                    <a:lnTo>
                      <a:pt x="108" y="27"/>
                    </a:lnTo>
                    <a:lnTo>
                      <a:pt x="108" y="29"/>
                    </a:lnTo>
                    <a:lnTo>
                      <a:pt x="110" y="31"/>
                    </a:lnTo>
                    <a:lnTo>
                      <a:pt x="112" y="33"/>
                    </a:lnTo>
                    <a:lnTo>
                      <a:pt x="112" y="31"/>
                    </a:lnTo>
                    <a:lnTo>
                      <a:pt x="112" y="33"/>
                    </a:lnTo>
                    <a:lnTo>
                      <a:pt x="112" y="31"/>
                    </a:lnTo>
                    <a:lnTo>
                      <a:pt x="112" y="33"/>
                    </a:lnTo>
                    <a:lnTo>
                      <a:pt x="110" y="33"/>
                    </a:lnTo>
                    <a:lnTo>
                      <a:pt x="110" y="36"/>
                    </a:lnTo>
                    <a:lnTo>
                      <a:pt x="114" y="35"/>
                    </a:lnTo>
                    <a:lnTo>
                      <a:pt x="114" y="36"/>
                    </a:lnTo>
                    <a:lnTo>
                      <a:pt x="112" y="36"/>
                    </a:lnTo>
                    <a:lnTo>
                      <a:pt x="114" y="38"/>
                    </a:lnTo>
                    <a:lnTo>
                      <a:pt x="116" y="40"/>
                    </a:lnTo>
                    <a:lnTo>
                      <a:pt x="127" y="48"/>
                    </a:lnTo>
                    <a:lnTo>
                      <a:pt x="129" y="44"/>
                    </a:lnTo>
                    <a:lnTo>
                      <a:pt x="133" y="36"/>
                    </a:lnTo>
                    <a:lnTo>
                      <a:pt x="137" y="38"/>
                    </a:lnTo>
                    <a:lnTo>
                      <a:pt x="139" y="40"/>
                    </a:lnTo>
                    <a:lnTo>
                      <a:pt x="137" y="40"/>
                    </a:lnTo>
                    <a:lnTo>
                      <a:pt x="139" y="40"/>
                    </a:lnTo>
                    <a:lnTo>
                      <a:pt x="141" y="40"/>
                    </a:lnTo>
                    <a:lnTo>
                      <a:pt x="141" y="38"/>
                    </a:lnTo>
                    <a:lnTo>
                      <a:pt x="143" y="38"/>
                    </a:lnTo>
                    <a:lnTo>
                      <a:pt x="145" y="38"/>
                    </a:lnTo>
                    <a:lnTo>
                      <a:pt x="145" y="40"/>
                    </a:lnTo>
                    <a:lnTo>
                      <a:pt x="146" y="38"/>
                    </a:lnTo>
                    <a:lnTo>
                      <a:pt x="146" y="36"/>
                    </a:lnTo>
                    <a:lnTo>
                      <a:pt x="148" y="36"/>
                    </a:lnTo>
                    <a:lnTo>
                      <a:pt x="148" y="38"/>
                    </a:lnTo>
                    <a:lnTo>
                      <a:pt x="148" y="40"/>
                    </a:lnTo>
                    <a:lnTo>
                      <a:pt x="148" y="42"/>
                    </a:lnTo>
                    <a:lnTo>
                      <a:pt x="150" y="42"/>
                    </a:lnTo>
                    <a:lnTo>
                      <a:pt x="148" y="42"/>
                    </a:lnTo>
                    <a:lnTo>
                      <a:pt x="150" y="44"/>
                    </a:lnTo>
                    <a:lnTo>
                      <a:pt x="150" y="46"/>
                    </a:lnTo>
                    <a:lnTo>
                      <a:pt x="150" y="48"/>
                    </a:lnTo>
                    <a:lnTo>
                      <a:pt x="148" y="48"/>
                    </a:lnTo>
                    <a:lnTo>
                      <a:pt x="148" y="50"/>
                    </a:lnTo>
                    <a:lnTo>
                      <a:pt x="150" y="50"/>
                    </a:lnTo>
                    <a:lnTo>
                      <a:pt x="150" y="52"/>
                    </a:lnTo>
                    <a:lnTo>
                      <a:pt x="148" y="52"/>
                    </a:lnTo>
                    <a:lnTo>
                      <a:pt x="146" y="52"/>
                    </a:lnTo>
                    <a:lnTo>
                      <a:pt x="148" y="52"/>
                    </a:lnTo>
                    <a:lnTo>
                      <a:pt x="148" y="54"/>
                    </a:lnTo>
                    <a:lnTo>
                      <a:pt x="148" y="52"/>
                    </a:lnTo>
                    <a:lnTo>
                      <a:pt x="148" y="54"/>
                    </a:lnTo>
                    <a:lnTo>
                      <a:pt x="148" y="56"/>
                    </a:lnTo>
                    <a:lnTo>
                      <a:pt x="146" y="58"/>
                    </a:lnTo>
                    <a:lnTo>
                      <a:pt x="148" y="58"/>
                    </a:lnTo>
                    <a:lnTo>
                      <a:pt x="148" y="60"/>
                    </a:lnTo>
                    <a:lnTo>
                      <a:pt x="146" y="60"/>
                    </a:lnTo>
                    <a:lnTo>
                      <a:pt x="146" y="61"/>
                    </a:lnTo>
                    <a:lnTo>
                      <a:pt x="148" y="63"/>
                    </a:lnTo>
                    <a:lnTo>
                      <a:pt x="148" y="61"/>
                    </a:lnTo>
                    <a:lnTo>
                      <a:pt x="150" y="63"/>
                    </a:lnTo>
                    <a:lnTo>
                      <a:pt x="152" y="63"/>
                    </a:lnTo>
                    <a:lnTo>
                      <a:pt x="152" y="65"/>
                    </a:lnTo>
                    <a:lnTo>
                      <a:pt x="154" y="67"/>
                    </a:lnTo>
                    <a:lnTo>
                      <a:pt x="156" y="69"/>
                    </a:lnTo>
                    <a:lnTo>
                      <a:pt x="156" y="71"/>
                    </a:lnTo>
                    <a:lnTo>
                      <a:pt x="158" y="71"/>
                    </a:lnTo>
                    <a:lnTo>
                      <a:pt x="160" y="73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" name="Freeform 138">
                <a:extLst>
                  <a:ext uri="{FF2B5EF4-FFF2-40B4-BE49-F238E27FC236}">
                    <a16:creationId xmlns="" xmlns:a16="http://schemas.microsoft.com/office/drawing/2014/main" id="{8D099E9B-A854-48CB-8DD4-E19B3DF00D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5100" y="4495801"/>
                <a:ext cx="223838" cy="179388"/>
              </a:xfrm>
              <a:custGeom>
                <a:avLst/>
                <a:gdLst>
                  <a:gd name="T0" fmla="*/ 27 w 141"/>
                  <a:gd name="T1" fmla="*/ 15 h 113"/>
                  <a:gd name="T2" fmla="*/ 37 w 141"/>
                  <a:gd name="T3" fmla="*/ 19 h 113"/>
                  <a:gd name="T4" fmla="*/ 41 w 141"/>
                  <a:gd name="T5" fmla="*/ 32 h 113"/>
                  <a:gd name="T6" fmla="*/ 45 w 141"/>
                  <a:gd name="T7" fmla="*/ 23 h 113"/>
                  <a:gd name="T8" fmla="*/ 50 w 141"/>
                  <a:gd name="T9" fmla="*/ 19 h 113"/>
                  <a:gd name="T10" fmla="*/ 56 w 141"/>
                  <a:gd name="T11" fmla="*/ 9 h 113"/>
                  <a:gd name="T12" fmla="*/ 66 w 141"/>
                  <a:gd name="T13" fmla="*/ 1 h 113"/>
                  <a:gd name="T14" fmla="*/ 73 w 141"/>
                  <a:gd name="T15" fmla="*/ 7 h 113"/>
                  <a:gd name="T16" fmla="*/ 77 w 141"/>
                  <a:gd name="T17" fmla="*/ 21 h 113"/>
                  <a:gd name="T18" fmla="*/ 79 w 141"/>
                  <a:gd name="T19" fmla="*/ 28 h 113"/>
                  <a:gd name="T20" fmla="*/ 87 w 141"/>
                  <a:gd name="T21" fmla="*/ 34 h 113"/>
                  <a:gd name="T22" fmla="*/ 91 w 141"/>
                  <a:gd name="T23" fmla="*/ 42 h 113"/>
                  <a:gd name="T24" fmla="*/ 102 w 141"/>
                  <a:gd name="T25" fmla="*/ 40 h 113"/>
                  <a:gd name="T26" fmla="*/ 112 w 141"/>
                  <a:gd name="T27" fmla="*/ 38 h 113"/>
                  <a:gd name="T28" fmla="*/ 122 w 141"/>
                  <a:gd name="T29" fmla="*/ 32 h 113"/>
                  <a:gd name="T30" fmla="*/ 120 w 141"/>
                  <a:gd name="T31" fmla="*/ 25 h 113"/>
                  <a:gd name="T32" fmla="*/ 127 w 141"/>
                  <a:gd name="T33" fmla="*/ 34 h 113"/>
                  <a:gd name="T34" fmla="*/ 131 w 141"/>
                  <a:gd name="T35" fmla="*/ 42 h 113"/>
                  <a:gd name="T36" fmla="*/ 135 w 141"/>
                  <a:gd name="T37" fmla="*/ 44 h 113"/>
                  <a:gd name="T38" fmla="*/ 141 w 141"/>
                  <a:gd name="T39" fmla="*/ 51 h 113"/>
                  <a:gd name="T40" fmla="*/ 133 w 141"/>
                  <a:gd name="T41" fmla="*/ 59 h 113"/>
                  <a:gd name="T42" fmla="*/ 129 w 141"/>
                  <a:gd name="T43" fmla="*/ 71 h 113"/>
                  <a:gd name="T44" fmla="*/ 129 w 141"/>
                  <a:gd name="T45" fmla="*/ 84 h 113"/>
                  <a:gd name="T46" fmla="*/ 122 w 141"/>
                  <a:gd name="T47" fmla="*/ 92 h 113"/>
                  <a:gd name="T48" fmla="*/ 114 w 141"/>
                  <a:gd name="T49" fmla="*/ 100 h 113"/>
                  <a:gd name="T50" fmla="*/ 110 w 141"/>
                  <a:gd name="T51" fmla="*/ 109 h 113"/>
                  <a:gd name="T52" fmla="*/ 98 w 141"/>
                  <a:gd name="T53" fmla="*/ 109 h 113"/>
                  <a:gd name="T54" fmla="*/ 97 w 141"/>
                  <a:gd name="T55" fmla="*/ 101 h 113"/>
                  <a:gd name="T56" fmla="*/ 89 w 141"/>
                  <a:gd name="T57" fmla="*/ 92 h 113"/>
                  <a:gd name="T58" fmla="*/ 85 w 141"/>
                  <a:gd name="T59" fmla="*/ 84 h 113"/>
                  <a:gd name="T60" fmla="*/ 79 w 141"/>
                  <a:gd name="T61" fmla="*/ 80 h 113"/>
                  <a:gd name="T62" fmla="*/ 83 w 141"/>
                  <a:gd name="T63" fmla="*/ 71 h 113"/>
                  <a:gd name="T64" fmla="*/ 79 w 141"/>
                  <a:gd name="T65" fmla="*/ 69 h 113"/>
                  <a:gd name="T66" fmla="*/ 72 w 141"/>
                  <a:gd name="T67" fmla="*/ 71 h 113"/>
                  <a:gd name="T68" fmla="*/ 64 w 141"/>
                  <a:gd name="T69" fmla="*/ 76 h 113"/>
                  <a:gd name="T70" fmla="*/ 66 w 141"/>
                  <a:gd name="T71" fmla="*/ 92 h 113"/>
                  <a:gd name="T72" fmla="*/ 62 w 141"/>
                  <a:gd name="T73" fmla="*/ 94 h 113"/>
                  <a:gd name="T74" fmla="*/ 58 w 141"/>
                  <a:gd name="T75" fmla="*/ 86 h 113"/>
                  <a:gd name="T76" fmla="*/ 52 w 141"/>
                  <a:gd name="T77" fmla="*/ 78 h 113"/>
                  <a:gd name="T78" fmla="*/ 45 w 141"/>
                  <a:gd name="T79" fmla="*/ 73 h 113"/>
                  <a:gd name="T80" fmla="*/ 43 w 141"/>
                  <a:gd name="T81" fmla="*/ 59 h 113"/>
                  <a:gd name="T82" fmla="*/ 39 w 141"/>
                  <a:gd name="T83" fmla="*/ 55 h 113"/>
                  <a:gd name="T84" fmla="*/ 29 w 141"/>
                  <a:gd name="T85" fmla="*/ 57 h 113"/>
                  <a:gd name="T86" fmla="*/ 25 w 141"/>
                  <a:gd name="T87" fmla="*/ 65 h 113"/>
                  <a:gd name="T88" fmla="*/ 22 w 141"/>
                  <a:gd name="T89" fmla="*/ 76 h 113"/>
                  <a:gd name="T90" fmla="*/ 18 w 141"/>
                  <a:gd name="T91" fmla="*/ 75 h 113"/>
                  <a:gd name="T92" fmla="*/ 10 w 141"/>
                  <a:gd name="T93" fmla="*/ 71 h 113"/>
                  <a:gd name="T94" fmla="*/ 2 w 141"/>
                  <a:gd name="T95" fmla="*/ 67 h 113"/>
                  <a:gd name="T96" fmla="*/ 0 w 141"/>
                  <a:gd name="T97" fmla="*/ 57 h 113"/>
                  <a:gd name="T98" fmla="*/ 12 w 141"/>
                  <a:gd name="T99" fmla="*/ 51 h 113"/>
                  <a:gd name="T100" fmla="*/ 18 w 141"/>
                  <a:gd name="T101" fmla="*/ 46 h 113"/>
                  <a:gd name="T102" fmla="*/ 18 w 141"/>
                  <a:gd name="T103" fmla="*/ 36 h 113"/>
                  <a:gd name="T104" fmla="*/ 14 w 141"/>
                  <a:gd name="T105" fmla="*/ 28 h 113"/>
                  <a:gd name="T106" fmla="*/ 4 w 141"/>
                  <a:gd name="T107" fmla="*/ 23 h 113"/>
                  <a:gd name="T108" fmla="*/ 8 w 141"/>
                  <a:gd name="T109" fmla="*/ 17 h 113"/>
                  <a:gd name="T110" fmla="*/ 14 w 141"/>
                  <a:gd name="T111" fmla="*/ 7 h 113"/>
                  <a:gd name="T112" fmla="*/ 20 w 141"/>
                  <a:gd name="T113" fmla="*/ 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41" h="113">
                    <a:moveTo>
                      <a:pt x="24" y="7"/>
                    </a:moveTo>
                    <a:lnTo>
                      <a:pt x="24" y="11"/>
                    </a:lnTo>
                    <a:lnTo>
                      <a:pt x="24" y="13"/>
                    </a:lnTo>
                    <a:lnTo>
                      <a:pt x="25" y="15"/>
                    </a:lnTo>
                    <a:lnTo>
                      <a:pt x="25" y="13"/>
                    </a:lnTo>
                    <a:lnTo>
                      <a:pt x="27" y="13"/>
                    </a:lnTo>
                    <a:lnTo>
                      <a:pt x="27" y="15"/>
                    </a:lnTo>
                    <a:lnTo>
                      <a:pt x="29" y="15"/>
                    </a:lnTo>
                    <a:lnTo>
                      <a:pt x="29" y="17"/>
                    </a:lnTo>
                    <a:lnTo>
                      <a:pt x="31" y="17"/>
                    </a:lnTo>
                    <a:lnTo>
                      <a:pt x="33" y="17"/>
                    </a:lnTo>
                    <a:lnTo>
                      <a:pt x="35" y="17"/>
                    </a:lnTo>
                    <a:lnTo>
                      <a:pt x="37" y="17"/>
                    </a:lnTo>
                    <a:lnTo>
                      <a:pt x="37" y="19"/>
                    </a:lnTo>
                    <a:lnTo>
                      <a:pt x="39" y="23"/>
                    </a:lnTo>
                    <a:lnTo>
                      <a:pt x="39" y="25"/>
                    </a:lnTo>
                    <a:lnTo>
                      <a:pt x="39" y="26"/>
                    </a:lnTo>
                    <a:lnTo>
                      <a:pt x="41" y="26"/>
                    </a:lnTo>
                    <a:lnTo>
                      <a:pt x="41" y="28"/>
                    </a:lnTo>
                    <a:lnTo>
                      <a:pt x="41" y="30"/>
                    </a:lnTo>
                    <a:lnTo>
                      <a:pt x="41" y="32"/>
                    </a:lnTo>
                    <a:lnTo>
                      <a:pt x="45" y="32"/>
                    </a:lnTo>
                    <a:lnTo>
                      <a:pt x="47" y="32"/>
                    </a:lnTo>
                    <a:lnTo>
                      <a:pt x="47" y="30"/>
                    </a:lnTo>
                    <a:lnTo>
                      <a:pt x="47" y="28"/>
                    </a:lnTo>
                    <a:lnTo>
                      <a:pt x="47" y="26"/>
                    </a:lnTo>
                    <a:lnTo>
                      <a:pt x="47" y="25"/>
                    </a:lnTo>
                    <a:lnTo>
                      <a:pt x="45" y="23"/>
                    </a:lnTo>
                    <a:lnTo>
                      <a:pt x="45" y="21"/>
                    </a:lnTo>
                    <a:lnTo>
                      <a:pt x="47" y="21"/>
                    </a:lnTo>
                    <a:lnTo>
                      <a:pt x="47" y="19"/>
                    </a:lnTo>
                    <a:lnTo>
                      <a:pt x="47" y="21"/>
                    </a:lnTo>
                    <a:lnTo>
                      <a:pt x="49" y="21"/>
                    </a:lnTo>
                    <a:lnTo>
                      <a:pt x="50" y="21"/>
                    </a:lnTo>
                    <a:lnTo>
                      <a:pt x="50" y="19"/>
                    </a:lnTo>
                    <a:lnTo>
                      <a:pt x="52" y="19"/>
                    </a:lnTo>
                    <a:lnTo>
                      <a:pt x="52" y="17"/>
                    </a:lnTo>
                    <a:lnTo>
                      <a:pt x="54" y="17"/>
                    </a:lnTo>
                    <a:lnTo>
                      <a:pt x="56" y="15"/>
                    </a:lnTo>
                    <a:lnTo>
                      <a:pt x="56" y="13"/>
                    </a:lnTo>
                    <a:lnTo>
                      <a:pt x="56" y="11"/>
                    </a:lnTo>
                    <a:lnTo>
                      <a:pt x="56" y="9"/>
                    </a:lnTo>
                    <a:lnTo>
                      <a:pt x="58" y="9"/>
                    </a:lnTo>
                    <a:lnTo>
                      <a:pt x="60" y="7"/>
                    </a:lnTo>
                    <a:lnTo>
                      <a:pt x="62" y="7"/>
                    </a:lnTo>
                    <a:lnTo>
                      <a:pt x="64" y="9"/>
                    </a:lnTo>
                    <a:lnTo>
                      <a:pt x="66" y="5"/>
                    </a:lnTo>
                    <a:lnTo>
                      <a:pt x="66" y="3"/>
                    </a:lnTo>
                    <a:lnTo>
                      <a:pt x="66" y="1"/>
                    </a:lnTo>
                    <a:lnTo>
                      <a:pt x="70" y="0"/>
                    </a:lnTo>
                    <a:lnTo>
                      <a:pt x="72" y="0"/>
                    </a:lnTo>
                    <a:lnTo>
                      <a:pt x="72" y="1"/>
                    </a:lnTo>
                    <a:lnTo>
                      <a:pt x="73" y="1"/>
                    </a:lnTo>
                    <a:lnTo>
                      <a:pt x="73" y="3"/>
                    </a:lnTo>
                    <a:lnTo>
                      <a:pt x="73" y="5"/>
                    </a:lnTo>
                    <a:lnTo>
                      <a:pt x="73" y="7"/>
                    </a:lnTo>
                    <a:lnTo>
                      <a:pt x="73" y="9"/>
                    </a:lnTo>
                    <a:lnTo>
                      <a:pt x="73" y="11"/>
                    </a:lnTo>
                    <a:lnTo>
                      <a:pt x="73" y="13"/>
                    </a:lnTo>
                    <a:lnTo>
                      <a:pt x="73" y="15"/>
                    </a:lnTo>
                    <a:lnTo>
                      <a:pt x="75" y="17"/>
                    </a:lnTo>
                    <a:lnTo>
                      <a:pt x="75" y="19"/>
                    </a:lnTo>
                    <a:lnTo>
                      <a:pt x="77" y="21"/>
                    </a:lnTo>
                    <a:lnTo>
                      <a:pt x="75" y="21"/>
                    </a:lnTo>
                    <a:lnTo>
                      <a:pt x="75" y="23"/>
                    </a:lnTo>
                    <a:lnTo>
                      <a:pt x="75" y="25"/>
                    </a:lnTo>
                    <a:lnTo>
                      <a:pt x="77" y="25"/>
                    </a:lnTo>
                    <a:lnTo>
                      <a:pt x="77" y="26"/>
                    </a:lnTo>
                    <a:lnTo>
                      <a:pt x="79" y="26"/>
                    </a:lnTo>
                    <a:lnTo>
                      <a:pt x="79" y="28"/>
                    </a:lnTo>
                    <a:lnTo>
                      <a:pt x="81" y="28"/>
                    </a:lnTo>
                    <a:lnTo>
                      <a:pt x="79" y="30"/>
                    </a:lnTo>
                    <a:lnTo>
                      <a:pt x="81" y="30"/>
                    </a:lnTo>
                    <a:lnTo>
                      <a:pt x="81" y="32"/>
                    </a:lnTo>
                    <a:lnTo>
                      <a:pt x="83" y="32"/>
                    </a:lnTo>
                    <a:lnTo>
                      <a:pt x="85" y="34"/>
                    </a:lnTo>
                    <a:lnTo>
                      <a:pt x="87" y="34"/>
                    </a:lnTo>
                    <a:lnTo>
                      <a:pt x="89" y="34"/>
                    </a:lnTo>
                    <a:lnTo>
                      <a:pt x="89" y="36"/>
                    </a:lnTo>
                    <a:lnTo>
                      <a:pt x="89" y="38"/>
                    </a:lnTo>
                    <a:lnTo>
                      <a:pt x="89" y="40"/>
                    </a:lnTo>
                    <a:lnTo>
                      <a:pt x="89" y="42"/>
                    </a:lnTo>
                    <a:lnTo>
                      <a:pt x="89" y="44"/>
                    </a:lnTo>
                    <a:lnTo>
                      <a:pt x="91" y="42"/>
                    </a:lnTo>
                    <a:lnTo>
                      <a:pt x="93" y="42"/>
                    </a:lnTo>
                    <a:lnTo>
                      <a:pt x="93" y="44"/>
                    </a:lnTo>
                    <a:lnTo>
                      <a:pt x="95" y="42"/>
                    </a:lnTo>
                    <a:lnTo>
                      <a:pt x="97" y="42"/>
                    </a:lnTo>
                    <a:lnTo>
                      <a:pt x="98" y="42"/>
                    </a:lnTo>
                    <a:lnTo>
                      <a:pt x="100" y="40"/>
                    </a:lnTo>
                    <a:lnTo>
                      <a:pt x="102" y="40"/>
                    </a:lnTo>
                    <a:lnTo>
                      <a:pt x="104" y="40"/>
                    </a:lnTo>
                    <a:lnTo>
                      <a:pt x="104" y="38"/>
                    </a:lnTo>
                    <a:lnTo>
                      <a:pt x="106" y="38"/>
                    </a:lnTo>
                    <a:lnTo>
                      <a:pt x="108" y="38"/>
                    </a:lnTo>
                    <a:lnTo>
                      <a:pt x="108" y="36"/>
                    </a:lnTo>
                    <a:lnTo>
                      <a:pt x="110" y="38"/>
                    </a:lnTo>
                    <a:lnTo>
                      <a:pt x="112" y="38"/>
                    </a:lnTo>
                    <a:lnTo>
                      <a:pt x="112" y="36"/>
                    </a:lnTo>
                    <a:lnTo>
                      <a:pt x="114" y="36"/>
                    </a:lnTo>
                    <a:lnTo>
                      <a:pt x="116" y="38"/>
                    </a:lnTo>
                    <a:lnTo>
                      <a:pt x="118" y="40"/>
                    </a:lnTo>
                    <a:lnTo>
                      <a:pt x="118" y="38"/>
                    </a:lnTo>
                    <a:lnTo>
                      <a:pt x="120" y="36"/>
                    </a:lnTo>
                    <a:lnTo>
                      <a:pt x="122" y="32"/>
                    </a:lnTo>
                    <a:lnTo>
                      <a:pt x="120" y="32"/>
                    </a:lnTo>
                    <a:lnTo>
                      <a:pt x="120" y="30"/>
                    </a:lnTo>
                    <a:lnTo>
                      <a:pt x="118" y="30"/>
                    </a:lnTo>
                    <a:lnTo>
                      <a:pt x="120" y="30"/>
                    </a:lnTo>
                    <a:lnTo>
                      <a:pt x="120" y="28"/>
                    </a:lnTo>
                    <a:lnTo>
                      <a:pt x="120" y="26"/>
                    </a:lnTo>
                    <a:lnTo>
                      <a:pt x="120" y="25"/>
                    </a:lnTo>
                    <a:lnTo>
                      <a:pt x="122" y="25"/>
                    </a:lnTo>
                    <a:lnTo>
                      <a:pt x="123" y="25"/>
                    </a:lnTo>
                    <a:lnTo>
                      <a:pt x="125" y="26"/>
                    </a:lnTo>
                    <a:lnTo>
                      <a:pt x="125" y="28"/>
                    </a:lnTo>
                    <a:lnTo>
                      <a:pt x="125" y="30"/>
                    </a:lnTo>
                    <a:lnTo>
                      <a:pt x="125" y="32"/>
                    </a:lnTo>
                    <a:lnTo>
                      <a:pt x="127" y="34"/>
                    </a:lnTo>
                    <a:lnTo>
                      <a:pt x="125" y="36"/>
                    </a:lnTo>
                    <a:lnTo>
                      <a:pt x="125" y="38"/>
                    </a:lnTo>
                    <a:lnTo>
                      <a:pt x="123" y="38"/>
                    </a:lnTo>
                    <a:lnTo>
                      <a:pt x="125" y="40"/>
                    </a:lnTo>
                    <a:lnTo>
                      <a:pt x="129" y="44"/>
                    </a:lnTo>
                    <a:lnTo>
                      <a:pt x="131" y="44"/>
                    </a:lnTo>
                    <a:lnTo>
                      <a:pt x="131" y="42"/>
                    </a:lnTo>
                    <a:lnTo>
                      <a:pt x="133" y="40"/>
                    </a:lnTo>
                    <a:lnTo>
                      <a:pt x="133" y="38"/>
                    </a:lnTo>
                    <a:lnTo>
                      <a:pt x="135" y="38"/>
                    </a:lnTo>
                    <a:lnTo>
                      <a:pt x="135" y="40"/>
                    </a:lnTo>
                    <a:lnTo>
                      <a:pt x="133" y="40"/>
                    </a:lnTo>
                    <a:lnTo>
                      <a:pt x="133" y="42"/>
                    </a:lnTo>
                    <a:lnTo>
                      <a:pt x="135" y="44"/>
                    </a:lnTo>
                    <a:lnTo>
                      <a:pt x="135" y="46"/>
                    </a:lnTo>
                    <a:lnTo>
                      <a:pt x="137" y="46"/>
                    </a:lnTo>
                    <a:lnTo>
                      <a:pt x="137" y="48"/>
                    </a:lnTo>
                    <a:lnTo>
                      <a:pt x="139" y="48"/>
                    </a:lnTo>
                    <a:lnTo>
                      <a:pt x="141" y="48"/>
                    </a:lnTo>
                    <a:lnTo>
                      <a:pt x="141" y="50"/>
                    </a:lnTo>
                    <a:lnTo>
                      <a:pt x="141" y="51"/>
                    </a:lnTo>
                    <a:lnTo>
                      <a:pt x="139" y="51"/>
                    </a:lnTo>
                    <a:lnTo>
                      <a:pt x="139" y="53"/>
                    </a:lnTo>
                    <a:lnTo>
                      <a:pt x="137" y="53"/>
                    </a:lnTo>
                    <a:lnTo>
                      <a:pt x="135" y="53"/>
                    </a:lnTo>
                    <a:lnTo>
                      <a:pt x="135" y="55"/>
                    </a:lnTo>
                    <a:lnTo>
                      <a:pt x="133" y="57"/>
                    </a:lnTo>
                    <a:lnTo>
                      <a:pt x="133" y="59"/>
                    </a:lnTo>
                    <a:lnTo>
                      <a:pt x="133" y="61"/>
                    </a:lnTo>
                    <a:lnTo>
                      <a:pt x="133" y="63"/>
                    </a:lnTo>
                    <a:lnTo>
                      <a:pt x="133" y="65"/>
                    </a:lnTo>
                    <a:lnTo>
                      <a:pt x="131" y="65"/>
                    </a:lnTo>
                    <a:lnTo>
                      <a:pt x="131" y="67"/>
                    </a:lnTo>
                    <a:lnTo>
                      <a:pt x="131" y="69"/>
                    </a:lnTo>
                    <a:lnTo>
                      <a:pt x="129" y="71"/>
                    </a:lnTo>
                    <a:lnTo>
                      <a:pt x="129" y="73"/>
                    </a:lnTo>
                    <a:lnTo>
                      <a:pt x="129" y="75"/>
                    </a:lnTo>
                    <a:lnTo>
                      <a:pt x="129" y="76"/>
                    </a:lnTo>
                    <a:lnTo>
                      <a:pt x="129" y="80"/>
                    </a:lnTo>
                    <a:lnTo>
                      <a:pt x="127" y="82"/>
                    </a:lnTo>
                    <a:lnTo>
                      <a:pt x="127" y="84"/>
                    </a:lnTo>
                    <a:lnTo>
                      <a:pt x="129" y="84"/>
                    </a:lnTo>
                    <a:lnTo>
                      <a:pt x="127" y="84"/>
                    </a:lnTo>
                    <a:lnTo>
                      <a:pt x="125" y="86"/>
                    </a:lnTo>
                    <a:lnTo>
                      <a:pt x="123" y="86"/>
                    </a:lnTo>
                    <a:lnTo>
                      <a:pt x="122" y="86"/>
                    </a:lnTo>
                    <a:lnTo>
                      <a:pt x="122" y="88"/>
                    </a:lnTo>
                    <a:lnTo>
                      <a:pt x="122" y="90"/>
                    </a:lnTo>
                    <a:lnTo>
                      <a:pt x="122" y="92"/>
                    </a:lnTo>
                    <a:lnTo>
                      <a:pt x="120" y="92"/>
                    </a:lnTo>
                    <a:lnTo>
                      <a:pt x="120" y="94"/>
                    </a:lnTo>
                    <a:lnTo>
                      <a:pt x="118" y="96"/>
                    </a:lnTo>
                    <a:lnTo>
                      <a:pt x="116" y="96"/>
                    </a:lnTo>
                    <a:lnTo>
                      <a:pt x="116" y="98"/>
                    </a:lnTo>
                    <a:lnTo>
                      <a:pt x="114" y="98"/>
                    </a:lnTo>
                    <a:lnTo>
                      <a:pt x="114" y="100"/>
                    </a:lnTo>
                    <a:lnTo>
                      <a:pt x="114" y="101"/>
                    </a:lnTo>
                    <a:lnTo>
                      <a:pt x="114" y="103"/>
                    </a:lnTo>
                    <a:lnTo>
                      <a:pt x="112" y="103"/>
                    </a:lnTo>
                    <a:lnTo>
                      <a:pt x="112" y="105"/>
                    </a:lnTo>
                    <a:lnTo>
                      <a:pt x="112" y="107"/>
                    </a:lnTo>
                    <a:lnTo>
                      <a:pt x="110" y="107"/>
                    </a:lnTo>
                    <a:lnTo>
                      <a:pt x="110" y="109"/>
                    </a:lnTo>
                    <a:lnTo>
                      <a:pt x="108" y="109"/>
                    </a:lnTo>
                    <a:lnTo>
                      <a:pt x="108" y="111"/>
                    </a:lnTo>
                    <a:lnTo>
                      <a:pt x="106" y="111"/>
                    </a:lnTo>
                    <a:lnTo>
                      <a:pt x="104" y="113"/>
                    </a:lnTo>
                    <a:lnTo>
                      <a:pt x="102" y="111"/>
                    </a:lnTo>
                    <a:lnTo>
                      <a:pt x="100" y="109"/>
                    </a:lnTo>
                    <a:lnTo>
                      <a:pt x="98" y="109"/>
                    </a:lnTo>
                    <a:lnTo>
                      <a:pt x="98" y="107"/>
                    </a:lnTo>
                    <a:lnTo>
                      <a:pt x="97" y="107"/>
                    </a:lnTo>
                    <a:lnTo>
                      <a:pt x="97" y="105"/>
                    </a:lnTo>
                    <a:lnTo>
                      <a:pt x="97" y="103"/>
                    </a:lnTo>
                    <a:lnTo>
                      <a:pt x="95" y="103"/>
                    </a:lnTo>
                    <a:lnTo>
                      <a:pt x="95" y="101"/>
                    </a:lnTo>
                    <a:lnTo>
                      <a:pt x="97" y="101"/>
                    </a:lnTo>
                    <a:lnTo>
                      <a:pt x="95" y="101"/>
                    </a:lnTo>
                    <a:lnTo>
                      <a:pt x="95" y="100"/>
                    </a:lnTo>
                    <a:lnTo>
                      <a:pt x="93" y="100"/>
                    </a:lnTo>
                    <a:lnTo>
                      <a:pt x="93" y="98"/>
                    </a:lnTo>
                    <a:lnTo>
                      <a:pt x="91" y="96"/>
                    </a:lnTo>
                    <a:lnTo>
                      <a:pt x="89" y="94"/>
                    </a:lnTo>
                    <a:lnTo>
                      <a:pt x="89" y="92"/>
                    </a:lnTo>
                    <a:lnTo>
                      <a:pt x="87" y="92"/>
                    </a:lnTo>
                    <a:lnTo>
                      <a:pt x="87" y="90"/>
                    </a:lnTo>
                    <a:lnTo>
                      <a:pt x="89" y="90"/>
                    </a:lnTo>
                    <a:lnTo>
                      <a:pt x="87" y="88"/>
                    </a:lnTo>
                    <a:lnTo>
                      <a:pt x="85" y="88"/>
                    </a:lnTo>
                    <a:lnTo>
                      <a:pt x="85" y="86"/>
                    </a:lnTo>
                    <a:lnTo>
                      <a:pt x="85" y="84"/>
                    </a:lnTo>
                    <a:lnTo>
                      <a:pt x="83" y="84"/>
                    </a:lnTo>
                    <a:lnTo>
                      <a:pt x="83" y="82"/>
                    </a:lnTo>
                    <a:lnTo>
                      <a:pt x="83" y="84"/>
                    </a:lnTo>
                    <a:lnTo>
                      <a:pt x="81" y="84"/>
                    </a:lnTo>
                    <a:lnTo>
                      <a:pt x="81" y="82"/>
                    </a:lnTo>
                    <a:lnTo>
                      <a:pt x="79" y="82"/>
                    </a:lnTo>
                    <a:lnTo>
                      <a:pt x="79" y="80"/>
                    </a:lnTo>
                    <a:lnTo>
                      <a:pt x="79" y="78"/>
                    </a:lnTo>
                    <a:lnTo>
                      <a:pt x="77" y="76"/>
                    </a:lnTo>
                    <a:lnTo>
                      <a:pt x="79" y="76"/>
                    </a:lnTo>
                    <a:lnTo>
                      <a:pt x="81" y="76"/>
                    </a:lnTo>
                    <a:lnTo>
                      <a:pt x="81" y="75"/>
                    </a:lnTo>
                    <a:lnTo>
                      <a:pt x="83" y="73"/>
                    </a:lnTo>
                    <a:lnTo>
                      <a:pt x="83" y="71"/>
                    </a:lnTo>
                    <a:lnTo>
                      <a:pt x="83" y="69"/>
                    </a:lnTo>
                    <a:lnTo>
                      <a:pt x="83" y="71"/>
                    </a:lnTo>
                    <a:lnTo>
                      <a:pt x="81" y="71"/>
                    </a:lnTo>
                    <a:lnTo>
                      <a:pt x="81" y="69"/>
                    </a:lnTo>
                    <a:lnTo>
                      <a:pt x="79" y="69"/>
                    </a:lnTo>
                    <a:lnTo>
                      <a:pt x="79" y="71"/>
                    </a:lnTo>
                    <a:lnTo>
                      <a:pt x="79" y="69"/>
                    </a:lnTo>
                    <a:lnTo>
                      <a:pt x="77" y="69"/>
                    </a:lnTo>
                    <a:lnTo>
                      <a:pt x="77" y="71"/>
                    </a:lnTo>
                    <a:lnTo>
                      <a:pt x="77" y="69"/>
                    </a:lnTo>
                    <a:lnTo>
                      <a:pt x="75" y="69"/>
                    </a:lnTo>
                    <a:lnTo>
                      <a:pt x="75" y="71"/>
                    </a:lnTo>
                    <a:lnTo>
                      <a:pt x="73" y="71"/>
                    </a:lnTo>
                    <a:lnTo>
                      <a:pt x="72" y="71"/>
                    </a:lnTo>
                    <a:lnTo>
                      <a:pt x="70" y="71"/>
                    </a:lnTo>
                    <a:lnTo>
                      <a:pt x="68" y="71"/>
                    </a:lnTo>
                    <a:lnTo>
                      <a:pt x="68" y="73"/>
                    </a:lnTo>
                    <a:lnTo>
                      <a:pt x="66" y="73"/>
                    </a:lnTo>
                    <a:lnTo>
                      <a:pt x="66" y="75"/>
                    </a:lnTo>
                    <a:lnTo>
                      <a:pt x="64" y="75"/>
                    </a:lnTo>
                    <a:lnTo>
                      <a:pt x="64" y="76"/>
                    </a:lnTo>
                    <a:lnTo>
                      <a:pt x="64" y="78"/>
                    </a:lnTo>
                    <a:lnTo>
                      <a:pt x="64" y="80"/>
                    </a:lnTo>
                    <a:lnTo>
                      <a:pt x="64" y="82"/>
                    </a:lnTo>
                    <a:lnTo>
                      <a:pt x="64" y="84"/>
                    </a:lnTo>
                    <a:lnTo>
                      <a:pt x="66" y="88"/>
                    </a:lnTo>
                    <a:lnTo>
                      <a:pt x="66" y="90"/>
                    </a:lnTo>
                    <a:lnTo>
                      <a:pt x="66" y="92"/>
                    </a:lnTo>
                    <a:lnTo>
                      <a:pt x="68" y="92"/>
                    </a:lnTo>
                    <a:lnTo>
                      <a:pt x="68" y="94"/>
                    </a:lnTo>
                    <a:lnTo>
                      <a:pt x="66" y="94"/>
                    </a:lnTo>
                    <a:lnTo>
                      <a:pt x="66" y="92"/>
                    </a:lnTo>
                    <a:lnTo>
                      <a:pt x="64" y="92"/>
                    </a:lnTo>
                    <a:lnTo>
                      <a:pt x="64" y="94"/>
                    </a:lnTo>
                    <a:lnTo>
                      <a:pt x="62" y="94"/>
                    </a:lnTo>
                    <a:lnTo>
                      <a:pt x="62" y="96"/>
                    </a:lnTo>
                    <a:lnTo>
                      <a:pt x="62" y="94"/>
                    </a:lnTo>
                    <a:lnTo>
                      <a:pt x="60" y="94"/>
                    </a:lnTo>
                    <a:lnTo>
                      <a:pt x="60" y="92"/>
                    </a:lnTo>
                    <a:lnTo>
                      <a:pt x="58" y="90"/>
                    </a:lnTo>
                    <a:lnTo>
                      <a:pt x="58" y="88"/>
                    </a:lnTo>
                    <a:lnTo>
                      <a:pt x="58" y="86"/>
                    </a:lnTo>
                    <a:lnTo>
                      <a:pt x="58" y="84"/>
                    </a:lnTo>
                    <a:lnTo>
                      <a:pt x="58" y="82"/>
                    </a:lnTo>
                    <a:lnTo>
                      <a:pt x="56" y="82"/>
                    </a:lnTo>
                    <a:lnTo>
                      <a:pt x="56" y="80"/>
                    </a:lnTo>
                    <a:lnTo>
                      <a:pt x="56" y="78"/>
                    </a:lnTo>
                    <a:lnTo>
                      <a:pt x="54" y="78"/>
                    </a:lnTo>
                    <a:lnTo>
                      <a:pt x="52" y="78"/>
                    </a:lnTo>
                    <a:lnTo>
                      <a:pt x="52" y="76"/>
                    </a:lnTo>
                    <a:lnTo>
                      <a:pt x="50" y="76"/>
                    </a:lnTo>
                    <a:lnTo>
                      <a:pt x="49" y="76"/>
                    </a:lnTo>
                    <a:lnTo>
                      <a:pt x="47" y="76"/>
                    </a:lnTo>
                    <a:lnTo>
                      <a:pt x="47" y="75"/>
                    </a:lnTo>
                    <a:lnTo>
                      <a:pt x="45" y="75"/>
                    </a:lnTo>
                    <a:lnTo>
                      <a:pt x="45" y="73"/>
                    </a:lnTo>
                    <a:lnTo>
                      <a:pt x="45" y="71"/>
                    </a:lnTo>
                    <a:lnTo>
                      <a:pt x="45" y="69"/>
                    </a:lnTo>
                    <a:lnTo>
                      <a:pt x="45" y="67"/>
                    </a:lnTo>
                    <a:lnTo>
                      <a:pt x="45" y="65"/>
                    </a:lnTo>
                    <a:lnTo>
                      <a:pt x="43" y="63"/>
                    </a:lnTo>
                    <a:lnTo>
                      <a:pt x="43" y="61"/>
                    </a:lnTo>
                    <a:lnTo>
                      <a:pt x="43" y="59"/>
                    </a:lnTo>
                    <a:lnTo>
                      <a:pt x="43" y="57"/>
                    </a:lnTo>
                    <a:lnTo>
                      <a:pt x="45" y="55"/>
                    </a:lnTo>
                    <a:lnTo>
                      <a:pt x="45" y="53"/>
                    </a:lnTo>
                    <a:lnTo>
                      <a:pt x="43" y="53"/>
                    </a:lnTo>
                    <a:lnTo>
                      <a:pt x="41" y="53"/>
                    </a:lnTo>
                    <a:lnTo>
                      <a:pt x="39" y="53"/>
                    </a:lnTo>
                    <a:lnTo>
                      <a:pt x="39" y="55"/>
                    </a:lnTo>
                    <a:lnTo>
                      <a:pt x="37" y="55"/>
                    </a:lnTo>
                    <a:lnTo>
                      <a:pt x="35" y="55"/>
                    </a:lnTo>
                    <a:lnTo>
                      <a:pt x="35" y="57"/>
                    </a:lnTo>
                    <a:lnTo>
                      <a:pt x="35" y="59"/>
                    </a:lnTo>
                    <a:lnTo>
                      <a:pt x="33" y="59"/>
                    </a:lnTo>
                    <a:lnTo>
                      <a:pt x="31" y="59"/>
                    </a:lnTo>
                    <a:lnTo>
                      <a:pt x="29" y="57"/>
                    </a:lnTo>
                    <a:lnTo>
                      <a:pt x="29" y="55"/>
                    </a:lnTo>
                    <a:lnTo>
                      <a:pt x="27" y="57"/>
                    </a:lnTo>
                    <a:lnTo>
                      <a:pt x="27" y="59"/>
                    </a:lnTo>
                    <a:lnTo>
                      <a:pt x="27" y="61"/>
                    </a:lnTo>
                    <a:lnTo>
                      <a:pt x="27" y="63"/>
                    </a:lnTo>
                    <a:lnTo>
                      <a:pt x="25" y="63"/>
                    </a:lnTo>
                    <a:lnTo>
                      <a:pt x="25" y="65"/>
                    </a:lnTo>
                    <a:lnTo>
                      <a:pt x="25" y="67"/>
                    </a:lnTo>
                    <a:lnTo>
                      <a:pt x="24" y="69"/>
                    </a:lnTo>
                    <a:lnTo>
                      <a:pt x="24" y="71"/>
                    </a:lnTo>
                    <a:lnTo>
                      <a:pt x="24" y="73"/>
                    </a:lnTo>
                    <a:lnTo>
                      <a:pt x="22" y="76"/>
                    </a:lnTo>
                    <a:lnTo>
                      <a:pt x="22" y="78"/>
                    </a:lnTo>
                    <a:lnTo>
                      <a:pt x="22" y="76"/>
                    </a:lnTo>
                    <a:lnTo>
                      <a:pt x="20" y="76"/>
                    </a:lnTo>
                    <a:lnTo>
                      <a:pt x="18" y="76"/>
                    </a:lnTo>
                    <a:lnTo>
                      <a:pt x="18" y="75"/>
                    </a:lnTo>
                    <a:lnTo>
                      <a:pt x="18" y="76"/>
                    </a:lnTo>
                    <a:lnTo>
                      <a:pt x="18" y="75"/>
                    </a:lnTo>
                    <a:lnTo>
                      <a:pt x="18" y="76"/>
                    </a:lnTo>
                    <a:lnTo>
                      <a:pt x="18" y="75"/>
                    </a:lnTo>
                    <a:lnTo>
                      <a:pt x="16" y="76"/>
                    </a:lnTo>
                    <a:lnTo>
                      <a:pt x="16" y="75"/>
                    </a:lnTo>
                    <a:lnTo>
                      <a:pt x="14" y="75"/>
                    </a:lnTo>
                    <a:lnTo>
                      <a:pt x="14" y="73"/>
                    </a:lnTo>
                    <a:lnTo>
                      <a:pt x="12" y="73"/>
                    </a:lnTo>
                    <a:lnTo>
                      <a:pt x="12" y="71"/>
                    </a:lnTo>
                    <a:lnTo>
                      <a:pt x="10" y="71"/>
                    </a:lnTo>
                    <a:lnTo>
                      <a:pt x="10" y="69"/>
                    </a:lnTo>
                    <a:lnTo>
                      <a:pt x="8" y="67"/>
                    </a:lnTo>
                    <a:lnTo>
                      <a:pt x="6" y="67"/>
                    </a:lnTo>
                    <a:lnTo>
                      <a:pt x="6" y="65"/>
                    </a:lnTo>
                    <a:lnTo>
                      <a:pt x="4" y="65"/>
                    </a:lnTo>
                    <a:lnTo>
                      <a:pt x="4" y="67"/>
                    </a:lnTo>
                    <a:lnTo>
                      <a:pt x="2" y="67"/>
                    </a:lnTo>
                    <a:lnTo>
                      <a:pt x="0" y="65"/>
                    </a:lnTo>
                    <a:lnTo>
                      <a:pt x="2" y="63"/>
                    </a:lnTo>
                    <a:lnTo>
                      <a:pt x="0" y="63"/>
                    </a:lnTo>
                    <a:lnTo>
                      <a:pt x="0" y="61"/>
                    </a:lnTo>
                    <a:lnTo>
                      <a:pt x="2" y="59"/>
                    </a:lnTo>
                    <a:lnTo>
                      <a:pt x="0" y="59"/>
                    </a:lnTo>
                    <a:lnTo>
                      <a:pt x="0" y="57"/>
                    </a:lnTo>
                    <a:lnTo>
                      <a:pt x="2" y="57"/>
                    </a:lnTo>
                    <a:lnTo>
                      <a:pt x="4" y="57"/>
                    </a:lnTo>
                    <a:lnTo>
                      <a:pt x="6" y="55"/>
                    </a:lnTo>
                    <a:lnTo>
                      <a:pt x="8" y="53"/>
                    </a:lnTo>
                    <a:lnTo>
                      <a:pt x="8" y="51"/>
                    </a:lnTo>
                    <a:lnTo>
                      <a:pt x="10" y="51"/>
                    </a:lnTo>
                    <a:lnTo>
                      <a:pt x="12" y="51"/>
                    </a:lnTo>
                    <a:lnTo>
                      <a:pt x="12" y="53"/>
                    </a:lnTo>
                    <a:lnTo>
                      <a:pt x="16" y="51"/>
                    </a:lnTo>
                    <a:lnTo>
                      <a:pt x="16" y="50"/>
                    </a:lnTo>
                    <a:lnTo>
                      <a:pt x="14" y="50"/>
                    </a:lnTo>
                    <a:lnTo>
                      <a:pt x="16" y="50"/>
                    </a:lnTo>
                    <a:lnTo>
                      <a:pt x="16" y="48"/>
                    </a:lnTo>
                    <a:lnTo>
                      <a:pt x="18" y="46"/>
                    </a:lnTo>
                    <a:lnTo>
                      <a:pt x="18" y="44"/>
                    </a:lnTo>
                    <a:lnTo>
                      <a:pt x="20" y="44"/>
                    </a:lnTo>
                    <a:lnTo>
                      <a:pt x="18" y="42"/>
                    </a:lnTo>
                    <a:lnTo>
                      <a:pt x="18" y="40"/>
                    </a:lnTo>
                    <a:lnTo>
                      <a:pt x="20" y="40"/>
                    </a:lnTo>
                    <a:lnTo>
                      <a:pt x="20" y="38"/>
                    </a:lnTo>
                    <a:lnTo>
                      <a:pt x="18" y="36"/>
                    </a:lnTo>
                    <a:lnTo>
                      <a:pt x="18" y="34"/>
                    </a:lnTo>
                    <a:lnTo>
                      <a:pt x="16" y="34"/>
                    </a:lnTo>
                    <a:lnTo>
                      <a:pt x="14" y="34"/>
                    </a:lnTo>
                    <a:lnTo>
                      <a:pt x="12" y="34"/>
                    </a:lnTo>
                    <a:lnTo>
                      <a:pt x="12" y="32"/>
                    </a:lnTo>
                    <a:lnTo>
                      <a:pt x="12" y="30"/>
                    </a:lnTo>
                    <a:lnTo>
                      <a:pt x="14" y="28"/>
                    </a:lnTo>
                    <a:lnTo>
                      <a:pt x="12" y="26"/>
                    </a:lnTo>
                    <a:lnTo>
                      <a:pt x="12" y="25"/>
                    </a:lnTo>
                    <a:lnTo>
                      <a:pt x="10" y="25"/>
                    </a:lnTo>
                    <a:lnTo>
                      <a:pt x="8" y="25"/>
                    </a:lnTo>
                    <a:lnTo>
                      <a:pt x="8" y="23"/>
                    </a:lnTo>
                    <a:lnTo>
                      <a:pt x="6" y="23"/>
                    </a:lnTo>
                    <a:lnTo>
                      <a:pt x="4" y="23"/>
                    </a:lnTo>
                    <a:lnTo>
                      <a:pt x="4" y="21"/>
                    </a:lnTo>
                    <a:lnTo>
                      <a:pt x="4" y="19"/>
                    </a:lnTo>
                    <a:lnTo>
                      <a:pt x="6" y="19"/>
                    </a:lnTo>
                    <a:lnTo>
                      <a:pt x="6" y="17"/>
                    </a:lnTo>
                    <a:lnTo>
                      <a:pt x="6" y="15"/>
                    </a:lnTo>
                    <a:lnTo>
                      <a:pt x="6" y="17"/>
                    </a:lnTo>
                    <a:lnTo>
                      <a:pt x="8" y="17"/>
                    </a:lnTo>
                    <a:lnTo>
                      <a:pt x="10" y="17"/>
                    </a:lnTo>
                    <a:lnTo>
                      <a:pt x="10" y="15"/>
                    </a:lnTo>
                    <a:lnTo>
                      <a:pt x="10" y="13"/>
                    </a:lnTo>
                    <a:lnTo>
                      <a:pt x="10" y="11"/>
                    </a:lnTo>
                    <a:lnTo>
                      <a:pt x="10" y="9"/>
                    </a:lnTo>
                    <a:lnTo>
                      <a:pt x="12" y="9"/>
                    </a:lnTo>
                    <a:lnTo>
                      <a:pt x="14" y="7"/>
                    </a:lnTo>
                    <a:lnTo>
                      <a:pt x="14" y="9"/>
                    </a:lnTo>
                    <a:lnTo>
                      <a:pt x="16" y="9"/>
                    </a:lnTo>
                    <a:lnTo>
                      <a:pt x="18" y="9"/>
                    </a:lnTo>
                    <a:lnTo>
                      <a:pt x="18" y="7"/>
                    </a:lnTo>
                    <a:lnTo>
                      <a:pt x="20" y="7"/>
                    </a:lnTo>
                    <a:lnTo>
                      <a:pt x="20" y="5"/>
                    </a:lnTo>
                    <a:lnTo>
                      <a:pt x="20" y="3"/>
                    </a:lnTo>
                    <a:lnTo>
                      <a:pt x="22" y="5"/>
                    </a:lnTo>
                    <a:lnTo>
                      <a:pt x="24" y="5"/>
                    </a:lnTo>
                    <a:lnTo>
                      <a:pt x="25" y="5"/>
                    </a:lnTo>
                    <a:lnTo>
                      <a:pt x="24" y="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" name="Freeform 139">
                <a:extLst>
                  <a:ext uri="{FF2B5EF4-FFF2-40B4-BE49-F238E27FC236}">
                    <a16:creationId xmlns="" xmlns:a16="http://schemas.microsoft.com/office/drawing/2014/main" id="{E40C6B34-663E-498E-B24B-A4F151151F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71688" y="3417888"/>
                <a:ext cx="206375" cy="238125"/>
              </a:xfrm>
              <a:custGeom>
                <a:avLst/>
                <a:gdLst>
                  <a:gd name="T0" fmla="*/ 128 w 130"/>
                  <a:gd name="T1" fmla="*/ 100 h 150"/>
                  <a:gd name="T2" fmla="*/ 128 w 130"/>
                  <a:gd name="T3" fmla="*/ 108 h 150"/>
                  <a:gd name="T4" fmla="*/ 123 w 130"/>
                  <a:gd name="T5" fmla="*/ 109 h 150"/>
                  <a:gd name="T6" fmla="*/ 117 w 130"/>
                  <a:gd name="T7" fmla="*/ 113 h 150"/>
                  <a:gd name="T8" fmla="*/ 109 w 130"/>
                  <a:gd name="T9" fmla="*/ 115 h 150"/>
                  <a:gd name="T10" fmla="*/ 103 w 130"/>
                  <a:gd name="T11" fmla="*/ 119 h 150"/>
                  <a:gd name="T12" fmla="*/ 92 w 130"/>
                  <a:gd name="T13" fmla="*/ 123 h 150"/>
                  <a:gd name="T14" fmla="*/ 84 w 130"/>
                  <a:gd name="T15" fmla="*/ 125 h 150"/>
                  <a:gd name="T16" fmla="*/ 82 w 130"/>
                  <a:gd name="T17" fmla="*/ 138 h 150"/>
                  <a:gd name="T18" fmla="*/ 71 w 130"/>
                  <a:gd name="T19" fmla="*/ 140 h 150"/>
                  <a:gd name="T20" fmla="*/ 65 w 130"/>
                  <a:gd name="T21" fmla="*/ 148 h 150"/>
                  <a:gd name="T22" fmla="*/ 55 w 130"/>
                  <a:gd name="T23" fmla="*/ 146 h 150"/>
                  <a:gd name="T24" fmla="*/ 48 w 130"/>
                  <a:gd name="T25" fmla="*/ 138 h 150"/>
                  <a:gd name="T26" fmla="*/ 42 w 130"/>
                  <a:gd name="T27" fmla="*/ 133 h 150"/>
                  <a:gd name="T28" fmla="*/ 36 w 130"/>
                  <a:gd name="T29" fmla="*/ 129 h 150"/>
                  <a:gd name="T30" fmla="*/ 28 w 130"/>
                  <a:gd name="T31" fmla="*/ 125 h 150"/>
                  <a:gd name="T32" fmla="*/ 32 w 130"/>
                  <a:gd name="T33" fmla="*/ 117 h 150"/>
                  <a:gd name="T34" fmla="*/ 25 w 130"/>
                  <a:gd name="T35" fmla="*/ 111 h 150"/>
                  <a:gd name="T36" fmla="*/ 25 w 130"/>
                  <a:gd name="T37" fmla="*/ 102 h 150"/>
                  <a:gd name="T38" fmla="*/ 25 w 130"/>
                  <a:gd name="T39" fmla="*/ 96 h 150"/>
                  <a:gd name="T40" fmla="*/ 28 w 130"/>
                  <a:gd name="T41" fmla="*/ 88 h 150"/>
                  <a:gd name="T42" fmla="*/ 30 w 130"/>
                  <a:gd name="T43" fmla="*/ 75 h 150"/>
                  <a:gd name="T44" fmla="*/ 21 w 130"/>
                  <a:gd name="T45" fmla="*/ 73 h 150"/>
                  <a:gd name="T46" fmla="*/ 15 w 130"/>
                  <a:gd name="T47" fmla="*/ 69 h 150"/>
                  <a:gd name="T48" fmla="*/ 17 w 130"/>
                  <a:gd name="T49" fmla="*/ 65 h 150"/>
                  <a:gd name="T50" fmla="*/ 9 w 130"/>
                  <a:gd name="T51" fmla="*/ 61 h 150"/>
                  <a:gd name="T52" fmla="*/ 11 w 130"/>
                  <a:gd name="T53" fmla="*/ 56 h 150"/>
                  <a:gd name="T54" fmla="*/ 7 w 130"/>
                  <a:gd name="T55" fmla="*/ 54 h 150"/>
                  <a:gd name="T56" fmla="*/ 1 w 130"/>
                  <a:gd name="T57" fmla="*/ 44 h 150"/>
                  <a:gd name="T58" fmla="*/ 1 w 130"/>
                  <a:gd name="T59" fmla="*/ 38 h 150"/>
                  <a:gd name="T60" fmla="*/ 5 w 130"/>
                  <a:gd name="T61" fmla="*/ 29 h 150"/>
                  <a:gd name="T62" fmla="*/ 9 w 130"/>
                  <a:gd name="T63" fmla="*/ 21 h 150"/>
                  <a:gd name="T64" fmla="*/ 11 w 130"/>
                  <a:gd name="T65" fmla="*/ 11 h 150"/>
                  <a:gd name="T66" fmla="*/ 19 w 130"/>
                  <a:gd name="T67" fmla="*/ 2 h 150"/>
                  <a:gd name="T68" fmla="*/ 21 w 130"/>
                  <a:gd name="T69" fmla="*/ 4 h 150"/>
                  <a:gd name="T70" fmla="*/ 23 w 130"/>
                  <a:gd name="T71" fmla="*/ 11 h 150"/>
                  <a:gd name="T72" fmla="*/ 28 w 130"/>
                  <a:gd name="T73" fmla="*/ 13 h 150"/>
                  <a:gd name="T74" fmla="*/ 34 w 130"/>
                  <a:gd name="T75" fmla="*/ 19 h 150"/>
                  <a:gd name="T76" fmla="*/ 42 w 130"/>
                  <a:gd name="T77" fmla="*/ 23 h 150"/>
                  <a:gd name="T78" fmla="*/ 48 w 130"/>
                  <a:gd name="T79" fmla="*/ 17 h 150"/>
                  <a:gd name="T80" fmla="*/ 51 w 130"/>
                  <a:gd name="T81" fmla="*/ 15 h 150"/>
                  <a:gd name="T82" fmla="*/ 59 w 130"/>
                  <a:gd name="T83" fmla="*/ 15 h 150"/>
                  <a:gd name="T84" fmla="*/ 63 w 130"/>
                  <a:gd name="T85" fmla="*/ 23 h 150"/>
                  <a:gd name="T86" fmla="*/ 59 w 130"/>
                  <a:gd name="T87" fmla="*/ 33 h 150"/>
                  <a:gd name="T88" fmla="*/ 59 w 130"/>
                  <a:gd name="T89" fmla="*/ 40 h 150"/>
                  <a:gd name="T90" fmla="*/ 65 w 130"/>
                  <a:gd name="T91" fmla="*/ 44 h 150"/>
                  <a:gd name="T92" fmla="*/ 73 w 130"/>
                  <a:gd name="T93" fmla="*/ 44 h 150"/>
                  <a:gd name="T94" fmla="*/ 82 w 130"/>
                  <a:gd name="T95" fmla="*/ 48 h 150"/>
                  <a:gd name="T96" fmla="*/ 84 w 130"/>
                  <a:gd name="T97" fmla="*/ 54 h 150"/>
                  <a:gd name="T98" fmla="*/ 88 w 130"/>
                  <a:gd name="T99" fmla="*/ 58 h 150"/>
                  <a:gd name="T100" fmla="*/ 96 w 130"/>
                  <a:gd name="T101" fmla="*/ 61 h 150"/>
                  <a:gd name="T102" fmla="*/ 105 w 130"/>
                  <a:gd name="T103" fmla="*/ 67 h 150"/>
                  <a:gd name="T104" fmla="*/ 111 w 130"/>
                  <a:gd name="T105" fmla="*/ 71 h 150"/>
                  <a:gd name="T106" fmla="*/ 109 w 130"/>
                  <a:gd name="T107" fmla="*/ 81 h 150"/>
                  <a:gd name="T108" fmla="*/ 113 w 130"/>
                  <a:gd name="T109" fmla="*/ 81 h 150"/>
                  <a:gd name="T110" fmla="*/ 121 w 130"/>
                  <a:gd name="T111" fmla="*/ 81 h 150"/>
                  <a:gd name="T112" fmla="*/ 128 w 130"/>
                  <a:gd name="T113" fmla="*/ 88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30" h="150">
                    <a:moveTo>
                      <a:pt x="128" y="88"/>
                    </a:moveTo>
                    <a:lnTo>
                      <a:pt x="128" y="90"/>
                    </a:lnTo>
                    <a:lnTo>
                      <a:pt x="128" y="92"/>
                    </a:lnTo>
                    <a:lnTo>
                      <a:pt x="128" y="94"/>
                    </a:lnTo>
                    <a:lnTo>
                      <a:pt x="130" y="96"/>
                    </a:lnTo>
                    <a:lnTo>
                      <a:pt x="128" y="96"/>
                    </a:lnTo>
                    <a:lnTo>
                      <a:pt x="128" y="98"/>
                    </a:lnTo>
                    <a:lnTo>
                      <a:pt x="128" y="100"/>
                    </a:lnTo>
                    <a:lnTo>
                      <a:pt x="126" y="100"/>
                    </a:lnTo>
                    <a:lnTo>
                      <a:pt x="126" y="102"/>
                    </a:lnTo>
                    <a:lnTo>
                      <a:pt x="124" y="102"/>
                    </a:lnTo>
                    <a:lnTo>
                      <a:pt x="124" y="104"/>
                    </a:lnTo>
                    <a:lnTo>
                      <a:pt x="126" y="104"/>
                    </a:lnTo>
                    <a:lnTo>
                      <a:pt x="126" y="106"/>
                    </a:lnTo>
                    <a:lnTo>
                      <a:pt x="128" y="106"/>
                    </a:lnTo>
                    <a:lnTo>
                      <a:pt x="128" y="108"/>
                    </a:lnTo>
                    <a:lnTo>
                      <a:pt x="128" y="109"/>
                    </a:lnTo>
                    <a:lnTo>
                      <a:pt x="126" y="109"/>
                    </a:lnTo>
                    <a:lnTo>
                      <a:pt x="124" y="109"/>
                    </a:lnTo>
                    <a:lnTo>
                      <a:pt x="124" y="108"/>
                    </a:lnTo>
                    <a:lnTo>
                      <a:pt x="124" y="109"/>
                    </a:lnTo>
                    <a:lnTo>
                      <a:pt x="123" y="109"/>
                    </a:lnTo>
                    <a:lnTo>
                      <a:pt x="123" y="108"/>
                    </a:lnTo>
                    <a:lnTo>
                      <a:pt x="123" y="109"/>
                    </a:lnTo>
                    <a:lnTo>
                      <a:pt x="121" y="109"/>
                    </a:lnTo>
                    <a:lnTo>
                      <a:pt x="119" y="109"/>
                    </a:lnTo>
                    <a:lnTo>
                      <a:pt x="119" y="108"/>
                    </a:lnTo>
                    <a:lnTo>
                      <a:pt x="119" y="109"/>
                    </a:lnTo>
                    <a:lnTo>
                      <a:pt x="117" y="109"/>
                    </a:lnTo>
                    <a:lnTo>
                      <a:pt x="117" y="111"/>
                    </a:lnTo>
                    <a:lnTo>
                      <a:pt x="119" y="111"/>
                    </a:lnTo>
                    <a:lnTo>
                      <a:pt x="117" y="113"/>
                    </a:lnTo>
                    <a:lnTo>
                      <a:pt x="117" y="115"/>
                    </a:lnTo>
                    <a:lnTo>
                      <a:pt x="115" y="115"/>
                    </a:lnTo>
                    <a:lnTo>
                      <a:pt x="115" y="117"/>
                    </a:lnTo>
                    <a:lnTo>
                      <a:pt x="115" y="115"/>
                    </a:lnTo>
                    <a:lnTo>
                      <a:pt x="113" y="115"/>
                    </a:lnTo>
                    <a:lnTo>
                      <a:pt x="111" y="117"/>
                    </a:lnTo>
                    <a:lnTo>
                      <a:pt x="111" y="115"/>
                    </a:lnTo>
                    <a:lnTo>
                      <a:pt x="109" y="115"/>
                    </a:lnTo>
                    <a:lnTo>
                      <a:pt x="111" y="115"/>
                    </a:lnTo>
                    <a:lnTo>
                      <a:pt x="109" y="113"/>
                    </a:lnTo>
                    <a:lnTo>
                      <a:pt x="109" y="115"/>
                    </a:lnTo>
                    <a:lnTo>
                      <a:pt x="107" y="115"/>
                    </a:lnTo>
                    <a:lnTo>
                      <a:pt x="107" y="117"/>
                    </a:lnTo>
                    <a:lnTo>
                      <a:pt x="105" y="117"/>
                    </a:lnTo>
                    <a:lnTo>
                      <a:pt x="105" y="119"/>
                    </a:lnTo>
                    <a:lnTo>
                      <a:pt x="103" y="119"/>
                    </a:lnTo>
                    <a:lnTo>
                      <a:pt x="101" y="119"/>
                    </a:lnTo>
                    <a:lnTo>
                      <a:pt x="101" y="121"/>
                    </a:lnTo>
                    <a:lnTo>
                      <a:pt x="99" y="121"/>
                    </a:lnTo>
                    <a:lnTo>
                      <a:pt x="98" y="121"/>
                    </a:lnTo>
                    <a:lnTo>
                      <a:pt x="96" y="121"/>
                    </a:lnTo>
                    <a:lnTo>
                      <a:pt x="94" y="121"/>
                    </a:lnTo>
                    <a:lnTo>
                      <a:pt x="94" y="123"/>
                    </a:lnTo>
                    <a:lnTo>
                      <a:pt x="92" y="123"/>
                    </a:lnTo>
                    <a:lnTo>
                      <a:pt x="90" y="123"/>
                    </a:lnTo>
                    <a:lnTo>
                      <a:pt x="90" y="125"/>
                    </a:lnTo>
                    <a:lnTo>
                      <a:pt x="90" y="123"/>
                    </a:lnTo>
                    <a:lnTo>
                      <a:pt x="88" y="123"/>
                    </a:lnTo>
                    <a:lnTo>
                      <a:pt x="88" y="125"/>
                    </a:lnTo>
                    <a:lnTo>
                      <a:pt x="88" y="127"/>
                    </a:lnTo>
                    <a:lnTo>
                      <a:pt x="86" y="127"/>
                    </a:lnTo>
                    <a:lnTo>
                      <a:pt x="84" y="125"/>
                    </a:lnTo>
                    <a:lnTo>
                      <a:pt x="84" y="127"/>
                    </a:lnTo>
                    <a:lnTo>
                      <a:pt x="84" y="129"/>
                    </a:lnTo>
                    <a:lnTo>
                      <a:pt x="82" y="131"/>
                    </a:lnTo>
                    <a:lnTo>
                      <a:pt x="82" y="133"/>
                    </a:lnTo>
                    <a:lnTo>
                      <a:pt x="80" y="133"/>
                    </a:lnTo>
                    <a:lnTo>
                      <a:pt x="80" y="134"/>
                    </a:lnTo>
                    <a:lnTo>
                      <a:pt x="82" y="136"/>
                    </a:lnTo>
                    <a:lnTo>
                      <a:pt x="82" y="138"/>
                    </a:lnTo>
                    <a:lnTo>
                      <a:pt x="80" y="138"/>
                    </a:lnTo>
                    <a:lnTo>
                      <a:pt x="78" y="138"/>
                    </a:lnTo>
                    <a:lnTo>
                      <a:pt x="76" y="138"/>
                    </a:lnTo>
                    <a:lnTo>
                      <a:pt x="74" y="138"/>
                    </a:lnTo>
                    <a:lnTo>
                      <a:pt x="74" y="140"/>
                    </a:lnTo>
                    <a:lnTo>
                      <a:pt x="73" y="142"/>
                    </a:lnTo>
                    <a:lnTo>
                      <a:pt x="73" y="140"/>
                    </a:lnTo>
                    <a:lnTo>
                      <a:pt x="71" y="140"/>
                    </a:lnTo>
                    <a:lnTo>
                      <a:pt x="71" y="142"/>
                    </a:lnTo>
                    <a:lnTo>
                      <a:pt x="71" y="144"/>
                    </a:lnTo>
                    <a:lnTo>
                      <a:pt x="69" y="144"/>
                    </a:lnTo>
                    <a:lnTo>
                      <a:pt x="67" y="144"/>
                    </a:lnTo>
                    <a:lnTo>
                      <a:pt x="65" y="144"/>
                    </a:lnTo>
                    <a:lnTo>
                      <a:pt x="65" y="146"/>
                    </a:lnTo>
                    <a:lnTo>
                      <a:pt x="67" y="146"/>
                    </a:lnTo>
                    <a:lnTo>
                      <a:pt x="65" y="148"/>
                    </a:lnTo>
                    <a:lnTo>
                      <a:pt x="63" y="148"/>
                    </a:lnTo>
                    <a:lnTo>
                      <a:pt x="61" y="148"/>
                    </a:lnTo>
                    <a:lnTo>
                      <a:pt x="61" y="150"/>
                    </a:lnTo>
                    <a:lnTo>
                      <a:pt x="59" y="150"/>
                    </a:lnTo>
                    <a:lnTo>
                      <a:pt x="59" y="148"/>
                    </a:lnTo>
                    <a:lnTo>
                      <a:pt x="57" y="148"/>
                    </a:lnTo>
                    <a:lnTo>
                      <a:pt x="55" y="148"/>
                    </a:lnTo>
                    <a:lnTo>
                      <a:pt x="55" y="146"/>
                    </a:lnTo>
                    <a:lnTo>
                      <a:pt x="53" y="144"/>
                    </a:lnTo>
                    <a:lnTo>
                      <a:pt x="53" y="142"/>
                    </a:lnTo>
                    <a:lnTo>
                      <a:pt x="51" y="142"/>
                    </a:lnTo>
                    <a:lnTo>
                      <a:pt x="49" y="142"/>
                    </a:lnTo>
                    <a:lnTo>
                      <a:pt x="49" y="144"/>
                    </a:lnTo>
                    <a:lnTo>
                      <a:pt x="49" y="142"/>
                    </a:lnTo>
                    <a:lnTo>
                      <a:pt x="49" y="140"/>
                    </a:lnTo>
                    <a:lnTo>
                      <a:pt x="48" y="138"/>
                    </a:lnTo>
                    <a:lnTo>
                      <a:pt x="49" y="136"/>
                    </a:lnTo>
                    <a:lnTo>
                      <a:pt x="49" y="134"/>
                    </a:lnTo>
                    <a:lnTo>
                      <a:pt x="48" y="134"/>
                    </a:lnTo>
                    <a:lnTo>
                      <a:pt x="46" y="133"/>
                    </a:lnTo>
                    <a:lnTo>
                      <a:pt x="44" y="133"/>
                    </a:lnTo>
                    <a:lnTo>
                      <a:pt x="42" y="133"/>
                    </a:lnTo>
                    <a:lnTo>
                      <a:pt x="42" y="134"/>
                    </a:lnTo>
                    <a:lnTo>
                      <a:pt x="42" y="133"/>
                    </a:lnTo>
                    <a:lnTo>
                      <a:pt x="42" y="131"/>
                    </a:lnTo>
                    <a:lnTo>
                      <a:pt x="42" y="129"/>
                    </a:lnTo>
                    <a:lnTo>
                      <a:pt x="42" y="127"/>
                    </a:lnTo>
                    <a:lnTo>
                      <a:pt x="40" y="125"/>
                    </a:lnTo>
                    <a:lnTo>
                      <a:pt x="40" y="127"/>
                    </a:lnTo>
                    <a:lnTo>
                      <a:pt x="38" y="129"/>
                    </a:lnTo>
                    <a:lnTo>
                      <a:pt x="36" y="127"/>
                    </a:lnTo>
                    <a:lnTo>
                      <a:pt x="36" y="129"/>
                    </a:lnTo>
                    <a:lnTo>
                      <a:pt x="36" y="127"/>
                    </a:lnTo>
                    <a:lnTo>
                      <a:pt x="34" y="127"/>
                    </a:lnTo>
                    <a:lnTo>
                      <a:pt x="34" y="125"/>
                    </a:lnTo>
                    <a:lnTo>
                      <a:pt x="32" y="127"/>
                    </a:lnTo>
                    <a:lnTo>
                      <a:pt x="30" y="127"/>
                    </a:lnTo>
                    <a:lnTo>
                      <a:pt x="32" y="125"/>
                    </a:lnTo>
                    <a:lnTo>
                      <a:pt x="30" y="125"/>
                    </a:lnTo>
                    <a:lnTo>
                      <a:pt x="28" y="125"/>
                    </a:lnTo>
                    <a:lnTo>
                      <a:pt x="30" y="125"/>
                    </a:lnTo>
                    <a:lnTo>
                      <a:pt x="28" y="125"/>
                    </a:lnTo>
                    <a:lnTo>
                      <a:pt x="28" y="123"/>
                    </a:lnTo>
                    <a:lnTo>
                      <a:pt x="30" y="123"/>
                    </a:lnTo>
                    <a:lnTo>
                      <a:pt x="28" y="121"/>
                    </a:lnTo>
                    <a:lnTo>
                      <a:pt x="30" y="119"/>
                    </a:lnTo>
                    <a:lnTo>
                      <a:pt x="30" y="117"/>
                    </a:lnTo>
                    <a:lnTo>
                      <a:pt x="32" y="117"/>
                    </a:lnTo>
                    <a:lnTo>
                      <a:pt x="32" y="115"/>
                    </a:lnTo>
                    <a:lnTo>
                      <a:pt x="30" y="115"/>
                    </a:lnTo>
                    <a:lnTo>
                      <a:pt x="28" y="115"/>
                    </a:lnTo>
                    <a:lnTo>
                      <a:pt x="28" y="117"/>
                    </a:lnTo>
                    <a:lnTo>
                      <a:pt x="26" y="115"/>
                    </a:lnTo>
                    <a:lnTo>
                      <a:pt x="25" y="115"/>
                    </a:lnTo>
                    <a:lnTo>
                      <a:pt x="25" y="113"/>
                    </a:lnTo>
                    <a:lnTo>
                      <a:pt x="25" y="111"/>
                    </a:lnTo>
                    <a:lnTo>
                      <a:pt x="26" y="111"/>
                    </a:lnTo>
                    <a:lnTo>
                      <a:pt x="25" y="111"/>
                    </a:lnTo>
                    <a:lnTo>
                      <a:pt x="25" y="109"/>
                    </a:lnTo>
                    <a:lnTo>
                      <a:pt x="23" y="109"/>
                    </a:lnTo>
                    <a:lnTo>
                      <a:pt x="23" y="108"/>
                    </a:lnTo>
                    <a:lnTo>
                      <a:pt x="23" y="106"/>
                    </a:lnTo>
                    <a:lnTo>
                      <a:pt x="23" y="104"/>
                    </a:lnTo>
                    <a:lnTo>
                      <a:pt x="25" y="102"/>
                    </a:lnTo>
                    <a:lnTo>
                      <a:pt x="26" y="102"/>
                    </a:lnTo>
                    <a:lnTo>
                      <a:pt x="28" y="100"/>
                    </a:lnTo>
                    <a:lnTo>
                      <a:pt x="26" y="100"/>
                    </a:lnTo>
                    <a:lnTo>
                      <a:pt x="26" y="98"/>
                    </a:lnTo>
                    <a:lnTo>
                      <a:pt x="28" y="98"/>
                    </a:lnTo>
                    <a:lnTo>
                      <a:pt x="26" y="98"/>
                    </a:lnTo>
                    <a:lnTo>
                      <a:pt x="26" y="96"/>
                    </a:lnTo>
                    <a:lnTo>
                      <a:pt x="25" y="96"/>
                    </a:lnTo>
                    <a:lnTo>
                      <a:pt x="26" y="94"/>
                    </a:lnTo>
                    <a:lnTo>
                      <a:pt x="25" y="94"/>
                    </a:lnTo>
                    <a:lnTo>
                      <a:pt x="26" y="94"/>
                    </a:lnTo>
                    <a:lnTo>
                      <a:pt x="26" y="92"/>
                    </a:lnTo>
                    <a:lnTo>
                      <a:pt x="26" y="94"/>
                    </a:lnTo>
                    <a:lnTo>
                      <a:pt x="28" y="92"/>
                    </a:lnTo>
                    <a:lnTo>
                      <a:pt x="28" y="90"/>
                    </a:lnTo>
                    <a:lnTo>
                      <a:pt x="28" y="88"/>
                    </a:lnTo>
                    <a:lnTo>
                      <a:pt x="28" y="86"/>
                    </a:lnTo>
                    <a:lnTo>
                      <a:pt x="28" y="85"/>
                    </a:lnTo>
                    <a:lnTo>
                      <a:pt x="28" y="83"/>
                    </a:lnTo>
                    <a:lnTo>
                      <a:pt x="28" y="81"/>
                    </a:lnTo>
                    <a:lnTo>
                      <a:pt x="28" y="79"/>
                    </a:lnTo>
                    <a:lnTo>
                      <a:pt x="30" y="79"/>
                    </a:lnTo>
                    <a:lnTo>
                      <a:pt x="30" y="77"/>
                    </a:lnTo>
                    <a:lnTo>
                      <a:pt x="30" y="75"/>
                    </a:lnTo>
                    <a:lnTo>
                      <a:pt x="28" y="75"/>
                    </a:lnTo>
                    <a:lnTo>
                      <a:pt x="28" y="73"/>
                    </a:lnTo>
                    <a:lnTo>
                      <a:pt x="26" y="73"/>
                    </a:lnTo>
                    <a:lnTo>
                      <a:pt x="25" y="73"/>
                    </a:lnTo>
                    <a:lnTo>
                      <a:pt x="25" y="75"/>
                    </a:lnTo>
                    <a:lnTo>
                      <a:pt x="23" y="75"/>
                    </a:lnTo>
                    <a:lnTo>
                      <a:pt x="23" y="73"/>
                    </a:lnTo>
                    <a:lnTo>
                      <a:pt x="21" y="73"/>
                    </a:lnTo>
                    <a:lnTo>
                      <a:pt x="19" y="71"/>
                    </a:lnTo>
                    <a:lnTo>
                      <a:pt x="19" y="73"/>
                    </a:lnTo>
                    <a:lnTo>
                      <a:pt x="17" y="73"/>
                    </a:lnTo>
                    <a:lnTo>
                      <a:pt x="17" y="75"/>
                    </a:lnTo>
                    <a:lnTo>
                      <a:pt x="17" y="73"/>
                    </a:lnTo>
                    <a:lnTo>
                      <a:pt x="17" y="71"/>
                    </a:lnTo>
                    <a:lnTo>
                      <a:pt x="15" y="71"/>
                    </a:lnTo>
                    <a:lnTo>
                      <a:pt x="15" y="69"/>
                    </a:lnTo>
                    <a:lnTo>
                      <a:pt x="15" y="71"/>
                    </a:lnTo>
                    <a:lnTo>
                      <a:pt x="15" y="69"/>
                    </a:lnTo>
                    <a:lnTo>
                      <a:pt x="13" y="69"/>
                    </a:lnTo>
                    <a:lnTo>
                      <a:pt x="13" y="67"/>
                    </a:lnTo>
                    <a:lnTo>
                      <a:pt x="15" y="67"/>
                    </a:lnTo>
                    <a:lnTo>
                      <a:pt x="13" y="67"/>
                    </a:lnTo>
                    <a:lnTo>
                      <a:pt x="15" y="65"/>
                    </a:lnTo>
                    <a:lnTo>
                      <a:pt x="17" y="65"/>
                    </a:lnTo>
                    <a:lnTo>
                      <a:pt x="15" y="63"/>
                    </a:lnTo>
                    <a:lnTo>
                      <a:pt x="15" y="65"/>
                    </a:lnTo>
                    <a:lnTo>
                      <a:pt x="15" y="63"/>
                    </a:lnTo>
                    <a:lnTo>
                      <a:pt x="15" y="65"/>
                    </a:lnTo>
                    <a:lnTo>
                      <a:pt x="15" y="63"/>
                    </a:lnTo>
                    <a:lnTo>
                      <a:pt x="13" y="63"/>
                    </a:lnTo>
                    <a:lnTo>
                      <a:pt x="11" y="61"/>
                    </a:lnTo>
                    <a:lnTo>
                      <a:pt x="9" y="61"/>
                    </a:lnTo>
                    <a:lnTo>
                      <a:pt x="9" y="60"/>
                    </a:lnTo>
                    <a:lnTo>
                      <a:pt x="9" y="58"/>
                    </a:lnTo>
                    <a:lnTo>
                      <a:pt x="11" y="58"/>
                    </a:lnTo>
                    <a:lnTo>
                      <a:pt x="9" y="58"/>
                    </a:lnTo>
                    <a:lnTo>
                      <a:pt x="11" y="58"/>
                    </a:lnTo>
                    <a:lnTo>
                      <a:pt x="9" y="58"/>
                    </a:lnTo>
                    <a:lnTo>
                      <a:pt x="9" y="56"/>
                    </a:lnTo>
                    <a:lnTo>
                      <a:pt x="11" y="56"/>
                    </a:lnTo>
                    <a:lnTo>
                      <a:pt x="9" y="56"/>
                    </a:lnTo>
                    <a:lnTo>
                      <a:pt x="11" y="56"/>
                    </a:lnTo>
                    <a:lnTo>
                      <a:pt x="9" y="54"/>
                    </a:lnTo>
                    <a:lnTo>
                      <a:pt x="11" y="54"/>
                    </a:lnTo>
                    <a:lnTo>
                      <a:pt x="11" y="56"/>
                    </a:lnTo>
                    <a:lnTo>
                      <a:pt x="11" y="54"/>
                    </a:lnTo>
                    <a:lnTo>
                      <a:pt x="9" y="54"/>
                    </a:lnTo>
                    <a:lnTo>
                      <a:pt x="7" y="54"/>
                    </a:lnTo>
                    <a:lnTo>
                      <a:pt x="7" y="52"/>
                    </a:lnTo>
                    <a:lnTo>
                      <a:pt x="5" y="52"/>
                    </a:lnTo>
                    <a:lnTo>
                      <a:pt x="5" y="50"/>
                    </a:lnTo>
                    <a:lnTo>
                      <a:pt x="3" y="48"/>
                    </a:lnTo>
                    <a:lnTo>
                      <a:pt x="3" y="46"/>
                    </a:lnTo>
                    <a:lnTo>
                      <a:pt x="1" y="44"/>
                    </a:lnTo>
                    <a:lnTo>
                      <a:pt x="0" y="44"/>
                    </a:lnTo>
                    <a:lnTo>
                      <a:pt x="1" y="44"/>
                    </a:lnTo>
                    <a:lnTo>
                      <a:pt x="1" y="42"/>
                    </a:lnTo>
                    <a:lnTo>
                      <a:pt x="1" y="44"/>
                    </a:lnTo>
                    <a:lnTo>
                      <a:pt x="1" y="42"/>
                    </a:lnTo>
                    <a:lnTo>
                      <a:pt x="1" y="40"/>
                    </a:lnTo>
                    <a:lnTo>
                      <a:pt x="3" y="40"/>
                    </a:lnTo>
                    <a:lnTo>
                      <a:pt x="1" y="38"/>
                    </a:lnTo>
                    <a:lnTo>
                      <a:pt x="3" y="38"/>
                    </a:lnTo>
                    <a:lnTo>
                      <a:pt x="1" y="38"/>
                    </a:lnTo>
                    <a:lnTo>
                      <a:pt x="3" y="38"/>
                    </a:lnTo>
                    <a:lnTo>
                      <a:pt x="3" y="36"/>
                    </a:lnTo>
                    <a:lnTo>
                      <a:pt x="3" y="35"/>
                    </a:lnTo>
                    <a:lnTo>
                      <a:pt x="5" y="35"/>
                    </a:lnTo>
                    <a:lnTo>
                      <a:pt x="5" y="33"/>
                    </a:lnTo>
                    <a:lnTo>
                      <a:pt x="5" y="31"/>
                    </a:lnTo>
                    <a:lnTo>
                      <a:pt x="7" y="31"/>
                    </a:lnTo>
                    <a:lnTo>
                      <a:pt x="5" y="29"/>
                    </a:lnTo>
                    <a:lnTo>
                      <a:pt x="3" y="29"/>
                    </a:lnTo>
                    <a:lnTo>
                      <a:pt x="5" y="27"/>
                    </a:lnTo>
                    <a:lnTo>
                      <a:pt x="5" y="25"/>
                    </a:lnTo>
                    <a:lnTo>
                      <a:pt x="5" y="23"/>
                    </a:lnTo>
                    <a:lnTo>
                      <a:pt x="7" y="25"/>
                    </a:lnTo>
                    <a:lnTo>
                      <a:pt x="7" y="23"/>
                    </a:lnTo>
                    <a:lnTo>
                      <a:pt x="7" y="21"/>
                    </a:lnTo>
                    <a:lnTo>
                      <a:pt x="9" y="21"/>
                    </a:lnTo>
                    <a:lnTo>
                      <a:pt x="9" y="19"/>
                    </a:lnTo>
                    <a:lnTo>
                      <a:pt x="11" y="19"/>
                    </a:lnTo>
                    <a:lnTo>
                      <a:pt x="11" y="17"/>
                    </a:lnTo>
                    <a:lnTo>
                      <a:pt x="11" y="15"/>
                    </a:lnTo>
                    <a:lnTo>
                      <a:pt x="13" y="15"/>
                    </a:lnTo>
                    <a:lnTo>
                      <a:pt x="13" y="13"/>
                    </a:lnTo>
                    <a:lnTo>
                      <a:pt x="11" y="13"/>
                    </a:lnTo>
                    <a:lnTo>
                      <a:pt x="11" y="11"/>
                    </a:lnTo>
                    <a:lnTo>
                      <a:pt x="11" y="10"/>
                    </a:lnTo>
                    <a:lnTo>
                      <a:pt x="13" y="10"/>
                    </a:lnTo>
                    <a:lnTo>
                      <a:pt x="13" y="8"/>
                    </a:lnTo>
                    <a:lnTo>
                      <a:pt x="15" y="6"/>
                    </a:lnTo>
                    <a:lnTo>
                      <a:pt x="17" y="6"/>
                    </a:lnTo>
                    <a:lnTo>
                      <a:pt x="17" y="4"/>
                    </a:lnTo>
                    <a:lnTo>
                      <a:pt x="19" y="4"/>
                    </a:lnTo>
                    <a:lnTo>
                      <a:pt x="19" y="2"/>
                    </a:lnTo>
                    <a:lnTo>
                      <a:pt x="17" y="2"/>
                    </a:lnTo>
                    <a:lnTo>
                      <a:pt x="19" y="2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23" y="0"/>
                    </a:lnTo>
                    <a:lnTo>
                      <a:pt x="21" y="0"/>
                    </a:lnTo>
                    <a:lnTo>
                      <a:pt x="21" y="2"/>
                    </a:lnTo>
                    <a:lnTo>
                      <a:pt x="21" y="4"/>
                    </a:lnTo>
                    <a:lnTo>
                      <a:pt x="23" y="4"/>
                    </a:lnTo>
                    <a:lnTo>
                      <a:pt x="23" y="6"/>
                    </a:lnTo>
                    <a:lnTo>
                      <a:pt x="23" y="8"/>
                    </a:lnTo>
                    <a:lnTo>
                      <a:pt x="21" y="10"/>
                    </a:lnTo>
                    <a:lnTo>
                      <a:pt x="21" y="11"/>
                    </a:lnTo>
                    <a:lnTo>
                      <a:pt x="21" y="13"/>
                    </a:lnTo>
                    <a:lnTo>
                      <a:pt x="21" y="11"/>
                    </a:lnTo>
                    <a:lnTo>
                      <a:pt x="23" y="11"/>
                    </a:lnTo>
                    <a:lnTo>
                      <a:pt x="25" y="10"/>
                    </a:lnTo>
                    <a:lnTo>
                      <a:pt x="25" y="11"/>
                    </a:lnTo>
                    <a:lnTo>
                      <a:pt x="26" y="11"/>
                    </a:lnTo>
                    <a:lnTo>
                      <a:pt x="25" y="11"/>
                    </a:lnTo>
                    <a:lnTo>
                      <a:pt x="26" y="11"/>
                    </a:lnTo>
                    <a:lnTo>
                      <a:pt x="26" y="13"/>
                    </a:lnTo>
                    <a:lnTo>
                      <a:pt x="28" y="11"/>
                    </a:lnTo>
                    <a:lnTo>
                      <a:pt x="28" y="13"/>
                    </a:lnTo>
                    <a:lnTo>
                      <a:pt x="30" y="13"/>
                    </a:lnTo>
                    <a:lnTo>
                      <a:pt x="30" y="15"/>
                    </a:lnTo>
                    <a:lnTo>
                      <a:pt x="28" y="15"/>
                    </a:lnTo>
                    <a:lnTo>
                      <a:pt x="30" y="15"/>
                    </a:lnTo>
                    <a:lnTo>
                      <a:pt x="30" y="17"/>
                    </a:lnTo>
                    <a:lnTo>
                      <a:pt x="30" y="19"/>
                    </a:lnTo>
                    <a:lnTo>
                      <a:pt x="32" y="19"/>
                    </a:lnTo>
                    <a:lnTo>
                      <a:pt x="34" y="19"/>
                    </a:lnTo>
                    <a:lnTo>
                      <a:pt x="36" y="19"/>
                    </a:lnTo>
                    <a:lnTo>
                      <a:pt x="38" y="19"/>
                    </a:lnTo>
                    <a:lnTo>
                      <a:pt x="38" y="21"/>
                    </a:lnTo>
                    <a:lnTo>
                      <a:pt x="38" y="23"/>
                    </a:lnTo>
                    <a:lnTo>
                      <a:pt x="40" y="23"/>
                    </a:lnTo>
                    <a:lnTo>
                      <a:pt x="40" y="25"/>
                    </a:lnTo>
                    <a:lnTo>
                      <a:pt x="40" y="23"/>
                    </a:lnTo>
                    <a:lnTo>
                      <a:pt x="42" y="23"/>
                    </a:lnTo>
                    <a:lnTo>
                      <a:pt x="42" y="21"/>
                    </a:lnTo>
                    <a:lnTo>
                      <a:pt x="42" y="23"/>
                    </a:lnTo>
                    <a:lnTo>
                      <a:pt x="44" y="23"/>
                    </a:lnTo>
                    <a:lnTo>
                      <a:pt x="44" y="21"/>
                    </a:lnTo>
                    <a:lnTo>
                      <a:pt x="44" y="19"/>
                    </a:lnTo>
                    <a:lnTo>
                      <a:pt x="46" y="19"/>
                    </a:lnTo>
                    <a:lnTo>
                      <a:pt x="46" y="17"/>
                    </a:lnTo>
                    <a:lnTo>
                      <a:pt x="48" y="17"/>
                    </a:lnTo>
                    <a:lnTo>
                      <a:pt x="48" y="15"/>
                    </a:lnTo>
                    <a:lnTo>
                      <a:pt x="49" y="15"/>
                    </a:lnTo>
                    <a:lnTo>
                      <a:pt x="48" y="15"/>
                    </a:lnTo>
                    <a:lnTo>
                      <a:pt x="49" y="15"/>
                    </a:lnTo>
                    <a:lnTo>
                      <a:pt x="48" y="13"/>
                    </a:lnTo>
                    <a:lnTo>
                      <a:pt x="49" y="13"/>
                    </a:lnTo>
                    <a:lnTo>
                      <a:pt x="51" y="13"/>
                    </a:lnTo>
                    <a:lnTo>
                      <a:pt x="51" y="15"/>
                    </a:lnTo>
                    <a:lnTo>
                      <a:pt x="53" y="15"/>
                    </a:lnTo>
                    <a:lnTo>
                      <a:pt x="53" y="17"/>
                    </a:lnTo>
                    <a:lnTo>
                      <a:pt x="53" y="15"/>
                    </a:lnTo>
                    <a:lnTo>
                      <a:pt x="55" y="15"/>
                    </a:lnTo>
                    <a:lnTo>
                      <a:pt x="57" y="15"/>
                    </a:lnTo>
                    <a:lnTo>
                      <a:pt x="57" y="13"/>
                    </a:lnTo>
                    <a:lnTo>
                      <a:pt x="57" y="15"/>
                    </a:lnTo>
                    <a:lnTo>
                      <a:pt x="59" y="15"/>
                    </a:lnTo>
                    <a:lnTo>
                      <a:pt x="61" y="15"/>
                    </a:lnTo>
                    <a:lnTo>
                      <a:pt x="61" y="17"/>
                    </a:lnTo>
                    <a:lnTo>
                      <a:pt x="61" y="19"/>
                    </a:lnTo>
                    <a:lnTo>
                      <a:pt x="63" y="19"/>
                    </a:lnTo>
                    <a:lnTo>
                      <a:pt x="63" y="21"/>
                    </a:lnTo>
                    <a:lnTo>
                      <a:pt x="65" y="21"/>
                    </a:lnTo>
                    <a:lnTo>
                      <a:pt x="65" y="23"/>
                    </a:lnTo>
                    <a:lnTo>
                      <a:pt x="63" y="23"/>
                    </a:lnTo>
                    <a:lnTo>
                      <a:pt x="61" y="25"/>
                    </a:lnTo>
                    <a:lnTo>
                      <a:pt x="61" y="27"/>
                    </a:lnTo>
                    <a:lnTo>
                      <a:pt x="61" y="29"/>
                    </a:lnTo>
                    <a:lnTo>
                      <a:pt x="59" y="29"/>
                    </a:lnTo>
                    <a:lnTo>
                      <a:pt x="57" y="29"/>
                    </a:lnTo>
                    <a:lnTo>
                      <a:pt x="57" y="31"/>
                    </a:lnTo>
                    <a:lnTo>
                      <a:pt x="59" y="31"/>
                    </a:lnTo>
                    <a:lnTo>
                      <a:pt x="59" y="33"/>
                    </a:lnTo>
                    <a:lnTo>
                      <a:pt x="57" y="33"/>
                    </a:lnTo>
                    <a:lnTo>
                      <a:pt x="57" y="35"/>
                    </a:lnTo>
                    <a:lnTo>
                      <a:pt x="57" y="36"/>
                    </a:lnTo>
                    <a:lnTo>
                      <a:pt x="57" y="38"/>
                    </a:lnTo>
                    <a:lnTo>
                      <a:pt x="55" y="38"/>
                    </a:lnTo>
                    <a:lnTo>
                      <a:pt x="55" y="40"/>
                    </a:lnTo>
                    <a:lnTo>
                      <a:pt x="57" y="40"/>
                    </a:lnTo>
                    <a:lnTo>
                      <a:pt x="59" y="40"/>
                    </a:lnTo>
                    <a:lnTo>
                      <a:pt x="59" y="42"/>
                    </a:lnTo>
                    <a:lnTo>
                      <a:pt x="61" y="42"/>
                    </a:lnTo>
                    <a:lnTo>
                      <a:pt x="59" y="42"/>
                    </a:lnTo>
                    <a:lnTo>
                      <a:pt x="61" y="44"/>
                    </a:lnTo>
                    <a:lnTo>
                      <a:pt x="61" y="46"/>
                    </a:lnTo>
                    <a:lnTo>
                      <a:pt x="63" y="46"/>
                    </a:lnTo>
                    <a:lnTo>
                      <a:pt x="65" y="46"/>
                    </a:lnTo>
                    <a:lnTo>
                      <a:pt x="65" y="44"/>
                    </a:lnTo>
                    <a:lnTo>
                      <a:pt x="67" y="44"/>
                    </a:lnTo>
                    <a:lnTo>
                      <a:pt x="69" y="44"/>
                    </a:lnTo>
                    <a:lnTo>
                      <a:pt x="71" y="44"/>
                    </a:lnTo>
                    <a:lnTo>
                      <a:pt x="71" y="46"/>
                    </a:lnTo>
                    <a:lnTo>
                      <a:pt x="71" y="44"/>
                    </a:lnTo>
                    <a:lnTo>
                      <a:pt x="73" y="44"/>
                    </a:lnTo>
                    <a:lnTo>
                      <a:pt x="71" y="44"/>
                    </a:lnTo>
                    <a:lnTo>
                      <a:pt x="73" y="44"/>
                    </a:lnTo>
                    <a:lnTo>
                      <a:pt x="74" y="44"/>
                    </a:lnTo>
                    <a:lnTo>
                      <a:pt x="74" y="42"/>
                    </a:lnTo>
                    <a:lnTo>
                      <a:pt x="76" y="44"/>
                    </a:lnTo>
                    <a:lnTo>
                      <a:pt x="78" y="44"/>
                    </a:lnTo>
                    <a:lnTo>
                      <a:pt x="78" y="46"/>
                    </a:lnTo>
                    <a:lnTo>
                      <a:pt x="80" y="46"/>
                    </a:lnTo>
                    <a:lnTo>
                      <a:pt x="82" y="46"/>
                    </a:lnTo>
                    <a:lnTo>
                      <a:pt x="82" y="48"/>
                    </a:lnTo>
                    <a:lnTo>
                      <a:pt x="82" y="50"/>
                    </a:lnTo>
                    <a:lnTo>
                      <a:pt x="84" y="52"/>
                    </a:lnTo>
                    <a:lnTo>
                      <a:pt x="82" y="52"/>
                    </a:lnTo>
                    <a:lnTo>
                      <a:pt x="82" y="54"/>
                    </a:lnTo>
                    <a:lnTo>
                      <a:pt x="84" y="52"/>
                    </a:lnTo>
                    <a:lnTo>
                      <a:pt x="84" y="54"/>
                    </a:lnTo>
                    <a:lnTo>
                      <a:pt x="82" y="54"/>
                    </a:lnTo>
                    <a:lnTo>
                      <a:pt x="84" y="54"/>
                    </a:lnTo>
                    <a:lnTo>
                      <a:pt x="86" y="54"/>
                    </a:lnTo>
                    <a:lnTo>
                      <a:pt x="86" y="56"/>
                    </a:lnTo>
                    <a:lnTo>
                      <a:pt x="88" y="56"/>
                    </a:lnTo>
                    <a:lnTo>
                      <a:pt x="86" y="56"/>
                    </a:lnTo>
                    <a:lnTo>
                      <a:pt x="86" y="58"/>
                    </a:lnTo>
                    <a:lnTo>
                      <a:pt x="88" y="58"/>
                    </a:lnTo>
                    <a:lnTo>
                      <a:pt x="88" y="60"/>
                    </a:lnTo>
                    <a:lnTo>
                      <a:pt x="88" y="58"/>
                    </a:lnTo>
                    <a:lnTo>
                      <a:pt x="88" y="60"/>
                    </a:lnTo>
                    <a:lnTo>
                      <a:pt x="90" y="60"/>
                    </a:lnTo>
                    <a:lnTo>
                      <a:pt x="92" y="60"/>
                    </a:lnTo>
                    <a:lnTo>
                      <a:pt x="92" y="61"/>
                    </a:lnTo>
                    <a:lnTo>
                      <a:pt x="94" y="61"/>
                    </a:lnTo>
                    <a:lnTo>
                      <a:pt x="96" y="61"/>
                    </a:lnTo>
                    <a:lnTo>
                      <a:pt x="96" y="63"/>
                    </a:lnTo>
                    <a:lnTo>
                      <a:pt x="96" y="61"/>
                    </a:lnTo>
                    <a:lnTo>
                      <a:pt x="96" y="63"/>
                    </a:lnTo>
                    <a:lnTo>
                      <a:pt x="98" y="63"/>
                    </a:lnTo>
                    <a:lnTo>
                      <a:pt x="98" y="65"/>
                    </a:lnTo>
                    <a:lnTo>
                      <a:pt x="99" y="65"/>
                    </a:lnTo>
                    <a:lnTo>
                      <a:pt x="101" y="65"/>
                    </a:lnTo>
                    <a:lnTo>
                      <a:pt x="101" y="67"/>
                    </a:lnTo>
                    <a:lnTo>
                      <a:pt x="103" y="67"/>
                    </a:lnTo>
                    <a:lnTo>
                      <a:pt x="105" y="67"/>
                    </a:lnTo>
                    <a:lnTo>
                      <a:pt x="105" y="69"/>
                    </a:lnTo>
                    <a:lnTo>
                      <a:pt x="107" y="69"/>
                    </a:lnTo>
                    <a:lnTo>
                      <a:pt x="109" y="71"/>
                    </a:lnTo>
                    <a:lnTo>
                      <a:pt x="109" y="69"/>
                    </a:lnTo>
                    <a:lnTo>
                      <a:pt x="111" y="69"/>
                    </a:lnTo>
                    <a:lnTo>
                      <a:pt x="111" y="71"/>
                    </a:lnTo>
                    <a:lnTo>
                      <a:pt x="113" y="71"/>
                    </a:lnTo>
                    <a:lnTo>
                      <a:pt x="111" y="71"/>
                    </a:lnTo>
                    <a:lnTo>
                      <a:pt x="111" y="73"/>
                    </a:lnTo>
                    <a:lnTo>
                      <a:pt x="111" y="75"/>
                    </a:lnTo>
                    <a:lnTo>
                      <a:pt x="111" y="77"/>
                    </a:lnTo>
                    <a:lnTo>
                      <a:pt x="111" y="75"/>
                    </a:lnTo>
                    <a:lnTo>
                      <a:pt x="111" y="77"/>
                    </a:lnTo>
                    <a:lnTo>
                      <a:pt x="109" y="77"/>
                    </a:lnTo>
                    <a:lnTo>
                      <a:pt x="109" y="79"/>
                    </a:lnTo>
                    <a:lnTo>
                      <a:pt x="109" y="81"/>
                    </a:lnTo>
                    <a:lnTo>
                      <a:pt x="107" y="81"/>
                    </a:lnTo>
                    <a:lnTo>
                      <a:pt x="109" y="81"/>
                    </a:lnTo>
                    <a:lnTo>
                      <a:pt x="111" y="81"/>
                    </a:lnTo>
                    <a:lnTo>
                      <a:pt x="109" y="81"/>
                    </a:lnTo>
                    <a:lnTo>
                      <a:pt x="109" y="83"/>
                    </a:lnTo>
                    <a:lnTo>
                      <a:pt x="111" y="83"/>
                    </a:lnTo>
                    <a:lnTo>
                      <a:pt x="113" y="83"/>
                    </a:lnTo>
                    <a:lnTo>
                      <a:pt x="113" y="81"/>
                    </a:lnTo>
                    <a:lnTo>
                      <a:pt x="115" y="83"/>
                    </a:lnTo>
                    <a:lnTo>
                      <a:pt x="115" y="81"/>
                    </a:lnTo>
                    <a:lnTo>
                      <a:pt x="117" y="81"/>
                    </a:lnTo>
                    <a:lnTo>
                      <a:pt x="117" y="79"/>
                    </a:lnTo>
                    <a:lnTo>
                      <a:pt x="117" y="81"/>
                    </a:lnTo>
                    <a:lnTo>
                      <a:pt x="119" y="81"/>
                    </a:lnTo>
                    <a:lnTo>
                      <a:pt x="119" y="83"/>
                    </a:lnTo>
                    <a:lnTo>
                      <a:pt x="121" y="81"/>
                    </a:lnTo>
                    <a:lnTo>
                      <a:pt x="121" y="83"/>
                    </a:lnTo>
                    <a:lnTo>
                      <a:pt x="123" y="83"/>
                    </a:lnTo>
                    <a:lnTo>
                      <a:pt x="123" y="85"/>
                    </a:lnTo>
                    <a:lnTo>
                      <a:pt x="124" y="85"/>
                    </a:lnTo>
                    <a:lnTo>
                      <a:pt x="124" y="86"/>
                    </a:lnTo>
                    <a:lnTo>
                      <a:pt x="126" y="86"/>
                    </a:lnTo>
                    <a:lnTo>
                      <a:pt x="126" y="88"/>
                    </a:lnTo>
                    <a:lnTo>
                      <a:pt x="128" y="88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" name="Freeform 140">
                <a:extLst>
                  <a:ext uri="{FF2B5EF4-FFF2-40B4-BE49-F238E27FC236}">
                    <a16:creationId xmlns="" xmlns:a16="http://schemas.microsoft.com/office/drawing/2014/main" id="{75AA5116-7D90-4FAE-9867-1357C4C673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4825" y="4027488"/>
                <a:ext cx="409575" cy="409575"/>
              </a:xfrm>
              <a:custGeom>
                <a:avLst/>
                <a:gdLst>
                  <a:gd name="T0" fmla="*/ 148 w 258"/>
                  <a:gd name="T1" fmla="*/ 39 h 258"/>
                  <a:gd name="T2" fmla="*/ 163 w 258"/>
                  <a:gd name="T3" fmla="*/ 39 h 258"/>
                  <a:gd name="T4" fmla="*/ 173 w 258"/>
                  <a:gd name="T5" fmla="*/ 39 h 258"/>
                  <a:gd name="T6" fmla="*/ 179 w 258"/>
                  <a:gd name="T7" fmla="*/ 48 h 258"/>
                  <a:gd name="T8" fmla="*/ 188 w 258"/>
                  <a:gd name="T9" fmla="*/ 47 h 258"/>
                  <a:gd name="T10" fmla="*/ 194 w 258"/>
                  <a:gd name="T11" fmla="*/ 52 h 258"/>
                  <a:gd name="T12" fmla="*/ 202 w 258"/>
                  <a:gd name="T13" fmla="*/ 56 h 258"/>
                  <a:gd name="T14" fmla="*/ 204 w 258"/>
                  <a:gd name="T15" fmla="*/ 60 h 258"/>
                  <a:gd name="T16" fmla="*/ 208 w 258"/>
                  <a:gd name="T17" fmla="*/ 70 h 258"/>
                  <a:gd name="T18" fmla="*/ 206 w 258"/>
                  <a:gd name="T19" fmla="*/ 77 h 258"/>
                  <a:gd name="T20" fmla="*/ 200 w 258"/>
                  <a:gd name="T21" fmla="*/ 89 h 258"/>
                  <a:gd name="T22" fmla="*/ 198 w 258"/>
                  <a:gd name="T23" fmla="*/ 98 h 258"/>
                  <a:gd name="T24" fmla="*/ 204 w 258"/>
                  <a:gd name="T25" fmla="*/ 102 h 258"/>
                  <a:gd name="T26" fmla="*/ 215 w 258"/>
                  <a:gd name="T27" fmla="*/ 97 h 258"/>
                  <a:gd name="T28" fmla="*/ 223 w 258"/>
                  <a:gd name="T29" fmla="*/ 110 h 258"/>
                  <a:gd name="T30" fmla="*/ 233 w 258"/>
                  <a:gd name="T31" fmla="*/ 120 h 258"/>
                  <a:gd name="T32" fmla="*/ 242 w 258"/>
                  <a:gd name="T33" fmla="*/ 114 h 258"/>
                  <a:gd name="T34" fmla="*/ 248 w 258"/>
                  <a:gd name="T35" fmla="*/ 122 h 258"/>
                  <a:gd name="T36" fmla="*/ 250 w 258"/>
                  <a:gd name="T37" fmla="*/ 133 h 258"/>
                  <a:gd name="T38" fmla="*/ 254 w 258"/>
                  <a:gd name="T39" fmla="*/ 150 h 258"/>
                  <a:gd name="T40" fmla="*/ 225 w 258"/>
                  <a:gd name="T41" fmla="*/ 170 h 258"/>
                  <a:gd name="T42" fmla="*/ 206 w 258"/>
                  <a:gd name="T43" fmla="*/ 206 h 258"/>
                  <a:gd name="T44" fmla="*/ 175 w 258"/>
                  <a:gd name="T45" fmla="*/ 239 h 258"/>
                  <a:gd name="T46" fmla="*/ 162 w 258"/>
                  <a:gd name="T47" fmla="*/ 216 h 258"/>
                  <a:gd name="T48" fmla="*/ 140 w 258"/>
                  <a:gd name="T49" fmla="*/ 223 h 258"/>
                  <a:gd name="T50" fmla="*/ 131 w 258"/>
                  <a:gd name="T51" fmla="*/ 221 h 258"/>
                  <a:gd name="T52" fmla="*/ 125 w 258"/>
                  <a:gd name="T53" fmla="*/ 220 h 258"/>
                  <a:gd name="T54" fmla="*/ 127 w 258"/>
                  <a:gd name="T55" fmla="*/ 227 h 258"/>
                  <a:gd name="T56" fmla="*/ 119 w 258"/>
                  <a:gd name="T57" fmla="*/ 223 h 258"/>
                  <a:gd name="T58" fmla="*/ 108 w 258"/>
                  <a:gd name="T59" fmla="*/ 231 h 258"/>
                  <a:gd name="T60" fmla="*/ 106 w 258"/>
                  <a:gd name="T61" fmla="*/ 239 h 258"/>
                  <a:gd name="T62" fmla="*/ 92 w 258"/>
                  <a:gd name="T63" fmla="*/ 239 h 258"/>
                  <a:gd name="T64" fmla="*/ 89 w 258"/>
                  <a:gd name="T65" fmla="*/ 225 h 258"/>
                  <a:gd name="T66" fmla="*/ 75 w 258"/>
                  <a:gd name="T67" fmla="*/ 245 h 258"/>
                  <a:gd name="T68" fmla="*/ 62 w 258"/>
                  <a:gd name="T69" fmla="*/ 243 h 258"/>
                  <a:gd name="T70" fmla="*/ 39 w 258"/>
                  <a:gd name="T71" fmla="*/ 252 h 258"/>
                  <a:gd name="T72" fmla="*/ 35 w 258"/>
                  <a:gd name="T73" fmla="*/ 254 h 258"/>
                  <a:gd name="T74" fmla="*/ 19 w 258"/>
                  <a:gd name="T75" fmla="*/ 245 h 258"/>
                  <a:gd name="T76" fmla="*/ 16 w 258"/>
                  <a:gd name="T77" fmla="*/ 231 h 258"/>
                  <a:gd name="T78" fmla="*/ 17 w 258"/>
                  <a:gd name="T79" fmla="*/ 208 h 258"/>
                  <a:gd name="T80" fmla="*/ 14 w 258"/>
                  <a:gd name="T81" fmla="*/ 198 h 258"/>
                  <a:gd name="T82" fmla="*/ 2 w 258"/>
                  <a:gd name="T83" fmla="*/ 191 h 258"/>
                  <a:gd name="T84" fmla="*/ 10 w 258"/>
                  <a:gd name="T85" fmla="*/ 179 h 258"/>
                  <a:gd name="T86" fmla="*/ 29 w 258"/>
                  <a:gd name="T87" fmla="*/ 170 h 258"/>
                  <a:gd name="T88" fmla="*/ 35 w 258"/>
                  <a:gd name="T89" fmla="*/ 172 h 258"/>
                  <a:gd name="T90" fmla="*/ 41 w 258"/>
                  <a:gd name="T91" fmla="*/ 170 h 258"/>
                  <a:gd name="T92" fmla="*/ 52 w 258"/>
                  <a:gd name="T93" fmla="*/ 160 h 258"/>
                  <a:gd name="T94" fmla="*/ 52 w 258"/>
                  <a:gd name="T95" fmla="*/ 143 h 258"/>
                  <a:gd name="T96" fmla="*/ 50 w 258"/>
                  <a:gd name="T97" fmla="*/ 133 h 258"/>
                  <a:gd name="T98" fmla="*/ 44 w 258"/>
                  <a:gd name="T99" fmla="*/ 123 h 258"/>
                  <a:gd name="T100" fmla="*/ 48 w 258"/>
                  <a:gd name="T101" fmla="*/ 114 h 258"/>
                  <a:gd name="T102" fmla="*/ 60 w 258"/>
                  <a:gd name="T103" fmla="*/ 100 h 258"/>
                  <a:gd name="T104" fmla="*/ 64 w 258"/>
                  <a:gd name="T105" fmla="*/ 81 h 258"/>
                  <a:gd name="T106" fmla="*/ 58 w 258"/>
                  <a:gd name="T107" fmla="*/ 64 h 258"/>
                  <a:gd name="T108" fmla="*/ 71 w 258"/>
                  <a:gd name="T109" fmla="*/ 33 h 258"/>
                  <a:gd name="T110" fmla="*/ 73 w 258"/>
                  <a:gd name="T111" fmla="*/ 10 h 258"/>
                  <a:gd name="T112" fmla="*/ 90 w 258"/>
                  <a:gd name="T113" fmla="*/ 6 h 258"/>
                  <a:gd name="T114" fmla="*/ 108 w 258"/>
                  <a:gd name="T115" fmla="*/ 0 h 258"/>
                  <a:gd name="T116" fmla="*/ 121 w 258"/>
                  <a:gd name="T117" fmla="*/ 10 h 258"/>
                  <a:gd name="T118" fmla="*/ 142 w 258"/>
                  <a:gd name="T119" fmla="*/ 14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58" h="258">
                    <a:moveTo>
                      <a:pt x="142" y="16"/>
                    </a:moveTo>
                    <a:lnTo>
                      <a:pt x="144" y="22"/>
                    </a:lnTo>
                    <a:lnTo>
                      <a:pt x="144" y="23"/>
                    </a:lnTo>
                    <a:lnTo>
                      <a:pt x="146" y="25"/>
                    </a:lnTo>
                    <a:lnTo>
                      <a:pt x="146" y="27"/>
                    </a:lnTo>
                    <a:lnTo>
                      <a:pt x="148" y="29"/>
                    </a:lnTo>
                    <a:lnTo>
                      <a:pt x="148" y="31"/>
                    </a:lnTo>
                    <a:lnTo>
                      <a:pt x="148" y="33"/>
                    </a:lnTo>
                    <a:lnTo>
                      <a:pt x="148" y="37"/>
                    </a:lnTo>
                    <a:lnTo>
                      <a:pt x="148" y="39"/>
                    </a:lnTo>
                    <a:lnTo>
                      <a:pt x="150" y="39"/>
                    </a:lnTo>
                    <a:lnTo>
                      <a:pt x="152" y="39"/>
                    </a:lnTo>
                    <a:lnTo>
                      <a:pt x="152" y="37"/>
                    </a:lnTo>
                    <a:lnTo>
                      <a:pt x="152" y="39"/>
                    </a:lnTo>
                    <a:lnTo>
                      <a:pt x="156" y="39"/>
                    </a:lnTo>
                    <a:lnTo>
                      <a:pt x="158" y="39"/>
                    </a:lnTo>
                    <a:lnTo>
                      <a:pt x="160" y="41"/>
                    </a:lnTo>
                    <a:lnTo>
                      <a:pt x="162" y="41"/>
                    </a:lnTo>
                    <a:lnTo>
                      <a:pt x="162" y="39"/>
                    </a:lnTo>
                    <a:lnTo>
                      <a:pt x="163" y="39"/>
                    </a:lnTo>
                    <a:lnTo>
                      <a:pt x="162" y="39"/>
                    </a:lnTo>
                    <a:lnTo>
                      <a:pt x="163" y="39"/>
                    </a:lnTo>
                    <a:lnTo>
                      <a:pt x="163" y="37"/>
                    </a:lnTo>
                    <a:lnTo>
                      <a:pt x="163" y="39"/>
                    </a:lnTo>
                    <a:lnTo>
                      <a:pt x="165" y="39"/>
                    </a:lnTo>
                    <a:lnTo>
                      <a:pt x="167" y="39"/>
                    </a:lnTo>
                    <a:lnTo>
                      <a:pt x="167" y="41"/>
                    </a:lnTo>
                    <a:lnTo>
                      <a:pt x="169" y="41"/>
                    </a:lnTo>
                    <a:lnTo>
                      <a:pt x="171" y="39"/>
                    </a:lnTo>
                    <a:lnTo>
                      <a:pt x="173" y="39"/>
                    </a:lnTo>
                    <a:lnTo>
                      <a:pt x="173" y="41"/>
                    </a:lnTo>
                    <a:lnTo>
                      <a:pt x="175" y="41"/>
                    </a:lnTo>
                    <a:lnTo>
                      <a:pt x="175" y="43"/>
                    </a:lnTo>
                    <a:lnTo>
                      <a:pt x="173" y="47"/>
                    </a:lnTo>
                    <a:lnTo>
                      <a:pt x="173" y="45"/>
                    </a:lnTo>
                    <a:lnTo>
                      <a:pt x="175" y="45"/>
                    </a:lnTo>
                    <a:lnTo>
                      <a:pt x="175" y="47"/>
                    </a:lnTo>
                    <a:lnTo>
                      <a:pt x="177" y="45"/>
                    </a:lnTo>
                    <a:lnTo>
                      <a:pt x="177" y="47"/>
                    </a:lnTo>
                    <a:lnTo>
                      <a:pt x="179" y="48"/>
                    </a:lnTo>
                    <a:lnTo>
                      <a:pt x="179" y="47"/>
                    </a:lnTo>
                    <a:lnTo>
                      <a:pt x="181" y="47"/>
                    </a:lnTo>
                    <a:lnTo>
                      <a:pt x="181" y="45"/>
                    </a:lnTo>
                    <a:lnTo>
                      <a:pt x="183" y="43"/>
                    </a:lnTo>
                    <a:lnTo>
                      <a:pt x="185" y="43"/>
                    </a:lnTo>
                    <a:lnTo>
                      <a:pt x="185" y="45"/>
                    </a:lnTo>
                    <a:lnTo>
                      <a:pt x="187" y="45"/>
                    </a:lnTo>
                    <a:lnTo>
                      <a:pt x="187" y="47"/>
                    </a:lnTo>
                    <a:lnTo>
                      <a:pt x="187" y="45"/>
                    </a:lnTo>
                    <a:lnTo>
                      <a:pt x="188" y="47"/>
                    </a:lnTo>
                    <a:lnTo>
                      <a:pt x="190" y="47"/>
                    </a:lnTo>
                    <a:lnTo>
                      <a:pt x="190" y="45"/>
                    </a:lnTo>
                    <a:lnTo>
                      <a:pt x="190" y="47"/>
                    </a:lnTo>
                    <a:lnTo>
                      <a:pt x="192" y="47"/>
                    </a:lnTo>
                    <a:lnTo>
                      <a:pt x="192" y="48"/>
                    </a:lnTo>
                    <a:lnTo>
                      <a:pt x="192" y="50"/>
                    </a:lnTo>
                    <a:lnTo>
                      <a:pt x="190" y="52"/>
                    </a:lnTo>
                    <a:lnTo>
                      <a:pt x="192" y="52"/>
                    </a:lnTo>
                    <a:lnTo>
                      <a:pt x="192" y="54"/>
                    </a:lnTo>
                    <a:lnTo>
                      <a:pt x="194" y="52"/>
                    </a:lnTo>
                    <a:lnTo>
                      <a:pt x="194" y="50"/>
                    </a:lnTo>
                    <a:lnTo>
                      <a:pt x="196" y="52"/>
                    </a:lnTo>
                    <a:lnTo>
                      <a:pt x="198" y="54"/>
                    </a:lnTo>
                    <a:lnTo>
                      <a:pt x="198" y="56"/>
                    </a:lnTo>
                    <a:lnTo>
                      <a:pt x="200" y="56"/>
                    </a:lnTo>
                    <a:lnTo>
                      <a:pt x="200" y="54"/>
                    </a:lnTo>
                    <a:lnTo>
                      <a:pt x="200" y="56"/>
                    </a:lnTo>
                    <a:lnTo>
                      <a:pt x="200" y="54"/>
                    </a:lnTo>
                    <a:lnTo>
                      <a:pt x="200" y="56"/>
                    </a:lnTo>
                    <a:lnTo>
                      <a:pt x="202" y="56"/>
                    </a:lnTo>
                    <a:lnTo>
                      <a:pt x="202" y="54"/>
                    </a:lnTo>
                    <a:lnTo>
                      <a:pt x="202" y="56"/>
                    </a:lnTo>
                    <a:lnTo>
                      <a:pt x="202" y="54"/>
                    </a:lnTo>
                    <a:lnTo>
                      <a:pt x="202" y="56"/>
                    </a:lnTo>
                    <a:lnTo>
                      <a:pt x="204" y="56"/>
                    </a:lnTo>
                    <a:lnTo>
                      <a:pt x="202" y="58"/>
                    </a:lnTo>
                    <a:lnTo>
                      <a:pt x="202" y="60"/>
                    </a:lnTo>
                    <a:lnTo>
                      <a:pt x="204" y="60"/>
                    </a:lnTo>
                    <a:lnTo>
                      <a:pt x="206" y="60"/>
                    </a:lnTo>
                    <a:lnTo>
                      <a:pt x="204" y="60"/>
                    </a:lnTo>
                    <a:lnTo>
                      <a:pt x="206" y="58"/>
                    </a:lnTo>
                    <a:lnTo>
                      <a:pt x="206" y="60"/>
                    </a:lnTo>
                    <a:lnTo>
                      <a:pt x="206" y="62"/>
                    </a:lnTo>
                    <a:lnTo>
                      <a:pt x="208" y="62"/>
                    </a:lnTo>
                    <a:lnTo>
                      <a:pt x="206" y="62"/>
                    </a:lnTo>
                    <a:lnTo>
                      <a:pt x="206" y="64"/>
                    </a:lnTo>
                    <a:lnTo>
                      <a:pt x="206" y="66"/>
                    </a:lnTo>
                    <a:lnTo>
                      <a:pt x="208" y="66"/>
                    </a:lnTo>
                    <a:lnTo>
                      <a:pt x="208" y="68"/>
                    </a:lnTo>
                    <a:lnTo>
                      <a:pt x="208" y="70"/>
                    </a:lnTo>
                    <a:lnTo>
                      <a:pt x="210" y="70"/>
                    </a:lnTo>
                    <a:lnTo>
                      <a:pt x="208" y="70"/>
                    </a:lnTo>
                    <a:lnTo>
                      <a:pt x="208" y="72"/>
                    </a:lnTo>
                    <a:lnTo>
                      <a:pt x="208" y="73"/>
                    </a:lnTo>
                    <a:lnTo>
                      <a:pt x="206" y="73"/>
                    </a:lnTo>
                    <a:lnTo>
                      <a:pt x="206" y="75"/>
                    </a:lnTo>
                    <a:lnTo>
                      <a:pt x="208" y="75"/>
                    </a:lnTo>
                    <a:lnTo>
                      <a:pt x="206" y="77"/>
                    </a:lnTo>
                    <a:lnTo>
                      <a:pt x="206" y="75"/>
                    </a:lnTo>
                    <a:lnTo>
                      <a:pt x="206" y="77"/>
                    </a:lnTo>
                    <a:lnTo>
                      <a:pt x="208" y="77"/>
                    </a:lnTo>
                    <a:lnTo>
                      <a:pt x="208" y="79"/>
                    </a:lnTo>
                    <a:lnTo>
                      <a:pt x="208" y="81"/>
                    </a:lnTo>
                    <a:lnTo>
                      <a:pt x="206" y="81"/>
                    </a:lnTo>
                    <a:lnTo>
                      <a:pt x="208" y="81"/>
                    </a:lnTo>
                    <a:lnTo>
                      <a:pt x="206" y="81"/>
                    </a:lnTo>
                    <a:lnTo>
                      <a:pt x="204" y="85"/>
                    </a:lnTo>
                    <a:lnTo>
                      <a:pt x="204" y="87"/>
                    </a:lnTo>
                    <a:lnTo>
                      <a:pt x="202" y="87"/>
                    </a:lnTo>
                    <a:lnTo>
                      <a:pt x="200" y="89"/>
                    </a:lnTo>
                    <a:lnTo>
                      <a:pt x="198" y="89"/>
                    </a:lnTo>
                    <a:lnTo>
                      <a:pt x="196" y="89"/>
                    </a:lnTo>
                    <a:lnTo>
                      <a:pt x="196" y="91"/>
                    </a:lnTo>
                    <a:lnTo>
                      <a:pt x="198" y="91"/>
                    </a:lnTo>
                    <a:lnTo>
                      <a:pt x="196" y="93"/>
                    </a:lnTo>
                    <a:lnTo>
                      <a:pt x="194" y="95"/>
                    </a:lnTo>
                    <a:lnTo>
                      <a:pt x="194" y="97"/>
                    </a:lnTo>
                    <a:lnTo>
                      <a:pt x="192" y="97"/>
                    </a:lnTo>
                    <a:lnTo>
                      <a:pt x="196" y="98"/>
                    </a:lnTo>
                    <a:lnTo>
                      <a:pt x="198" y="98"/>
                    </a:lnTo>
                    <a:lnTo>
                      <a:pt x="200" y="100"/>
                    </a:lnTo>
                    <a:lnTo>
                      <a:pt x="200" y="98"/>
                    </a:lnTo>
                    <a:lnTo>
                      <a:pt x="202" y="98"/>
                    </a:lnTo>
                    <a:lnTo>
                      <a:pt x="200" y="98"/>
                    </a:lnTo>
                    <a:lnTo>
                      <a:pt x="202" y="100"/>
                    </a:lnTo>
                    <a:lnTo>
                      <a:pt x="204" y="100"/>
                    </a:lnTo>
                    <a:lnTo>
                      <a:pt x="202" y="102"/>
                    </a:lnTo>
                    <a:lnTo>
                      <a:pt x="202" y="104"/>
                    </a:lnTo>
                    <a:lnTo>
                      <a:pt x="204" y="104"/>
                    </a:lnTo>
                    <a:lnTo>
                      <a:pt x="204" y="102"/>
                    </a:lnTo>
                    <a:lnTo>
                      <a:pt x="206" y="102"/>
                    </a:lnTo>
                    <a:lnTo>
                      <a:pt x="206" y="104"/>
                    </a:lnTo>
                    <a:lnTo>
                      <a:pt x="208" y="104"/>
                    </a:lnTo>
                    <a:lnTo>
                      <a:pt x="208" y="106"/>
                    </a:lnTo>
                    <a:lnTo>
                      <a:pt x="210" y="106"/>
                    </a:lnTo>
                    <a:lnTo>
                      <a:pt x="210" y="104"/>
                    </a:lnTo>
                    <a:lnTo>
                      <a:pt x="212" y="100"/>
                    </a:lnTo>
                    <a:lnTo>
                      <a:pt x="212" y="98"/>
                    </a:lnTo>
                    <a:lnTo>
                      <a:pt x="213" y="97"/>
                    </a:lnTo>
                    <a:lnTo>
                      <a:pt x="215" y="97"/>
                    </a:lnTo>
                    <a:lnTo>
                      <a:pt x="217" y="97"/>
                    </a:lnTo>
                    <a:lnTo>
                      <a:pt x="221" y="97"/>
                    </a:lnTo>
                    <a:lnTo>
                      <a:pt x="221" y="98"/>
                    </a:lnTo>
                    <a:lnTo>
                      <a:pt x="221" y="100"/>
                    </a:lnTo>
                    <a:lnTo>
                      <a:pt x="221" y="102"/>
                    </a:lnTo>
                    <a:lnTo>
                      <a:pt x="221" y="104"/>
                    </a:lnTo>
                    <a:lnTo>
                      <a:pt x="223" y="104"/>
                    </a:lnTo>
                    <a:lnTo>
                      <a:pt x="223" y="106"/>
                    </a:lnTo>
                    <a:lnTo>
                      <a:pt x="225" y="108"/>
                    </a:lnTo>
                    <a:lnTo>
                      <a:pt x="223" y="110"/>
                    </a:lnTo>
                    <a:lnTo>
                      <a:pt x="221" y="110"/>
                    </a:lnTo>
                    <a:lnTo>
                      <a:pt x="219" y="116"/>
                    </a:lnTo>
                    <a:lnTo>
                      <a:pt x="225" y="120"/>
                    </a:lnTo>
                    <a:lnTo>
                      <a:pt x="227" y="116"/>
                    </a:lnTo>
                    <a:lnTo>
                      <a:pt x="229" y="118"/>
                    </a:lnTo>
                    <a:lnTo>
                      <a:pt x="231" y="120"/>
                    </a:lnTo>
                    <a:lnTo>
                      <a:pt x="233" y="122"/>
                    </a:lnTo>
                    <a:lnTo>
                      <a:pt x="235" y="122"/>
                    </a:lnTo>
                    <a:lnTo>
                      <a:pt x="233" y="122"/>
                    </a:lnTo>
                    <a:lnTo>
                      <a:pt x="233" y="120"/>
                    </a:lnTo>
                    <a:lnTo>
                      <a:pt x="233" y="122"/>
                    </a:lnTo>
                    <a:lnTo>
                      <a:pt x="233" y="120"/>
                    </a:lnTo>
                    <a:lnTo>
                      <a:pt x="233" y="118"/>
                    </a:lnTo>
                    <a:lnTo>
                      <a:pt x="235" y="118"/>
                    </a:lnTo>
                    <a:lnTo>
                      <a:pt x="235" y="116"/>
                    </a:lnTo>
                    <a:lnTo>
                      <a:pt x="236" y="116"/>
                    </a:lnTo>
                    <a:lnTo>
                      <a:pt x="236" y="118"/>
                    </a:lnTo>
                    <a:lnTo>
                      <a:pt x="238" y="118"/>
                    </a:lnTo>
                    <a:lnTo>
                      <a:pt x="240" y="114"/>
                    </a:lnTo>
                    <a:lnTo>
                      <a:pt x="242" y="114"/>
                    </a:lnTo>
                    <a:lnTo>
                      <a:pt x="242" y="116"/>
                    </a:lnTo>
                    <a:lnTo>
                      <a:pt x="244" y="116"/>
                    </a:lnTo>
                    <a:lnTo>
                      <a:pt x="244" y="118"/>
                    </a:lnTo>
                    <a:lnTo>
                      <a:pt x="244" y="116"/>
                    </a:lnTo>
                    <a:lnTo>
                      <a:pt x="246" y="116"/>
                    </a:lnTo>
                    <a:lnTo>
                      <a:pt x="246" y="118"/>
                    </a:lnTo>
                    <a:lnTo>
                      <a:pt x="246" y="120"/>
                    </a:lnTo>
                    <a:lnTo>
                      <a:pt x="244" y="120"/>
                    </a:lnTo>
                    <a:lnTo>
                      <a:pt x="246" y="122"/>
                    </a:lnTo>
                    <a:lnTo>
                      <a:pt x="248" y="122"/>
                    </a:lnTo>
                    <a:lnTo>
                      <a:pt x="246" y="123"/>
                    </a:lnTo>
                    <a:lnTo>
                      <a:pt x="244" y="125"/>
                    </a:lnTo>
                    <a:lnTo>
                      <a:pt x="246" y="125"/>
                    </a:lnTo>
                    <a:lnTo>
                      <a:pt x="246" y="127"/>
                    </a:lnTo>
                    <a:lnTo>
                      <a:pt x="244" y="129"/>
                    </a:lnTo>
                    <a:lnTo>
                      <a:pt x="246" y="129"/>
                    </a:lnTo>
                    <a:lnTo>
                      <a:pt x="246" y="131"/>
                    </a:lnTo>
                    <a:lnTo>
                      <a:pt x="246" y="133"/>
                    </a:lnTo>
                    <a:lnTo>
                      <a:pt x="250" y="135"/>
                    </a:lnTo>
                    <a:lnTo>
                      <a:pt x="250" y="133"/>
                    </a:lnTo>
                    <a:lnTo>
                      <a:pt x="256" y="137"/>
                    </a:lnTo>
                    <a:lnTo>
                      <a:pt x="252" y="141"/>
                    </a:lnTo>
                    <a:lnTo>
                      <a:pt x="254" y="141"/>
                    </a:lnTo>
                    <a:lnTo>
                      <a:pt x="252" y="145"/>
                    </a:lnTo>
                    <a:lnTo>
                      <a:pt x="254" y="147"/>
                    </a:lnTo>
                    <a:lnTo>
                      <a:pt x="254" y="145"/>
                    </a:lnTo>
                    <a:lnTo>
                      <a:pt x="258" y="148"/>
                    </a:lnTo>
                    <a:lnTo>
                      <a:pt x="258" y="150"/>
                    </a:lnTo>
                    <a:lnTo>
                      <a:pt x="256" y="150"/>
                    </a:lnTo>
                    <a:lnTo>
                      <a:pt x="254" y="150"/>
                    </a:lnTo>
                    <a:lnTo>
                      <a:pt x="252" y="150"/>
                    </a:lnTo>
                    <a:lnTo>
                      <a:pt x="250" y="152"/>
                    </a:lnTo>
                    <a:lnTo>
                      <a:pt x="250" y="154"/>
                    </a:lnTo>
                    <a:lnTo>
                      <a:pt x="246" y="156"/>
                    </a:lnTo>
                    <a:lnTo>
                      <a:pt x="248" y="160"/>
                    </a:lnTo>
                    <a:lnTo>
                      <a:pt x="246" y="164"/>
                    </a:lnTo>
                    <a:lnTo>
                      <a:pt x="236" y="172"/>
                    </a:lnTo>
                    <a:lnTo>
                      <a:pt x="231" y="172"/>
                    </a:lnTo>
                    <a:lnTo>
                      <a:pt x="227" y="172"/>
                    </a:lnTo>
                    <a:lnTo>
                      <a:pt x="225" y="170"/>
                    </a:lnTo>
                    <a:lnTo>
                      <a:pt x="225" y="172"/>
                    </a:lnTo>
                    <a:lnTo>
                      <a:pt x="223" y="173"/>
                    </a:lnTo>
                    <a:lnTo>
                      <a:pt x="221" y="175"/>
                    </a:lnTo>
                    <a:lnTo>
                      <a:pt x="219" y="179"/>
                    </a:lnTo>
                    <a:lnTo>
                      <a:pt x="215" y="183"/>
                    </a:lnTo>
                    <a:lnTo>
                      <a:pt x="212" y="187"/>
                    </a:lnTo>
                    <a:lnTo>
                      <a:pt x="208" y="193"/>
                    </a:lnTo>
                    <a:lnTo>
                      <a:pt x="204" y="200"/>
                    </a:lnTo>
                    <a:lnTo>
                      <a:pt x="204" y="202"/>
                    </a:lnTo>
                    <a:lnTo>
                      <a:pt x="206" y="206"/>
                    </a:lnTo>
                    <a:lnTo>
                      <a:pt x="208" y="210"/>
                    </a:lnTo>
                    <a:lnTo>
                      <a:pt x="206" y="216"/>
                    </a:lnTo>
                    <a:lnTo>
                      <a:pt x="206" y="218"/>
                    </a:lnTo>
                    <a:lnTo>
                      <a:pt x="204" y="220"/>
                    </a:lnTo>
                    <a:lnTo>
                      <a:pt x="200" y="223"/>
                    </a:lnTo>
                    <a:lnTo>
                      <a:pt x="198" y="223"/>
                    </a:lnTo>
                    <a:lnTo>
                      <a:pt x="196" y="223"/>
                    </a:lnTo>
                    <a:lnTo>
                      <a:pt x="190" y="225"/>
                    </a:lnTo>
                    <a:lnTo>
                      <a:pt x="181" y="235"/>
                    </a:lnTo>
                    <a:lnTo>
                      <a:pt x="175" y="239"/>
                    </a:lnTo>
                    <a:lnTo>
                      <a:pt x="173" y="231"/>
                    </a:lnTo>
                    <a:lnTo>
                      <a:pt x="173" y="229"/>
                    </a:lnTo>
                    <a:lnTo>
                      <a:pt x="171" y="223"/>
                    </a:lnTo>
                    <a:lnTo>
                      <a:pt x="167" y="221"/>
                    </a:lnTo>
                    <a:lnTo>
                      <a:pt x="167" y="220"/>
                    </a:lnTo>
                    <a:lnTo>
                      <a:pt x="165" y="218"/>
                    </a:lnTo>
                    <a:lnTo>
                      <a:pt x="165" y="220"/>
                    </a:lnTo>
                    <a:lnTo>
                      <a:pt x="163" y="218"/>
                    </a:lnTo>
                    <a:lnTo>
                      <a:pt x="163" y="216"/>
                    </a:lnTo>
                    <a:lnTo>
                      <a:pt x="162" y="216"/>
                    </a:lnTo>
                    <a:lnTo>
                      <a:pt x="160" y="216"/>
                    </a:lnTo>
                    <a:lnTo>
                      <a:pt x="158" y="218"/>
                    </a:lnTo>
                    <a:lnTo>
                      <a:pt x="158" y="220"/>
                    </a:lnTo>
                    <a:lnTo>
                      <a:pt x="156" y="220"/>
                    </a:lnTo>
                    <a:lnTo>
                      <a:pt x="154" y="221"/>
                    </a:lnTo>
                    <a:lnTo>
                      <a:pt x="152" y="221"/>
                    </a:lnTo>
                    <a:lnTo>
                      <a:pt x="146" y="223"/>
                    </a:lnTo>
                    <a:lnTo>
                      <a:pt x="144" y="223"/>
                    </a:lnTo>
                    <a:lnTo>
                      <a:pt x="142" y="223"/>
                    </a:lnTo>
                    <a:lnTo>
                      <a:pt x="140" y="223"/>
                    </a:lnTo>
                    <a:lnTo>
                      <a:pt x="139" y="223"/>
                    </a:lnTo>
                    <a:lnTo>
                      <a:pt x="139" y="225"/>
                    </a:lnTo>
                    <a:lnTo>
                      <a:pt x="139" y="223"/>
                    </a:lnTo>
                    <a:lnTo>
                      <a:pt x="137" y="223"/>
                    </a:lnTo>
                    <a:lnTo>
                      <a:pt x="135" y="223"/>
                    </a:lnTo>
                    <a:lnTo>
                      <a:pt x="135" y="221"/>
                    </a:lnTo>
                    <a:lnTo>
                      <a:pt x="133" y="221"/>
                    </a:lnTo>
                    <a:lnTo>
                      <a:pt x="133" y="223"/>
                    </a:lnTo>
                    <a:lnTo>
                      <a:pt x="133" y="221"/>
                    </a:lnTo>
                    <a:lnTo>
                      <a:pt x="131" y="221"/>
                    </a:lnTo>
                    <a:lnTo>
                      <a:pt x="131" y="223"/>
                    </a:lnTo>
                    <a:lnTo>
                      <a:pt x="131" y="221"/>
                    </a:lnTo>
                    <a:lnTo>
                      <a:pt x="131" y="223"/>
                    </a:lnTo>
                    <a:lnTo>
                      <a:pt x="131" y="221"/>
                    </a:lnTo>
                    <a:lnTo>
                      <a:pt x="129" y="221"/>
                    </a:lnTo>
                    <a:lnTo>
                      <a:pt x="129" y="220"/>
                    </a:lnTo>
                    <a:lnTo>
                      <a:pt x="129" y="221"/>
                    </a:lnTo>
                    <a:lnTo>
                      <a:pt x="127" y="221"/>
                    </a:lnTo>
                    <a:lnTo>
                      <a:pt x="127" y="220"/>
                    </a:lnTo>
                    <a:lnTo>
                      <a:pt x="125" y="220"/>
                    </a:lnTo>
                    <a:lnTo>
                      <a:pt x="125" y="221"/>
                    </a:lnTo>
                    <a:lnTo>
                      <a:pt x="125" y="223"/>
                    </a:lnTo>
                    <a:lnTo>
                      <a:pt x="125" y="221"/>
                    </a:lnTo>
                    <a:lnTo>
                      <a:pt x="125" y="223"/>
                    </a:lnTo>
                    <a:lnTo>
                      <a:pt x="127" y="223"/>
                    </a:lnTo>
                    <a:lnTo>
                      <a:pt x="127" y="225"/>
                    </a:lnTo>
                    <a:lnTo>
                      <a:pt x="129" y="225"/>
                    </a:lnTo>
                    <a:lnTo>
                      <a:pt x="127" y="227"/>
                    </a:lnTo>
                    <a:lnTo>
                      <a:pt x="129" y="227"/>
                    </a:lnTo>
                    <a:lnTo>
                      <a:pt x="127" y="227"/>
                    </a:lnTo>
                    <a:lnTo>
                      <a:pt x="129" y="227"/>
                    </a:lnTo>
                    <a:lnTo>
                      <a:pt x="129" y="229"/>
                    </a:lnTo>
                    <a:lnTo>
                      <a:pt x="127" y="229"/>
                    </a:lnTo>
                    <a:lnTo>
                      <a:pt x="125" y="229"/>
                    </a:lnTo>
                    <a:lnTo>
                      <a:pt x="125" y="227"/>
                    </a:lnTo>
                    <a:lnTo>
                      <a:pt x="125" y="225"/>
                    </a:lnTo>
                    <a:lnTo>
                      <a:pt x="123" y="225"/>
                    </a:lnTo>
                    <a:lnTo>
                      <a:pt x="121" y="225"/>
                    </a:lnTo>
                    <a:lnTo>
                      <a:pt x="121" y="223"/>
                    </a:lnTo>
                    <a:lnTo>
                      <a:pt x="119" y="223"/>
                    </a:lnTo>
                    <a:lnTo>
                      <a:pt x="117" y="223"/>
                    </a:lnTo>
                    <a:lnTo>
                      <a:pt x="117" y="225"/>
                    </a:lnTo>
                    <a:lnTo>
                      <a:pt x="115" y="225"/>
                    </a:lnTo>
                    <a:lnTo>
                      <a:pt x="114" y="223"/>
                    </a:lnTo>
                    <a:lnTo>
                      <a:pt x="114" y="225"/>
                    </a:lnTo>
                    <a:lnTo>
                      <a:pt x="114" y="227"/>
                    </a:lnTo>
                    <a:lnTo>
                      <a:pt x="112" y="229"/>
                    </a:lnTo>
                    <a:lnTo>
                      <a:pt x="112" y="227"/>
                    </a:lnTo>
                    <a:lnTo>
                      <a:pt x="112" y="229"/>
                    </a:lnTo>
                    <a:lnTo>
                      <a:pt x="108" y="231"/>
                    </a:lnTo>
                    <a:lnTo>
                      <a:pt x="108" y="233"/>
                    </a:lnTo>
                    <a:lnTo>
                      <a:pt x="110" y="237"/>
                    </a:lnTo>
                    <a:lnTo>
                      <a:pt x="114" y="239"/>
                    </a:lnTo>
                    <a:lnTo>
                      <a:pt x="112" y="241"/>
                    </a:lnTo>
                    <a:lnTo>
                      <a:pt x="114" y="245"/>
                    </a:lnTo>
                    <a:lnTo>
                      <a:pt x="112" y="248"/>
                    </a:lnTo>
                    <a:lnTo>
                      <a:pt x="110" y="246"/>
                    </a:lnTo>
                    <a:lnTo>
                      <a:pt x="108" y="245"/>
                    </a:lnTo>
                    <a:lnTo>
                      <a:pt x="106" y="241"/>
                    </a:lnTo>
                    <a:lnTo>
                      <a:pt x="106" y="239"/>
                    </a:lnTo>
                    <a:lnTo>
                      <a:pt x="104" y="239"/>
                    </a:lnTo>
                    <a:lnTo>
                      <a:pt x="104" y="237"/>
                    </a:lnTo>
                    <a:lnTo>
                      <a:pt x="102" y="237"/>
                    </a:lnTo>
                    <a:lnTo>
                      <a:pt x="102" y="239"/>
                    </a:lnTo>
                    <a:lnTo>
                      <a:pt x="102" y="241"/>
                    </a:lnTo>
                    <a:lnTo>
                      <a:pt x="100" y="241"/>
                    </a:lnTo>
                    <a:lnTo>
                      <a:pt x="96" y="243"/>
                    </a:lnTo>
                    <a:lnTo>
                      <a:pt x="94" y="243"/>
                    </a:lnTo>
                    <a:lnTo>
                      <a:pt x="92" y="241"/>
                    </a:lnTo>
                    <a:lnTo>
                      <a:pt x="92" y="239"/>
                    </a:lnTo>
                    <a:lnTo>
                      <a:pt x="90" y="239"/>
                    </a:lnTo>
                    <a:lnTo>
                      <a:pt x="90" y="241"/>
                    </a:lnTo>
                    <a:lnTo>
                      <a:pt x="89" y="241"/>
                    </a:lnTo>
                    <a:lnTo>
                      <a:pt x="89" y="239"/>
                    </a:lnTo>
                    <a:lnTo>
                      <a:pt x="87" y="239"/>
                    </a:lnTo>
                    <a:lnTo>
                      <a:pt x="89" y="233"/>
                    </a:lnTo>
                    <a:lnTo>
                      <a:pt x="90" y="229"/>
                    </a:lnTo>
                    <a:lnTo>
                      <a:pt x="89" y="229"/>
                    </a:lnTo>
                    <a:lnTo>
                      <a:pt x="89" y="227"/>
                    </a:lnTo>
                    <a:lnTo>
                      <a:pt x="89" y="225"/>
                    </a:lnTo>
                    <a:lnTo>
                      <a:pt x="87" y="225"/>
                    </a:lnTo>
                    <a:lnTo>
                      <a:pt x="87" y="223"/>
                    </a:lnTo>
                    <a:lnTo>
                      <a:pt x="85" y="223"/>
                    </a:lnTo>
                    <a:lnTo>
                      <a:pt x="79" y="235"/>
                    </a:lnTo>
                    <a:lnTo>
                      <a:pt x="81" y="237"/>
                    </a:lnTo>
                    <a:lnTo>
                      <a:pt x="81" y="239"/>
                    </a:lnTo>
                    <a:lnTo>
                      <a:pt x="79" y="241"/>
                    </a:lnTo>
                    <a:lnTo>
                      <a:pt x="79" y="243"/>
                    </a:lnTo>
                    <a:lnTo>
                      <a:pt x="77" y="243"/>
                    </a:lnTo>
                    <a:lnTo>
                      <a:pt x="75" y="245"/>
                    </a:lnTo>
                    <a:lnTo>
                      <a:pt x="73" y="246"/>
                    </a:lnTo>
                    <a:lnTo>
                      <a:pt x="71" y="246"/>
                    </a:lnTo>
                    <a:lnTo>
                      <a:pt x="71" y="245"/>
                    </a:lnTo>
                    <a:lnTo>
                      <a:pt x="67" y="241"/>
                    </a:lnTo>
                    <a:lnTo>
                      <a:pt x="67" y="243"/>
                    </a:lnTo>
                    <a:lnTo>
                      <a:pt x="67" y="241"/>
                    </a:lnTo>
                    <a:lnTo>
                      <a:pt x="66" y="239"/>
                    </a:lnTo>
                    <a:lnTo>
                      <a:pt x="64" y="239"/>
                    </a:lnTo>
                    <a:lnTo>
                      <a:pt x="62" y="241"/>
                    </a:lnTo>
                    <a:lnTo>
                      <a:pt x="62" y="243"/>
                    </a:lnTo>
                    <a:lnTo>
                      <a:pt x="60" y="243"/>
                    </a:lnTo>
                    <a:lnTo>
                      <a:pt x="56" y="245"/>
                    </a:lnTo>
                    <a:lnTo>
                      <a:pt x="54" y="245"/>
                    </a:lnTo>
                    <a:lnTo>
                      <a:pt x="54" y="243"/>
                    </a:lnTo>
                    <a:lnTo>
                      <a:pt x="54" y="245"/>
                    </a:lnTo>
                    <a:lnTo>
                      <a:pt x="54" y="243"/>
                    </a:lnTo>
                    <a:lnTo>
                      <a:pt x="50" y="243"/>
                    </a:lnTo>
                    <a:lnTo>
                      <a:pt x="48" y="243"/>
                    </a:lnTo>
                    <a:lnTo>
                      <a:pt x="46" y="243"/>
                    </a:lnTo>
                    <a:lnTo>
                      <a:pt x="39" y="252"/>
                    </a:lnTo>
                    <a:lnTo>
                      <a:pt x="39" y="256"/>
                    </a:lnTo>
                    <a:lnTo>
                      <a:pt x="39" y="258"/>
                    </a:lnTo>
                    <a:lnTo>
                      <a:pt x="37" y="258"/>
                    </a:lnTo>
                    <a:lnTo>
                      <a:pt x="37" y="256"/>
                    </a:lnTo>
                    <a:lnTo>
                      <a:pt x="37" y="258"/>
                    </a:lnTo>
                    <a:lnTo>
                      <a:pt x="37" y="256"/>
                    </a:lnTo>
                    <a:lnTo>
                      <a:pt x="37" y="258"/>
                    </a:lnTo>
                    <a:lnTo>
                      <a:pt x="35" y="258"/>
                    </a:lnTo>
                    <a:lnTo>
                      <a:pt x="35" y="256"/>
                    </a:lnTo>
                    <a:lnTo>
                      <a:pt x="35" y="254"/>
                    </a:lnTo>
                    <a:lnTo>
                      <a:pt x="33" y="252"/>
                    </a:lnTo>
                    <a:lnTo>
                      <a:pt x="31" y="252"/>
                    </a:lnTo>
                    <a:lnTo>
                      <a:pt x="29" y="252"/>
                    </a:lnTo>
                    <a:lnTo>
                      <a:pt x="27" y="252"/>
                    </a:lnTo>
                    <a:lnTo>
                      <a:pt x="25" y="250"/>
                    </a:lnTo>
                    <a:lnTo>
                      <a:pt x="23" y="250"/>
                    </a:lnTo>
                    <a:lnTo>
                      <a:pt x="21" y="250"/>
                    </a:lnTo>
                    <a:lnTo>
                      <a:pt x="19" y="248"/>
                    </a:lnTo>
                    <a:lnTo>
                      <a:pt x="19" y="246"/>
                    </a:lnTo>
                    <a:lnTo>
                      <a:pt x="19" y="245"/>
                    </a:lnTo>
                    <a:lnTo>
                      <a:pt x="21" y="245"/>
                    </a:lnTo>
                    <a:lnTo>
                      <a:pt x="21" y="243"/>
                    </a:lnTo>
                    <a:lnTo>
                      <a:pt x="23" y="243"/>
                    </a:lnTo>
                    <a:lnTo>
                      <a:pt x="23" y="241"/>
                    </a:lnTo>
                    <a:lnTo>
                      <a:pt x="19" y="239"/>
                    </a:lnTo>
                    <a:lnTo>
                      <a:pt x="17" y="241"/>
                    </a:lnTo>
                    <a:lnTo>
                      <a:pt x="16" y="241"/>
                    </a:lnTo>
                    <a:lnTo>
                      <a:pt x="14" y="241"/>
                    </a:lnTo>
                    <a:lnTo>
                      <a:pt x="14" y="239"/>
                    </a:lnTo>
                    <a:lnTo>
                      <a:pt x="16" y="231"/>
                    </a:lnTo>
                    <a:lnTo>
                      <a:pt x="16" y="229"/>
                    </a:lnTo>
                    <a:lnTo>
                      <a:pt x="16" y="225"/>
                    </a:lnTo>
                    <a:lnTo>
                      <a:pt x="16" y="221"/>
                    </a:lnTo>
                    <a:lnTo>
                      <a:pt x="17" y="220"/>
                    </a:lnTo>
                    <a:lnTo>
                      <a:pt x="17" y="218"/>
                    </a:lnTo>
                    <a:lnTo>
                      <a:pt x="17" y="216"/>
                    </a:lnTo>
                    <a:lnTo>
                      <a:pt x="19" y="214"/>
                    </a:lnTo>
                    <a:lnTo>
                      <a:pt x="17" y="212"/>
                    </a:lnTo>
                    <a:lnTo>
                      <a:pt x="17" y="210"/>
                    </a:lnTo>
                    <a:lnTo>
                      <a:pt x="17" y="208"/>
                    </a:lnTo>
                    <a:lnTo>
                      <a:pt x="17" y="206"/>
                    </a:lnTo>
                    <a:lnTo>
                      <a:pt x="17" y="204"/>
                    </a:lnTo>
                    <a:lnTo>
                      <a:pt x="17" y="202"/>
                    </a:lnTo>
                    <a:lnTo>
                      <a:pt x="16" y="200"/>
                    </a:lnTo>
                    <a:lnTo>
                      <a:pt x="16" y="198"/>
                    </a:lnTo>
                    <a:lnTo>
                      <a:pt x="16" y="200"/>
                    </a:lnTo>
                    <a:lnTo>
                      <a:pt x="14" y="200"/>
                    </a:lnTo>
                    <a:lnTo>
                      <a:pt x="14" y="198"/>
                    </a:lnTo>
                    <a:lnTo>
                      <a:pt x="12" y="198"/>
                    </a:lnTo>
                    <a:lnTo>
                      <a:pt x="14" y="198"/>
                    </a:lnTo>
                    <a:lnTo>
                      <a:pt x="14" y="197"/>
                    </a:lnTo>
                    <a:lnTo>
                      <a:pt x="12" y="197"/>
                    </a:lnTo>
                    <a:lnTo>
                      <a:pt x="8" y="195"/>
                    </a:lnTo>
                    <a:lnTo>
                      <a:pt x="6" y="195"/>
                    </a:lnTo>
                    <a:lnTo>
                      <a:pt x="4" y="195"/>
                    </a:lnTo>
                    <a:lnTo>
                      <a:pt x="6" y="195"/>
                    </a:lnTo>
                    <a:lnTo>
                      <a:pt x="6" y="193"/>
                    </a:lnTo>
                    <a:lnTo>
                      <a:pt x="4" y="193"/>
                    </a:lnTo>
                    <a:lnTo>
                      <a:pt x="2" y="193"/>
                    </a:lnTo>
                    <a:lnTo>
                      <a:pt x="2" y="191"/>
                    </a:lnTo>
                    <a:lnTo>
                      <a:pt x="0" y="191"/>
                    </a:lnTo>
                    <a:lnTo>
                      <a:pt x="2" y="191"/>
                    </a:lnTo>
                    <a:lnTo>
                      <a:pt x="2" y="189"/>
                    </a:lnTo>
                    <a:lnTo>
                      <a:pt x="4" y="187"/>
                    </a:lnTo>
                    <a:lnTo>
                      <a:pt x="6" y="187"/>
                    </a:lnTo>
                    <a:lnTo>
                      <a:pt x="8" y="185"/>
                    </a:lnTo>
                    <a:lnTo>
                      <a:pt x="8" y="187"/>
                    </a:lnTo>
                    <a:lnTo>
                      <a:pt x="10" y="181"/>
                    </a:lnTo>
                    <a:lnTo>
                      <a:pt x="12" y="179"/>
                    </a:lnTo>
                    <a:lnTo>
                      <a:pt x="10" y="179"/>
                    </a:lnTo>
                    <a:lnTo>
                      <a:pt x="12" y="177"/>
                    </a:lnTo>
                    <a:lnTo>
                      <a:pt x="16" y="179"/>
                    </a:lnTo>
                    <a:lnTo>
                      <a:pt x="17" y="172"/>
                    </a:lnTo>
                    <a:lnTo>
                      <a:pt x="17" y="170"/>
                    </a:lnTo>
                    <a:lnTo>
                      <a:pt x="19" y="170"/>
                    </a:lnTo>
                    <a:lnTo>
                      <a:pt x="21" y="168"/>
                    </a:lnTo>
                    <a:lnTo>
                      <a:pt x="23" y="168"/>
                    </a:lnTo>
                    <a:lnTo>
                      <a:pt x="27" y="168"/>
                    </a:lnTo>
                    <a:lnTo>
                      <a:pt x="29" y="168"/>
                    </a:lnTo>
                    <a:lnTo>
                      <a:pt x="29" y="170"/>
                    </a:lnTo>
                    <a:lnTo>
                      <a:pt x="29" y="168"/>
                    </a:lnTo>
                    <a:lnTo>
                      <a:pt x="29" y="170"/>
                    </a:lnTo>
                    <a:lnTo>
                      <a:pt x="31" y="170"/>
                    </a:lnTo>
                    <a:lnTo>
                      <a:pt x="33" y="170"/>
                    </a:lnTo>
                    <a:lnTo>
                      <a:pt x="31" y="170"/>
                    </a:lnTo>
                    <a:lnTo>
                      <a:pt x="33" y="170"/>
                    </a:lnTo>
                    <a:lnTo>
                      <a:pt x="33" y="172"/>
                    </a:lnTo>
                    <a:lnTo>
                      <a:pt x="33" y="170"/>
                    </a:lnTo>
                    <a:lnTo>
                      <a:pt x="33" y="172"/>
                    </a:lnTo>
                    <a:lnTo>
                      <a:pt x="35" y="172"/>
                    </a:lnTo>
                    <a:lnTo>
                      <a:pt x="35" y="170"/>
                    </a:lnTo>
                    <a:lnTo>
                      <a:pt x="35" y="172"/>
                    </a:lnTo>
                    <a:lnTo>
                      <a:pt x="37" y="172"/>
                    </a:lnTo>
                    <a:lnTo>
                      <a:pt x="39" y="172"/>
                    </a:lnTo>
                    <a:lnTo>
                      <a:pt x="37" y="172"/>
                    </a:lnTo>
                    <a:lnTo>
                      <a:pt x="39" y="172"/>
                    </a:lnTo>
                    <a:lnTo>
                      <a:pt x="39" y="170"/>
                    </a:lnTo>
                    <a:lnTo>
                      <a:pt x="39" y="172"/>
                    </a:lnTo>
                    <a:lnTo>
                      <a:pt x="41" y="172"/>
                    </a:lnTo>
                    <a:lnTo>
                      <a:pt x="41" y="170"/>
                    </a:lnTo>
                    <a:lnTo>
                      <a:pt x="42" y="170"/>
                    </a:lnTo>
                    <a:lnTo>
                      <a:pt x="44" y="172"/>
                    </a:lnTo>
                    <a:lnTo>
                      <a:pt x="44" y="170"/>
                    </a:lnTo>
                    <a:lnTo>
                      <a:pt x="44" y="168"/>
                    </a:lnTo>
                    <a:lnTo>
                      <a:pt x="44" y="166"/>
                    </a:lnTo>
                    <a:lnTo>
                      <a:pt x="46" y="166"/>
                    </a:lnTo>
                    <a:lnTo>
                      <a:pt x="46" y="164"/>
                    </a:lnTo>
                    <a:lnTo>
                      <a:pt x="46" y="162"/>
                    </a:lnTo>
                    <a:lnTo>
                      <a:pt x="48" y="162"/>
                    </a:lnTo>
                    <a:lnTo>
                      <a:pt x="52" y="160"/>
                    </a:lnTo>
                    <a:lnTo>
                      <a:pt x="54" y="158"/>
                    </a:lnTo>
                    <a:lnTo>
                      <a:pt x="54" y="156"/>
                    </a:lnTo>
                    <a:lnTo>
                      <a:pt x="54" y="154"/>
                    </a:lnTo>
                    <a:lnTo>
                      <a:pt x="52" y="154"/>
                    </a:lnTo>
                    <a:lnTo>
                      <a:pt x="52" y="152"/>
                    </a:lnTo>
                    <a:lnTo>
                      <a:pt x="56" y="148"/>
                    </a:lnTo>
                    <a:lnTo>
                      <a:pt x="54" y="148"/>
                    </a:lnTo>
                    <a:lnTo>
                      <a:pt x="54" y="147"/>
                    </a:lnTo>
                    <a:lnTo>
                      <a:pt x="52" y="145"/>
                    </a:lnTo>
                    <a:lnTo>
                      <a:pt x="52" y="143"/>
                    </a:lnTo>
                    <a:lnTo>
                      <a:pt x="52" y="141"/>
                    </a:lnTo>
                    <a:lnTo>
                      <a:pt x="50" y="141"/>
                    </a:lnTo>
                    <a:lnTo>
                      <a:pt x="48" y="141"/>
                    </a:lnTo>
                    <a:lnTo>
                      <a:pt x="48" y="139"/>
                    </a:lnTo>
                    <a:lnTo>
                      <a:pt x="48" y="137"/>
                    </a:lnTo>
                    <a:lnTo>
                      <a:pt x="48" y="135"/>
                    </a:lnTo>
                    <a:lnTo>
                      <a:pt x="50" y="137"/>
                    </a:lnTo>
                    <a:lnTo>
                      <a:pt x="50" y="135"/>
                    </a:lnTo>
                    <a:lnTo>
                      <a:pt x="52" y="133"/>
                    </a:lnTo>
                    <a:lnTo>
                      <a:pt x="50" y="133"/>
                    </a:lnTo>
                    <a:lnTo>
                      <a:pt x="50" y="131"/>
                    </a:lnTo>
                    <a:lnTo>
                      <a:pt x="52" y="131"/>
                    </a:lnTo>
                    <a:lnTo>
                      <a:pt x="46" y="129"/>
                    </a:lnTo>
                    <a:lnTo>
                      <a:pt x="44" y="127"/>
                    </a:lnTo>
                    <a:lnTo>
                      <a:pt x="42" y="127"/>
                    </a:lnTo>
                    <a:lnTo>
                      <a:pt x="42" y="125"/>
                    </a:lnTo>
                    <a:lnTo>
                      <a:pt x="42" y="123"/>
                    </a:lnTo>
                    <a:lnTo>
                      <a:pt x="44" y="123"/>
                    </a:lnTo>
                    <a:lnTo>
                      <a:pt x="42" y="123"/>
                    </a:lnTo>
                    <a:lnTo>
                      <a:pt x="44" y="123"/>
                    </a:lnTo>
                    <a:lnTo>
                      <a:pt x="46" y="123"/>
                    </a:lnTo>
                    <a:lnTo>
                      <a:pt x="44" y="122"/>
                    </a:lnTo>
                    <a:lnTo>
                      <a:pt x="44" y="120"/>
                    </a:lnTo>
                    <a:lnTo>
                      <a:pt x="46" y="118"/>
                    </a:lnTo>
                    <a:lnTo>
                      <a:pt x="46" y="120"/>
                    </a:lnTo>
                    <a:lnTo>
                      <a:pt x="48" y="118"/>
                    </a:lnTo>
                    <a:lnTo>
                      <a:pt x="50" y="116"/>
                    </a:lnTo>
                    <a:lnTo>
                      <a:pt x="48" y="116"/>
                    </a:lnTo>
                    <a:lnTo>
                      <a:pt x="50" y="114"/>
                    </a:lnTo>
                    <a:lnTo>
                      <a:pt x="48" y="114"/>
                    </a:lnTo>
                    <a:lnTo>
                      <a:pt x="48" y="112"/>
                    </a:lnTo>
                    <a:lnTo>
                      <a:pt x="50" y="112"/>
                    </a:lnTo>
                    <a:lnTo>
                      <a:pt x="50" y="110"/>
                    </a:lnTo>
                    <a:lnTo>
                      <a:pt x="52" y="108"/>
                    </a:lnTo>
                    <a:lnTo>
                      <a:pt x="54" y="106"/>
                    </a:lnTo>
                    <a:lnTo>
                      <a:pt x="54" y="104"/>
                    </a:lnTo>
                    <a:lnTo>
                      <a:pt x="56" y="104"/>
                    </a:lnTo>
                    <a:lnTo>
                      <a:pt x="58" y="104"/>
                    </a:lnTo>
                    <a:lnTo>
                      <a:pt x="58" y="102"/>
                    </a:lnTo>
                    <a:lnTo>
                      <a:pt x="60" y="100"/>
                    </a:lnTo>
                    <a:lnTo>
                      <a:pt x="62" y="98"/>
                    </a:lnTo>
                    <a:lnTo>
                      <a:pt x="66" y="97"/>
                    </a:lnTo>
                    <a:lnTo>
                      <a:pt x="66" y="95"/>
                    </a:lnTo>
                    <a:lnTo>
                      <a:pt x="66" y="93"/>
                    </a:lnTo>
                    <a:lnTo>
                      <a:pt x="66" y="91"/>
                    </a:lnTo>
                    <a:lnTo>
                      <a:pt x="66" y="89"/>
                    </a:lnTo>
                    <a:lnTo>
                      <a:pt x="66" y="87"/>
                    </a:lnTo>
                    <a:lnTo>
                      <a:pt x="66" y="85"/>
                    </a:lnTo>
                    <a:lnTo>
                      <a:pt x="64" y="83"/>
                    </a:lnTo>
                    <a:lnTo>
                      <a:pt x="64" y="81"/>
                    </a:lnTo>
                    <a:lnTo>
                      <a:pt x="64" y="79"/>
                    </a:lnTo>
                    <a:lnTo>
                      <a:pt x="64" y="77"/>
                    </a:lnTo>
                    <a:lnTo>
                      <a:pt x="64" y="75"/>
                    </a:lnTo>
                    <a:lnTo>
                      <a:pt x="62" y="75"/>
                    </a:lnTo>
                    <a:lnTo>
                      <a:pt x="60" y="73"/>
                    </a:lnTo>
                    <a:lnTo>
                      <a:pt x="60" y="72"/>
                    </a:lnTo>
                    <a:lnTo>
                      <a:pt x="60" y="70"/>
                    </a:lnTo>
                    <a:lnTo>
                      <a:pt x="58" y="68"/>
                    </a:lnTo>
                    <a:lnTo>
                      <a:pt x="58" y="66"/>
                    </a:lnTo>
                    <a:lnTo>
                      <a:pt x="58" y="64"/>
                    </a:lnTo>
                    <a:lnTo>
                      <a:pt x="60" y="64"/>
                    </a:lnTo>
                    <a:lnTo>
                      <a:pt x="60" y="62"/>
                    </a:lnTo>
                    <a:lnTo>
                      <a:pt x="58" y="58"/>
                    </a:lnTo>
                    <a:lnTo>
                      <a:pt x="58" y="56"/>
                    </a:lnTo>
                    <a:lnTo>
                      <a:pt x="58" y="54"/>
                    </a:lnTo>
                    <a:lnTo>
                      <a:pt x="60" y="48"/>
                    </a:lnTo>
                    <a:lnTo>
                      <a:pt x="62" y="47"/>
                    </a:lnTo>
                    <a:lnTo>
                      <a:pt x="69" y="43"/>
                    </a:lnTo>
                    <a:lnTo>
                      <a:pt x="69" y="39"/>
                    </a:lnTo>
                    <a:lnTo>
                      <a:pt x="71" y="33"/>
                    </a:lnTo>
                    <a:lnTo>
                      <a:pt x="75" y="29"/>
                    </a:lnTo>
                    <a:lnTo>
                      <a:pt x="77" y="29"/>
                    </a:lnTo>
                    <a:lnTo>
                      <a:pt x="77" y="27"/>
                    </a:lnTo>
                    <a:lnTo>
                      <a:pt x="75" y="25"/>
                    </a:lnTo>
                    <a:lnTo>
                      <a:pt x="75" y="22"/>
                    </a:lnTo>
                    <a:lnTo>
                      <a:pt x="75" y="20"/>
                    </a:lnTo>
                    <a:lnTo>
                      <a:pt x="75" y="18"/>
                    </a:lnTo>
                    <a:lnTo>
                      <a:pt x="75" y="14"/>
                    </a:lnTo>
                    <a:lnTo>
                      <a:pt x="73" y="12"/>
                    </a:lnTo>
                    <a:lnTo>
                      <a:pt x="73" y="10"/>
                    </a:lnTo>
                    <a:lnTo>
                      <a:pt x="73" y="12"/>
                    </a:lnTo>
                    <a:lnTo>
                      <a:pt x="79" y="12"/>
                    </a:lnTo>
                    <a:lnTo>
                      <a:pt x="81" y="12"/>
                    </a:lnTo>
                    <a:lnTo>
                      <a:pt x="83" y="12"/>
                    </a:lnTo>
                    <a:lnTo>
                      <a:pt x="83" y="10"/>
                    </a:lnTo>
                    <a:lnTo>
                      <a:pt x="85" y="10"/>
                    </a:lnTo>
                    <a:lnTo>
                      <a:pt x="85" y="8"/>
                    </a:lnTo>
                    <a:lnTo>
                      <a:pt x="87" y="8"/>
                    </a:lnTo>
                    <a:lnTo>
                      <a:pt x="89" y="6"/>
                    </a:lnTo>
                    <a:lnTo>
                      <a:pt x="90" y="6"/>
                    </a:lnTo>
                    <a:lnTo>
                      <a:pt x="90" y="8"/>
                    </a:lnTo>
                    <a:lnTo>
                      <a:pt x="94" y="6"/>
                    </a:lnTo>
                    <a:lnTo>
                      <a:pt x="94" y="8"/>
                    </a:lnTo>
                    <a:lnTo>
                      <a:pt x="98" y="8"/>
                    </a:lnTo>
                    <a:lnTo>
                      <a:pt x="100" y="8"/>
                    </a:lnTo>
                    <a:lnTo>
                      <a:pt x="102" y="6"/>
                    </a:lnTo>
                    <a:lnTo>
                      <a:pt x="104" y="4"/>
                    </a:lnTo>
                    <a:lnTo>
                      <a:pt x="104" y="2"/>
                    </a:lnTo>
                    <a:lnTo>
                      <a:pt x="106" y="2"/>
                    </a:lnTo>
                    <a:lnTo>
                      <a:pt x="108" y="0"/>
                    </a:lnTo>
                    <a:lnTo>
                      <a:pt x="110" y="0"/>
                    </a:lnTo>
                    <a:lnTo>
                      <a:pt x="112" y="0"/>
                    </a:lnTo>
                    <a:lnTo>
                      <a:pt x="112" y="2"/>
                    </a:lnTo>
                    <a:lnTo>
                      <a:pt x="114" y="2"/>
                    </a:lnTo>
                    <a:lnTo>
                      <a:pt x="112" y="2"/>
                    </a:lnTo>
                    <a:lnTo>
                      <a:pt x="114" y="2"/>
                    </a:lnTo>
                    <a:lnTo>
                      <a:pt x="114" y="4"/>
                    </a:lnTo>
                    <a:lnTo>
                      <a:pt x="114" y="6"/>
                    </a:lnTo>
                    <a:lnTo>
                      <a:pt x="117" y="8"/>
                    </a:lnTo>
                    <a:lnTo>
                      <a:pt x="121" y="10"/>
                    </a:lnTo>
                    <a:lnTo>
                      <a:pt x="125" y="12"/>
                    </a:lnTo>
                    <a:lnTo>
                      <a:pt x="125" y="14"/>
                    </a:lnTo>
                    <a:lnTo>
                      <a:pt x="127" y="14"/>
                    </a:lnTo>
                    <a:lnTo>
                      <a:pt x="129" y="16"/>
                    </a:lnTo>
                    <a:lnTo>
                      <a:pt x="131" y="16"/>
                    </a:lnTo>
                    <a:lnTo>
                      <a:pt x="135" y="12"/>
                    </a:lnTo>
                    <a:lnTo>
                      <a:pt x="137" y="12"/>
                    </a:lnTo>
                    <a:lnTo>
                      <a:pt x="139" y="12"/>
                    </a:lnTo>
                    <a:lnTo>
                      <a:pt x="139" y="14"/>
                    </a:lnTo>
                    <a:lnTo>
                      <a:pt x="142" y="14"/>
                    </a:lnTo>
                    <a:lnTo>
                      <a:pt x="142" y="16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" name="Freeform 141">
                <a:extLst>
                  <a:ext uri="{FF2B5EF4-FFF2-40B4-BE49-F238E27FC236}">
                    <a16:creationId xmlns="" xmlns:a16="http://schemas.microsoft.com/office/drawing/2014/main" id="{008A6866-998A-41FE-BD1E-1891941580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95500" y="2941638"/>
                <a:ext cx="600075" cy="442913"/>
              </a:xfrm>
              <a:custGeom>
                <a:avLst/>
                <a:gdLst>
                  <a:gd name="T0" fmla="*/ 159 w 378"/>
                  <a:gd name="T1" fmla="*/ 44 h 279"/>
                  <a:gd name="T2" fmla="*/ 159 w 378"/>
                  <a:gd name="T3" fmla="*/ 62 h 279"/>
                  <a:gd name="T4" fmla="*/ 159 w 378"/>
                  <a:gd name="T5" fmla="*/ 77 h 279"/>
                  <a:gd name="T6" fmla="*/ 171 w 378"/>
                  <a:gd name="T7" fmla="*/ 88 h 279"/>
                  <a:gd name="T8" fmla="*/ 184 w 378"/>
                  <a:gd name="T9" fmla="*/ 92 h 279"/>
                  <a:gd name="T10" fmla="*/ 200 w 378"/>
                  <a:gd name="T11" fmla="*/ 106 h 279"/>
                  <a:gd name="T12" fmla="*/ 213 w 378"/>
                  <a:gd name="T13" fmla="*/ 112 h 279"/>
                  <a:gd name="T14" fmla="*/ 230 w 378"/>
                  <a:gd name="T15" fmla="*/ 117 h 279"/>
                  <a:gd name="T16" fmla="*/ 244 w 378"/>
                  <a:gd name="T17" fmla="*/ 117 h 279"/>
                  <a:gd name="T18" fmla="*/ 250 w 378"/>
                  <a:gd name="T19" fmla="*/ 125 h 279"/>
                  <a:gd name="T20" fmla="*/ 261 w 378"/>
                  <a:gd name="T21" fmla="*/ 133 h 279"/>
                  <a:gd name="T22" fmla="*/ 269 w 378"/>
                  <a:gd name="T23" fmla="*/ 133 h 279"/>
                  <a:gd name="T24" fmla="*/ 278 w 378"/>
                  <a:gd name="T25" fmla="*/ 142 h 279"/>
                  <a:gd name="T26" fmla="*/ 296 w 378"/>
                  <a:gd name="T27" fmla="*/ 146 h 279"/>
                  <a:gd name="T28" fmla="*/ 311 w 378"/>
                  <a:gd name="T29" fmla="*/ 150 h 279"/>
                  <a:gd name="T30" fmla="*/ 363 w 378"/>
                  <a:gd name="T31" fmla="*/ 179 h 279"/>
                  <a:gd name="T32" fmla="*/ 373 w 378"/>
                  <a:gd name="T33" fmla="*/ 185 h 279"/>
                  <a:gd name="T34" fmla="*/ 369 w 378"/>
                  <a:gd name="T35" fmla="*/ 206 h 279"/>
                  <a:gd name="T36" fmla="*/ 367 w 378"/>
                  <a:gd name="T37" fmla="*/ 213 h 279"/>
                  <a:gd name="T38" fmla="*/ 355 w 378"/>
                  <a:gd name="T39" fmla="*/ 223 h 279"/>
                  <a:gd name="T40" fmla="*/ 338 w 378"/>
                  <a:gd name="T41" fmla="*/ 227 h 279"/>
                  <a:gd name="T42" fmla="*/ 346 w 378"/>
                  <a:gd name="T43" fmla="*/ 238 h 279"/>
                  <a:gd name="T44" fmla="*/ 332 w 378"/>
                  <a:gd name="T45" fmla="*/ 263 h 279"/>
                  <a:gd name="T46" fmla="*/ 277 w 378"/>
                  <a:gd name="T47" fmla="*/ 265 h 279"/>
                  <a:gd name="T48" fmla="*/ 250 w 378"/>
                  <a:gd name="T49" fmla="*/ 250 h 279"/>
                  <a:gd name="T50" fmla="*/ 236 w 378"/>
                  <a:gd name="T51" fmla="*/ 242 h 279"/>
                  <a:gd name="T52" fmla="*/ 227 w 378"/>
                  <a:gd name="T53" fmla="*/ 236 h 279"/>
                  <a:gd name="T54" fmla="*/ 217 w 378"/>
                  <a:gd name="T55" fmla="*/ 231 h 279"/>
                  <a:gd name="T56" fmla="*/ 213 w 378"/>
                  <a:gd name="T57" fmla="*/ 223 h 279"/>
                  <a:gd name="T58" fmla="*/ 205 w 378"/>
                  <a:gd name="T59" fmla="*/ 208 h 279"/>
                  <a:gd name="T60" fmla="*/ 196 w 378"/>
                  <a:gd name="T61" fmla="*/ 215 h 279"/>
                  <a:gd name="T62" fmla="*/ 179 w 378"/>
                  <a:gd name="T63" fmla="*/ 219 h 279"/>
                  <a:gd name="T64" fmla="*/ 159 w 378"/>
                  <a:gd name="T65" fmla="*/ 221 h 279"/>
                  <a:gd name="T66" fmla="*/ 152 w 378"/>
                  <a:gd name="T67" fmla="*/ 233 h 279"/>
                  <a:gd name="T68" fmla="*/ 138 w 378"/>
                  <a:gd name="T69" fmla="*/ 233 h 279"/>
                  <a:gd name="T70" fmla="*/ 127 w 378"/>
                  <a:gd name="T71" fmla="*/ 229 h 279"/>
                  <a:gd name="T72" fmla="*/ 125 w 378"/>
                  <a:gd name="T73" fmla="*/ 211 h 279"/>
                  <a:gd name="T74" fmla="*/ 119 w 378"/>
                  <a:gd name="T75" fmla="*/ 194 h 279"/>
                  <a:gd name="T76" fmla="*/ 109 w 378"/>
                  <a:gd name="T77" fmla="*/ 186 h 279"/>
                  <a:gd name="T78" fmla="*/ 98 w 378"/>
                  <a:gd name="T79" fmla="*/ 188 h 279"/>
                  <a:gd name="T80" fmla="*/ 92 w 378"/>
                  <a:gd name="T81" fmla="*/ 186 h 279"/>
                  <a:gd name="T82" fmla="*/ 84 w 378"/>
                  <a:gd name="T83" fmla="*/ 188 h 279"/>
                  <a:gd name="T84" fmla="*/ 61 w 378"/>
                  <a:gd name="T85" fmla="*/ 179 h 279"/>
                  <a:gd name="T86" fmla="*/ 52 w 378"/>
                  <a:gd name="T87" fmla="*/ 173 h 279"/>
                  <a:gd name="T88" fmla="*/ 52 w 378"/>
                  <a:gd name="T89" fmla="*/ 156 h 279"/>
                  <a:gd name="T90" fmla="*/ 36 w 378"/>
                  <a:gd name="T91" fmla="*/ 156 h 279"/>
                  <a:gd name="T92" fmla="*/ 27 w 378"/>
                  <a:gd name="T93" fmla="*/ 163 h 279"/>
                  <a:gd name="T94" fmla="*/ 15 w 378"/>
                  <a:gd name="T95" fmla="*/ 158 h 279"/>
                  <a:gd name="T96" fmla="*/ 21 w 378"/>
                  <a:gd name="T97" fmla="*/ 144 h 279"/>
                  <a:gd name="T98" fmla="*/ 17 w 378"/>
                  <a:gd name="T99" fmla="*/ 135 h 279"/>
                  <a:gd name="T100" fmla="*/ 8 w 378"/>
                  <a:gd name="T101" fmla="*/ 127 h 279"/>
                  <a:gd name="T102" fmla="*/ 4 w 378"/>
                  <a:gd name="T103" fmla="*/ 123 h 279"/>
                  <a:gd name="T104" fmla="*/ 6 w 378"/>
                  <a:gd name="T105" fmla="*/ 115 h 279"/>
                  <a:gd name="T106" fmla="*/ 2 w 378"/>
                  <a:gd name="T107" fmla="*/ 104 h 279"/>
                  <a:gd name="T108" fmla="*/ 17 w 378"/>
                  <a:gd name="T109" fmla="*/ 98 h 279"/>
                  <a:gd name="T110" fmla="*/ 31 w 378"/>
                  <a:gd name="T111" fmla="*/ 96 h 279"/>
                  <a:gd name="T112" fmla="*/ 38 w 378"/>
                  <a:gd name="T113" fmla="*/ 90 h 279"/>
                  <a:gd name="T114" fmla="*/ 50 w 378"/>
                  <a:gd name="T115" fmla="*/ 67 h 279"/>
                  <a:gd name="T116" fmla="*/ 52 w 378"/>
                  <a:gd name="T117" fmla="*/ 54 h 279"/>
                  <a:gd name="T118" fmla="*/ 73 w 378"/>
                  <a:gd name="T119" fmla="*/ 29 h 279"/>
                  <a:gd name="T120" fmla="*/ 84 w 378"/>
                  <a:gd name="T121" fmla="*/ 17 h 279"/>
                  <a:gd name="T122" fmla="*/ 146 w 378"/>
                  <a:gd name="T123" fmla="*/ 4 h 279"/>
                  <a:gd name="T124" fmla="*/ 161 w 378"/>
                  <a:gd name="T125" fmla="*/ 15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8" h="279">
                    <a:moveTo>
                      <a:pt x="167" y="19"/>
                    </a:moveTo>
                    <a:lnTo>
                      <a:pt x="167" y="21"/>
                    </a:lnTo>
                    <a:lnTo>
                      <a:pt x="165" y="23"/>
                    </a:lnTo>
                    <a:lnTo>
                      <a:pt x="165" y="25"/>
                    </a:lnTo>
                    <a:lnTo>
                      <a:pt x="163" y="27"/>
                    </a:lnTo>
                    <a:lnTo>
                      <a:pt x="163" y="29"/>
                    </a:lnTo>
                    <a:lnTo>
                      <a:pt x="163" y="31"/>
                    </a:lnTo>
                    <a:lnTo>
                      <a:pt x="161" y="33"/>
                    </a:lnTo>
                    <a:lnTo>
                      <a:pt x="161" y="35"/>
                    </a:lnTo>
                    <a:lnTo>
                      <a:pt x="161" y="37"/>
                    </a:lnTo>
                    <a:lnTo>
                      <a:pt x="161" y="38"/>
                    </a:lnTo>
                    <a:lnTo>
                      <a:pt x="161" y="40"/>
                    </a:lnTo>
                    <a:lnTo>
                      <a:pt x="159" y="42"/>
                    </a:lnTo>
                    <a:lnTo>
                      <a:pt x="159" y="44"/>
                    </a:lnTo>
                    <a:lnTo>
                      <a:pt x="161" y="44"/>
                    </a:lnTo>
                    <a:lnTo>
                      <a:pt x="163" y="48"/>
                    </a:lnTo>
                    <a:lnTo>
                      <a:pt x="161" y="48"/>
                    </a:lnTo>
                    <a:lnTo>
                      <a:pt x="161" y="52"/>
                    </a:lnTo>
                    <a:lnTo>
                      <a:pt x="163" y="52"/>
                    </a:lnTo>
                    <a:lnTo>
                      <a:pt x="159" y="52"/>
                    </a:lnTo>
                    <a:lnTo>
                      <a:pt x="159" y="54"/>
                    </a:lnTo>
                    <a:lnTo>
                      <a:pt x="159" y="56"/>
                    </a:lnTo>
                    <a:lnTo>
                      <a:pt x="157" y="56"/>
                    </a:lnTo>
                    <a:lnTo>
                      <a:pt x="157" y="58"/>
                    </a:lnTo>
                    <a:lnTo>
                      <a:pt x="157" y="60"/>
                    </a:lnTo>
                    <a:lnTo>
                      <a:pt x="159" y="62"/>
                    </a:lnTo>
                    <a:lnTo>
                      <a:pt x="157" y="62"/>
                    </a:lnTo>
                    <a:lnTo>
                      <a:pt x="159" y="62"/>
                    </a:lnTo>
                    <a:lnTo>
                      <a:pt x="159" y="60"/>
                    </a:lnTo>
                    <a:lnTo>
                      <a:pt x="161" y="60"/>
                    </a:lnTo>
                    <a:lnTo>
                      <a:pt x="161" y="62"/>
                    </a:lnTo>
                    <a:lnTo>
                      <a:pt x="159" y="62"/>
                    </a:lnTo>
                    <a:lnTo>
                      <a:pt x="159" y="63"/>
                    </a:lnTo>
                    <a:lnTo>
                      <a:pt x="159" y="65"/>
                    </a:lnTo>
                    <a:lnTo>
                      <a:pt x="157" y="65"/>
                    </a:lnTo>
                    <a:lnTo>
                      <a:pt x="157" y="67"/>
                    </a:lnTo>
                    <a:lnTo>
                      <a:pt x="157" y="69"/>
                    </a:lnTo>
                    <a:lnTo>
                      <a:pt x="161" y="71"/>
                    </a:lnTo>
                    <a:lnTo>
                      <a:pt x="161" y="73"/>
                    </a:lnTo>
                    <a:lnTo>
                      <a:pt x="159" y="73"/>
                    </a:lnTo>
                    <a:lnTo>
                      <a:pt x="159" y="75"/>
                    </a:lnTo>
                    <a:lnTo>
                      <a:pt x="159" y="77"/>
                    </a:lnTo>
                    <a:lnTo>
                      <a:pt x="159" y="79"/>
                    </a:lnTo>
                    <a:lnTo>
                      <a:pt x="161" y="79"/>
                    </a:lnTo>
                    <a:lnTo>
                      <a:pt x="163" y="81"/>
                    </a:lnTo>
                    <a:lnTo>
                      <a:pt x="165" y="79"/>
                    </a:lnTo>
                    <a:lnTo>
                      <a:pt x="167" y="79"/>
                    </a:lnTo>
                    <a:lnTo>
                      <a:pt x="169" y="79"/>
                    </a:lnTo>
                    <a:lnTo>
                      <a:pt x="169" y="81"/>
                    </a:lnTo>
                    <a:lnTo>
                      <a:pt x="169" y="83"/>
                    </a:lnTo>
                    <a:lnTo>
                      <a:pt x="169" y="85"/>
                    </a:lnTo>
                    <a:lnTo>
                      <a:pt x="171" y="85"/>
                    </a:lnTo>
                    <a:lnTo>
                      <a:pt x="171" y="87"/>
                    </a:lnTo>
                    <a:lnTo>
                      <a:pt x="171" y="88"/>
                    </a:lnTo>
                    <a:lnTo>
                      <a:pt x="171" y="90"/>
                    </a:lnTo>
                    <a:lnTo>
                      <a:pt x="171" y="88"/>
                    </a:lnTo>
                    <a:lnTo>
                      <a:pt x="171" y="87"/>
                    </a:lnTo>
                    <a:lnTo>
                      <a:pt x="173" y="87"/>
                    </a:lnTo>
                    <a:lnTo>
                      <a:pt x="175" y="87"/>
                    </a:lnTo>
                    <a:lnTo>
                      <a:pt x="173" y="87"/>
                    </a:lnTo>
                    <a:lnTo>
                      <a:pt x="175" y="87"/>
                    </a:lnTo>
                    <a:lnTo>
                      <a:pt x="175" y="88"/>
                    </a:lnTo>
                    <a:lnTo>
                      <a:pt x="175" y="90"/>
                    </a:lnTo>
                    <a:lnTo>
                      <a:pt x="177" y="90"/>
                    </a:lnTo>
                    <a:lnTo>
                      <a:pt x="179" y="90"/>
                    </a:lnTo>
                    <a:lnTo>
                      <a:pt x="179" y="92"/>
                    </a:lnTo>
                    <a:lnTo>
                      <a:pt x="181" y="92"/>
                    </a:lnTo>
                    <a:lnTo>
                      <a:pt x="182" y="92"/>
                    </a:lnTo>
                    <a:lnTo>
                      <a:pt x="186" y="92"/>
                    </a:lnTo>
                    <a:lnTo>
                      <a:pt x="184" y="92"/>
                    </a:lnTo>
                    <a:lnTo>
                      <a:pt x="184" y="94"/>
                    </a:lnTo>
                    <a:lnTo>
                      <a:pt x="186" y="92"/>
                    </a:lnTo>
                    <a:lnTo>
                      <a:pt x="186" y="94"/>
                    </a:lnTo>
                    <a:lnTo>
                      <a:pt x="188" y="94"/>
                    </a:lnTo>
                    <a:lnTo>
                      <a:pt x="188" y="96"/>
                    </a:lnTo>
                    <a:lnTo>
                      <a:pt x="188" y="98"/>
                    </a:lnTo>
                    <a:lnTo>
                      <a:pt x="188" y="100"/>
                    </a:lnTo>
                    <a:lnTo>
                      <a:pt x="192" y="104"/>
                    </a:lnTo>
                    <a:lnTo>
                      <a:pt x="192" y="102"/>
                    </a:lnTo>
                    <a:lnTo>
                      <a:pt x="194" y="102"/>
                    </a:lnTo>
                    <a:lnTo>
                      <a:pt x="196" y="104"/>
                    </a:lnTo>
                    <a:lnTo>
                      <a:pt x="198" y="104"/>
                    </a:lnTo>
                    <a:lnTo>
                      <a:pt x="198" y="106"/>
                    </a:lnTo>
                    <a:lnTo>
                      <a:pt x="200" y="106"/>
                    </a:lnTo>
                    <a:lnTo>
                      <a:pt x="202" y="106"/>
                    </a:lnTo>
                    <a:lnTo>
                      <a:pt x="204" y="104"/>
                    </a:lnTo>
                    <a:lnTo>
                      <a:pt x="205" y="102"/>
                    </a:lnTo>
                    <a:lnTo>
                      <a:pt x="207" y="102"/>
                    </a:lnTo>
                    <a:lnTo>
                      <a:pt x="207" y="104"/>
                    </a:lnTo>
                    <a:lnTo>
                      <a:pt x="207" y="106"/>
                    </a:lnTo>
                    <a:lnTo>
                      <a:pt x="207" y="108"/>
                    </a:lnTo>
                    <a:lnTo>
                      <a:pt x="209" y="108"/>
                    </a:lnTo>
                    <a:lnTo>
                      <a:pt x="211" y="108"/>
                    </a:lnTo>
                    <a:lnTo>
                      <a:pt x="213" y="108"/>
                    </a:lnTo>
                    <a:lnTo>
                      <a:pt x="213" y="106"/>
                    </a:lnTo>
                    <a:lnTo>
                      <a:pt x="215" y="108"/>
                    </a:lnTo>
                    <a:lnTo>
                      <a:pt x="213" y="110"/>
                    </a:lnTo>
                    <a:lnTo>
                      <a:pt x="213" y="112"/>
                    </a:lnTo>
                    <a:lnTo>
                      <a:pt x="213" y="113"/>
                    </a:lnTo>
                    <a:lnTo>
                      <a:pt x="215" y="113"/>
                    </a:lnTo>
                    <a:lnTo>
                      <a:pt x="215" y="115"/>
                    </a:lnTo>
                    <a:lnTo>
                      <a:pt x="219" y="117"/>
                    </a:lnTo>
                    <a:lnTo>
                      <a:pt x="221" y="121"/>
                    </a:lnTo>
                    <a:lnTo>
                      <a:pt x="223" y="121"/>
                    </a:lnTo>
                    <a:lnTo>
                      <a:pt x="223" y="123"/>
                    </a:lnTo>
                    <a:lnTo>
                      <a:pt x="223" y="121"/>
                    </a:lnTo>
                    <a:lnTo>
                      <a:pt x="225" y="123"/>
                    </a:lnTo>
                    <a:lnTo>
                      <a:pt x="225" y="125"/>
                    </a:lnTo>
                    <a:lnTo>
                      <a:pt x="227" y="123"/>
                    </a:lnTo>
                    <a:lnTo>
                      <a:pt x="227" y="121"/>
                    </a:lnTo>
                    <a:lnTo>
                      <a:pt x="229" y="119"/>
                    </a:lnTo>
                    <a:lnTo>
                      <a:pt x="230" y="117"/>
                    </a:lnTo>
                    <a:lnTo>
                      <a:pt x="232" y="115"/>
                    </a:lnTo>
                    <a:lnTo>
                      <a:pt x="232" y="113"/>
                    </a:lnTo>
                    <a:lnTo>
                      <a:pt x="234" y="113"/>
                    </a:lnTo>
                    <a:lnTo>
                      <a:pt x="234" y="112"/>
                    </a:lnTo>
                    <a:lnTo>
                      <a:pt x="238" y="112"/>
                    </a:lnTo>
                    <a:lnTo>
                      <a:pt x="240" y="113"/>
                    </a:lnTo>
                    <a:lnTo>
                      <a:pt x="238" y="113"/>
                    </a:lnTo>
                    <a:lnTo>
                      <a:pt x="240" y="113"/>
                    </a:lnTo>
                    <a:lnTo>
                      <a:pt x="240" y="115"/>
                    </a:lnTo>
                    <a:lnTo>
                      <a:pt x="242" y="115"/>
                    </a:lnTo>
                    <a:lnTo>
                      <a:pt x="240" y="115"/>
                    </a:lnTo>
                    <a:lnTo>
                      <a:pt x="240" y="117"/>
                    </a:lnTo>
                    <a:lnTo>
                      <a:pt x="242" y="117"/>
                    </a:lnTo>
                    <a:lnTo>
                      <a:pt x="244" y="117"/>
                    </a:lnTo>
                    <a:lnTo>
                      <a:pt x="246" y="117"/>
                    </a:lnTo>
                    <a:lnTo>
                      <a:pt x="246" y="115"/>
                    </a:lnTo>
                    <a:lnTo>
                      <a:pt x="248" y="117"/>
                    </a:lnTo>
                    <a:lnTo>
                      <a:pt x="248" y="119"/>
                    </a:lnTo>
                    <a:lnTo>
                      <a:pt x="250" y="117"/>
                    </a:lnTo>
                    <a:lnTo>
                      <a:pt x="250" y="119"/>
                    </a:lnTo>
                    <a:lnTo>
                      <a:pt x="248" y="121"/>
                    </a:lnTo>
                    <a:lnTo>
                      <a:pt x="246" y="121"/>
                    </a:lnTo>
                    <a:lnTo>
                      <a:pt x="248" y="123"/>
                    </a:lnTo>
                    <a:lnTo>
                      <a:pt x="246" y="123"/>
                    </a:lnTo>
                    <a:lnTo>
                      <a:pt x="248" y="125"/>
                    </a:lnTo>
                    <a:lnTo>
                      <a:pt x="248" y="123"/>
                    </a:lnTo>
                    <a:lnTo>
                      <a:pt x="250" y="123"/>
                    </a:lnTo>
                    <a:lnTo>
                      <a:pt x="250" y="125"/>
                    </a:lnTo>
                    <a:lnTo>
                      <a:pt x="252" y="125"/>
                    </a:lnTo>
                    <a:lnTo>
                      <a:pt x="250" y="125"/>
                    </a:lnTo>
                    <a:lnTo>
                      <a:pt x="252" y="127"/>
                    </a:lnTo>
                    <a:lnTo>
                      <a:pt x="250" y="129"/>
                    </a:lnTo>
                    <a:lnTo>
                      <a:pt x="252" y="129"/>
                    </a:lnTo>
                    <a:lnTo>
                      <a:pt x="254" y="131"/>
                    </a:lnTo>
                    <a:lnTo>
                      <a:pt x="255" y="133"/>
                    </a:lnTo>
                    <a:lnTo>
                      <a:pt x="257" y="133"/>
                    </a:lnTo>
                    <a:lnTo>
                      <a:pt x="257" y="135"/>
                    </a:lnTo>
                    <a:lnTo>
                      <a:pt x="257" y="133"/>
                    </a:lnTo>
                    <a:lnTo>
                      <a:pt x="259" y="133"/>
                    </a:lnTo>
                    <a:lnTo>
                      <a:pt x="259" y="135"/>
                    </a:lnTo>
                    <a:lnTo>
                      <a:pt x="259" y="133"/>
                    </a:lnTo>
                    <a:lnTo>
                      <a:pt x="261" y="133"/>
                    </a:lnTo>
                    <a:lnTo>
                      <a:pt x="259" y="135"/>
                    </a:lnTo>
                    <a:lnTo>
                      <a:pt x="261" y="135"/>
                    </a:lnTo>
                    <a:lnTo>
                      <a:pt x="261" y="133"/>
                    </a:lnTo>
                    <a:lnTo>
                      <a:pt x="261" y="135"/>
                    </a:lnTo>
                    <a:lnTo>
                      <a:pt x="259" y="135"/>
                    </a:lnTo>
                    <a:lnTo>
                      <a:pt x="261" y="133"/>
                    </a:lnTo>
                    <a:lnTo>
                      <a:pt x="263" y="131"/>
                    </a:lnTo>
                    <a:lnTo>
                      <a:pt x="263" y="133"/>
                    </a:lnTo>
                    <a:lnTo>
                      <a:pt x="263" y="131"/>
                    </a:lnTo>
                    <a:lnTo>
                      <a:pt x="263" y="133"/>
                    </a:lnTo>
                    <a:lnTo>
                      <a:pt x="263" y="131"/>
                    </a:lnTo>
                    <a:lnTo>
                      <a:pt x="265" y="131"/>
                    </a:lnTo>
                    <a:lnTo>
                      <a:pt x="267" y="131"/>
                    </a:lnTo>
                    <a:lnTo>
                      <a:pt x="269" y="133"/>
                    </a:lnTo>
                    <a:lnTo>
                      <a:pt x="269" y="135"/>
                    </a:lnTo>
                    <a:lnTo>
                      <a:pt x="271" y="137"/>
                    </a:lnTo>
                    <a:lnTo>
                      <a:pt x="271" y="138"/>
                    </a:lnTo>
                    <a:lnTo>
                      <a:pt x="269" y="140"/>
                    </a:lnTo>
                    <a:lnTo>
                      <a:pt x="271" y="140"/>
                    </a:lnTo>
                    <a:lnTo>
                      <a:pt x="271" y="142"/>
                    </a:lnTo>
                    <a:lnTo>
                      <a:pt x="269" y="144"/>
                    </a:lnTo>
                    <a:lnTo>
                      <a:pt x="271" y="144"/>
                    </a:lnTo>
                    <a:lnTo>
                      <a:pt x="273" y="144"/>
                    </a:lnTo>
                    <a:lnTo>
                      <a:pt x="275" y="142"/>
                    </a:lnTo>
                    <a:lnTo>
                      <a:pt x="277" y="142"/>
                    </a:lnTo>
                    <a:lnTo>
                      <a:pt x="277" y="144"/>
                    </a:lnTo>
                    <a:lnTo>
                      <a:pt x="277" y="142"/>
                    </a:lnTo>
                    <a:lnTo>
                      <a:pt x="278" y="142"/>
                    </a:lnTo>
                    <a:lnTo>
                      <a:pt x="278" y="144"/>
                    </a:lnTo>
                    <a:lnTo>
                      <a:pt x="277" y="144"/>
                    </a:lnTo>
                    <a:lnTo>
                      <a:pt x="278" y="144"/>
                    </a:lnTo>
                    <a:lnTo>
                      <a:pt x="280" y="146"/>
                    </a:lnTo>
                    <a:lnTo>
                      <a:pt x="280" y="148"/>
                    </a:lnTo>
                    <a:lnTo>
                      <a:pt x="282" y="148"/>
                    </a:lnTo>
                    <a:lnTo>
                      <a:pt x="284" y="150"/>
                    </a:lnTo>
                    <a:lnTo>
                      <a:pt x="286" y="146"/>
                    </a:lnTo>
                    <a:lnTo>
                      <a:pt x="288" y="146"/>
                    </a:lnTo>
                    <a:lnTo>
                      <a:pt x="290" y="146"/>
                    </a:lnTo>
                    <a:lnTo>
                      <a:pt x="292" y="146"/>
                    </a:lnTo>
                    <a:lnTo>
                      <a:pt x="292" y="144"/>
                    </a:lnTo>
                    <a:lnTo>
                      <a:pt x="294" y="146"/>
                    </a:lnTo>
                    <a:lnTo>
                      <a:pt x="296" y="146"/>
                    </a:lnTo>
                    <a:lnTo>
                      <a:pt x="294" y="144"/>
                    </a:lnTo>
                    <a:lnTo>
                      <a:pt x="296" y="144"/>
                    </a:lnTo>
                    <a:lnTo>
                      <a:pt x="296" y="142"/>
                    </a:lnTo>
                    <a:lnTo>
                      <a:pt x="300" y="138"/>
                    </a:lnTo>
                    <a:lnTo>
                      <a:pt x="302" y="138"/>
                    </a:lnTo>
                    <a:lnTo>
                      <a:pt x="302" y="140"/>
                    </a:lnTo>
                    <a:lnTo>
                      <a:pt x="303" y="140"/>
                    </a:lnTo>
                    <a:lnTo>
                      <a:pt x="305" y="140"/>
                    </a:lnTo>
                    <a:lnTo>
                      <a:pt x="307" y="140"/>
                    </a:lnTo>
                    <a:lnTo>
                      <a:pt x="309" y="142"/>
                    </a:lnTo>
                    <a:lnTo>
                      <a:pt x="311" y="142"/>
                    </a:lnTo>
                    <a:lnTo>
                      <a:pt x="309" y="146"/>
                    </a:lnTo>
                    <a:lnTo>
                      <a:pt x="307" y="148"/>
                    </a:lnTo>
                    <a:lnTo>
                      <a:pt x="311" y="150"/>
                    </a:lnTo>
                    <a:lnTo>
                      <a:pt x="319" y="158"/>
                    </a:lnTo>
                    <a:lnTo>
                      <a:pt x="321" y="160"/>
                    </a:lnTo>
                    <a:lnTo>
                      <a:pt x="328" y="163"/>
                    </a:lnTo>
                    <a:lnTo>
                      <a:pt x="330" y="165"/>
                    </a:lnTo>
                    <a:lnTo>
                      <a:pt x="332" y="167"/>
                    </a:lnTo>
                    <a:lnTo>
                      <a:pt x="344" y="152"/>
                    </a:lnTo>
                    <a:lnTo>
                      <a:pt x="346" y="152"/>
                    </a:lnTo>
                    <a:lnTo>
                      <a:pt x="348" y="154"/>
                    </a:lnTo>
                    <a:lnTo>
                      <a:pt x="350" y="156"/>
                    </a:lnTo>
                    <a:lnTo>
                      <a:pt x="351" y="158"/>
                    </a:lnTo>
                    <a:lnTo>
                      <a:pt x="355" y="160"/>
                    </a:lnTo>
                    <a:lnTo>
                      <a:pt x="353" y="165"/>
                    </a:lnTo>
                    <a:lnTo>
                      <a:pt x="350" y="169"/>
                    </a:lnTo>
                    <a:lnTo>
                      <a:pt x="363" y="179"/>
                    </a:lnTo>
                    <a:lnTo>
                      <a:pt x="363" y="177"/>
                    </a:lnTo>
                    <a:lnTo>
                      <a:pt x="365" y="177"/>
                    </a:lnTo>
                    <a:lnTo>
                      <a:pt x="367" y="177"/>
                    </a:lnTo>
                    <a:lnTo>
                      <a:pt x="367" y="179"/>
                    </a:lnTo>
                    <a:lnTo>
                      <a:pt x="369" y="179"/>
                    </a:lnTo>
                    <a:lnTo>
                      <a:pt x="369" y="177"/>
                    </a:lnTo>
                    <a:lnTo>
                      <a:pt x="371" y="177"/>
                    </a:lnTo>
                    <a:lnTo>
                      <a:pt x="371" y="179"/>
                    </a:lnTo>
                    <a:lnTo>
                      <a:pt x="369" y="179"/>
                    </a:lnTo>
                    <a:lnTo>
                      <a:pt x="369" y="181"/>
                    </a:lnTo>
                    <a:lnTo>
                      <a:pt x="371" y="181"/>
                    </a:lnTo>
                    <a:lnTo>
                      <a:pt x="371" y="183"/>
                    </a:lnTo>
                    <a:lnTo>
                      <a:pt x="373" y="183"/>
                    </a:lnTo>
                    <a:lnTo>
                      <a:pt x="373" y="185"/>
                    </a:lnTo>
                    <a:lnTo>
                      <a:pt x="375" y="185"/>
                    </a:lnTo>
                    <a:lnTo>
                      <a:pt x="375" y="186"/>
                    </a:lnTo>
                    <a:lnTo>
                      <a:pt x="373" y="190"/>
                    </a:lnTo>
                    <a:lnTo>
                      <a:pt x="375" y="192"/>
                    </a:lnTo>
                    <a:lnTo>
                      <a:pt x="375" y="194"/>
                    </a:lnTo>
                    <a:lnTo>
                      <a:pt x="378" y="196"/>
                    </a:lnTo>
                    <a:lnTo>
                      <a:pt x="378" y="198"/>
                    </a:lnTo>
                    <a:lnTo>
                      <a:pt x="376" y="198"/>
                    </a:lnTo>
                    <a:lnTo>
                      <a:pt x="375" y="202"/>
                    </a:lnTo>
                    <a:lnTo>
                      <a:pt x="373" y="202"/>
                    </a:lnTo>
                    <a:lnTo>
                      <a:pt x="373" y="204"/>
                    </a:lnTo>
                    <a:lnTo>
                      <a:pt x="371" y="204"/>
                    </a:lnTo>
                    <a:lnTo>
                      <a:pt x="371" y="206"/>
                    </a:lnTo>
                    <a:lnTo>
                      <a:pt x="369" y="206"/>
                    </a:lnTo>
                    <a:lnTo>
                      <a:pt x="369" y="208"/>
                    </a:lnTo>
                    <a:lnTo>
                      <a:pt x="369" y="206"/>
                    </a:lnTo>
                    <a:lnTo>
                      <a:pt x="371" y="208"/>
                    </a:lnTo>
                    <a:lnTo>
                      <a:pt x="369" y="208"/>
                    </a:lnTo>
                    <a:lnTo>
                      <a:pt x="371" y="210"/>
                    </a:lnTo>
                    <a:lnTo>
                      <a:pt x="369" y="210"/>
                    </a:lnTo>
                    <a:lnTo>
                      <a:pt x="371" y="210"/>
                    </a:lnTo>
                    <a:lnTo>
                      <a:pt x="369" y="210"/>
                    </a:lnTo>
                    <a:lnTo>
                      <a:pt x="369" y="211"/>
                    </a:lnTo>
                    <a:lnTo>
                      <a:pt x="367" y="211"/>
                    </a:lnTo>
                    <a:lnTo>
                      <a:pt x="369" y="213"/>
                    </a:lnTo>
                    <a:lnTo>
                      <a:pt x="367" y="213"/>
                    </a:lnTo>
                    <a:lnTo>
                      <a:pt x="367" y="211"/>
                    </a:lnTo>
                    <a:lnTo>
                      <a:pt x="367" y="213"/>
                    </a:lnTo>
                    <a:lnTo>
                      <a:pt x="365" y="213"/>
                    </a:lnTo>
                    <a:lnTo>
                      <a:pt x="363" y="213"/>
                    </a:lnTo>
                    <a:lnTo>
                      <a:pt x="363" y="215"/>
                    </a:lnTo>
                    <a:lnTo>
                      <a:pt x="363" y="217"/>
                    </a:lnTo>
                    <a:lnTo>
                      <a:pt x="361" y="217"/>
                    </a:lnTo>
                    <a:lnTo>
                      <a:pt x="361" y="215"/>
                    </a:lnTo>
                    <a:lnTo>
                      <a:pt x="359" y="217"/>
                    </a:lnTo>
                    <a:lnTo>
                      <a:pt x="361" y="219"/>
                    </a:lnTo>
                    <a:lnTo>
                      <a:pt x="359" y="219"/>
                    </a:lnTo>
                    <a:lnTo>
                      <a:pt x="357" y="219"/>
                    </a:lnTo>
                    <a:lnTo>
                      <a:pt x="355" y="219"/>
                    </a:lnTo>
                    <a:lnTo>
                      <a:pt x="355" y="221"/>
                    </a:lnTo>
                    <a:lnTo>
                      <a:pt x="357" y="221"/>
                    </a:lnTo>
                    <a:lnTo>
                      <a:pt x="355" y="223"/>
                    </a:lnTo>
                    <a:lnTo>
                      <a:pt x="355" y="225"/>
                    </a:lnTo>
                    <a:lnTo>
                      <a:pt x="351" y="227"/>
                    </a:lnTo>
                    <a:lnTo>
                      <a:pt x="350" y="225"/>
                    </a:lnTo>
                    <a:lnTo>
                      <a:pt x="348" y="223"/>
                    </a:lnTo>
                    <a:lnTo>
                      <a:pt x="346" y="223"/>
                    </a:lnTo>
                    <a:lnTo>
                      <a:pt x="344" y="223"/>
                    </a:lnTo>
                    <a:lnTo>
                      <a:pt x="344" y="221"/>
                    </a:lnTo>
                    <a:lnTo>
                      <a:pt x="342" y="221"/>
                    </a:lnTo>
                    <a:lnTo>
                      <a:pt x="340" y="221"/>
                    </a:lnTo>
                    <a:lnTo>
                      <a:pt x="340" y="219"/>
                    </a:lnTo>
                    <a:lnTo>
                      <a:pt x="338" y="221"/>
                    </a:lnTo>
                    <a:lnTo>
                      <a:pt x="340" y="223"/>
                    </a:lnTo>
                    <a:lnTo>
                      <a:pt x="338" y="225"/>
                    </a:lnTo>
                    <a:lnTo>
                      <a:pt x="338" y="227"/>
                    </a:lnTo>
                    <a:lnTo>
                      <a:pt x="338" y="229"/>
                    </a:lnTo>
                    <a:lnTo>
                      <a:pt x="336" y="229"/>
                    </a:lnTo>
                    <a:lnTo>
                      <a:pt x="338" y="229"/>
                    </a:lnTo>
                    <a:lnTo>
                      <a:pt x="338" y="231"/>
                    </a:lnTo>
                    <a:lnTo>
                      <a:pt x="340" y="231"/>
                    </a:lnTo>
                    <a:lnTo>
                      <a:pt x="340" y="233"/>
                    </a:lnTo>
                    <a:lnTo>
                      <a:pt x="342" y="233"/>
                    </a:lnTo>
                    <a:lnTo>
                      <a:pt x="342" y="235"/>
                    </a:lnTo>
                    <a:lnTo>
                      <a:pt x="342" y="236"/>
                    </a:lnTo>
                    <a:lnTo>
                      <a:pt x="342" y="235"/>
                    </a:lnTo>
                    <a:lnTo>
                      <a:pt x="344" y="235"/>
                    </a:lnTo>
                    <a:lnTo>
                      <a:pt x="344" y="236"/>
                    </a:lnTo>
                    <a:lnTo>
                      <a:pt x="346" y="236"/>
                    </a:lnTo>
                    <a:lnTo>
                      <a:pt x="346" y="238"/>
                    </a:lnTo>
                    <a:lnTo>
                      <a:pt x="348" y="238"/>
                    </a:lnTo>
                    <a:lnTo>
                      <a:pt x="350" y="238"/>
                    </a:lnTo>
                    <a:lnTo>
                      <a:pt x="351" y="236"/>
                    </a:lnTo>
                    <a:lnTo>
                      <a:pt x="355" y="238"/>
                    </a:lnTo>
                    <a:lnTo>
                      <a:pt x="353" y="240"/>
                    </a:lnTo>
                    <a:lnTo>
                      <a:pt x="350" y="246"/>
                    </a:lnTo>
                    <a:lnTo>
                      <a:pt x="348" y="248"/>
                    </a:lnTo>
                    <a:lnTo>
                      <a:pt x="346" y="250"/>
                    </a:lnTo>
                    <a:lnTo>
                      <a:pt x="342" y="258"/>
                    </a:lnTo>
                    <a:lnTo>
                      <a:pt x="342" y="260"/>
                    </a:lnTo>
                    <a:lnTo>
                      <a:pt x="348" y="261"/>
                    </a:lnTo>
                    <a:lnTo>
                      <a:pt x="346" y="265"/>
                    </a:lnTo>
                    <a:lnTo>
                      <a:pt x="342" y="269"/>
                    </a:lnTo>
                    <a:lnTo>
                      <a:pt x="332" y="263"/>
                    </a:lnTo>
                    <a:lnTo>
                      <a:pt x="332" y="265"/>
                    </a:lnTo>
                    <a:lnTo>
                      <a:pt x="327" y="261"/>
                    </a:lnTo>
                    <a:lnTo>
                      <a:pt x="323" y="258"/>
                    </a:lnTo>
                    <a:lnTo>
                      <a:pt x="317" y="265"/>
                    </a:lnTo>
                    <a:lnTo>
                      <a:pt x="319" y="265"/>
                    </a:lnTo>
                    <a:lnTo>
                      <a:pt x="317" y="269"/>
                    </a:lnTo>
                    <a:lnTo>
                      <a:pt x="313" y="275"/>
                    </a:lnTo>
                    <a:lnTo>
                      <a:pt x="307" y="271"/>
                    </a:lnTo>
                    <a:lnTo>
                      <a:pt x="305" y="273"/>
                    </a:lnTo>
                    <a:lnTo>
                      <a:pt x="303" y="271"/>
                    </a:lnTo>
                    <a:lnTo>
                      <a:pt x="298" y="279"/>
                    </a:lnTo>
                    <a:lnTo>
                      <a:pt x="280" y="267"/>
                    </a:lnTo>
                    <a:lnTo>
                      <a:pt x="280" y="269"/>
                    </a:lnTo>
                    <a:lnTo>
                      <a:pt x="277" y="265"/>
                    </a:lnTo>
                    <a:lnTo>
                      <a:pt x="273" y="263"/>
                    </a:lnTo>
                    <a:lnTo>
                      <a:pt x="271" y="267"/>
                    </a:lnTo>
                    <a:lnTo>
                      <a:pt x="269" y="267"/>
                    </a:lnTo>
                    <a:lnTo>
                      <a:pt x="267" y="265"/>
                    </a:lnTo>
                    <a:lnTo>
                      <a:pt x="265" y="263"/>
                    </a:lnTo>
                    <a:lnTo>
                      <a:pt x="259" y="260"/>
                    </a:lnTo>
                    <a:lnTo>
                      <a:pt x="254" y="256"/>
                    </a:lnTo>
                    <a:lnTo>
                      <a:pt x="252" y="258"/>
                    </a:lnTo>
                    <a:lnTo>
                      <a:pt x="252" y="256"/>
                    </a:lnTo>
                    <a:lnTo>
                      <a:pt x="252" y="254"/>
                    </a:lnTo>
                    <a:lnTo>
                      <a:pt x="250" y="254"/>
                    </a:lnTo>
                    <a:lnTo>
                      <a:pt x="252" y="254"/>
                    </a:lnTo>
                    <a:lnTo>
                      <a:pt x="250" y="252"/>
                    </a:lnTo>
                    <a:lnTo>
                      <a:pt x="250" y="250"/>
                    </a:lnTo>
                    <a:lnTo>
                      <a:pt x="252" y="248"/>
                    </a:lnTo>
                    <a:lnTo>
                      <a:pt x="250" y="248"/>
                    </a:lnTo>
                    <a:lnTo>
                      <a:pt x="250" y="246"/>
                    </a:lnTo>
                    <a:lnTo>
                      <a:pt x="248" y="246"/>
                    </a:lnTo>
                    <a:lnTo>
                      <a:pt x="246" y="246"/>
                    </a:lnTo>
                    <a:lnTo>
                      <a:pt x="244" y="246"/>
                    </a:lnTo>
                    <a:lnTo>
                      <a:pt x="244" y="244"/>
                    </a:lnTo>
                    <a:lnTo>
                      <a:pt x="242" y="244"/>
                    </a:lnTo>
                    <a:lnTo>
                      <a:pt x="242" y="242"/>
                    </a:lnTo>
                    <a:lnTo>
                      <a:pt x="242" y="240"/>
                    </a:lnTo>
                    <a:lnTo>
                      <a:pt x="240" y="240"/>
                    </a:lnTo>
                    <a:lnTo>
                      <a:pt x="238" y="240"/>
                    </a:lnTo>
                    <a:lnTo>
                      <a:pt x="236" y="240"/>
                    </a:lnTo>
                    <a:lnTo>
                      <a:pt x="236" y="242"/>
                    </a:lnTo>
                    <a:lnTo>
                      <a:pt x="234" y="242"/>
                    </a:lnTo>
                    <a:lnTo>
                      <a:pt x="232" y="242"/>
                    </a:lnTo>
                    <a:lnTo>
                      <a:pt x="232" y="240"/>
                    </a:lnTo>
                    <a:lnTo>
                      <a:pt x="234" y="240"/>
                    </a:lnTo>
                    <a:lnTo>
                      <a:pt x="234" y="238"/>
                    </a:lnTo>
                    <a:lnTo>
                      <a:pt x="234" y="236"/>
                    </a:lnTo>
                    <a:lnTo>
                      <a:pt x="234" y="235"/>
                    </a:lnTo>
                    <a:lnTo>
                      <a:pt x="232" y="235"/>
                    </a:lnTo>
                    <a:lnTo>
                      <a:pt x="232" y="233"/>
                    </a:lnTo>
                    <a:lnTo>
                      <a:pt x="230" y="233"/>
                    </a:lnTo>
                    <a:lnTo>
                      <a:pt x="229" y="235"/>
                    </a:lnTo>
                    <a:lnTo>
                      <a:pt x="229" y="236"/>
                    </a:lnTo>
                    <a:lnTo>
                      <a:pt x="229" y="238"/>
                    </a:lnTo>
                    <a:lnTo>
                      <a:pt x="227" y="236"/>
                    </a:lnTo>
                    <a:lnTo>
                      <a:pt x="227" y="235"/>
                    </a:lnTo>
                    <a:lnTo>
                      <a:pt x="225" y="235"/>
                    </a:lnTo>
                    <a:lnTo>
                      <a:pt x="225" y="233"/>
                    </a:lnTo>
                    <a:lnTo>
                      <a:pt x="225" y="231"/>
                    </a:lnTo>
                    <a:lnTo>
                      <a:pt x="223" y="231"/>
                    </a:lnTo>
                    <a:lnTo>
                      <a:pt x="221" y="231"/>
                    </a:lnTo>
                    <a:lnTo>
                      <a:pt x="221" y="233"/>
                    </a:lnTo>
                    <a:lnTo>
                      <a:pt x="221" y="231"/>
                    </a:lnTo>
                    <a:lnTo>
                      <a:pt x="221" y="233"/>
                    </a:lnTo>
                    <a:lnTo>
                      <a:pt x="219" y="233"/>
                    </a:lnTo>
                    <a:lnTo>
                      <a:pt x="219" y="231"/>
                    </a:lnTo>
                    <a:lnTo>
                      <a:pt x="219" y="233"/>
                    </a:lnTo>
                    <a:lnTo>
                      <a:pt x="217" y="233"/>
                    </a:lnTo>
                    <a:lnTo>
                      <a:pt x="217" y="231"/>
                    </a:lnTo>
                    <a:lnTo>
                      <a:pt x="215" y="231"/>
                    </a:lnTo>
                    <a:lnTo>
                      <a:pt x="217" y="231"/>
                    </a:lnTo>
                    <a:lnTo>
                      <a:pt x="215" y="231"/>
                    </a:lnTo>
                    <a:lnTo>
                      <a:pt x="215" y="233"/>
                    </a:lnTo>
                    <a:lnTo>
                      <a:pt x="213" y="233"/>
                    </a:lnTo>
                    <a:lnTo>
                      <a:pt x="215" y="231"/>
                    </a:lnTo>
                    <a:lnTo>
                      <a:pt x="213" y="231"/>
                    </a:lnTo>
                    <a:lnTo>
                      <a:pt x="211" y="231"/>
                    </a:lnTo>
                    <a:lnTo>
                      <a:pt x="211" y="229"/>
                    </a:lnTo>
                    <a:lnTo>
                      <a:pt x="213" y="227"/>
                    </a:lnTo>
                    <a:lnTo>
                      <a:pt x="211" y="227"/>
                    </a:lnTo>
                    <a:lnTo>
                      <a:pt x="211" y="225"/>
                    </a:lnTo>
                    <a:lnTo>
                      <a:pt x="211" y="223"/>
                    </a:lnTo>
                    <a:lnTo>
                      <a:pt x="213" y="223"/>
                    </a:lnTo>
                    <a:lnTo>
                      <a:pt x="213" y="221"/>
                    </a:lnTo>
                    <a:lnTo>
                      <a:pt x="213" y="219"/>
                    </a:lnTo>
                    <a:lnTo>
                      <a:pt x="211" y="219"/>
                    </a:lnTo>
                    <a:lnTo>
                      <a:pt x="211" y="217"/>
                    </a:lnTo>
                    <a:lnTo>
                      <a:pt x="209" y="217"/>
                    </a:lnTo>
                    <a:lnTo>
                      <a:pt x="207" y="217"/>
                    </a:lnTo>
                    <a:lnTo>
                      <a:pt x="205" y="215"/>
                    </a:lnTo>
                    <a:lnTo>
                      <a:pt x="204" y="217"/>
                    </a:lnTo>
                    <a:lnTo>
                      <a:pt x="202" y="219"/>
                    </a:lnTo>
                    <a:lnTo>
                      <a:pt x="202" y="217"/>
                    </a:lnTo>
                    <a:lnTo>
                      <a:pt x="202" y="215"/>
                    </a:lnTo>
                    <a:lnTo>
                      <a:pt x="202" y="213"/>
                    </a:lnTo>
                    <a:lnTo>
                      <a:pt x="202" y="211"/>
                    </a:lnTo>
                    <a:lnTo>
                      <a:pt x="205" y="208"/>
                    </a:lnTo>
                    <a:lnTo>
                      <a:pt x="204" y="206"/>
                    </a:lnTo>
                    <a:lnTo>
                      <a:pt x="202" y="206"/>
                    </a:lnTo>
                    <a:lnTo>
                      <a:pt x="202" y="204"/>
                    </a:lnTo>
                    <a:lnTo>
                      <a:pt x="200" y="204"/>
                    </a:lnTo>
                    <a:lnTo>
                      <a:pt x="198" y="206"/>
                    </a:lnTo>
                    <a:lnTo>
                      <a:pt x="196" y="210"/>
                    </a:lnTo>
                    <a:lnTo>
                      <a:pt x="194" y="211"/>
                    </a:lnTo>
                    <a:lnTo>
                      <a:pt x="194" y="210"/>
                    </a:lnTo>
                    <a:lnTo>
                      <a:pt x="192" y="210"/>
                    </a:lnTo>
                    <a:lnTo>
                      <a:pt x="192" y="211"/>
                    </a:lnTo>
                    <a:lnTo>
                      <a:pt x="194" y="213"/>
                    </a:lnTo>
                    <a:lnTo>
                      <a:pt x="194" y="215"/>
                    </a:lnTo>
                    <a:lnTo>
                      <a:pt x="194" y="213"/>
                    </a:lnTo>
                    <a:lnTo>
                      <a:pt x="196" y="215"/>
                    </a:lnTo>
                    <a:lnTo>
                      <a:pt x="194" y="219"/>
                    </a:lnTo>
                    <a:lnTo>
                      <a:pt x="192" y="221"/>
                    </a:lnTo>
                    <a:lnTo>
                      <a:pt x="190" y="221"/>
                    </a:lnTo>
                    <a:lnTo>
                      <a:pt x="188" y="223"/>
                    </a:lnTo>
                    <a:lnTo>
                      <a:pt x="188" y="221"/>
                    </a:lnTo>
                    <a:lnTo>
                      <a:pt x="186" y="221"/>
                    </a:lnTo>
                    <a:lnTo>
                      <a:pt x="186" y="223"/>
                    </a:lnTo>
                    <a:lnTo>
                      <a:pt x="184" y="221"/>
                    </a:lnTo>
                    <a:lnTo>
                      <a:pt x="184" y="219"/>
                    </a:lnTo>
                    <a:lnTo>
                      <a:pt x="182" y="217"/>
                    </a:lnTo>
                    <a:lnTo>
                      <a:pt x="181" y="217"/>
                    </a:lnTo>
                    <a:lnTo>
                      <a:pt x="181" y="219"/>
                    </a:lnTo>
                    <a:lnTo>
                      <a:pt x="181" y="217"/>
                    </a:lnTo>
                    <a:lnTo>
                      <a:pt x="179" y="219"/>
                    </a:lnTo>
                    <a:lnTo>
                      <a:pt x="177" y="217"/>
                    </a:lnTo>
                    <a:lnTo>
                      <a:pt x="177" y="219"/>
                    </a:lnTo>
                    <a:lnTo>
                      <a:pt x="175" y="219"/>
                    </a:lnTo>
                    <a:lnTo>
                      <a:pt x="175" y="217"/>
                    </a:lnTo>
                    <a:lnTo>
                      <a:pt x="173" y="219"/>
                    </a:lnTo>
                    <a:lnTo>
                      <a:pt x="171" y="219"/>
                    </a:lnTo>
                    <a:lnTo>
                      <a:pt x="169" y="219"/>
                    </a:lnTo>
                    <a:lnTo>
                      <a:pt x="167" y="221"/>
                    </a:lnTo>
                    <a:lnTo>
                      <a:pt x="167" y="219"/>
                    </a:lnTo>
                    <a:lnTo>
                      <a:pt x="167" y="217"/>
                    </a:lnTo>
                    <a:lnTo>
                      <a:pt x="165" y="217"/>
                    </a:lnTo>
                    <a:lnTo>
                      <a:pt x="163" y="217"/>
                    </a:lnTo>
                    <a:lnTo>
                      <a:pt x="161" y="219"/>
                    </a:lnTo>
                    <a:lnTo>
                      <a:pt x="159" y="221"/>
                    </a:lnTo>
                    <a:lnTo>
                      <a:pt x="161" y="221"/>
                    </a:lnTo>
                    <a:lnTo>
                      <a:pt x="161" y="223"/>
                    </a:lnTo>
                    <a:lnTo>
                      <a:pt x="159" y="225"/>
                    </a:lnTo>
                    <a:lnTo>
                      <a:pt x="159" y="223"/>
                    </a:lnTo>
                    <a:lnTo>
                      <a:pt x="159" y="225"/>
                    </a:lnTo>
                    <a:lnTo>
                      <a:pt x="157" y="227"/>
                    </a:lnTo>
                    <a:lnTo>
                      <a:pt x="157" y="225"/>
                    </a:lnTo>
                    <a:lnTo>
                      <a:pt x="156" y="227"/>
                    </a:lnTo>
                    <a:lnTo>
                      <a:pt x="156" y="229"/>
                    </a:lnTo>
                    <a:lnTo>
                      <a:pt x="156" y="231"/>
                    </a:lnTo>
                    <a:lnTo>
                      <a:pt x="156" y="233"/>
                    </a:lnTo>
                    <a:lnTo>
                      <a:pt x="154" y="231"/>
                    </a:lnTo>
                    <a:lnTo>
                      <a:pt x="154" y="233"/>
                    </a:lnTo>
                    <a:lnTo>
                      <a:pt x="152" y="233"/>
                    </a:lnTo>
                    <a:lnTo>
                      <a:pt x="152" y="235"/>
                    </a:lnTo>
                    <a:lnTo>
                      <a:pt x="150" y="235"/>
                    </a:lnTo>
                    <a:lnTo>
                      <a:pt x="148" y="235"/>
                    </a:lnTo>
                    <a:lnTo>
                      <a:pt x="146" y="235"/>
                    </a:lnTo>
                    <a:lnTo>
                      <a:pt x="146" y="236"/>
                    </a:lnTo>
                    <a:lnTo>
                      <a:pt x="146" y="235"/>
                    </a:lnTo>
                    <a:lnTo>
                      <a:pt x="144" y="235"/>
                    </a:lnTo>
                    <a:lnTo>
                      <a:pt x="144" y="236"/>
                    </a:lnTo>
                    <a:lnTo>
                      <a:pt x="144" y="235"/>
                    </a:lnTo>
                    <a:lnTo>
                      <a:pt x="142" y="235"/>
                    </a:lnTo>
                    <a:lnTo>
                      <a:pt x="142" y="233"/>
                    </a:lnTo>
                    <a:lnTo>
                      <a:pt x="140" y="235"/>
                    </a:lnTo>
                    <a:lnTo>
                      <a:pt x="140" y="233"/>
                    </a:lnTo>
                    <a:lnTo>
                      <a:pt x="138" y="233"/>
                    </a:lnTo>
                    <a:lnTo>
                      <a:pt x="138" y="231"/>
                    </a:lnTo>
                    <a:lnTo>
                      <a:pt x="136" y="231"/>
                    </a:lnTo>
                    <a:lnTo>
                      <a:pt x="136" y="229"/>
                    </a:lnTo>
                    <a:lnTo>
                      <a:pt x="134" y="229"/>
                    </a:lnTo>
                    <a:lnTo>
                      <a:pt x="134" y="231"/>
                    </a:lnTo>
                    <a:lnTo>
                      <a:pt x="134" y="229"/>
                    </a:lnTo>
                    <a:lnTo>
                      <a:pt x="132" y="229"/>
                    </a:lnTo>
                    <a:lnTo>
                      <a:pt x="131" y="229"/>
                    </a:lnTo>
                    <a:lnTo>
                      <a:pt x="131" y="231"/>
                    </a:lnTo>
                    <a:lnTo>
                      <a:pt x="129" y="231"/>
                    </a:lnTo>
                    <a:lnTo>
                      <a:pt x="129" y="229"/>
                    </a:lnTo>
                    <a:lnTo>
                      <a:pt x="129" y="231"/>
                    </a:lnTo>
                    <a:lnTo>
                      <a:pt x="129" y="229"/>
                    </a:lnTo>
                    <a:lnTo>
                      <a:pt x="127" y="229"/>
                    </a:lnTo>
                    <a:lnTo>
                      <a:pt x="127" y="227"/>
                    </a:lnTo>
                    <a:lnTo>
                      <a:pt x="125" y="227"/>
                    </a:lnTo>
                    <a:lnTo>
                      <a:pt x="123" y="225"/>
                    </a:lnTo>
                    <a:lnTo>
                      <a:pt x="121" y="225"/>
                    </a:lnTo>
                    <a:lnTo>
                      <a:pt x="123" y="223"/>
                    </a:lnTo>
                    <a:lnTo>
                      <a:pt x="121" y="221"/>
                    </a:lnTo>
                    <a:lnTo>
                      <a:pt x="121" y="219"/>
                    </a:lnTo>
                    <a:lnTo>
                      <a:pt x="123" y="219"/>
                    </a:lnTo>
                    <a:lnTo>
                      <a:pt x="123" y="217"/>
                    </a:lnTo>
                    <a:lnTo>
                      <a:pt x="121" y="217"/>
                    </a:lnTo>
                    <a:lnTo>
                      <a:pt x="123" y="215"/>
                    </a:lnTo>
                    <a:lnTo>
                      <a:pt x="123" y="213"/>
                    </a:lnTo>
                    <a:lnTo>
                      <a:pt x="123" y="211"/>
                    </a:lnTo>
                    <a:lnTo>
                      <a:pt x="125" y="211"/>
                    </a:lnTo>
                    <a:lnTo>
                      <a:pt x="123" y="211"/>
                    </a:lnTo>
                    <a:lnTo>
                      <a:pt x="123" y="210"/>
                    </a:lnTo>
                    <a:lnTo>
                      <a:pt x="123" y="211"/>
                    </a:lnTo>
                    <a:lnTo>
                      <a:pt x="123" y="210"/>
                    </a:lnTo>
                    <a:lnTo>
                      <a:pt x="123" y="208"/>
                    </a:lnTo>
                    <a:lnTo>
                      <a:pt x="121" y="208"/>
                    </a:lnTo>
                    <a:lnTo>
                      <a:pt x="121" y="206"/>
                    </a:lnTo>
                    <a:lnTo>
                      <a:pt x="121" y="204"/>
                    </a:lnTo>
                    <a:lnTo>
                      <a:pt x="121" y="202"/>
                    </a:lnTo>
                    <a:lnTo>
                      <a:pt x="119" y="202"/>
                    </a:lnTo>
                    <a:lnTo>
                      <a:pt x="119" y="200"/>
                    </a:lnTo>
                    <a:lnTo>
                      <a:pt x="119" y="198"/>
                    </a:lnTo>
                    <a:lnTo>
                      <a:pt x="119" y="196"/>
                    </a:lnTo>
                    <a:lnTo>
                      <a:pt x="119" y="194"/>
                    </a:lnTo>
                    <a:lnTo>
                      <a:pt x="119" y="196"/>
                    </a:lnTo>
                    <a:lnTo>
                      <a:pt x="117" y="196"/>
                    </a:lnTo>
                    <a:lnTo>
                      <a:pt x="115" y="194"/>
                    </a:lnTo>
                    <a:lnTo>
                      <a:pt x="115" y="192"/>
                    </a:lnTo>
                    <a:lnTo>
                      <a:pt x="113" y="192"/>
                    </a:lnTo>
                    <a:lnTo>
                      <a:pt x="113" y="190"/>
                    </a:lnTo>
                    <a:lnTo>
                      <a:pt x="113" y="188"/>
                    </a:lnTo>
                    <a:lnTo>
                      <a:pt x="111" y="188"/>
                    </a:lnTo>
                    <a:lnTo>
                      <a:pt x="109" y="188"/>
                    </a:lnTo>
                    <a:lnTo>
                      <a:pt x="109" y="190"/>
                    </a:lnTo>
                    <a:lnTo>
                      <a:pt x="109" y="188"/>
                    </a:lnTo>
                    <a:lnTo>
                      <a:pt x="109" y="186"/>
                    </a:lnTo>
                    <a:lnTo>
                      <a:pt x="108" y="186"/>
                    </a:lnTo>
                    <a:lnTo>
                      <a:pt x="109" y="186"/>
                    </a:lnTo>
                    <a:lnTo>
                      <a:pt x="108" y="186"/>
                    </a:lnTo>
                    <a:lnTo>
                      <a:pt x="108" y="185"/>
                    </a:lnTo>
                    <a:lnTo>
                      <a:pt x="106" y="185"/>
                    </a:lnTo>
                    <a:lnTo>
                      <a:pt x="104" y="183"/>
                    </a:lnTo>
                    <a:lnTo>
                      <a:pt x="106" y="183"/>
                    </a:lnTo>
                    <a:lnTo>
                      <a:pt x="104" y="183"/>
                    </a:lnTo>
                    <a:lnTo>
                      <a:pt x="102" y="183"/>
                    </a:lnTo>
                    <a:lnTo>
                      <a:pt x="102" y="185"/>
                    </a:lnTo>
                    <a:lnTo>
                      <a:pt x="102" y="186"/>
                    </a:lnTo>
                    <a:lnTo>
                      <a:pt x="102" y="188"/>
                    </a:lnTo>
                    <a:lnTo>
                      <a:pt x="100" y="188"/>
                    </a:lnTo>
                    <a:lnTo>
                      <a:pt x="100" y="190"/>
                    </a:lnTo>
                    <a:lnTo>
                      <a:pt x="100" y="188"/>
                    </a:lnTo>
                    <a:lnTo>
                      <a:pt x="98" y="188"/>
                    </a:lnTo>
                    <a:lnTo>
                      <a:pt x="98" y="190"/>
                    </a:lnTo>
                    <a:lnTo>
                      <a:pt x="98" y="188"/>
                    </a:lnTo>
                    <a:lnTo>
                      <a:pt x="98" y="190"/>
                    </a:lnTo>
                    <a:lnTo>
                      <a:pt x="98" y="188"/>
                    </a:lnTo>
                    <a:lnTo>
                      <a:pt x="98" y="190"/>
                    </a:lnTo>
                    <a:lnTo>
                      <a:pt x="96" y="190"/>
                    </a:lnTo>
                    <a:lnTo>
                      <a:pt x="96" y="194"/>
                    </a:lnTo>
                    <a:lnTo>
                      <a:pt x="94" y="192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90" y="188"/>
                    </a:lnTo>
                    <a:lnTo>
                      <a:pt x="90" y="186"/>
                    </a:lnTo>
                    <a:lnTo>
                      <a:pt x="92" y="188"/>
                    </a:lnTo>
                    <a:lnTo>
                      <a:pt x="92" y="186"/>
                    </a:lnTo>
                    <a:lnTo>
                      <a:pt x="92" y="185"/>
                    </a:lnTo>
                    <a:lnTo>
                      <a:pt x="92" y="186"/>
                    </a:lnTo>
                    <a:lnTo>
                      <a:pt x="90" y="186"/>
                    </a:lnTo>
                    <a:lnTo>
                      <a:pt x="90" y="188"/>
                    </a:lnTo>
                    <a:lnTo>
                      <a:pt x="88" y="190"/>
                    </a:lnTo>
                    <a:lnTo>
                      <a:pt x="88" y="188"/>
                    </a:lnTo>
                    <a:lnTo>
                      <a:pt x="90" y="188"/>
                    </a:lnTo>
                    <a:lnTo>
                      <a:pt x="88" y="188"/>
                    </a:lnTo>
                    <a:lnTo>
                      <a:pt x="88" y="186"/>
                    </a:lnTo>
                    <a:lnTo>
                      <a:pt x="88" y="185"/>
                    </a:lnTo>
                    <a:lnTo>
                      <a:pt x="86" y="185"/>
                    </a:lnTo>
                    <a:lnTo>
                      <a:pt x="86" y="186"/>
                    </a:lnTo>
                    <a:lnTo>
                      <a:pt x="84" y="186"/>
                    </a:lnTo>
                    <a:lnTo>
                      <a:pt x="84" y="188"/>
                    </a:lnTo>
                    <a:lnTo>
                      <a:pt x="84" y="186"/>
                    </a:lnTo>
                    <a:lnTo>
                      <a:pt x="83" y="188"/>
                    </a:lnTo>
                    <a:lnTo>
                      <a:pt x="73" y="179"/>
                    </a:lnTo>
                    <a:lnTo>
                      <a:pt x="71" y="179"/>
                    </a:lnTo>
                    <a:lnTo>
                      <a:pt x="69" y="179"/>
                    </a:lnTo>
                    <a:lnTo>
                      <a:pt x="69" y="181"/>
                    </a:lnTo>
                    <a:lnTo>
                      <a:pt x="71" y="181"/>
                    </a:lnTo>
                    <a:lnTo>
                      <a:pt x="69" y="181"/>
                    </a:lnTo>
                    <a:lnTo>
                      <a:pt x="67" y="181"/>
                    </a:lnTo>
                    <a:lnTo>
                      <a:pt x="65" y="183"/>
                    </a:lnTo>
                    <a:lnTo>
                      <a:pt x="63" y="183"/>
                    </a:lnTo>
                    <a:lnTo>
                      <a:pt x="63" y="181"/>
                    </a:lnTo>
                    <a:lnTo>
                      <a:pt x="61" y="181"/>
                    </a:lnTo>
                    <a:lnTo>
                      <a:pt x="61" y="179"/>
                    </a:lnTo>
                    <a:lnTo>
                      <a:pt x="59" y="179"/>
                    </a:lnTo>
                    <a:lnTo>
                      <a:pt x="58" y="181"/>
                    </a:lnTo>
                    <a:lnTo>
                      <a:pt x="58" y="183"/>
                    </a:lnTo>
                    <a:lnTo>
                      <a:pt x="58" y="185"/>
                    </a:lnTo>
                    <a:lnTo>
                      <a:pt x="58" y="186"/>
                    </a:lnTo>
                    <a:lnTo>
                      <a:pt x="56" y="186"/>
                    </a:lnTo>
                    <a:lnTo>
                      <a:pt x="54" y="186"/>
                    </a:lnTo>
                    <a:lnTo>
                      <a:pt x="52" y="186"/>
                    </a:lnTo>
                    <a:lnTo>
                      <a:pt x="52" y="183"/>
                    </a:lnTo>
                    <a:lnTo>
                      <a:pt x="52" y="181"/>
                    </a:lnTo>
                    <a:lnTo>
                      <a:pt x="52" y="179"/>
                    </a:lnTo>
                    <a:lnTo>
                      <a:pt x="50" y="177"/>
                    </a:lnTo>
                    <a:lnTo>
                      <a:pt x="50" y="175"/>
                    </a:lnTo>
                    <a:lnTo>
                      <a:pt x="52" y="173"/>
                    </a:lnTo>
                    <a:lnTo>
                      <a:pt x="52" y="171"/>
                    </a:lnTo>
                    <a:lnTo>
                      <a:pt x="50" y="171"/>
                    </a:lnTo>
                    <a:lnTo>
                      <a:pt x="50" y="169"/>
                    </a:lnTo>
                    <a:lnTo>
                      <a:pt x="52" y="167"/>
                    </a:lnTo>
                    <a:lnTo>
                      <a:pt x="52" y="165"/>
                    </a:lnTo>
                    <a:lnTo>
                      <a:pt x="52" y="161"/>
                    </a:lnTo>
                    <a:lnTo>
                      <a:pt x="54" y="160"/>
                    </a:lnTo>
                    <a:lnTo>
                      <a:pt x="54" y="158"/>
                    </a:lnTo>
                    <a:lnTo>
                      <a:pt x="52" y="158"/>
                    </a:lnTo>
                    <a:lnTo>
                      <a:pt x="52" y="156"/>
                    </a:lnTo>
                    <a:lnTo>
                      <a:pt x="54" y="156"/>
                    </a:lnTo>
                    <a:lnTo>
                      <a:pt x="52" y="156"/>
                    </a:lnTo>
                    <a:lnTo>
                      <a:pt x="52" y="154"/>
                    </a:lnTo>
                    <a:lnTo>
                      <a:pt x="52" y="156"/>
                    </a:lnTo>
                    <a:lnTo>
                      <a:pt x="50" y="156"/>
                    </a:lnTo>
                    <a:lnTo>
                      <a:pt x="48" y="154"/>
                    </a:lnTo>
                    <a:lnTo>
                      <a:pt x="46" y="154"/>
                    </a:lnTo>
                    <a:lnTo>
                      <a:pt x="48" y="154"/>
                    </a:lnTo>
                    <a:lnTo>
                      <a:pt x="46" y="152"/>
                    </a:lnTo>
                    <a:lnTo>
                      <a:pt x="44" y="154"/>
                    </a:lnTo>
                    <a:lnTo>
                      <a:pt x="42" y="152"/>
                    </a:lnTo>
                    <a:lnTo>
                      <a:pt x="42" y="154"/>
                    </a:lnTo>
                    <a:lnTo>
                      <a:pt x="40" y="154"/>
                    </a:lnTo>
                    <a:lnTo>
                      <a:pt x="42" y="156"/>
                    </a:lnTo>
                    <a:lnTo>
                      <a:pt x="42" y="158"/>
                    </a:lnTo>
                    <a:lnTo>
                      <a:pt x="40" y="158"/>
                    </a:lnTo>
                    <a:lnTo>
                      <a:pt x="38" y="158"/>
                    </a:lnTo>
                    <a:lnTo>
                      <a:pt x="36" y="156"/>
                    </a:lnTo>
                    <a:lnTo>
                      <a:pt x="36" y="158"/>
                    </a:lnTo>
                    <a:lnTo>
                      <a:pt x="36" y="156"/>
                    </a:lnTo>
                    <a:lnTo>
                      <a:pt x="34" y="158"/>
                    </a:lnTo>
                    <a:lnTo>
                      <a:pt x="33" y="158"/>
                    </a:lnTo>
                    <a:lnTo>
                      <a:pt x="33" y="160"/>
                    </a:lnTo>
                    <a:lnTo>
                      <a:pt x="31" y="160"/>
                    </a:lnTo>
                    <a:lnTo>
                      <a:pt x="33" y="161"/>
                    </a:lnTo>
                    <a:lnTo>
                      <a:pt x="31" y="161"/>
                    </a:lnTo>
                    <a:lnTo>
                      <a:pt x="31" y="160"/>
                    </a:lnTo>
                    <a:lnTo>
                      <a:pt x="31" y="161"/>
                    </a:lnTo>
                    <a:lnTo>
                      <a:pt x="29" y="160"/>
                    </a:lnTo>
                    <a:lnTo>
                      <a:pt x="27" y="160"/>
                    </a:lnTo>
                    <a:lnTo>
                      <a:pt x="27" y="161"/>
                    </a:lnTo>
                    <a:lnTo>
                      <a:pt x="27" y="163"/>
                    </a:lnTo>
                    <a:lnTo>
                      <a:pt x="25" y="163"/>
                    </a:lnTo>
                    <a:lnTo>
                      <a:pt x="23" y="163"/>
                    </a:lnTo>
                    <a:lnTo>
                      <a:pt x="25" y="163"/>
                    </a:lnTo>
                    <a:lnTo>
                      <a:pt x="23" y="163"/>
                    </a:lnTo>
                    <a:lnTo>
                      <a:pt x="21" y="161"/>
                    </a:lnTo>
                    <a:lnTo>
                      <a:pt x="21" y="163"/>
                    </a:lnTo>
                    <a:lnTo>
                      <a:pt x="19" y="163"/>
                    </a:lnTo>
                    <a:lnTo>
                      <a:pt x="19" y="161"/>
                    </a:lnTo>
                    <a:lnTo>
                      <a:pt x="19" y="160"/>
                    </a:lnTo>
                    <a:lnTo>
                      <a:pt x="17" y="160"/>
                    </a:lnTo>
                    <a:lnTo>
                      <a:pt x="15" y="160"/>
                    </a:lnTo>
                    <a:lnTo>
                      <a:pt x="15" y="158"/>
                    </a:lnTo>
                    <a:lnTo>
                      <a:pt x="17" y="158"/>
                    </a:lnTo>
                    <a:lnTo>
                      <a:pt x="15" y="158"/>
                    </a:lnTo>
                    <a:lnTo>
                      <a:pt x="17" y="156"/>
                    </a:lnTo>
                    <a:lnTo>
                      <a:pt x="17" y="158"/>
                    </a:lnTo>
                    <a:lnTo>
                      <a:pt x="19" y="156"/>
                    </a:lnTo>
                    <a:lnTo>
                      <a:pt x="21" y="154"/>
                    </a:lnTo>
                    <a:lnTo>
                      <a:pt x="19" y="154"/>
                    </a:lnTo>
                    <a:lnTo>
                      <a:pt x="21" y="154"/>
                    </a:lnTo>
                    <a:lnTo>
                      <a:pt x="19" y="152"/>
                    </a:lnTo>
                    <a:lnTo>
                      <a:pt x="19" y="150"/>
                    </a:lnTo>
                    <a:lnTo>
                      <a:pt x="21" y="150"/>
                    </a:lnTo>
                    <a:lnTo>
                      <a:pt x="21" y="148"/>
                    </a:lnTo>
                    <a:lnTo>
                      <a:pt x="21" y="146"/>
                    </a:lnTo>
                    <a:lnTo>
                      <a:pt x="21" y="144"/>
                    </a:lnTo>
                    <a:lnTo>
                      <a:pt x="21" y="146"/>
                    </a:lnTo>
                    <a:lnTo>
                      <a:pt x="21" y="144"/>
                    </a:lnTo>
                    <a:lnTo>
                      <a:pt x="19" y="144"/>
                    </a:lnTo>
                    <a:lnTo>
                      <a:pt x="19" y="142"/>
                    </a:lnTo>
                    <a:lnTo>
                      <a:pt x="17" y="142"/>
                    </a:lnTo>
                    <a:lnTo>
                      <a:pt x="19" y="142"/>
                    </a:lnTo>
                    <a:lnTo>
                      <a:pt x="19" y="140"/>
                    </a:lnTo>
                    <a:lnTo>
                      <a:pt x="17" y="140"/>
                    </a:lnTo>
                    <a:lnTo>
                      <a:pt x="17" y="138"/>
                    </a:lnTo>
                    <a:lnTo>
                      <a:pt x="15" y="138"/>
                    </a:lnTo>
                    <a:lnTo>
                      <a:pt x="15" y="137"/>
                    </a:lnTo>
                    <a:lnTo>
                      <a:pt x="17" y="135"/>
                    </a:lnTo>
                    <a:lnTo>
                      <a:pt x="17" y="137"/>
                    </a:lnTo>
                    <a:lnTo>
                      <a:pt x="19" y="137"/>
                    </a:lnTo>
                    <a:lnTo>
                      <a:pt x="17" y="137"/>
                    </a:lnTo>
                    <a:lnTo>
                      <a:pt x="17" y="135"/>
                    </a:lnTo>
                    <a:lnTo>
                      <a:pt x="17" y="133"/>
                    </a:lnTo>
                    <a:lnTo>
                      <a:pt x="17" y="131"/>
                    </a:lnTo>
                    <a:lnTo>
                      <a:pt x="15" y="133"/>
                    </a:lnTo>
                    <a:lnTo>
                      <a:pt x="17" y="133"/>
                    </a:lnTo>
                    <a:lnTo>
                      <a:pt x="15" y="135"/>
                    </a:lnTo>
                    <a:lnTo>
                      <a:pt x="13" y="133"/>
                    </a:lnTo>
                    <a:lnTo>
                      <a:pt x="11" y="133"/>
                    </a:lnTo>
                    <a:lnTo>
                      <a:pt x="13" y="131"/>
                    </a:lnTo>
                    <a:lnTo>
                      <a:pt x="11" y="131"/>
                    </a:lnTo>
                    <a:lnTo>
                      <a:pt x="13" y="129"/>
                    </a:lnTo>
                    <a:lnTo>
                      <a:pt x="11" y="129"/>
                    </a:lnTo>
                    <a:lnTo>
                      <a:pt x="11" y="127"/>
                    </a:lnTo>
                    <a:lnTo>
                      <a:pt x="10" y="127"/>
                    </a:lnTo>
                    <a:lnTo>
                      <a:pt x="8" y="127"/>
                    </a:lnTo>
                    <a:lnTo>
                      <a:pt x="8" y="125"/>
                    </a:lnTo>
                    <a:lnTo>
                      <a:pt x="8" y="127"/>
                    </a:lnTo>
                    <a:lnTo>
                      <a:pt x="6" y="127"/>
                    </a:lnTo>
                    <a:lnTo>
                      <a:pt x="4" y="127"/>
                    </a:lnTo>
                    <a:lnTo>
                      <a:pt x="4" y="129"/>
                    </a:lnTo>
                    <a:lnTo>
                      <a:pt x="2" y="129"/>
                    </a:lnTo>
                    <a:lnTo>
                      <a:pt x="4" y="127"/>
                    </a:lnTo>
                    <a:lnTo>
                      <a:pt x="2" y="127"/>
                    </a:lnTo>
                    <a:lnTo>
                      <a:pt x="4" y="127"/>
                    </a:lnTo>
                    <a:lnTo>
                      <a:pt x="2" y="127"/>
                    </a:lnTo>
                    <a:lnTo>
                      <a:pt x="4" y="125"/>
                    </a:lnTo>
                    <a:lnTo>
                      <a:pt x="2" y="125"/>
                    </a:lnTo>
                    <a:lnTo>
                      <a:pt x="4" y="125"/>
                    </a:lnTo>
                    <a:lnTo>
                      <a:pt x="4" y="123"/>
                    </a:lnTo>
                    <a:lnTo>
                      <a:pt x="4" y="125"/>
                    </a:lnTo>
                    <a:lnTo>
                      <a:pt x="4" y="123"/>
                    </a:lnTo>
                    <a:lnTo>
                      <a:pt x="2" y="125"/>
                    </a:lnTo>
                    <a:lnTo>
                      <a:pt x="2" y="123"/>
                    </a:lnTo>
                    <a:lnTo>
                      <a:pt x="2" y="121"/>
                    </a:lnTo>
                    <a:lnTo>
                      <a:pt x="4" y="121"/>
                    </a:lnTo>
                    <a:lnTo>
                      <a:pt x="4" y="119"/>
                    </a:lnTo>
                    <a:lnTo>
                      <a:pt x="6" y="119"/>
                    </a:lnTo>
                    <a:lnTo>
                      <a:pt x="8" y="119"/>
                    </a:lnTo>
                    <a:lnTo>
                      <a:pt x="6" y="119"/>
                    </a:lnTo>
                    <a:lnTo>
                      <a:pt x="6" y="117"/>
                    </a:lnTo>
                    <a:lnTo>
                      <a:pt x="8" y="117"/>
                    </a:lnTo>
                    <a:lnTo>
                      <a:pt x="6" y="117"/>
                    </a:lnTo>
                    <a:lnTo>
                      <a:pt x="6" y="115"/>
                    </a:lnTo>
                    <a:lnTo>
                      <a:pt x="6" y="117"/>
                    </a:lnTo>
                    <a:lnTo>
                      <a:pt x="4" y="117"/>
                    </a:lnTo>
                    <a:lnTo>
                      <a:pt x="2" y="115"/>
                    </a:lnTo>
                    <a:lnTo>
                      <a:pt x="4" y="115"/>
                    </a:lnTo>
                    <a:lnTo>
                      <a:pt x="4" y="113"/>
                    </a:lnTo>
                    <a:lnTo>
                      <a:pt x="2" y="113"/>
                    </a:lnTo>
                    <a:lnTo>
                      <a:pt x="2" y="112"/>
                    </a:lnTo>
                    <a:lnTo>
                      <a:pt x="2" y="110"/>
                    </a:lnTo>
                    <a:lnTo>
                      <a:pt x="0" y="110"/>
                    </a:lnTo>
                    <a:lnTo>
                      <a:pt x="0" y="108"/>
                    </a:lnTo>
                    <a:lnTo>
                      <a:pt x="2" y="108"/>
                    </a:lnTo>
                    <a:lnTo>
                      <a:pt x="4" y="108"/>
                    </a:lnTo>
                    <a:lnTo>
                      <a:pt x="4" y="106"/>
                    </a:lnTo>
                    <a:lnTo>
                      <a:pt x="2" y="104"/>
                    </a:lnTo>
                    <a:lnTo>
                      <a:pt x="0" y="102"/>
                    </a:lnTo>
                    <a:lnTo>
                      <a:pt x="2" y="102"/>
                    </a:lnTo>
                    <a:lnTo>
                      <a:pt x="4" y="100"/>
                    </a:lnTo>
                    <a:lnTo>
                      <a:pt x="6" y="100"/>
                    </a:lnTo>
                    <a:lnTo>
                      <a:pt x="6" y="102"/>
                    </a:lnTo>
                    <a:lnTo>
                      <a:pt x="6" y="100"/>
                    </a:lnTo>
                    <a:lnTo>
                      <a:pt x="8" y="98"/>
                    </a:lnTo>
                    <a:lnTo>
                      <a:pt x="10" y="98"/>
                    </a:lnTo>
                    <a:lnTo>
                      <a:pt x="10" y="96"/>
                    </a:lnTo>
                    <a:lnTo>
                      <a:pt x="10" y="98"/>
                    </a:lnTo>
                    <a:lnTo>
                      <a:pt x="11" y="98"/>
                    </a:lnTo>
                    <a:lnTo>
                      <a:pt x="13" y="98"/>
                    </a:lnTo>
                    <a:lnTo>
                      <a:pt x="15" y="98"/>
                    </a:lnTo>
                    <a:lnTo>
                      <a:pt x="17" y="98"/>
                    </a:lnTo>
                    <a:lnTo>
                      <a:pt x="17" y="100"/>
                    </a:lnTo>
                    <a:lnTo>
                      <a:pt x="19" y="100"/>
                    </a:lnTo>
                    <a:lnTo>
                      <a:pt x="21" y="98"/>
                    </a:lnTo>
                    <a:lnTo>
                      <a:pt x="23" y="100"/>
                    </a:lnTo>
                    <a:lnTo>
                      <a:pt x="25" y="100"/>
                    </a:lnTo>
                    <a:lnTo>
                      <a:pt x="27" y="100"/>
                    </a:lnTo>
                    <a:lnTo>
                      <a:pt x="25" y="100"/>
                    </a:lnTo>
                    <a:lnTo>
                      <a:pt x="25" y="98"/>
                    </a:lnTo>
                    <a:lnTo>
                      <a:pt x="25" y="96"/>
                    </a:lnTo>
                    <a:lnTo>
                      <a:pt x="27" y="96"/>
                    </a:lnTo>
                    <a:lnTo>
                      <a:pt x="29" y="96"/>
                    </a:lnTo>
                    <a:lnTo>
                      <a:pt x="31" y="96"/>
                    </a:lnTo>
                    <a:lnTo>
                      <a:pt x="33" y="96"/>
                    </a:lnTo>
                    <a:lnTo>
                      <a:pt x="31" y="96"/>
                    </a:lnTo>
                    <a:lnTo>
                      <a:pt x="33" y="96"/>
                    </a:lnTo>
                    <a:lnTo>
                      <a:pt x="33" y="94"/>
                    </a:lnTo>
                    <a:lnTo>
                      <a:pt x="31" y="96"/>
                    </a:lnTo>
                    <a:lnTo>
                      <a:pt x="31" y="94"/>
                    </a:lnTo>
                    <a:lnTo>
                      <a:pt x="33" y="94"/>
                    </a:lnTo>
                    <a:lnTo>
                      <a:pt x="33" y="90"/>
                    </a:lnTo>
                    <a:lnTo>
                      <a:pt x="31" y="90"/>
                    </a:lnTo>
                    <a:lnTo>
                      <a:pt x="31" y="88"/>
                    </a:lnTo>
                    <a:lnTo>
                      <a:pt x="33" y="88"/>
                    </a:lnTo>
                    <a:lnTo>
                      <a:pt x="36" y="92"/>
                    </a:lnTo>
                    <a:lnTo>
                      <a:pt x="36" y="90"/>
                    </a:lnTo>
                    <a:lnTo>
                      <a:pt x="36" y="88"/>
                    </a:lnTo>
                    <a:lnTo>
                      <a:pt x="36" y="90"/>
                    </a:lnTo>
                    <a:lnTo>
                      <a:pt x="38" y="90"/>
                    </a:lnTo>
                    <a:lnTo>
                      <a:pt x="38" y="88"/>
                    </a:lnTo>
                    <a:lnTo>
                      <a:pt x="40" y="87"/>
                    </a:lnTo>
                    <a:lnTo>
                      <a:pt x="42" y="85"/>
                    </a:lnTo>
                    <a:lnTo>
                      <a:pt x="44" y="88"/>
                    </a:lnTo>
                    <a:lnTo>
                      <a:pt x="46" y="85"/>
                    </a:lnTo>
                    <a:lnTo>
                      <a:pt x="46" y="83"/>
                    </a:lnTo>
                    <a:lnTo>
                      <a:pt x="48" y="83"/>
                    </a:lnTo>
                    <a:lnTo>
                      <a:pt x="46" y="83"/>
                    </a:lnTo>
                    <a:lnTo>
                      <a:pt x="46" y="81"/>
                    </a:lnTo>
                    <a:lnTo>
                      <a:pt x="44" y="81"/>
                    </a:lnTo>
                    <a:lnTo>
                      <a:pt x="42" y="79"/>
                    </a:lnTo>
                    <a:lnTo>
                      <a:pt x="42" y="77"/>
                    </a:lnTo>
                    <a:lnTo>
                      <a:pt x="48" y="69"/>
                    </a:lnTo>
                    <a:lnTo>
                      <a:pt x="50" y="67"/>
                    </a:lnTo>
                    <a:lnTo>
                      <a:pt x="52" y="67"/>
                    </a:lnTo>
                    <a:lnTo>
                      <a:pt x="52" y="69"/>
                    </a:lnTo>
                    <a:lnTo>
                      <a:pt x="54" y="65"/>
                    </a:lnTo>
                    <a:lnTo>
                      <a:pt x="52" y="63"/>
                    </a:lnTo>
                    <a:lnTo>
                      <a:pt x="50" y="63"/>
                    </a:lnTo>
                    <a:lnTo>
                      <a:pt x="50" y="62"/>
                    </a:lnTo>
                    <a:lnTo>
                      <a:pt x="50" y="60"/>
                    </a:lnTo>
                    <a:lnTo>
                      <a:pt x="48" y="60"/>
                    </a:lnTo>
                    <a:lnTo>
                      <a:pt x="46" y="58"/>
                    </a:lnTo>
                    <a:lnTo>
                      <a:pt x="48" y="58"/>
                    </a:lnTo>
                    <a:lnTo>
                      <a:pt x="48" y="56"/>
                    </a:lnTo>
                    <a:lnTo>
                      <a:pt x="50" y="56"/>
                    </a:lnTo>
                    <a:lnTo>
                      <a:pt x="52" y="56"/>
                    </a:lnTo>
                    <a:lnTo>
                      <a:pt x="52" y="54"/>
                    </a:lnTo>
                    <a:lnTo>
                      <a:pt x="52" y="52"/>
                    </a:lnTo>
                    <a:lnTo>
                      <a:pt x="54" y="50"/>
                    </a:lnTo>
                    <a:lnTo>
                      <a:pt x="56" y="50"/>
                    </a:lnTo>
                    <a:lnTo>
                      <a:pt x="56" y="48"/>
                    </a:lnTo>
                    <a:lnTo>
                      <a:pt x="56" y="46"/>
                    </a:lnTo>
                    <a:lnTo>
                      <a:pt x="58" y="46"/>
                    </a:lnTo>
                    <a:lnTo>
                      <a:pt x="58" y="44"/>
                    </a:lnTo>
                    <a:lnTo>
                      <a:pt x="59" y="44"/>
                    </a:lnTo>
                    <a:lnTo>
                      <a:pt x="61" y="44"/>
                    </a:lnTo>
                    <a:lnTo>
                      <a:pt x="61" y="42"/>
                    </a:lnTo>
                    <a:lnTo>
                      <a:pt x="63" y="42"/>
                    </a:lnTo>
                    <a:lnTo>
                      <a:pt x="63" y="40"/>
                    </a:lnTo>
                    <a:lnTo>
                      <a:pt x="65" y="40"/>
                    </a:lnTo>
                    <a:lnTo>
                      <a:pt x="73" y="29"/>
                    </a:lnTo>
                    <a:lnTo>
                      <a:pt x="73" y="27"/>
                    </a:lnTo>
                    <a:lnTo>
                      <a:pt x="75" y="27"/>
                    </a:lnTo>
                    <a:lnTo>
                      <a:pt x="75" y="25"/>
                    </a:lnTo>
                    <a:lnTo>
                      <a:pt x="75" y="23"/>
                    </a:lnTo>
                    <a:lnTo>
                      <a:pt x="75" y="21"/>
                    </a:lnTo>
                    <a:lnTo>
                      <a:pt x="77" y="21"/>
                    </a:lnTo>
                    <a:lnTo>
                      <a:pt x="77" y="19"/>
                    </a:lnTo>
                    <a:lnTo>
                      <a:pt x="77" y="17"/>
                    </a:lnTo>
                    <a:lnTo>
                      <a:pt x="79" y="17"/>
                    </a:lnTo>
                    <a:lnTo>
                      <a:pt x="79" y="15"/>
                    </a:lnTo>
                    <a:lnTo>
                      <a:pt x="81" y="15"/>
                    </a:lnTo>
                    <a:lnTo>
                      <a:pt x="83" y="15"/>
                    </a:lnTo>
                    <a:lnTo>
                      <a:pt x="84" y="15"/>
                    </a:lnTo>
                    <a:lnTo>
                      <a:pt x="84" y="17"/>
                    </a:lnTo>
                    <a:lnTo>
                      <a:pt x="86" y="17"/>
                    </a:lnTo>
                    <a:lnTo>
                      <a:pt x="88" y="17"/>
                    </a:lnTo>
                    <a:lnTo>
                      <a:pt x="90" y="17"/>
                    </a:lnTo>
                    <a:lnTo>
                      <a:pt x="90" y="15"/>
                    </a:lnTo>
                    <a:lnTo>
                      <a:pt x="92" y="15"/>
                    </a:lnTo>
                    <a:lnTo>
                      <a:pt x="104" y="6"/>
                    </a:lnTo>
                    <a:lnTo>
                      <a:pt x="131" y="4"/>
                    </a:lnTo>
                    <a:lnTo>
                      <a:pt x="132" y="4"/>
                    </a:lnTo>
                    <a:lnTo>
                      <a:pt x="136" y="2"/>
                    </a:lnTo>
                    <a:lnTo>
                      <a:pt x="138" y="0"/>
                    </a:lnTo>
                    <a:lnTo>
                      <a:pt x="140" y="0"/>
                    </a:lnTo>
                    <a:lnTo>
                      <a:pt x="142" y="0"/>
                    </a:lnTo>
                    <a:lnTo>
                      <a:pt x="142" y="2"/>
                    </a:lnTo>
                    <a:lnTo>
                      <a:pt x="146" y="4"/>
                    </a:lnTo>
                    <a:lnTo>
                      <a:pt x="146" y="2"/>
                    </a:lnTo>
                    <a:lnTo>
                      <a:pt x="150" y="2"/>
                    </a:lnTo>
                    <a:lnTo>
                      <a:pt x="152" y="2"/>
                    </a:lnTo>
                    <a:lnTo>
                      <a:pt x="152" y="4"/>
                    </a:lnTo>
                    <a:lnTo>
                      <a:pt x="152" y="6"/>
                    </a:lnTo>
                    <a:lnTo>
                      <a:pt x="154" y="8"/>
                    </a:lnTo>
                    <a:lnTo>
                      <a:pt x="156" y="10"/>
                    </a:lnTo>
                    <a:lnTo>
                      <a:pt x="156" y="12"/>
                    </a:lnTo>
                    <a:lnTo>
                      <a:pt x="154" y="13"/>
                    </a:lnTo>
                    <a:lnTo>
                      <a:pt x="156" y="13"/>
                    </a:lnTo>
                    <a:lnTo>
                      <a:pt x="157" y="13"/>
                    </a:lnTo>
                    <a:lnTo>
                      <a:pt x="157" y="15"/>
                    </a:lnTo>
                    <a:lnTo>
                      <a:pt x="159" y="15"/>
                    </a:lnTo>
                    <a:lnTo>
                      <a:pt x="161" y="15"/>
                    </a:lnTo>
                    <a:lnTo>
                      <a:pt x="165" y="17"/>
                    </a:lnTo>
                    <a:lnTo>
                      <a:pt x="165" y="19"/>
                    </a:lnTo>
                    <a:lnTo>
                      <a:pt x="167" y="19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" name="Freeform 142">
                <a:extLst>
                  <a:ext uri="{FF2B5EF4-FFF2-40B4-BE49-F238E27FC236}">
                    <a16:creationId xmlns="" xmlns:a16="http://schemas.microsoft.com/office/drawing/2014/main" id="{E67A0EC1-8D65-4F04-8A52-1FADC224CF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5138" y="3844926"/>
                <a:ext cx="274638" cy="293688"/>
              </a:xfrm>
              <a:custGeom>
                <a:avLst/>
                <a:gdLst>
                  <a:gd name="T0" fmla="*/ 127 w 173"/>
                  <a:gd name="T1" fmla="*/ 50 h 185"/>
                  <a:gd name="T2" fmla="*/ 129 w 173"/>
                  <a:gd name="T3" fmla="*/ 58 h 185"/>
                  <a:gd name="T4" fmla="*/ 125 w 173"/>
                  <a:gd name="T5" fmla="*/ 65 h 185"/>
                  <a:gd name="T6" fmla="*/ 137 w 173"/>
                  <a:gd name="T7" fmla="*/ 71 h 185"/>
                  <a:gd name="T8" fmla="*/ 140 w 173"/>
                  <a:gd name="T9" fmla="*/ 71 h 185"/>
                  <a:gd name="T10" fmla="*/ 144 w 173"/>
                  <a:gd name="T11" fmla="*/ 73 h 185"/>
                  <a:gd name="T12" fmla="*/ 148 w 173"/>
                  <a:gd name="T13" fmla="*/ 83 h 185"/>
                  <a:gd name="T14" fmla="*/ 154 w 173"/>
                  <a:gd name="T15" fmla="*/ 88 h 185"/>
                  <a:gd name="T16" fmla="*/ 158 w 173"/>
                  <a:gd name="T17" fmla="*/ 92 h 185"/>
                  <a:gd name="T18" fmla="*/ 162 w 173"/>
                  <a:gd name="T19" fmla="*/ 87 h 185"/>
                  <a:gd name="T20" fmla="*/ 165 w 173"/>
                  <a:gd name="T21" fmla="*/ 94 h 185"/>
                  <a:gd name="T22" fmla="*/ 167 w 173"/>
                  <a:gd name="T23" fmla="*/ 100 h 185"/>
                  <a:gd name="T24" fmla="*/ 171 w 173"/>
                  <a:gd name="T25" fmla="*/ 112 h 185"/>
                  <a:gd name="T26" fmla="*/ 169 w 173"/>
                  <a:gd name="T27" fmla="*/ 125 h 185"/>
                  <a:gd name="T28" fmla="*/ 164 w 173"/>
                  <a:gd name="T29" fmla="*/ 127 h 185"/>
                  <a:gd name="T30" fmla="*/ 146 w 173"/>
                  <a:gd name="T31" fmla="*/ 125 h 185"/>
                  <a:gd name="T32" fmla="*/ 137 w 173"/>
                  <a:gd name="T33" fmla="*/ 115 h 185"/>
                  <a:gd name="T34" fmla="*/ 123 w 173"/>
                  <a:gd name="T35" fmla="*/ 123 h 185"/>
                  <a:gd name="T36" fmla="*/ 110 w 173"/>
                  <a:gd name="T37" fmla="*/ 125 h 185"/>
                  <a:gd name="T38" fmla="*/ 100 w 173"/>
                  <a:gd name="T39" fmla="*/ 129 h 185"/>
                  <a:gd name="T40" fmla="*/ 96 w 173"/>
                  <a:gd name="T41" fmla="*/ 148 h 185"/>
                  <a:gd name="T42" fmla="*/ 81 w 173"/>
                  <a:gd name="T43" fmla="*/ 169 h 185"/>
                  <a:gd name="T44" fmla="*/ 69 w 173"/>
                  <a:gd name="T45" fmla="*/ 173 h 185"/>
                  <a:gd name="T46" fmla="*/ 54 w 173"/>
                  <a:gd name="T47" fmla="*/ 183 h 185"/>
                  <a:gd name="T48" fmla="*/ 41 w 173"/>
                  <a:gd name="T49" fmla="*/ 183 h 185"/>
                  <a:gd name="T50" fmla="*/ 25 w 173"/>
                  <a:gd name="T51" fmla="*/ 175 h 185"/>
                  <a:gd name="T52" fmla="*/ 12 w 173"/>
                  <a:gd name="T53" fmla="*/ 171 h 185"/>
                  <a:gd name="T54" fmla="*/ 8 w 173"/>
                  <a:gd name="T55" fmla="*/ 156 h 185"/>
                  <a:gd name="T56" fmla="*/ 0 w 173"/>
                  <a:gd name="T57" fmla="*/ 146 h 185"/>
                  <a:gd name="T58" fmla="*/ 4 w 173"/>
                  <a:gd name="T59" fmla="*/ 137 h 185"/>
                  <a:gd name="T60" fmla="*/ 12 w 173"/>
                  <a:gd name="T61" fmla="*/ 131 h 185"/>
                  <a:gd name="T62" fmla="*/ 10 w 173"/>
                  <a:gd name="T63" fmla="*/ 127 h 185"/>
                  <a:gd name="T64" fmla="*/ 16 w 173"/>
                  <a:gd name="T65" fmla="*/ 115 h 185"/>
                  <a:gd name="T66" fmla="*/ 18 w 173"/>
                  <a:gd name="T67" fmla="*/ 106 h 185"/>
                  <a:gd name="T68" fmla="*/ 25 w 173"/>
                  <a:gd name="T69" fmla="*/ 102 h 185"/>
                  <a:gd name="T70" fmla="*/ 25 w 173"/>
                  <a:gd name="T71" fmla="*/ 94 h 185"/>
                  <a:gd name="T72" fmla="*/ 25 w 173"/>
                  <a:gd name="T73" fmla="*/ 88 h 185"/>
                  <a:gd name="T74" fmla="*/ 21 w 173"/>
                  <a:gd name="T75" fmla="*/ 85 h 185"/>
                  <a:gd name="T76" fmla="*/ 25 w 173"/>
                  <a:gd name="T77" fmla="*/ 75 h 185"/>
                  <a:gd name="T78" fmla="*/ 31 w 173"/>
                  <a:gd name="T79" fmla="*/ 73 h 185"/>
                  <a:gd name="T80" fmla="*/ 35 w 173"/>
                  <a:gd name="T81" fmla="*/ 65 h 185"/>
                  <a:gd name="T82" fmla="*/ 27 w 173"/>
                  <a:gd name="T83" fmla="*/ 62 h 185"/>
                  <a:gd name="T84" fmla="*/ 23 w 173"/>
                  <a:gd name="T85" fmla="*/ 54 h 185"/>
                  <a:gd name="T86" fmla="*/ 31 w 173"/>
                  <a:gd name="T87" fmla="*/ 52 h 185"/>
                  <a:gd name="T88" fmla="*/ 31 w 173"/>
                  <a:gd name="T89" fmla="*/ 42 h 185"/>
                  <a:gd name="T90" fmla="*/ 33 w 173"/>
                  <a:gd name="T91" fmla="*/ 37 h 185"/>
                  <a:gd name="T92" fmla="*/ 37 w 173"/>
                  <a:gd name="T93" fmla="*/ 29 h 185"/>
                  <a:gd name="T94" fmla="*/ 39 w 173"/>
                  <a:gd name="T95" fmla="*/ 15 h 185"/>
                  <a:gd name="T96" fmla="*/ 48 w 173"/>
                  <a:gd name="T97" fmla="*/ 19 h 185"/>
                  <a:gd name="T98" fmla="*/ 52 w 173"/>
                  <a:gd name="T99" fmla="*/ 12 h 185"/>
                  <a:gd name="T100" fmla="*/ 54 w 173"/>
                  <a:gd name="T101" fmla="*/ 4 h 185"/>
                  <a:gd name="T102" fmla="*/ 62 w 173"/>
                  <a:gd name="T103" fmla="*/ 2 h 185"/>
                  <a:gd name="T104" fmla="*/ 71 w 173"/>
                  <a:gd name="T105" fmla="*/ 4 h 185"/>
                  <a:gd name="T106" fmla="*/ 77 w 173"/>
                  <a:gd name="T107" fmla="*/ 8 h 185"/>
                  <a:gd name="T108" fmla="*/ 79 w 173"/>
                  <a:gd name="T109" fmla="*/ 14 h 185"/>
                  <a:gd name="T110" fmla="*/ 89 w 173"/>
                  <a:gd name="T111" fmla="*/ 12 h 185"/>
                  <a:gd name="T112" fmla="*/ 92 w 173"/>
                  <a:gd name="T113" fmla="*/ 17 h 185"/>
                  <a:gd name="T114" fmla="*/ 96 w 173"/>
                  <a:gd name="T115" fmla="*/ 31 h 185"/>
                  <a:gd name="T116" fmla="*/ 104 w 173"/>
                  <a:gd name="T117" fmla="*/ 33 h 185"/>
                  <a:gd name="T118" fmla="*/ 114 w 173"/>
                  <a:gd name="T119" fmla="*/ 40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73" h="185">
                    <a:moveTo>
                      <a:pt x="121" y="44"/>
                    </a:moveTo>
                    <a:lnTo>
                      <a:pt x="121" y="46"/>
                    </a:lnTo>
                    <a:lnTo>
                      <a:pt x="123" y="46"/>
                    </a:lnTo>
                    <a:lnTo>
                      <a:pt x="123" y="48"/>
                    </a:lnTo>
                    <a:lnTo>
                      <a:pt x="125" y="48"/>
                    </a:lnTo>
                    <a:lnTo>
                      <a:pt x="125" y="50"/>
                    </a:lnTo>
                    <a:lnTo>
                      <a:pt x="125" y="48"/>
                    </a:lnTo>
                    <a:lnTo>
                      <a:pt x="127" y="50"/>
                    </a:lnTo>
                    <a:lnTo>
                      <a:pt x="127" y="52"/>
                    </a:lnTo>
                    <a:lnTo>
                      <a:pt x="127" y="54"/>
                    </a:lnTo>
                    <a:lnTo>
                      <a:pt x="127" y="52"/>
                    </a:lnTo>
                    <a:lnTo>
                      <a:pt x="129" y="52"/>
                    </a:lnTo>
                    <a:lnTo>
                      <a:pt x="129" y="54"/>
                    </a:lnTo>
                    <a:lnTo>
                      <a:pt x="131" y="56"/>
                    </a:lnTo>
                    <a:lnTo>
                      <a:pt x="131" y="58"/>
                    </a:lnTo>
                    <a:lnTo>
                      <a:pt x="129" y="58"/>
                    </a:lnTo>
                    <a:lnTo>
                      <a:pt x="129" y="60"/>
                    </a:lnTo>
                    <a:lnTo>
                      <a:pt x="129" y="58"/>
                    </a:lnTo>
                    <a:lnTo>
                      <a:pt x="127" y="60"/>
                    </a:lnTo>
                    <a:lnTo>
                      <a:pt x="125" y="62"/>
                    </a:lnTo>
                    <a:lnTo>
                      <a:pt x="123" y="64"/>
                    </a:lnTo>
                    <a:lnTo>
                      <a:pt x="125" y="65"/>
                    </a:lnTo>
                    <a:lnTo>
                      <a:pt x="125" y="64"/>
                    </a:lnTo>
                    <a:lnTo>
                      <a:pt x="125" y="65"/>
                    </a:lnTo>
                    <a:lnTo>
                      <a:pt x="127" y="65"/>
                    </a:lnTo>
                    <a:lnTo>
                      <a:pt x="127" y="67"/>
                    </a:lnTo>
                    <a:lnTo>
                      <a:pt x="129" y="67"/>
                    </a:lnTo>
                    <a:lnTo>
                      <a:pt x="129" y="69"/>
                    </a:lnTo>
                    <a:lnTo>
                      <a:pt x="131" y="69"/>
                    </a:lnTo>
                    <a:lnTo>
                      <a:pt x="133" y="69"/>
                    </a:lnTo>
                    <a:lnTo>
                      <a:pt x="135" y="69"/>
                    </a:lnTo>
                    <a:lnTo>
                      <a:pt x="137" y="71"/>
                    </a:lnTo>
                    <a:lnTo>
                      <a:pt x="137" y="69"/>
                    </a:lnTo>
                    <a:lnTo>
                      <a:pt x="137" y="67"/>
                    </a:lnTo>
                    <a:lnTo>
                      <a:pt x="139" y="67"/>
                    </a:lnTo>
                    <a:lnTo>
                      <a:pt x="139" y="69"/>
                    </a:lnTo>
                    <a:lnTo>
                      <a:pt x="139" y="67"/>
                    </a:lnTo>
                    <a:lnTo>
                      <a:pt x="139" y="69"/>
                    </a:lnTo>
                    <a:lnTo>
                      <a:pt x="140" y="69"/>
                    </a:lnTo>
                    <a:lnTo>
                      <a:pt x="140" y="71"/>
                    </a:lnTo>
                    <a:lnTo>
                      <a:pt x="142" y="73"/>
                    </a:lnTo>
                    <a:lnTo>
                      <a:pt x="142" y="71"/>
                    </a:lnTo>
                    <a:lnTo>
                      <a:pt x="142" y="73"/>
                    </a:lnTo>
                    <a:lnTo>
                      <a:pt x="142" y="71"/>
                    </a:lnTo>
                    <a:lnTo>
                      <a:pt x="144" y="71"/>
                    </a:lnTo>
                    <a:lnTo>
                      <a:pt x="142" y="71"/>
                    </a:lnTo>
                    <a:lnTo>
                      <a:pt x="144" y="71"/>
                    </a:lnTo>
                    <a:lnTo>
                      <a:pt x="144" y="73"/>
                    </a:lnTo>
                    <a:lnTo>
                      <a:pt x="144" y="75"/>
                    </a:lnTo>
                    <a:lnTo>
                      <a:pt x="146" y="75"/>
                    </a:lnTo>
                    <a:lnTo>
                      <a:pt x="146" y="77"/>
                    </a:lnTo>
                    <a:lnTo>
                      <a:pt x="146" y="79"/>
                    </a:lnTo>
                    <a:lnTo>
                      <a:pt x="148" y="79"/>
                    </a:lnTo>
                    <a:lnTo>
                      <a:pt x="148" y="81"/>
                    </a:lnTo>
                    <a:lnTo>
                      <a:pt x="150" y="81"/>
                    </a:lnTo>
                    <a:lnTo>
                      <a:pt x="148" y="83"/>
                    </a:lnTo>
                    <a:lnTo>
                      <a:pt x="150" y="83"/>
                    </a:lnTo>
                    <a:lnTo>
                      <a:pt x="152" y="83"/>
                    </a:lnTo>
                    <a:lnTo>
                      <a:pt x="152" y="85"/>
                    </a:lnTo>
                    <a:lnTo>
                      <a:pt x="150" y="85"/>
                    </a:lnTo>
                    <a:lnTo>
                      <a:pt x="152" y="85"/>
                    </a:lnTo>
                    <a:lnTo>
                      <a:pt x="152" y="87"/>
                    </a:lnTo>
                    <a:lnTo>
                      <a:pt x="152" y="88"/>
                    </a:lnTo>
                    <a:lnTo>
                      <a:pt x="154" y="88"/>
                    </a:lnTo>
                    <a:lnTo>
                      <a:pt x="154" y="90"/>
                    </a:lnTo>
                    <a:lnTo>
                      <a:pt x="156" y="90"/>
                    </a:lnTo>
                    <a:lnTo>
                      <a:pt x="156" y="88"/>
                    </a:lnTo>
                    <a:lnTo>
                      <a:pt x="158" y="90"/>
                    </a:lnTo>
                    <a:lnTo>
                      <a:pt x="156" y="92"/>
                    </a:lnTo>
                    <a:lnTo>
                      <a:pt x="158" y="92"/>
                    </a:lnTo>
                    <a:lnTo>
                      <a:pt x="158" y="94"/>
                    </a:lnTo>
                    <a:lnTo>
                      <a:pt x="158" y="92"/>
                    </a:lnTo>
                    <a:lnTo>
                      <a:pt x="158" y="94"/>
                    </a:lnTo>
                    <a:lnTo>
                      <a:pt x="158" y="92"/>
                    </a:lnTo>
                    <a:lnTo>
                      <a:pt x="160" y="92"/>
                    </a:lnTo>
                    <a:lnTo>
                      <a:pt x="160" y="90"/>
                    </a:lnTo>
                    <a:lnTo>
                      <a:pt x="160" y="88"/>
                    </a:lnTo>
                    <a:lnTo>
                      <a:pt x="160" y="87"/>
                    </a:lnTo>
                    <a:lnTo>
                      <a:pt x="160" y="88"/>
                    </a:lnTo>
                    <a:lnTo>
                      <a:pt x="162" y="87"/>
                    </a:lnTo>
                    <a:lnTo>
                      <a:pt x="162" y="88"/>
                    </a:lnTo>
                    <a:lnTo>
                      <a:pt x="162" y="90"/>
                    </a:lnTo>
                    <a:lnTo>
                      <a:pt x="164" y="90"/>
                    </a:lnTo>
                    <a:lnTo>
                      <a:pt x="164" y="88"/>
                    </a:lnTo>
                    <a:lnTo>
                      <a:pt x="164" y="90"/>
                    </a:lnTo>
                    <a:lnTo>
                      <a:pt x="164" y="92"/>
                    </a:lnTo>
                    <a:lnTo>
                      <a:pt x="165" y="92"/>
                    </a:lnTo>
                    <a:lnTo>
                      <a:pt x="165" y="94"/>
                    </a:lnTo>
                    <a:lnTo>
                      <a:pt x="164" y="94"/>
                    </a:lnTo>
                    <a:lnTo>
                      <a:pt x="164" y="96"/>
                    </a:lnTo>
                    <a:lnTo>
                      <a:pt x="162" y="96"/>
                    </a:lnTo>
                    <a:lnTo>
                      <a:pt x="162" y="98"/>
                    </a:lnTo>
                    <a:lnTo>
                      <a:pt x="164" y="98"/>
                    </a:lnTo>
                    <a:lnTo>
                      <a:pt x="164" y="100"/>
                    </a:lnTo>
                    <a:lnTo>
                      <a:pt x="165" y="100"/>
                    </a:lnTo>
                    <a:lnTo>
                      <a:pt x="167" y="100"/>
                    </a:lnTo>
                    <a:lnTo>
                      <a:pt x="169" y="100"/>
                    </a:lnTo>
                    <a:lnTo>
                      <a:pt x="167" y="102"/>
                    </a:lnTo>
                    <a:lnTo>
                      <a:pt x="169" y="102"/>
                    </a:lnTo>
                    <a:lnTo>
                      <a:pt x="169" y="104"/>
                    </a:lnTo>
                    <a:lnTo>
                      <a:pt x="169" y="106"/>
                    </a:lnTo>
                    <a:lnTo>
                      <a:pt x="167" y="106"/>
                    </a:lnTo>
                    <a:lnTo>
                      <a:pt x="169" y="108"/>
                    </a:lnTo>
                    <a:lnTo>
                      <a:pt x="171" y="112"/>
                    </a:lnTo>
                    <a:lnTo>
                      <a:pt x="171" y="113"/>
                    </a:lnTo>
                    <a:lnTo>
                      <a:pt x="171" y="121"/>
                    </a:lnTo>
                    <a:lnTo>
                      <a:pt x="171" y="119"/>
                    </a:lnTo>
                    <a:lnTo>
                      <a:pt x="173" y="121"/>
                    </a:lnTo>
                    <a:lnTo>
                      <a:pt x="171" y="121"/>
                    </a:lnTo>
                    <a:lnTo>
                      <a:pt x="171" y="123"/>
                    </a:lnTo>
                    <a:lnTo>
                      <a:pt x="169" y="123"/>
                    </a:lnTo>
                    <a:lnTo>
                      <a:pt x="169" y="125"/>
                    </a:lnTo>
                    <a:lnTo>
                      <a:pt x="169" y="129"/>
                    </a:lnTo>
                    <a:lnTo>
                      <a:pt x="171" y="129"/>
                    </a:lnTo>
                    <a:lnTo>
                      <a:pt x="171" y="131"/>
                    </a:lnTo>
                    <a:lnTo>
                      <a:pt x="169" y="131"/>
                    </a:lnTo>
                    <a:lnTo>
                      <a:pt x="167" y="131"/>
                    </a:lnTo>
                    <a:lnTo>
                      <a:pt x="167" y="129"/>
                    </a:lnTo>
                    <a:lnTo>
                      <a:pt x="164" y="129"/>
                    </a:lnTo>
                    <a:lnTo>
                      <a:pt x="164" y="127"/>
                    </a:lnTo>
                    <a:lnTo>
                      <a:pt x="162" y="127"/>
                    </a:lnTo>
                    <a:lnTo>
                      <a:pt x="160" y="127"/>
                    </a:lnTo>
                    <a:lnTo>
                      <a:pt x="156" y="131"/>
                    </a:lnTo>
                    <a:lnTo>
                      <a:pt x="154" y="131"/>
                    </a:lnTo>
                    <a:lnTo>
                      <a:pt x="152" y="129"/>
                    </a:lnTo>
                    <a:lnTo>
                      <a:pt x="150" y="129"/>
                    </a:lnTo>
                    <a:lnTo>
                      <a:pt x="150" y="127"/>
                    </a:lnTo>
                    <a:lnTo>
                      <a:pt x="146" y="125"/>
                    </a:lnTo>
                    <a:lnTo>
                      <a:pt x="142" y="123"/>
                    </a:lnTo>
                    <a:lnTo>
                      <a:pt x="139" y="121"/>
                    </a:lnTo>
                    <a:lnTo>
                      <a:pt x="139" y="119"/>
                    </a:lnTo>
                    <a:lnTo>
                      <a:pt x="139" y="117"/>
                    </a:lnTo>
                    <a:lnTo>
                      <a:pt x="137" y="117"/>
                    </a:lnTo>
                    <a:lnTo>
                      <a:pt x="139" y="117"/>
                    </a:lnTo>
                    <a:lnTo>
                      <a:pt x="137" y="117"/>
                    </a:lnTo>
                    <a:lnTo>
                      <a:pt x="137" y="115"/>
                    </a:lnTo>
                    <a:lnTo>
                      <a:pt x="135" y="115"/>
                    </a:lnTo>
                    <a:lnTo>
                      <a:pt x="133" y="115"/>
                    </a:lnTo>
                    <a:lnTo>
                      <a:pt x="131" y="117"/>
                    </a:lnTo>
                    <a:lnTo>
                      <a:pt x="129" y="117"/>
                    </a:lnTo>
                    <a:lnTo>
                      <a:pt x="129" y="119"/>
                    </a:lnTo>
                    <a:lnTo>
                      <a:pt x="127" y="121"/>
                    </a:lnTo>
                    <a:lnTo>
                      <a:pt x="125" y="123"/>
                    </a:lnTo>
                    <a:lnTo>
                      <a:pt x="123" y="123"/>
                    </a:lnTo>
                    <a:lnTo>
                      <a:pt x="119" y="123"/>
                    </a:lnTo>
                    <a:lnTo>
                      <a:pt x="119" y="121"/>
                    </a:lnTo>
                    <a:lnTo>
                      <a:pt x="115" y="123"/>
                    </a:lnTo>
                    <a:lnTo>
                      <a:pt x="115" y="121"/>
                    </a:lnTo>
                    <a:lnTo>
                      <a:pt x="114" y="121"/>
                    </a:lnTo>
                    <a:lnTo>
                      <a:pt x="112" y="123"/>
                    </a:lnTo>
                    <a:lnTo>
                      <a:pt x="110" y="123"/>
                    </a:lnTo>
                    <a:lnTo>
                      <a:pt x="110" y="125"/>
                    </a:lnTo>
                    <a:lnTo>
                      <a:pt x="108" y="125"/>
                    </a:lnTo>
                    <a:lnTo>
                      <a:pt x="108" y="127"/>
                    </a:lnTo>
                    <a:lnTo>
                      <a:pt x="106" y="127"/>
                    </a:lnTo>
                    <a:lnTo>
                      <a:pt x="104" y="127"/>
                    </a:lnTo>
                    <a:lnTo>
                      <a:pt x="98" y="127"/>
                    </a:lnTo>
                    <a:lnTo>
                      <a:pt x="98" y="125"/>
                    </a:lnTo>
                    <a:lnTo>
                      <a:pt x="98" y="127"/>
                    </a:lnTo>
                    <a:lnTo>
                      <a:pt x="100" y="129"/>
                    </a:lnTo>
                    <a:lnTo>
                      <a:pt x="100" y="133"/>
                    </a:lnTo>
                    <a:lnTo>
                      <a:pt x="100" y="135"/>
                    </a:lnTo>
                    <a:lnTo>
                      <a:pt x="100" y="137"/>
                    </a:lnTo>
                    <a:lnTo>
                      <a:pt x="100" y="140"/>
                    </a:lnTo>
                    <a:lnTo>
                      <a:pt x="102" y="142"/>
                    </a:lnTo>
                    <a:lnTo>
                      <a:pt x="102" y="144"/>
                    </a:lnTo>
                    <a:lnTo>
                      <a:pt x="100" y="144"/>
                    </a:lnTo>
                    <a:lnTo>
                      <a:pt x="96" y="148"/>
                    </a:lnTo>
                    <a:lnTo>
                      <a:pt x="94" y="154"/>
                    </a:lnTo>
                    <a:lnTo>
                      <a:pt x="94" y="158"/>
                    </a:lnTo>
                    <a:lnTo>
                      <a:pt x="87" y="162"/>
                    </a:lnTo>
                    <a:lnTo>
                      <a:pt x="85" y="163"/>
                    </a:lnTo>
                    <a:lnTo>
                      <a:pt x="83" y="163"/>
                    </a:lnTo>
                    <a:lnTo>
                      <a:pt x="79" y="165"/>
                    </a:lnTo>
                    <a:lnTo>
                      <a:pt x="81" y="167"/>
                    </a:lnTo>
                    <a:lnTo>
                      <a:pt x="81" y="169"/>
                    </a:lnTo>
                    <a:lnTo>
                      <a:pt x="79" y="171"/>
                    </a:lnTo>
                    <a:lnTo>
                      <a:pt x="77" y="171"/>
                    </a:lnTo>
                    <a:lnTo>
                      <a:pt x="77" y="173"/>
                    </a:lnTo>
                    <a:lnTo>
                      <a:pt x="75" y="171"/>
                    </a:lnTo>
                    <a:lnTo>
                      <a:pt x="75" y="173"/>
                    </a:lnTo>
                    <a:lnTo>
                      <a:pt x="71" y="173"/>
                    </a:lnTo>
                    <a:lnTo>
                      <a:pt x="71" y="171"/>
                    </a:lnTo>
                    <a:lnTo>
                      <a:pt x="69" y="173"/>
                    </a:lnTo>
                    <a:lnTo>
                      <a:pt x="67" y="173"/>
                    </a:lnTo>
                    <a:lnTo>
                      <a:pt x="66" y="173"/>
                    </a:lnTo>
                    <a:lnTo>
                      <a:pt x="64" y="175"/>
                    </a:lnTo>
                    <a:lnTo>
                      <a:pt x="62" y="177"/>
                    </a:lnTo>
                    <a:lnTo>
                      <a:pt x="60" y="177"/>
                    </a:lnTo>
                    <a:lnTo>
                      <a:pt x="58" y="181"/>
                    </a:lnTo>
                    <a:lnTo>
                      <a:pt x="56" y="183"/>
                    </a:lnTo>
                    <a:lnTo>
                      <a:pt x="54" y="183"/>
                    </a:lnTo>
                    <a:lnTo>
                      <a:pt x="50" y="185"/>
                    </a:lnTo>
                    <a:lnTo>
                      <a:pt x="46" y="183"/>
                    </a:lnTo>
                    <a:lnTo>
                      <a:pt x="44" y="185"/>
                    </a:lnTo>
                    <a:lnTo>
                      <a:pt x="44" y="183"/>
                    </a:lnTo>
                    <a:lnTo>
                      <a:pt x="42" y="183"/>
                    </a:lnTo>
                    <a:lnTo>
                      <a:pt x="41" y="181"/>
                    </a:lnTo>
                    <a:lnTo>
                      <a:pt x="39" y="183"/>
                    </a:lnTo>
                    <a:lnTo>
                      <a:pt x="41" y="183"/>
                    </a:lnTo>
                    <a:lnTo>
                      <a:pt x="39" y="183"/>
                    </a:lnTo>
                    <a:lnTo>
                      <a:pt x="37" y="183"/>
                    </a:lnTo>
                    <a:lnTo>
                      <a:pt x="35" y="185"/>
                    </a:lnTo>
                    <a:lnTo>
                      <a:pt x="33" y="183"/>
                    </a:lnTo>
                    <a:lnTo>
                      <a:pt x="31" y="183"/>
                    </a:lnTo>
                    <a:lnTo>
                      <a:pt x="29" y="181"/>
                    </a:lnTo>
                    <a:lnTo>
                      <a:pt x="27" y="177"/>
                    </a:lnTo>
                    <a:lnTo>
                      <a:pt x="25" y="175"/>
                    </a:lnTo>
                    <a:lnTo>
                      <a:pt x="25" y="173"/>
                    </a:lnTo>
                    <a:lnTo>
                      <a:pt x="23" y="175"/>
                    </a:lnTo>
                    <a:lnTo>
                      <a:pt x="19" y="173"/>
                    </a:lnTo>
                    <a:lnTo>
                      <a:pt x="16" y="171"/>
                    </a:lnTo>
                    <a:lnTo>
                      <a:pt x="16" y="173"/>
                    </a:lnTo>
                    <a:lnTo>
                      <a:pt x="14" y="173"/>
                    </a:lnTo>
                    <a:lnTo>
                      <a:pt x="12" y="173"/>
                    </a:lnTo>
                    <a:lnTo>
                      <a:pt x="12" y="171"/>
                    </a:lnTo>
                    <a:lnTo>
                      <a:pt x="10" y="171"/>
                    </a:lnTo>
                    <a:lnTo>
                      <a:pt x="10" y="167"/>
                    </a:lnTo>
                    <a:lnTo>
                      <a:pt x="8" y="165"/>
                    </a:lnTo>
                    <a:lnTo>
                      <a:pt x="8" y="163"/>
                    </a:lnTo>
                    <a:lnTo>
                      <a:pt x="10" y="160"/>
                    </a:lnTo>
                    <a:lnTo>
                      <a:pt x="10" y="158"/>
                    </a:lnTo>
                    <a:lnTo>
                      <a:pt x="10" y="156"/>
                    </a:lnTo>
                    <a:lnTo>
                      <a:pt x="8" y="156"/>
                    </a:lnTo>
                    <a:lnTo>
                      <a:pt x="8" y="154"/>
                    </a:lnTo>
                    <a:lnTo>
                      <a:pt x="8" y="152"/>
                    </a:lnTo>
                    <a:lnTo>
                      <a:pt x="6" y="152"/>
                    </a:lnTo>
                    <a:lnTo>
                      <a:pt x="4" y="152"/>
                    </a:lnTo>
                    <a:lnTo>
                      <a:pt x="2" y="150"/>
                    </a:lnTo>
                    <a:lnTo>
                      <a:pt x="2" y="148"/>
                    </a:lnTo>
                    <a:lnTo>
                      <a:pt x="0" y="148"/>
                    </a:lnTo>
                    <a:lnTo>
                      <a:pt x="0" y="146"/>
                    </a:lnTo>
                    <a:lnTo>
                      <a:pt x="2" y="146"/>
                    </a:lnTo>
                    <a:lnTo>
                      <a:pt x="2" y="144"/>
                    </a:lnTo>
                    <a:lnTo>
                      <a:pt x="2" y="142"/>
                    </a:lnTo>
                    <a:lnTo>
                      <a:pt x="2" y="140"/>
                    </a:lnTo>
                    <a:lnTo>
                      <a:pt x="4" y="138"/>
                    </a:lnTo>
                    <a:lnTo>
                      <a:pt x="6" y="138"/>
                    </a:lnTo>
                    <a:lnTo>
                      <a:pt x="6" y="137"/>
                    </a:lnTo>
                    <a:lnTo>
                      <a:pt x="4" y="137"/>
                    </a:lnTo>
                    <a:lnTo>
                      <a:pt x="6" y="137"/>
                    </a:lnTo>
                    <a:lnTo>
                      <a:pt x="6" y="135"/>
                    </a:lnTo>
                    <a:lnTo>
                      <a:pt x="8" y="135"/>
                    </a:lnTo>
                    <a:lnTo>
                      <a:pt x="10" y="135"/>
                    </a:lnTo>
                    <a:lnTo>
                      <a:pt x="12" y="133"/>
                    </a:lnTo>
                    <a:lnTo>
                      <a:pt x="10" y="133"/>
                    </a:lnTo>
                    <a:lnTo>
                      <a:pt x="10" y="131"/>
                    </a:lnTo>
                    <a:lnTo>
                      <a:pt x="12" y="131"/>
                    </a:lnTo>
                    <a:lnTo>
                      <a:pt x="10" y="131"/>
                    </a:lnTo>
                    <a:lnTo>
                      <a:pt x="12" y="131"/>
                    </a:lnTo>
                    <a:lnTo>
                      <a:pt x="12" y="129"/>
                    </a:lnTo>
                    <a:lnTo>
                      <a:pt x="14" y="129"/>
                    </a:lnTo>
                    <a:lnTo>
                      <a:pt x="12" y="129"/>
                    </a:lnTo>
                    <a:lnTo>
                      <a:pt x="14" y="129"/>
                    </a:lnTo>
                    <a:lnTo>
                      <a:pt x="12" y="129"/>
                    </a:lnTo>
                    <a:lnTo>
                      <a:pt x="10" y="127"/>
                    </a:lnTo>
                    <a:lnTo>
                      <a:pt x="12" y="127"/>
                    </a:lnTo>
                    <a:lnTo>
                      <a:pt x="10" y="125"/>
                    </a:lnTo>
                    <a:lnTo>
                      <a:pt x="12" y="125"/>
                    </a:lnTo>
                    <a:lnTo>
                      <a:pt x="12" y="123"/>
                    </a:lnTo>
                    <a:lnTo>
                      <a:pt x="12" y="121"/>
                    </a:lnTo>
                    <a:lnTo>
                      <a:pt x="14" y="119"/>
                    </a:lnTo>
                    <a:lnTo>
                      <a:pt x="14" y="117"/>
                    </a:lnTo>
                    <a:lnTo>
                      <a:pt x="16" y="115"/>
                    </a:lnTo>
                    <a:lnTo>
                      <a:pt x="14" y="115"/>
                    </a:lnTo>
                    <a:lnTo>
                      <a:pt x="14" y="113"/>
                    </a:lnTo>
                    <a:lnTo>
                      <a:pt x="14" y="112"/>
                    </a:lnTo>
                    <a:lnTo>
                      <a:pt x="16" y="112"/>
                    </a:lnTo>
                    <a:lnTo>
                      <a:pt x="18" y="112"/>
                    </a:lnTo>
                    <a:lnTo>
                      <a:pt x="18" y="110"/>
                    </a:lnTo>
                    <a:lnTo>
                      <a:pt x="18" y="108"/>
                    </a:lnTo>
                    <a:lnTo>
                      <a:pt x="18" y="106"/>
                    </a:lnTo>
                    <a:lnTo>
                      <a:pt x="18" y="104"/>
                    </a:lnTo>
                    <a:lnTo>
                      <a:pt x="19" y="104"/>
                    </a:lnTo>
                    <a:lnTo>
                      <a:pt x="19" y="102"/>
                    </a:lnTo>
                    <a:lnTo>
                      <a:pt x="21" y="102"/>
                    </a:lnTo>
                    <a:lnTo>
                      <a:pt x="21" y="104"/>
                    </a:lnTo>
                    <a:lnTo>
                      <a:pt x="21" y="102"/>
                    </a:lnTo>
                    <a:lnTo>
                      <a:pt x="23" y="102"/>
                    </a:lnTo>
                    <a:lnTo>
                      <a:pt x="25" y="102"/>
                    </a:lnTo>
                    <a:lnTo>
                      <a:pt x="25" y="100"/>
                    </a:lnTo>
                    <a:lnTo>
                      <a:pt x="23" y="100"/>
                    </a:lnTo>
                    <a:lnTo>
                      <a:pt x="25" y="100"/>
                    </a:lnTo>
                    <a:lnTo>
                      <a:pt x="25" y="98"/>
                    </a:lnTo>
                    <a:lnTo>
                      <a:pt x="25" y="96"/>
                    </a:lnTo>
                    <a:lnTo>
                      <a:pt x="27" y="96"/>
                    </a:lnTo>
                    <a:lnTo>
                      <a:pt x="27" y="94"/>
                    </a:lnTo>
                    <a:lnTo>
                      <a:pt x="25" y="94"/>
                    </a:lnTo>
                    <a:lnTo>
                      <a:pt x="27" y="94"/>
                    </a:lnTo>
                    <a:lnTo>
                      <a:pt x="27" y="96"/>
                    </a:lnTo>
                    <a:lnTo>
                      <a:pt x="29" y="96"/>
                    </a:lnTo>
                    <a:lnTo>
                      <a:pt x="29" y="94"/>
                    </a:lnTo>
                    <a:lnTo>
                      <a:pt x="27" y="94"/>
                    </a:lnTo>
                    <a:lnTo>
                      <a:pt x="27" y="92"/>
                    </a:lnTo>
                    <a:lnTo>
                      <a:pt x="25" y="90"/>
                    </a:lnTo>
                    <a:lnTo>
                      <a:pt x="25" y="88"/>
                    </a:lnTo>
                    <a:lnTo>
                      <a:pt x="27" y="88"/>
                    </a:lnTo>
                    <a:lnTo>
                      <a:pt x="25" y="88"/>
                    </a:lnTo>
                    <a:lnTo>
                      <a:pt x="25" y="87"/>
                    </a:lnTo>
                    <a:lnTo>
                      <a:pt x="23" y="87"/>
                    </a:lnTo>
                    <a:lnTo>
                      <a:pt x="25" y="85"/>
                    </a:lnTo>
                    <a:lnTo>
                      <a:pt x="23" y="85"/>
                    </a:lnTo>
                    <a:lnTo>
                      <a:pt x="23" y="83"/>
                    </a:lnTo>
                    <a:lnTo>
                      <a:pt x="21" y="85"/>
                    </a:lnTo>
                    <a:lnTo>
                      <a:pt x="21" y="83"/>
                    </a:lnTo>
                    <a:lnTo>
                      <a:pt x="23" y="81"/>
                    </a:lnTo>
                    <a:lnTo>
                      <a:pt x="25" y="81"/>
                    </a:lnTo>
                    <a:lnTo>
                      <a:pt x="25" y="79"/>
                    </a:lnTo>
                    <a:lnTo>
                      <a:pt x="23" y="79"/>
                    </a:lnTo>
                    <a:lnTo>
                      <a:pt x="23" y="77"/>
                    </a:lnTo>
                    <a:lnTo>
                      <a:pt x="23" y="75"/>
                    </a:lnTo>
                    <a:lnTo>
                      <a:pt x="25" y="75"/>
                    </a:lnTo>
                    <a:lnTo>
                      <a:pt x="25" y="73"/>
                    </a:lnTo>
                    <a:lnTo>
                      <a:pt x="27" y="73"/>
                    </a:lnTo>
                    <a:lnTo>
                      <a:pt x="27" y="71"/>
                    </a:lnTo>
                    <a:lnTo>
                      <a:pt x="29" y="71"/>
                    </a:lnTo>
                    <a:lnTo>
                      <a:pt x="29" y="73"/>
                    </a:lnTo>
                    <a:lnTo>
                      <a:pt x="31" y="73"/>
                    </a:lnTo>
                    <a:lnTo>
                      <a:pt x="31" y="75"/>
                    </a:lnTo>
                    <a:lnTo>
                      <a:pt x="31" y="73"/>
                    </a:lnTo>
                    <a:lnTo>
                      <a:pt x="33" y="73"/>
                    </a:lnTo>
                    <a:lnTo>
                      <a:pt x="33" y="71"/>
                    </a:lnTo>
                    <a:lnTo>
                      <a:pt x="31" y="71"/>
                    </a:lnTo>
                    <a:lnTo>
                      <a:pt x="33" y="71"/>
                    </a:lnTo>
                    <a:lnTo>
                      <a:pt x="33" y="69"/>
                    </a:lnTo>
                    <a:lnTo>
                      <a:pt x="33" y="67"/>
                    </a:lnTo>
                    <a:lnTo>
                      <a:pt x="35" y="67"/>
                    </a:lnTo>
                    <a:lnTo>
                      <a:pt x="35" y="65"/>
                    </a:lnTo>
                    <a:lnTo>
                      <a:pt x="35" y="64"/>
                    </a:lnTo>
                    <a:lnTo>
                      <a:pt x="35" y="62"/>
                    </a:lnTo>
                    <a:lnTo>
                      <a:pt x="33" y="62"/>
                    </a:lnTo>
                    <a:lnTo>
                      <a:pt x="31" y="62"/>
                    </a:lnTo>
                    <a:lnTo>
                      <a:pt x="31" y="64"/>
                    </a:lnTo>
                    <a:lnTo>
                      <a:pt x="29" y="64"/>
                    </a:lnTo>
                    <a:lnTo>
                      <a:pt x="27" y="64"/>
                    </a:lnTo>
                    <a:lnTo>
                      <a:pt x="27" y="62"/>
                    </a:lnTo>
                    <a:lnTo>
                      <a:pt x="25" y="60"/>
                    </a:lnTo>
                    <a:lnTo>
                      <a:pt x="27" y="60"/>
                    </a:lnTo>
                    <a:lnTo>
                      <a:pt x="25" y="58"/>
                    </a:lnTo>
                    <a:lnTo>
                      <a:pt x="27" y="58"/>
                    </a:lnTo>
                    <a:lnTo>
                      <a:pt x="27" y="56"/>
                    </a:lnTo>
                    <a:lnTo>
                      <a:pt x="25" y="56"/>
                    </a:lnTo>
                    <a:lnTo>
                      <a:pt x="23" y="56"/>
                    </a:lnTo>
                    <a:lnTo>
                      <a:pt x="23" y="54"/>
                    </a:lnTo>
                    <a:lnTo>
                      <a:pt x="25" y="54"/>
                    </a:lnTo>
                    <a:lnTo>
                      <a:pt x="25" y="52"/>
                    </a:lnTo>
                    <a:lnTo>
                      <a:pt x="25" y="54"/>
                    </a:lnTo>
                    <a:lnTo>
                      <a:pt x="25" y="52"/>
                    </a:lnTo>
                    <a:lnTo>
                      <a:pt x="25" y="50"/>
                    </a:lnTo>
                    <a:lnTo>
                      <a:pt x="27" y="50"/>
                    </a:lnTo>
                    <a:lnTo>
                      <a:pt x="29" y="52"/>
                    </a:lnTo>
                    <a:lnTo>
                      <a:pt x="31" y="52"/>
                    </a:lnTo>
                    <a:lnTo>
                      <a:pt x="31" y="50"/>
                    </a:lnTo>
                    <a:lnTo>
                      <a:pt x="31" y="48"/>
                    </a:lnTo>
                    <a:lnTo>
                      <a:pt x="31" y="46"/>
                    </a:lnTo>
                    <a:lnTo>
                      <a:pt x="31" y="44"/>
                    </a:lnTo>
                    <a:lnTo>
                      <a:pt x="33" y="44"/>
                    </a:lnTo>
                    <a:lnTo>
                      <a:pt x="31" y="44"/>
                    </a:lnTo>
                    <a:lnTo>
                      <a:pt x="33" y="42"/>
                    </a:lnTo>
                    <a:lnTo>
                      <a:pt x="31" y="42"/>
                    </a:lnTo>
                    <a:lnTo>
                      <a:pt x="29" y="42"/>
                    </a:lnTo>
                    <a:lnTo>
                      <a:pt x="29" y="40"/>
                    </a:lnTo>
                    <a:lnTo>
                      <a:pt x="31" y="40"/>
                    </a:lnTo>
                    <a:lnTo>
                      <a:pt x="31" y="39"/>
                    </a:lnTo>
                    <a:lnTo>
                      <a:pt x="31" y="37"/>
                    </a:lnTo>
                    <a:lnTo>
                      <a:pt x="33" y="37"/>
                    </a:lnTo>
                    <a:lnTo>
                      <a:pt x="33" y="39"/>
                    </a:lnTo>
                    <a:lnTo>
                      <a:pt x="33" y="37"/>
                    </a:lnTo>
                    <a:lnTo>
                      <a:pt x="35" y="37"/>
                    </a:lnTo>
                    <a:lnTo>
                      <a:pt x="33" y="37"/>
                    </a:lnTo>
                    <a:lnTo>
                      <a:pt x="33" y="35"/>
                    </a:lnTo>
                    <a:lnTo>
                      <a:pt x="33" y="33"/>
                    </a:lnTo>
                    <a:lnTo>
                      <a:pt x="33" y="31"/>
                    </a:lnTo>
                    <a:lnTo>
                      <a:pt x="35" y="31"/>
                    </a:lnTo>
                    <a:lnTo>
                      <a:pt x="35" y="29"/>
                    </a:lnTo>
                    <a:lnTo>
                      <a:pt x="37" y="29"/>
                    </a:lnTo>
                    <a:lnTo>
                      <a:pt x="35" y="29"/>
                    </a:lnTo>
                    <a:lnTo>
                      <a:pt x="37" y="27"/>
                    </a:lnTo>
                    <a:lnTo>
                      <a:pt x="37" y="25"/>
                    </a:lnTo>
                    <a:lnTo>
                      <a:pt x="37" y="23"/>
                    </a:lnTo>
                    <a:lnTo>
                      <a:pt x="37" y="21"/>
                    </a:lnTo>
                    <a:lnTo>
                      <a:pt x="37" y="19"/>
                    </a:lnTo>
                    <a:lnTo>
                      <a:pt x="37" y="17"/>
                    </a:lnTo>
                    <a:lnTo>
                      <a:pt x="39" y="15"/>
                    </a:lnTo>
                    <a:lnTo>
                      <a:pt x="41" y="17"/>
                    </a:lnTo>
                    <a:lnTo>
                      <a:pt x="41" y="15"/>
                    </a:lnTo>
                    <a:lnTo>
                      <a:pt x="42" y="15"/>
                    </a:lnTo>
                    <a:lnTo>
                      <a:pt x="42" y="17"/>
                    </a:lnTo>
                    <a:lnTo>
                      <a:pt x="44" y="15"/>
                    </a:lnTo>
                    <a:lnTo>
                      <a:pt x="44" y="17"/>
                    </a:lnTo>
                    <a:lnTo>
                      <a:pt x="46" y="19"/>
                    </a:lnTo>
                    <a:lnTo>
                      <a:pt x="48" y="19"/>
                    </a:lnTo>
                    <a:lnTo>
                      <a:pt x="50" y="19"/>
                    </a:lnTo>
                    <a:lnTo>
                      <a:pt x="52" y="19"/>
                    </a:lnTo>
                    <a:lnTo>
                      <a:pt x="52" y="17"/>
                    </a:lnTo>
                    <a:lnTo>
                      <a:pt x="50" y="17"/>
                    </a:lnTo>
                    <a:lnTo>
                      <a:pt x="50" y="15"/>
                    </a:lnTo>
                    <a:lnTo>
                      <a:pt x="50" y="14"/>
                    </a:lnTo>
                    <a:lnTo>
                      <a:pt x="52" y="14"/>
                    </a:lnTo>
                    <a:lnTo>
                      <a:pt x="52" y="12"/>
                    </a:lnTo>
                    <a:lnTo>
                      <a:pt x="54" y="12"/>
                    </a:lnTo>
                    <a:lnTo>
                      <a:pt x="54" y="10"/>
                    </a:lnTo>
                    <a:lnTo>
                      <a:pt x="54" y="8"/>
                    </a:lnTo>
                    <a:lnTo>
                      <a:pt x="56" y="8"/>
                    </a:lnTo>
                    <a:lnTo>
                      <a:pt x="56" y="6"/>
                    </a:lnTo>
                    <a:lnTo>
                      <a:pt x="58" y="4"/>
                    </a:lnTo>
                    <a:lnTo>
                      <a:pt x="56" y="4"/>
                    </a:lnTo>
                    <a:lnTo>
                      <a:pt x="54" y="4"/>
                    </a:lnTo>
                    <a:lnTo>
                      <a:pt x="52" y="4"/>
                    </a:lnTo>
                    <a:lnTo>
                      <a:pt x="54" y="4"/>
                    </a:lnTo>
                    <a:lnTo>
                      <a:pt x="54" y="2"/>
                    </a:lnTo>
                    <a:lnTo>
                      <a:pt x="54" y="0"/>
                    </a:lnTo>
                    <a:lnTo>
                      <a:pt x="56" y="0"/>
                    </a:lnTo>
                    <a:lnTo>
                      <a:pt x="58" y="2"/>
                    </a:lnTo>
                    <a:lnTo>
                      <a:pt x="60" y="2"/>
                    </a:lnTo>
                    <a:lnTo>
                      <a:pt x="62" y="2"/>
                    </a:lnTo>
                    <a:lnTo>
                      <a:pt x="64" y="2"/>
                    </a:lnTo>
                    <a:lnTo>
                      <a:pt x="66" y="0"/>
                    </a:lnTo>
                    <a:lnTo>
                      <a:pt x="66" y="2"/>
                    </a:lnTo>
                    <a:lnTo>
                      <a:pt x="66" y="4"/>
                    </a:lnTo>
                    <a:lnTo>
                      <a:pt x="67" y="4"/>
                    </a:lnTo>
                    <a:lnTo>
                      <a:pt x="69" y="2"/>
                    </a:lnTo>
                    <a:lnTo>
                      <a:pt x="71" y="2"/>
                    </a:lnTo>
                    <a:lnTo>
                      <a:pt x="71" y="4"/>
                    </a:lnTo>
                    <a:lnTo>
                      <a:pt x="69" y="4"/>
                    </a:lnTo>
                    <a:lnTo>
                      <a:pt x="69" y="6"/>
                    </a:lnTo>
                    <a:lnTo>
                      <a:pt x="71" y="8"/>
                    </a:lnTo>
                    <a:lnTo>
                      <a:pt x="71" y="6"/>
                    </a:lnTo>
                    <a:lnTo>
                      <a:pt x="73" y="4"/>
                    </a:lnTo>
                    <a:lnTo>
                      <a:pt x="75" y="4"/>
                    </a:lnTo>
                    <a:lnTo>
                      <a:pt x="77" y="6"/>
                    </a:lnTo>
                    <a:lnTo>
                      <a:pt x="77" y="8"/>
                    </a:lnTo>
                    <a:lnTo>
                      <a:pt x="77" y="10"/>
                    </a:lnTo>
                    <a:lnTo>
                      <a:pt x="77" y="12"/>
                    </a:lnTo>
                    <a:lnTo>
                      <a:pt x="77" y="14"/>
                    </a:lnTo>
                    <a:lnTo>
                      <a:pt x="75" y="14"/>
                    </a:lnTo>
                    <a:lnTo>
                      <a:pt x="77" y="14"/>
                    </a:lnTo>
                    <a:lnTo>
                      <a:pt x="77" y="15"/>
                    </a:lnTo>
                    <a:lnTo>
                      <a:pt x="79" y="15"/>
                    </a:lnTo>
                    <a:lnTo>
                      <a:pt x="79" y="14"/>
                    </a:lnTo>
                    <a:lnTo>
                      <a:pt x="81" y="12"/>
                    </a:lnTo>
                    <a:lnTo>
                      <a:pt x="83" y="14"/>
                    </a:lnTo>
                    <a:lnTo>
                      <a:pt x="85" y="12"/>
                    </a:lnTo>
                    <a:lnTo>
                      <a:pt x="83" y="12"/>
                    </a:lnTo>
                    <a:lnTo>
                      <a:pt x="85" y="12"/>
                    </a:lnTo>
                    <a:lnTo>
                      <a:pt x="87" y="14"/>
                    </a:lnTo>
                    <a:lnTo>
                      <a:pt x="87" y="12"/>
                    </a:lnTo>
                    <a:lnTo>
                      <a:pt x="89" y="12"/>
                    </a:lnTo>
                    <a:lnTo>
                      <a:pt x="89" y="14"/>
                    </a:lnTo>
                    <a:lnTo>
                      <a:pt x="91" y="14"/>
                    </a:lnTo>
                    <a:lnTo>
                      <a:pt x="89" y="14"/>
                    </a:lnTo>
                    <a:lnTo>
                      <a:pt x="89" y="15"/>
                    </a:lnTo>
                    <a:lnTo>
                      <a:pt x="91" y="15"/>
                    </a:lnTo>
                    <a:lnTo>
                      <a:pt x="91" y="14"/>
                    </a:lnTo>
                    <a:lnTo>
                      <a:pt x="91" y="15"/>
                    </a:lnTo>
                    <a:lnTo>
                      <a:pt x="92" y="17"/>
                    </a:lnTo>
                    <a:lnTo>
                      <a:pt x="92" y="19"/>
                    </a:lnTo>
                    <a:lnTo>
                      <a:pt x="92" y="21"/>
                    </a:lnTo>
                    <a:lnTo>
                      <a:pt x="91" y="21"/>
                    </a:lnTo>
                    <a:lnTo>
                      <a:pt x="91" y="23"/>
                    </a:lnTo>
                    <a:lnTo>
                      <a:pt x="92" y="25"/>
                    </a:lnTo>
                    <a:lnTo>
                      <a:pt x="92" y="27"/>
                    </a:lnTo>
                    <a:lnTo>
                      <a:pt x="94" y="31"/>
                    </a:lnTo>
                    <a:lnTo>
                      <a:pt x="96" y="31"/>
                    </a:lnTo>
                    <a:lnTo>
                      <a:pt x="98" y="33"/>
                    </a:lnTo>
                    <a:lnTo>
                      <a:pt x="98" y="35"/>
                    </a:lnTo>
                    <a:lnTo>
                      <a:pt x="98" y="33"/>
                    </a:lnTo>
                    <a:lnTo>
                      <a:pt x="100" y="33"/>
                    </a:lnTo>
                    <a:lnTo>
                      <a:pt x="102" y="33"/>
                    </a:lnTo>
                    <a:lnTo>
                      <a:pt x="102" y="31"/>
                    </a:lnTo>
                    <a:lnTo>
                      <a:pt x="102" y="33"/>
                    </a:lnTo>
                    <a:lnTo>
                      <a:pt x="104" y="33"/>
                    </a:lnTo>
                    <a:lnTo>
                      <a:pt x="104" y="35"/>
                    </a:lnTo>
                    <a:lnTo>
                      <a:pt x="106" y="35"/>
                    </a:lnTo>
                    <a:lnTo>
                      <a:pt x="108" y="35"/>
                    </a:lnTo>
                    <a:lnTo>
                      <a:pt x="110" y="35"/>
                    </a:lnTo>
                    <a:lnTo>
                      <a:pt x="110" y="37"/>
                    </a:lnTo>
                    <a:lnTo>
                      <a:pt x="112" y="37"/>
                    </a:lnTo>
                    <a:lnTo>
                      <a:pt x="112" y="39"/>
                    </a:lnTo>
                    <a:lnTo>
                      <a:pt x="114" y="40"/>
                    </a:lnTo>
                    <a:lnTo>
                      <a:pt x="115" y="40"/>
                    </a:lnTo>
                    <a:lnTo>
                      <a:pt x="115" y="42"/>
                    </a:lnTo>
                    <a:lnTo>
                      <a:pt x="117" y="42"/>
                    </a:lnTo>
                    <a:lnTo>
                      <a:pt x="119" y="42"/>
                    </a:lnTo>
                    <a:lnTo>
                      <a:pt x="119" y="44"/>
                    </a:lnTo>
                    <a:lnTo>
                      <a:pt x="121" y="4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" name="Freeform 143">
                <a:extLst>
                  <a:ext uri="{FF2B5EF4-FFF2-40B4-BE49-F238E27FC236}">
                    <a16:creationId xmlns="" xmlns:a16="http://schemas.microsoft.com/office/drawing/2014/main" id="{365079B3-E1ED-4F78-8BE1-A531F4C3A8C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73500" y="2471738"/>
                <a:ext cx="393700" cy="615950"/>
              </a:xfrm>
              <a:custGeom>
                <a:avLst/>
                <a:gdLst>
                  <a:gd name="T0" fmla="*/ 19 w 248"/>
                  <a:gd name="T1" fmla="*/ 373 h 388"/>
                  <a:gd name="T2" fmla="*/ 21 w 248"/>
                  <a:gd name="T3" fmla="*/ 379 h 388"/>
                  <a:gd name="T4" fmla="*/ 23 w 248"/>
                  <a:gd name="T5" fmla="*/ 381 h 388"/>
                  <a:gd name="T6" fmla="*/ 21 w 248"/>
                  <a:gd name="T7" fmla="*/ 388 h 388"/>
                  <a:gd name="T8" fmla="*/ 17 w 248"/>
                  <a:gd name="T9" fmla="*/ 386 h 388"/>
                  <a:gd name="T10" fmla="*/ 15 w 248"/>
                  <a:gd name="T11" fmla="*/ 386 h 388"/>
                  <a:gd name="T12" fmla="*/ 13 w 248"/>
                  <a:gd name="T13" fmla="*/ 388 h 388"/>
                  <a:gd name="T14" fmla="*/ 13 w 248"/>
                  <a:gd name="T15" fmla="*/ 384 h 388"/>
                  <a:gd name="T16" fmla="*/ 10 w 248"/>
                  <a:gd name="T17" fmla="*/ 381 h 388"/>
                  <a:gd name="T18" fmla="*/ 6 w 248"/>
                  <a:gd name="T19" fmla="*/ 377 h 388"/>
                  <a:gd name="T20" fmla="*/ 11 w 248"/>
                  <a:gd name="T21" fmla="*/ 379 h 388"/>
                  <a:gd name="T22" fmla="*/ 17 w 248"/>
                  <a:gd name="T23" fmla="*/ 383 h 388"/>
                  <a:gd name="T24" fmla="*/ 19 w 248"/>
                  <a:gd name="T25" fmla="*/ 384 h 388"/>
                  <a:gd name="T26" fmla="*/ 17 w 248"/>
                  <a:gd name="T27" fmla="*/ 384 h 388"/>
                  <a:gd name="T28" fmla="*/ 15 w 248"/>
                  <a:gd name="T29" fmla="*/ 381 h 388"/>
                  <a:gd name="T30" fmla="*/ 13 w 248"/>
                  <a:gd name="T31" fmla="*/ 381 h 388"/>
                  <a:gd name="T32" fmla="*/ 10 w 248"/>
                  <a:gd name="T33" fmla="*/ 377 h 388"/>
                  <a:gd name="T34" fmla="*/ 6 w 248"/>
                  <a:gd name="T35" fmla="*/ 377 h 388"/>
                  <a:gd name="T36" fmla="*/ 2 w 248"/>
                  <a:gd name="T37" fmla="*/ 375 h 388"/>
                  <a:gd name="T38" fmla="*/ 8 w 248"/>
                  <a:gd name="T39" fmla="*/ 373 h 388"/>
                  <a:gd name="T40" fmla="*/ 13 w 248"/>
                  <a:gd name="T41" fmla="*/ 373 h 388"/>
                  <a:gd name="T42" fmla="*/ 17 w 248"/>
                  <a:gd name="T43" fmla="*/ 373 h 388"/>
                  <a:gd name="T44" fmla="*/ 248 w 248"/>
                  <a:gd name="T45" fmla="*/ 88 h 388"/>
                  <a:gd name="T46" fmla="*/ 242 w 248"/>
                  <a:gd name="T47" fmla="*/ 90 h 388"/>
                  <a:gd name="T48" fmla="*/ 234 w 248"/>
                  <a:gd name="T49" fmla="*/ 94 h 388"/>
                  <a:gd name="T50" fmla="*/ 227 w 248"/>
                  <a:gd name="T51" fmla="*/ 94 h 388"/>
                  <a:gd name="T52" fmla="*/ 217 w 248"/>
                  <a:gd name="T53" fmla="*/ 92 h 388"/>
                  <a:gd name="T54" fmla="*/ 219 w 248"/>
                  <a:gd name="T55" fmla="*/ 86 h 388"/>
                  <a:gd name="T56" fmla="*/ 227 w 248"/>
                  <a:gd name="T57" fmla="*/ 81 h 388"/>
                  <a:gd name="T58" fmla="*/ 236 w 248"/>
                  <a:gd name="T59" fmla="*/ 79 h 388"/>
                  <a:gd name="T60" fmla="*/ 179 w 248"/>
                  <a:gd name="T61" fmla="*/ 40 h 388"/>
                  <a:gd name="T62" fmla="*/ 173 w 248"/>
                  <a:gd name="T63" fmla="*/ 46 h 388"/>
                  <a:gd name="T64" fmla="*/ 173 w 248"/>
                  <a:gd name="T65" fmla="*/ 52 h 388"/>
                  <a:gd name="T66" fmla="*/ 169 w 248"/>
                  <a:gd name="T67" fmla="*/ 50 h 388"/>
                  <a:gd name="T68" fmla="*/ 161 w 248"/>
                  <a:gd name="T69" fmla="*/ 42 h 388"/>
                  <a:gd name="T70" fmla="*/ 167 w 248"/>
                  <a:gd name="T71" fmla="*/ 36 h 388"/>
                  <a:gd name="T72" fmla="*/ 104 w 248"/>
                  <a:gd name="T73" fmla="*/ 6 h 388"/>
                  <a:gd name="T74" fmla="*/ 102 w 248"/>
                  <a:gd name="T75" fmla="*/ 11 h 388"/>
                  <a:gd name="T76" fmla="*/ 106 w 248"/>
                  <a:gd name="T77" fmla="*/ 8 h 388"/>
                  <a:gd name="T78" fmla="*/ 106 w 248"/>
                  <a:gd name="T79" fmla="*/ 11 h 388"/>
                  <a:gd name="T80" fmla="*/ 102 w 248"/>
                  <a:gd name="T81" fmla="*/ 13 h 388"/>
                  <a:gd name="T82" fmla="*/ 100 w 248"/>
                  <a:gd name="T83" fmla="*/ 11 h 388"/>
                  <a:gd name="T84" fmla="*/ 100 w 248"/>
                  <a:gd name="T85" fmla="*/ 11 h 388"/>
                  <a:gd name="T86" fmla="*/ 104 w 248"/>
                  <a:gd name="T87" fmla="*/ 15 h 388"/>
                  <a:gd name="T88" fmla="*/ 108 w 248"/>
                  <a:gd name="T89" fmla="*/ 11 h 388"/>
                  <a:gd name="T90" fmla="*/ 108 w 248"/>
                  <a:gd name="T91" fmla="*/ 21 h 388"/>
                  <a:gd name="T92" fmla="*/ 104 w 248"/>
                  <a:gd name="T93" fmla="*/ 21 h 388"/>
                  <a:gd name="T94" fmla="*/ 94 w 248"/>
                  <a:gd name="T95" fmla="*/ 19 h 388"/>
                  <a:gd name="T96" fmla="*/ 84 w 248"/>
                  <a:gd name="T97" fmla="*/ 21 h 388"/>
                  <a:gd name="T98" fmla="*/ 77 w 248"/>
                  <a:gd name="T99" fmla="*/ 17 h 388"/>
                  <a:gd name="T100" fmla="*/ 75 w 248"/>
                  <a:gd name="T101" fmla="*/ 19 h 388"/>
                  <a:gd name="T102" fmla="*/ 75 w 248"/>
                  <a:gd name="T103" fmla="*/ 19 h 388"/>
                  <a:gd name="T104" fmla="*/ 77 w 248"/>
                  <a:gd name="T105" fmla="*/ 10 h 388"/>
                  <a:gd name="T106" fmla="*/ 79 w 248"/>
                  <a:gd name="T107" fmla="*/ 4 h 388"/>
                  <a:gd name="T108" fmla="*/ 79 w 248"/>
                  <a:gd name="T109" fmla="*/ 2 h 388"/>
                  <a:gd name="T110" fmla="*/ 83 w 248"/>
                  <a:gd name="T111" fmla="*/ 2 h 388"/>
                  <a:gd name="T112" fmla="*/ 86 w 248"/>
                  <a:gd name="T113" fmla="*/ 2 h 388"/>
                  <a:gd name="T114" fmla="*/ 81 w 248"/>
                  <a:gd name="T115" fmla="*/ 0 h 388"/>
                  <a:gd name="T116" fmla="*/ 90 w 248"/>
                  <a:gd name="T117" fmla="*/ 0 h 388"/>
                  <a:gd name="T118" fmla="*/ 104 w 248"/>
                  <a:gd name="T119" fmla="*/ 4 h 388"/>
                  <a:gd name="T120" fmla="*/ 104 w 248"/>
                  <a:gd name="T121" fmla="*/ 6 h 388"/>
                  <a:gd name="T122" fmla="*/ 102 w 248"/>
                  <a:gd name="T123" fmla="*/ 6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8" h="388">
                    <a:moveTo>
                      <a:pt x="19" y="373"/>
                    </a:moveTo>
                    <a:lnTo>
                      <a:pt x="21" y="373"/>
                    </a:lnTo>
                    <a:lnTo>
                      <a:pt x="21" y="375"/>
                    </a:lnTo>
                    <a:lnTo>
                      <a:pt x="21" y="373"/>
                    </a:lnTo>
                    <a:lnTo>
                      <a:pt x="21" y="375"/>
                    </a:lnTo>
                    <a:lnTo>
                      <a:pt x="19" y="373"/>
                    </a:lnTo>
                    <a:lnTo>
                      <a:pt x="19" y="375"/>
                    </a:lnTo>
                    <a:lnTo>
                      <a:pt x="21" y="375"/>
                    </a:lnTo>
                    <a:lnTo>
                      <a:pt x="21" y="377"/>
                    </a:lnTo>
                    <a:lnTo>
                      <a:pt x="21" y="375"/>
                    </a:lnTo>
                    <a:lnTo>
                      <a:pt x="21" y="377"/>
                    </a:lnTo>
                    <a:lnTo>
                      <a:pt x="21" y="379"/>
                    </a:lnTo>
                    <a:lnTo>
                      <a:pt x="19" y="379"/>
                    </a:lnTo>
                    <a:lnTo>
                      <a:pt x="17" y="379"/>
                    </a:lnTo>
                    <a:lnTo>
                      <a:pt x="19" y="379"/>
                    </a:lnTo>
                    <a:lnTo>
                      <a:pt x="21" y="379"/>
                    </a:lnTo>
                    <a:lnTo>
                      <a:pt x="21" y="381"/>
                    </a:lnTo>
                    <a:lnTo>
                      <a:pt x="23" y="381"/>
                    </a:lnTo>
                    <a:lnTo>
                      <a:pt x="23" y="383"/>
                    </a:lnTo>
                    <a:lnTo>
                      <a:pt x="25" y="383"/>
                    </a:lnTo>
                    <a:lnTo>
                      <a:pt x="23" y="384"/>
                    </a:lnTo>
                    <a:lnTo>
                      <a:pt x="21" y="384"/>
                    </a:lnTo>
                    <a:lnTo>
                      <a:pt x="21" y="386"/>
                    </a:lnTo>
                    <a:lnTo>
                      <a:pt x="21" y="388"/>
                    </a:lnTo>
                    <a:lnTo>
                      <a:pt x="19" y="388"/>
                    </a:lnTo>
                    <a:lnTo>
                      <a:pt x="17" y="386"/>
                    </a:lnTo>
                    <a:lnTo>
                      <a:pt x="17" y="388"/>
                    </a:lnTo>
                    <a:lnTo>
                      <a:pt x="17" y="386"/>
                    </a:lnTo>
                    <a:lnTo>
                      <a:pt x="15" y="386"/>
                    </a:lnTo>
                    <a:lnTo>
                      <a:pt x="17" y="386"/>
                    </a:lnTo>
                    <a:lnTo>
                      <a:pt x="15" y="386"/>
                    </a:lnTo>
                    <a:lnTo>
                      <a:pt x="17" y="386"/>
                    </a:lnTo>
                    <a:lnTo>
                      <a:pt x="17" y="388"/>
                    </a:lnTo>
                    <a:lnTo>
                      <a:pt x="15" y="386"/>
                    </a:lnTo>
                    <a:lnTo>
                      <a:pt x="13" y="386"/>
                    </a:lnTo>
                    <a:lnTo>
                      <a:pt x="15" y="386"/>
                    </a:lnTo>
                    <a:lnTo>
                      <a:pt x="15" y="388"/>
                    </a:lnTo>
                    <a:lnTo>
                      <a:pt x="13" y="386"/>
                    </a:lnTo>
                    <a:lnTo>
                      <a:pt x="15" y="386"/>
                    </a:lnTo>
                    <a:lnTo>
                      <a:pt x="17" y="388"/>
                    </a:lnTo>
                    <a:lnTo>
                      <a:pt x="15" y="388"/>
                    </a:lnTo>
                    <a:lnTo>
                      <a:pt x="13" y="388"/>
                    </a:lnTo>
                    <a:lnTo>
                      <a:pt x="13" y="386"/>
                    </a:lnTo>
                    <a:lnTo>
                      <a:pt x="15" y="386"/>
                    </a:lnTo>
                    <a:lnTo>
                      <a:pt x="13" y="386"/>
                    </a:lnTo>
                    <a:lnTo>
                      <a:pt x="13" y="384"/>
                    </a:lnTo>
                    <a:lnTo>
                      <a:pt x="11" y="384"/>
                    </a:lnTo>
                    <a:lnTo>
                      <a:pt x="13" y="384"/>
                    </a:lnTo>
                    <a:lnTo>
                      <a:pt x="11" y="384"/>
                    </a:lnTo>
                    <a:lnTo>
                      <a:pt x="11" y="383"/>
                    </a:lnTo>
                    <a:lnTo>
                      <a:pt x="11" y="384"/>
                    </a:lnTo>
                    <a:lnTo>
                      <a:pt x="11" y="383"/>
                    </a:lnTo>
                    <a:lnTo>
                      <a:pt x="10" y="383"/>
                    </a:lnTo>
                    <a:lnTo>
                      <a:pt x="10" y="381"/>
                    </a:lnTo>
                    <a:lnTo>
                      <a:pt x="8" y="381"/>
                    </a:lnTo>
                    <a:lnTo>
                      <a:pt x="8" y="379"/>
                    </a:lnTo>
                    <a:lnTo>
                      <a:pt x="6" y="379"/>
                    </a:lnTo>
                    <a:lnTo>
                      <a:pt x="6" y="377"/>
                    </a:lnTo>
                    <a:lnTo>
                      <a:pt x="4" y="377"/>
                    </a:lnTo>
                    <a:lnTo>
                      <a:pt x="6" y="377"/>
                    </a:lnTo>
                    <a:lnTo>
                      <a:pt x="8" y="377"/>
                    </a:lnTo>
                    <a:lnTo>
                      <a:pt x="6" y="377"/>
                    </a:lnTo>
                    <a:lnTo>
                      <a:pt x="8" y="377"/>
                    </a:lnTo>
                    <a:lnTo>
                      <a:pt x="10" y="377"/>
                    </a:lnTo>
                    <a:lnTo>
                      <a:pt x="11" y="377"/>
                    </a:lnTo>
                    <a:lnTo>
                      <a:pt x="11" y="379"/>
                    </a:lnTo>
                    <a:lnTo>
                      <a:pt x="13" y="381"/>
                    </a:lnTo>
                    <a:lnTo>
                      <a:pt x="15" y="381"/>
                    </a:lnTo>
                    <a:lnTo>
                      <a:pt x="17" y="381"/>
                    </a:lnTo>
                    <a:lnTo>
                      <a:pt x="17" y="383"/>
                    </a:lnTo>
                    <a:lnTo>
                      <a:pt x="19" y="383"/>
                    </a:lnTo>
                    <a:lnTo>
                      <a:pt x="17" y="383"/>
                    </a:lnTo>
                    <a:lnTo>
                      <a:pt x="19" y="383"/>
                    </a:lnTo>
                    <a:lnTo>
                      <a:pt x="17" y="383"/>
                    </a:lnTo>
                    <a:lnTo>
                      <a:pt x="17" y="384"/>
                    </a:lnTo>
                    <a:lnTo>
                      <a:pt x="17" y="383"/>
                    </a:lnTo>
                    <a:lnTo>
                      <a:pt x="19" y="383"/>
                    </a:lnTo>
                    <a:lnTo>
                      <a:pt x="19" y="384"/>
                    </a:lnTo>
                    <a:lnTo>
                      <a:pt x="17" y="384"/>
                    </a:lnTo>
                    <a:lnTo>
                      <a:pt x="15" y="383"/>
                    </a:lnTo>
                    <a:lnTo>
                      <a:pt x="15" y="384"/>
                    </a:lnTo>
                    <a:lnTo>
                      <a:pt x="17" y="384"/>
                    </a:lnTo>
                    <a:lnTo>
                      <a:pt x="15" y="384"/>
                    </a:lnTo>
                    <a:lnTo>
                      <a:pt x="17" y="384"/>
                    </a:lnTo>
                    <a:lnTo>
                      <a:pt x="19" y="384"/>
                    </a:lnTo>
                    <a:lnTo>
                      <a:pt x="21" y="384"/>
                    </a:lnTo>
                    <a:lnTo>
                      <a:pt x="19" y="384"/>
                    </a:lnTo>
                    <a:lnTo>
                      <a:pt x="19" y="383"/>
                    </a:lnTo>
                    <a:lnTo>
                      <a:pt x="17" y="381"/>
                    </a:lnTo>
                    <a:lnTo>
                      <a:pt x="15" y="381"/>
                    </a:lnTo>
                    <a:lnTo>
                      <a:pt x="17" y="381"/>
                    </a:lnTo>
                    <a:lnTo>
                      <a:pt x="17" y="379"/>
                    </a:lnTo>
                    <a:lnTo>
                      <a:pt x="19" y="379"/>
                    </a:lnTo>
                    <a:lnTo>
                      <a:pt x="17" y="379"/>
                    </a:lnTo>
                    <a:lnTo>
                      <a:pt x="15" y="381"/>
                    </a:lnTo>
                    <a:lnTo>
                      <a:pt x="13" y="381"/>
                    </a:lnTo>
                    <a:lnTo>
                      <a:pt x="13" y="379"/>
                    </a:lnTo>
                    <a:lnTo>
                      <a:pt x="11" y="379"/>
                    </a:lnTo>
                    <a:lnTo>
                      <a:pt x="11" y="377"/>
                    </a:lnTo>
                    <a:lnTo>
                      <a:pt x="11" y="379"/>
                    </a:lnTo>
                    <a:lnTo>
                      <a:pt x="11" y="377"/>
                    </a:lnTo>
                    <a:lnTo>
                      <a:pt x="10" y="377"/>
                    </a:lnTo>
                    <a:lnTo>
                      <a:pt x="8" y="377"/>
                    </a:lnTo>
                    <a:lnTo>
                      <a:pt x="10" y="377"/>
                    </a:lnTo>
                    <a:lnTo>
                      <a:pt x="8" y="377"/>
                    </a:lnTo>
                    <a:lnTo>
                      <a:pt x="6" y="377"/>
                    </a:lnTo>
                    <a:lnTo>
                      <a:pt x="4" y="377"/>
                    </a:lnTo>
                    <a:lnTo>
                      <a:pt x="6" y="377"/>
                    </a:lnTo>
                    <a:lnTo>
                      <a:pt x="4" y="377"/>
                    </a:lnTo>
                    <a:lnTo>
                      <a:pt x="2" y="377"/>
                    </a:lnTo>
                    <a:lnTo>
                      <a:pt x="0" y="377"/>
                    </a:lnTo>
                    <a:lnTo>
                      <a:pt x="2" y="375"/>
                    </a:lnTo>
                    <a:lnTo>
                      <a:pt x="4" y="375"/>
                    </a:lnTo>
                    <a:lnTo>
                      <a:pt x="2" y="375"/>
                    </a:lnTo>
                    <a:lnTo>
                      <a:pt x="4" y="375"/>
                    </a:lnTo>
                    <a:lnTo>
                      <a:pt x="6" y="375"/>
                    </a:lnTo>
                    <a:lnTo>
                      <a:pt x="6" y="373"/>
                    </a:lnTo>
                    <a:lnTo>
                      <a:pt x="8" y="373"/>
                    </a:lnTo>
                    <a:lnTo>
                      <a:pt x="8" y="375"/>
                    </a:lnTo>
                    <a:lnTo>
                      <a:pt x="8" y="373"/>
                    </a:lnTo>
                    <a:lnTo>
                      <a:pt x="8" y="375"/>
                    </a:lnTo>
                    <a:lnTo>
                      <a:pt x="8" y="373"/>
                    </a:lnTo>
                    <a:lnTo>
                      <a:pt x="10" y="375"/>
                    </a:lnTo>
                    <a:lnTo>
                      <a:pt x="11" y="375"/>
                    </a:lnTo>
                    <a:lnTo>
                      <a:pt x="11" y="373"/>
                    </a:lnTo>
                    <a:lnTo>
                      <a:pt x="13" y="373"/>
                    </a:lnTo>
                    <a:lnTo>
                      <a:pt x="15" y="373"/>
                    </a:lnTo>
                    <a:lnTo>
                      <a:pt x="15" y="371"/>
                    </a:lnTo>
                    <a:lnTo>
                      <a:pt x="15" y="373"/>
                    </a:lnTo>
                    <a:lnTo>
                      <a:pt x="15" y="371"/>
                    </a:lnTo>
                    <a:lnTo>
                      <a:pt x="15" y="373"/>
                    </a:lnTo>
                    <a:lnTo>
                      <a:pt x="17" y="373"/>
                    </a:lnTo>
                    <a:lnTo>
                      <a:pt x="19" y="373"/>
                    </a:lnTo>
                    <a:close/>
                    <a:moveTo>
                      <a:pt x="246" y="83"/>
                    </a:moveTo>
                    <a:lnTo>
                      <a:pt x="248" y="83"/>
                    </a:lnTo>
                    <a:lnTo>
                      <a:pt x="248" y="85"/>
                    </a:lnTo>
                    <a:lnTo>
                      <a:pt x="248" y="86"/>
                    </a:lnTo>
                    <a:lnTo>
                      <a:pt x="248" y="88"/>
                    </a:lnTo>
                    <a:lnTo>
                      <a:pt x="248" y="86"/>
                    </a:lnTo>
                    <a:lnTo>
                      <a:pt x="248" y="88"/>
                    </a:lnTo>
                    <a:lnTo>
                      <a:pt x="246" y="88"/>
                    </a:lnTo>
                    <a:lnTo>
                      <a:pt x="244" y="88"/>
                    </a:lnTo>
                    <a:lnTo>
                      <a:pt x="244" y="90"/>
                    </a:lnTo>
                    <a:lnTo>
                      <a:pt x="242" y="90"/>
                    </a:lnTo>
                    <a:lnTo>
                      <a:pt x="240" y="90"/>
                    </a:lnTo>
                    <a:lnTo>
                      <a:pt x="238" y="90"/>
                    </a:lnTo>
                    <a:lnTo>
                      <a:pt x="238" y="92"/>
                    </a:lnTo>
                    <a:lnTo>
                      <a:pt x="236" y="92"/>
                    </a:lnTo>
                    <a:lnTo>
                      <a:pt x="236" y="94"/>
                    </a:lnTo>
                    <a:lnTo>
                      <a:pt x="234" y="94"/>
                    </a:lnTo>
                    <a:lnTo>
                      <a:pt x="232" y="94"/>
                    </a:lnTo>
                    <a:lnTo>
                      <a:pt x="231" y="94"/>
                    </a:lnTo>
                    <a:lnTo>
                      <a:pt x="231" y="92"/>
                    </a:lnTo>
                    <a:lnTo>
                      <a:pt x="231" y="94"/>
                    </a:lnTo>
                    <a:lnTo>
                      <a:pt x="229" y="94"/>
                    </a:lnTo>
                    <a:lnTo>
                      <a:pt x="227" y="94"/>
                    </a:lnTo>
                    <a:lnTo>
                      <a:pt x="227" y="92"/>
                    </a:lnTo>
                    <a:lnTo>
                      <a:pt x="225" y="92"/>
                    </a:lnTo>
                    <a:lnTo>
                      <a:pt x="223" y="92"/>
                    </a:lnTo>
                    <a:lnTo>
                      <a:pt x="221" y="92"/>
                    </a:lnTo>
                    <a:lnTo>
                      <a:pt x="219" y="92"/>
                    </a:lnTo>
                    <a:lnTo>
                      <a:pt x="217" y="92"/>
                    </a:lnTo>
                    <a:lnTo>
                      <a:pt x="215" y="92"/>
                    </a:lnTo>
                    <a:lnTo>
                      <a:pt x="215" y="90"/>
                    </a:lnTo>
                    <a:lnTo>
                      <a:pt x="213" y="90"/>
                    </a:lnTo>
                    <a:lnTo>
                      <a:pt x="215" y="88"/>
                    </a:lnTo>
                    <a:lnTo>
                      <a:pt x="217" y="86"/>
                    </a:lnTo>
                    <a:lnTo>
                      <a:pt x="219" y="86"/>
                    </a:lnTo>
                    <a:lnTo>
                      <a:pt x="221" y="85"/>
                    </a:lnTo>
                    <a:lnTo>
                      <a:pt x="223" y="85"/>
                    </a:lnTo>
                    <a:lnTo>
                      <a:pt x="225" y="85"/>
                    </a:lnTo>
                    <a:lnTo>
                      <a:pt x="223" y="85"/>
                    </a:lnTo>
                    <a:lnTo>
                      <a:pt x="225" y="83"/>
                    </a:lnTo>
                    <a:lnTo>
                      <a:pt x="227" y="81"/>
                    </a:lnTo>
                    <a:lnTo>
                      <a:pt x="229" y="79"/>
                    </a:lnTo>
                    <a:lnTo>
                      <a:pt x="231" y="79"/>
                    </a:lnTo>
                    <a:lnTo>
                      <a:pt x="232" y="77"/>
                    </a:lnTo>
                    <a:lnTo>
                      <a:pt x="234" y="77"/>
                    </a:lnTo>
                    <a:lnTo>
                      <a:pt x="236" y="77"/>
                    </a:lnTo>
                    <a:lnTo>
                      <a:pt x="236" y="79"/>
                    </a:lnTo>
                    <a:lnTo>
                      <a:pt x="238" y="79"/>
                    </a:lnTo>
                    <a:lnTo>
                      <a:pt x="242" y="81"/>
                    </a:lnTo>
                    <a:lnTo>
                      <a:pt x="244" y="81"/>
                    </a:lnTo>
                    <a:lnTo>
                      <a:pt x="246" y="83"/>
                    </a:lnTo>
                    <a:close/>
                    <a:moveTo>
                      <a:pt x="177" y="40"/>
                    </a:moveTo>
                    <a:lnTo>
                      <a:pt x="179" y="40"/>
                    </a:lnTo>
                    <a:lnTo>
                      <a:pt x="179" y="42"/>
                    </a:lnTo>
                    <a:lnTo>
                      <a:pt x="177" y="40"/>
                    </a:lnTo>
                    <a:lnTo>
                      <a:pt x="175" y="40"/>
                    </a:lnTo>
                    <a:lnTo>
                      <a:pt x="175" y="42"/>
                    </a:lnTo>
                    <a:lnTo>
                      <a:pt x="175" y="44"/>
                    </a:lnTo>
                    <a:lnTo>
                      <a:pt x="173" y="46"/>
                    </a:lnTo>
                    <a:lnTo>
                      <a:pt x="173" y="48"/>
                    </a:lnTo>
                    <a:lnTo>
                      <a:pt x="173" y="50"/>
                    </a:lnTo>
                    <a:lnTo>
                      <a:pt x="171" y="52"/>
                    </a:lnTo>
                    <a:lnTo>
                      <a:pt x="173" y="52"/>
                    </a:lnTo>
                    <a:lnTo>
                      <a:pt x="171" y="52"/>
                    </a:lnTo>
                    <a:lnTo>
                      <a:pt x="173" y="52"/>
                    </a:lnTo>
                    <a:lnTo>
                      <a:pt x="171" y="52"/>
                    </a:lnTo>
                    <a:lnTo>
                      <a:pt x="169" y="50"/>
                    </a:lnTo>
                    <a:lnTo>
                      <a:pt x="171" y="50"/>
                    </a:lnTo>
                    <a:lnTo>
                      <a:pt x="169" y="50"/>
                    </a:lnTo>
                    <a:lnTo>
                      <a:pt x="171" y="50"/>
                    </a:lnTo>
                    <a:lnTo>
                      <a:pt x="169" y="50"/>
                    </a:lnTo>
                    <a:lnTo>
                      <a:pt x="165" y="46"/>
                    </a:lnTo>
                    <a:lnTo>
                      <a:pt x="167" y="46"/>
                    </a:lnTo>
                    <a:lnTo>
                      <a:pt x="165" y="46"/>
                    </a:lnTo>
                    <a:lnTo>
                      <a:pt x="163" y="44"/>
                    </a:lnTo>
                    <a:lnTo>
                      <a:pt x="163" y="42"/>
                    </a:lnTo>
                    <a:lnTo>
                      <a:pt x="161" y="42"/>
                    </a:lnTo>
                    <a:lnTo>
                      <a:pt x="161" y="40"/>
                    </a:lnTo>
                    <a:lnTo>
                      <a:pt x="163" y="40"/>
                    </a:lnTo>
                    <a:lnTo>
                      <a:pt x="163" y="38"/>
                    </a:lnTo>
                    <a:lnTo>
                      <a:pt x="165" y="38"/>
                    </a:lnTo>
                    <a:lnTo>
                      <a:pt x="165" y="36"/>
                    </a:lnTo>
                    <a:lnTo>
                      <a:pt x="167" y="36"/>
                    </a:lnTo>
                    <a:lnTo>
                      <a:pt x="169" y="36"/>
                    </a:lnTo>
                    <a:lnTo>
                      <a:pt x="171" y="36"/>
                    </a:lnTo>
                    <a:lnTo>
                      <a:pt x="171" y="38"/>
                    </a:lnTo>
                    <a:lnTo>
                      <a:pt x="175" y="38"/>
                    </a:lnTo>
                    <a:lnTo>
                      <a:pt x="177" y="40"/>
                    </a:lnTo>
                    <a:close/>
                    <a:moveTo>
                      <a:pt x="104" y="6"/>
                    </a:moveTo>
                    <a:lnTo>
                      <a:pt x="104" y="8"/>
                    </a:lnTo>
                    <a:lnTo>
                      <a:pt x="102" y="8"/>
                    </a:lnTo>
                    <a:lnTo>
                      <a:pt x="104" y="8"/>
                    </a:lnTo>
                    <a:lnTo>
                      <a:pt x="102" y="8"/>
                    </a:lnTo>
                    <a:lnTo>
                      <a:pt x="102" y="10"/>
                    </a:lnTo>
                    <a:lnTo>
                      <a:pt x="102" y="11"/>
                    </a:lnTo>
                    <a:lnTo>
                      <a:pt x="102" y="10"/>
                    </a:lnTo>
                    <a:lnTo>
                      <a:pt x="102" y="8"/>
                    </a:lnTo>
                    <a:lnTo>
                      <a:pt x="104" y="8"/>
                    </a:lnTo>
                    <a:lnTo>
                      <a:pt x="106" y="8"/>
                    </a:lnTo>
                    <a:lnTo>
                      <a:pt x="106" y="6"/>
                    </a:lnTo>
                    <a:lnTo>
                      <a:pt x="106" y="8"/>
                    </a:lnTo>
                    <a:lnTo>
                      <a:pt x="108" y="8"/>
                    </a:lnTo>
                    <a:lnTo>
                      <a:pt x="108" y="10"/>
                    </a:lnTo>
                    <a:lnTo>
                      <a:pt x="106" y="10"/>
                    </a:lnTo>
                    <a:lnTo>
                      <a:pt x="108" y="10"/>
                    </a:lnTo>
                    <a:lnTo>
                      <a:pt x="108" y="11"/>
                    </a:lnTo>
                    <a:lnTo>
                      <a:pt x="106" y="11"/>
                    </a:lnTo>
                    <a:lnTo>
                      <a:pt x="108" y="11"/>
                    </a:lnTo>
                    <a:lnTo>
                      <a:pt x="106" y="11"/>
                    </a:lnTo>
                    <a:lnTo>
                      <a:pt x="104" y="11"/>
                    </a:lnTo>
                    <a:lnTo>
                      <a:pt x="104" y="13"/>
                    </a:lnTo>
                    <a:lnTo>
                      <a:pt x="102" y="11"/>
                    </a:lnTo>
                    <a:lnTo>
                      <a:pt x="102" y="13"/>
                    </a:lnTo>
                    <a:lnTo>
                      <a:pt x="100" y="13"/>
                    </a:lnTo>
                    <a:lnTo>
                      <a:pt x="100" y="11"/>
                    </a:lnTo>
                    <a:lnTo>
                      <a:pt x="100" y="13"/>
                    </a:lnTo>
                    <a:lnTo>
                      <a:pt x="100" y="11"/>
                    </a:lnTo>
                    <a:lnTo>
                      <a:pt x="98" y="11"/>
                    </a:lnTo>
                    <a:lnTo>
                      <a:pt x="100" y="11"/>
                    </a:lnTo>
                    <a:lnTo>
                      <a:pt x="100" y="13"/>
                    </a:lnTo>
                    <a:lnTo>
                      <a:pt x="98" y="13"/>
                    </a:lnTo>
                    <a:lnTo>
                      <a:pt x="98" y="11"/>
                    </a:lnTo>
                    <a:lnTo>
                      <a:pt x="98" y="13"/>
                    </a:lnTo>
                    <a:lnTo>
                      <a:pt x="100" y="13"/>
                    </a:lnTo>
                    <a:lnTo>
                      <a:pt x="100" y="11"/>
                    </a:lnTo>
                    <a:lnTo>
                      <a:pt x="100" y="13"/>
                    </a:lnTo>
                    <a:lnTo>
                      <a:pt x="100" y="11"/>
                    </a:lnTo>
                    <a:lnTo>
                      <a:pt x="100" y="13"/>
                    </a:lnTo>
                    <a:lnTo>
                      <a:pt x="102" y="13"/>
                    </a:lnTo>
                    <a:lnTo>
                      <a:pt x="104" y="13"/>
                    </a:lnTo>
                    <a:lnTo>
                      <a:pt x="104" y="15"/>
                    </a:lnTo>
                    <a:lnTo>
                      <a:pt x="104" y="13"/>
                    </a:lnTo>
                    <a:lnTo>
                      <a:pt x="106" y="13"/>
                    </a:lnTo>
                    <a:lnTo>
                      <a:pt x="108" y="13"/>
                    </a:lnTo>
                    <a:lnTo>
                      <a:pt x="108" y="11"/>
                    </a:lnTo>
                    <a:lnTo>
                      <a:pt x="108" y="13"/>
                    </a:lnTo>
                    <a:lnTo>
                      <a:pt x="108" y="11"/>
                    </a:lnTo>
                    <a:lnTo>
                      <a:pt x="109" y="13"/>
                    </a:lnTo>
                    <a:lnTo>
                      <a:pt x="111" y="15"/>
                    </a:lnTo>
                    <a:lnTo>
                      <a:pt x="111" y="17"/>
                    </a:lnTo>
                    <a:lnTo>
                      <a:pt x="111" y="21"/>
                    </a:lnTo>
                    <a:lnTo>
                      <a:pt x="109" y="21"/>
                    </a:lnTo>
                    <a:lnTo>
                      <a:pt x="108" y="21"/>
                    </a:lnTo>
                    <a:lnTo>
                      <a:pt x="109" y="21"/>
                    </a:lnTo>
                    <a:lnTo>
                      <a:pt x="108" y="21"/>
                    </a:lnTo>
                    <a:lnTo>
                      <a:pt x="108" y="19"/>
                    </a:lnTo>
                    <a:lnTo>
                      <a:pt x="106" y="19"/>
                    </a:lnTo>
                    <a:lnTo>
                      <a:pt x="104" y="19"/>
                    </a:lnTo>
                    <a:lnTo>
                      <a:pt x="104" y="21"/>
                    </a:lnTo>
                    <a:lnTo>
                      <a:pt x="102" y="21"/>
                    </a:lnTo>
                    <a:lnTo>
                      <a:pt x="100" y="21"/>
                    </a:lnTo>
                    <a:lnTo>
                      <a:pt x="98" y="21"/>
                    </a:lnTo>
                    <a:lnTo>
                      <a:pt x="96" y="21"/>
                    </a:lnTo>
                    <a:lnTo>
                      <a:pt x="96" y="19"/>
                    </a:lnTo>
                    <a:lnTo>
                      <a:pt x="94" y="19"/>
                    </a:lnTo>
                    <a:lnTo>
                      <a:pt x="92" y="19"/>
                    </a:lnTo>
                    <a:lnTo>
                      <a:pt x="90" y="19"/>
                    </a:lnTo>
                    <a:lnTo>
                      <a:pt x="90" y="21"/>
                    </a:lnTo>
                    <a:lnTo>
                      <a:pt x="88" y="21"/>
                    </a:lnTo>
                    <a:lnTo>
                      <a:pt x="86" y="21"/>
                    </a:lnTo>
                    <a:lnTo>
                      <a:pt x="84" y="21"/>
                    </a:lnTo>
                    <a:lnTo>
                      <a:pt x="83" y="21"/>
                    </a:lnTo>
                    <a:lnTo>
                      <a:pt x="81" y="21"/>
                    </a:lnTo>
                    <a:lnTo>
                      <a:pt x="79" y="21"/>
                    </a:lnTo>
                    <a:lnTo>
                      <a:pt x="79" y="19"/>
                    </a:lnTo>
                    <a:lnTo>
                      <a:pt x="79" y="17"/>
                    </a:lnTo>
                    <a:lnTo>
                      <a:pt x="77" y="17"/>
                    </a:lnTo>
                    <a:lnTo>
                      <a:pt x="79" y="17"/>
                    </a:lnTo>
                    <a:lnTo>
                      <a:pt x="77" y="17"/>
                    </a:lnTo>
                    <a:lnTo>
                      <a:pt x="75" y="17"/>
                    </a:lnTo>
                    <a:lnTo>
                      <a:pt x="75" y="19"/>
                    </a:lnTo>
                    <a:lnTo>
                      <a:pt x="77" y="19"/>
                    </a:lnTo>
                    <a:lnTo>
                      <a:pt x="75" y="19"/>
                    </a:lnTo>
                    <a:lnTo>
                      <a:pt x="77" y="19"/>
                    </a:lnTo>
                    <a:lnTo>
                      <a:pt x="77" y="21"/>
                    </a:lnTo>
                    <a:lnTo>
                      <a:pt x="75" y="21"/>
                    </a:lnTo>
                    <a:lnTo>
                      <a:pt x="75" y="19"/>
                    </a:lnTo>
                    <a:lnTo>
                      <a:pt x="73" y="19"/>
                    </a:lnTo>
                    <a:lnTo>
                      <a:pt x="75" y="19"/>
                    </a:lnTo>
                    <a:lnTo>
                      <a:pt x="73" y="19"/>
                    </a:lnTo>
                    <a:lnTo>
                      <a:pt x="73" y="17"/>
                    </a:lnTo>
                    <a:lnTo>
                      <a:pt x="73" y="15"/>
                    </a:lnTo>
                    <a:lnTo>
                      <a:pt x="75" y="13"/>
                    </a:lnTo>
                    <a:lnTo>
                      <a:pt x="77" y="11"/>
                    </a:lnTo>
                    <a:lnTo>
                      <a:pt x="77" y="10"/>
                    </a:lnTo>
                    <a:lnTo>
                      <a:pt x="79" y="8"/>
                    </a:lnTo>
                    <a:lnTo>
                      <a:pt x="79" y="4"/>
                    </a:lnTo>
                    <a:lnTo>
                      <a:pt x="79" y="6"/>
                    </a:lnTo>
                    <a:lnTo>
                      <a:pt x="81" y="6"/>
                    </a:lnTo>
                    <a:lnTo>
                      <a:pt x="79" y="6"/>
                    </a:lnTo>
                    <a:lnTo>
                      <a:pt x="79" y="4"/>
                    </a:lnTo>
                    <a:lnTo>
                      <a:pt x="81" y="4"/>
                    </a:lnTo>
                    <a:lnTo>
                      <a:pt x="81" y="2"/>
                    </a:lnTo>
                    <a:lnTo>
                      <a:pt x="81" y="4"/>
                    </a:lnTo>
                    <a:lnTo>
                      <a:pt x="81" y="2"/>
                    </a:lnTo>
                    <a:lnTo>
                      <a:pt x="79" y="4"/>
                    </a:lnTo>
                    <a:lnTo>
                      <a:pt x="79" y="2"/>
                    </a:lnTo>
                    <a:lnTo>
                      <a:pt x="79" y="0"/>
                    </a:lnTo>
                    <a:lnTo>
                      <a:pt x="81" y="0"/>
                    </a:lnTo>
                    <a:lnTo>
                      <a:pt x="81" y="2"/>
                    </a:lnTo>
                    <a:lnTo>
                      <a:pt x="83" y="2"/>
                    </a:lnTo>
                    <a:lnTo>
                      <a:pt x="81" y="2"/>
                    </a:lnTo>
                    <a:lnTo>
                      <a:pt x="83" y="2"/>
                    </a:lnTo>
                    <a:lnTo>
                      <a:pt x="81" y="2"/>
                    </a:lnTo>
                    <a:lnTo>
                      <a:pt x="83" y="2"/>
                    </a:lnTo>
                    <a:lnTo>
                      <a:pt x="83" y="0"/>
                    </a:lnTo>
                    <a:lnTo>
                      <a:pt x="84" y="0"/>
                    </a:lnTo>
                    <a:lnTo>
                      <a:pt x="84" y="2"/>
                    </a:lnTo>
                    <a:lnTo>
                      <a:pt x="86" y="2"/>
                    </a:lnTo>
                    <a:lnTo>
                      <a:pt x="84" y="2"/>
                    </a:lnTo>
                    <a:lnTo>
                      <a:pt x="84" y="0"/>
                    </a:lnTo>
                    <a:lnTo>
                      <a:pt x="83" y="0"/>
                    </a:lnTo>
                    <a:lnTo>
                      <a:pt x="83" y="2"/>
                    </a:lnTo>
                    <a:lnTo>
                      <a:pt x="83" y="0"/>
                    </a:lnTo>
                    <a:lnTo>
                      <a:pt x="81" y="0"/>
                    </a:lnTo>
                    <a:lnTo>
                      <a:pt x="83" y="0"/>
                    </a:lnTo>
                    <a:lnTo>
                      <a:pt x="86" y="0"/>
                    </a:lnTo>
                    <a:lnTo>
                      <a:pt x="88" y="0"/>
                    </a:lnTo>
                    <a:lnTo>
                      <a:pt x="90" y="0"/>
                    </a:lnTo>
                    <a:lnTo>
                      <a:pt x="88" y="0"/>
                    </a:lnTo>
                    <a:lnTo>
                      <a:pt x="90" y="0"/>
                    </a:lnTo>
                    <a:lnTo>
                      <a:pt x="92" y="0"/>
                    </a:lnTo>
                    <a:lnTo>
                      <a:pt x="96" y="0"/>
                    </a:lnTo>
                    <a:lnTo>
                      <a:pt x="98" y="0"/>
                    </a:lnTo>
                    <a:lnTo>
                      <a:pt x="100" y="0"/>
                    </a:lnTo>
                    <a:lnTo>
                      <a:pt x="102" y="2"/>
                    </a:lnTo>
                    <a:lnTo>
                      <a:pt x="104" y="4"/>
                    </a:lnTo>
                    <a:lnTo>
                      <a:pt x="106" y="6"/>
                    </a:lnTo>
                    <a:lnTo>
                      <a:pt x="104" y="6"/>
                    </a:lnTo>
                    <a:lnTo>
                      <a:pt x="104" y="4"/>
                    </a:lnTo>
                    <a:lnTo>
                      <a:pt x="104" y="6"/>
                    </a:lnTo>
                    <a:lnTo>
                      <a:pt x="104" y="4"/>
                    </a:lnTo>
                    <a:lnTo>
                      <a:pt x="104" y="6"/>
                    </a:lnTo>
                    <a:lnTo>
                      <a:pt x="104" y="4"/>
                    </a:lnTo>
                    <a:lnTo>
                      <a:pt x="104" y="6"/>
                    </a:lnTo>
                    <a:lnTo>
                      <a:pt x="104" y="4"/>
                    </a:lnTo>
                    <a:lnTo>
                      <a:pt x="104" y="6"/>
                    </a:lnTo>
                    <a:lnTo>
                      <a:pt x="102" y="4"/>
                    </a:lnTo>
                    <a:lnTo>
                      <a:pt x="102" y="6"/>
                    </a:lnTo>
                    <a:lnTo>
                      <a:pt x="104" y="6"/>
                    </a:lnTo>
                    <a:lnTo>
                      <a:pt x="102" y="6"/>
                    </a:lnTo>
                    <a:lnTo>
                      <a:pt x="104" y="6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" name="Freeform 144">
                <a:extLst>
                  <a:ext uri="{FF2B5EF4-FFF2-40B4-BE49-F238E27FC236}">
                    <a16:creationId xmlns="" xmlns:a16="http://schemas.microsoft.com/office/drawing/2014/main" id="{17079D5D-49D3-41C8-9DDB-21147001707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86150" y="2501901"/>
                <a:ext cx="979488" cy="1120775"/>
              </a:xfrm>
              <a:custGeom>
                <a:avLst/>
                <a:gdLst>
                  <a:gd name="T0" fmla="*/ 73 w 617"/>
                  <a:gd name="T1" fmla="*/ 446 h 706"/>
                  <a:gd name="T2" fmla="*/ 73 w 617"/>
                  <a:gd name="T3" fmla="*/ 442 h 706"/>
                  <a:gd name="T4" fmla="*/ 73 w 617"/>
                  <a:gd name="T5" fmla="*/ 438 h 706"/>
                  <a:gd name="T6" fmla="*/ 79 w 617"/>
                  <a:gd name="T7" fmla="*/ 438 h 706"/>
                  <a:gd name="T8" fmla="*/ 69 w 617"/>
                  <a:gd name="T9" fmla="*/ 417 h 706"/>
                  <a:gd name="T10" fmla="*/ 77 w 617"/>
                  <a:gd name="T11" fmla="*/ 408 h 706"/>
                  <a:gd name="T12" fmla="*/ 73 w 617"/>
                  <a:gd name="T13" fmla="*/ 396 h 706"/>
                  <a:gd name="T14" fmla="*/ 88 w 617"/>
                  <a:gd name="T15" fmla="*/ 381 h 706"/>
                  <a:gd name="T16" fmla="*/ 85 w 617"/>
                  <a:gd name="T17" fmla="*/ 392 h 706"/>
                  <a:gd name="T18" fmla="*/ 104 w 617"/>
                  <a:gd name="T19" fmla="*/ 364 h 706"/>
                  <a:gd name="T20" fmla="*/ 248 w 617"/>
                  <a:gd name="T21" fmla="*/ 381 h 706"/>
                  <a:gd name="T22" fmla="*/ 225 w 617"/>
                  <a:gd name="T23" fmla="*/ 364 h 706"/>
                  <a:gd name="T24" fmla="*/ 231 w 617"/>
                  <a:gd name="T25" fmla="*/ 358 h 706"/>
                  <a:gd name="T26" fmla="*/ 217 w 617"/>
                  <a:gd name="T27" fmla="*/ 352 h 706"/>
                  <a:gd name="T28" fmla="*/ 179 w 617"/>
                  <a:gd name="T29" fmla="*/ 337 h 706"/>
                  <a:gd name="T30" fmla="*/ 469 w 617"/>
                  <a:gd name="T31" fmla="*/ 365 h 706"/>
                  <a:gd name="T32" fmla="*/ 413 w 617"/>
                  <a:gd name="T33" fmla="*/ 117 h 706"/>
                  <a:gd name="T34" fmla="*/ 442 w 617"/>
                  <a:gd name="T35" fmla="*/ 146 h 706"/>
                  <a:gd name="T36" fmla="*/ 492 w 617"/>
                  <a:gd name="T37" fmla="*/ 152 h 706"/>
                  <a:gd name="T38" fmla="*/ 486 w 617"/>
                  <a:gd name="T39" fmla="*/ 106 h 706"/>
                  <a:gd name="T40" fmla="*/ 530 w 617"/>
                  <a:gd name="T41" fmla="*/ 154 h 706"/>
                  <a:gd name="T42" fmla="*/ 534 w 617"/>
                  <a:gd name="T43" fmla="*/ 260 h 706"/>
                  <a:gd name="T44" fmla="*/ 555 w 617"/>
                  <a:gd name="T45" fmla="*/ 437 h 706"/>
                  <a:gd name="T46" fmla="*/ 596 w 617"/>
                  <a:gd name="T47" fmla="*/ 602 h 706"/>
                  <a:gd name="T48" fmla="*/ 523 w 617"/>
                  <a:gd name="T49" fmla="*/ 681 h 706"/>
                  <a:gd name="T50" fmla="*/ 182 w 617"/>
                  <a:gd name="T51" fmla="*/ 494 h 706"/>
                  <a:gd name="T52" fmla="*/ 88 w 617"/>
                  <a:gd name="T53" fmla="*/ 431 h 706"/>
                  <a:gd name="T54" fmla="*/ 109 w 617"/>
                  <a:gd name="T55" fmla="*/ 383 h 706"/>
                  <a:gd name="T56" fmla="*/ 204 w 617"/>
                  <a:gd name="T57" fmla="*/ 344 h 706"/>
                  <a:gd name="T58" fmla="*/ 269 w 617"/>
                  <a:gd name="T59" fmla="*/ 414 h 706"/>
                  <a:gd name="T60" fmla="*/ 305 w 617"/>
                  <a:gd name="T61" fmla="*/ 481 h 706"/>
                  <a:gd name="T62" fmla="*/ 277 w 617"/>
                  <a:gd name="T63" fmla="*/ 402 h 706"/>
                  <a:gd name="T64" fmla="*/ 328 w 617"/>
                  <a:gd name="T65" fmla="*/ 354 h 706"/>
                  <a:gd name="T66" fmla="*/ 423 w 617"/>
                  <a:gd name="T67" fmla="*/ 287 h 706"/>
                  <a:gd name="T68" fmla="*/ 428 w 617"/>
                  <a:gd name="T69" fmla="*/ 358 h 706"/>
                  <a:gd name="T70" fmla="*/ 413 w 617"/>
                  <a:gd name="T71" fmla="*/ 481 h 706"/>
                  <a:gd name="T72" fmla="*/ 428 w 617"/>
                  <a:gd name="T73" fmla="*/ 444 h 706"/>
                  <a:gd name="T74" fmla="*/ 467 w 617"/>
                  <a:gd name="T75" fmla="*/ 371 h 706"/>
                  <a:gd name="T76" fmla="*/ 505 w 617"/>
                  <a:gd name="T77" fmla="*/ 396 h 706"/>
                  <a:gd name="T78" fmla="*/ 528 w 617"/>
                  <a:gd name="T79" fmla="*/ 471 h 706"/>
                  <a:gd name="T80" fmla="*/ 471 w 617"/>
                  <a:gd name="T81" fmla="*/ 373 h 706"/>
                  <a:gd name="T82" fmla="*/ 425 w 617"/>
                  <a:gd name="T83" fmla="*/ 329 h 706"/>
                  <a:gd name="T84" fmla="*/ 411 w 617"/>
                  <a:gd name="T85" fmla="*/ 244 h 706"/>
                  <a:gd name="T86" fmla="*/ 369 w 617"/>
                  <a:gd name="T87" fmla="*/ 98 h 706"/>
                  <a:gd name="T88" fmla="*/ 219 w 617"/>
                  <a:gd name="T89" fmla="*/ 371 h 706"/>
                  <a:gd name="T90" fmla="*/ 340 w 617"/>
                  <a:gd name="T91" fmla="*/ 81 h 706"/>
                  <a:gd name="T92" fmla="*/ 332 w 617"/>
                  <a:gd name="T93" fmla="*/ 169 h 706"/>
                  <a:gd name="T94" fmla="*/ 332 w 617"/>
                  <a:gd name="T95" fmla="*/ 277 h 706"/>
                  <a:gd name="T96" fmla="*/ 234 w 617"/>
                  <a:gd name="T97" fmla="*/ 352 h 706"/>
                  <a:gd name="T98" fmla="*/ 140 w 617"/>
                  <a:gd name="T99" fmla="*/ 335 h 706"/>
                  <a:gd name="T100" fmla="*/ 81 w 617"/>
                  <a:gd name="T101" fmla="*/ 379 h 706"/>
                  <a:gd name="T102" fmla="*/ 86 w 617"/>
                  <a:gd name="T103" fmla="*/ 390 h 706"/>
                  <a:gd name="T104" fmla="*/ 52 w 617"/>
                  <a:gd name="T105" fmla="*/ 419 h 706"/>
                  <a:gd name="T106" fmla="*/ 69 w 617"/>
                  <a:gd name="T107" fmla="*/ 442 h 706"/>
                  <a:gd name="T108" fmla="*/ 42 w 617"/>
                  <a:gd name="T109" fmla="*/ 337 h 706"/>
                  <a:gd name="T110" fmla="*/ 144 w 617"/>
                  <a:gd name="T111" fmla="*/ 198 h 706"/>
                  <a:gd name="T112" fmla="*/ 206 w 617"/>
                  <a:gd name="T113" fmla="*/ 252 h 706"/>
                  <a:gd name="T114" fmla="*/ 261 w 617"/>
                  <a:gd name="T115" fmla="*/ 223 h 706"/>
                  <a:gd name="T116" fmla="*/ 225 w 617"/>
                  <a:gd name="T117" fmla="*/ 185 h 706"/>
                  <a:gd name="T118" fmla="*/ 240 w 617"/>
                  <a:gd name="T119" fmla="*/ 133 h 706"/>
                  <a:gd name="T120" fmla="*/ 217 w 617"/>
                  <a:gd name="T121" fmla="*/ 92 h 706"/>
                  <a:gd name="T122" fmla="*/ 261 w 617"/>
                  <a:gd name="T123" fmla="*/ 67 h 706"/>
                  <a:gd name="T124" fmla="*/ 200 w 617"/>
                  <a:gd name="T125" fmla="*/ 337 h 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17" h="706">
                    <a:moveTo>
                      <a:pt x="65" y="454"/>
                    </a:moveTo>
                    <a:lnTo>
                      <a:pt x="65" y="452"/>
                    </a:lnTo>
                    <a:lnTo>
                      <a:pt x="67" y="452"/>
                    </a:lnTo>
                    <a:lnTo>
                      <a:pt x="67" y="454"/>
                    </a:lnTo>
                    <a:lnTo>
                      <a:pt x="67" y="452"/>
                    </a:lnTo>
                    <a:lnTo>
                      <a:pt x="67" y="454"/>
                    </a:lnTo>
                    <a:lnTo>
                      <a:pt x="65" y="452"/>
                    </a:lnTo>
                    <a:lnTo>
                      <a:pt x="65" y="454"/>
                    </a:lnTo>
                    <a:lnTo>
                      <a:pt x="67" y="454"/>
                    </a:lnTo>
                    <a:lnTo>
                      <a:pt x="65" y="454"/>
                    </a:lnTo>
                    <a:close/>
                    <a:moveTo>
                      <a:pt x="71" y="450"/>
                    </a:moveTo>
                    <a:lnTo>
                      <a:pt x="71" y="452"/>
                    </a:lnTo>
                    <a:lnTo>
                      <a:pt x="71" y="450"/>
                    </a:lnTo>
                    <a:close/>
                    <a:moveTo>
                      <a:pt x="71" y="450"/>
                    </a:moveTo>
                    <a:lnTo>
                      <a:pt x="71" y="452"/>
                    </a:lnTo>
                    <a:lnTo>
                      <a:pt x="71" y="450"/>
                    </a:lnTo>
                    <a:close/>
                    <a:moveTo>
                      <a:pt x="67" y="450"/>
                    </a:moveTo>
                    <a:lnTo>
                      <a:pt x="65" y="450"/>
                    </a:lnTo>
                    <a:lnTo>
                      <a:pt x="67" y="450"/>
                    </a:lnTo>
                    <a:lnTo>
                      <a:pt x="67" y="452"/>
                    </a:lnTo>
                    <a:lnTo>
                      <a:pt x="67" y="450"/>
                    </a:lnTo>
                    <a:lnTo>
                      <a:pt x="69" y="450"/>
                    </a:lnTo>
                    <a:lnTo>
                      <a:pt x="67" y="450"/>
                    </a:lnTo>
                    <a:lnTo>
                      <a:pt x="67" y="452"/>
                    </a:lnTo>
                    <a:lnTo>
                      <a:pt x="69" y="450"/>
                    </a:lnTo>
                    <a:lnTo>
                      <a:pt x="69" y="452"/>
                    </a:lnTo>
                    <a:lnTo>
                      <a:pt x="67" y="452"/>
                    </a:lnTo>
                    <a:lnTo>
                      <a:pt x="67" y="450"/>
                    </a:lnTo>
                    <a:lnTo>
                      <a:pt x="65" y="450"/>
                    </a:lnTo>
                    <a:lnTo>
                      <a:pt x="67" y="450"/>
                    </a:lnTo>
                    <a:lnTo>
                      <a:pt x="67" y="448"/>
                    </a:lnTo>
                    <a:lnTo>
                      <a:pt x="67" y="450"/>
                    </a:lnTo>
                    <a:close/>
                    <a:moveTo>
                      <a:pt x="81" y="452"/>
                    </a:moveTo>
                    <a:lnTo>
                      <a:pt x="81" y="454"/>
                    </a:lnTo>
                    <a:lnTo>
                      <a:pt x="81" y="452"/>
                    </a:lnTo>
                    <a:close/>
                    <a:moveTo>
                      <a:pt x="77" y="452"/>
                    </a:moveTo>
                    <a:lnTo>
                      <a:pt x="77" y="450"/>
                    </a:lnTo>
                    <a:lnTo>
                      <a:pt x="77" y="452"/>
                    </a:lnTo>
                    <a:close/>
                    <a:moveTo>
                      <a:pt x="71" y="450"/>
                    </a:moveTo>
                    <a:lnTo>
                      <a:pt x="71" y="448"/>
                    </a:lnTo>
                    <a:lnTo>
                      <a:pt x="71" y="450"/>
                    </a:lnTo>
                    <a:close/>
                    <a:moveTo>
                      <a:pt x="75" y="450"/>
                    </a:moveTo>
                    <a:lnTo>
                      <a:pt x="75" y="452"/>
                    </a:lnTo>
                    <a:lnTo>
                      <a:pt x="75" y="450"/>
                    </a:lnTo>
                    <a:lnTo>
                      <a:pt x="75" y="452"/>
                    </a:lnTo>
                    <a:lnTo>
                      <a:pt x="75" y="450"/>
                    </a:lnTo>
                    <a:lnTo>
                      <a:pt x="77" y="450"/>
                    </a:lnTo>
                    <a:lnTo>
                      <a:pt x="75" y="450"/>
                    </a:lnTo>
                    <a:close/>
                    <a:moveTo>
                      <a:pt x="83" y="454"/>
                    </a:moveTo>
                    <a:lnTo>
                      <a:pt x="83" y="452"/>
                    </a:lnTo>
                    <a:lnTo>
                      <a:pt x="83" y="454"/>
                    </a:lnTo>
                    <a:close/>
                    <a:moveTo>
                      <a:pt x="79" y="452"/>
                    </a:moveTo>
                    <a:lnTo>
                      <a:pt x="81" y="452"/>
                    </a:lnTo>
                    <a:lnTo>
                      <a:pt x="79" y="452"/>
                    </a:lnTo>
                    <a:close/>
                    <a:moveTo>
                      <a:pt x="81" y="452"/>
                    </a:moveTo>
                    <a:lnTo>
                      <a:pt x="81" y="454"/>
                    </a:lnTo>
                    <a:lnTo>
                      <a:pt x="81" y="452"/>
                    </a:lnTo>
                    <a:lnTo>
                      <a:pt x="81" y="454"/>
                    </a:lnTo>
                    <a:lnTo>
                      <a:pt x="81" y="452"/>
                    </a:lnTo>
                    <a:lnTo>
                      <a:pt x="81" y="454"/>
                    </a:lnTo>
                    <a:lnTo>
                      <a:pt x="83" y="452"/>
                    </a:lnTo>
                    <a:lnTo>
                      <a:pt x="81" y="454"/>
                    </a:lnTo>
                    <a:lnTo>
                      <a:pt x="81" y="452"/>
                    </a:lnTo>
                    <a:close/>
                    <a:moveTo>
                      <a:pt x="71" y="450"/>
                    </a:moveTo>
                    <a:lnTo>
                      <a:pt x="71" y="448"/>
                    </a:lnTo>
                    <a:lnTo>
                      <a:pt x="71" y="450"/>
                    </a:lnTo>
                    <a:lnTo>
                      <a:pt x="71" y="448"/>
                    </a:lnTo>
                    <a:lnTo>
                      <a:pt x="71" y="450"/>
                    </a:lnTo>
                    <a:close/>
                    <a:moveTo>
                      <a:pt x="77" y="450"/>
                    </a:moveTo>
                    <a:lnTo>
                      <a:pt x="77" y="452"/>
                    </a:lnTo>
                    <a:lnTo>
                      <a:pt x="77" y="450"/>
                    </a:lnTo>
                    <a:lnTo>
                      <a:pt x="75" y="450"/>
                    </a:lnTo>
                    <a:lnTo>
                      <a:pt x="77" y="450"/>
                    </a:lnTo>
                    <a:close/>
                    <a:moveTo>
                      <a:pt x="86" y="454"/>
                    </a:moveTo>
                    <a:lnTo>
                      <a:pt x="86" y="452"/>
                    </a:lnTo>
                    <a:lnTo>
                      <a:pt x="86" y="454"/>
                    </a:lnTo>
                    <a:close/>
                    <a:moveTo>
                      <a:pt x="83" y="454"/>
                    </a:moveTo>
                    <a:lnTo>
                      <a:pt x="83" y="452"/>
                    </a:lnTo>
                    <a:lnTo>
                      <a:pt x="83" y="454"/>
                    </a:lnTo>
                    <a:lnTo>
                      <a:pt x="85" y="454"/>
                    </a:lnTo>
                    <a:lnTo>
                      <a:pt x="83" y="452"/>
                    </a:lnTo>
                    <a:lnTo>
                      <a:pt x="85" y="452"/>
                    </a:lnTo>
                    <a:lnTo>
                      <a:pt x="83" y="452"/>
                    </a:lnTo>
                    <a:lnTo>
                      <a:pt x="85" y="452"/>
                    </a:lnTo>
                    <a:lnTo>
                      <a:pt x="85" y="454"/>
                    </a:lnTo>
                    <a:lnTo>
                      <a:pt x="83" y="454"/>
                    </a:lnTo>
                    <a:close/>
                    <a:moveTo>
                      <a:pt x="67" y="448"/>
                    </a:moveTo>
                    <a:lnTo>
                      <a:pt x="67" y="446"/>
                    </a:lnTo>
                    <a:lnTo>
                      <a:pt x="67" y="448"/>
                    </a:lnTo>
                    <a:close/>
                    <a:moveTo>
                      <a:pt x="79" y="450"/>
                    </a:moveTo>
                    <a:lnTo>
                      <a:pt x="79" y="452"/>
                    </a:lnTo>
                    <a:lnTo>
                      <a:pt x="79" y="450"/>
                    </a:lnTo>
                    <a:lnTo>
                      <a:pt x="77" y="450"/>
                    </a:lnTo>
                    <a:lnTo>
                      <a:pt x="79" y="450"/>
                    </a:lnTo>
                    <a:close/>
                    <a:moveTo>
                      <a:pt x="79" y="450"/>
                    </a:moveTo>
                    <a:lnTo>
                      <a:pt x="81" y="450"/>
                    </a:lnTo>
                    <a:lnTo>
                      <a:pt x="79" y="450"/>
                    </a:lnTo>
                    <a:lnTo>
                      <a:pt x="79" y="452"/>
                    </a:lnTo>
                    <a:lnTo>
                      <a:pt x="79" y="450"/>
                    </a:lnTo>
                    <a:close/>
                    <a:moveTo>
                      <a:pt x="86" y="454"/>
                    </a:moveTo>
                    <a:lnTo>
                      <a:pt x="88" y="454"/>
                    </a:lnTo>
                    <a:lnTo>
                      <a:pt x="86" y="454"/>
                    </a:lnTo>
                    <a:lnTo>
                      <a:pt x="88" y="454"/>
                    </a:lnTo>
                    <a:lnTo>
                      <a:pt x="88" y="452"/>
                    </a:lnTo>
                    <a:lnTo>
                      <a:pt x="88" y="454"/>
                    </a:lnTo>
                    <a:lnTo>
                      <a:pt x="86" y="456"/>
                    </a:lnTo>
                    <a:lnTo>
                      <a:pt x="85" y="454"/>
                    </a:lnTo>
                    <a:lnTo>
                      <a:pt x="83" y="454"/>
                    </a:lnTo>
                    <a:lnTo>
                      <a:pt x="85" y="454"/>
                    </a:lnTo>
                    <a:lnTo>
                      <a:pt x="85" y="452"/>
                    </a:lnTo>
                    <a:lnTo>
                      <a:pt x="85" y="454"/>
                    </a:lnTo>
                    <a:lnTo>
                      <a:pt x="85" y="452"/>
                    </a:lnTo>
                    <a:lnTo>
                      <a:pt x="85" y="454"/>
                    </a:lnTo>
                    <a:lnTo>
                      <a:pt x="85" y="452"/>
                    </a:lnTo>
                    <a:lnTo>
                      <a:pt x="85" y="450"/>
                    </a:lnTo>
                    <a:lnTo>
                      <a:pt x="85" y="452"/>
                    </a:lnTo>
                    <a:lnTo>
                      <a:pt x="86" y="452"/>
                    </a:lnTo>
                    <a:lnTo>
                      <a:pt x="86" y="454"/>
                    </a:lnTo>
                    <a:close/>
                    <a:moveTo>
                      <a:pt x="86" y="454"/>
                    </a:moveTo>
                    <a:lnTo>
                      <a:pt x="85" y="454"/>
                    </a:lnTo>
                    <a:lnTo>
                      <a:pt x="85" y="452"/>
                    </a:lnTo>
                    <a:lnTo>
                      <a:pt x="85" y="454"/>
                    </a:lnTo>
                    <a:lnTo>
                      <a:pt x="86" y="454"/>
                    </a:lnTo>
                    <a:close/>
                    <a:moveTo>
                      <a:pt x="88" y="452"/>
                    </a:moveTo>
                    <a:lnTo>
                      <a:pt x="86" y="452"/>
                    </a:lnTo>
                    <a:lnTo>
                      <a:pt x="88" y="452"/>
                    </a:lnTo>
                    <a:close/>
                    <a:moveTo>
                      <a:pt x="71" y="448"/>
                    </a:moveTo>
                    <a:lnTo>
                      <a:pt x="69" y="448"/>
                    </a:lnTo>
                    <a:lnTo>
                      <a:pt x="69" y="450"/>
                    </a:lnTo>
                    <a:lnTo>
                      <a:pt x="71" y="450"/>
                    </a:lnTo>
                    <a:lnTo>
                      <a:pt x="69" y="450"/>
                    </a:lnTo>
                    <a:lnTo>
                      <a:pt x="69" y="452"/>
                    </a:lnTo>
                    <a:lnTo>
                      <a:pt x="69" y="450"/>
                    </a:lnTo>
                    <a:lnTo>
                      <a:pt x="69" y="448"/>
                    </a:lnTo>
                    <a:lnTo>
                      <a:pt x="67" y="448"/>
                    </a:lnTo>
                    <a:lnTo>
                      <a:pt x="67" y="446"/>
                    </a:lnTo>
                    <a:lnTo>
                      <a:pt x="67" y="448"/>
                    </a:lnTo>
                    <a:lnTo>
                      <a:pt x="69" y="448"/>
                    </a:lnTo>
                    <a:lnTo>
                      <a:pt x="67" y="448"/>
                    </a:lnTo>
                    <a:lnTo>
                      <a:pt x="69" y="448"/>
                    </a:lnTo>
                    <a:lnTo>
                      <a:pt x="69" y="446"/>
                    </a:lnTo>
                    <a:lnTo>
                      <a:pt x="69" y="448"/>
                    </a:lnTo>
                    <a:lnTo>
                      <a:pt x="69" y="446"/>
                    </a:lnTo>
                    <a:lnTo>
                      <a:pt x="69" y="448"/>
                    </a:lnTo>
                    <a:lnTo>
                      <a:pt x="71" y="448"/>
                    </a:lnTo>
                    <a:lnTo>
                      <a:pt x="69" y="448"/>
                    </a:lnTo>
                    <a:lnTo>
                      <a:pt x="71" y="448"/>
                    </a:lnTo>
                    <a:close/>
                    <a:moveTo>
                      <a:pt x="85" y="450"/>
                    </a:moveTo>
                    <a:lnTo>
                      <a:pt x="83" y="450"/>
                    </a:lnTo>
                    <a:lnTo>
                      <a:pt x="81" y="450"/>
                    </a:lnTo>
                    <a:lnTo>
                      <a:pt x="83" y="450"/>
                    </a:lnTo>
                    <a:lnTo>
                      <a:pt x="81" y="450"/>
                    </a:lnTo>
                    <a:lnTo>
                      <a:pt x="83" y="450"/>
                    </a:lnTo>
                    <a:lnTo>
                      <a:pt x="85" y="450"/>
                    </a:lnTo>
                    <a:lnTo>
                      <a:pt x="83" y="450"/>
                    </a:lnTo>
                    <a:lnTo>
                      <a:pt x="83" y="448"/>
                    </a:lnTo>
                    <a:lnTo>
                      <a:pt x="85" y="450"/>
                    </a:lnTo>
                    <a:close/>
                    <a:moveTo>
                      <a:pt x="69" y="444"/>
                    </a:moveTo>
                    <a:lnTo>
                      <a:pt x="69" y="446"/>
                    </a:lnTo>
                    <a:lnTo>
                      <a:pt x="69" y="444"/>
                    </a:lnTo>
                    <a:lnTo>
                      <a:pt x="69" y="446"/>
                    </a:lnTo>
                    <a:lnTo>
                      <a:pt x="71" y="446"/>
                    </a:lnTo>
                    <a:lnTo>
                      <a:pt x="71" y="448"/>
                    </a:lnTo>
                    <a:lnTo>
                      <a:pt x="71" y="446"/>
                    </a:lnTo>
                    <a:lnTo>
                      <a:pt x="71" y="448"/>
                    </a:lnTo>
                    <a:lnTo>
                      <a:pt x="71" y="446"/>
                    </a:lnTo>
                    <a:lnTo>
                      <a:pt x="71" y="448"/>
                    </a:lnTo>
                    <a:lnTo>
                      <a:pt x="71" y="446"/>
                    </a:lnTo>
                    <a:lnTo>
                      <a:pt x="71" y="448"/>
                    </a:lnTo>
                    <a:lnTo>
                      <a:pt x="73" y="448"/>
                    </a:lnTo>
                    <a:lnTo>
                      <a:pt x="71" y="448"/>
                    </a:lnTo>
                    <a:lnTo>
                      <a:pt x="73" y="448"/>
                    </a:lnTo>
                    <a:lnTo>
                      <a:pt x="71" y="446"/>
                    </a:lnTo>
                    <a:lnTo>
                      <a:pt x="71" y="448"/>
                    </a:lnTo>
                    <a:lnTo>
                      <a:pt x="71" y="446"/>
                    </a:lnTo>
                    <a:lnTo>
                      <a:pt x="73" y="446"/>
                    </a:lnTo>
                    <a:lnTo>
                      <a:pt x="71" y="446"/>
                    </a:lnTo>
                    <a:lnTo>
                      <a:pt x="71" y="444"/>
                    </a:lnTo>
                    <a:lnTo>
                      <a:pt x="73" y="446"/>
                    </a:lnTo>
                    <a:lnTo>
                      <a:pt x="73" y="448"/>
                    </a:lnTo>
                    <a:lnTo>
                      <a:pt x="73" y="450"/>
                    </a:lnTo>
                    <a:lnTo>
                      <a:pt x="71" y="450"/>
                    </a:lnTo>
                    <a:lnTo>
                      <a:pt x="71" y="448"/>
                    </a:lnTo>
                    <a:lnTo>
                      <a:pt x="69" y="448"/>
                    </a:lnTo>
                    <a:lnTo>
                      <a:pt x="71" y="448"/>
                    </a:lnTo>
                    <a:lnTo>
                      <a:pt x="71" y="446"/>
                    </a:lnTo>
                    <a:lnTo>
                      <a:pt x="69" y="446"/>
                    </a:lnTo>
                    <a:lnTo>
                      <a:pt x="71" y="446"/>
                    </a:lnTo>
                    <a:lnTo>
                      <a:pt x="69" y="446"/>
                    </a:lnTo>
                    <a:lnTo>
                      <a:pt x="71" y="446"/>
                    </a:lnTo>
                    <a:lnTo>
                      <a:pt x="69" y="446"/>
                    </a:lnTo>
                    <a:lnTo>
                      <a:pt x="69" y="444"/>
                    </a:lnTo>
                    <a:lnTo>
                      <a:pt x="71" y="444"/>
                    </a:lnTo>
                    <a:lnTo>
                      <a:pt x="69" y="444"/>
                    </a:lnTo>
                    <a:close/>
                    <a:moveTo>
                      <a:pt x="86" y="452"/>
                    </a:moveTo>
                    <a:lnTo>
                      <a:pt x="85" y="452"/>
                    </a:lnTo>
                    <a:lnTo>
                      <a:pt x="85" y="450"/>
                    </a:lnTo>
                    <a:lnTo>
                      <a:pt x="85" y="452"/>
                    </a:lnTo>
                    <a:lnTo>
                      <a:pt x="86" y="452"/>
                    </a:lnTo>
                    <a:lnTo>
                      <a:pt x="86" y="450"/>
                    </a:lnTo>
                    <a:lnTo>
                      <a:pt x="86" y="452"/>
                    </a:lnTo>
                    <a:lnTo>
                      <a:pt x="86" y="450"/>
                    </a:lnTo>
                    <a:lnTo>
                      <a:pt x="86" y="452"/>
                    </a:lnTo>
                    <a:lnTo>
                      <a:pt x="86" y="450"/>
                    </a:lnTo>
                    <a:lnTo>
                      <a:pt x="86" y="448"/>
                    </a:lnTo>
                    <a:lnTo>
                      <a:pt x="85" y="448"/>
                    </a:lnTo>
                    <a:lnTo>
                      <a:pt x="86" y="450"/>
                    </a:lnTo>
                    <a:lnTo>
                      <a:pt x="86" y="452"/>
                    </a:lnTo>
                    <a:close/>
                    <a:moveTo>
                      <a:pt x="83" y="448"/>
                    </a:moveTo>
                    <a:lnTo>
                      <a:pt x="85" y="448"/>
                    </a:lnTo>
                    <a:lnTo>
                      <a:pt x="83" y="448"/>
                    </a:lnTo>
                    <a:close/>
                    <a:moveTo>
                      <a:pt x="75" y="446"/>
                    </a:moveTo>
                    <a:lnTo>
                      <a:pt x="75" y="444"/>
                    </a:lnTo>
                    <a:lnTo>
                      <a:pt x="75" y="446"/>
                    </a:lnTo>
                    <a:close/>
                    <a:moveTo>
                      <a:pt x="73" y="446"/>
                    </a:moveTo>
                    <a:lnTo>
                      <a:pt x="73" y="448"/>
                    </a:lnTo>
                    <a:lnTo>
                      <a:pt x="75" y="448"/>
                    </a:lnTo>
                    <a:lnTo>
                      <a:pt x="75" y="446"/>
                    </a:lnTo>
                    <a:lnTo>
                      <a:pt x="75" y="448"/>
                    </a:lnTo>
                    <a:lnTo>
                      <a:pt x="75" y="446"/>
                    </a:lnTo>
                    <a:lnTo>
                      <a:pt x="75" y="444"/>
                    </a:lnTo>
                    <a:lnTo>
                      <a:pt x="75" y="446"/>
                    </a:lnTo>
                    <a:lnTo>
                      <a:pt x="77" y="446"/>
                    </a:lnTo>
                    <a:lnTo>
                      <a:pt x="77" y="448"/>
                    </a:lnTo>
                    <a:lnTo>
                      <a:pt x="77" y="446"/>
                    </a:lnTo>
                    <a:lnTo>
                      <a:pt x="77" y="448"/>
                    </a:lnTo>
                    <a:lnTo>
                      <a:pt x="75" y="448"/>
                    </a:lnTo>
                    <a:lnTo>
                      <a:pt x="75" y="450"/>
                    </a:lnTo>
                    <a:lnTo>
                      <a:pt x="77" y="450"/>
                    </a:lnTo>
                    <a:lnTo>
                      <a:pt x="77" y="448"/>
                    </a:lnTo>
                    <a:lnTo>
                      <a:pt x="77" y="446"/>
                    </a:lnTo>
                    <a:lnTo>
                      <a:pt x="77" y="448"/>
                    </a:lnTo>
                    <a:lnTo>
                      <a:pt x="77" y="450"/>
                    </a:lnTo>
                    <a:lnTo>
                      <a:pt x="77" y="448"/>
                    </a:lnTo>
                    <a:lnTo>
                      <a:pt x="77" y="450"/>
                    </a:lnTo>
                    <a:lnTo>
                      <a:pt x="77" y="448"/>
                    </a:lnTo>
                    <a:lnTo>
                      <a:pt x="77" y="450"/>
                    </a:lnTo>
                    <a:lnTo>
                      <a:pt x="75" y="450"/>
                    </a:lnTo>
                    <a:lnTo>
                      <a:pt x="77" y="450"/>
                    </a:lnTo>
                    <a:lnTo>
                      <a:pt x="75" y="450"/>
                    </a:lnTo>
                    <a:lnTo>
                      <a:pt x="75" y="452"/>
                    </a:lnTo>
                    <a:lnTo>
                      <a:pt x="73" y="450"/>
                    </a:lnTo>
                    <a:lnTo>
                      <a:pt x="73" y="448"/>
                    </a:lnTo>
                    <a:lnTo>
                      <a:pt x="73" y="446"/>
                    </a:lnTo>
                    <a:close/>
                    <a:moveTo>
                      <a:pt x="71" y="444"/>
                    </a:moveTo>
                    <a:lnTo>
                      <a:pt x="71" y="442"/>
                    </a:lnTo>
                    <a:lnTo>
                      <a:pt x="71" y="444"/>
                    </a:lnTo>
                    <a:close/>
                    <a:moveTo>
                      <a:pt x="75" y="444"/>
                    </a:moveTo>
                    <a:lnTo>
                      <a:pt x="73" y="444"/>
                    </a:lnTo>
                    <a:lnTo>
                      <a:pt x="75" y="444"/>
                    </a:lnTo>
                    <a:close/>
                    <a:moveTo>
                      <a:pt x="83" y="446"/>
                    </a:moveTo>
                    <a:lnTo>
                      <a:pt x="83" y="448"/>
                    </a:lnTo>
                    <a:lnTo>
                      <a:pt x="83" y="446"/>
                    </a:lnTo>
                    <a:close/>
                    <a:moveTo>
                      <a:pt x="86" y="446"/>
                    </a:moveTo>
                    <a:lnTo>
                      <a:pt x="88" y="446"/>
                    </a:lnTo>
                    <a:lnTo>
                      <a:pt x="86" y="446"/>
                    </a:lnTo>
                    <a:close/>
                    <a:moveTo>
                      <a:pt x="73" y="442"/>
                    </a:moveTo>
                    <a:lnTo>
                      <a:pt x="75" y="442"/>
                    </a:lnTo>
                    <a:lnTo>
                      <a:pt x="73" y="442"/>
                    </a:lnTo>
                    <a:close/>
                    <a:moveTo>
                      <a:pt x="85" y="444"/>
                    </a:moveTo>
                    <a:lnTo>
                      <a:pt x="85" y="446"/>
                    </a:lnTo>
                    <a:lnTo>
                      <a:pt x="86" y="446"/>
                    </a:lnTo>
                    <a:lnTo>
                      <a:pt x="86" y="448"/>
                    </a:lnTo>
                    <a:lnTo>
                      <a:pt x="85" y="448"/>
                    </a:lnTo>
                    <a:lnTo>
                      <a:pt x="85" y="446"/>
                    </a:lnTo>
                    <a:lnTo>
                      <a:pt x="83" y="446"/>
                    </a:lnTo>
                    <a:lnTo>
                      <a:pt x="85" y="446"/>
                    </a:lnTo>
                    <a:lnTo>
                      <a:pt x="85" y="448"/>
                    </a:lnTo>
                    <a:lnTo>
                      <a:pt x="85" y="446"/>
                    </a:lnTo>
                    <a:lnTo>
                      <a:pt x="85" y="444"/>
                    </a:lnTo>
                    <a:lnTo>
                      <a:pt x="83" y="446"/>
                    </a:lnTo>
                    <a:lnTo>
                      <a:pt x="83" y="444"/>
                    </a:lnTo>
                    <a:lnTo>
                      <a:pt x="83" y="446"/>
                    </a:lnTo>
                    <a:lnTo>
                      <a:pt x="83" y="444"/>
                    </a:lnTo>
                    <a:lnTo>
                      <a:pt x="85" y="444"/>
                    </a:lnTo>
                    <a:lnTo>
                      <a:pt x="85" y="446"/>
                    </a:lnTo>
                    <a:lnTo>
                      <a:pt x="86" y="446"/>
                    </a:lnTo>
                    <a:lnTo>
                      <a:pt x="85" y="446"/>
                    </a:lnTo>
                    <a:lnTo>
                      <a:pt x="85" y="444"/>
                    </a:lnTo>
                    <a:close/>
                    <a:moveTo>
                      <a:pt x="81" y="450"/>
                    </a:moveTo>
                    <a:lnTo>
                      <a:pt x="79" y="448"/>
                    </a:lnTo>
                    <a:lnTo>
                      <a:pt x="77" y="448"/>
                    </a:lnTo>
                    <a:lnTo>
                      <a:pt x="79" y="448"/>
                    </a:lnTo>
                    <a:lnTo>
                      <a:pt x="77" y="448"/>
                    </a:lnTo>
                    <a:lnTo>
                      <a:pt x="79" y="448"/>
                    </a:lnTo>
                    <a:lnTo>
                      <a:pt x="77" y="448"/>
                    </a:lnTo>
                    <a:lnTo>
                      <a:pt x="77" y="446"/>
                    </a:lnTo>
                    <a:lnTo>
                      <a:pt x="75" y="446"/>
                    </a:lnTo>
                    <a:lnTo>
                      <a:pt x="75" y="444"/>
                    </a:lnTo>
                    <a:lnTo>
                      <a:pt x="75" y="442"/>
                    </a:lnTo>
                    <a:lnTo>
                      <a:pt x="77" y="442"/>
                    </a:lnTo>
                    <a:lnTo>
                      <a:pt x="75" y="442"/>
                    </a:lnTo>
                    <a:lnTo>
                      <a:pt x="75" y="444"/>
                    </a:lnTo>
                    <a:lnTo>
                      <a:pt x="77" y="444"/>
                    </a:lnTo>
                    <a:lnTo>
                      <a:pt x="77" y="446"/>
                    </a:lnTo>
                    <a:lnTo>
                      <a:pt x="79" y="446"/>
                    </a:lnTo>
                    <a:lnTo>
                      <a:pt x="79" y="444"/>
                    </a:lnTo>
                    <a:lnTo>
                      <a:pt x="77" y="446"/>
                    </a:lnTo>
                    <a:lnTo>
                      <a:pt x="77" y="444"/>
                    </a:lnTo>
                    <a:lnTo>
                      <a:pt x="77" y="446"/>
                    </a:lnTo>
                    <a:lnTo>
                      <a:pt x="77" y="444"/>
                    </a:lnTo>
                    <a:lnTo>
                      <a:pt x="79" y="444"/>
                    </a:lnTo>
                    <a:lnTo>
                      <a:pt x="79" y="446"/>
                    </a:lnTo>
                    <a:lnTo>
                      <a:pt x="77" y="446"/>
                    </a:lnTo>
                    <a:lnTo>
                      <a:pt x="79" y="446"/>
                    </a:lnTo>
                    <a:lnTo>
                      <a:pt x="79" y="448"/>
                    </a:lnTo>
                    <a:lnTo>
                      <a:pt x="79" y="446"/>
                    </a:lnTo>
                    <a:lnTo>
                      <a:pt x="79" y="448"/>
                    </a:lnTo>
                    <a:lnTo>
                      <a:pt x="81" y="448"/>
                    </a:lnTo>
                    <a:lnTo>
                      <a:pt x="81" y="446"/>
                    </a:lnTo>
                    <a:lnTo>
                      <a:pt x="81" y="448"/>
                    </a:lnTo>
                    <a:lnTo>
                      <a:pt x="83" y="448"/>
                    </a:lnTo>
                    <a:lnTo>
                      <a:pt x="83" y="450"/>
                    </a:lnTo>
                    <a:lnTo>
                      <a:pt x="81" y="448"/>
                    </a:lnTo>
                    <a:lnTo>
                      <a:pt x="81" y="450"/>
                    </a:lnTo>
                    <a:lnTo>
                      <a:pt x="79" y="450"/>
                    </a:lnTo>
                    <a:lnTo>
                      <a:pt x="81" y="450"/>
                    </a:lnTo>
                    <a:lnTo>
                      <a:pt x="79" y="450"/>
                    </a:lnTo>
                    <a:lnTo>
                      <a:pt x="81" y="450"/>
                    </a:lnTo>
                    <a:lnTo>
                      <a:pt x="79" y="450"/>
                    </a:lnTo>
                    <a:lnTo>
                      <a:pt x="79" y="448"/>
                    </a:lnTo>
                    <a:lnTo>
                      <a:pt x="79" y="450"/>
                    </a:lnTo>
                    <a:lnTo>
                      <a:pt x="81" y="450"/>
                    </a:lnTo>
                    <a:lnTo>
                      <a:pt x="81" y="448"/>
                    </a:lnTo>
                    <a:lnTo>
                      <a:pt x="81" y="450"/>
                    </a:lnTo>
                    <a:close/>
                    <a:moveTo>
                      <a:pt x="77" y="446"/>
                    </a:moveTo>
                    <a:lnTo>
                      <a:pt x="75" y="444"/>
                    </a:lnTo>
                    <a:lnTo>
                      <a:pt x="77" y="446"/>
                    </a:lnTo>
                    <a:close/>
                    <a:moveTo>
                      <a:pt x="73" y="442"/>
                    </a:moveTo>
                    <a:lnTo>
                      <a:pt x="75" y="442"/>
                    </a:lnTo>
                    <a:lnTo>
                      <a:pt x="73" y="442"/>
                    </a:lnTo>
                    <a:lnTo>
                      <a:pt x="73" y="440"/>
                    </a:lnTo>
                    <a:lnTo>
                      <a:pt x="75" y="440"/>
                    </a:lnTo>
                    <a:lnTo>
                      <a:pt x="73" y="440"/>
                    </a:lnTo>
                    <a:lnTo>
                      <a:pt x="75" y="442"/>
                    </a:lnTo>
                    <a:lnTo>
                      <a:pt x="75" y="440"/>
                    </a:lnTo>
                    <a:lnTo>
                      <a:pt x="75" y="442"/>
                    </a:lnTo>
                    <a:lnTo>
                      <a:pt x="75" y="440"/>
                    </a:lnTo>
                    <a:lnTo>
                      <a:pt x="75" y="442"/>
                    </a:lnTo>
                    <a:lnTo>
                      <a:pt x="75" y="440"/>
                    </a:lnTo>
                    <a:lnTo>
                      <a:pt x="77" y="440"/>
                    </a:lnTo>
                    <a:lnTo>
                      <a:pt x="75" y="440"/>
                    </a:lnTo>
                    <a:lnTo>
                      <a:pt x="77" y="440"/>
                    </a:lnTo>
                    <a:lnTo>
                      <a:pt x="75" y="438"/>
                    </a:lnTo>
                    <a:lnTo>
                      <a:pt x="77" y="438"/>
                    </a:lnTo>
                    <a:lnTo>
                      <a:pt x="77" y="440"/>
                    </a:lnTo>
                    <a:lnTo>
                      <a:pt x="77" y="442"/>
                    </a:lnTo>
                    <a:lnTo>
                      <a:pt x="75" y="442"/>
                    </a:lnTo>
                    <a:lnTo>
                      <a:pt x="75" y="444"/>
                    </a:lnTo>
                    <a:lnTo>
                      <a:pt x="73" y="444"/>
                    </a:lnTo>
                    <a:lnTo>
                      <a:pt x="75" y="444"/>
                    </a:lnTo>
                    <a:lnTo>
                      <a:pt x="75" y="442"/>
                    </a:lnTo>
                    <a:lnTo>
                      <a:pt x="75" y="444"/>
                    </a:lnTo>
                    <a:lnTo>
                      <a:pt x="73" y="444"/>
                    </a:lnTo>
                    <a:lnTo>
                      <a:pt x="73" y="446"/>
                    </a:lnTo>
                    <a:lnTo>
                      <a:pt x="71" y="444"/>
                    </a:lnTo>
                    <a:lnTo>
                      <a:pt x="73" y="444"/>
                    </a:lnTo>
                    <a:lnTo>
                      <a:pt x="73" y="442"/>
                    </a:lnTo>
                    <a:lnTo>
                      <a:pt x="73" y="444"/>
                    </a:lnTo>
                    <a:lnTo>
                      <a:pt x="73" y="442"/>
                    </a:lnTo>
                    <a:lnTo>
                      <a:pt x="71" y="442"/>
                    </a:lnTo>
                    <a:lnTo>
                      <a:pt x="71" y="440"/>
                    </a:lnTo>
                    <a:lnTo>
                      <a:pt x="71" y="438"/>
                    </a:lnTo>
                    <a:lnTo>
                      <a:pt x="73" y="438"/>
                    </a:lnTo>
                    <a:lnTo>
                      <a:pt x="71" y="438"/>
                    </a:lnTo>
                    <a:lnTo>
                      <a:pt x="71" y="440"/>
                    </a:lnTo>
                    <a:lnTo>
                      <a:pt x="71" y="442"/>
                    </a:lnTo>
                    <a:lnTo>
                      <a:pt x="71" y="440"/>
                    </a:lnTo>
                    <a:lnTo>
                      <a:pt x="71" y="442"/>
                    </a:lnTo>
                    <a:lnTo>
                      <a:pt x="73" y="442"/>
                    </a:lnTo>
                    <a:lnTo>
                      <a:pt x="71" y="442"/>
                    </a:lnTo>
                    <a:lnTo>
                      <a:pt x="73" y="442"/>
                    </a:lnTo>
                    <a:lnTo>
                      <a:pt x="73" y="444"/>
                    </a:lnTo>
                    <a:lnTo>
                      <a:pt x="73" y="442"/>
                    </a:lnTo>
                    <a:lnTo>
                      <a:pt x="73" y="444"/>
                    </a:lnTo>
                    <a:lnTo>
                      <a:pt x="73" y="442"/>
                    </a:lnTo>
                    <a:lnTo>
                      <a:pt x="75" y="442"/>
                    </a:lnTo>
                    <a:lnTo>
                      <a:pt x="73" y="442"/>
                    </a:lnTo>
                    <a:close/>
                    <a:moveTo>
                      <a:pt x="73" y="446"/>
                    </a:moveTo>
                    <a:lnTo>
                      <a:pt x="73" y="444"/>
                    </a:lnTo>
                    <a:lnTo>
                      <a:pt x="73" y="446"/>
                    </a:lnTo>
                    <a:close/>
                    <a:moveTo>
                      <a:pt x="77" y="440"/>
                    </a:moveTo>
                    <a:lnTo>
                      <a:pt x="79" y="440"/>
                    </a:lnTo>
                    <a:lnTo>
                      <a:pt x="77" y="440"/>
                    </a:lnTo>
                    <a:lnTo>
                      <a:pt x="79" y="440"/>
                    </a:lnTo>
                    <a:lnTo>
                      <a:pt x="77" y="440"/>
                    </a:lnTo>
                    <a:lnTo>
                      <a:pt x="77" y="442"/>
                    </a:lnTo>
                    <a:lnTo>
                      <a:pt x="79" y="442"/>
                    </a:lnTo>
                    <a:lnTo>
                      <a:pt x="79" y="444"/>
                    </a:lnTo>
                    <a:lnTo>
                      <a:pt x="79" y="442"/>
                    </a:lnTo>
                    <a:lnTo>
                      <a:pt x="79" y="444"/>
                    </a:lnTo>
                    <a:lnTo>
                      <a:pt x="79" y="442"/>
                    </a:lnTo>
                    <a:lnTo>
                      <a:pt x="77" y="444"/>
                    </a:lnTo>
                    <a:lnTo>
                      <a:pt x="77" y="442"/>
                    </a:lnTo>
                    <a:lnTo>
                      <a:pt x="77" y="440"/>
                    </a:lnTo>
                    <a:lnTo>
                      <a:pt x="77" y="442"/>
                    </a:lnTo>
                    <a:lnTo>
                      <a:pt x="77" y="440"/>
                    </a:lnTo>
                    <a:close/>
                    <a:moveTo>
                      <a:pt x="77" y="440"/>
                    </a:moveTo>
                    <a:lnTo>
                      <a:pt x="77" y="438"/>
                    </a:lnTo>
                    <a:lnTo>
                      <a:pt x="77" y="440"/>
                    </a:lnTo>
                    <a:close/>
                    <a:moveTo>
                      <a:pt x="77" y="440"/>
                    </a:moveTo>
                    <a:lnTo>
                      <a:pt x="77" y="438"/>
                    </a:lnTo>
                    <a:lnTo>
                      <a:pt x="77" y="440"/>
                    </a:lnTo>
                    <a:close/>
                    <a:moveTo>
                      <a:pt x="79" y="440"/>
                    </a:moveTo>
                    <a:lnTo>
                      <a:pt x="79" y="438"/>
                    </a:lnTo>
                    <a:lnTo>
                      <a:pt x="79" y="440"/>
                    </a:lnTo>
                    <a:close/>
                    <a:moveTo>
                      <a:pt x="77" y="440"/>
                    </a:moveTo>
                    <a:lnTo>
                      <a:pt x="77" y="438"/>
                    </a:lnTo>
                    <a:lnTo>
                      <a:pt x="77" y="440"/>
                    </a:lnTo>
                    <a:lnTo>
                      <a:pt x="77" y="438"/>
                    </a:lnTo>
                    <a:lnTo>
                      <a:pt x="77" y="440"/>
                    </a:lnTo>
                    <a:lnTo>
                      <a:pt x="77" y="438"/>
                    </a:lnTo>
                    <a:lnTo>
                      <a:pt x="77" y="440"/>
                    </a:lnTo>
                    <a:close/>
                    <a:moveTo>
                      <a:pt x="79" y="442"/>
                    </a:moveTo>
                    <a:lnTo>
                      <a:pt x="79" y="440"/>
                    </a:lnTo>
                    <a:lnTo>
                      <a:pt x="81" y="440"/>
                    </a:lnTo>
                    <a:lnTo>
                      <a:pt x="81" y="442"/>
                    </a:lnTo>
                    <a:lnTo>
                      <a:pt x="79" y="442"/>
                    </a:lnTo>
                    <a:lnTo>
                      <a:pt x="81" y="442"/>
                    </a:lnTo>
                    <a:lnTo>
                      <a:pt x="79" y="442"/>
                    </a:lnTo>
                    <a:lnTo>
                      <a:pt x="81" y="442"/>
                    </a:lnTo>
                    <a:lnTo>
                      <a:pt x="81" y="440"/>
                    </a:lnTo>
                    <a:lnTo>
                      <a:pt x="81" y="442"/>
                    </a:lnTo>
                    <a:lnTo>
                      <a:pt x="81" y="440"/>
                    </a:lnTo>
                    <a:lnTo>
                      <a:pt x="81" y="442"/>
                    </a:lnTo>
                    <a:lnTo>
                      <a:pt x="81" y="440"/>
                    </a:lnTo>
                    <a:lnTo>
                      <a:pt x="81" y="438"/>
                    </a:lnTo>
                    <a:lnTo>
                      <a:pt x="81" y="440"/>
                    </a:lnTo>
                    <a:lnTo>
                      <a:pt x="81" y="438"/>
                    </a:lnTo>
                    <a:lnTo>
                      <a:pt x="81" y="440"/>
                    </a:lnTo>
                    <a:lnTo>
                      <a:pt x="81" y="442"/>
                    </a:lnTo>
                    <a:lnTo>
                      <a:pt x="79" y="444"/>
                    </a:lnTo>
                    <a:lnTo>
                      <a:pt x="79" y="442"/>
                    </a:lnTo>
                    <a:lnTo>
                      <a:pt x="79" y="440"/>
                    </a:lnTo>
                    <a:lnTo>
                      <a:pt x="79" y="442"/>
                    </a:lnTo>
                    <a:close/>
                    <a:moveTo>
                      <a:pt x="75" y="437"/>
                    </a:moveTo>
                    <a:lnTo>
                      <a:pt x="73" y="437"/>
                    </a:lnTo>
                    <a:lnTo>
                      <a:pt x="75" y="437"/>
                    </a:lnTo>
                    <a:close/>
                    <a:moveTo>
                      <a:pt x="75" y="433"/>
                    </a:moveTo>
                    <a:lnTo>
                      <a:pt x="77" y="433"/>
                    </a:lnTo>
                    <a:lnTo>
                      <a:pt x="75" y="433"/>
                    </a:lnTo>
                    <a:close/>
                    <a:moveTo>
                      <a:pt x="77" y="433"/>
                    </a:moveTo>
                    <a:lnTo>
                      <a:pt x="75" y="433"/>
                    </a:lnTo>
                    <a:lnTo>
                      <a:pt x="77" y="433"/>
                    </a:lnTo>
                    <a:close/>
                    <a:moveTo>
                      <a:pt x="75" y="433"/>
                    </a:moveTo>
                    <a:lnTo>
                      <a:pt x="75" y="431"/>
                    </a:lnTo>
                    <a:lnTo>
                      <a:pt x="77" y="431"/>
                    </a:lnTo>
                    <a:lnTo>
                      <a:pt x="75" y="431"/>
                    </a:lnTo>
                    <a:lnTo>
                      <a:pt x="75" y="433"/>
                    </a:lnTo>
                    <a:lnTo>
                      <a:pt x="75" y="431"/>
                    </a:lnTo>
                    <a:lnTo>
                      <a:pt x="75" y="433"/>
                    </a:lnTo>
                    <a:close/>
                    <a:moveTo>
                      <a:pt x="75" y="433"/>
                    </a:moveTo>
                    <a:lnTo>
                      <a:pt x="75" y="431"/>
                    </a:lnTo>
                    <a:lnTo>
                      <a:pt x="75" y="433"/>
                    </a:lnTo>
                    <a:lnTo>
                      <a:pt x="77" y="431"/>
                    </a:lnTo>
                    <a:lnTo>
                      <a:pt x="75" y="433"/>
                    </a:lnTo>
                    <a:lnTo>
                      <a:pt x="77" y="433"/>
                    </a:lnTo>
                    <a:lnTo>
                      <a:pt x="75" y="433"/>
                    </a:lnTo>
                    <a:close/>
                    <a:moveTo>
                      <a:pt x="71" y="429"/>
                    </a:moveTo>
                    <a:lnTo>
                      <a:pt x="71" y="431"/>
                    </a:lnTo>
                    <a:lnTo>
                      <a:pt x="71" y="429"/>
                    </a:lnTo>
                    <a:lnTo>
                      <a:pt x="69" y="429"/>
                    </a:lnTo>
                    <a:lnTo>
                      <a:pt x="71" y="429"/>
                    </a:lnTo>
                    <a:lnTo>
                      <a:pt x="71" y="431"/>
                    </a:lnTo>
                    <a:lnTo>
                      <a:pt x="71" y="429"/>
                    </a:lnTo>
                    <a:close/>
                    <a:moveTo>
                      <a:pt x="67" y="429"/>
                    </a:moveTo>
                    <a:lnTo>
                      <a:pt x="69" y="429"/>
                    </a:lnTo>
                    <a:lnTo>
                      <a:pt x="67" y="429"/>
                    </a:lnTo>
                    <a:close/>
                    <a:moveTo>
                      <a:pt x="46" y="421"/>
                    </a:moveTo>
                    <a:lnTo>
                      <a:pt x="46" y="419"/>
                    </a:lnTo>
                    <a:lnTo>
                      <a:pt x="46" y="421"/>
                    </a:lnTo>
                    <a:close/>
                    <a:moveTo>
                      <a:pt x="77" y="429"/>
                    </a:moveTo>
                    <a:lnTo>
                      <a:pt x="75" y="429"/>
                    </a:lnTo>
                    <a:lnTo>
                      <a:pt x="77" y="429"/>
                    </a:lnTo>
                    <a:lnTo>
                      <a:pt x="75" y="429"/>
                    </a:lnTo>
                    <a:lnTo>
                      <a:pt x="77" y="429"/>
                    </a:lnTo>
                    <a:close/>
                    <a:moveTo>
                      <a:pt x="77" y="429"/>
                    </a:moveTo>
                    <a:lnTo>
                      <a:pt x="77" y="427"/>
                    </a:lnTo>
                    <a:lnTo>
                      <a:pt x="77" y="429"/>
                    </a:lnTo>
                    <a:close/>
                    <a:moveTo>
                      <a:pt x="75" y="427"/>
                    </a:moveTo>
                    <a:lnTo>
                      <a:pt x="75" y="429"/>
                    </a:lnTo>
                    <a:lnTo>
                      <a:pt x="75" y="427"/>
                    </a:lnTo>
                    <a:close/>
                    <a:moveTo>
                      <a:pt x="71" y="427"/>
                    </a:moveTo>
                    <a:lnTo>
                      <a:pt x="71" y="429"/>
                    </a:lnTo>
                    <a:lnTo>
                      <a:pt x="73" y="429"/>
                    </a:lnTo>
                    <a:lnTo>
                      <a:pt x="73" y="427"/>
                    </a:lnTo>
                    <a:lnTo>
                      <a:pt x="71" y="427"/>
                    </a:lnTo>
                    <a:lnTo>
                      <a:pt x="73" y="427"/>
                    </a:lnTo>
                    <a:lnTo>
                      <a:pt x="71" y="427"/>
                    </a:lnTo>
                    <a:lnTo>
                      <a:pt x="71" y="425"/>
                    </a:lnTo>
                    <a:lnTo>
                      <a:pt x="71" y="427"/>
                    </a:lnTo>
                    <a:lnTo>
                      <a:pt x="71" y="425"/>
                    </a:lnTo>
                    <a:lnTo>
                      <a:pt x="73" y="425"/>
                    </a:lnTo>
                    <a:lnTo>
                      <a:pt x="73" y="427"/>
                    </a:lnTo>
                    <a:lnTo>
                      <a:pt x="71" y="427"/>
                    </a:lnTo>
                    <a:lnTo>
                      <a:pt x="73" y="427"/>
                    </a:lnTo>
                    <a:lnTo>
                      <a:pt x="73" y="429"/>
                    </a:lnTo>
                    <a:lnTo>
                      <a:pt x="71" y="429"/>
                    </a:lnTo>
                    <a:lnTo>
                      <a:pt x="71" y="427"/>
                    </a:lnTo>
                    <a:lnTo>
                      <a:pt x="69" y="427"/>
                    </a:lnTo>
                    <a:lnTo>
                      <a:pt x="69" y="425"/>
                    </a:lnTo>
                    <a:lnTo>
                      <a:pt x="69" y="427"/>
                    </a:lnTo>
                    <a:lnTo>
                      <a:pt x="71" y="427"/>
                    </a:lnTo>
                    <a:lnTo>
                      <a:pt x="69" y="427"/>
                    </a:lnTo>
                    <a:lnTo>
                      <a:pt x="71" y="427"/>
                    </a:lnTo>
                    <a:lnTo>
                      <a:pt x="71" y="429"/>
                    </a:lnTo>
                    <a:lnTo>
                      <a:pt x="71" y="427"/>
                    </a:lnTo>
                    <a:lnTo>
                      <a:pt x="71" y="429"/>
                    </a:lnTo>
                    <a:lnTo>
                      <a:pt x="71" y="427"/>
                    </a:lnTo>
                    <a:close/>
                    <a:moveTo>
                      <a:pt x="75" y="427"/>
                    </a:moveTo>
                    <a:lnTo>
                      <a:pt x="77" y="427"/>
                    </a:lnTo>
                    <a:lnTo>
                      <a:pt x="75" y="427"/>
                    </a:lnTo>
                    <a:lnTo>
                      <a:pt x="77" y="427"/>
                    </a:lnTo>
                    <a:lnTo>
                      <a:pt x="75" y="427"/>
                    </a:lnTo>
                    <a:close/>
                    <a:moveTo>
                      <a:pt x="58" y="421"/>
                    </a:moveTo>
                    <a:lnTo>
                      <a:pt x="58" y="419"/>
                    </a:lnTo>
                    <a:lnTo>
                      <a:pt x="58" y="421"/>
                    </a:lnTo>
                    <a:close/>
                    <a:moveTo>
                      <a:pt x="58" y="421"/>
                    </a:moveTo>
                    <a:lnTo>
                      <a:pt x="60" y="421"/>
                    </a:lnTo>
                    <a:lnTo>
                      <a:pt x="58" y="421"/>
                    </a:lnTo>
                    <a:close/>
                    <a:moveTo>
                      <a:pt x="58" y="421"/>
                    </a:moveTo>
                    <a:lnTo>
                      <a:pt x="58" y="419"/>
                    </a:lnTo>
                    <a:lnTo>
                      <a:pt x="58" y="421"/>
                    </a:lnTo>
                    <a:close/>
                    <a:moveTo>
                      <a:pt x="90" y="429"/>
                    </a:moveTo>
                    <a:lnTo>
                      <a:pt x="88" y="429"/>
                    </a:lnTo>
                    <a:lnTo>
                      <a:pt x="90" y="429"/>
                    </a:lnTo>
                    <a:close/>
                    <a:moveTo>
                      <a:pt x="65" y="421"/>
                    </a:moveTo>
                    <a:lnTo>
                      <a:pt x="67" y="421"/>
                    </a:lnTo>
                    <a:lnTo>
                      <a:pt x="65" y="421"/>
                    </a:lnTo>
                    <a:close/>
                    <a:moveTo>
                      <a:pt x="73" y="421"/>
                    </a:moveTo>
                    <a:lnTo>
                      <a:pt x="73" y="423"/>
                    </a:lnTo>
                    <a:lnTo>
                      <a:pt x="71" y="421"/>
                    </a:lnTo>
                    <a:lnTo>
                      <a:pt x="73" y="421"/>
                    </a:lnTo>
                    <a:close/>
                    <a:moveTo>
                      <a:pt x="75" y="438"/>
                    </a:moveTo>
                    <a:lnTo>
                      <a:pt x="77" y="438"/>
                    </a:lnTo>
                    <a:lnTo>
                      <a:pt x="75" y="438"/>
                    </a:lnTo>
                    <a:lnTo>
                      <a:pt x="73" y="438"/>
                    </a:lnTo>
                    <a:lnTo>
                      <a:pt x="75" y="438"/>
                    </a:lnTo>
                    <a:lnTo>
                      <a:pt x="77" y="438"/>
                    </a:lnTo>
                    <a:lnTo>
                      <a:pt x="75" y="437"/>
                    </a:lnTo>
                    <a:lnTo>
                      <a:pt x="77" y="437"/>
                    </a:lnTo>
                    <a:lnTo>
                      <a:pt x="75" y="437"/>
                    </a:lnTo>
                    <a:lnTo>
                      <a:pt x="73" y="437"/>
                    </a:lnTo>
                    <a:lnTo>
                      <a:pt x="75" y="437"/>
                    </a:lnTo>
                    <a:lnTo>
                      <a:pt x="77" y="437"/>
                    </a:lnTo>
                    <a:lnTo>
                      <a:pt x="75" y="437"/>
                    </a:lnTo>
                    <a:lnTo>
                      <a:pt x="77" y="437"/>
                    </a:lnTo>
                    <a:lnTo>
                      <a:pt x="75" y="437"/>
                    </a:lnTo>
                    <a:lnTo>
                      <a:pt x="73" y="437"/>
                    </a:lnTo>
                    <a:lnTo>
                      <a:pt x="73" y="435"/>
                    </a:lnTo>
                    <a:lnTo>
                      <a:pt x="73" y="433"/>
                    </a:lnTo>
                    <a:lnTo>
                      <a:pt x="73" y="435"/>
                    </a:lnTo>
                    <a:lnTo>
                      <a:pt x="75" y="435"/>
                    </a:lnTo>
                    <a:lnTo>
                      <a:pt x="73" y="435"/>
                    </a:lnTo>
                    <a:lnTo>
                      <a:pt x="75" y="435"/>
                    </a:lnTo>
                    <a:lnTo>
                      <a:pt x="73" y="435"/>
                    </a:lnTo>
                    <a:lnTo>
                      <a:pt x="73" y="437"/>
                    </a:lnTo>
                    <a:lnTo>
                      <a:pt x="75" y="437"/>
                    </a:lnTo>
                    <a:lnTo>
                      <a:pt x="75" y="435"/>
                    </a:lnTo>
                    <a:lnTo>
                      <a:pt x="75" y="437"/>
                    </a:lnTo>
                    <a:lnTo>
                      <a:pt x="77" y="437"/>
                    </a:lnTo>
                    <a:lnTo>
                      <a:pt x="79" y="437"/>
                    </a:lnTo>
                    <a:lnTo>
                      <a:pt x="77" y="437"/>
                    </a:lnTo>
                    <a:lnTo>
                      <a:pt x="77" y="435"/>
                    </a:lnTo>
                    <a:lnTo>
                      <a:pt x="75" y="435"/>
                    </a:lnTo>
                    <a:lnTo>
                      <a:pt x="75" y="433"/>
                    </a:lnTo>
                    <a:lnTo>
                      <a:pt x="75" y="435"/>
                    </a:lnTo>
                    <a:lnTo>
                      <a:pt x="75" y="433"/>
                    </a:lnTo>
                    <a:lnTo>
                      <a:pt x="75" y="435"/>
                    </a:lnTo>
                    <a:lnTo>
                      <a:pt x="75" y="433"/>
                    </a:lnTo>
                    <a:lnTo>
                      <a:pt x="75" y="435"/>
                    </a:lnTo>
                    <a:lnTo>
                      <a:pt x="75" y="433"/>
                    </a:lnTo>
                    <a:lnTo>
                      <a:pt x="77" y="435"/>
                    </a:lnTo>
                    <a:lnTo>
                      <a:pt x="77" y="433"/>
                    </a:lnTo>
                    <a:lnTo>
                      <a:pt x="77" y="435"/>
                    </a:lnTo>
                    <a:lnTo>
                      <a:pt x="77" y="433"/>
                    </a:lnTo>
                    <a:lnTo>
                      <a:pt x="77" y="435"/>
                    </a:lnTo>
                    <a:lnTo>
                      <a:pt x="79" y="435"/>
                    </a:lnTo>
                    <a:lnTo>
                      <a:pt x="77" y="433"/>
                    </a:lnTo>
                    <a:lnTo>
                      <a:pt x="79" y="433"/>
                    </a:lnTo>
                    <a:lnTo>
                      <a:pt x="79" y="431"/>
                    </a:lnTo>
                    <a:lnTo>
                      <a:pt x="77" y="431"/>
                    </a:lnTo>
                    <a:lnTo>
                      <a:pt x="79" y="431"/>
                    </a:lnTo>
                    <a:lnTo>
                      <a:pt x="77" y="431"/>
                    </a:lnTo>
                    <a:lnTo>
                      <a:pt x="79" y="431"/>
                    </a:lnTo>
                    <a:lnTo>
                      <a:pt x="77" y="431"/>
                    </a:lnTo>
                    <a:lnTo>
                      <a:pt x="79" y="431"/>
                    </a:lnTo>
                    <a:lnTo>
                      <a:pt x="77" y="431"/>
                    </a:lnTo>
                    <a:lnTo>
                      <a:pt x="77" y="429"/>
                    </a:lnTo>
                    <a:lnTo>
                      <a:pt x="77" y="431"/>
                    </a:lnTo>
                    <a:lnTo>
                      <a:pt x="77" y="429"/>
                    </a:lnTo>
                    <a:lnTo>
                      <a:pt x="77" y="431"/>
                    </a:lnTo>
                    <a:lnTo>
                      <a:pt x="79" y="431"/>
                    </a:lnTo>
                    <a:lnTo>
                      <a:pt x="77" y="431"/>
                    </a:lnTo>
                    <a:lnTo>
                      <a:pt x="77" y="429"/>
                    </a:lnTo>
                    <a:lnTo>
                      <a:pt x="77" y="431"/>
                    </a:lnTo>
                    <a:lnTo>
                      <a:pt x="79" y="429"/>
                    </a:lnTo>
                    <a:lnTo>
                      <a:pt x="77" y="429"/>
                    </a:lnTo>
                    <a:lnTo>
                      <a:pt x="79" y="429"/>
                    </a:lnTo>
                    <a:lnTo>
                      <a:pt x="79" y="427"/>
                    </a:lnTo>
                    <a:lnTo>
                      <a:pt x="79" y="425"/>
                    </a:lnTo>
                    <a:lnTo>
                      <a:pt x="79" y="427"/>
                    </a:lnTo>
                    <a:lnTo>
                      <a:pt x="79" y="425"/>
                    </a:lnTo>
                    <a:lnTo>
                      <a:pt x="77" y="425"/>
                    </a:lnTo>
                    <a:lnTo>
                      <a:pt x="79" y="425"/>
                    </a:lnTo>
                    <a:lnTo>
                      <a:pt x="77" y="425"/>
                    </a:lnTo>
                    <a:lnTo>
                      <a:pt x="79" y="425"/>
                    </a:lnTo>
                    <a:lnTo>
                      <a:pt x="77" y="425"/>
                    </a:lnTo>
                    <a:lnTo>
                      <a:pt x="77" y="423"/>
                    </a:lnTo>
                    <a:lnTo>
                      <a:pt x="77" y="425"/>
                    </a:lnTo>
                    <a:lnTo>
                      <a:pt x="79" y="425"/>
                    </a:lnTo>
                    <a:lnTo>
                      <a:pt x="79" y="423"/>
                    </a:lnTo>
                    <a:lnTo>
                      <a:pt x="77" y="423"/>
                    </a:lnTo>
                    <a:lnTo>
                      <a:pt x="79" y="423"/>
                    </a:lnTo>
                    <a:lnTo>
                      <a:pt x="77" y="423"/>
                    </a:lnTo>
                    <a:lnTo>
                      <a:pt x="79" y="423"/>
                    </a:lnTo>
                    <a:lnTo>
                      <a:pt x="79" y="425"/>
                    </a:lnTo>
                    <a:lnTo>
                      <a:pt x="79" y="427"/>
                    </a:lnTo>
                    <a:lnTo>
                      <a:pt x="79" y="429"/>
                    </a:lnTo>
                    <a:lnTo>
                      <a:pt x="81" y="429"/>
                    </a:lnTo>
                    <a:lnTo>
                      <a:pt x="79" y="429"/>
                    </a:lnTo>
                    <a:lnTo>
                      <a:pt x="81" y="429"/>
                    </a:lnTo>
                    <a:lnTo>
                      <a:pt x="79" y="429"/>
                    </a:lnTo>
                    <a:lnTo>
                      <a:pt x="81" y="429"/>
                    </a:lnTo>
                    <a:lnTo>
                      <a:pt x="79" y="429"/>
                    </a:lnTo>
                    <a:lnTo>
                      <a:pt x="81" y="431"/>
                    </a:lnTo>
                    <a:lnTo>
                      <a:pt x="81" y="429"/>
                    </a:lnTo>
                    <a:lnTo>
                      <a:pt x="79" y="429"/>
                    </a:lnTo>
                    <a:lnTo>
                      <a:pt x="81" y="429"/>
                    </a:lnTo>
                    <a:lnTo>
                      <a:pt x="81" y="427"/>
                    </a:lnTo>
                    <a:lnTo>
                      <a:pt x="79" y="429"/>
                    </a:lnTo>
                    <a:lnTo>
                      <a:pt x="79" y="427"/>
                    </a:lnTo>
                    <a:lnTo>
                      <a:pt x="81" y="427"/>
                    </a:lnTo>
                    <a:lnTo>
                      <a:pt x="81" y="425"/>
                    </a:lnTo>
                    <a:lnTo>
                      <a:pt x="81" y="427"/>
                    </a:lnTo>
                    <a:lnTo>
                      <a:pt x="81" y="425"/>
                    </a:lnTo>
                    <a:lnTo>
                      <a:pt x="81" y="427"/>
                    </a:lnTo>
                    <a:lnTo>
                      <a:pt x="81" y="425"/>
                    </a:lnTo>
                    <a:lnTo>
                      <a:pt x="81" y="427"/>
                    </a:lnTo>
                    <a:lnTo>
                      <a:pt x="81" y="425"/>
                    </a:lnTo>
                    <a:lnTo>
                      <a:pt x="79" y="425"/>
                    </a:lnTo>
                    <a:lnTo>
                      <a:pt x="79" y="423"/>
                    </a:lnTo>
                    <a:lnTo>
                      <a:pt x="79" y="425"/>
                    </a:lnTo>
                    <a:lnTo>
                      <a:pt x="79" y="423"/>
                    </a:lnTo>
                    <a:lnTo>
                      <a:pt x="81" y="425"/>
                    </a:lnTo>
                    <a:lnTo>
                      <a:pt x="83" y="425"/>
                    </a:lnTo>
                    <a:lnTo>
                      <a:pt x="81" y="425"/>
                    </a:lnTo>
                    <a:lnTo>
                      <a:pt x="81" y="427"/>
                    </a:lnTo>
                    <a:lnTo>
                      <a:pt x="81" y="425"/>
                    </a:lnTo>
                    <a:lnTo>
                      <a:pt x="83" y="425"/>
                    </a:lnTo>
                    <a:lnTo>
                      <a:pt x="83" y="427"/>
                    </a:lnTo>
                    <a:lnTo>
                      <a:pt x="83" y="429"/>
                    </a:lnTo>
                    <a:lnTo>
                      <a:pt x="83" y="427"/>
                    </a:lnTo>
                    <a:lnTo>
                      <a:pt x="83" y="429"/>
                    </a:lnTo>
                    <a:lnTo>
                      <a:pt x="83" y="427"/>
                    </a:lnTo>
                    <a:lnTo>
                      <a:pt x="83" y="429"/>
                    </a:lnTo>
                    <a:lnTo>
                      <a:pt x="85" y="429"/>
                    </a:lnTo>
                    <a:lnTo>
                      <a:pt x="83" y="429"/>
                    </a:lnTo>
                    <a:lnTo>
                      <a:pt x="85" y="429"/>
                    </a:lnTo>
                    <a:lnTo>
                      <a:pt x="85" y="427"/>
                    </a:lnTo>
                    <a:lnTo>
                      <a:pt x="83" y="427"/>
                    </a:lnTo>
                    <a:lnTo>
                      <a:pt x="85" y="427"/>
                    </a:lnTo>
                    <a:lnTo>
                      <a:pt x="83" y="427"/>
                    </a:lnTo>
                    <a:lnTo>
                      <a:pt x="83" y="425"/>
                    </a:lnTo>
                    <a:lnTo>
                      <a:pt x="85" y="427"/>
                    </a:lnTo>
                    <a:lnTo>
                      <a:pt x="85" y="425"/>
                    </a:lnTo>
                    <a:lnTo>
                      <a:pt x="83" y="425"/>
                    </a:lnTo>
                    <a:lnTo>
                      <a:pt x="85" y="425"/>
                    </a:lnTo>
                    <a:lnTo>
                      <a:pt x="85" y="427"/>
                    </a:lnTo>
                    <a:lnTo>
                      <a:pt x="86" y="427"/>
                    </a:lnTo>
                    <a:lnTo>
                      <a:pt x="85" y="427"/>
                    </a:lnTo>
                    <a:lnTo>
                      <a:pt x="85" y="425"/>
                    </a:lnTo>
                    <a:lnTo>
                      <a:pt x="86" y="427"/>
                    </a:lnTo>
                    <a:lnTo>
                      <a:pt x="85" y="427"/>
                    </a:lnTo>
                    <a:lnTo>
                      <a:pt x="85" y="425"/>
                    </a:lnTo>
                    <a:lnTo>
                      <a:pt x="85" y="427"/>
                    </a:lnTo>
                    <a:lnTo>
                      <a:pt x="86" y="427"/>
                    </a:lnTo>
                    <a:lnTo>
                      <a:pt x="85" y="425"/>
                    </a:lnTo>
                    <a:lnTo>
                      <a:pt x="86" y="427"/>
                    </a:lnTo>
                    <a:lnTo>
                      <a:pt x="86" y="425"/>
                    </a:lnTo>
                    <a:lnTo>
                      <a:pt x="86" y="427"/>
                    </a:lnTo>
                    <a:lnTo>
                      <a:pt x="86" y="425"/>
                    </a:lnTo>
                    <a:lnTo>
                      <a:pt x="86" y="427"/>
                    </a:lnTo>
                    <a:lnTo>
                      <a:pt x="86" y="425"/>
                    </a:lnTo>
                    <a:lnTo>
                      <a:pt x="85" y="425"/>
                    </a:lnTo>
                    <a:lnTo>
                      <a:pt x="86" y="425"/>
                    </a:lnTo>
                    <a:lnTo>
                      <a:pt x="86" y="427"/>
                    </a:lnTo>
                    <a:lnTo>
                      <a:pt x="86" y="429"/>
                    </a:lnTo>
                    <a:lnTo>
                      <a:pt x="86" y="427"/>
                    </a:lnTo>
                    <a:lnTo>
                      <a:pt x="86" y="425"/>
                    </a:lnTo>
                    <a:lnTo>
                      <a:pt x="86" y="427"/>
                    </a:lnTo>
                    <a:lnTo>
                      <a:pt x="88" y="427"/>
                    </a:lnTo>
                    <a:lnTo>
                      <a:pt x="86" y="429"/>
                    </a:lnTo>
                    <a:lnTo>
                      <a:pt x="88" y="427"/>
                    </a:lnTo>
                    <a:lnTo>
                      <a:pt x="86" y="427"/>
                    </a:lnTo>
                    <a:lnTo>
                      <a:pt x="86" y="425"/>
                    </a:lnTo>
                    <a:lnTo>
                      <a:pt x="88" y="427"/>
                    </a:lnTo>
                    <a:lnTo>
                      <a:pt x="86" y="429"/>
                    </a:lnTo>
                    <a:lnTo>
                      <a:pt x="85" y="431"/>
                    </a:lnTo>
                    <a:lnTo>
                      <a:pt x="83" y="431"/>
                    </a:lnTo>
                    <a:lnTo>
                      <a:pt x="81" y="431"/>
                    </a:lnTo>
                    <a:lnTo>
                      <a:pt x="81" y="433"/>
                    </a:lnTo>
                    <a:lnTo>
                      <a:pt x="81" y="431"/>
                    </a:lnTo>
                    <a:lnTo>
                      <a:pt x="81" y="433"/>
                    </a:lnTo>
                    <a:lnTo>
                      <a:pt x="81" y="435"/>
                    </a:lnTo>
                    <a:lnTo>
                      <a:pt x="81" y="437"/>
                    </a:lnTo>
                    <a:lnTo>
                      <a:pt x="81" y="438"/>
                    </a:lnTo>
                    <a:lnTo>
                      <a:pt x="81" y="437"/>
                    </a:lnTo>
                    <a:lnTo>
                      <a:pt x="81" y="435"/>
                    </a:lnTo>
                    <a:lnTo>
                      <a:pt x="81" y="437"/>
                    </a:lnTo>
                    <a:lnTo>
                      <a:pt x="81" y="438"/>
                    </a:lnTo>
                    <a:lnTo>
                      <a:pt x="79" y="438"/>
                    </a:lnTo>
                    <a:lnTo>
                      <a:pt x="81" y="438"/>
                    </a:lnTo>
                    <a:lnTo>
                      <a:pt x="79" y="438"/>
                    </a:lnTo>
                    <a:lnTo>
                      <a:pt x="79" y="440"/>
                    </a:lnTo>
                    <a:lnTo>
                      <a:pt x="79" y="438"/>
                    </a:lnTo>
                    <a:lnTo>
                      <a:pt x="79" y="437"/>
                    </a:lnTo>
                    <a:lnTo>
                      <a:pt x="79" y="438"/>
                    </a:lnTo>
                    <a:lnTo>
                      <a:pt x="79" y="437"/>
                    </a:lnTo>
                    <a:lnTo>
                      <a:pt x="79" y="438"/>
                    </a:lnTo>
                    <a:lnTo>
                      <a:pt x="79" y="437"/>
                    </a:lnTo>
                    <a:lnTo>
                      <a:pt x="77" y="438"/>
                    </a:lnTo>
                    <a:lnTo>
                      <a:pt x="79" y="438"/>
                    </a:lnTo>
                    <a:lnTo>
                      <a:pt x="79" y="440"/>
                    </a:lnTo>
                    <a:lnTo>
                      <a:pt x="79" y="438"/>
                    </a:lnTo>
                    <a:lnTo>
                      <a:pt x="79" y="440"/>
                    </a:lnTo>
                    <a:lnTo>
                      <a:pt x="79" y="438"/>
                    </a:lnTo>
                    <a:lnTo>
                      <a:pt x="77" y="438"/>
                    </a:lnTo>
                    <a:lnTo>
                      <a:pt x="77" y="437"/>
                    </a:lnTo>
                    <a:lnTo>
                      <a:pt x="79" y="437"/>
                    </a:lnTo>
                    <a:lnTo>
                      <a:pt x="77" y="437"/>
                    </a:lnTo>
                    <a:lnTo>
                      <a:pt x="79" y="437"/>
                    </a:lnTo>
                    <a:lnTo>
                      <a:pt x="77" y="437"/>
                    </a:lnTo>
                    <a:lnTo>
                      <a:pt x="77" y="438"/>
                    </a:lnTo>
                    <a:lnTo>
                      <a:pt x="77" y="437"/>
                    </a:lnTo>
                    <a:lnTo>
                      <a:pt x="77" y="438"/>
                    </a:lnTo>
                    <a:lnTo>
                      <a:pt x="75" y="438"/>
                    </a:lnTo>
                    <a:close/>
                    <a:moveTo>
                      <a:pt x="71" y="419"/>
                    </a:moveTo>
                    <a:lnTo>
                      <a:pt x="71" y="421"/>
                    </a:lnTo>
                    <a:lnTo>
                      <a:pt x="69" y="421"/>
                    </a:lnTo>
                    <a:lnTo>
                      <a:pt x="69" y="423"/>
                    </a:lnTo>
                    <a:lnTo>
                      <a:pt x="71" y="423"/>
                    </a:lnTo>
                    <a:lnTo>
                      <a:pt x="71" y="421"/>
                    </a:lnTo>
                    <a:lnTo>
                      <a:pt x="71" y="423"/>
                    </a:lnTo>
                    <a:lnTo>
                      <a:pt x="71" y="421"/>
                    </a:lnTo>
                    <a:lnTo>
                      <a:pt x="71" y="423"/>
                    </a:lnTo>
                    <a:lnTo>
                      <a:pt x="69" y="423"/>
                    </a:lnTo>
                    <a:lnTo>
                      <a:pt x="71" y="423"/>
                    </a:lnTo>
                    <a:lnTo>
                      <a:pt x="69" y="423"/>
                    </a:lnTo>
                    <a:lnTo>
                      <a:pt x="71" y="423"/>
                    </a:lnTo>
                    <a:lnTo>
                      <a:pt x="71" y="425"/>
                    </a:lnTo>
                    <a:lnTo>
                      <a:pt x="73" y="425"/>
                    </a:lnTo>
                    <a:lnTo>
                      <a:pt x="71" y="425"/>
                    </a:lnTo>
                    <a:lnTo>
                      <a:pt x="73" y="425"/>
                    </a:lnTo>
                    <a:lnTo>
                      <a:pt x="75" y="425"/>
                    </a:lnTo>
                    <a:lnTo>
                      <a:pt x="73" y="425"/>
                    </a:lnTo>
                    <a:lnTo>
                      <a:pt x="73" y="423"/>
                    </a:lnTo>
                    <a:lnTo>
                      <a:pt x="73" y="425"/>
                    </a:lnTo>
                    <a:lnTo>
                      <a:pt x="75" y="425"/>
                    </a:lnTo>
                    <a:lnTo>
                      <a:pt x="73" y="425"/>
                    </a:lnTo>
                    <a:lnTo>
                      <a:pt x="75" y="425"/>
                    </a:lnTo>
                    <a:lnTo>
                      <a:pt x="73" y="423"/>
                    </a:lnTo>
                    <a:lnTo>
                      <a:pt x="75" y="425"/>
                    </a:lnTo>
                    <a:lnTo>
                      <a:pt x="77" y="425"/>
                    </a:lnTo>
                    <a:lnTo>
                      <a:pt x="75" y="427"/>
                    </a:lnTo>
                    <a:lnTo>
                      <a:pt x="75" y="429"/>
                    </a:lnTo>
                    <a:lnTo>
                      <a:pt x="75" y="427"/>
                    </a:lnTo>
                    <a:lnTo>
                      <a:pt x="73" y="427"/>
                    </a:lnTo>
                    <a:lnTo>
                      <a:pt x="73" y="425"/>
                    </a:lnTo>
                    <a:lnTo>
                      <a:pt x="71" y="425"/>
                    </a:lnTo>
                    <a:lnTo>
                      <a:pt x="69" y="425"/>
                    </a:lnTo>
                    <a:lnTo>
                      <a:pt x="69" y="423"/>
                    </a:lnTo>
                    <a:lnTo>
                      <a:pt x="69" y="421"/>
                    </a:lnTo>
                    <a:lnTo>
                      <a:pt x="71" y="421"/>
                    </a:lnTo>
                    <a:lnTo>
                      <a:pt x="71" y="419"/>
                    </a:lnTo>
                    <a:close/>
                    <a:moveTo>
                      <a:pt x="71" y="421"/>
                    </a:moveTo>
                    <a:lnTo>
                      <a:pt x="71" y="419"/>
                    </a:lnTo>
                    <a:lnTo>
                      <a:pt x="71" y="421"/>
                    </a:lnTo>
                    <a:close/>
                    <a:moveTo>
                      <a:pt x="81" y="421"/>
                    </a:moveTo>
                    <a:lnTo>
                      <a:pt x="81" y="423"/>
                    </a:lnTo>
                    <a:lnTo>
                      <a:pt x="83" y="423"/>
                    </a:lnTo>
                    <a:lnTo>
                      <a:pt x="81" y="423"/>
                    </a:lnTo>
                    <a:lnTo>
                      <a:pt x="79" y="423"/>
                    </a:lnTo>
                    <a:lnTo>
                      <a:pt x="79" y="421"/>
                    </a:lnTo>
                    <a:lnTo>
                      <a:pt x="81" y="423"/>
                    </a:lnTo>
                    <a:lnTo>
                      <a:pt x="79" y="421"/>
                    </a:lnTo>
                    <a:lnTo>
                      <a:pt x="81" y="423"/>
                    </a:lnTo>
                    <a:lnTo>
                      <a:pt x="81" y="421"/>
                    </a:lnTo>
                    <a:lnTo>
                      <a:pt x="79" y="421"/>
                    </a:lnTo>
                    <a:lnTo>
                      <a:pt x="81" y="421"/>
                    </a:lnTo>
                    <a:lnTo>
                      <a:pt x="79" y="421"/>
                    </a:lnTo>
                    <a:lnTo>
                      <a:pt x="81" y="421"/>
                    </a:lnTo>
                    <a:close/>
                    <a:moveTo>
                      <a:pt x="65" y="417"/>
                    </a:moveTo>
                    <a:lnTo>
                      <a:pt x="65" y="415"/>
                    </a:lnTo>
                    <a:lnTo>
                      <a:pt x="65" y="417"/>
                    </a:lnTo>
                    <a:close/>
                    <a:moveTo>
                      <a:pt x="88" y="423"/>
                    </a:moveTo>
                    <a:lnTo>
                      <a:pt x="90" y="423"/>
                    </a:lnTo>
                    <a:lnTo>
                      <a:pt x="88" y="423"/>
                    </a:lnTo>
                    <a:close/>
                    <a:moveTo>
                      <a:pt x="75" y="419"/>
                    </a:moveTo>
                    <a:lnTo>
                      <a:pt x="77" y="419"/>
                    </a:lnTo>
                    <a:lnTo>
                      <a:pt x="77" y="417"/>
                    </a:lnTo>
                    <a:lnTo>
                      <a:pt x="75" y="419"/>
                    </a:lnTo>
                    <a:close/>
                    <a:moveTo>
                      <a:pt x="86" y="423"/>
                    </a:moveTo>
                    <a:lnTo>
                      <a:pt x="88" y="423"/>
                    </a:lnTo>
                    <a:lnTo>
                      <a:pt x="88" y="425"/>
                    </a:lnTo>
                    <a:lnTo>
                      <a:pt x="88" y="423"/>
                    </a:lnTo>
                    <a:lnTo>
                      <a:pt x="88" y="425"/>
                    </a:lnTo>
                    <a:lnTo>
                      <a:pt x="88" y="427"/>
                    </a:lnTo>
                    <a:lnTo>
                      <a:pt x="88" y="425"/>
                    </a:lnTo>
                    <a:lnTo>
                      <a:pt x="86" y="425"/>
                    </a:lnTo>
                    <a:lnTo>
                      <a:pt x="85" y="425"/>
                    </a:lnTo>
                    <a:lnTo>
                      <a:pt x="83" y="423"/>
                    </a:lnTo>
                    <a:lnTo>
                      <a:pt x="83" y="421"/>
                    </a:lnTo>
                    <a:lnTo>
                      <a:pt x="81" y="421"/>
                    </a:lnTo>
                    <a:lnTo>
                      <a:pt x="83" y="421"/>
                    </a:lnTo>
                    <a:lnTo>
                      <a:pt x="81" y="421"/>
                    </a:lnTo>
                    <a:lnTo>
                      <a:pt x="83" y="421"/>
                    </a:lnTo>
                    <a:lnTo>
                      <a:pt x="83" y="423"/>
                    </a:lnTo>
                    <a:lnTo>
                      <a:pt x="83" y="421"/>
                    </a:lnTo>
                    <a:lnTo>
                      <a:pt x="83" y="423"/>
                    </a:lnTo>
                    <a:lnTo>
                      <a:pt x="85" y="421"/>
                    </a:lnTo>
                    <a:lnTo>
                      <a:pt x="83" y="421"/>
                    </a:lnTo>
                    <a:lnTo>
                      <a:pt x="85" y="421"/>
                    </a:lnTo>
                    <a:lnTo>
                      <a:pt x="83" y="421"/>
                    </a:lnTo>
                    <a:lnTo>
                      <a:pt x="85" y="421"/>
                    </a:lnTo>
                    <a:lnTo>
                      <a:pt x="85" y="423"/>
                    </a:lnTo>
                    <a:lnTo>
                      <a:pt x="83" y="423"/>
                    </a:lnTo>
                    <a:lnTo>
                      <a:pt x="85" y="423"/>
                    </a:lnTo>
                    <a:lnTo>
                      <a:pt x="83" y="423"/>
                    </a:lnTo>
                    <a:lnTo>
                      <a:pt x="85" y="423"/>
                    </a:lnTo>
                    <a:lnTo>
                      <a:pt x="85" y="421"/>
                    </a:lnTo>
                    <a:lnTo>
                      <a:pt x="83" y="421"/>
                    </a:lnTo>
                    <a:lnTo>
                      <a:pt x="85" y="421"/>
                    </a:lnTo>
                    <a:lnTo>
                      <a:pt x="83" y="421"/>
                    </a:lnTo>
                    <a:lnTo>
                      <a:pt x="83" y="419"/>
                    </a:lnTo>
                    <a:lnTo>
                      <a:pt x="81" y="421"/>
                    </a:lnTo>
                    <a:lnTo>
                      <a:pt x="83" y="421"/>
                    </a:lnTo>
                    <a:lnTo>
                      <a:pt x="81" y="421"/>
                    </a:lnTo>
                    <a:lnTo>
                      <a:pt x="83" y="419"/>
                    </a:lnTo>
                    <a:lnTo>
                      <a:pt x="85" y="421"/>
                    </a:lnTo>
                    <a:lnTo>
                      <a:pt x="85" y="419"/>
                    </a:lnTo>
                    <a:lnTo>
                      <a:pt x="85" y="421"/>
                    </a:lnTo>
                    <a:lnTo>
                      <a:pt x="86" y="423"/>
                    </a:lnTo>
                    <a:close/>
                    <a:moveTo>
                      <a:pt x="85" y="423"/>
                    </a:moveTo>
                    <a:lnTo>
                      <a:pt x="85" y="421"/>
                    </a:lnTo>
                    <a:lnTo>
                      <a:pt x="85" y="423"/>
                    </a:lnTo>
                    <a:lnTo>
                      <a:pt x="85" y="421"/>
                    </a:lnTo>
                    <a:lnTo>
                      <a:pt x="85" y="423"/>
                    </a:lnTo>
                    <a:lnTo>
                      <a:pt x="86" y="423"/>
                    </a:lnTo>
                    <a:lnTo>
                      <a:pt x="85" y="423"/>
                    </a:lnTo>
                    <a:close/>
                    <a:moveTo>
                      <a:pt x="67" y="412"/>
                    </a:moveTo>
                    <a:lnTo>
                      <a:pt x="69" y="412"/>
                    </a:lnTo>
                    <a:lnTo>
                      <a:pt x="69" y="414"/>
                    </a:lnTo>
                    <a:lnTo>
                      <a:pt x="69" y="412"/>
                    </a:lnTo>
                    <a:lnTo>
                      <a:pt x="69" y="414"/>
                    </a:lnTo>
                    <a:lnTo>
                      <a:pt x="67" y="414"/>
                    </a:lnTo>
                    <a:lnTo>
                      <a:pt x="67" y="415"/>
                    </a:lnTo>
                    <a:lnTo>
                      <a:pt x="67" y="414"/>
                    </a:lnTo>
                    <a:lnTo>
                      <a:pt x="67" y="415"/>
                    </a:lnTo>
                    <a:lnTo>
                      <a:pt x="67" y="414"/>
                    </a:lnTo>
                    <a:lnTo>
                      <a:pt x="67" y="415"/>
                    </a:lnTo>
                    <a:lnTo>
                      <a:pt x="67" y="417"/>
                    </a:lnTo>
                    <a:lnTo>
                      <a:pt x="69" y="417"/>
                    </a:lnTo>
                    <a:lnTo>
                      <a:pt x="67" y="415"/>
                    </a:lnTo>
                    <a:lnTo>
                      <a:pt x="69" y="417"/>
                    </a:lnTo>
                    <a:lnTo>
                      <a:pt x="69" y="415"/>
                    </a:lnTo>
                    <a:lnTo>
                      <a:pt x="67" y="415"/>
                    </a:lnTo>
                    <a:lnTo>
                      <a:pt x="69" y="415"/>
                    </a:lnTo>
                    <a:lnTo>
                      <a:pt x="69" y="417"/>
                    </a:lnTo>
                    <a:lnTo>
                      <a:pt x="69" y="419"/>
                    </a:lnTo>
                    <a:lnTo>
                      <a:pt x="69" y="417"/>
                    </a:lnTo>
                    <a:lnTo>
                      <a:pt x="69" y="419"/>
                    </a:lnTo>
                    <a:lnTo>
                      <a:pt x="71" y="419"/>
                    </a:lnTo>
                    <a:lnTo>
                      <a:pt x="71" y="417"/>
                    </a:lnTo>
                    <a:lnTo>
                      <a:pt x="71" y="419"/>
                    </a:lnTo>
                    <a:lnTo>
                      <a:pt x="71" y="417"/>
                    </a:lnTo>
                    <a:lnTo>
                      <a:pt x="71" y="419"/>
                    </a:lnTo>
                    <a:lnTo>
                      <a:pt x="71" y="417"/>
                    </a:lnTo>
                    <a:lnTo>
                      <a:pt x="71" y="419"/>
                    </a:lnTo>
                    <a:lnTo>
                      <a:pt x="69" y="417"/>
                    </a:lnTo>
                    <a:lnTo>
                      <a:pt x="71" y="419"/>
                    </a:lnTo>
                    <a:lnTo>
                      <a:pt x="71" y="417"/>
                    </a:lnTo>
                    <a:lnTo>
                      <a:pt x="69" y="417"/>
                    </a:lnTo>
                    <a:lnTo>
                      <a:pt x="69" y="419"/>
                    </a:lnTo>
                    <a:lnTo>
                      <a:pt x="69" y="417"/>
                    </a:lnTo>
                    <a:lnTo>
                      <a:pt x="69" y="419"/>
                    </a:lnTo>
                    <a:lnTo>
                      <a:pt x="69" y="417"/>
                    </a:lnTo>
                    <a:lnTo>
                      <a:pt x="69" y="415"/>
                    </a:lnTo>
                    <a:lnTo>
                      <a:pt x="69" y="417"/>
                    </a:lnTo>
                    <a:lnTo>
                      <a:pt x="69" y="415"/>
                    </a:lnTo>
                    <a:lnTo>
                      <a:pt x="69" y="414"/>
                    </a:lnTo>
                    <a:lnTo>
                      <a:pt x="69" y="415"/>
                    </a:lnTo>
                    <a:lnTo>
                      <a:pt x="69" y="414"/>
                    </a:lnTo>
                    <a:lnTo>
                      <a:pt x="69" y="415"/>
                    </a:lnTo>
                    <a:lnTo>
                      <a:pt x="69" y="417"/>
                    </a:lnTo>
                    <a:lnTo>
                      <a:pt x="71" y="417"/>
                    </a:lnTo>
                    <a:lnTo>
                      <a:pt x="71" y="419"/>
                    </a:lnTo>
                    <a:lnTo>
                      <a:pt x="69" y="419"/>
                    </a:lnTo>
                    <a:lnTo>
                      <a:pt x="69" y="421"/>
                    </a:lnTo>
                    <a:lnTo>
                      <a:pt x="69" y="419"/>
                    </a:lnTo>
                    <a:lnTo>
                      <a:pt x="67" y="419"/>
                    </a:lnTo>
                    <a:lnTo>
                      <a:pt x="69" y="419"/>
                    </a:lnTo>
                    <a:lnTo>
                      <a:pt x="67" y="419"/>
                    </a:lnTo>
                    <a:lnTo>
                      <a:pt x="67" y="417"/>
                    </a:lnTo>
                    <a:lnTo>
                      <a:pt x="65" y="417"/>
                    </a:lnTo>
                    <a:lnTo>
                      <a:pt x="65" y="415"/>
                    </a:lnTo>
                    <a:lnTo>
                      <a:pt x="65" y="414"/>
                    </a:lnTo>
                    <a:lnTo>
                      <a:pt x="65" y="412"/>
                    </a:lnTo>
                    <a:lnTo>
                      <a:pt x="67" y="412"/>
                    </a:lnTo>
                    <a:lnTo>
                      <a:pt x="65" y="412"/>
                    </a:lnTo>
                    <a:lnTo>
                      <a:pt x="67" y="412"/>
                    </a:lnTo>
                    <a:lnTo>
                      <a:pt x="67" y="414"/>
                    </a:lnTo>
                    <a:lnTo>
                      <a:pt x="67" y="412"/>
                    </a:lnTo>
                    <a:lnTo>
                      <a:pt x="67" y="414"/>
                    </a:lnTo>
                    <a:lnTo>
                      <a:pt x="67" y="412"/>
                    </a:lnTo>
                    <a:lnTo>
                      <a:pt x="67" y="410"/>
                    </a:lnTo>
                    <a:lnTo>
                      <a:pt x="67" y="412"/>
                    </a:lnTo>
                    <a:lnTo>
                      <a:pt x="69" y="412"/>
                    </a:lnTo>
                    <a:lnTo>
                      <a:pt x="67" y="412"/>
                    </a:lnTo>
                    <a:close/>
                    <a:moveTo>
                      <a:pt x="69" y="408"/>
                    </a:moveTo>
                    <a:lnTo>
                      <a:pt x="67" y="408"/>
                    </a:lnTo>
                    <a:lnTo>
                      <a:pt x="69" y="408"/>
                    </a:lnTo>
                    <a:close/>
                    <a:moveTo>
                      <a:pt x="67" y="408"/>
                    </a:moveTo>
                    <a:lnTo>
                      <a:pt x="65" y="408"/>
                    </a:lnTo>
                    <a:lnTo>
                      <a:pt x="67" y="408"/>
                    </a:lnTo>
                    <a:lnTo>
                      <a:pt x="65" y="408"/>
                    </a:lnTo>
                    <a:lnTo>
                      <a:pt x="67" y="410"/>
                    </a:lnTo>
                    <a:lnTo>
                      <a:pt x="67" y="408"/>
                    </a:lnTo>
                    <a:lnTo>
                      <a:pt x="67" y="410"/>
                    </a:lnTo>
                    <a:lnTo>
                      <a:pt x="67" y="408"/>
                    </a:lnTo>
                    <a:lnTo>
                      <a:pt x="67" y="410"/>
                    </a:lnTo>
                    <a:lnTo>
                      <a:pt x="67" y="408"/>
                    </a:lnTo>
                    <a:lnTo>
                      <a:pt x="69" y="408"/>
                    </a:lnTo>
                    <a:lnTo>
                      <a:pt x="67" y="408"/>
                    </a:lnTo>
                    <a:lnTo>
                      <a:pt x="67" y="410"/>
                    </a:lnTo>
                    <a:lnTo>
                      <a:pt x="67" y="412"/>
                    </a:lnTo>
                    <a:lnTo>
                      <a:pt x="67" y="410"/>
                    </a:lnTo>
                    <a:lnTo>
                      <a:pt x="67" y="412"/>
                    </a:lnTo>
                    <a:lnTo>
                      <a:pt x="65" y="412"/>
                    </a:lnTo>
                    <a:lnTo>
                      <a:pt x="65" y="410"/>
                    </a:lnTo>
                    <a:lnTo>
                      <a:pt x="67" y="410"/>
                    </a:lnTo>
                    <a:lnTo>
                      <a:pt x="65" y="410"/>
                    </a:lnTo>
                    <a:lnTo>
                      <a:pt x="65" y="408"/>
                    </a:lnTo>
                    <a:lnTo>
                      <a:pt x="67" y="408"/>
                    </a:lnTo>
                    <a:lnTo>
                      <a:pt x="65" y="408"/>
                    </a:lnTo>
                    <a:lnTo>
                      <a:pt x="67" y="408"/>
                    </a:lnTo>
                    <a:close/>
                    <a:moveTo>
                      <a:pt x="67" y="408"/>
                    </a:moveTo>
                    <a:lnTo>
                      <a:pt x="67" y="406"/>
                    </a:lnTo>
                    <a:lnTo>
                      <a:pt x="67" y="408"/>
                    </a:lnTo>
                    <a:close/>
                    <a:moveTo>
                      <a:pt x="67" y="408"/>
                    </a:moveTo>
                    <a:lnTo>
                      <a:pt x="69" y="408"/>
                    </a:lnTo>
                    <a:lnTo>
                      <a:pt x="67" y="408"/>
                    </a:lnTo>
                    <a:close/>
                    <a:moveTo>
                      <a:pt x="69" y="408"/>
                    </a:moveTo>
                    <a:lnTo>
                      <a:pt x="67" y="408"/>
                    </a:lnTo>
                    <a:lnTo>
                      <a:pt x="67" y="406"/>
                    </a:lnTo>
                    <a:lnTo>
                      <a:pt x="69" y="406"/>
                    </a:lnTo>
                    <a:lnTo>
                      <a:pt x="67" y="406"/>
                    </a:lnTo>
                    <a:lnTo>
                      <a:pt x="67" y="408"/>
                    </a:lnTo>
                    <a:lnTo>
                      <a:pt x="69" y="408"/>
                    </a:lnTo>
                    <a:lnTo>
                      <a:pt x="67" y="408"/>
                    </a:lnTo>
                    <a:lnTo>
                      <a:pt x="69" y="408"/>
                    </a:lnTo>
                    <a:lnTo>
                      <a:pt x="67" y="408"/>
                    </a:lnTo>
                    <a:lnTo>
                      <a:pt x="69" y="408"/>
                    </a:lnTo>
                    <a:lnTo>
                      <a:pt x="69" y="410"/>
                    </a:lnTo>
                    <a:lnTo>
                      <a:pt x="69" y="408"/>
                    </a:lnTo>
                    <a:lnTo>
                      <a:pt x="69" y="406"/>
                    </a:lnTo>
                    <a:lnTo>
                      <a:pt x="71" y="406"/>
                    </a:lnTo>
                    <a:lnTo>
                      <a:pt x="69" y="406"/>
                    </a:lnTo>
                    <a:lnTo>
                      <a:pt x="69" y="408"/>
                    </a:lnTo>
                    <a:lnTo>
                      <a:pt x="71" y="408"/>
                    </a:lnTo>
                    <a:lnTo>
                      <a:pt x="69" y="408"/>
                    </a:lnTo>
                    <a:lnTo>
                      <a:pt x="69" y="410"/>
                    </a:lnTo>
                    <a:lnTo>
                      <a:pt x="69" y="412"/>
                    </a:lnTo>
                    <a:lnTo>
                      <a:pt x="67" y="412"/>
                    </a:lnTo>
                    <a:lnTo>
                      <a:pt x="67" y="410"/>
                    </a:lnTo>
                    <a:lnTo>
                      <a:pt x="67" y="408"/>
                    </a:lnTo>
                    <a:lnTo>
                      <a:pt x="69" y="408"/>
                    </a:lnTo>
                    <a:close/>
                    <a:moveTo>
                      <a:pt x="90" y="404"/>
                    </a:moveTo>
                    <a:lnTo>
                      <a:pt x="90" y="406"/>
                    </a:lnTo>
                    <a:lnTo>
                      <a:pt x="88" y="406"/>
                    </a:lnTo>
                    <a:lnTo>
                      <a:pt x="88" y="404"/>
                    </a:lnTo>
                    <a:lnTo>
                      <a:pt x="88" y="406"/>
                    </a:lnTo>
                    <a:lnTo>
                      <a:pt x="88" y="404"/>
                    </a:lnTo>
                    <a:lnTo>
                      <a:pt x="90" y="404"/>
                    </a:lnTo>
                    <a:close/>
                    <a:moveTo>
                      <a:pt x="88" y="404"/>
                    </a:moveTo>
                    <a:lnTo>
                      <a:pt x="88" y="406"/>
                    </a:lnTo>
                    <a:lnTo>
                      <a:pt x="90" y="404"/>
                    </a:lnTo>
                    <a:lnTo>
                      <a:pt x="88" y="404"/>
                    </a:lnTo>
                    <a:close/>
                    <a:moveTo>
                      <a:pt x="92" y="404"/>
                    </a:moveTo>
                    <a:lnTo>
                      <a:pt x="90" y="404"/>
                    </a:lnTo>
                    <a:lnTo>
                      <a:pt x="92" y="404"/>
                    </a:lnTo>
                    <a:lnTo>
                      <a:pt x="90" y="404"/>
                    </a:lnTo>
                    <a:lnTo>
                      <a:pt x="92" y="404"/>
                    </a:lnTo>
                    <a:close/>
                    <a:moveTo>
                      <a:pt x="73" y="390"/>
                    </a:moveTo>
                    <a:lnTo>
                      <a:pt x="73" y="389"/>
                    </a:lnTo>
                    <a:lnTo>
                      <a:pt x="73" y="390"/>
                    </a:lnTo>
                    <a:lnTo>
                      <a:pt x="73" y="389"/>
                    </a:lnTo>
                    <a:lnTo>
                      <a:pt x="73" y="390"/>
                    </a:lnTo>
                    <a:lnTo>
                      <a:pt x="73" y="389"/>
                    </a:lnTo>
                    <a:lnTo>
                      <a:pt x="73" y="390"/>
                    </a:lnTo>
                    <a:lnTo>
                      <a:pt x="73" y="389"/>
                    </a:lnTo>
                    <a:lnTo>
                      <a:pt x="73" y="390"/>
                    </a:lnTo>
                    <a:close/>
                    <a:moveTo>
                      <a:pt x="71" y="389"/>
                    </a:moveTo>
                    <a:lnTo>
                      <a:pt x="73" y="387"/>
                    </a:lnTo>
                    <a:lnTo>
                      <a:pt x="71" y="389"/>
                    </a:lnTo>
                    <a:lnTo>
                      <a:pt x="73" y="389"/>
                    </a:lnTo>
                    <a:lnTo>
                      <a:pt x="71" y="389"/>
                    </a:lnTo>
                    <a:close/>
                    <a:moveTo>
                      <a:pt x="83" y="390"/>
                    </a:moveTo>
                    <a:lnTo>
                      <a:pt x="81" y="390"/>
                    </a:lnTo>
                    <a:lnTo>
                      <a:pt x="81" y="392"/>
                    </a:lnTo>
                    <a:lnTo>
                      <a:pt x="79" y="392"/>
                    </a:lnTo>
                    <a:lnTo>
                      <a:pt x="79" y="394"/>
                    </a:lnTo>
                    <a:lnTo>
                      <a:pt x="81" y="394"/>
                    </a:lnTo>
                    <a:lnTo>
                      <a:pt x="79" y="394"/>
                    </a:lnTo>
                    <a:lnTo>
                      <a:pt x="81" y="394"/>
                    </a:lnTo>
                    <a:lnTo>
                      <a:pt x="81" y="392"/>
                    </a:lnTo>
                    <a:lnTo>
                      <a:pt x="83" y="392"/>
                    </a:lnTo>
                    <a:lnTo>
                      <a:pt x="83" y="390"/>
                    </a:lnTo>
                    <a:lnTo>
                      <a:pt x="85" y="390"/>
                    </a:lnTo>
                    <a:lnTo>
                      <a:pt x="83" y="390"/>
                    </a:lnTo>
                    <a:lnTo>
                      <a:pt x="85" y="390"/>
                    </a:lnTo>
                    <a:lnTo>
                      <a:pt x="85" y="392"/>
                    </a:lnTo>
                    <a:lnTo>
                      <a:pt x="83" y="390"/>
                    </a:lnTo>
                    <a:lnTo>
                      <a:pt x="83" y="392"/>
                    </a:lnTo>
                    <a:lnTo>
                      <a:pt x="81" y="392"/>
                    </a:lnTo>
                    <a:lnTo>
                      <a:pt x="81" y="394"/>
                    </a:lnTo>
                    <a:lnTo>
                      <a:pt x="81" y="396"/>
                    </a:lnTo>
                    <a:lnTo>
                      <a:pt x="79" y="396"/>
                    </a:lnTo>
                    <a:lnTo>
                      <a:pt x="79" y="398"/>
                    </a:lnTo>
                    <a:lnTo>
                      <a:pt x="77" y="398"/>
                    </a:lnTo>
                    <a:lnTo>
                      <a:pt x="77" y="400"/>
                    </a:lnTo>
                    <a:lnTo>
                      <a:pt x="77" y="402"/>
                    </a:lnTo>
                    <a:lnTo>
                      <a:pt x="75" y="402"/>
                    </a:lnTo>
                    <a:lnTo>
                      <a:pt x="75" y="404"/>
                    </a:lnTo>
                    <a:lnTo>
                      <a:pt x="77" y="404"/>
                    </a:lnTo>
                    <a:lnTo>
                      <a:pt x="75" y="404"/>
                    </a:lnTo>
                    <a:lnTo>
                      <a:pt x="75" y="402"/>
                    </a:lnTo>
                    <a:lnTo>
                      <a:pt x="77" y="402"/>
                    </a:lnTo>
                    <a:lnTo>
                      <a:pt x="77" y="400"/>
                    </a:lnTo>
                    <a:lnTo>
                      <a:pt x="79" y="398"/>
                    </a:lnTo>
                    <a:lnTo>
                      <a:pt x="79" y="396"/>
                    </a:lnTo>
                    <a:lnTo>
                      <a:pt x="81" y="396"/>
                    </a:lnTo>
                    <a:lnTo>
                      <a:pt x="81" y="398"/>
                    </a:lnTo>
                    <a:lnTo>
                      <a:pt x="81" y="396"/>
                    </a:lnTo>
                    <a:lnTo>
                      <a:pt x="81" y="398"/>
                    </a:lnTo>
                    <a:lnTo>
                      <a:pt x="81" y="396"/>
                    </a:lnTo>
                    <a:lnTo>
                      <a:pt x="81" y="398"/>
                    </a:lnTo>
                    <a:lnTo>
                      <a:pt x="81" y="396"/>
                    </a:lnTo>
                    <a:lnTo>
                      <a:pt x="83" y="396"/>
                    </a:lnTo>
                    <a:lnTo>
                      <a:pt x="81" y="396"/>
                    </a:lnTo>
                    <a:lnTo>
                      <a:pt x="81" y="398"/>
                    </a:lnTo>
                    <a:lnTo>
                      <a:pt x="83" y="398"/>
                    </a:lnTo>
                    <a:lnTo>
                      <a:pt x="83" y="400"/>
                    </a:lnTo>
                    <a:lnTo>
                      <a:pt x="81" y="402"/>
                    </a:lnTo>
                    <a:lnTo>
                      <a:pt x="81" y="400"/>
                    </a:lnTo>
                    <a:lnTo>
                      <a:pt x="81" y="402"/>
                    </a:lnTo>
                    <a:lnTo>
                      <a:pt x="79" y="402"/>
                    </a:lnTo>
                    <a:lnTo>
                      <a:pt x="81" y="404"/>
                    </a:lnTo>
                    <a:lnTo>
                      <a:pt x="79" y="404"/>
                    </a:lnTo>
                    <a:lnTo>
                      <a:pt x="77" y="404"/>
                    </a:lnTo>
                    <a:lnTo>
                      <a:pt x="77" y="406"/>
                    </a:lnTo>
                    <a:lnTo>
                      <a:pt x="77" y="404"/>
                    </a:lnTo>
                    <a:lnTo>
                      <a:pt x="77" y="406"/>
                    </a:lnTo>
                    <a:lnTo>
                      <a:pt x="75" y="406"/>
                    </a:lnTo>
                    <a:lnTo>
                      <a:pt x="75" y="408"/>
                    </a:lnTo>
                    <a:lnTo>
                      <a:pt x="77" y="408"/>
                    </a:lnTo>
                    <a:lnTo>
                      <a:pt x="75" y="408"/>
                    </a:lnTo>
                    <a:lnTo>
                      <a:pt x="77" y="408"/>
                    </a:lnTo>
                    <a:lnTo>
                      <a:pt x="75" y="408"/>
                    </a:lnTo>
                    <a:lnTo>
                      <a:pt x="77" y="408"/>
                    </a:lnTo>
                    <a:lnTo>
                      <a:pt x="75" y="408"/>
                    </a:lnTo>
                    <a:lnTo>
                      <a:pt x="77" y="408"/>
                    </a:lnTo>
                    <a:lnTo>
                      <a:pt x="77" y="406"/>
                    </a:lnTo>
                    <a:lnTo>
                      <a:pt x="77" y="408"/>
                    </a:lnTo>
                    <a:lnTo>
                      <a:pt x="77" y="406"/>
                    </a:lnTo>
                    <a:lnTo>
                      <a:pt x="77" y="408"/>
                    </a:lnTo>
                    <a:lnTo>
                      <a:pt x="77" y="410"/>
                    </a:lnTo>
                    <a:lnTo>
                      <a:pt x="75" y="410"/>
                    </a:lnTo>
                    <a:lnTo>
                      <a:pt x="77" y="410"/>
                    </a:lnTo>
                    <a:lnTo>
                      <a:pt x="77" y="412"/>
                    </a:lnTo>
                    <a:lnTo>
                      <a:pt x="75" y="412"/>
                    </a:lnTo>
                    <a:lnTo>
                      <a:pt x="75" y="414"/>
                    </a:lnTo>
                    <a:lnTo>
                      <a:pt x="75" y="412"/>
                    </a:lnTo>
                    <a:lnTo>
                      <a:pt x="73" y="412"/>
                    </a:lnTo>
                    <a:lnTo>
                      <a:pt x="73" y="414"/>
                    </a:lnTo>
                    <a:lnTo>
                      <a:pt x="75" y="414"/>
                    </a:lnTo>
                    <a:lnTo>
                      <a:pt x="73" y="414"/>
                    </a:lnTo>
                    <a:lnTo>
                      <a:pt x="75" y="415"/>
                    </a:lnTo>
                    <a:lnTo>
                      <a:pt x="75" y="414"/>
                    </a:lnTo>
                    <a:lnTo>
                      <a:pt x="73" y="415"/>
                    </a:lnTo>
                    <a:lnTo>
                      <a:pt x="75" y="415"/>
                    </a:lnTo>
                    <a:lnTo>
                      <a:pt x="73" y="415"/>
                    </a:lnTo>
                    <a:lnTo>
                      <a:pt x="75" y="415"/>
                    </a:lnTo>
                    <a:lnTo>
                      <a:pt x="73" y="415"/>
                    </a:lnTo>
                    <a:lnTo>
                      <a:pt x="73" y="417"/>
                    </a:lnTo>
                    <a:lnTo>
                      <a:pt x="75" y="417"/>
                    </a:lnTo>
                    <a:lnTo>
                      <a:pt x="73" y="417"/>
                    </a:lnTo>
                    <a:lnTo>
                      <a:pt x="75" y="417"/>
                    </a:lnTo>
                    <a:lnTo>
                      <a:pt x="73" y="417"/>
                    </a:lnTo>
                    <a:lnTo>
                      <a:pt x="75" y="417"/>
                    </a:lnTo>
                    <a:lnTo>
                      <a:pt x="75" y="415"/>
                    </a:lnTo>
                    <a:lnTo>
                      <a:pt x="75" y="414"/>
                    </a:lnTo>
                    <a:lnTo>
                      <a:pt x="75" y="415"/>
                    </a:lnTo>
                    <a:lnTo>
                      <a:pt x="75" y="414"/>
                    </a:lnTo>
                    <a:lnTo>
                      <a:pt x="75" y="412"/>
                    </a:lnTo>
                    <a:lnTo>
                      <a:pt x="77" y="412"/>
                    </a:lnTo>
                    <a:lnTo>
                      <a:pt x="75" y="412"/>
                    </a:lnTo>
                    <a:lnTo>
                      <a:pt x="75" y="414"/>
                    </a:lnTo>
                    <a:lnTo>
                      <a:pt x="77" y="414"/>
                    </a:lnTo>
                    <a:lnTo>
                      <a:pt x="77" y="412"/>
                    </a:lnTo>
                    <a:lnTo>
                      <a:pt x="77" y="414"/>
                    </a:lnTo>
                    <a:lnTo>
                      <a:pt x="77" y="412"/>
                    </a:lnTo>
                    <a:lnTo>
                      <a:pt x="77" y="414"/>
                    </a:lnTo>
                    <a:lnTo>
                      <a:pt x="75" y="414"/>
                    </a:lnTo>
                    <a:lnTo>
                      <a:pt x="75" y="415"/>
                    </a:lnTo>
                    <a:lnTo>
                      <a:pt x="77" y="415"/>
                    </a:lnTo>
                    <a:lnTo>
                      <a:pt x="75" y="415"/>
                    </a:lnTo>
                    <a:lnTo>
                      <a:pt x="75" y="417"/>
                    </a:lnTo>
                    <a:lnTo>
                      <a:pt x="77" y="417"/>
                    </a:lnTo>
                    <a:lnTo>
                      <a:pt x="77" y="415"/>
                    </a:lnTo>
                    <a:lnTo>
                      <a:pt x="77" y="414"/>
                    </a:lnTo>
                    <a:lnTo>
                      <a:pt x="77" y="415"/>
                    </a:lnTo>
                    <a:lnTo>
                      <a:pt x="77" y="414"/>
                    </a:lnTo>
                    <a:lnTo>
                      <a:pt x="77" y="415"/>
                    </a:lnTo>
                    <a:lnTo>
                      <a:pt x="77" y="417"/>
                    </a:lnTo>
                    <a:lnTo>
                      <a:pt x="77" y="415"/>
                    </a:lnTo>
                    <a:lnTo>
                      <a:pt x="77" y="417"/>
                    </a:lnTo>
                    <a:lnTo>
                      <a:pt x="77" y="415"/>
                    </a:lnTo>
                    <a:lnTo>
                      <a:pt x="77" y="417"/>
                    </a:lnTo>
                    <a:lnTo>
                      <a:pt x="75" y="417"/>
                    </a:lnTo>
                    <a:lnTo>
                      <a:pt x="75" y="419"/>
                    </a:lnTo>
                    <a:lnTo>
                      <a:pt x="75" y="417"/>
                    </a:lnTo>
                    <a:lnTo>
                      <a:pt x="75" y="419"/>
                    </a:lnTo>
                    <a:lnTo>
                      <a:pt x="77" y="421"/>
                    </a:lnTo>
                    <a:lnTo>
                      <a:pt x="77" y="423"/>
                    </a:lnTo>
                    <a:lnTo>
                      <a:pt x="79" y="423"/>
                    </a:lnTo>
                    <a:lnTo>
                      <a:pt x="77" y="423"/>
                    </a:lnTo>
                    <a:lnTo>
                      <a:pt x="79" y="423"/>
                    </a:lnTo>
                    <a:lnTo>
                      <a:pt x="79" y="425"/>
                    </a:lnTo>
                    <a:lnTo>
                      <a:pt x="77" y="423"/>
                    </a:lnTo>
                    <a:lnTo>
                      <a:pt x="77" y="425"/>
                    </a:lnTo>
                    <a:lnTo>
                      <a:pt x="77" y="423"/>
                    </a:lnTo>
                    <a:lnTo>
                      <a:pt x="75" y="423"/>
                    </a:lnTo>
                    <a:lnTo>
                      <a:pt x="77" y="423"/>
                    </a:lnTo>
                    <a:lnTo>
                      <a:pt x="75" y="423"/>
                    </a:lnTo>
                    <a:lnTo>
                      <a:pt x="77" y="423"/>
                    </a:lnTo>
                    <a:lnTo>
                      <a:pt x="77" y="425"/>
                    </a:lnTo>
                    <a:lnTo>
                      <a:pt x="77" y="427"/>
                    </a:lnTo>
                    <a:lnTo>
                      <a:pt x="77" y="425"/>
                    </a:lnTo>
                    <a:lnTo>
                      <a:pt x="77" y="427"/>
                    </a:lnTo>
                    <a:lnTo>
                      <a:pt x="79" y="429"/>
                    </a:lnTo>
                    <a:lnTo>
                      <a:pt x="77" y="427"/>
                    </a:lnTo>
                    <a:lnTo>
                      <a:pt x="77" y="429"/>
                    </a:lnTo>
                    <a:lnTo>
                      <a:pt x="77" y="427"/>
                    </a:lnTo>
                    <a:lnTo>
                      <a:pt x="77" y="429"/>
                    </a:lnTo>
                    <a:lnTo>
                      <a:pt x="75" y="429"/>
                    </a:lnTo>
                    <a:lnTo>
                      <a:pt x="77" y="429"/>
                    </a:lnTo>
                    <a:lnTo>
                      <a:pt x="75" y="429"/>
                    </a:lnTo>
                    <a:lnTo>
                      <a:pt x="75" y="431"/>
                    </a:lnTo>
                    <a:lnTo>
                      <a:pt x="73" y="429"/>
                    </a:lnTo>
                    <a:lnTo>
                      <a:pt x="75" y="429"/>
                    </a:lnTo>
                    <a:lnTo>
                      <a:pt x="75" y="431"/>
                    </a:lnTo>
                    <a:lnTo>
                      <a:pt x="75" y="429"/>
                    </a:lnTo>
                    <a:lnTo>
                      <a:pt x="75" y="431"/>
                    </a:lnTo>
                    <a:lnTo>
                      <a:pt x="75" y="429"/>
                    </a:lnTo>
                    <a:lnTo>
                      <a:pt x="77" y="429"/>
                    </a:lnTo>
                    <a:lnTo>
                      <a:pt x="77" y="427"/>
                    </a:lnTo>
                    <a:lnTo>
                      <a:pt x="77" y="425"/>
                    </a:lnTo>
                    <a:lnTo>
                      <a:pt x="77" y="427"/>
                    </a:lnTo>
                    <a:lnTo>
                      <a:pt x="77" y="425"/>
                    </a:lnTo>
                    <a:lnTo>
                      <a:pt x="77" y="427"/>
                    </a:lnTo>
                    <a:lnTo>
                      <a:pt x="77" y="425"/>
                    </a:lnTo>
                    <a:lnTo>
                      <a:pt x="77" y="427"/>
                    </a:lnTo>
                    <a:lnTo>
                      <a:pt x="77" y="425"/>
                    </a:lnTo>
                    <a:lnTo>
                      <a:pt x="75" y="425"/>
                    </a:lnTo>
                    <a:lnTo>
                      <a:pt x="77" y="425"/>
                    </a:lnTo>
                    <a:lnTo>
                      <a:pt x="75" y="425"/>
                    </a:lnTo>
                    <a:lnTo>
                      <a:pt x="77" y="425"/>
                    </a:lnTo>
                    <a:lnTo>
                      <a:pt x="75" y="425"/>
                    </a:lnTo>
                    <a:lnTo>
                      <a:pt x="75" y="423"/>
                    </a:lnTo>
                    <a:lnTo>
                      <a:pt x="73" y="423"/>
                    </a:lnTo>
                    <a:lnTo>
                      <a:pt x="73" y="421"/>
                    </a:lnTo>
                    <a:lnTo>
                      <a:pt x="73" y="419"/>
                    </a:lnTo>
                    <a:lnTo>
                      <a:pt x="75" y="419"/>
                    </a:lnTo>
                    <a:lnTo>
                      <a:pt x="73" y="419"/>
                    </a:lnTo>
                    <a:lnTo>
                      <a:pt x="75" y="419"/>
                    </a:lnTo>
                    <a:lnTo>
                      <a:pt x="73" y="419"/>
                    </a:lnTo>
                    <a:lnTo>
                      <a:pt x="75" y="419"/>
                    </a:lnTo>
                    <a:lnTo>
                      <a:pt x="73" y="419"/>
                    </a:lnTo>
                    <a:lnTo>
                      <a:pt x="73" y="421"/>
                    </a:lnTo>
                    <a:lnTo>
                      <a:pt x="73" y="419"/>
                    </a:lnTo>
                    <a:lnTo>
                      <a:pt x="73" y="421"/>
                    </a:lnTo>
                    <a:lnTo>
                      <a:pt x="73" y="419"/>
                    </a:lnTo>
                    <a:lnTo>
                      <a:pt x="73" y="421"/>
                    </a:lnTo>
                    <a:lnTo>
                      <a:pt x="73" y="419"/>
                    </a:lnTo>
                    <a:lnTo>
                      <a:pt x="71" y="419"/>
                    </a:lnTo>
                    <a:lnTo>
                      <a:pt x="73" y="419"/>
                    </a:lnTo>
                    <a:lnTo>
                      <a:pt x="71" y="419"/>
                    </a:lnTo>
                    <a:lnTo>
                      <a:pt x="71" y="417"/>
                    </a:lnTo>
                    <a:lnTo>
                      <a:pt x="69" y="417"/>
                    </a:lnTo>
                    <a:lnTo>
                      <a:pt x="69" y="415"/>
                    </a:lnTo>
                    <a:lnTo>
                      <a:pt x="69" y="414"/>
                    </a:lnTo>
                    <a:lnTo>
                      <a:pt x="69" y="415"/>
                    </a:lnTo>
                    <a:lnTo>
                      <a:pt x="69" y="417"/>
                    </a:lnTo>
                    <a:lnTo>
                      <a:pt x="69" y="415"/>
                    </a:lnTo>
                    <a:lnTo>
                      <a:pt x="71" y="415"/>
                    </a:lnTo>
                    <a:lnTo>
                      <a:pt x="69" y="415"/>
                    </a:lnTo>
                    <a:lnTo>
                      <a:pt x="71" y="415"/>
                    </a:lnTo>
                    <a:lnTo>
                      <a:pt x="69" y="415"/>
                    </a:lnTo>
                    <a:lnTo>
                      <a:pt x="69" y="414"/>
                    </a:lnTo>
                    <a:lnTo>
                      <a:pt x="69" y="412"/>
                    </a:lnTo>
                    <a:lnTo>
                      <a:pt x="69" y="410"/>
                    </a:lnTo>
                    <a:lnTo>
                      <a:pt x="71" y="410"/>
                    </a:lnTo>
                    <a:lnTo>
                      <a:pt x="69" y="410"/>
                    </a:lnTo>
                    <a:lnTo>
                      <a:pt x="69" y="408"/>
                    </a:lnTo>
                    <a:lnTo>
                      <a:pt x="71" y="408"/>
                    </a:lnTo>
                    <a:lnTo>
                      <a:pt x="71" y="406"/>
                    </a:lnTo>
                    <a:lnTo>
                      <a:pt x="69" y="404"/>
                    </a:lnTo>
                    <a:lnTo>
                      <a:pt x="69" y="402"/>
                    </a:lnTo>
                    <a:lnTo>
                      <a:pt x="71" y="402"/>
                    </a:lnTo>
                    <a:lnTo>
                      <a:pt x="71" y="400"/>
                    </a:lnTo>
                    <a:lnTo>
                      <a:pt x="73" y="400"/>
                    </a:lnTo>
                    <a:lnTo>
                      <a:pt x="71" y="400"/>
                    </a:lnTo>
                    <a:lnTo>
                      <a:pt x="71" y="398"/>
                    </a:lnTo>
                    <a:lnTo>
                      <a:pt x="69" y="398"/>
                    </a:lnTo>
                    <a:lnTo>
                      <a:pt x="71" y="398"/>
                    </a:lnTo>
                    <a:lnTo>
                      <a:pt x="71" y="396"/>
                    </a:lnTo>
                    <a:lnTo>
                      <a:pt x="71" y="394"/>
                    </a:lnTo>
                    <a:lnTo>
                      <a:pt x="73" y="392"/>
                    </a:lnTo>
                    <a:lnTo>
                      <a:pt x="71" y="392"/>
                    </a:lnTo>
                    <a:lnTo>
                      <a:pt x="71" y="390"/>
                    </a:lnTo>
                    <a:lnTo>
                      <a:pt x="71" y="389"/>
                    </a:lnTo>
                    <a:lnTo>
                      <a:pt x="71" y="390"/>
                    </a:lnTo>
                    <a:lnTo>
                      <a:pt x="73" y="390"/>
                    </a:lnTo>
                    <a:lnTo>
                      <a:pt x="73" y="392"/>
                    </a:lnTo>
                    <a:lnTo>
                      <a:pt x="73" y="390"/>
                    </a:lnTo>
                    <a:lnTo>
                      <a:pt x="73" y="392"/>
                    </a:lnTo>
                    <a:lnTo>
                      <a:pt x="73" y="390"/>
                    </a:lnTo>
                    <a:lnTo>
                      <a:pt x="75" y="390"/>
                    </a:lnTo>
                    <a:lnTo>
                      <a:pt x="73" y="390"/>
                    </a:lnTo>
                    <a:lnTo>
                      <a:pt x="73" y="392"/>
                    </a:lnTo>
                    <a:lnTo>
                      <a:pt x="73" y="394"/>
                    </a:lnTo>
                    <a:lnTo>
                      <a:pt x="71" y="394"/>
                    </a:lnTo>
                    <a:lnTo>
                      <a:pt x="73" y="394"/>
                    </a:lnTo>
                    <a:lnTo>
                      <a:pt x="71" y="394"/>
                    </a:lnTo>
                    <a:lnTo>
                      <a:pt x="73" y="394"/>
                    </a:lnTo>
                    <a:lnTo>
                      <a:pt x="75" y="394"/>
                    </a:lnTo>
                    <a:lnTo>
                      <a:pt x="73" y="394"/>
                    </a:lnTo>
                    <a:lnTo>
                      <a:pt x="73" y="396"/>
                    </a:lnTo>
                    <a:lnTo>
                      <a:pt x="73" y="398"/>
                    </a:lnTo>
                    <a:lnTo>
                      <a:pt x="73" y="400"/>
                    </a:lnTo>
                    <a:lnTo>
                      <a:pt x="73" y="398"/>
                    </a:lnTo>
                    <a:lnTo>
                      <a:pt x="73" y="396"/>
                    </a:lnTo>
                    <a:lnTo>
                      <a:pt x="75" y="396"/>
                    </a:lnTo>
                    <a:lnTo>
                      <a:pt x="77" y="396"/>
                    </a:lnTo>
                    <a:lnTo>
                      <a:pt x="77" y="394"/>
                    </a:lnTo>
                    <a:lnTo>
                      <a:pt x="77" y="396"/>
                    </a:lnTo>
                    <a:lnTo>
                      <a:pt x="77" y="394"/>
                    </a:lnTo>
                    <a:lnTo>
                      <a:pt x="77" y="396"/>
                    </a:lnTo>
                    <a:lnTo>
                      <a:pt x="75" y="396"/>
                    </a:lnTo>
                    <a:lnTo>
                      <a:pt x="75" y="398"/>
                    </a:lnTo>
                    <a:lnTo>
                      <a:pt x="75" y="396"/>
                    </a:lnTo>
                    <a:lnTo>
                      <a:pt x="75" y="398"/>
                    </a:lnTo>
                    <a:lnTo>
                      <a:pt x="75" y="396"/>
                    </a:lnTo>
                    <a:lnTo>
                      <a:pt x="75" y="398"/>
                    </a:lnTo>
                    <a:lnTo>
                      <a:pt x="75" y="396"/>
                    </a:lnTo>
                    <a:lnTo>
                      <a:pt x="75" y="398"/>
                    </a:lnTo>
                    <a:lnTo>
                      <a:pt x="75" y="396"/>
                    </a:lnTo>
                    <a:lnTo>
                      <a:pt x="75" y="398"/>
                    </a:lnTo>
                    <a:lnTo>
                      <a:pt x="77" y="398"/>
                    </a:lnTo>
                    <a:lnTo>
                      <a:pt x="77" y="396"/>
                    </a:lnTo>
                    <a:lnTo>
                      <a:pt x="77" y="398"/>
                    </a:lnTo>
                    <a:lnTo>
                      <a:pt x="77" y="396"/>
                    </a:lnTo>
                    <a:lnTo>
                      <a:pt x="79" y="396"/>
                    </a:lnTo>
                    <a:lnTo>
                      <a:pt x="77" y="396"/>
                    </a:lnTo>
                    <a:lnTo>
                      <a:pt x="79" y="396"/>
                    </a:lnTo>
                    <a:lnTo>
                      <a:pt x="77" y="396"/>
                    </a:lnTo>
                    <a:lnTo>
                      <a:pt x="77" y="394"/>
                    </a:lnTo>
                    <a:lnTo>
                      <a:pt x="79" y="394"/>
                    </a:lnTo>
                    <a:lnTo>
                      <a:pt x="77" y="394"/>
                    </a:lnTo>
                    <a:lnTo>
                      <a:pt x="79" y="396"/>
                    </a:lnTo>
                    <a:lnTo>
                      <a:pt x="77" y="396"/>
                    </a:lnTo>
                    <a:lnTo>
                      <a:pt x="79" y="396"/>
                    </a:lnTo>
                    <a:lnTo>
                      <a:pt x="79" y="394"/>
                    </a:lnTo>
                    <a:lnTo>
                      <a:pt x="79" y="396"/>
                    </a:lnTo>
                    <a:lnTo>
                      <a:pt x="79" y="394"/>
                    </a:lnTo>
                    <a:lnTo>
                      <a:pt x="77" y="394"/>
                    </a:lnTo>
                    <a:lnTo>
                      <a:pt x="79" y="394"/>
                    </a:lnTo>
                    <a:lnTo>
                      <a:pt x="79" y="392"/>
                    </a:lnTo>
                    <a:lnTo>
                      <a:pt x="81" y="392"/>
                    </a:lnTo>
                    <a:lnTo>
                      <a:pt x="81" y="390"/>
                    </a:lnTo>
                    <a:lnTo>
                      <a:pt x="83" y="390"/>
                    </a:lnTo>
                    <a:close/>
                    <a:moveTo>
                      <a:pt x="79" y="394"/>
                    </a:moveTo>
                    <a:lnTo>
                      <a:pt x="79" y="396"/>
                    </a:lnTo>
                    <a:lnTo>
                      <a:pt x="79" y="394"/>
                    </a:lnTo>
                    <a:close/>
                    <a:moveTo>
                      <a:pt x="79" y="396"/>
                    </a:moveTo>
                    <a:lnTo>
                      <a:pt x="79" y="398"/>
                    </a:lnTo>
                    <a:lnTo>
                      <a:pt x="79" y="396"/>
                    </a:lnTo>
                    <a:close/>
                    <a:moveTo>
                      <a:pt x="77" y="400"/>
                    </a:moveTo>
                    <a:lnTo>
                      <a:pt x="77" y="402"/>
                    </a:lnTo>
                    <a:lnTo>
                      <a:pt x="75" y="402"/>
                    </a:lnTo>
                    <a:lnTo>
                      <a:pt x="77" y="402"/>
                    </a:lnTo>
                    <a:lnTo>
                      <a:pt x="77" y="400"/>
                    </a:lnTo>
                    <a:close/>
                    <a:moveTo>
                      <a:pt x="75" y="404"/>
                    </a:moveTo>
                    <a:lnTo>
                      <a:pt x="73" y="404"/>
                    </a:lnTo>
                    <a:lnTo>
                      <a:pt x="73" y="406"/>
                    </a:lnTo>
                    <a:lnTo>
                      <a:pt x="75" y="406"/>
                    </a:lnTo>
                    <a:lnTo>
                      <a:pt x="73" y="406"/>
                    </a:lnTo>
                    <a:lnTo>
                      <a:pt x="73" y="404"/>
                    </a:lnTo>
                    <a:lnTo>
                      <a:pt x="75" y="404"/>
                    </a:lnTo>
                    <a:close/>
                    <a:moveTo>
                      <a:pt x="73" y="406"/>
                    </a:moveTo>
                    <a:lnTo>
                      <a:pt x="73" y="408"/>
                    </a:lnTo>
                    <a:lnTo>
                      <a:pt x="73" y="406"/>
                    </a:lnTo>
                    <a:lnTo>
                      <a:pt x="73" y="408"/>
                    </a:lnTo>
                    <a:lnTo>
                      <a:pt x="73" y="406"/>
                    </a:lnTo>
                    <a:lnTo>
                      <a:pt x="73" y="408"/>
                    </a:lnTo>
                    <a:lnTo>
                      <a:pt x="73" y="410"/>
                    </a:lnTo>
                    <a:lnTo>
                      <a:pt x="71" y="410"/>
                    </a:lnTo>
                    <a:lnTo>
                      <a:pt x="73" y="410"/>
                    </a:lnTo>
                    <a:lnTo>
                      <a:pt x="73" y="408"/>
                    </a:lnTo>
                    <a:lnTo>
                      <a:pt x="73" y="406"/>
                    </a:lnTo>
                    <a:lnTo>
                      <a:pt x="73" y="408"/>
                    </a:lnTo>
                    <a:lnTo>
                      <a:pt x="73" y="410"/>
                    </a:lnTo>
                    <a:lnTo>
                      <a:pt x="73" y="412"/>
                    </a:lnTo>
                    <a:lnTo>
                      <a:pt x="75" y="412"/>
                    </a:lnTo>
                    <a:lnTo>
                      <a:pt x="73" y="412"/>
                    </a:lnTo>
                    <a:lnTo>
                      <a:pt x="75" y="412"/>
                    </a:lnTo>
                    <a:lnTo>
                      <a:pt x="73" y="412"/>
                    </a:lnTo>
                    <a:lnTo>
                      <a:pt x="73" y="410"/>
                    </a:lnTo>
                    <a:lnTo>
                      <a:pt x="75" y="410"/>
                    </a:lnTo>
                    <a:lnTo>
                      <a:pt x="75" y="408"/>
                    </a:lnTo>
                    <a:lnTo>
                      <a:pt x="73" y="408"/>
                    </a:lnTo>
                    <a:lnTo>
                      <a:pt x="75" y="408"/>
                    </a:lnTo>
                    <a:lnTo>
                      <a:pt x="73" y="408"/>
                    </a:lnTo>
                    <a:lnTo>
                      <a:pt x="75" y="408"/>
                    </a:lnTo>
                    <a:lnTo>
                      <a:pt x="73" y="408"/>
                    </a:lnTo>
                    <a:lnTo>
                      <a:pt x="75" y="408"/>
                    </a:lnTo>
                    <a:lnTo>
                      <a:pt x="73" y="408"/>
                    </a:lnTo>
                    <a:lnTo>
                      <a:pt x="73" y="406"/>
                    </a:lnTo>
                    <a:lnTo>
                      <a:pt x="73" y="408"/>
                    </a:lnTo>
                    <a:lnTo>
                      <a:pt x="75" y="408"/>
                    </a:lnTo>
                    <a:lnTo>
                      <a:pt x="75" y="406"/>
                    </a:lnTo>
                    <a:lnTo>
                      <a:pt x="73" y="406"/>
                    </a:lnTo>
                    <a:lnTo>
                      <a:pt x="75" y="406"/>
                    </a:lnTo>
                    <a:lnTo>
                      <a:pt x="73" y="406"/>
                    </a:lnTo>
                    <a:close/>
                    <a:moveTo>
                      <a:pt x="75" y="410"/>
                    </a:moveTo>
                    <a:lnTo>
                      <a:pt x="75" y="408"/>
                    </a:lnTo>
                    <a:lnTo>
                      <a:pt x="75" y="410"/>
                    </a:lnTo>
                    <a:close/>
                    <a:moveTo>
                      <a:pt x="75" y="410"/>
                    </a:moveTo>
                    <a:lnTo>
                      <a:pt x="75" y="412"/>
                    </a:lnTo>
                    <a:lnTo>
                      <a:pt x="75" y="410"/>
                    </a:lnTo>
                    <a:lnTo>
                      <a:pt x="75" y="412"/>
                    </a:lnTo>
                    <a:lnTo>
                      <a:pt x="75" y="410"/>
                    </a:lnTo>
                    <a:close/>
                    <a:moveTo>
                      <a:pt x="75" y="412"/>
                    </a:moveTo>
                    <a:lnTo>
                      <a:pt x="73" y="412"/>
                    </a:lnTo>
                    <a:lnTo>
                      <a:pt x="75" y="412"/>
                    </a:lnTo>
                    <a:close/>
                    <a:moveTo>
                      <a:pt x="73" y="415"/>
                    </a:moveTo>
                    <a:lnTo>
                      <a:pt x="73" y="414"/>
                    </a:lnTo>
                    <a:lnTo>
                      <a:pt x="73" y="415"/>
                    </a:lnTo>
                    <a:close/>
                    <a:moveTo>
                      <a:pt x="73" y="415"/>
                    </a:moveTo>
                    <a:lnTo>
                      <a:pt x="73" y="417"/>
                    </a:lnTo>
                    <a:lnTo>
                      <a:pt x="73" y="419"/>
                    </a:lnTo>
                    <a:lnTo>
                      <a:pt x="73" y="417"/>
                    </a:lnTo>
                    <a:lnTo>
                      <a:pt x="73" y="419"/>
                    </a:lnTo>
                    <a:lnTo>
                      <a:pt x="73" y="417"/>
                    </a:lnTo>
                    <a:lnTo>
                      <a:pt x="73" y="419"/>
                    </a:lnTo>
                    <a:lnTo>
                      <a:pt x="75" y="419"/>
                    </a:lnTo>
                    <a:lnTo>
                      <a:pt x="73" y="419"/>
                    </a:lnTo>
                    <a:lnTo>
                      <a:pt x="73" y="417"/>
                    </a:lnTo>
                    <a:lnTo>
                      <a:pt x="75" y="417"/>
                    </a:lnTo>
                    <a:lnTo>
                      <a:pt x="73" y="417"/>
                    </a:lnTo>
                    <a:lnTo>
                      <a:pt x="73" y="415"/>
                    </a:lnTo>
                    <a:close/>
                    <a:moveTo>
                      <a:pt x="75" y="417"/>
                    </a:moveTo>
                    <a:lnTo>
                      <a:pt x="75" y="419"/>
                    </a:lnTo>
                    <a:lnTo>
                      <a:pt x="75" y="417"/>
                    </a:lnTo>
                    <a:lnTo>
                      <a:pt x="75" y="419"/>
                    </a:lnTo>
                    <a:lnTo>
                      <a:pt x="73" y="419"/>
                    </a:lnTo>
                    <a:lnTo>
                      <a:pt x="75" y="419"/>
                    </a:lnTo>
                    <a:lnTo>
                      <a:pt x="75" y="417"/>
                    </a:lnTo>
                    <a:close/>
                    <a:moveTo>
                      <a:pt x="77" y="404"/>
                    </a:moveTo>
                    <a:lnTo>
                      <a:pt x="75" y="404"/>
                    </a:lnTo>
                    <a:lnTo>
                      <a:pt x="77" y="404"/>
                    </a:lnTo>
                    <a:close/>
                    <a:moveTo>
                      <a:pt x="83" y="390"/>
                    </a:moveTo>
                    <a:lnTo>
                      <a:pt x="85" y="390"/>
                    </a:lnTo>
                    <a:lnTo>
                      <a:pt x="83" y="390"/>
                    </a:lnTo>
                    <a:close/>
                    <a:moveTo>
                      <a:pt x="85" y="389"/>
                    </a:moveTo>
                    <a:lnTo>
                      <a:pt x="85" y="390"/>
                    </a:lnTo>
                    <a:lnTo>
                      <a:pt x="85" y="389"/>
                    </a:lnTo>
                    <a:close/>
                    <a:moveTo>
                      <a:pt x="83" y="389"/>
                    </a:moveTo>
                    <a:lnTo>
                      <a:pt x="83" y="390"/>
                    </a:lnTo>
                    <a:lnTo>
                      <a:pt x="83" y="389"/>
                    </a:lnTo>
                    <a:close/>
                    <a:moveTo>
                      <a:pt x="85" y="389"/>
                    </a:moveTo>
                    <a:lnTo>
                      <a:pt x="83" y="390"/>
                    </a:lnTo>
                    <a:lnTo>
                      <a:pt x="83" y="389"/>
                    </a:lnTo>
                    <a:lnTo>
                      <a:pt x="83" y="390"/>
                    </a:lnTo>
                    <a:lnTo>
                      <a:pt x="83" y="389"/>
                    </a:lnTo>
                    <a:lnTo>
                      <a:pt x="85" y="389"/>
                    </a:lnTo>
                    <a:close/>
                    <a:moveTo>
                      <a:pt x="92" y="390"/>
                    </a:moveTo>
                    <a:lnTo>
                      <a:pt x="90" y="390"/>
                    </a:lnTo>
                    <a:lnTo>
                      <a:pt x="92" y="390"/>
                    </a:lnTo>
                    <a:close/>
                    <a:moveTo>
                      <a:pt x="88" y="383"/>
                    </a:moveTo>
                    <a:lnTo>
                      <a:pt x="88" y="381"/>
                    </a:lnTo>
                    <a:lnTo>
                      <a:pt x="88" y="383"/>
                    </a:lnTo>
                    <a:close/>
                    <a:moveTo>
                      <a:pt x="92" y="379"/>
                    </a:moveTo>
                    <a:lnTo>
                      <a:pt x="92" y="381"/>
                    </a:lnTo>
                    <a:lnTo>
                      <a:pt x="92" y="379"/>
                    </a:lnTo>
                    <a:close/>
                    <a:moveTo>
                      <a:pt x="85" y="377"/>
                    </a:moveTo>
                    <a:lnTo>
                      <a:pt x="86" y="377"/>
                    </a:lnTo>
                    <a:lnTo>
                      <a:pt x="85" y="377"/>
                    </a:lnTo>
                    <a:lnTo>
                      <a:pt x="86" y="377"/>
                    </a:lnTo>
                    <a:lnTo>
                      <a:pt x="85" y="377"/>
                    </a:lnTo>
                    <a:close/>
                    <a:moveTo>
                      <a:pt x="92" y="381"/>
                    </a:moveTo>
                    <a:lnTo>
                      <a:pt x="94" y="379"/>
                    </a:lnTo>
                    <a:lnTo>
                      <a:pt x="92" y="381"/>
                    </a:lnTo>
                    <a:close/>
                    <a:moveTo>
                      <a:pt x="86" y="377"/>
                    </a:moveTo>
                    <a:lnTo>
                      <a:pt x="85" y="377"/>
                    </a:lnTo>
                    <a:lnTo>
                      <a:pt x="86" y="377"/>
                    </a:lnTo>
                    <a:close/>
                    <a:moveTo>
                      <a:pt x="94" y="381"/>
                    </a:moveTo>
                    <a:lnTo>
                      <a:pt x="94" y="383"/>
                    </a:lnTo>
                    <a:lnTo>
                      <a:pt x="94" y="385"/>
                    </a:lnTo>
                    <a:lnTo>
                      <a:pt x="92" y="385"/>
                    </a:lnTo>
                    <a:lnTo>
                      <a:pt x="92" y="383"/>
                    </a:lnTo>
                    <a:lnTo>
                      <a:pt x="92" y="385"/>
                    </a:lnTo>
                    <a:lnTo>
                      <a:pt x="92" y="383"/>
                    </a:lnTo>
                    <a:lnTo>
                      <a:pt x="90" y="383"/>
                    </a:lnTo>
                    <a:lnTo>
                      <a:pt x="92" y="385"/>
                    </a:lnTo>
                    <a:lnTo>
                      <a:pt x="90" y="385"/>
                    </a:lnTo>
                    <a:lnTo>
                      <a:pt x="90" y="383"/>
                    </a:lnTo>
                    <a:lnTo>
                      <a:pt x="90" y="385"/>
                    </a:lnTo>
                    <a:lnTo>
                      <a:pt x="90" y="383"/>
                    </a:lnTo>
                    <a:lnTo>
                      <a:pt x="88" y="383"/>
                    </a:lnTo>
                    <a:lnTo>
                      <a:pt x="88" y="381"/>
                    </a:lnTo>
                    <a:lnTo>
                      <a:pt x="90" y="381"/>
                    </a:lnTo>
                    <a:lnTo>
                      <a:pt x="92" y="381"/>
                    </a:lnTo>
                    <a:lnTo>
                      <a:pt x="90" y="381"/>
                    </a:lnTo>
                    <a:lnTo>
                      <a:pt x="90" y="383"/>
                    </a:lnTo>
                    <a:lnTo>
                      <a:pt x="92" y="383"/>
                    </a:lnTo>
                    <a:lnTo>
                      <a:pt x="90" y="383"/>
                    </a:lnTo>
                    <a:lnTo>
                      <a:pt x="92" y="383"/>
                    </a:lnTo>
                    <a:lnTo>
                      <a:pt x="92" y="381"/>
                    </a:lnTo>
                    <a:lnTo>
                      <a:pt x="94" y="381"/>
                    </a:lnTo>
                    <a:lnTo>
                      <a:pt x="92" y="381"/>
                    </a:lnTo>
                    <a:lnTo>
                      <a:pt x="94" y="381"/>
                    </a:lnTo>
                    <a:lnTo>
                      <a:pt x="94" y="379"/>
                    </a:lnTo>
                    <a:lnTo>
                      <a:pt x="94" y="381"/>
                    </a:lnTo>
                    <a:lnTo>
                      <a:pt x="94" y="379"/>
                    </a:lnTo>
                    <a:lnTo>
                      <a:pt x="94" y="381"/>
                    </a:lnTo>
                    <a:lnTo>
                      <a:pt x="94" y="379"/>
                    </a:lnTo>
                    <a:lnTo>
                      <a:pt x="94" y="381"/>
                    </a:lnTo>
                    <a:lnTo>
                      <a:pt x="94" y="379"/>
                    </a:lnTo>
                    <a:lnTo>
                      <a:pt x="94" y="381"/>
                    </a:lnTo>
                    <a:lnTo>
                      <a:pt x="94" y="379"/>
                    </a:lnTo>
                    <a:lnTo>
                      <a:pt x="94" y="381"/>
                    </a:lnTo>
                    <a:lnTo>
                      <a:pt x="94" y="379"/>
                    </a:lnTo>
                    <a:lnTo>
                      <a:pt x="96" y="379"/>
                    </a:lnTo>
                    <a:lnTo>
                      <a:pt x="96" y="381"/>
                    </a:lnTo>
                    <a:lnTo>
                      <a:pt x="94" y="381"/>
                    </a:lnTo>
                    <a:close/>
                    <a:moveTo>
                      <a:pt x="90" y="383"/>
                    </a:moveTo>
                    <a:lnTo>
                      <a:pt x="92" y="383"/>
                    </a:lnTo>
                    <a:lnTo>
                      <a:pt x="90" y="383"/>
                    </a:lnTo>
                    <a:close/>
                    <a:moveTo>
                      <a:pt x="96" y="379"/>
                    </a:moveTo>
                    <a:lnTo>
                      <a:pt x="98" y="379"/>
                    </a:lnTo>
                    <a:lnTo>
                      <a:pt x="96" y="379"/>
                    </a:lnTo>
                    <a:close/>
                    <a:moveTo>
                      <a:pt x="94" y="377"/>
                    </a:moveTo>
                    <a:lnTo>
                      <a:pt x="94" y="379"/>
                    </a:lnTo>
                    <a:lnTo>
                      <a:pt x="94" y="377"/>
                    </a:lnTo>
                    <a:lnTo>
                      <a:pt x="94" y="379"/>
                    </a:lnTo>
                    <a:lnTo>
                      <a:pt x="94" y="377"/>
                    </a:lnTo>
                    <a:lnTo>
                      <a:pt x="96" y="377"/>
                    </a:lnTo>
                    <a:lnTo>
                      <a:pt x="94" y="377"/>
                    </a:lnTo>
                    <a:lnTo>
                      <a:pt x="94" y="379"/>
                    </a:lnTo>
                    <a:lnTo>
                      <a:pt x="94" y="377"/>
                    </a:lnTo>
                    <a:lnTo>
                      <a:pt x="94" y="379"/>
                    </a:lnTo>
                    <a:lnTo>
                      <a:pt x="94" y="377"/>
                    </a:lnTo>
                    <a:close/>
                    <a:moveTo>
                      <a:pt x="94" y="377"/>
                    </a:moveTo>
                    <a:lnTo>
                      <a:pt x="94" y="375"/>
                    </a:lnTo>
                    <a:lnTo>
                      <a:pt x="94" y="377"/>
                    </a:lnTo>
                    <a:close/>
                    <a:moveTo>
                      <a:pt x="100" y="377"/>
                    </a:moveTo>
                    <a:lnTo>
                      <a:pt x="98" y="379"/>
                    </a:lnTo>
                    <a:lnTo>
                      <a:pt x="98" y="377"/>
                    </a:lnTo>
                    <a:lnTo>
                      <a:pt x="100" y="377"/>
                    </a:lnTo>
                    <a:close/>
                    <a:moveTo>
                      <a:pt x="96" y="375"/>
                    </a:moveTo>
                    <a:lnTo>
                      <a:pt x="94" y="377"/>
                    </a:lnTo>
                    <a:lnTo>
                      <a:pt x="94" y="375"/>
                    </a:lnTo>
                    <a:lnTo>
                      <a:pt x="94" y="377"/>
                    </a:lnTo>
                    <a:lnTo>
                      <a:pt x="94" y="375"/>
                    </a:lnTo>
                    <a:lnTo>
                      <a:pt x="96" y="375"/>
                    </a:lnTo>
                    <a:lnTo>
                      <a:pt x="94" y="375"/>
                    </a:lnTo>
                    <a:lnTo>
                      <a:pt x="96" y="375"/>
                    </a:lnTo>
                    <a:close/>
                    <a:moveTo>
                      <a:pt x="98" y="375"/>
                    </a:moveTo>
                    <a:lnTo>
                      <a:pt x="96" y="375"/>
                    </a:lnTo>
                    <a:lnTo>
                      <a:pt x="96" y="373"/>
                    </a:lnTo>
                    <a:lnTo>
                      <a:pt x="96" y="375"/>
                    </a:lnTo>
                    <a:lnTo>
                      <a:pt x="98" y="375"/>
                    </a:lnTo>
                    <a:close/>
                    <a:moveTo>
                      <a:pt x="88" y="371"/>
                    </a:moveTo>
                    <a:lnTo>
                      <a:pt x="90" y="371"/>
                    </a:lnTo>
                    <a:lnTo>
                      <a:pt x="88" y="371"/>
                    </a:lnTo>
                    <a:close/>
                    <a:moveTo>
                      <a:pt x="108" y="377"/>
                    </a:moveTo>
                    <a:lnTo>
                      <a:pt x="106" y="377"/>
                    </a:lnTo>
                    <a:lnTo>
                      <a:pt x="106" y="379"/>
                    </a:lnTo>
                    <a:lnTo>
                      <a:pt x="106" y="381"/>
                    </a:lnTo>
                    <a:lnTo>
                      <a:pt x="106" y="379"/>
                    </a:lnTo>
                    <a:lnTo>
                      <a:pt x="106" y="381"/>
                    </a:lnTo>
                    <a:lnTo>
                      <a:pt x="104" y="381"/>
                    </a:lnTo>
                    <a:lnTo>
                      <a:pt x="104" y="383"/>
                    </a:lnTo>
                    <a:lnTo>
                      <a:pt x="102" y="383"/>
                    </a:lnTo>
                    <a:lnTo>
                      <a:pt x="102" y="385"/>
                    </a:lnTo>
                    <a:lnTo>
                      <a:pt x="100" y="385"/>
                    </a:lnTo>
                    <a:lnTo>
                      <a:pt x="100" y="387"/>
                    </a:lnTo>
                    <a:lnTo>
                      <a:pt x="100" y="389"/>
                    </a:lnTo>
                    <a:lnTo>
                      <a:pt x="100" y="390"/>
                    </a:lnTo>
                    <a:lnTo>
                      <a:pt x="98" y="390"/>
                    </a:lnTo>
                    <a:lnTo>
                      <a:pt x="96" y="392"/>
                    </a:lnTo>
                    <a:lnTo>
                      <a:pt x="96" y="394"/>
                    </a:lnTo>
                    <a:lnTo>
                      <a:pt x="96" y="396"/>
                    </a:lnTo>
                    <a:lnTo>
                      <a:pt x="94" y="398"/>
                    </a:lnTo>
                    <a:lnTo>
                      <a:pt x="94" y="400"/>
                    </a:lnTo>
                    <a:lnTo>
                      <a:pt x="92" y="400"/>
                    </a:lnTo>
                    <a:lnTo>
                      <a:pt x="92" y="402"/>
                    </a:lnTo>
                    <a:lnTo>
                      <a:pt x="90" y="402"/>
                    </a:lnTo>
                    <a:lnTo>
                      <a:pt x="88" y="404"/>
                    </a:lnTo>
                    <a:lnTo>
                      <a:pt x="86" y="404"/>
                    </a:lnTo>
                    <a:lnTo>
                      <a:pt x="86" y="406"/>
                    </a:lnTo>
                    <a:lnTo>
                      <a:pt x="85" y="406"/>
                    </a:lnTo>
                    <a:lnTo>
                      <a:pt x="85" y="408"/>
                    </a:lnTo>
                    <a:lnTo>
                      <a:pt x="83" y="410"/>
                    </a:lnTo>
                    <a:lnTo>
                      <a:pt x="81" y="412"/>
                    </a:lnTo>
                    <a:lnTo>
                      <a:pt x="81" y="414"/>
                    </a:lnTo>
                    <a:lnTo>
                      <a:pt x="81" y="415"/>
                    </a:lnTo>
                    <a:lnTo>
                      <a:pt x="79" y="415"/>
                    </a:lnTo>
                    <a:lnTo>
                      <a:pt x="79" y="417"/>
                    </a:lnTo>
                    <a:lnTo>
                      <a:pt x="77" y="417"/>
                    </a:lnTo>
                    <a:lnTo>
                      <a:pt x="77" y="415"/>
                    </a:lnTo>
                    <a:lnTo>
                      <a:pt x="79" y="415"/>
                    </a:lnTo>
                    <a:lnTo>
                      <a:pt x="77" y="415"/>
                    </a:lnTo>
                    <a:lnTo>
                      <a:pt x="77" y="414"/>
                    </a:lnTo>
                    <a:lnTo>
                      <a:pt x="77" y="412"/>
                    </a:lnTo>
                    <a:lnTo>
                      <a:pt x="77" y="410"/>
                    </a:lnTo>
                    <a:lnTo>
                      <a:pt x="77" y="408"/>
                    </a:lnTo>
                    <a:lnTo>
                      <a:pt x="77" y="406"/>
                    </a:lnTo>
                    <a:lnTo>
                      <a:pt x="79" y="406"/>
                    </a:lnTo>
                    <a:lnTo>
                      <a:pt x="79" y="404"/>
                    </a:lnTo>
                    <a:lnTo>
                      <a:pt x="79" y="406"/>
                    </a:lnTo>
                    <a:lnTo>
                      <a:pt x="79" y="404"/>
                    </a:lnTo>
                    <a:lnTo>
                      <a:pt x="81" y="404"/>
                    </a:lnTo>
                    <a:lnTo>
                      <a:pt x="79" y="402"/>
                    </a:lnTo>
                    <a:lnTo>
                      <a:pt x="81" y="402"/>
                    </a:lnTo>
                    <a:lnTo>
                      <a:pt x="81" y="404"/>
                    </a:lnTo>
                    <a:lnTo>
                      <a:pt x="81" y="402"/>
                    </a:lnTo>
                    <a:lnTo>
                      <a:pt x="83" y="402"/>
                    </a:lnTo>
                    <a:lnTo>
                      <a:pt x="81" y="402"/>
                    </a:lnTo>
                    <a:lnTo>
                      <a:pt x="83" y="402"/>
                    </a:lnTo>
                    <a:lnTo>
                      <a:pt x="81" y="402"/>
                    </a:lnTo>
                    <a:lnTo>
                      <a:pt x="83" y="402"/>
                    </a:lnTo>
                    <a:lnTo>
                      <a:pt x="81" y="402"/>
                    </a:lnTo>
                    <a:lnTo>
                      <a:pt x="81" y="404"/>
                    </a:lnTo>
                    <a:lnTo>
                      <a:pt x="83" y="404"/>
                    </a:lnTo>
                    <a:lnTo>
                      <a:pt x="81" y="404"/>
                    </a:lnTo>
                    <a:lnTo>
                      <a:pt x="81" y="402"/>
                    </a:lnTo>
                    <a:lnTo>
                      <a:pt x="81" y="404"/>
                    </a:lnTo>
                    <a:lnTo>
                      <a:pt x="81" y="406"/>
                    </a:lnTo>
                    <a:lnTo>
                      <a:pt x="81" y="404"/>
                    </a:lnTo>
                    <a:lnTo>
                      <a:pt x="81" y="406"/>
                    </a:lnTo>
                    <a:lnTo>
                      <a:pt x="81" y="404"/>
                    </a:lnTo>
                    <a:lnTo>
                      <a:pt x="83" y="404"/>
                    </a:lnTo>
                    <a:lnTo>
                      <a:pt x="81" y="404"/>
                    </a:lnTo>
                    <a:lnTo>
                      <a:pt x="83" y="404"/>
                    </a:lnTo>
                    <a:lnTo>
                      <a:pt x="83" y="406"/>
                    </a:lnTo>
                    <a:lnTo>
                      <a:pt x="83" y="404"/>
                    </a:lnTo>
                    <a:lnTo>
                      <a:pt x="83" y="406"/>
                    </a:lnTo>
                    <a:lnTo>
                      <a:pt x="83" y="408"/>
                    </a:lnTo>
                    <a:lnTo>
                      <a:pt x="83" y="406"/>
                    </a:lnTo>
                    <a:lnTo>
                      <a:pt x="83" y="408"/>
                    </a:lnTo>
                    <a:lnTo>
                      <a:pt x="85" y="408"/>
                    </a:lnTo>
                    <a:lnTo>
                      <a:pt x="85" y="406"/>
                    </a:lnTo>
                    <a:lnTo>
                      <a:pt x="85" y="404"/>
                    </a:lnTo>
                    <a:lnTo>
                      <a:pt x="85" y="402"/>
                    </a:lnTo>
                    <a:lnTo>
                      <a:pt x="83" y="402"/>
                    </a:lnTo>
                    <a:lnTo>
                      <a:pt x="85" y="402"/>
                    </a:lnTo>
                    <a:lnTo>
                      <a:pt x="83" y="402"/>
                    </a:lnTo>
                    <a:lnTo>
                      <a:pt x="83" y="404"/>
                    </a:lnTo>
                    <a:lnTo>
                      <a:pt x="83" y="402"/>
                    </a:lnTo>
                    <a:lnTo>
                      <a:pt x="83" y="404"/>
                    </a:lnTo>
                    <a:lnTo>
                      <a:pt x="83" y="402"/>
                    </a:lnTo>
                    <a:lnTo>
                      <a:pt x="83" y="400"/>
                    </a:lnTo>
                    <a:lnTo>
                      <a:pt x="83" y="398"/>
                    </a:lnTo>
                    <a:lnTo>
                      <a:pt x="81" y="398"/>
                    </a:lnTo>
                    <a:lnTo>
                      <a:pt x="81" y="396"/>
                    </a:lnTo>
                    <a:lnTo>
                      <a:pt x="83" y="396"/>
                    </a:lnTo>
                    <a:lnTo>
                      <a:pt x="81" y="396"/>
                    </a:lnTo>
                    <a:lnTo>
                      <a:pt x="81" y="394"/>
                    </a:lnTo>
                    <a:lnTo>
                      <a:pt x="83" y="394"/>
                    </a:lnTo>
                    <a:lnTo>
                      <a:pt x="83" y="392"/>
                    </a:lnTo>
                    <a:lnTo>
                      <a:pt x="83" y="390"/>
                    </a:lnTo>
                    <a:lnTo>
                      <a:pt x="83" y="392"/>
                    </a:lnTo>
                    <a:lnTo>
                      <a:pt x="85" y="392"/>
                    </a:lnTo>
                    <a:lnTo>
                      <a:pt x="85" y="390"/>
                    </a:lnTo>
                    <a:lnTo>
                      <a:pt x="85" y="389"/>
                    </a:lnTo>
                    <a:lnTo>
                      <a:pt x="86" y="389"/>
                    </a:lnTo>
                    <a:lnTo>
                      <a:pt x="86" y="390"/>
                    </a:lnTo>
                    <a:lnTo>
                      <a:pt x="85" y="390"/>
                    </a:lnTo>
                    <a:lnTo>
                      <a:pt x="85" y="392"/>
                    </a:lnTo>
                    <a:lnTo>
                      <a:pt x="85" y="394"/>
                    </a:lnTo>
                    <a:lnTo>
                      <a:pt x="86" y="394"/>
                    </a:lnTo>
                    <a:lnTo>
                      <a:pt x="85" y="394"/>
                    </a:lnTo>
                    <a:lnTo>
                      <a:pt x="86" y="394"/>
                    </a:lnTo>
                    <a:lnTo>
                      <a:pt x="85" y="394"/>
                    </a:lnTo>
                    <a:lnTo>
                      <a:pt x="86" y="394"/>
                    </a:lnTo>
                    <a:lnTo>
                      <a:pt x="85" y="394"/>
                    </a:lnTo>
                    <a:lnTo>
                      <a:pt x="86" y="392"/>
                    </a:lnTo>
                    <a:lnTo>
                      <a:pt x="85" y="392"/>
                    </a:lnTo>
                    <a:lnTo>
                      <a:pt x="86" y="392"/>
                    </a:lnTo>
                    <a:lnTo>
                      <a:pt x="85" y="392"/>
                    </a:lnTo>
                    <a:lnTo>
                      <a:pt x="86" y="392"/>
                    </a:lnTo>
                    <a:lnTo>
                      <a:pt x="86" y="394"/>
                    </a:lnTo>
                    <a:lnTo>
                      <a:pt x="86" y="392"/>
                    </a:lnTo>
                    <a:lnTo>
                      <a:pt x="86" y="394"/>
                    </a:lnTo>
                    <a:lnTo>
                      <a:pt x="86" y="392"/>
                    </a:lnTo>
                    <a:lnTo>
                      <a:pt x="88" y="392"/>
                    </a:lnTo>
                    <a:lnTo>
                      <a:pt x="88" y="394"/>
                    </a:lnTo>
                    <a:lnTo>
                      <a:pt x="86" y="394"/>
                    </a:lnTo>
                    <a:lnTo>
                      <a:pt x="88" y="394"/>
                    </a:lnTo>
                    <a:lnTo>
                      <a:pt x="88" y="392"/>
                    </a:lnTo>
                    <a:lnTo>
                      <a:pt x="88" y="390"/>
                    </a:lnTo>
                    <a:lnTo>
                      <a:pt x="88" y="389"/>
                    </a:lnTo>
                    <a:lnTo>
                      <a:pt x="88" y="390"/>
                    </a:lnTo>
                    <a:lnTo>
                      <a:pt x="90" y="390"/>
                    </a:lnTo>
                    <a:lnTo>
                      <a:pt x="88" y="390"/>
                    </a:lnTo>
                    <a:lnTo>
                      <a:pt x="88" y="389"/>
                    </a:lnTo>
                    <a:lnTo>
                      <a:pt x="88" y="387"/>
                    </a:lnTo>
                    <a:lnTo>
                      <a:pt x="88" y="385"/>
                    </a:lnTo>
                    <a:lnTo>
                      <a:pt x="90" y="385"/>
                    </a:lnTo>
                    <a:lnTo>
                      <a:pt x="92" y="385"/>
                    </a:lnTo>
                    <a:lnTo>
                      <a:pt x="90" y="385"/>
                    </a:lnTo>
                    <a:lnTo>
                      <a:pt x="90" y="383"/>
                    </a:lnTo>
                    <a:lnTo>
                      <a:pt x="90" y="385"/>
                    </a:lnTo>
                    <a:lnTo>
                      <a:pt x="92" y="385"/>
                    </a:lnTo>
                    <a:lnTo>
                      <a:pt x="94" y="387"/>
                    </a:lnTo>
                    <a:lnTo>
                      <a:pt x="92" y="387"/>
                    </a:lnTo>
                    <a:lnTo>
                      <a:pt x="94" y="387"/>
                    </a:lnTo>
                    <a:lnTo>
                      <a:pt x="94" y="389"/>
                    </a:lnTo>
                    <a:lnTo>
                      <a:pt x="92" y="389"/>
                    </a:lnTo>
                    <a:lnTo>
                      <a:pt x="90" y="389"/>
                    </a:lnTo>
                    <a:lnTo>
                      <a:pt x="90" y="387"/>
                    </a:lnTo>
                    <a:lnTo>
                      <a:pt x="90" y="389"/>
                    </a:lnTo>
                    <a:lnTo>
                      <a:pt x="90" y="387"/>
                    </a:lnTo>
                    <a:lnTo>
                      <a:pt x="88" y="387"/>
                    </a:lnTo>
                    <a:lnTo>
                      <a:pt x="88" y="385"/>
                    </a:lnTo>
                    <a:lnTo>
                      <a:pt x="88" y="387"/>
                    </a:lnTo>
                    <a:lnTo>
                      <a:pt x="88" y="385"/>
                    </a:lnTo>
                    <a:lnTo>
                      <a:pt x="88" y="387"/>
                    </a:lnTo>
                    <a:lnTo>
                      <a:pt x="90" y="387"/>
                    </a:lnTo>
                    <a:lnTo>
                      <a:pt x="90" y="389"/>
                    </a:lnTo>
                    <a:lnTo>
                      <a:pt x="90" y="387"/>
                    </a:lnTo>
                    <a:lnTo>
                      <a:pt x="90" y="389"/>
                    </a:lnTo>
                    <a:lnTo>
                      <a:pt x="90" y="390"/>
                    </a:lnTo>
                    <a:lnTo>
                      <a:pt x="90" y="389"/>
                    </a:lnTo>
                    <a:lnTo>
                      <a:pt x="90" y="390"/>
                    </a:lnTo>
                    <a:lnTo>
                      <a:pt x="92" y="390"/>
                    </a:lnTo>
                    <a:lnTo>
                      <a:pt x="90" y="390"/>
                    </a:lnTo>
                    <a:lnTo>
                      <a:pt x="92" y="390"/>
                    </a:lnTo>
                    <a:lnTo>
                      <a:pt x="94" y="390"/>
                    </a:lnTo>
                    <a:lnTo>
                      <a:pt x="96" y="387"/>
                    </a:lnTo>
                    <a:lnTo>
                      <a:pt x="98" y="387"/>
                    </a:lnTo>
                    <a:lnTo>
                      <a:pt x="100" y="385"/>
                    </a:lnTo>
                    <a:lnTo>
                      <a:pt x="100" y="383"/>
                    </a:lnTo>
                    <a:lnTo>
                      <a:pt x="102" y="383"/>
                    </a:lnTo>
                    <a:lnTo>
                      <a:pt x="102" y="381"/>
                    </a:lnTo>
                    <a:lnTo>
                      <a:pt x="104" y="379"/>
                    </a:lnTo>
                    <a:lnTo>
                      <a:pt x="106" y="379"/>
                    </a:lnTo>
                    <a:lnTo>
                      <a:pt x="108" y="377"/>
                    </a:lnTo>
                    <a:close/>
                    <a:moveTo>
                      <a:pt x="100" y="389"/>
                    </a:moveTo>
                    <a:lnTo>
                      <a:pt x="98" y="389"/>
                    </a:lnTo>
                    <a:lnTo>
                      <a:pt x="100" y="389"/>
                    </a:lnTo>
                    <a:close/>
                    <a:moveTo>
                      <a:pt x="98" y="375"/>
                    </a:moveTo>
                    <a:lnTo>
                      <a:pt x="98" y="373"/>
                    </a:lnTo>
                    <a:lnTo>
                      <a:pt x="98" y="375"/>
                    </a:lnTo>
                    <a:close/>
                    <a:moveTo>
                      <a:pt x="111" y="371"/>
                    </a:moveTo>
                    <a:lnTo>
                      <a:pt x="109" y="371"/>
                    </a:lnTo>
                    <a:lnTo>
                      <a:pt x="111" y="371"/>
                    </a:lnTo>
                    <a:lnTo>
                      <a:pt x="109" y="371"/>
                    </a:lnTo>
                    <a:lnTo>
                      <a:pt x="111" y="371"/>
                    </a:lnTo>
                    <a:close/>
                    <a:moveTo>
                      <a:pt x="106" y="369"/>
                    </a:moveTo>
                    <a:lnTo>
                      <a:pt x="104" y="369"/>
                    </a:lnTo>
                    <a:lnTo>
                      <a:pt x="106" y="369"/>
                    </a:lnTo>
                    <a:close/>
                    <a:moveTo>
                      <a:pt x="106" y="369"/>
                    </a:moveTo>
                    <a:lnTo>
                      <a:pt x="106" y="367"/>
                    </a:lnTo>
                    <a:lnTo>
                      <a:pt x="106" y="369"/>
                    </a:lnTo>
                    <a:close/>
                    <a:moveTo>
                      <a:pt x="106" y="369"/>
                    </a:moveTo>
                    <a:lnTo>
                      <a:pt x="106" y="367"/>
                    </a:lnTo>
                    <a:lnTo>
                      <a:pt x="106" y="369"/>
                    </a:lnTo>
                    <a:close/>
                    <a:moveTo>
                      <a:pt x="106" y="365"/>
                    </a:moveTo>
                    <a:lnTo>
                      <a:pt x="108" y="365"/>
                    </a:lnTo>
                    <a:lnTo>
                      <a:pt x="106" y="365"/>
                    </a:lnTo>
                    <a:close/>
                    <a:moveTo>
                      <a:pt x="106" y="365"/>
                    </a:moveTo>
                    <a:lnTo>
                      <a:pt x="104" y="365"/>
                    </a:lnTo>
                    <a:lnTo>
                      <a:pt x="106" y="365"/>
                    </a:lnTo>
                    <a:lnTo>
                      <a:pt x="104" y="365"/>
                    </a:lnTo>
                    <a:lnTo>
                      <a:pt x="104" y="367"/>
                    </a:lnTo>
                    <a:lnTo>
                      <a:pt x="102" y="367"/>
                    </a:lnTo>
                    <a:lnTo>
                      <a:pt x="104" y="367"/>
                    </a:lnTo>
                    <a:lnTo>
                      <a:pt x="102" y="367"/>
                    </a:lnTo>
                    <a:lnTo>
                      <a:pt x="102" y="369"/>
                    </a:lnTo>
                    <a:lnTo>
                      <a:pt x="104" y="367"/>
                    </a:lnTo>
                    <a:lnTo>
                      <a:pt x="102" y="369"/>
                    </a:lnTo>
                    <a:lnTo>
                      <a:pt x="104" y="369"/>
                    </a:lnTo>
                    <a:lnTo>
                      <a:pt x="104" y="367"/>
                    </a:lnTo>
                    <a:lnTo>
                      <a:pt x="104" y="369"/>
                    </a:lnTo>
                    <a:lnTo>
                      <a:pt x="102" y="369"/>
                    </a:lnTo>
                    <a:lnTo>
                      <a:pt x="104" y="369"/>
                    </a:lnTo>
                    <a:lnTo>
                      <a:pt x="104" y="367"/>
                    </a:lnTo>
                    <a:lnTo>
                      <a:pt x="106" y="367"/>
                    </a:lnTo>
                    <a:lnTo>
                      <a:pt x="104" y="367"/>
                    </a:lnTo>
                    <a:lnTo>
                      <a:pt x="106" y="367"/>
                    </a:lnTo>
                    <a:lnTo>
                      <a:pt x="104" y="367"/>
                    </a:lnTo>
                    <a:lnTo>
                      <a:pt x="106" y="367"/>
                    </a:lnTo>
                    <a:lnTo>
                      <a:pt x="104" y="367"/>
                    </a:lnTo>
                    <a:lnTo>
                      <a:pt x="106" y="367"/>
                    </a:lnTo>
                    <a:lnTo>
                      <a:pt x="106" y="369"/>
                    </a:lnTo>
                    <a:lnTo>
                      <a:pt x="104" y="369"/>
                    </a:lnTo>
                    <a:lnTo>
                      <a:pt x="106" y="369"/>
                    </a:lnTo>
                    <a:lnTo>
                      <a:pt x="104" y="369"/>
                    </a:lnTo>
                    <a:lnTo>
                      <a:pt x="104" y="371"/>
                    </a:lnTo>
                    <a:lnTo>
                      <a:pt x="104" y="373"/>
                    </a:lnTo>
                    <a:lnTo>
                      <a:pt x="104" y="375"/>
                    </a:lnTo>
                    <a:lnTo>
                      <a:pt x="102" y="375"/>
                    </a:lnTo>
                    <a:lnTo>
                      <a:pt x="102" y="377"/>
                    </a:lnTo>
                    <a:lnTo>
                      <a:pt x="104" y="377"/>
                    </a:lnTo>
                    <a:lnTo>
                      <a:pt x="102" y="377"/>
                    </a:lnTo>
                    <a:lnTo>
                      <a:pt x="102" y="379"/>
                    </a:lnTo>
                    <a:lnTo>
                      <a:pt x="102" y="377"/>
                    </a:lnTo>
                    <a:lnTo>
                      <a:pt x="104" y="377"/>
                    </a:lnTo>
                    <a:lnTo>
                      <a:pt x="102" y="377"/>
                    </a:lnTo>
                    <a:lnTo>
                      <a:pt x="102" y="375"/>
                    </a:lnTo>
                    <a:lnTo>
                      <a:pt x="104" y="375"/>
                    </a:lnTo>
                    <a:lnTo>
                      <a:pt x="102" y="375"/>
                    </a:lnTo>
                    <a:lnTo>
                      <a:pt x="104" y="375"/>
                    </a:lnTo>
                    <a:lnTo>
                      <a:pt x="104" y="373"/>
                    </a:lnTo>
                    <a:lnTo>
                      <a:pt x="102" y="373"/>
                    </a:lnTo>
                    <a:lnTo>
                      <a:pt x="102" y="371"/>
                    </a:lnTo>
                    <a:lnTo>
                      <a:pt x="104" y="371"/>
                    </a:lnTo>
                    <a:lnTo>
                      <a:pt x="104" y="369"/>
                    </a:lnTo>
                    <a:lnTo>
                      <a:pt x="102" y="369"/>
                    </a:lnTo>
                    <a:lnTo>
                      <a:pt x="102" y="371"/>
                    </a:lnTo>
                    <a:lnTo>
                      <a:pt x="102" y="369"/>
                    </a:lnTo>
                    <a:lnTo>
                      <a:pt x="104" y="369"/>
                    </a:lnTo>
                    <a:lnTo>
                      <a:pt x="102" y="369"/>
                    </a:lnTo>
                    <a:lnTo>
                      <a:pt x="100" y="369"/>
                    </a:lnTo>
                    <a:lnTo>
                      <a:pt x="100" y="371"/>
                    </a:lnTo>
                    <a:lnTo>
                      <a:pt x="102" y="371"/>
                    </a:lnTo>
                    <a:lnTo>
                      <a:pt x="100" y="371"/>
                    </a:lnTo>
                    <a:lnTo>
                      <a:pt x="102" y="371"/>
                    </a:lnTo>
                    <a:lnTo>
                      <a:pt x="100" y="371"/>
                    </a:lnTo>
                    <a:lnTo>
                      <a:pt x="98" y="371"/>
                    </a:lnTo>
                    <a:lnTo>
                      <a:pt x="98" y="373"/>
                    </a:lnTo>
                    <a:lnTo>
                      <a:pt x="100" y="373"/>
                    </a:lnTo>
                    <a:lnTo>
                      <a:pt x="98" y="373"/>
                    </a:lnTo>
                    <a:lnTo>
                      <a:pt x="100" y="373"/>
                    </a:lnTo>
                    <a:lnTo>
                      <a:pt x="100" y="375"/>
                    </a:lnTo>
                    <a:lnTo>
                      <a:pt x="98" y="375"/>
                    </a:lnTo>
                    <a:lnTo>
                      <a:pt x="100" y="373"/>
                    </a:lnTo>
                    <a:lnTo>
                      <a:pt x="100" y="375"/>
                    </a:lnTo>
                    <a:lnTo>
                      <a:pt x="100" y="373"/>
                    </a:lnTo>
                    <a:lnTo>
                      <a:pt x="100" y="375"/>
                    </a:lnTo>
                    <a:lnTo>
                      <a:pt x="100" y="373"/>
                    </a:lnTo>
                    <a:lnTo>
                      <a:pt x="98" y="375"/>
                    </a:lnTo>
                    <a:lnTo>
                      <a:pt x="98" y="373"/>
                    </a:lnTo>
                    <a:lnTo>
                      <a:pt x="100" y="373"/>
                    </a:lnTo>
                    <a:lnTo>
                      <a:pt x="98" y="373"/>
                    </a:lnTo>
                    <a:lnTo>
                      <a:pt x="100" y="373"/>
                    </a:lnTo>
                    <a:lnTo>
                      <a:pt x="98" y="373"/>
                    </a:lnTo>
                    <a:lnTo>
                      <a:pt x="100" y="373"/>
                    </a:lnTo>
                    <a:lnTo>
                      <a:pt x="98" y="373"/>
                    </a:lnTo>
                    <a:lnTo>
                      <a:pt x="98" y="375"/>
                    </a:lnTo>
                    <a:lnTo>
                      <a:pt x="98" y="373"/>
                    </a:lnTo>
                    <a:lnTo>
                      <a:pt x="98" y="375"/>
                    </a:lnTo>
                    <a:lnTo>
                      <a:pt x="98" y="373"/>
                    </a:lnTo>
                    <a:lnTo>
                      <a:pt x="96" y="373"/>
                    </a:lnTo>
                    <a:lnTo>
                      <a:pt x="98" y="373"/>
                    </a:lnTo>
                    <a:lnTo>
                      <a:pt x="100" y="371"/>
                    </a:lnTo>
                    <a:lnTo>
                      <a:pt x="100" y="369"/>
                    </a:lnTo>
                    <a:lnTo>
                      <a:pt x="102" y="369"/>
                    </a:lnTo>
                    <a:lnTo>
                      <a:pt x="102" y="367"/>
                    </a:lnTo>
                    <a:lnTo>
                      <a:pt x="102" y="365"/>
                    </a:lnTo>
                    <a:lnTo>
                      <a:pt x="102" y="367"/>
                    </a:lnTo>
                    <a:lnTo>
                      <a:pt x="102" y="365"/>
                    </a:lnTo>
                    <a:lnTo>
                      <a:pt x="104" y="365"/>
                    </a:lnTo>
                    <a:lnTo>
                      <a:pt x="102" y="365"/>
                    </a:lnTo>
                    <a:lnTo>
                      <a:pt x="104" y="365"/>
                    </a:lnTo>
                    <a:lnTo>
                      <a:pt x="104" y="364"/>
                    </a:lnTo>
                    <a:lnTo>
                      <a:pt x="104" y="365"/>
                    </a:lnTo>
                    <a:lnTo>
                      <a:pt x="104" y="364"/>
                    </a:lnTo>
                    <a:lnTo>
                      <a:pt x="104" y="365"/>
                    </a:lnTo>
                    <a:lnTo>
                      <a:pt x="104" y="364"/>
                    </a:lnTo>
                    <a:lnTo>
                      <a:pt x="106" y="364"/>
                    </a:lnTo>
                    <a:lnTo>
                      <a:pt x="108" y="364"/>
                    </a:lnTo>
                    <a:lnTo>
                      <a:pt x="106" y="364"/>
                    </a:lnTo>
                    <a:lnTo>
                      <a:pt x="108" y="364"/>
                    </a:lnTo>
                    <a:lnTo>
                      <a:pt x="108" y="362"/>
                    </a:lnTo>
                    <a:lnTo>
                      <a:pt x="108" y="364"/>
                    </a:lnTo>
                    <a:lnTo>
                      <a:pt x="109" y="364"/>
                    </a:lnTo>
                    <a:lnTo>
                      <a:pt x="109" y="362"/>
                    </a:lnTo>
                    <a:lnTo>
                      <a:pt x="109" y="364"/>
                    </a:lnTo>
                    <a:lnTo>
                      <a:pt x="108" y="364"/>
                    </a:lnTo>
                    <a:lnTo>
                      <a:pt x="106" y="364"/>
                    </a:lnTo>
                    <a:lnTo>
                      <a:pt x="106" y="365"/>
                    </a:lnTo>
                    <a:lnTo>
                      <a:pt x="108" y="365"/>
                    </a:lnTo>
                    <a:lnTo>
                      <a:pt x="106" y="365"/>
                    </a:lnTo>
                    <a:close/>
                    <a:moveTo>
                      <a:pt x="111" y="364"/>
                    </a:moveTo>
                    <a:lnTo>
                      <a:pt x="111" y="362"/>
                    </a:lnTo>
                    <a:lnTo>
                      <a:pt x="113" y="362"/>
                    </a:lnTo>
                    <a:lnTo>
                      <a:pt x="111" y="362"/>
                    </a:lnTo>
                    <a:lnTo>
                      <a:pt x="113" y="362"/>
                    </a:lnTo>
                    <a:lnTo>
                      <a:pt x="111" y="362"/>
                    </a:lnTo>
                    <a:lnTo>
                      <a:pt x="113" y="362"/>
                    </a:lnTo>
                    <a:lnTo>
                      <a:pt x="111" y="362"/>
                    </a:lnTo>
                    <a:lnTo>
                      <a:pt x="111" y="360"/>
                    </a:lnTo>
                    <a:lnTo>
                      <a:pt x="113" y="360"/>
                    </a:lnTo>
                    <a:lnTo>
                      <a:pt x="113" y="362"/>
                    </a:lnTo>
                    <a:lnTo>
                      <a:pt x="111" y="364"/>
                    </a:lnTo>
                    <a:lnTo>
                      <a:pt x="111" y="365"/>
                    </a:lnTo>
                    <a:lnTo>
                      <a:pt x="111" y="367"/>
                    </a:lnTo>
                    <a:lnTo>
                      <a:pt x="111" y="365"/>
                    </a:lnTo>
                    <a:lnTo>
                      <a:pt x="111" y="367"/>
                    </a:lnTo>
                    <a:lnTo>
                      <a:pt x="111" y="369"/>
                    </a:lnTo>
                    <a:lnTo>
                      <a:pt x="109" y="369"/>
                    </a:lnTo>
                    <a:lnTo>
                      <a:pt x="109" y="371"/>
                    </a:lnTo>
                    <a:lnTo>
                      <a:pt x="109" y="373"/>
                    </a:lnTo>
                    <a:lnTo>
                      <a:pt x="109" y="375"/>
                    </a:lnTo>
                    <a:lnTo>
                      <a:pt x="108" y="375"/>
                    </a:lnTo>
                    <a:lnTo>
                      <a:pt x="108" y="377"/>
                    </a:lnTo>
                    <a:lnTo>
                      <a:pt x="108" y="375"/>
                    </a:lnTo>
                    <a:lnTo>
                      <a:pt x="109" y="375"/>
                    </a:lnTo>
                    <a:lnTo>
                      <a:pt x="108" y="377"/>
                    </a:lnTo>
                    <a:lnTo>
                      <a:pt x="108" y="375"/>
                    </a:lnTo>
                    <a:lnTo>
                      <a:pt x="109" y="373"/>
                    </a:lnTo>
                    <a:lnTo>
                      <a:pt x="109" y="371"/>
                    </a:lnTo>
                    <a:lnTo>
                      <a:pt x="111" y="369"/>
                    </a:lnTo>
                    <a:lnTo>
                      <a:pt x="111" y="367"/>
                    </a:lnTo>
                    <a:lnTo>
                      <a:pt x="111" y="365"/>
                    </a:lnTo>
                    <a:lnTo>
                      <a:pt x="109" y="365"/>
                    </a:lnTo>
                    <a:lnTo>
                      <a:pt x="111" y="365"/>
                    </a:lnTo>
                    <a:lnTo>
                      <a:pt x="109" y="365"/>
                    </a:lnTo>
                    <a:lnTo>
                      <a:pt x="109" y="364"/>
                    </a:lnTo>
                    <a:lnTo>
                      <a:pt x="111" y="364"/>
                    </a:lnTo>
                    <a:lnTo>
                      <a:pt x="109" y="364"/>
                    </a:lnTo>
                    <a:lnTo>
                      <a:pt x="109" y="362"/>
                    </a:lnTo>
                    <a:lnTo>
                      <a:pt x="109" y="360"/>
                    </a:lnTo>
                    <a:lnTo>
                      <a:pt x="111" y="360"/>
                    </a:lnTo>
                    <a:lnTo>
                      <a:pt x="109" y="360"/>
                    </a:lnTo>
                    <a:lnTo>
                      <a:pt x="109" y="362"/>
                    </a:lnTo>
                    <a:lnTo>
                      <a:pt x="111" y="360"/>
                    </a:lnTo>
                    <a:lnTo>
                      <a:pt x="111" y="362"/>
                    </a:lnTo>
                    <a:lnTo>
                      <a:pt x="109" y="362"/>
                    </a:lnTo>
                    <a:lnTo>
                      <a:pt x="111" y="362"/>
                    </a:lnTo>
                    <a:lnTo>
                      <a:pt x="111" y="364"/>
                    </a:lnTo>
                    <a:close/>
                    <a:moveTo>
                      <a:pt x="277" y="392"/>
                    </a:moveTo>
                    <a:lnTo>
                      <a:pt x="277" y="394"/>
                    </a:lnTo>
                    <a:lnTo>
                      <a:pt x="277" y="392"/>
                    </a:lnTo>
                    <a:lnTo>
                      <a:pt x="275" y="392"/>
                    </a:lnTo>
                    <a:lnTo>
                      <a:pt x="277" y="392"/>
                    </a:lnTo>
                    <a:close/>
                    <a:moveTo>
                      <a:pt x="131" y="352"/>
                    </a:moveTo>
                    <a:lnTo>
                      <a:pt x="129" y="352"/>
                    </a:lnTo>
                    <a:lnTo>
                      <a:pt x="127" y="352"/>
                    </a:lnTo>
                    <a:lnTo>
                      <a:pt x="129" y="352"/>
                    </a:lnTo>
                    <a:lnTo>
                      <a:pt x="129" y="354"/>
                    </a:lnTo>
                    <a:lnTo>
                      <a:pt x="129" y="352"/>
                    </a:lnTo>
                    <a:lnTo>
                      <a:pt x="131" y="354"/>
                    </a:lnTo>
                    <a:lnTo>
                      <a:pt x="129" y="352"/>
                    </a:lnTo>
                    <a:lnTo>
                      <a:pt x="131" y="352"/>
                    </a:lnTo>
                    <a:lnTo>
                      <a:pt x="131" y="354"/>
                    </a:lnTo>
                    <a:lnTo>
                      <a:pt x="131" y="352"/>
                    </a:lnTo>
                    <a:lnTo>
                      <a:pt x="131" y="350"/>
                    </a:lnTo>
                    <a:lnTo>
                      <a:pt x="131" y="348"/>
                    </a:lnTo>
                    <a:lnTo>
                      <a:pt x="131" y="350"/>
                    </a:lnTo>
                    <a:lnTo>
                      <a:pt x="133" y="352"/>
                    </a:lnTo>
                    <a:lnTo>
                      <a:pt x="133" y="354"/>
                    </a:lnTo>
                    <a:lnTo>
                      <a:pt x="133" y="356"/>
                    </a:lnTo>
                    <a:lnTo>
                      <a:pt x="131" y="358"/>
                    </a:lnTo>
                    <a:lnTo>
                      <a:pt x="131" y="360"/>
                    </a:lnTo>
                    <a:lnTo>
                      <a:pt x="129" y="360"/>
                    </a:lnTo>
                    <a:lnTo>
                      <a:pt x="129" y="362"/>
                    </a:lnTo>
                    <a:lnTo>
                      <a:pt x="129" y="364"/>
                    </a:lnTo>
                    <a:lnTo>
                      <a:pt x="127" y="364"/>
                    </a:lnTo>
                    <a:lnTo>
                      <a:pt x="125" y="364"/>
                    </a:lnTo>
                    <a:lnTo>
                      <a:pt x="125" y="362"/>
                    </a:lnTo>
                    <a:lnTo>
                      <a:pt x="123" y="362"/>
                    </a:lnTo>
                    <a:lnTo>
                      <a:pt x="121" y="362"/>
                    </a:lnTo>
                    <a:lnTo>
                      <a:pt x="119" y="362"/>
                    </a:lnTo>
                    <a:lnTo>
                      <a:pt x="119" y="364"/>
                    </a:lnTo>
                    <a:lnTo>
                      <a:pt x="119" y="362"/>
                    </a:lnTo>
                    <a:lnTo>
                      <a:pt x="117" y="362"/>
                    </a:lnTo>
                    <a:lnTo>
                      <a:pt x="119" y="362"/>
                    </a:lnTo>
                    <a:lnTo>
                      <a:pt x="117" y="362"/>
                    </a:lnTo>
                    <a:lnTo>
                      <a:pt x="117" y="360"/>
                    </a:lnTo>
                    <a:lnTo>
                      <a:pt x="119" y="360"/>
                    </a:lnTo>
                    <a:lnTo>
                      <a:pt x="119" y="358"/>
                    </a:lnTo>
                    <a:lnTo>
                      <a:pt x="119" y="360"/>
                    </a:lnTo>
                    <a:lnTo>
                      <a:pt x="117" y="360"/>
                    </a:lnTo>
                    <a:lnTo>
                      <a:pt x="117" y="362"/>
                    </a:lnTo>
                    <a:lnTo>
                      <a:pt x="119" y="362"/>
                    </a:lnTo>
                    <a:lnTo>
                      <a:pt x="117" y="362"/>
                    </a:lnTo>
                    <a:lnTo>
                      <a:pt x="119" y="362"/>
                    </a:lnTo>
                    <a:lnTo>
                      <a:pt x="119" y="364"/>
                    </a:lnTo>
                    <a:lnTo>
                      <a:pt x="117" y="364"/>
                    </a:lnTo>
                    <a:lnTo>
                      <a:pt x="115" y="364"/>
                    </a:lnTo>
                    <a:lnTo>
                      <a:pt x="115" y="365"/>
                    </a:lnTo>
                    <a:lnTo>
                      <a:pt x="113" y="365"/>
                    </a:lnTo>
                    <a:lnTo>
                      <a:pt x="115" y="365"/>
                    </a:lnTo>
                    <a:lnTo>
                      <a:pt x="115" y="364"/>
                    </a:lnTo>
                    <a:lnTo>
                      <a:pt x="115" y="365"/>
                    </a:lnTo>
                    <a:lnTo>
                      <a:pt x="113" y="365"/>
                    </a:lnTo>
                    <a:lnTo>
                      <a:pt x="113" y="364"/>
                    </a:lnTo>
                    <a:lnTo>
                      <a:pt x="113" y="362"/>
                    </a:lnTo>
                    <a:lnTo>
                      <a:pt x="115" y="360"/>
                    </a:lnTo>
                    <a:lnTo>
                      <a:pt x="117" y="360"/>
                    </a:lnTo>
                    <a:lnTo>
                      <a:pt x="115" y="360"/>
                    </a:lnTo>
                    <a:lnTo>
                      <a:pt x="113" y="360"/>
                    </a:lnTo>
                    <a:lnTo>
                      <a:pt x="111" y="360"/>
                    </a:lnTo>
                    <a:lnTo>
                      <a:pt x="111" y="358"/>
                    </a:lnTo>
                    <a:lnTo>
                      <a:pt x="113" y="358"/>
                    </a:lnTo>
                    <a:lnTo>
                      <a:pt x="115" y="356"/>
                    </a:lnTo>
                    <a:lnTo>
                      <a:pt x="117" y="354"/>
                    </a:lnTo>
                    <a:lnTo>
                      <a:pt x="119" y="354"/>
                    </a:lnTo>
                    <a:lnTo>
                      <a:pt x="117" y="354"/>
                    </a:lnTo>
                    <a:lnTo>
                      <a:pt x="117" y="356"/>
                    </a:lnTo>
                    <a:lnTo>
                      <a:pt x="115" y="356"/>
                    </a:lnTo>
                    <a:lnTo>
                      <a:pt x="117" y="356"/>
                    </a:lnTo>
                    <a:lnTo>
                      <a:pt x="117" y="358"/>
                    </a:lnTo>
                    <a:lnTo>
                      <a:pt x="117" y="356"/>
                    </a:lnTo>
                    <a:lnTo>
                      <a:pt x="119" y="354"/>
                    </a:lnTo>
                    <a:lnTo>
                      <a:pt x="121" y="354"/>
                    </a:lnTo>
                    <a:lnTo>
                      <a:pt x="123" y="354"/>
                    </a:lnTo>
                    <a:lnTo>
                      <a:pt x="123" y="352"/>
                    </a:lnTo>
                    <a:lnTo>
                      <a:pt x="125" y="352"/>
                    </a:lnTo>
                    <a:lnTo>
                      <a:pt x="125" y="354"/>
                    </a:lnTo>
                    <a:lnTo>
                      <a:pt x="125" y="352"/>
                    </a:lnTo>
                    <a:lnTo>
                      <a:pt x="127" y="352"/>
                    </a:lnTo>
                    <a:lnTo>
                      <a:pt x="129" y="352"/>
                    </a:lnTo>
                    <a:lnTo>
                      <a:pt x="129" y="350"/>
                    </a:lnTo>
                    <a:lnTo>
                      <a:pt x="129" y="348"/>
                    </a:lnTo>
                    <a:lnTo>
                      <a:pt x="131" y="348"/>
                    </a:lnTo>
                    <a:lnTo>
                      <a:pt x="131" y="350"/>
                    </a:lnTo>
                    <a:lnTo>
                      <a:pt x="131" y="352"/>
                    </a:lnTo>
                    <a:close/>
                    <a:moveTo>
                      <a:pt x="234" y="377"/>
                    </a:moveTo>
                    <a:lnTo>
                      <a:pt x="232" y="377"/>
                    </a:lnTo>
                    <a:lnTo>
                      <a:pt x="234" y="377"/>
                    </a:lnTo>
                    <a:lnTo>
                      <a:pt x="232" y="377"/>
                    </a:lnTo>
                    <a:lnTo>
                      <a:pt x="234" y="377"/>
                    </a:lnTo>
                    <a:close/>
                    <a:moveTo>
                      <a:pt x="231" y="375"/>
                    </a:moveTo>
                    <a:lnTo>
                      <a:pt x="231" y="377"/>
                    </a:lnTo>
                    <a:lnTo>
                      <a:pt x="231" y="375"/>
                    </a:lnTo>
                    <a:lnTo>
                      <a:pt x="231" y="377"/>
                    </a:lnTo>
                    <a:lnTo>
                      <a:pt x="231" y="375"/>
                    </a:lnTo>
                    <a:close/>
                    <a:moveTo>
                      <a:pt x="223" y="373"/>
                    </a:moveTo>
                    <a:lnTo>
                      <a:pt x="225" y="373"/>
                    </a:lnTo>
                    <a:lnTo>
                      <a:pt x="225" y="375"/>
                    </a:lnTo>
                    <a:lnTo>
                      <a:pt x="223" y="375"/>
                    </a:lnTo>
                    <a:lnTo>
                      <a:pt x="225" y="375"/>
                    </a:lnTo>
                    <a:lnTo>
                      <a:pt x="223" y="375"/>
                    </a:lnTo>
                    <a:lnTo>
                      <a:pt x="223" y="373"/>
                    </a:lnTo>
                    <a:close/>
                    <a:moveTo>
                      <a:pt x="246" y="381"/>
                    </a:moveTo>
                    <a:lnTo>
                      <a:pt x="244" y="381"/>
                    </a:lnTo>
                    <a:lnTo>
                      <a:pt x="246" y="381"/>
                    </a:lnTo>
                    <a:lnTo>
                      <a:pt x="244" y="381"/>
                    </a:lnTo>
                    <a:lnTo>
                      <a:pt x="246" y="381"/>
                    </a:lnTo>
                    <a:lnTo>
                      <a:pt x="246" y="379"/>
                    </a:lnTo>
                    <a:lnTo>
                      <a:pt x="246" y="381"/>
                    </a:lnTo>
                    <a:lnTo>
                      <a:pt x="248" y="381"/>
                    </a:lnTo>
                    <a:lnTo>
                      <a:pt x="248" y="383"/>
                    </a:lnTo>
                    <a:lnTo>
                      <a:pt x="250" y="383"/>
                    </a:lnTo>
                    <a:lnTo>
                      <a:pt x="248" y="383"/>
                    </a:lnTo>
                    <a:lnTo>
                      <a:pt x="250" y="383"/>
                    </a:lnTo>
                    <a:lnTo>
                      <a:pt x="248" y="383"/>
                    </a:lnTo>
                    <a:lnTo>
                      <a:pt x="248" y="381"/>
                    </a:lnTo>
                    <a:lnTo>
                      <a:pt x="246" y="381"/>
                    </a:lnTo>
                    <a:close/>
                    <a:moveTo>
                      <a:pt x="134" y="354"/>
                    </a:moveTo>
                    <a:lnTo>
                      <a:pt x="133" y="354"/>
                    </a:lnTo>
                    <a:lnTo>
                      <a:pt x="134" y="354"/>
                    </a:lnTo>
                    <a:lnTo>
                      <a:pt x="134" y="356"/>
                    </a:lnTo>
                    <a:lnTo>
                      <a:pt x="136" y="356"/>
                    </a:lnTo>
                    <a:lnTo>
                      <a:pt x="136" y="358"/>
                    </a:lnTo>
                    <a:lnTo>
                      <a:pt x="134" y="358"/>
                    </a:lnTo>
                    <a:lnTo>
                      <a:pt x="133" y="356"/>
                    </a:lnTo>
                    <a:lnTo>
                      <a:pt x="133" y="354"/>
                    </a:lnTo>
                    <a:lnTo>
                      <a:pt x="133" y="352"/>
                    </a:lnTo>
                    <a:lnTo>
                      <a:pt x="133" y="350"/>
                    </a:lnTo>
                    <a:lnTo>
                      <a:pt x="131" y="348"/>
                    </a:lnTo>
                    <a:lnTo>
                      <a:pt x="133" y="348"/>
                    </a:lnTo>
                    <a:lnTo>
                      <a:pt x="133" y="346"/>
                    </a:lnTo>
                    <a:lnTo>
                      <a:pt x="133" y="348"/>
                    </a:lnTo>
                    <a:lnTo>
                      <a:pt x="134" y="348"/>
                    </a:lnTo>
                    <a:lnTo>
                      <a:pt x="134" y="346"/>
                    </a:lnTo>
                    <a:lnTo>
                      <a:pt x="134" y="348"/>
                    </a:lnTo>
                    <a:lnTo>
                      <a:pt x="136" y="348"/>
                    </a:lnTo>
                    <a:lnTo>
                      <a:pt x="134" y="350"/>
                    </a:lnTo>
                    <a:lnTo>
                      <a:pt x="136" y="350"/>
                    </a:lnTo>
                    <a:lnTo>
                      <a:pt x="136" y="352"/>
                    </a:lnTo>
                    <a:lnTo>
                      <a:pt x="134" y="354"/>
                    </a:lnTo>
                    <a:close/>
                    <a:moveTo>
                      <a:pt x="250" y="379"/>
                    </a:moveTo>
                    <a:lnTo>
                      <a:pt x="252" y="379"/>
                    </a:lnTo>
                    <a:lnTo>
                      <a:pt x="250" y="379"/>
                    </a:lnTo>
                    <a:lnTo>
                      <a:pt x="252" y="379"/>
                    </a:lnTo>
                    <a:lnTo>
                      <a:pt x="250" y="379"/>
                    </a:lnTo>
                    <a:lnTo>
                      <a:pt x="250" y="381"/>
                    </a:lnTo>
                    <a:lnTo>
                      <a:pt x="250" y="379"/>
                    </a:lnTo>
                    <a:lnTo>
                      <a:pt x="252" y="379"/>
                    </a:lnTo>
                    <a:lnTo>
                      <a:pt x="250" y="379"/>
                    </a:lnTo>
                    <a:lnTo>
                      <a:pt x="252" y="379"/>
                    </a:lnTo>
                    <a:lnTo>
                      <a:pt x="250" y="379"/>
                    </a:lnTo>
                    <a:lnTo>
                      <a:pt x="252" y="379"/>
                    </a:lnTo>
                    <a:lnTo>
                      <a:pt x="250" y="379"/>
                    </a:lnTo>
                    <a:lnTo>
                      <a:pt x="252" y="379"/>
                    </a:lnTo>
                    <a:lnTo>
                      <a:pt x="250" y="379"/>
                    </a:lnTo>
                    <a:lnTo>
                      <a:pt x="252" y="379"/>
                    </a:lnTo>
                    <a:lnTo>
                      <a:pt x="250" y="379"/>
                    </a:lnTo>
                    <a:close/>
                    <a:moveTo>
                      <a:pt x="221" y="369"/>
                    </a:moveTo>
                    <a:lnTo>
                      <a:pt x="223" y="369"/>
                    </a:lnTo>
                    <a:lnTo>
                      <a:pt x="221" y="369"/>
                    </a:lnTo>
                    <a:close/>
                    <a:moveTo>
                      <a:pt x="217" y="365"/>
                    </a:moveTo>
                    <a:lnTo>
                      <a:pt x="217" y="367"/>
                    </a:lnTo>
                    <a:lnTo>
                      <a:pt x="217" y="365"/>
                    </a:lnTo>
                    <a:lnTo>
                      <a:pt x="219" y="365"/>
                    </a:lnTo>
                    <a:lnTo>
                      <a:pt x="219" y="367"/>
                    </a:lnTo>
                    <a:lnTo>
                      <a:pt x="217" y="367"/>
                    </a:lnTo>
                    <a:lnTo>
                      <a:pt x="217" y="365"/>
                    </a:lnTo>
                    <a:lnTo>
                      <a:pt x="217" y="367"/>
                    </a:lnTo>
                    <a:lnTo>
                      <a:pt x="217" y="365"/>
                    </a:lnTo>
                    <a:close/>
                    <a:moveTo>
                      <a:pt x="227" y="365"/>
                    </a:moveTo>
                    <a:lnTo>
                      <a:pt x="229" y="365"/>
                    </a:lnTo>
                    <a:lnTo>
                      <a:pt x="227" y="365"/>
                    </a:lnTo>
                    <a:close/>
                    <a:moveTo>
                      <a:pt x="227" y="367"/>
                    </a:moveTo>
                    <a:lnTo>
                      <a:pt x="227" y="369"/>
                    </a:lnTo>
                    <a:lnTo>
                      <a:pt x="227" y="367"/>
                    </a:lnTo>
                    <a:lnTo>
                      <a:pt x="227" y="369"/>
                    </a:lnTo>
                    <a:lnTo>
                      <a:pt x="227" y="367"/>
                    </a:lnTo>
                    <a:lnTo>
                      <a:pt x="225" y="367"/>
                    </a:lnTo>
                    <a:lnTo>
                      <a:pt x="223" y="367"/>
                    </a:lnTo>
                    <a:lnTo>
                      <a:pt x="223" y="365"/>
                    </a:lnTo>
                    <a:lnTo>
                      <a:pt x="223" y="364"/>
                    </a:lnTo>
                    <a:lnTo>
                      <a:pt x="225" y="364"/>
                    </a:lnTo>
                    <a:lnTo>
                      <a:pt x="225" y="365"/>
                    </a:lnTo>
                    <a:lnTo>
                      <a:pt x="227" y="365"/>
                    </a:lnTo>
                    <a:lnTo>
                      <a:pt x="227" y="367"/>
                    </a:lnTo>
                    <a:lnTo>
                      <a:pt x="227" y="365"/>
                    </a:lnTo>
                    <a:lnTo>
                      <a:pt x="227" y="367"/>
                    </a:lnTo>
                    <a:lnTo>
                      <a:pt x="229" y="367"/>
                    </a:lnTo>
                    <a:lnTo>
                      <a:pt x="227" y="367"/>
                    </a:lnTo>
                    <a:lnTo>
                      <a:pt x="227" y="365"/>
                    </a:lnTo>
                    <a:lnTo>
                      <a:pt x="227" y="367"/>
                    </a:lnTo>
                    <a:lnTo>
                      <a:pt x="227" y="365"/>
                    </a:lnTo>
                    <a:lnTo>
                      <a:pt x="227" y="367"/>
                    </a:lnTo>
                    <a:close/>
                    <a:moveTo>
                      <a:pt x="248" y="371"/>
                    </a:moveTo>
                    <a:lnTo>
                      <a:pt x="246" y="371"/>
                    </a:lnTo>
                    <a:lnTo>
                      <a:pt x="244" y="371"/>
                    </a:lnTo>
                    <a:lnTo>
                      <a:pt x="242" y="371"/>
                    </a:lnTo>
                    <a:lnTo>
                      <a:pt x="244" y="371"/>
                    </a:lnTo>
                    <a:lnTo>
                      <a:pt x="242" y="371"/>
                    </a:lnTo>
                    <a:lnTo>
                      <a:pt x="240" y="371"/>
                    </a:lnTo>
                    <a:lnTo>
                      <a:pt x="242" y="371"/>
                    </a:lnTo>
                    <a:lnTo>
                      <a:pt x="240" y="371"/>
                    </a:lnTo>
                    <a:lnTo>
                      <a:pt x="238" y="371"/>
                    </a:lnTo>
                    <a:lnTo>
                      <a:pt x="238" y="369"/>
                    </a:lnTo>
                    <a:lnTo>
                      <a:pt x="238" y="371"/>
                    </a:lnTo>
                    <a:lnTo>
                      <a:pt x="238" y="369"/>
                    </a:lnTo>
                    <a:lnTo>
                      <a:pt x="240" y="369"/>
                    </a:lnTo>
                    <a:lnTo>
                      <a:pt x="242" y="369"/>
                    </a:lnTo>
                    <a:lnTo>
                      <a:pt x="244" y="371"/>
                    </a:lnTo>
                    <a:lnTo>
                      <a:pt x="244" y="369"/>
                    </a:lnTo>
                    <a:lnTo>
                      <a:pt x="246" y="369"/>
                    </a:lnTo>
                    <a:lnTo>
                      <a:pt x="248" y="369"/>
                    </a:lnTo>
                    <a:lnTo>
                      <a:pt x="248" y="371"/>
                    </a:lnTo>
                    <a:close/>
                    <a:moveTo>
                      <a:pt x="227" y="364"/>
                    </a:moveTo>
                    <a:lnTo>
                      <a:pt x="229" y="364"/>
                    </a:lnTo>
                    <a:lnTo>
                      <a:pt x="227" y="364"/>
                    </a:lnTo>
                    <a:close/>
                    <a:moveTo>
                      <a:pt x="229" y="364"/>
                    </a:moveTo>
                    <a:lnTo>
                      <a:pt x="229" y="365"/>
                    </a:lnTo>
                    <a:lnTo>
                      <a:pt x="229" y="364"/>
                    </a:lnTo>
                    <a:lnTo>
                      <a:pt x="229" y="365"/>
                    </a:lnTo>
                    <a:lnTo>
                      <a:pt x="229" y="364"/>
                    </a:lnTo>
                    <a:lnTo>
                      <a:pt x="229" y="365"/>
                    </a:lnTo>
                    <a:lnTo>
                      <a:pt x="227" y="365"/>
                    </a:lnTo>
                    <a:lnTo>
                      <a:pt x="227" y="364"/>
                    </a:lnTo>
                    <a:lnTo>
                      <a:pt x="227" y="365"/>
                    </a:lnTo>
                    <a:lnTo>
                      <a:pt x="227" y="364"/>
                    </a:lnTo>
                    <a:lnTo>
                      <a:pt x="227" y="365"/>
                    </a:lnTo>
                    <a:lnTo>
                      <a:pt x="229" y="365"/>
                    </a:lnTo>
                    <a:lnTo>
                      <a:pt x="227" y="365"/>
                    </a:lnTo>
                    <a:lnTo>
                      <a:pt x="227" y="364"/>
                    </a:lnTo>
                    <a:lnTo>
                      <a:pt x="227" y="365"/>
                    </a:lnTo>
                    <a:lnTo>
                      <a:pt x="227" y="364"/>
                    </a:lnTo>
                    <a:lnTo>
                      <a:pt x="227" y="365"/>
                    </a:lnTo>
                    <a:lnTo>
                      <a:pt x="225" y="365"/>
                    </a:lnTo>
                    <a:lnTo>
                      <a:pt x="225" y="364"/>
                    </a:lnTo>
                    <a:lnTo>
                      <a:pt x="225" y="362"/>
                    </a:lnTo>
                    <a:lnTo>
                      <a:pt x="225" y="364"/>
                    </a:lnTo>
                    <a:lnTo>
                      <a:pt x="227" y="364"/>
                    </a:lnTo>
                    <a:lnTo>
                      <a:pt x="229" y="364"/>
                    </a:lnTo>
                    <a:close/>
                    <a:moveTo>
                      <a:pt x="223" y="367"/>
                    </a:moveTo>
                    <a:lnTo>
                      <a:pt x="221" y="367"/>
                    </a:lnTo>
                    <a:lnTo>
                      <a:pt x="223" y="367"/>
                    </a:lnTo>
                    <a:lnTo>
                      <a:pt x="221" y="367"/>
                    </a:lnTo>
                    <a:lnTo>
                      <a:pt x="223" y="367"/>
                    </a:lnTo>
                    <a:lnTo>
                      <a:pt x="223" y="369"/>
                    </a:lnTo>
                    <a:lnTo>
                      <a:pt x="221" y="367"/>
                    </a:lnTo>
                    <a:lnTo>
                      <a:pt x="219" y="367"/>
                    </a:lnTo>
                    <a:lnTo>
                      <a:pt x="221" y="367"/>
                    </a:lnTo>
                    <a:lnTo>
                      <a:pt x="219" y="367"/>
                    </a:lnTo>
                    <a:lnTo>
                      <a:pt x="221" y="367"/>
                    </a:lnTo>
                    <a:lnTo>
                      <a:pt x="221" y="369"/>
                    </a:lnTo>
                    <a:lnTo>
                      <a:pt x="219" y="367"/>
                    </a:lnTo>
                    <a:lnTo>
                      <a:pt x="219" y="365"/>
                    </a:lnTo>
                    <a:lnTo>
                      <a:pt x="219" y="367"/>
                    </a:lnTo>
                    <a:lnTo>
                      <a:pt x="219" y="365"/>
                    </a:lnTo>
                    <a:lnTo>
                      <a:pt x="217" y="365"/>
                    </a:lnTo>
                    <a:lnTo>
                      <a:pt x="215" y="365"/>
                    </a:lnTo>
                    <a:lnTo>
                      <a:pt x="217" y="365"/>
                    </a:lnTo>
                    <a:lnTo>
                      <a:pt x="215" y="365"/>
                    </a:lnTo>
                    <a:lnTo>
                      <a:pt x="215" y="364"/>
                    </a:lnTo>
                    <a:lnTo>
                      <a:pt x="215" y="365"/>
                    </a:lnTo>
                    <a:lnTo>
                      <a:pt x="217" y="365"/>
                    </a:lnTo>
                    <a:lnTo>
                      <a:pt x="217" y="364"/>
                    </a:lnTo>
                    <a:lnTo>
                      <a:pt x="215" y="364"/>
                    </a:lnTo>
                    <a:lnTo>
                      <a:pt x="217" y="364"/>
                    </a:lnTo>
                    <a:lnTo>
                      <a:pt x="215" y="364"/>
                    </a:lnTo>
                    <a:lnTo>
                      <a:pt x="217" y="364"/>
                    </a:lnTo>
                    <a:lnTo>
                      <a:pt x="215" y="362"/>
                    </a:lnTo>
                    <a:lnTo>
                      <a:pt x="217" y="360"/>
                    </a:lnTo>
                    <a:lnTo>
                      <a:pt x="217" y="362"/>
                    </a:lnTo>
                    <a:lnTo>
                      <a:pt x="217" y="360"/>
                    </a:lnTo>
                    <a:lnTo>
                      <a:pt x="219" y="360"/>
                    </a:lnTo>
                    <a:lnTo>
                      <a:pt x="219" y="362"/>
                    </a:lnTo>
                    <a:lnTo>
                      <a:pt x="221" y="364"/>
                    </a:lnTo>
                    <a:lnTo>
                      <a:pt x="223" y="364"/>
                    </a:lnTo>
                    <a:lnTo>
                      <a:pt x="223" y="365"/>
                    </a:lnTo>
                    <a:lnTo>
                      <a:pt x="223" y="367"/>
                    </a:lnTo>
                    <a:close/>
                    <a:moveTo>
                      <a:pt x="207" y="358"/>
                    </a:moveTo>
                    <a:lnTo>
                      <a:pt x="209" y="358"/>
                    </a:lnTo>
                    <a:lnTo>
                      <a:pt x="207" y="358"/>
                    </a:lnTo>
                    <a:close/>
                    <a:moveTo>
                      <a:pt x="227" y="362"/>
                    </a:moveTo>
                    <a:lnTo>
                      <a:pt x="227" y="364"/>
                    </a:lnTo>
                    <a:lnTo>
                      <a:pt x="227" y="362"/>
                    </a:lnTo>
                    <a:lnTo>
                      <a:pt x="227" y="364"/>
                    </a:lnTo>
                    <a:lnTo>
                      <a:pt x="227" y="362"/>
                    </a:lnTo>
                    <a:lnTo>
                      <a:pt x="227" y="364"/>
                    </a:lnTo>
                    <a:lnTo>
                      <a:pt x="229" y="364"/>
                    </a:lnTo>
                    <a:lnTo>
                      <a:pt x="227" y="364"/>
                    </a:lnTo>
                    <a:lnTo>
                      <a:pt x="225" y="364"/>
                    </a:lnTo>
                    <a:lnTo>
                      <a:pt x="225" y="362"/>
                    </a:lnTo>
                    <a:lnTo>
                      <a:pt x="227" y="362"/>
                    </a:lnTo>
                    <a:close/>
                    <a:moveTo>
                      <a:pt x="215" y="364"/>
                    </a:moveTo>
                    <a:lnTo>
                      <a:pt x="215" y="362"/>
                    </a:lnTo>
                    <a:lnTo>
                      <a:pt x="213" y="362"/>
                    </a:lnTo>
                    <a:lnTo>
                      <a:pt x="215" y="362"/>
                    </a:lnTo>
                    <a:lnTo>
                      <a:pt x="215" y="364"/>
                    </a:lnTo>
                    <a:lnTo>
                      <a:pt x="215" y="362"/>
                    </a:lnTo>
                    <a:lnTo>
                      <a:pt x="213" y="360"/>
                    </a:lnTo>
                    <a:lnTo>
                      <a:pt x="213" y="358"/>
                    </a:lnTo>
                    <a:lnTo>
                      <a:pt x="215" y="358"/>
                    </a:lnTo>
                    <a:lnTo>
                      <a:pt x="215" y="360"/>
                    </a:lnTo>
                    <a:lnTo>
                      <a:pt x="215" y="362"/>
                    </a:lnTo>
                    <a:lnTo>
                      <a:pt x="215" y="364"/>
                    </a:lnTo>
                    <a:close/>
                    <a:moveTo>
                      <a:pt x="254" y="369"/>
                    </a:moveTo>
                    <a:lnTo>
                      <a:pt x="254" y="367"/>
                    </a:lnTo>
                    <a:lnTo>
                      <a:pt x="252" y="367"/>
                    </a:lnTo>
                    <a:lnTo>
                      <a:pt x="254" y="367"/>
                    </a:lnTo>
                    <a:lnTo>
                      <a:pt x="254" y="369"/>
                    </a:lnTo>
                    <a:close/>
                    <a:moveTo>
                      <a:pt x="207" y="356"/>
                    </a:moveTo>
                    <a:lnTo>
                      <a:pt x="209" y="356"/>
                    </a:lnTo>
                    <a:lnTo>
                      <a:pt x="209" y="358"/>
                    </a:lnTo>
                    <a:lnTo>
                      <a:pt x="207" y="358"/>
                    </a:lnTo>
                    <a:lnTo>
                      <a:pt x="207" y="356"/>
                    </a:lnTo>
                    <a:close/>
                    <a:moveTo>
                      <a:pt x="227" y="362"/>
                    </a:moveTo>
                    <a:lnTo>
                      <a:pt x="227" y="360"/>
                    </a:lnTo>
                    <a:lnTo>
                      <a:pt x="227" y="362"/>
                    </a:lnTo>
                    <a:lnTo>
                      <a:pt x="227" y="360"/>
                    </a:lnTo>
                    <a:lnTo>
                      <a:pt x="227" y="358"/>
                    </a:lnTo>
                    <a:lnTo>
                      <a:pt x="229" y="358"/>
                    </a:lnTo>
                    <a:lnTo>
                      <a:pt x="229" y="360"/>
                    </a:lnTo>
                    <a:lnTo>
                      <a:pt x="229" y="362"/>
                    </a:lnTo>
                    <a:lnTo>
                      <a:pt x="227" y="362"/>
                    </a:lnTo>
                    <a:close/>
                    <a:moveTo>
                      <a:pt x="240" y="360"/>
                    </a:moveTo>
                    <a:lnTo>
                      <a:pt x="242" y="360"/>
                    </a:lnTo>
                    <a:lnTo>
                      <a:pt x="242" y="362"/>
                    </a:lnTo>
                    <a:lnTo>
                      <a:pt x="244" y="362"/>
                    </a:lnTo>
                    <a:lnTo>
                      <a:pt x="242" y="362"/>
                    </a:lnTo>
                    <a:lnTo>
                      <a:pt x="244" y="362"/>
                    </a:lnTo>
                    <a:lnTo>
                      <a:pt x="244" y="364"/>
                    </a:lnTo>
                    <a:lnTo>
                      <a:pt x="246" y="364"/>
                    </a:lnTo>
                    <a:lnTo>
                      <a:pt x="246" y="365"/>
                    </a:lnTo>
                    <a:lnTo>
                      <a:pt x="248" y="365"/>
                    </a:lnTo>
                    <a:lnTo>
                      <a:pt x="246" y="365"/>
                    </a:lnTo>
                    <a:lnTo>
                      <a:pt x="248" y="365"/>
                    </a:lnTo>
                    <a:lnTo>
                      <a:pt x="248" y="367"/>
                    </a:lnTo>
                    <a:lnTo>
                      <a:pt x="250" y="367"/>
                    </a:lnTo>
                    <a:lnTo>
                      <a:pt x="250" y="369"/>
                    </a:lnTo>
                    <a:lnTo>
                      <a:pt x="250" y="367"/>
                    </a:lnTo>
                    <a:lnTo>
                      <a:pt x="248" y="367"/>
                    </a:lnTo>
                    <a:lnTo>
                      <a:pt x="250" y="367"/>
                    </a:lnTo>
                    <a:lnTo>
                      <a:pt x="248" y="369"/>
                    </a:lnTo>
                    <a:lnTo>
                      <a:pt x="250" y="369"/>
                    </a:lnTo>
                    <a:lnTo>
                      <a:pt x="248" y="369"/>
                    </a:lnTo>
                    <a:lnTo>
                      <a:pt x="248" y="367"/>
                    </a:lnTo>
                    <a:lnTo>
                      <a:pt x="246" y="367"/>
                    </a:lnTo>
                    <a:lnTo>
                      <a:pt x="248" y="367"/>
                    </a:lnTo>
                    <a:lnTo>
                      <a:pt x="248" y="369"/>
                    </a:lnTo>
                    <a:lnTo>
                      <a:pt x="250" y="369"/>
                    </a:lnTo>
                    <a:lnTo>
                      <a:pt x="248" y="371"/>
                    </a:lnTo>
                    <a:lnTo>
                      <a:pt x="248" y="369"/>
                    </a:lnTo>
                    <a:lnTo>
                      <a:pt x="246" y="369"/>
                    </a:lnTo>
                    <a:lnTo>
                      <a:pt x="244" y="369"/>
                    </a:lnTo>
                    <a:lnTo>
                      <a:pt x="242" y="369"/>
                    </a:lnTo>
                    <a:lnTo>
                      <a:pt x="242" y="367"/>
                    </a:lnTo>
                    <a:lnTo>
                      <a:pt x="240" y="367"/>
                    </a:lnTo>
                    <a:lnTo>
                      <a:pt x="242" y="369"/>
                    </a:lnTo>
                    <a:lnTo>
                      <a:pt x="244" y="369"/>
                    </a:lnTo>
                    <a:lnTo>
                      <a:pt x="246" y="369"/>
                    </a:lnTo>
                    <a:lnTo>
                      <a:pt x="248" y="369"/>
                    </a:lnTo>
                    <a:lnTo>
                      <a:pt x="246" y="369"/>
                    </a:lnTo>
                    <a:lnTo>
                      <a:pt x="244" y="369"/>
                    </a:lnTo>
                    <a:lnTo>
                      <a:pt x="242" y="369"/>
                    </a:lnTo>
                    <a:lnTo>
                      <a:pt x="240" y="369"/>
                    </a:lnTo>
                    <a:lnTo>
                      <a:pt x="242" y="369"/>
                    </a:lnTo>
                    <a:lnTo>
                      <a:pt x="240" y="369"/>
                    </a:lnTo>
                    <a:lnTo>
                      <a:pt x="238" y="369"/>
                    </a:lnTo>
                    <a:lnTo>
                      <a:pt x="236" y="369"/>
                    </a:lnTo>
                    <a:lnTo>
                      <a:pt x="236" y="367"/>
                    </a:lnTo>
                    <a:lnTo>
                      <a:pt x="234" y="367"/>
                    </a:lnTo>
                    <a:lnTo>
                      <a:pt x="234" y="365"/>
                    </a:lnTo>
                    <a:lnTo>
                      <a:pt x="234" y="367"/>
                    </a:lnTo>
                    <a:lnTo>
                      <a:pt x="234" y="365"/>
                    </a:lnTo>
                    <a:lnTo>
                      <a:pt x="232" y="365"/>
                    </a:lnTo>
                    <a:lnTo>
                      <a:pt x="234" y="365"/>
                    </a:lnTo>
                    <a:lnTo>
                      <a:pt x="232" y="365"/>
                    </a:lnTo>
                    <a:lnTo>
                      <a:pt x="234" y="365"/>
                    </a:lnTo>
                    <a:lnTo>
                      <a:pt x="232" y="365"/>
                    </a:lnTo>
                    <a:lnTo>
                      <a:pt x="234" y="365"/>
                    </a:lnTo>
                    <a:lnTo>
                      <a:pt x="234" y="367"/>
                    </a:lnTo>
                    <a:lnTo>
                      <a:pt x="234" y="365"/>
                    </a:lnTo>
                    <a:lnTo>
                      <a:pt x="234" y="367"/>
                    </a:lnTo>
                    <a:lnTo>
                      <a:pt x="232" y="367"/>
                    </a:lnTo>
                    <a:lnTo>
                      <a:pt x="234" y="367"/>
                    </a:lnTo>
                    <a:lnTo>
                      <a:pt x="232" y="367"/>
                    </a:lnTo>
                    <a:lnTo>
                      <a:pt x="232" y="365"/>
                    </a:lnTo>
                    <a:lnTo>
                      <a:pt x="232" y="364"/>
                    </a:lnTo>
                    <a:lnTo>
                      <a:pt x="232" y="365"/>
                    </a:lnTo>
                    <a:lnTo>
                      <a:pt x="232" y="364"/>
                    </a:lnTo>
                    <a:lnTo>
                      <a:pt x="232" y="362"/>
                    </a:lnTo>
                    <a:lnTo>
                      <a:pt x="232" y="364"/>
                    </a:lnTo>
                    <a:lnTo>
                      <a:pt x="232" y="362"/>
                    </a:lnTo>
                    <a:lnTo>
                      <a:pt x="232" y="360"/>
                    </a:lnTo>
                    <a:lnTo>
                      <a:pt x="234" y="360"/>
                    </a:lnTo>
                    <a:lnTo>
                      <a:pt x="236" y="360"/>
                    </a:lnTo>
                    <a:lnTo>
                      <a:pt x="236" y="362"/>
                    </a:lnTo>
                    <a:lnTo>
                      <a:pt x="234" y="362"/>
                    </a:lnTo>
                    <a:lnTo>
                      <a:pt x="236" y="362"/>
                    </a:lnTo>
                    <a:lnTo>
                      <a:pt x="236" y="364"/>
                    </a:lnTo>
                    <a:lnTo>
                      <a:pt x="236" y="362"/>
                    </a:lnTo>
                    <a:lnTo>
                      <a:pt x="236" y="360"/>
                    </a:lnTo>
                    <a:lnTo>
                      <a:pt x="238" y="360"/>
                    </a:lnTo>
                    <a:lnTo>
                      <a:pt x="240" y="360"/>
                    </a:lnTo>
                    <a:close/>
                    <a:moveTo>
                      <a:pt x="156" y="339"/>
                    </a:moveTo>
                    <a:lnTo>
                      <a:pt x="154" y="339"/>
                    </a:lnTo>
                    <a:lnTo>
                      <a:pt x="152" y="340"/>
                    </a:lnTo>
                    <a:lnTo>
                      <a:pt x="154" y="340"/>
                    </a:lnTo>
                    <a:lnTo>
                      <a:pt x="152" y="340"/>
                    </a:lnTo>
                    <a:lnTo>
                      <a:pt x="154" y="340"/>
                    </a:lnTo>
                    <a:lnTo>
                      <a:pt x="154" y="342"/>
                    </a:lnTo>
                    <a:lnTo>
                      <a:pt x="154" y="340"/>
                    </a:lnTo>
                    <a:lnTo>
                      <a:pt x="156" y="340"/>
                    </a:lnTo>
                    <a:lnTo>
                      <a:pt x="154" y="340"/>
                    </a:lnTo>
                    <a:lnTo>
                      <a:pt x="156" y="340"/>
                    </a:lnTo>
                    <a:lnTo>
                      <a:pt x="156" y="339"/>
                    </a:lnTo>
                    <a:lnTo>
                      <a:pt x="156" y="340"/>
                    </a:lnTo>
                    <a:lnTo>
                      <a:pt x="158" y="339"/>
                    </a:lnTo>
                    <a:lnTo>
                      <a:pt x="158" y="340"/>
                    </a:lnTo>
                    <a:lnTo>
                      <a:pt x="156" y="342"/>
                    </a:lnTo>
                    <a:lnTo>
                      <a:pt x="154" y="342"/>
                    </a:lnTo>
                    <a:lnTo>
                      <a:pt x="152" y="340"/>
                    </a:lnTo>
                    <a:lnTo>
                      <a:pt x="150" y="340"/>
                    </a:lnTo>
                    <a:lnTo>
                      <a:pt x="148" y="340"/>
                    </a:lnTo>
                    <a:lnTo>
                      <a:pt x="148" y="339"/>
                    </a:lnTo>
                    <a:lnTo>
                      <a:pt x="146" y="339"/>
                    </a:lnTo>
                    <a:lnTo>
                      <a:pt x="146" y="337"/>
                    </a:lnTo>
                    <a:lnTo>
                      <a:pt x="144" y="335"/>
                    </a:lnTo>
                    <a:lnTo>
                      <a:pt x="142" y="333"/>
                    </a:lnTo>
                    <a:lnTo>
                      <a:pt x="140" y="333"/>
                    </a:lnTo>
                    <a:lnTo>
                      <a:pt x="138" y="333"/>
                    </a:lnTo>
                    <a:lnTo>
                      <a:pt x="138" y="331"/>
                    </a:lnTo>
                    <a:lnTo>
                      <a:pt x="140" y="331"/>
                    </a:lnTo>
                    <a:lnTo>
                      <a:pt x="142" y="331"/>
                    </a:lnTo>
                    <a:lnTo>
                      <a:pt x="142" y="333"/>
                    </a:lnTo>
                    <a:lnTo>
                      <a:pt x="144" y="333"/>
                    </a:lnTo>
                    <a:lnTo>
                      <a:pt x="146" y="335"/>
                    </a:lnTo>
                    <a:lnTo>
                      <a:pt x="148" y="335"/>
                    </a:lnTo>
                    <a:lnTo>
                      <a:pt x="150" y="337"/>
                    </a:lnTo>
                    <a:lnTo>
                      <a:pt x="152" y="337"/>
                    </a:lnTo>
                    <a:lnTo>
                      <a:pt x="152" y="335"/>
                    </a:lnTo>
                    <a:lnTo>
                      <a:pt x="152" y="337"/>
                    </a:lnTo>
                    <a:lnTo>
                      <a:pt x="154" y="337"/>
                    </a:lnTo>
                    <a:lnTo>
                      <a:pt x="156" y="337"/>
                    </a:lnTo>
                    <a:lnTo>
                      <a:pt x="156" y="339"/>
                    </a:lnTo>
                    <a:lnTo>
                      <a:pt x="158" y="339"/>
                    </a:lnTo>
                    <a:lnTo>
                      <a:pt x="156" y="339"/>
                    </a:lnTo>
                    <a:lnTo>
                      <a:pt x="158" y="339"/>
                    </a:lnTo>
                    <a:lnTo>
                      <a:pt x="156" y="339"/>
                    </a:lnTo>
                    <a:lnTo>
                      <a:pt x="156" y="340"/>
                    </a:lnTo>
                    <a:lnTo>
                      <a:pt x="156" y="339"/>
                    </a:lnTo>
                    <a:close/>
                    <a:moveTo>
                      <a:pt x="188" y="346"/>
                    </a:moveTo>
                    <a:lnTo>
                      <a:pt x="186" y="346"/>
                    </a:lnTo>
                    <a:lnTo>
                      <a:pt x="186" y="344"/>
                    </a:lnTo>
                    <a:lnTo>
                      <a:pt x="186" y="346"/>
                    </a:lnTo>
                    <a:lnTo>
                      <a:pt x="186" y="344"/>
                    </a:lnTo>
                    <a:lnTo>
                      <a:pt x="186" y="346"/>
                    </a:lnTo>
                    <a:lnTo>
                      <a:pt x="186" y="344"/>
                    </a:lnTo>
                    <a:lnTo>
                      <a:pt x="186" y="346"/>
                    </a:lnTo>
                    <a:lnTo>
                      <a:pt x="188" y="344"/>
                    </a:lnTo>
                    <a:lnTo>
                      <a:pt x="188" y="346"/>
                    </a:lnTo>
                    <a:close/>
                    <a:moveTo>
                      <a:pt x="229" y="360"/>
                    </a:moveTo>
                    <a:lnTo>
                      <a:pt x="229" y="358"/>
                    </a:lnTo>
                    <a:lnTo>
                      <a:pt x="227" y="358"/>
                    </a:lnTo>
                    <a:lnTo>
                      <a:pt x="227" y="356"/>
                    </a:lnTo>
                    <a:lnTo>
                      <a:pt x="227" y="354"/>
                    </a:lnTo>
                    <a:lnTo>
                      <a:pt x="227" y="356"/>
                    </a:lnTo>
                    <a:lnTo>
                      <a:pt x="229" y="356"/>
                    </a:lnTo>
                    <a:lnTo>
                      <a:pt x="229" y="358"/>
                    </a:lnTo>
                    <a:lnTo>
                      <a:pt x="231" y="358"/>
                    </a:lnTo>
                    <a:lnTo>
                      <a:pt x="231" y="360"/>
                    </a:lnTo>
                    <a:lnTo>
                      <a:pt x="231" y="358"/>
                    </a:lnTo>
                    <a:lnTo>
                      <a:pt x="231" y="360"/>
                    </a:lnTo>
                    <a:lnTo>
                      <a:pt x="231" y="358"/>
                    </a:lnTo>
                    <a:lnTo>
                      <a:pt x="231" y="360"/>
                    </a:lnTo>
                    <a:lnTo>
                      <a:pt x="229" y="360"/>
                    </a:lnTo>
                    <a:close/>
                    <a:moveTo>
                      <a:pt x="209" y="356"/>
                    </a:moveTo>
                    <a:lnTo>
                      <a:pt x="209" y="354"/>
                    </a:lnTo>
                    <a:lnTo>
                      <a:pt x="209" y="356"/>
                    </a:lnTo>
                    <a:lnTo>
                      <a:pt x="207" y="356"/>
                    </a:lnTo>
                    <a:lnTo>
                      <a:pt x="207" y="354"/>
                    </a:lnTo>
                    <a:lnTo>
                      <a:pt x="207" y="352"/>
                    </a:lnTo>
                    <a:lnTo>
                      <a:pt x="207" y="350"/>
                    </a:lnTo>
                    <a:lnTo>
                      <a:pt x="209" y="350"/>
                    </a:lnTo>
                    <a:lnTo>
                      <a:pt x="209" y="352"/>
                    </a:lnTo>
                    <a:lnTo>
                      <a:pt x="209" y="354"/>
                    </a:lnTo>
                    <a:lnTo>
                      <a:pt x="211" y="354"/>
                    </a:lnTo>
                    <a:lnTo>
                      <a:pt x="211" y="356"/>
                    </a:lnTo>
                    <a:lnTo>
                      <a:pt x="209" y="356"/>
                    </a:lnTo>
                    <a:close/>
                    <a:moveTo>
                      <a:pt x="186" y="344"/>
                    </a:moveTo>
                    <a:lnTo>
                      <a:pt x="184" y="344"/>
                    </a:lnTo>
                    <a:lnTo>
                      <a:pt x="186" y="344"/>
                    </a:lnTo>
                    <a:lnTo>
                      <a:pt x="184" y="344"/>
                    </a:lnTo>
                    <a:lnTo>
                      <a:pt x="186" y="344"/>
                    </a:lnTo>
                    <a:close/>
                    <a:moveTo>
                      <a:pt x="186" y="344"/>
                    </a:moveTo>
                    <a:lnTo>
                      <a:pt x="184" y="344"/>
                    </a:lnTo>
                    <a:lnTo>
                      <a:pt x="186" y="342"/>
                    </a:lnTo>
                    <a:lnTo>
                      <a:pt x="186" y="344"/>
                    </a:lnTo>
                    <a:close/>
                    <a:moveTo>
                      <a:pt x="211" y="354"/>
                    </a:moveTo>
                    <a:lnTo>
                      <a:pt x="211" y="356"/>
                    </a:lnTo>
                    <a:lnTo>
                      <a:pt x="211" y="354"/>
                    </a:lnTo>
                    <a:lnTo>
                      <a:pt x="211" y="356"/>
                    </a:lnTo>
                    <a:lnTo>
                      <a:pt x="211" y="354"/>
                    </a:lnTo>
                    <a:lnTo>
                      <a:pt x="209" y="354"/>
                    </a:lnTo>
                    <a:lnTo>
                      <a:pt x="209" y="352"/>
                    </a:lnTo>
                    <a:lnTo>
                      <a:pt x="209" y="354"/>
                    </a:lnTo>
                    <a:lnTo>
                      <a:pt x="211" y="354"/>
                    </a:lnTo>
                    <a:lnTo>
                      <a:pt x="209" y="354"/>
                    </a:lnTo>
                    <a:lnTo>
                      <a:pt x="209" y="352"/>
                    </a:lnTo>
                    <a:lnTo>
                      <a:pt x="209" y="350"/>
                    </a:lnTo>
                    <a:lnTo>
                      <a:pt x="211" y="350"/>
                    </a:lnTo>
                    <a:lnTo>
                      <a:pt x="211" y="352"/>
                    </a:lnTo>
                    <a:lnTo>
                      <a:pt x="211" y="354"/>
                    </a:lnTo>
                    <a:close/>
                    <a:moveTo>
                      <a:pt x="252" y="365"/>
                    </a:moveTo>
                    <a:lnTo>
                      <a:pt x="252" y="367"/>
                    </a:lnTo>
                    <a:lnTo>
                      <a:pt x="252" y="369"/>
                    </a:lnTo>
                    <a:lnTo>
                      <a:pt x="254" y="369"/>
                    </a:lnTo>
                    <a:lnTo>
                      <a:pt x="252" y="369"/>
                    </a:lnTo>
                    <a:lnTo>
                      <a:pt x="252" y="367"/>
                    </a:lnTo>
                    <a:lnTo>
                      <a:pt x="250" y="367"/>
                    </a:lnTo>
                    <a:lnTo>
                      <a:pt x="248" y="365"/>
                    </a:lnTo>
                    <a:lnTo>
                      <a:pt x="246" y="364"/>
                    </a:lnTo>
                    <a:lnTo>
                      <a:pt x="246" y="365"/>
                    </a:lnTo>
                    <a:lnTo>
                      <a:pt x="246" y="364"/>
                    </a:lnTo>
                    <a:lnTo>
                      <a:pt x="244" y="362"/>
                    </a:lnTo>
                    <a:lnTo>
                      <a:pt x="242" y="360"/>
                    </a:lnTo>
                    <a:lnTo>
                      <a:pt x="242" y="358"/>
                    </a:lnTo>
                    <a:lnTo>
                      <a:pt x="244" y="358"/>
                    </a:lnTo>
                    <a:lnTo>
                      <a:pt x="244" y="360"/>
                    </a:lnTo>
                    <a:lnTo>
                      <a:pt x="246" y="360"/>
                    </a:lnTo>
                    <a:lnTo>
                      <a:pt x="246" y="362"/>
                    </a:lnTo>
                    <a:lnTo>
                      <a:pt x="248" y="362"/>
                    </a:lnTo>
                    <a:lnTo>
                      <a:pt x="250" y="364"/>
                    </a:lnTo>
                    <a:lnTo>
                      <a:pt x="252" y="364"/>
                    </a:lnTo>
                    <a:lnTo>
                      <a:pt x="252" y="365"/>
                    </a:lnTo>
                    <a:lnTo>
                      <a:pt x="252" y="367"/>
                    </a:lnTo>
                    <a:lnTo>
                      <a:pt x="252" y="365"/>
                    </a:lnTo>
                    <a:close/>
                    <a:moveTo>
                      <a:pt x="207" y="348"/>
                    </a:moveTo>
                    <a:lnTo>
                      <a:pt x="207" y="350"/>
                    </a:lnTo>
                    <a:lnTo>
                      <a:pt x="207" y="348"/>
                    </a:lnTo>
                    <a:close/>
                    <a:moveTo>
                      <a:pt x="238" y="358"/>
                    </a:moveTo>
                    <a:lnTo>
                      <a:pt x="236" y="358"/>
                    </a:lnTo>
                    <a:lnTo>
                      <a:pt x="238" y="358"/>
                    </a:lnTo>
                    <a:lnTo>
                      <a:pt x="240" y="358"/>
                    </a:lnTo>
                    <a:lnTo>
                      <a:pt x="238" y="358"/>
                    </a:lnTo>
                    <a:lnTo>
                      <a:pt x="240" y="358"/>
                    </a:lnTo>
                    <a:lnTo>
                      <a:pt x="240" y="360"/>
                    </a:lnTo>
                    <a:lnTo>
                      <a:pt x="240" y="358"/>
                    </a:lnTo>
                    <a:lnTo>
                      <a:pt x="240" y="360"/>
                    </a:lnTo>
                    <a:lnTo>
                      <a:pt x="238" y="360"/>
                    </a:lnTo>
                    <a:lnTo>
                      <a:pt x="236" y="360"/>
                    </a:lnTo>
                    <a:lnTo>
                      <a:pt x="234" y="358"/>
                    </a:lnTo>
                    <a:lnTo>
                      <a:pt x="232" y="358"/>
                    </a:lnTo>
                    <a:lnTo>
                      <a:pt x="234" y="358"/>
                    </a:lnTo>
                    <a:lnTo>
                      <a:pt x="232" y="358"/>
                    </a:lnTo>
                    <a:lnTo>
                      <a:pt x="231" y="356"/>
                    </a:lnTo>
                    <a:lnTo>
                      <a:pt x="231" y="354"/>
                    </a:lnTo>
                    <a:lnTo>
                      <a:pt x="232" y="354"/>
                    </a:lnTo>
                    <a:lnTo>
                      <a:pt x="232" y="356"/>
                    </a:lnTo>
                    <a:lnTo>
                      <a:pt x="234" y="356"/>
                    </a:lnTo>
                    <a:lnTo>
                      <a:pt x="234" y="354"/>
                    </a:lnTo>
                    <a:lnTo>
                      <a:pt x="234" y="356"/>
                    </a:lnTo>
                    <a:lnTo>
                      <a:pt x="236" y="356"/>
                    </a:lnTo>
                    <a:lnTo>
                      <a:pt x="238" y="356"/>
                    </a:lnTo>
                    <a:lnTo>
                      <a:pt x="240" y="356"/>
                    </a:lnTo>
                    <a:lnTo>
                      <a:pt x="240" y="358"/>
                    </a:lnTo>
                    <a:lnTo>
                      <a:pt x="238" y="358"/>
                    </a:lnTo>
                    <a:lnTo>
                      <a:pt x="238" y="356"/>
                    </a:lnTo>
                    <a:lnTo>
                      <a:pt x="238" y="358"/>
                    </a:lnTo>
                    <a:close/>
                    <a:moveTo>
                      <a:pt x="211" y="350"/>
                    </a:moveTo>
                    <a:lnTo>
                      <a:pt x="211" y="348"/>
                    </a:lnTo>
                    <a:lnTo>
                      <a:pt x="213" y="348"/>
                    </a:lnTo>
                    <a:lnTo>
                      <a:pt x="213" y="350"/>
                    </a:lnTo>
                    <a:lnTo>
                      <a:pt x="213" y="352"/>
                    </a:lnTo>
                    <a:lnTo>
                      <a:pt x="211" y="350"/>
                    </a:lnTo>
                    <a:close/>
                    <a:moveTo>
                      <a:pt x="227" y="360"/>
                    </a:moveTo>
                    <a:lnTo>
                      <a:pt x="227" y="358"/>
                    </a:lnTo>
                    <a:lnTo>
                      <a:pt x="227" y="360"/>
                    </a:lnTo>
                    <a:lnTo>
                      <a:pt x="225" y="360"/>
                    </a:lnTo>
                    <a:lnTo>
                      <a:pt x="225" y="358"/>
                    </a:lnTo>
                    <a:lnTo>
                      <a:pt x="223" y="358"/>
                    </a:lnTo>
                    <a:lnTo>
                      <a:pt x="223" y="356"/>
                    </a:lnTo>
                    <a:lnTo>
                      <a:pt x="223" y="354"/>
                    </a:lnTo>
                    <a:lnTo>
                      <a:pt x="223" y="356"/>
                    </a:lnTo>
                    <a:lnTo>
                      <a:pt x="223" y="358"/>
                    </a:lnTo>
                    <a:lnTo>
                      <a:pt x="225" y="358"/>
                    </a:lnTo>
                    <a:lnTo>
                      <a:pt x="225" y="360"/>
                    </a:lnTo>
                    <a:lnTo>
                      <a:pt x="225" y="358"/>
                    </a:lnTo>
                    <a:lnTo>
                      <a:pt x="225" y="360"/>
                    </a:lnTo>
                    <a:lnTo>
                      <a:pt x="227" y="360"/>
                    </a:lnTo>
                    <a:lnTo>
                      <a:pt x="225" y="360"/>
                    </a:lnTo>
                    <a:lnTo>
                      <a:pt x="225" y="362"/>
                    </a:lnTo>
                    <a:lnTo>
                      <a:pt x="227" y="362"/>
                    </a:lnTo>
                    <a:lnTo>
                      <a:pt x="225" y="362"/>
                    </a:lnTo>
                    <a:lnTo>
                      <a:pt x="225" y="360"/>
                    </a:lnTo>
                    <a:lnTo>
                      <a:pt x="223" y="360"/>
                    </a:lnTo>
                    <a:lnTo>
                      <a:pt x="223" y="358"/>
                    </a:lnTo>
                    <a:lnTo>
                      <a:pt x="221" y="358"/>
                    </a:lnTo>
                    <a:lnTo>
                      <a:pt x="219" y="358"/>
                    </a:lnTo>
                    <a:lnTo>
                      <a:pt x="219" y="356"/>
                    </a:lnTo>
                    <a:lnTo>
                      <a:pt x="219" y="354"/>
                    </a:lnTo>
                    <a:lnTo>
                      <a:pt x="217" y="354"/>
                    </a:lnTo>
                    <a:lnTo>
                      <a:pt x="217" y="352"/>
                    </a:lnTo>
                    <a:lnTo>
                      <a:pt x="215" y="352"/>
                    </a:lnTo>
                    <a:lnTo>
                      <a:pt x="215" y="350"/>
                    </a:lnTo>
                    <a:lnTo>
                      <a:pt x="217" y="348"/>
                    </a:lnTo>
                    <a:lnTo>
                      <a:pt x="217" y="350"/>
                    </a:lnTo>
                    <a:lnTo>
                      <a:pt x="219" y="350"/>
                    </a:lnTo>
                    <a:lnTo>
                      <a:pt x="221" y="350"/>
                    </a:lnTo>
                    <a:lnTo>
                      <a:pt x="221" y="352"/>
                    </a:lnTo>
                    <a:lnTo>
                      <a:pt x="221" y="350"/>
                    </a:lnTo>
                    <a:lnTo>
                      <a:pt x="223" y="352"/>
                    </a:lnTo>
                    <a:lnTo>
                      <a:pt x="223" y="354"/>
                    </a:lnTo>
                    <a:lnTo>
                      <a:pt x="225" y="354"/>
                    </a:lnTo>
                    <a:lnTo>
                      <a:pt x="225" y="356"/>
                    </a:lnTo>
                    <a:lnTo>
                      <a:pt x="227" y="356"/>
                    </a:lnTo>
                    <a:lnTo>
                      <a:pt x="227" y="358"/>
                    </a:lnTo>
                    <a:lnTo>
                      <a:pt x="227" y="360"/>
                    </a:lnTo>
                    <a:close/>
                    <a:moveTo>
                      <a:pt x="223" y="356"/>
                    </a:moveTo>
                    <a:lnTo>
                      <a:pt x="223" y="354"/>
                    </a:lnTo>
                    <a:lnTo>
                      <a:pt x="221" y="354"/>
                    </a:lnTo>
                    <a:lnTo>
                      <a:pt x="221" y="356"/>
                    </a:lnTo>
                    <a:lnTo>
                      <a:pt x="223" y="356"/>
                    </a:lnTo>
                    <a:close/>
                    <a:moveTo>
                      <a:pt x="225" y="362"/>
                    </a:moveTo>
                    <a:lnTo>
                      <a:pt x="225" y="364"/>
                    </a:lnTo>
                    <a:lnTo>
                      <a:pt x="223" y="364"/>
                    </a:lnTo>
                    <a:lnTo>
                      <a:pt x="225" y="364"/>
                    </a:lnTo>
                    <a:lnTo>
                      <a:pt x="223" y="364"/>
                    </a:lnTo>
                    <a:lnTo>
                      <a:pt x="221" y="364"/>
                    </a:lnTo>
                    <a:lnTo>
                      <a:pt x="221" y="362"/>
                    </a:lnTo>
                    <a:lnTo>
                      <a:pt x="219" y="362"/>
                    </a:lnTo>
                    <a:lnTo>
                      <a:pt x="219" y="360"/>
                    </a:lnTo>
                    <a:lnTo>
                      <a:pt x="217" y="360"/>
                    </a:lnTo>
                    <a:lnTo>
                      <a:pt x="215" y="360"/>
                    </a:lnTo>
                    <a:lnTo>
                      <a:pt x="215" y="358"/>
                    </a:lnTo>
                    <a:lnTo>
                      <a:pt x="215" y="356"/>
                    </a:lnTo>
                    <a:lnTo>
                      <a:pt x="213" y="356"/>
                    </a:lnTo>
                    <a:lnTo>
                      <a:pt x="215" y="354"/>
                    </a:lnTo>
                    <a:lnTo>
                      <a:pt x="213" y="354"/>
                    </a:lnTo>
                    <a:lnTo>
                      <a:pt x="215" y="354"/>
                    </a:lnTo>
                    <a:lnTo>
                      <a:pt x="215" y="352"/>
                    </a:lnTo>
                    <a:lnTo>
                      <a:pt x="213" y="350"/>
                    </a:lnTo>
                    <a:lnTo>
                      <a:pt x="213" y="348"/>
                    </a:lnTo>
                    <a:lnTo>
                      <a:pt x="215" y="348"/>
                    </a:lnTo>
                    <a:lnTo>
                      <a:pt x="215" y="346"/>
                    </a:lnTo>
                    <a:lnTo>
                      <a:pt x="215" y="348"/>
                    </a:lnTo>
                    <a:lnTo>
                      <a:pt x="215" y="350"/>
                    </a:lnTo>
                    <a:lnTo>
                      <a:pt x="215" y="352"/>
                    </a:lnTo>
                    <a:lnTo>
                      <a:pt x="217" y="352"/>
                    </a:lnTo>
                    <a:lnTo>
                      <a:pt x="217" y="354"/>
                    </a:lnTo>
                    <a:lnTo>
                      <a:pt x="219" y="354"/>
                    </a:lnTo>
                    <a:lnTo>
                      <a:pt x="219" y="356"/>
                    </a:lnTo>
                    <a:lnTo>
                      <a:pt x="219" y="358"/>
                    </a:lnTo>
                    <a:lnTo>
                      <a:pt x="221" y="358"/>
                    </a:lnTo>
                    <a:lnTo>
                      <a:pt x="223" y="358"/>
                    </a:lnTo>
                    <a:lnTo>
                      <a:pt x="223" y="360"/>
                    </a:lnTo>
                    <a:lnTo>
                      <a:pt x="225" y="362"/>
                    </a:lnTo>
                    <a:close/>
                    <a:moveTo>
                      <a:pt x="217" y="348"/>
                    </a:moveTo>
                    <a:lnTo>
                      <a:pt x="219" y="348"/>
                    </a:lnTo>
                    <a:lnTo>
                      <a:pt x="217" y="348"/>
                    </a:lnTo>
                    <a:lnTo>
                      <a:pt x="217" y="346"/>
                    </a:lnTo>
                    <a:lnTo>
                      <a:pt x="217" y="348"/>
                    </a:lnTo>
                    <a:lnTo>
                      <a:pt x="219" y="348"/>
                    </a:lnTo>
                    <a:lnTo>
                      <a:pt x="221" y="348"/>
                    </a:lnTo>
                    <a:lnTo>
                      <a:pt x="219" y="348"/>
                    </a:lnTo>
                    <a:lnTo>
                      <a:pt x="219" y="350"/>
                    </a:lnTo>
                    <a:lnTo>
                      <a:pt x="217" y="348"/>
                    </a:lnTo>
                    <a:close/>
                    <a:moveTo>
                      <a:pt x="215" y="346"/>
                    </a:moveTo>
                    <a:lnTo>
                      <a:pt x="215" y="348"/>
                    </a:lnTo>
                    <a:lnTo>
                      <a:pt x="213" y="348"/>
                    </a:lnTo>
                    <a:lnTo>
                      <a:pt x="211" y="348"/>
                    </a:lnTo>
                    <a:lnTo>
                      <a:pt x="211" y="346"/>
                    </a:lnTo>
                    <a:lnTo>
                      <a:pt x="209" y="346"/>
                    </a:lnTo>
                    <a:lnTo>
                      <a:pt x="211" y="346"/>
                    </a:lnTo>
                    <a:lnTo>
                      <a:pt x="209" y="346"/>
                    </a:lnTo>
                    <a:lnTo>
                      <a:pt x="211" y="344"/>
                    </a:lnTo>
                    <a:lnTo>
                      <a:pt x="211" y="346"/>
                    </a:lnTo>
                    <a:lnTo>
                      <a:pt x="213" y="346"/>
                    </a:lnTo>
                    <a:lnTo>
                      <a:pt x="213" y="344"/>
                    </a:lnTo>
                    <a:lnTo>
                      <a:pt x="215" y="346"/>
                    </a:lnTo>
                    <a:close/>
                    <a:moveTo>
                      <a:pt x="192" y="342"/>
                    </a:moveTo>
                    <a:lnTo>
                      <a:pt x="190" y="342"/>
                    </a:lnTo>
                    <a:lnTo>
                      <a:pt x="188" y="342"/>
                    </a:lnTo>
                    <a:lnTo>
                      <a:pt x="188" y="340"/>
                    </a:lnTo>
                    <a:lnTo>
                      <a:pt x="188" y="342"/>
                    </a:lnTo>
                    <a:lnTo>
                      <a:pt x="188" y="340"/>
                    </a:lnTo>
                    <a:lnTo>
                      <a:pt x="186" y="340"/>
                    </a:lnTo>
                    <a:lnTo>
                      <a:pt x="186" y="342"/>
                    </a:lnTo>
                    <a:lnTo>
                      <a:pt x="188" y="342"/>
                    </a:lnTo>
                    <a:lnTo>
                      <a:pt x="186" y="342"/>
                    </a:lnTo>
                    <a:lnTo>
                      <a:pt x="188" y="342"/>
                    </a:lnTo>
                    <a:lnTo>
                      <a:pt x="188" y="344"/>
                    </a:lnTo>
                    <a:lnTo>
                      <a:pt x="186" y="344"/>
                    </a:lnTo>
                    <a:lnTo>
                      <a:pt x="188" y="344"/>
                    </a:lnTo>
                    <a:lnTo>
                      <a:pt x="186" y="344"/>
                    </a:lnTo>
                    <a:lnTo>
                      <a:pt x="186" y="342"/>
                    </a:lnTo>
                    <a:lnTo>
                      <a:pt x="184" y="342"/>
                    </a:lnTo>
                    <a:lnTo>
                      <a:pt x="186" y="342"/>
                    </a:lnTo>
                    <a:lnTo>
                      <a:pt x="184" y="342"/>
                    </a:lnTo>
                    <a:lnTo>
                      <a:pt x="184" y="340"/>
                    </a:lnTo>
                    <a:lnTo>
                      <a:pt x="184" y="342"/>
                    </a:lnTo>
                    <a:lnTo>
                      <a:pt x="184" y="340"/>
                    </a:lnTo>
                    <a:lnTo>
                      <a:pt x="184" y="342"/>
                    </a:lnTo>
                    <a:lnTo>
                      <a:pt x="182" y="342"/>
                    </a:lnTo>
                    <a:lnTo>
                      <a:pt x="182" y="340"/>
                    </a:lnTo>
                    <a:lnTo>
                      <a:pt x="184" y="340"/>
                    </a:lnTo>
                    <a:lnTo>
                      <a:pt x="182" y="340"/>
                    </a:lnTo>
                    <a:lnTo>
                      <a:pt x="181" y="340"/>
                    </a:lnTo>
                    <a:lnTo>
                      <a:pt x="179" y="340"/>
                    </a:lnTo>
                    <a:lnTo>
                      <a:pt x="179" y="342"/>
                    </a:lnTo>
                    <a:lnTo>
                      <a:pt x="179" y="340"/>
                    </a:lnTo>
                    <a:lnTo>
                      <a:pt x="179" y="342"/>
                    </a:lnTo>
                    <a:lnTo>
                      <a:pt x="181" y="342"/>
                    </a:lnTo>
                    <a:lnTo>
                      <a:pt x="179" y="342"/>
                    </a:lnTo>
                    <a:lnTo>
                      <a:pt x="181" y="342"/>
                    </a:lnTo>
                    <a:lnTo>
                      <a:pt x="182" y="342"/>
                    </a:lnTo>
                    <a:lnTo>
                      <a:pt x="182" y="344"/>
                    </a:lnTo>
                    <a:lnTo>
                      <a:pt x="182" y="342"/>
                    </a:lnTo>
                    <a:lnTo>
                      <a:pt x="184" y="342"/>
                    </a:lnTo>
                    <a:lnTo>
                      <a:pt x="184" y="344"/>
                    </a:lnTo>
                    <a:lnTo>
                      <a:pt x="184" y="342"/>
                    </a:lnTo>
                    <a:lnTo>
                      <a:pt x="184" y="344"/>
                    </a:lnTo>
                    <a:lnTo>
                      <a:pt x="182" y="344"/>
                    </a:lnTo>
                    <a:lnTo>
                      <a:pt x="184" y="344"/>
                    </a:lnTo>
                    <a:lnTo>
                      <a:pt x="182" y="344"/>
                    </a:lnTo>
                    <a:lnTo>
                      <a:pt x="182" y="346"/>
                    </a:lnTo>
                    <a:lnTo>
                      <a:pt x="182" y="344"/>
                    </a:lnTo>
                    <a:lnTo>
                      <a:pt x="182" y="346"/>
                    </a:lnTo>
                    <a:lnTo>
                      <a:pt x="184" y="346"/>
                    </a:lnTo>
                    <a:lnTo>
                      <a:pt x="186" y="346"/>
                    </a:lnTo>
                    <a:lnTo>
                      <a:pt x="188" y="346"/>
                    </a:lnTo>
                    <a:lnTo>
                      <a:pt x="186" y="346"/>
                    </a:lnTo>
                    <a:lnTo>
                      <a:pt x="188" y="346"/>
                    </a:lnTo>
                    <a:lnTo>
                      <a:pt x="186" y="346"/>
                    </a:lnTo>
                    <a:lnTo>
                      <a:pt x="184" y="346"/>
                    </a:lnTo>
                    <a:lnTo>
                      <a:pt x="184" y="348"/>
                    </a:lnTo>
                    <a:lnTo>
                      <a:pt x="184" y="346"/>
                    </a:lnTo>
                    <a:lnTo>
                      <a:pt x="184" y="348"/>
                    </a:lnTo>
                    <a:lnTo>
                      <a:pt x="184" y="346"/>
                    </a:lnTo>
                    <a:lnTo>
                      <a:pt x="184" y="348"/>
                    </a:lnTo>
                    <a:lnTo>
                      <a:pt x="184" y="346"/>
                    </a:lnTo>
                    <a:lnTo>
                      <a:pt x="182" y="346"/>
                    </a:lnTo>
                    <a:lnTo>
                      <a:pt x="181" y="346"/>
                    </a:lnTo>
                    <a:lnTo>
                      <a:pt x="179" y="346"/>
                    </a:lnTo>
                    <a:lnTo>
                      <a:pt x="177" y="346"/>
                    </a:lnTo>
                    <a:lnTo>
                      <a:pt x="177" y="344"/>
                    </a:lnTo>
                    <a:lnTo>
                      <a:pt x="175" y="344"/>
                    </a:lnTo>
                    <a:lnTo>
                      <a:pt x="177" y="344"/>
                    </a:lnTo>
                    <a:lnTo>
                      <a:pt x="175" y="344"/>
                    </a:lnTo>
                    <a:lnTo>
                      <a:pt x="177" y="344"/>
                    </a:lnTo>
                    <a:lnTo>
                      <a:pt x="175" y="344"/>
                    </a:lnTo>
                    <a:lnTo>
                      <a:pt x="177" y="344"/>
                    </a:lnTo>
                    <a:lnTo>
                      <a:pt x="177" y="346"/>
                    </a:lnTo>
                    <a:lnTo>
                      <a:pt x="179" y="346"/>
                    </a:lnTo>
                    <a:lnTo>
                      <a:pt x="181" y="346"/>
                    </a:lnTo>
                    <a:lnTo>
                      <a:pt x="182" y="346"/>
                    </a:lnTo>
                    <a:lnTo>
                      <a:pt x="184" y="348"/>
                    </a:lnTo>
                    <a:lnTo>
                      <a:pt x="184" y="346"/>
                    </a:lnTo>
                    <a:lnTo>
                      <a:pt x="184" y="348"/>
                    </a:lnTo>
                    <a:lnTo>
                      <a:pt x="182" y="348"/>
                    </a:lnTo>
                    <a:lnTo>
                      <a:pt x="181" y="348"/>
                    </a:lnTo>
                    <a:lnTo>
                      <a:pt x="181" y="350"/>
                    </a:lnTo>
                    <a:lnTo>
                      <a:pt x="181" y="348"/>
                    </a:lnTo>
                    <a:lnTo>
                      <a:pt x="181" y="350"/>
                    </a:lnTo>
                    <a:lnTo>
                      <a:pt x="179" y="350"/>
                    </a:lnTo>
                    <a:lnTo>
                      <a:pt x="181" y="350"/>
                    </a:lnTo>
                    <a:lnTo>
                      <a:pt x="181" y="348"/>
                    </a:lnTo>
                    <a:lnTo>
                      <a:pt x="181" y="350"/>
                    </a:lnTo>
                    <a:lnTo>
                      <a:pt x="181" y="348"/>
                    </a:lnTo>
                    <a:lnTo>
                      <a:pt x="182" y="348"/>
                    </a:lnTo>
                    <a:lnTo>
                      <a:pt x="182" y="350"/>
                    </a:lnTo>
                    <a:lnTo>
                      <a:pt x="182" y="348"/>
                    </a:lnTo>
                    <a:lnTo>
                      <a:pt x="184" y="348"/>
                    </a:lnTo>
                    <a:lnTo>
                      <a:pt x="186" y="348"/>
                    </a:lnTo>
                    <a:lnTo>
                      <a:pt x="186" y="346"/>
                    </a:lnTo>
                    <a:lnTo>
                      <a:pt x="186" y="348"/>
                    </a:lnTo>
                    <a:lnTo>
                      <a:pt x="186" y="346"/>
                    </a:lnTo>
                    <a:lnTo>
                      <a:pt x="186" y="348"/>
                    </a:lnTo>
                    <a:lnTo>
                      <a:pt x="186" y="346"/>
                    </a:lnTo>
                    <a:lnTo>
                      <a:pt x="186" y="348"/>
                    </a:lnTo>
                    <a:lnTo>
                      <a:pt x="186" y="346"/>
                    </a:lnTo>
                    <a:lnTo>
                      <a:pt x="188" y="346"/>
                    </a:lnTo>
                    <a:lnTo>
                      <a:pt x="190" y="346"/>
                    </a:lnTo>
                    <a:lnTo>
                      <a:pt x="190" y="344"/>
                    </a:lnTo>
                    <a:lnTo>
                      <a:pt x="190" y="346"/>
                    </a:lnTo>
                    <a:lnTo>
                      <a:pt x="190" y="344"/>
                    </a:lnTo>
                    <a:lnTo>
                      <a:pt x="190" y="346"/>
                    </a:lnTo>
                    <a:lnTo>
                      <a:pt x="190" y="344"/>
                    </a:lnTo>
                    <a:lnTo>
                      <a:pt x="192" y="344"/>
                    </a:lnTo>
                    <a:lnTo>
                      <a:pt x="194" y="344"/>
                    </a:lnTo>
                    <a:lnTo>
                      <a:pt x="192" y="344"/>
                    </a:lnTo>
                    <a:lnTo>
                      <a:pt x="192" y="346"/>
                    </a:lnTo>
                    <a:lnTo>
                      <a:pt x="190" y="346"/>
                    </a:lnTo>
                    <a:lnTo>
                      <a:pt x="188" y="348"/>
                    </a:lnTo>
                    <a:lnTo>
                      <a:pt x="188" y="350"/>
                    </a:lnTo>
                    <a:lnTo>
                      <a:pt x="186" y="350"/>
                    </a:lnTo>
                    <a:lnTo>
                      <a:pt x="184" y="350"/>
                    </a:lnTo>
                    <a:lnTo>
                      <a:pt x="184" y="352"/>
                    </a:lnTo>
                    <a:lnTo>
                      <a:pt x="182" y="352"/>
                    </a:lnTo>
                    <a:lnTo>
                      <a:pt x="181" y="352"/>
                    </a:lnTo>
                    <a:lnTo>
                      <a:pt x="179" y="352"/>
                    </a:lnTo>
                    <a:lnTo>
                      <a:pt x="177" y="352"/>
                    </a:lnTo>
                    <a:lnTo>
                      <a:pt x="173" y="352"/>
                    </a:lnTo>
                    <a:lnTo>
                      <a:pt x="173" y="350"/>
                    </a:lnTo>
                    <a:lnTo>
                      <a:pt x="173" y="348"/>
                    </a:lnTo>
                    <a:lnTo>
                      <a:pt x="171" y="348"/>
                    </a:lnTo>
                    <a:lnTo>
                      <a:pt x="171" y="346"/>
                    </a:lnTo>
                    <a:lnTo>
                      <a:pt x="169" y="346"/>
                    </a:lnTo>
                    <a:lnTo>
                      <a:pt x="167" y="344"/>
                    </a:lnTo>
                    <a:lnTo>
                      <a:pt x="165" y="344"/>
                    </a:lnTo>
                    <a:lnTo>
                      <a:pt x="165" y="342"/>
                    </a:lnTo>
                    <a:lnTo>
                      <a:pt x="165" y="340"/>
                    </a:lnTo>
                    <a:lnTo>
                      <a:pt x="163" y="340"/>
                    </a:lnTo>
                    <a:lnTo>
                      <a:pt x="163" y="339"/>
                    </a:lnTo>
                    <a:lnTo>
                      <a:pt x="165" y="339"/>
                    </a:lnTo>
                    <a:lnTo>
                      <a:pt x="163" y="339"/>
                    </a:lnTo>
                    <a:lnTo>
                      <a:pt x="165" y="339"/>
                    </a:lnTo>
                    <a:lnTo>
                      <a:pt x="165" y="337"/>
                    </a:lnTo>
                    <a:lnTo>
                      <a:pt x="167" y="337"/>
                    </a:lnTo>
                    <a:lnTo>
                      <a:pt x="167" y="335"/>
                    </a:lnTo>
                    <a:lnTo>
                      <a:pt x="169" y="335"/>
                    </a:lnTo>
                    <a:lnTo>
                      <a:pt x="171" y="335"/>
                    </a:lnTo>
                    <a:lnTo>
                      <a:pt x="173" y="337"/>
                    </a:lnTo>
                    <a:lnTo>
                      <a:pt x="175" y="337"/>
                    </a:lnTo>
                    <a:lnTo>
                      <a:pt x="173" y="337"/>
                    </a:lnTo>
                    <a:lnTo>
                      <a:pt x="175" y="337"/>
                    </a:lnTo>
                    <a:lnTo>
                      <a:pt x="177" y="339"/>
                    </a:lnTo>
                    <a:lnTo>
                      <a:pt x="179" y="337"/>
                    </a:lnTo>
                    <a:lnTo>
                      <a:pt x="181" y="337"/>
                    </a:lnTo>
                    <a:lnTo>
                      <a:pt x="182" y="337"/>
                    </a:lnTo>
                    <a:lnTo>
                      <a:pt x="184" y="337"/>
                    </a:lnTo>
                    <a:lnTo>
                      <a:pt x="182" y="337"/>
                    </a:lnTo>
                    <a:lnTo>
                      <a:pt x="184" y="339"/>
                    </a:lnTo>
                    <a:lnTo>
                      <a:pt x="186" y="339"/>
                    </a:lnTo>
                    <a:lnTo>
                      <a:pt x="188" y="340"/>
                    </a:lnTo>
                    <a:lnTo>
                      <a:pt x="190" y="340"/>
                    </a:lnTo>
                    <a:lnTo>
                      <a:pt x="192" y="340"/>
                    </a:lnTo>
                    <a:lnTo>
                      <a:pt x="192" y="342"/>
                    </a:lnTo>
                    <a:close/>
                    <a:moveTo>
                      <a:pt x="167" y="337"/>
                    </a:moveTo>
                    <a:lnTo>
                      <a:pt x="165" y="337"/>
                    </a:lnTo>
                    <a:lnTo>
                      <a:pt x="167" y="337"/>
                    </a:lnTo>
                    <a:close/>
                    <a:moveTo>
                      <a:pt x="177" y="342"/>
                    </a:moveTo>
                    <a:lnTo>
                      <a:pt x="177" y="340"/>
                    </a:lnTo>
                    <a:lnTo>
                      <a:pt x="177" y="342"/>
                    </a:lnTo>
                    <a:close/>
                    <a:moveTo>
                      <a:pt x="177" y="342"/>
                    </a:moveTo>
                    <a:lnTo>
                      <a:pt x="179" y="342"/>
                    </a:lnTo>
                    <a:lnTo>
                      <a:pt x="177" y="342"/>
                    </a:lnTo>
                    <a:close/>
                    <a:moveTo>
                      <a:pt x="182" y="344"/>
                    </a:moveTo>
                    <a:lnTo>
                      <a:pt x="181" y="344"/>
                    </a:lnTo>
                    <a:lnTo>
                      <a:pt x="182" y="344"/>
                    </a:lnTo>
                    <a:close/>
                    <a:moveTo>
                      <a:pt x="181" y="344"/>
                    </a:moveTo>
                    <a:lnTo>
                      <a:pt x="181" y="346"/>
                    </a:lnTo>
                    <a:lnTo>
                      <a:pt x="182" y="346"/>
                    </a:lnTo>
                    <a:lnTo>
                      <a:pt x="181" y="346"/>
                    </a:lnTo>
                    <a:lnTo>
                      <a:pt x="181" y="344"/>
                    </a:lnTo>
                    <a:close/>
                    <a:moveTo>
                      <a:pt x="223" y="348"/>
                    </a:moveTo>
                    <a:lnTo>
                      <a:pt x="225" y="348"/>
                    </a:lnTo>
                    <a:lnTo>
                      <a:pt x="223" y="348"/>
                    </a:lnTo>
                    <a:lnTo>
                      <a:pt x="221" y="348"/>
                    </a:lnTo>
                    <a:lnTo>
                      <a:pt x="223" y="348"/>
                    </a:lnTo>
                    <a:lnTo>
                      <a:pt x="221" y="348"/>
                    </a:lnTo>
                    <a:lnTo>
                      <a:pt x="221" y="346"/>
                    </a:lnTo>
                    <a:lnTo>
                      <a:pt x="223" y="346"/>
                    </a:lnTo>
                    <a:lnTo>
                      <a:pt x="225" y="348"/>
                    </a:lnTo>
                    <a:lnTo>
                      <a:pt x="223" y="348"/>
                    </a:lnTo>
                    <a:close/>
                    <a:moveTo>
                      <a:pt x="225" y="348"/>
                    </a:moveTo>
                    <a:lnTo>
                      <a:pt x="225" y="346"/>
                    </a:lnTo>
                    <a:lnTo>
                      <a:pt x="227" y="346"/>
                    </a:lnTo>
                    <a:lnTo>
                      <a:pt x="227" y="348"/>
                    </a:lnTo>
                    <a:lnTo>
                      <a:pt x="225" y="348"/>
                    </a:lnTo>
                    <a:close/>
                    <a:moveTo>
                      <a:pt x="425" y="398"/>
                    </a:moveTo>
                    <a:lnTo>
                      <a:pt x="423" y="398"/>
                    </a:lnTo>
                    <a:lnTo>
                      <a:pt x="423" y="400"/>
                    </a:lnTo>
                    <a:lnTo>
                      <a:pt x="423" y="398"/>
                    </a:lnTo>
                    <a:lnTo>
                      <a:pt x="423" y="396"/>
                    </a:lnTo>
                    <a:lnTo>
                      <a:pt x="423" y="394"/>
                    </a:lnTo>
                    <a:lnTo>
                      <a:pt x="423" y="392"/>
                    </a:lnTo>
                    <a:lnTo>
                      <a:pt x="421" y="392"/>
                    </a:lnTo>
                    <a:lnTo>
                      <a:pt x="423" y="392"/>
                    </a:lnTo>
                    <a:lnTo>
                      <a:pt x="423" y="390"/>
                    </a:lnTo>
                    <a:lnTo>
                      <a:pt x="425" y="389"/>
                    </a:lnTo>
                    <a:lnTo>
                      <a:pt x="425" y="390"/>
                    </a:lnTo>
                    <a:lnTo>
                      <a:pt x="423" y="390"/>
                    </a:lnTo>
                    <a:lnTo>
                      <a:pt x="425" y="390"/>
                    </a:lnTo>
                    <a:lnTo>
                      <a:pt x="425" y="392"/>
                    </a:lnTo>
                    <a:lnTo>
                      <a:pt x="426" y="392"/>
                    </a:lnTo>
                    <a:lnTo>
                      <a:pt x="425" y="392"/>
                    </a:lnTo>
                    <a:lnTo>
                      <a:pt x="426" y="394"/>
                    </a:lnTo>
                    <a:lnTo>
                      <a:pt x="425" y="394"/>
                    </a:lnTo>
                    <a:lnTo>
                      <a:pt x="425" y="396"/>
                    </a:lnTo>
                    <a:lnTo>
                      <a:pt x="425" y="398"/>
                    </a:lnTo>
                    <a:lnTo>
                      <a:pt x="425" y="396"/>
                    </a:lnTo>
                    <a:lnTo>
                      <a:pt x="425" y="398"/>
                    </a:lnTo>
                    <a:close/>
                    <a:moveTo>
                      <a:pt x="200" y="340"/>
                    </a:moveTo>
                    <a:lnTo>
                      <a:pt x="202" y="340"/>
                    </a:lnTo>
                    <a:lnTo>
                      <a:pt x="202" y="339"/>
                    </a:lnTo>
                    <a:lnTo>
                      <a:pt x="204" y="339"/>
                    </a:lnTo>
                    <a:lnTo>
                      <a:pt x="206" y="339"/>
                    </a:lnTo>
                    <a:lnTo>
                      <a:pt x="207" y="339"/>
                    </a:lnTo>
                    <a:lnTo>
                      <a:pt x="206" y="339"/>
                    </a:lnTo>
                    <a:lnTo>
                      <a:pt x="207" y="339"/>
                    </a:lnTo>
                    <a:lnTo>
                      <a:pt x="206" y="339"/>
                    </a:lnTo>
                    <a:lnTo>
                      <a:pt x="206" y="340"/>
                    </a:lnTo>
                    <a:lnTo>
                      <a:pt x="204" y="340"/>
                    </a:lnTo>
                    <a:lnTo>
                      <a:pt x="206" y="340"/>
                    </a:lnTo>
                    <a:lnTo>
                      <a:pt x="206" y="342"/>
                    </a:lnTo>
                    <a:lnTo>
                      <a:pt x="204" y="342"/>
                    </a:lnTo>
                    <a:lnTo>
                      <a:pt x="202" y="342"/>
                    </a:lnTo>
                    <a:lnTo>
                      <a:pt x="200" y="342"/>
                    </a:lnTo>
                    <a:lnTo>
                      <a:pt x="200" y="340"/>
                    </a:lnTo>
                    <a:lnTo>
                      <a:pt x="198" y="340"/>
                    </a:lnTo>
                    <a:lnTo>
                      <a:pt x="200" y="340"/>
                    </a:lnTo>
                    <a:close/>
                    <a:moveTo>
                      <a:pt x="207" y="337"/>
                    </a:moveTo>
                    <a:lnTo>
                      <a:pt x="207" y="339"/>
                    </a:lnTo>
                    <a:lnTo>
                      <a:pt x="207" y="337"/>
                    </a:lnTo>
                    <a:close/>
                    <a:moveTo>
                      <a:pt x="265" y="350"/>
                    </a:moveTo>
                    <a:lnTo>
                      <a:pt x="263" y="350"/>
                    </a:lnTo>
                    <a:lnTo>
                      <a:pt x="263" y="352"/>
                    </a:lnTo>
                    <a:lnTo>
                      <a:pt x="263" y="350"/>
                    </a:lnTo>
                    <a:lnTo>
                      <a:pt x="265" y="350"/>
                    </a:lnTo>
                    <a:lnTo>
                      <a:pt x="265" y="352"/>
                    </a:lnTo>
                    <a:lnTo>
                      <a:pt x="263" y="352"/>
                    </a:lnTo>
                    <a:lnTo>
                      <a:pt x="261" y="352"/>
                    </a:lnTo>
                    <a:lnTo>
                      <a:pt x="259" y="352"/>
                    </a:lnTo>
                    <a:lnTo>
                      <a:pt x="261" y="352"/>
                    </a:lnTo>
                    <a:lnTo>
                      <a:pt x="263" y="350"/>
                    </a:lnTo>
                    <a:lnTo>
                      <a:pt x="265" y="350"/>
                    </a:lnTo>
                    <a:lnTo>
                      <a:pt x="263" y="350"/>
                    </a:lnTo>
                    <a:lnTo>
                      <a:pt x="265" y="350"/>
                    </a:lnTo>
                    <a:close/>
                    <a:moveTo>
                      <a:pt x="482" y="379"/>
                    </a:moveTo>
                    <a:lnTo>
                      <a:pt x="482" y="377"/>
                    </a:lnTo>
                    <a:lnTo>
                      <a:pt x="482" y="379"/>
                    </a:lnTo>
                    <a:lnTo>
                      <a:pt x="484" y="379"/>
                    </a:lnTo>
                    <a:lnTo>
                      <a:pt x="484" y="377"/>
                    </a:lnTo>
                    <a:lnTo>
                      <a:pt x="484" y="379"/>
                    </a:lnTo>
                    <a:lnTo>
                      <a:pt x="484" y="377"/>
                    </a:lnTo>
                    <a:lnTo>
                      <a:pt x="482" y="377"/>
                    </a:lnTo>
                    <a:lnTo>
                      <a:pt x="480" y="377"/>
                    </a:lnTo>
                    <a:lnTo>
                      <a:pt x="482" y="377"/>
                    </a:lnTo>
                    <a:lnTo>
                      <a:pt x="484" y="377"/>
                    </a:lnTo>
                    <a:lnTo>
                      <a:pt x="484" y="375"/>
                    </a:lnTo>
                    <a:lnTo>
                      <a:pt x="484" y="377"/>
                    </a:lnTo>
                    <a:lnTo>
                      <a:pt x="484" y="375"/>
                    </a:lnTo>
                    <a:lnTo>
                      <a:pt x="484" y="377"/>
                    </a:lnTo>
                    <a:lnTo>
                      <a:pt x="484" y="375"/>
                    </a:lnTo>
                    <a:lnTo>
                      <a:pt x="484" y="377"/>
                    </a:lnTo>
                    <a:lnTo>
                      <a:pt x="484" y="375"/>
                    </a:lnTo>
                    <a:lnTo>
                      <a:pt x="486" y="375"/>
                    </a:lnTo>
                    <a:lnTo>
                      <a:pt x="484" y="375"/>
                    </a:lnTo>
                    <a:lnTo>
                      <a:pt x="486" y="375"/>
                    </a:lnTo>
                    <a:lnTo>
                      <a:pt x="486" y="377"/>
                    </a:lnTo>
                    <a:lnTo>
                      <a:pt x="486" y="375"/>
                    </a:lnTo>
                    <a:lnTo>
                      <a:pt x="486" y="377"/>
                    </a:lnTo>
                    <a:lnTo>
                      <a:pt x="486" y="379"/>
                    </a:lnTo>
                    <a:lnTo>
                      <a:pt x="488" y="379"/>
                    </a:lnTo>
                    <a:lnTo>
                      <a:pt x="486" y="379"/>
                    </a:lnTo>
                    <a:lnTo>
                      <a:pt x="486" y="377"/>
                    </a:lnTo>
                    <a:lnTo>
                      <a:pt x="488" y="377"/>
                    </a:lnTo>
                    <a:lnTo>
                      <a:pt x="490" y="377"/>
                    </a:lnTo>
                    <a:lnTo>
                      <a:pt x="490" y="379"/>
                    </a:lnTo>
                    <a:lnTo>
                      <a:pt x="492" y="381"/>
                    </a:lnTo>
                    <a:lnTo>
                      <a:pt x="494" y="381"/>
                    </a:lnTo>
                    <a:lnTo>
                      <a:pt x="492" y="381"/>
                    </a:lnTo>
                    <a:lnTo>
                      <a:pt x="492" y="383"/>
                    </a:lnTo>
                    <a:lnTo>
                      <a:pt x="494" y="383"/>
                    </a:lnTo>
                    <a:lnTo>
                      <a:pt x="494" y="385"/>
                    </a:lnTo>
                    <a:lnTo>
                      <a:pt x="494" y="383"/>
                    </a:lnTo>
                    <a:lnTo>
                      <a:pt x="494" y="385"/>
                    </a:lnTo>
                    <a:lnTo>
                      <a:pt x="494" y="387"/>
                    </a:lnTo>
                    <a:lnTo>
                      <a:pt x="496" y="387"/>
                    </a:lnTo>
                    <a:lnTo>
                      <a:pt x="494" y="389"/>
                    </a:lnTo>
                    <a:lnTo>
                      <a:pt x="494" y="387"/>
                    </a:lnTo>
                    <a:lnTo>
                      <a:pt x="494" y="385"/>
                    </a:lnTo>
                    <a:lnTo>
                      <a:pt x="492" y="385"/>
                    </a:lnTo>
                    <a:lnTo>
                      <a:pt x="490" y="385"/>
                    </a:lnTo>
                    <a:lnTo>
                      <a:pt x="488" y="383"/>
                    </a:lnTo>
                    <a:lnTo>
                      <a:pt x="488" y="381"/>
                    </a:lnTo>
                    <a:lnTo>
                      <a:pt x="486" y="383"/>
                    </a:lnTo>
                    <a:lnTo>
                      <a:pt x="484" y="383"/>
                    </a:lnTo>
                    <a:lnTo>
                      <a:pt x="482" y="383"/>
                    </a:lnTo>
                    <a:lnTo>
                      <a:pt x="484" y="383"/>
                    </a:lnTo>
                    <a:lnTo>
                      <a:pt x="482" y="383"/>
                    </a:lnTo>
                    <a:lnTo>
                      <a:pt x="484" y="383"/>
                    </a:lnTo>
                    <a:lnTo>
                      <a:pt x="482" y="383"/>
                    </a:lnTo>
                    <a:lnTo>
                      <a:pt x="482" y="381"/>
                    </a:lnTo>
                    <a:lnTo>
                      <a:pt x="482" y="379"/>
                    </a:lnTo>
                    <a:lnTo>
                      <a:pt x="482" y="381"/>
                    </a:lnTo>
                    <a:lnTo>
                      <a:pt x="482" y="379"/>
                    </a:lnTo>
                    <a:lnTo>
                      <a:pt x="482" y="381"/>
                    </a:lnTo>
                    <a:lnTo>
                      <a:pt x="482" y="383"/>
                    </a:lnTo>
                    <a:lnTo>
                      <a:pt x="482" y="381"/>
                    </a:lnTo>
                    <a:lnTo>
                      <a:pt x="484" y="381"/>
                    </a:lnTo>
                    <a:lnTo>
                      <a:pt x="482" y="381"/>
                    </a:lnTo>
                    <a:lnTo>
                      <a:pt x="482" y="379"/>
                    </a:lnTo>
                    <a:lnTo>
                      <a:pt x="482" y="381"/>
                    </a:lnTo>
                    <a:lnTo>
                      <a:pt x="482" y="379"/>
                    </a:lnTo>
                    <a:lnTo>
                      <a:pt x="482" y="381"/>
                    </a:lnTo>
                    <a:lnTo>
                      <a:pt x="482" y="379"/>
                    </a:lnTo>
                    <a:lnTo>
                      <a:pt x="482" y="381"/>
                    </a:lnTo>
                    <a:lnTo>
                      <a:pt x="482" y="379"/>
                    </a:lnTo>
                    <a:lnTo>
                      <a:pt x="480" y="379"/>
                    </a:lnTo>
                    <a:lnTo>
                      <a:pt x="482" y="379"/>
                    </a:lnTo>
                    <a:lnTo>
                      <a:pt x="480" y="381"/>
                    </a:lnTo>
                    <a:lnTo>
                      <a:pt x="480" y="379"/>
                    </a:lnTo>
                    <a:lnTo>
                      <a:pt x="482" y="379"/>
                    </a:lnTo>
                    <a:close/>
                    <a:moveTo>
                      <a:pt x="469" y="364"/>
                    </a:moveTo>
                    <a:lnTo>
                      <a:pt x="469" y="365"/>
                    </a:lnTo>
                    <a:lnTo>
                      <a:pt x="469" y="364"/>
                    </a:lnTo>
                    <a:lnTo>
                      <a:pt x="467" y="364"/>
                    </a:lnTo>
                    <a:lnTo>
                      <a:pt x="467" y="362"/>
                    </a:lnTo>
                    <a:lnTo>
                      <a:pt x="465" y="362"/>
                    </a:lnTo>
                    <a:lnTo>
                      <a:pt x="467" y="362"/>
                    </a:lnTo>
                    <a:lnTo>
                      <a:pt x="465" y="362"/>
                    </a:lnTo>
                    <a:lnTo>
                      <a:pt x="467" y="362"/>
                    </a:lnTo>
                    <a:lnTo>
                      <a:pt x="467" y="360"/>
                    </a:lnTo>
                    <a:lnTo>
                      <a:pt x="467" y="362"/>
                    </a:lnTo>
                    <a:lnTo>
                      <a:pt x="467" y="360"/>
                    </a:lnTo>
                    <a:lnTo>
                      <a:pt x="467" y="362"/>
                    </a:lnTo>
                    <a:lnTo>
                      <a:pt x="467" y="364"/>
                    </a:lnTo>
                    <a:lnTo>
                      <a:pt x="469" y="364"/>
                    </a:lnTo>
                    <a:lnTo>
                      <a:pt x="471" y="364"/>
                    </a:lnTo>
                    <a:lnTo>
                      <a:pt x="471" y="365"/>
                    </a:lnTo>
                    <a:lnTo>
                      <a:pt x="471" y="367"/>
                    </a:lnTo>
                    <a:lnTo>
                      <a:pt x="471" y="369"/>
                    </a:lnTo>
                    <a:lnTo>
                      <a:pt x="471" y="371"/>
                    </a:lnTo>
                    <a:lnTo>
                      <a:pt x="473" y="371"/>
                    </a:lnTo>
                    <a:lnTo>
                      <a:pt x="473" y="369"/>
                    </a:lnTo>
                    <a:lnTo>
                      <a:pt x="473" y="371"/>
                    </a:lnTo>
                    <a:lnTo>
                      <a:pt x="473" y="373"/>
                    </a:lnTo>
                    <a:lnTo>
                      <a:pt x="471" y="373"/>
                    </a:lnTo>
                    <a:lnTo>
                      <a:pt x="471" y="375"/>
                    </a:lnTo>
                    <a:lnTo>
                      <a:pt x="471" y="373"/>
                    </a:lnTo>
                    <a:lnTo>
                      <a:pt x="469" y="373"/>
                    </a:lnTo>
                    <a:lnTo>
                      <a:pt x="469" y="371"/>
                    </a:lnTo>
                    <a:lnTo>
                      <a:pt x="469" y="373"/>
                    </a:lnTo>
                    <a:lnTo>
                      <a:pt x="469" y="371"/>
                    </a:lnTo>
                    <a:lnTo>
                      <a:pt x="467" y="371"/>
                    </a:lnTo>
                    <a:lnTo>
                      <a:pt x="467" y="369"/>
                    </a:lnTo>
                    <a:lnTo>
                      <a:pt x="469" y="369"/>
                    </a:lnTo>
                    <a:lnTo>
                      <a:pt x="469" y="367"/>
                    </a:lnTo>
                    <a:lnTo>
                      <a:pt x="471" y="367"/>
                    </a:lnTo>
                    <a:lnTo>
                      <a:pt x="469" y="367"/>
                    </a:lnTo>
                    <a:lnTo>
                      <a:pt x="471" y="365"/>
                    </a:lnTo>
                    <a:lnTo>
                      <a:pt x="469" y="365"/>
                    </a:lnTo>
                    <a:lnTo>
                      <a:pt x="469" y="367"/>
                    </a:lnTo>
                    <a:lnTo>
                      <a:pt x="469" y="369"/>
                    </a:lnTo>
                    <a:lnTo>
                      <a:pt x="469" y="367"/>
                    </a:lnTo>
                    <a:lnTo>
                      <a:pt x="467" y="367"/>
                    </a:lnTo>
                    <a:lnTo>
                      <a:pt x="465" y="367"/>
                    </a:lnTo>
                    <a:lnTo>
                      <a:pt x="465" y="365"/>
                    </a:lnTo>
                    <a:lnTo>
                      <a:pt x="463" y="365"/>
                    </a:lnTo>
                    <a:lnTo>
                      <a:pt x="461" y="365"/>
                    </a:lnTo>
                    <a:lnTo>
                      <a:pt x="461" y="364"/>
                    </a:lnTo>
                    <a:lnTo>
                      <a:pt x="461" y="362"/>
                    </a:lnTo>
                    <a:lnTo>
                      <a:pt x="461" y="360"/>
                    </a:lnTo>
                    <a:lnTo>
                      <a:pt x="463" y="360"/>
                    </a:lnTo>
                    <a:lnTo>
                      <a:pt x="463" y="358"/>
                    </a:lnTo>
                    <a:lnTo>
                      <a:pt x="465" y="358"/>
                    </a:lnTo>
                    <a:lnTo>
                      <a:pt x="467" y="358"/>
                    </a:lnTo>
                    <a:lnTo>
                      <a:pt x="465" y="360"/>
                    </a:lnTo>
                    <a:lnTo>
                      <a:pt x="465" y="362"/>
                    </a:lnTo>
                    <a:lnTo>
                      <a:pt x="465" y="364"/>
                    </a:lnTo>
                    <a:lnTo>
                      <a:pt x="467" y="364"/>
                    </a:lnTo>
                    <a:lnTo>
                      <a:pt x="469" y="364"/>
                    </a:lnTo>
                    <a:lnTo>
                      <a:pt x="469" y="365"/>
                    </a:lnTo>
                    <a:lnTo>
                      <a:pt x="471" y="365"/>
                    </a:lnTo>
                    <a:lnTo>
                      <a:pt x="469" y="365"/>
                    </a:lnTo>
                    <a:lnTo>
                      <a:pt x="469" y="364"/>
                    </a:lnTo>
                    <a:close/>
                    <a:moveTo>
                      <a:pt x="434" y="346"/>
                    </a:moveTo>
                    <a:lnTo>
                      <a:pt x="432" y="346"/>
                    </a:lnTo>
                    <a:lnTo>
                      <a:pt x="434" y="346"/>
                    </a:lnTo>
                    <a:close/>
                    <a:moveTo>
                      <a:pt x="242" y="219"/>
                    </a:moveTo>
                    <a:lnTo>
                      <a:pt x="242" y="221"/>
                    </a:lnTo>
                    <a:lnTo>
                      <a:pt x="244" y="219"/>
                    </a:lnTo>
                    <a:lnTo>
                      <a:pt x="244" y="221"/>
                    </a:lnTo>
                    <a:lnTo>
                      <a:pt x="242" y="221"/>
                    </a:lnTo>
                    <a:lnTo>
                      <a:pt x="244" y="221"/>
                    </a:lnTo>
                    <a:lnTo>
                      <a:pt x="242" y="221"/>
                    </a:lnTo>
                    <a:lnTo>
                      <a:pt x="240" y="219"/>
                    </a:lnTo>
                    <a:lnTo>
                      <a:pt x="242" y="219"/>
                    </a:lnTo>
                    <a:close/>
                    <a:moveTo>
                      <a:pt x="425" y="250"/>
                    </a:moveTo>
                    <a:lnTo>
                      <a:pt x="426" y="250"/>
                    </a:lnTo>
                    <a:lnTo>
                      <a:pt x="426" y="252"/>
                    </a:lnTo>
                    <a:lnTo>
                      <a:pt x="425" y="252"/>
                    </a:lnTo>
                    <a:lnTo>
                      <a:pt x="425" y="254"/>
                    </a:lnTo>
                    <a:lnTo>
                      <a:pt x="423" y="252"/>
                    </a:lnTo>
                    <a:lnTo>
                      <a:pt x="423" y="250"/>
                    </a:lnTo>
                    <a:lnTo>
                      <a:pt x="423" y="248"/>
                    </a:lnTo>
                    <a:lnTo>
                      <a:pt x="425" y="248"/>
                    </a:lnTo>
                    <a:lnTo>
                      <a:pt x="425" y="250"/>
                    </a:lnTo>
                    <a:close/>
                    <a:moveTo>
                      <a:pt x="227" y="125"/>
                    </a:moveTo>
                    <a:lnTo>
                      <a:pt x="225" y="127"/>
                    </a:lnTo>
                    <a:lnTo>
                      <a:pt x="227" y="127"/>
                    </a:lnTo>
                    <a:lnTo>
                      <a:pt x="227" y="129"/>
                    </a:lnTo>
                    <a:lnTo>
                      <a:pt x="227" y="131"/>
                    </a:lnTo>
                    <a:lnTo>
                      <a:pt x="229" y="131"/>
                    </a:lnTo>
                    <a:lnTo>
                      <a:pt x="231" y="131"/>
                    </a:lnTo>
                    <a:lnTo>
                      <a:pt x="232" y="131"/>
                    </a:lnTo>
                    <a:lnTo>
                      <a:pt x="232" y="133"/>
                    </a:lnTo>
                    <a:lnTo>
                      <a:pt x="232" y="135"/>
                    </a:lnTo>
                    <a:lnTo>
                      <a:pt x="231" y="135"/>
                    </a:lnTo>
                    <a:lnTo>
                      <a:pt x="231" y="133"/>
                    </a:lnTo>
                    <a:lnTo>
                      <a:pt x="229" y="133"/>
                    </a:lnTo>
                    <a:lnTo>
                      <a:pt x="229" y="135"/>
                    </a:lnTo>
                    <a:lnTo>
                      <a:pt x="229" y="133"/>
                    </a:lnTo>
                    <a:lnTo>
                      <a:pt x="227" y="133"/>
                    </a:lnTo>
                    <a:lnTo>
                      <a:pt x="225" y="133"/>
                    </a:lnTo>
                    <a:lnTo>
                      <a:pt x="225" y="131"/>
                    </a:lnTo>
                    <a:lnTo>
                      <a:pt x="223" y="131"/>
                    </a:lnTo>
                    <a:lnTo>
                      <a:pt x="223" y="129"/>
                    </a:lnTo>
                    <a:lnTo>
                      <a:pt x="223" y="127"/>
                    </a:lnTo>
                    <a:lnTo>
                      <a:pt x="221" y="127"/>
                    </a:lnTo>
                    <a:lnTo>
                      <a:pt x="221" y="125"/>
                    </a:lnTo>
                    <a:lnTo>
                      <a:pt x="223" y="125"/>
                    </a:lnTo>
                    <a:lnTo>
                      <a:pt x="225" y="125"/>
                    </a:lnTo>
                    <a:lnTo>
                      <a:pt x="227" y="125"/>
                    </a:lnTo>
                    <a:close/>
                    <a:moveTo>
                      <a:pt x="423" y="81"/>
                    </a:moveTo>
                    <a:lnTo>
                      <a:pt x="421" y="81"/>
                    </a:lnTo>
                    <a:lnTo>
                      <a:pt x="423" y="81"/>
                    </a:lnTo>
                    <a:lnTo>
                      <a:pt x="421" y="81"/>
                    </a:lnTo>
                    <a:lnTo>
                      <a:pt x="419" y="81"/>
                    </a:lnTo>
                    <a:lnTo>
                      <a:pt x="421" y="81"/>
                    </a:lnTo>
                    <a:lnTo>
                      <a:pt x="423" y="81"/>
                    </a:lnTo>
                    <a:lnTo>
                      <a:pt x="423" y="83"/>
                    </a:lnTo>
                    <a:lnTo>
                      <a:pt x="421" y="83"/>
                    </a:lnTo>
                    <a:lnTo>
                      <a:pt x="421" y="85"/>
                    </a:lnTo>
                    <a:lnTo>
                      <a:pt x="421" y="83"/>
                    </a:lnTo>
                    <a:lnTo>
                      <a:pt x="419" y="83"/>
                    </a:lnTo>
                    <a:lnTo>
                      <a:pt x="421" y="83"/>
                    </a:lnTo>
                    <a:lnTo>
                      <a:pt x="419" y="83"/>
                    </a:lnTo>
                    <a:lnTo>
                      <a:pt x="421" y="83"/>
                    </a:lnTo>
                    <a:lnTo>
                      <a:pt x="419" y="83"/>
                    </a:lnTo>
                    <a:lnTo>
                      <a:pt x="419" y="85"/>
                    </a:lnTo>
                    <a:lnTo>
                      <a:pt x="419" y="87"/>
                    </a:lnTo>
                    <a:lnTo>
                      <a:pt x="419" y="85"/>
                    </a:lnTo>
                    <a:lnTo>
                      <a:pt x="419" y="87"/>
                    </a:lnTo>
                    <a:lnTo>
                      <a:pt x="417" y="87"/>
                    </a:lnTo>
                    <a:lnTo>
                      <a:pt x="417" y="85"/>
                    </a:lnTo>
                    <a:lnTo>
                      <a:pt x="417" y="87"/>
                    </a:lnTo>
                    <a:lnTo>
                      <a:pt x="419" y="87"/>
                    </a:lnTo>
                    <a:lnTo>
                      <a:pt x="417" y="89"/>
                    </a:lnTo>
                    <a:lnTo>
                      <a:pt x="417" y="91"/>
                    </a:lnTo>
                    <a:lnTo>
                      <a:pt x="417" y="92"/>
                    </a:lnTo>
                    <a:lnTo>
                      <a:pt x="417" y="94"/>
                    </a:lnTo>
                    <a:lnTo>
                      <a:pt x="417" y="96"/>
                    </a:lnTo>
                    <a:lnTo>
                      <a:pt x="419" y="96"/>
                    </a:lnTo>
                    <a:lnTo>
                      <a:pt x="419" y="98"/>
                    </a:lnTo>
                    <a:lnTo>
                      <a:pt x="421" y="100"/>
                    </a:lnTo>
                    <a:lnTo>
                      <a:pt x="419" y="100"/>
                    </a:lnTo>
                    <a:lnTo>
                      <a:pt x="419" y="98"/>
                    </a:lnTo>
                    <a:lnTo>
                      <a:pt x="417" y="98"/>
                    </a:lnTo>
                    <a:lnTo>
                      <a:pt x="415" y="98"/>
                    </a:lnTo>
                    <a:lnTo>
                      <a:pt x="417" y="98"/>
                    </a:lnTo>
                    <a:lnTo>
                      <a:pt x="415" y="98"/>
                    </a:lnTo>
                    <a:lnTo>
                      <a:pt x="417" y="98"/>
                    </a:lnTo>
                    <a:lnTo>
                      <a:pt x="419" y="98"/>
                    </a:lnTo>
                    <a:lnTo>
                      <a:pt x="417" y="98"/>
                    </a:lnTo>
                    <a:lnTo>
                      <a:pt x="419" y="98"/>
                    </a:lnTo>
                    <a:lnTo>
                      <a:pt x="417" y="98"/>
                    </a:lnTo>
                    <a:lnTo>
                      <a:pt x="419" y="100"/>
                    </a:lnTo>
                    <a:lnTo>
                      <a:pt x="421" y="100"/>
                    </a:lnTo>
                    <a:lnTo>
                      <a:pt x="421" y="102"/>
                    </a:lnTo>
                    <a:lnTo>
                      <a:pt x="419" y="102"/>
                    </a:lnTo>
                    <a:lnTo>
                      <a:pt x="419" y="104"/>
                    </a:lnTo>
                    <a:lnTo>
                      <a:pt x="421" y="106"/>
                    </a:lnTo>
                    <a:lnTo>
                      <a:pt x="421" y="108"/>
                    </a:lnTo>
                    <a:lnTo>
                      <a:pt x="419" y="108"/>
                    </a:lnTo>
                    <a:lnTo>
                      <a:pt x="419" y="106"/>
                    </a:lnTo>
                    <a:lnTo>
                      <a:pt x="419" y="108"/>
                    </a:lnTo>
                    <a:lnTo>
                      <a:pt x="419" y="106"/>
                    </a:lnTo>
                    <a:lnTo>
                      <a:pt x="417" y="106"/>
                    </a:lnTo>
                    <a:lnTo>
                      <a:pt x="417" y="108"/>
                    </a:lnTo>
                    <a:lnTo>
                      <a:pt x="417" y="106"/>
                    </a:lnTo>
                    <a:lnTo>
                      <a:pt x="419" y="106"/>
                    </a:lnTo>
                    <a:lnTo>
                      <a:pt x="419" y="108"/>
                    </a:lnTo>
                    <a:lnTo>
                      <a:pt x="421" y="108"/>
                    </a:lnTo>
                    <a:lnTo>
                      <a:pt x="419" y="108"/>
                    </a:lnTo>
                    <a:lnTo>
                      <a:pt x="417" y="108"/>
                    </a:lnTo>
                    <a:lnTo>
                      <a:pt x="417" y="110"/>
                    </a:lnTo>
                    <a:lnTo>
                      <a:pt x="417" y="112"/>
                    </a:lnTo>
                    <a:lnTo>
                      <a:pt x="415" y="112"/>
                    </a:lnTo>
                    <a:lnTo>
                      <a:pt x="415" y="110"/>
                    </a:lnTo>
                    <a:lnTo>
                      <a:pt x="413" y="112"/>
                    </a:lnTo>
                    <a:lnTo>
                      <a:pt x="413" y="114"/>
                    </a:lnTo>
                    <a:lnTo>
                      <a:pt x="413" y="116"/>
                    </a:lnTo>
                    <a:lnTo>
                      <a:pt x="413" y="117"/>
                    </a:lnTo>
                    <a:lnTo>
                      <a:pt x="415" y="117"/>
                    </a:lnTo>
                    <a:lnTo>
                      <a:pt x="415" y="119"/>
                    </a:lnTo>
                    <a:lnTo>
                      <a:pt x="415" y="117"/>
                    </a:lnTo>
                    <a:lnTo>
                      <a:pt x="415" y="119"/>
                    </a:lnTo>
                    <a:lnTo>
                      <a:pt x="417" y="119"/>
                    </a:lnTo>
                    <a:lnTo>
                      <a:pt x="417" y="121"/>
                    </a:lnTo>
                    <a:lnTo>
                      <a:pt x="419" y="121"/>
                    </a:lnTo>
                    <a:lnTo>
                      <a:pt x="417" y="121"/>
                    </a:lnTo>
                    <a:lnTo>
                      <a:pt x="417" y="123"/>
                    </a:lnTo>
                    <a:lnTo>
                      <a:pt x="417" y="121"/>
                    </a:lnTo>
                    <a:lnTo>
                      <a:pt x="419" y="121"/>
                    </a:lnTo>
                    <a:lnTo>
                      <a:pt x="421" y="123"/>
                    </a:lnTo>
                    <a:lnTo>
                      <a:pt x="421" y="125"/>
                    </a:lnTo>
                    <a:lnTo>
                      <a:pt x="421" y="127"/>
                    </a:lnTo>
                    <a:lnTo>
                      <a:pt x="421" y="125"/>
                    </a:lnTo>
                    <a:lnTo>
                      <a:pt x="419" y="125"/>
                    </a:lnTo>
                    <a:lnTo>
                      <a:pt x="419" y="127"/>
                    </a:lnTo>
                    <a:lnTo>
                      <a:pt x="417" y="127"/>
                    </a:lnTo>
                    <a:lnTo>
                      <a:pt x="419" y="127"/>
                    </a:lnTo>
                    <a:lnTo>
                      <a:pt x="419" y="129"/>
                    </a:lnTo>
                    <a:lnTo>
                      <a:pt x="417" y="129"/>
                    </a:lnTo>
                    <a:lnTo>
                      <a:pt x="415" y="129"/>
                    </a:lnTo>
                    <a:lnTo>
                      <a:pt x="415" y="131"/>
                    </a:lnTo>
                    <a:lnTo>
                      <a:pt x="417" y="131"/>
                    </a:lnTo>
                    <a:lnTo>
                      <a:pt x="415" y="131"/>
                    </a:lnTo>
                    <a:lnTo>
                      <a:pt x="415" y="129"/>
                    </a:lnTo>
                    <a:lnTo>
                      <a:pt x="417" y="129"/>
                    </a:lnTo>
                    <a:lnTo>
                      <a:pt x="419" y="129"/>
                    </a:lnTo>
                    <a:lnTo>
                      <a:pt x="419" y="127"/>
                    </a:lnTo>
                    <a:lnTo>
                      <a:pt x="417" y="127"/>
                    </a:lnTo>
                    <a:lnTo>
                      <a:pt x="419" y="127"/>
                    </a:lnTo>
                    <a:lnTo>
                      <a:pt x="419" y="125"/>
                    </a:lnTo>
                    <a:lnTo>
                      <a:pt x="421" y="127"/>
                    </a:lnTo>
                    <a:lnTo>
                      <a:pt x="421" y="125"/>
                    </a:lnTo>
                    <a:lnTo>
                      <a:pt x="421" y="123"/>
                    </a:lnTo>
                    <a:lnTo>
                      <a:pt x="423" y="123"/>
                    </a:lnTo>
                    <a:lnTo>
                      <a:pt x="423" y="125"/>
                    </a:lnTo>
                    <a:lnTo>
                      <a:pt x="421" y="125"/>
                    </a:lnTo>
                    <a:lnTo>
                      <a:pt x="423" y="125"/>
                    </a:lnTo>
                    <a:lnTo>
                      <a:pt x="421" y="125"/>
                    </a:lnTo>
                    <a:lnTo>
                      <a:pt x="423" y="127"/>
                    </a:lnTo>
                    <a:lnTo>
                      <a:pt x="421" y="127"/>
                    </a:lnTo>
                    <a:lnTo>
                      <a:pt x="423" y="127"/>
                    </a:lnTo>
                    <a:lnTo>
                      <a:pt x="421" y="127"/>
                    </a:lnTo>
                    <a:lnTo>
                      <a:pt x="421" y="129"/>
                    </a:lnTo>
                    <a:lnTo>
                      <a:pt x="421" y="131"/>
                    </a:lnTo>
                    <a:lnTo>
                      <a:pt x="421" y="133"/>
                    </a:lnTo>
                    <a:lnTo>
                      <a:pt x="421" y="135"/>
                    </a:lnTo>
                    <a:lnTo>
                      <a:pt x="421" y="137"/>
                    </a:lnTo>
                    <a:lnTo>
                      <a:pt x="419" y="137"/>
                    </a:lnTo>
                    <a:lnTo>
                      <a:pt x="421" y="137"/>
                    </a:lnTo>
                    <a:lnTo>
                      <a:pt x="421" y="135"/>
                    </a:lnTo>
                    <a:lnTo>
                      <a:pt x="421" y="133"/>
                    </a:lnTo>
                    <a:lnTo>
                      <a:pt x="423" y="133"/>
                    </a:lnTo>
                    <a:lnTo>
                      <a:pt x="423" y="135"/>
                    </a:lnTo>
                    <a:lnTo>
                      <a:pt x="425" y="135"/>
                    </a:lnTo>
                    <a:lnTo>
                      <a:pt x="425" y="133"/>
                    </a:lnTo>
                    <a:lnTo>
                      <a:pt x="425" y="135"/>
                    </a:lnTo>
                    <a:lnTo>
                      <a:pt x="426" y="135"/>
                    </a:lnTo>
                    <a:lnTo>
                      <a:pt x="425" y="135"/>
                    </a:lnTo>
                    <a:lnTo>
                      <a:pt x="425" y="133"/>
                    </a:lnTo>
                    <a:lnTo>
                      <a:pt x="425" y="135"/>
                    </a:lnTo>
                    <a:lnTo>
                      <a:pt x="423" y="135"/>
                    </a:lnTo>
                    <a:lnTo>
                      <a:pt x="425" y="135"/>
                    </a:lnTo>
                    <a:lnTo>
                      <a:pt x="423" y="135"/>
                    </a:lnTo>
                    <a:lnTo>
                      <a:pt x="423" y="133"/>
                    </a:lnTo>
                    <a:lnTo>
                      <a:pt x="421" y="133"/>
                    </a:lnTo>
                    <a:lnTo>
                      <a:pt x="421" y="131"/>
                    </a:lnTo>
                    <a:lnTo>
                      <a:pt x="421" y="129"/>
                    </a:lnTo>
                    <a:lnTo>
                      <a:pt x="421" y="131"/>
                    </a:lnTo>
                    <a:lnTo>
                      <a:pt x="421" y="129"/>
                    </a:lnTo>
                    <a:lnTo>
                      <a:pt x="421" y="127"/>
                    </a:lnTo>
                    <a:lnTo>
                      <a:pt x="423" y="127"/>
                    </a:lnTo>
                    <a:lnTo>
                      <a:pt x="421" y="127"/>
                    </a:lnTo>
                    <a:lnTo>
                      <a:pt x="423" y="127"/>
                    </a:lnTo>
                    <a:lnTo>
                      <a:pt x="421" y="125"/>
                    </a:lnTo>
                    <a:lnTo>
                      <a:pt x="423" y="125"/>
                    </a:lnTo>
                    <a:lnTo>
                      <a:pt x="421" y="125"/>
                    </a:lnTo>
                    <a:lnTo>
                      <a:pt x="423" y="125"/>
                    </a:lnTo>
                    <a:lnTo>
                      <a:pt x="425" y="125"/>
                    </a:lnTo>
                    <a:lnTo>
                      <a:pt x="426" y="127"/>
                    </a:lnTo>
                    <a:lnTo>
                      <a:pt x="428" y="127"/>
                    </a:lnTo>
                    <a:lnTo>
                      <a:pt x="428" y="129"/>
                    </a:lnTo>
                    <a:lnTo>
                      <a:pt x="428" y="127"/>
                    </a:lnTo>
                    <a:lnTo>
                      <a:pt x="428" y="129"/>
                    </a:lnTo>
                    <a:lnTo>
                      <a:pt x="430" y="129"/>
                    </a:lnTo>
                    <a:lnTo>
                      <a:pt x="430" y="131"/>
                    </a:lnTo>
                    <a:lnTo>
                      <a:pt x="430" y="129"/>
                    </a:lnTo>
                    <a:lnTo>
                      <a:pt x="428" y="129"/>
                    </a:lnTo>
                    <a:lnTo>
                      <a:pt x="428" y="131"/>
                    </a:lnTo>
                    <a:lnTo>
                      <a:pt x="430" y="131"/>
                    </a:lnTo>
                    <a:lnTo>
                      <a:pt x="428" y="131"/>
                    </a:lnTo>
                    <a:lnTo>
                      <a:pt x="426" y="131"/>
                    </a:lnTo>
                    <a:lnTo>
                      <a:pt x="428" y="131"/>
                    </a:lnTo>
                    <a:lnTo>
                      <a:pt x="430" y="131"/>
                    </a:lnTo>
                    <a:lnTo>
                      <a:pt x="428" y="131"/>
                    </a:lnTo>
                    <a:lnTo>
                      <a:pt x="428" y="129"/>
                    </a:lnTo>
                    <a:lnTo>
                      <a:pt x="430" y="131"/>
                    </a:lnTo>
                    <a:lnTo>
                      <a:pt x="430" y="129"/>
                    </a:lnTo>
                    <a:lnTo>
                      <a:pt x="430" y="127"/>
                    </a:lnTo>
                    <a:lnTo>
                      <a:pt x="428" y="127"/>
                    </a:lnTo>
                    <a:lnTo>
                      <a:pt x="430" y="127"/>
                    </a:lnTo>
                    <a:lnTo>
                      <a:pt x="432" y="127"/>
                    </a:lnTo>
                    <a:lnTo>
                      <a:pt x="432" y="129"/>
                    </a:lnTo>
                    <a:lnTo>
                      <a:pt x="434" y="129"/>
                    </a:lnTo>
                    <a:lnTo>
                      <a:pt x="436" y="129"/>
                    </a:lnTo>
                    <a:lnTo>
                      <a:pt x="438" y="129"/>
                    </a:lnTo>
                    <a:lnTo>
                      <a:pt x="440" y="131"/>
                    </a:lnTo>
                    <a:lnTo>
                      <a:pt x="442" y="131"/>
                    </a:lnTo>
                    <a:lnTo>
                      <a:pt x="444" y="131"/>
                    </a:lnTo>
                    <a:lnTo>
                      <a:pt x="442" y="131"/>
                    </a:lnTo>
                    <a:lnTo>
                      <a:pt x="444" y="131"/>
                    </a:lnTo>
                    <a:lnTo>
                      <a:pt x="446" y="131"/>
                    </a:lnTo>
                    <a:lnTo>
                      <a:pt x="448" y="133"/>
                    </a:lnTo>
                    <a:lnTo>
                      <a:pt x="448" y="135"/>
                    </a:lnTo>
                    <a:lnTo>
                      <a:pt x="446" y="135"/>
                    </a:lnTo>
                    <a:lnTo>
                      <a:pt x="446" y="137"/>
                    </a:lnTo>
                    <a:lnTo>
                      <a:pt x="446" y="139"/>
                    </a:lnTo>
                    <a:lnTo>
                      <a:pt x="444" y="139"/>
                    </a:lnTo>
                    <a:lnTo>
                      <a:pt x="444" y="141"/>
                    </a:lnTo>
                    <a:lnTo>
                      <a:pt x="442" y="141"/>
                    </a:lnTo>
                    <a:lnTo>
                      <a:pt x="442" y="139"/>
                    </a:lnTo>
                    <a:lnTo>
                      <a:pt x="440" y="139"/>
                    </a:lnTo>
                    <a:lnTo>
                      <a:pt x="440" y="141"/>
                    </a:lnTo>
                    <a:lnTo>
                      <a:pt x="442" y="141"/>
                    </a:lnTo>
                    <a:lnTo>
                      <a:pt x="440" y="141"/>
                    </a:lnTo>
                    <a:lnTo>
                      <a:pt x="440" y="139"/>
                    </a:lnTo>
                    <a:lnTo>
                      <a:pt x="442" y="139"/>
                    </a:lnTo>
                    <a:lnTo>
                      <a:pt x="442" y="141"/>
                    </a:lnTo>
                    <a:lnTo>
                      <a:pt x="444" y="141"/>
                    </a:lnTo>
                    <a:lnTo>
                      <a:pt x="444" y="139"/>
                    </a:lnTo>
                    <a:lnTo>
                      <a:pt x="446" y="139"/>
                    </a:lnTo>
                    <a:lnTo>
                      <a:pt x="446" y="137"/>
                    </a:lnTo>
                    <a:lnTo>
                      <a:pt x="446" y="139"/>
                    </a:lnTo>
                    <a:lnTo>
                      <a:pt x="446" y="141"/>
                    </a:lnTo>
                    <a:lnTo>
                      <a:pt x="448" y="141"/>
                    </a:lnTo>
                    <a:lnTo>
                      <a:pt x="446" y="142"/>
                    </a:lnTo>
                    <a:lnTo>
                      <a:pt x="448" y="142"/>
                    </a:lnTo>
                    <a:lnTo>
                      <a:pt x="446" y="142"/>
                    </a:lnTo>
                    <a:lnTo>
                      <a:pt x="448" y="142"/>
                    </a:lnTo>
                    <a:lnTo>
                      <a:pt x="446" y="142"/>
                    </a:lnTo>
                    <a:lnTo>
                      <a:pt x="446" y="144"/>
                    </a:lnTo>
                    <a:lnTo>
                      <a:pt x="446" y="146"/>
                    </a:lnTo>
                    <a:lnTo>
                      <a:pt x="444" y="146"/>
                    </a:lnTo>
                    <a:lnTo>
                      <a:pt x="442" y="146"/>
                    </a:lnTo>
                    <a:lnTo>
                      <a:pt x="442" y="148"/>
                    </a:lnTo>
                    <a:lnTo>
                      <a:pt x="440" y="148"/>
                    </a:lnTo>
                    <a:lnTo>
                      <a:pt x="442" y="148"/>
                    </a:lnTo>
                    <a:lnTo>
                      <a:pt x="442" y="150"/>
                    </a:lnTo>
                    <a:lnTo>
                      <a:pt x="442" y="152"/>
                    </a:lnTo>
                    <a:lnTo>
                      <a:pt x="440" y="152"/>
                    </a:lnTo>
                    <a:lnTo>
                      <a:pt x="440" y="154"/>
                    </a:lnTo>
                    <a:lnTo>
                      <a:pt x="442" y="154"/>
                    </a:lnTo>
                    <a:lnTo>
                      <a:pt x="442" y="152"/>
                    </a:lnTo>
                    <a:lnTo>
                      <a:pt x="442" y="154"/>
                    </a:lnTo>
                    <a:lnTo>
                      <a:pt x="444" y="154"/>
                    </a:lnTo>
                    <a:lnTo>
                      <a:pt x="442" y="154"/>
                    </a:lnTo>
                    <a:lnTo>
                      <a:pt x="442" y="156"/>
                    </a:lnTo>
                    <a:lnTo>
                      <a:pt x="444" y="156"/>
                    </a:lnTo>
                    <a:lnTo>
                      <a:pt x="444" y="154"/>
                    </a:lnTo>
                    <a:lnTo>
                      <a:pt x="444" y="156"/>
                    </a:lnTo>
                    <a:lnTo>
                      <a:pt x="444" y="154"/>
                    </a:lnTo>
                    <a:lnTo>
                      <a:pt x="444" y="156"/>
                    </a:lnTo>
                    <a:lnTo>
                      <a:pt x="444" y="154"/>
                    </a:lnTo>
                    <a:lnTo>
                      <a:pt x="444" y="156"/>
                    </a:lnTo>
                    <a:lnTo>
                      <a:pt x="442" y="156"/>
                    </a:lnTo>
                    <a:lnTo>
                      <a:pt x="442" y="154"/>
                    </a:lnTo>
                    <a:lnTo>
                      <a:pt x="444" y="154"/>
                    </a:lnTo>
                    <a:lnTo>
                      <a:pt x="442" y="154"/>
                    </a:lnTo>
                    <a:lnTo>
                      <a:pt x="442" y="152"/>
                    </a:lnTo>
                    <a:lnTo>
                      <a:pt x="442" y="154"/>
                    </a:lnTo>
                    <a:lnTo>
                      <a:pt x="440" y="154"/>
                    </a:lnTo>
                    <a:lnTo>
                      <a:pt x="440" y="152"/>
                    </a:lnTo>
                    <a:lnTo>
                      <a:pt x="442" y="152"/>
                    </a:lnTo>
                    <a:lnTo>
                      <a:pt x="442" y="150"/>
                    </a:lnTo>
                    <a:lnTo>
                      <a:pt x="442" y="148"/>
                    </a:lnTo>
                    <a:lnTo>
                      <a:pt x="440" y="148"/>
                    </a:lnTo>
                    <a:lnTo>
                      <a:pt x="442" y="148"/>
                    </a:lnTo>
                    <a:lnTo>
                      <a:pt x="442" y="146"/>
                    </a:lnTo>
                    <a:lnTo>
                      <a:pt x="444" y="146"/>
                    </a:lnTo>
                    <a:lnTo>
                      <a:pt x="446" y="146"/>
                    </a:lnTo>
                    <a:lnTo>
                      <a:pt x="448" y="146"/>
                    </a:lnTo>
                    <a:lnTo>
                      <a:pt x="448" y="148"/>
                    </a:lnTo>
                    <a:lnTo>
                      <a:pt x="448" y="150"/>
                    </a:lnTo>
                    <a:lnTo>
                      <a:pt x="446" y="150"/>
                    </a:lnTo>
                    <a:lnTo>
                      <a:pt x="444" y="150"/>
                    </a:lnTo>
                    <a:lnTo>
                      <a:pt x="444" y="152"/>
                    </a:lnTo>
                    <a:lnTo>
                      <a:pt x="446" y="152"/>
                    </a:lnTo>
                    <a:lnTo>
                      <a:pt x="448" y="152"/>
                    </a:lnTo>
                    <a:lnTo>
                      <a:pt x="448" y="154"/>
                    </a:lnTo>
                    <a:lnTo>
                      <a:pt x="448" y="152"/>
                    </a:lnTo>
                    <a:lnTo>
                      <a:pt x="446" y="154"/>
                    </a:lnTo>
                    <a:lnTo>
                      <a:pt x="448" y="154"/>
                    </a:lnTo>
                    <a:lnTo>
                      <a:pt x="448" y="156"/>
                    </a:lnTo>
                    <a:lnTo>
                      <a:pt x="446" y="156"/>
                    </a:lnTo>
                    <a:lnTo>
                      <a:pt x="444" y="156"/>
                    </a:lnTo>
                    <a:lnTo>
                      <a:pt x="446" y="156"/>
                    </a:lnTo>
                    <a:lnTo>
                      <a:pt x="444" y="158"/>
                    </a:lnTo>
                    <a:lnTo>
                      <a:pt x="446" y="158"/>
                    </a:lnTo>
                    <a:lnTo>
                      <a:pt x="446" y="156"/>
                    </a:lnTo>
                    <a:lnTo>
                      <a:pt x="448" y="156"/>
                    </a:lnTo>
                    <a:lnTo>
                      <a:pt x="448" y="158"/>
                    </a:lnTo>
                    <a:lnTo>
                      <a:pt x="446" y="158"/>
                    </a:lnTo>
                    <a:lnTo>
                      <a:pt x="446" y="160"/>
                    </a:lnTo>
                    <a:lnTo>
                      <a:pt x="448" y="160"/>
                    </a:lnTo>
                    <a:lnTo>
                      <a:pt x="446" y="160"/>
                    </a:lnTo>
                    <a:lnTo>
                      <a:pt x="446" y="162"/>
                    </a:lnTo>
                    <a:lnTo>
                      <a:pt x="444" y="162"/>
                    </a:lnTo>
                    <a:lnTo>
                      <a:pt x="444" y="164"/>
                    </a:lnTo>
                    <a:lnTo>
                      <a:pt x="444" y="162"/>
                    </a:lnTo>
                    <a:lnTo>
                      <a:pt x="444" y="164"/>
                    </a:lnTo>
                    <a:lnTo>
                      <a:pt x="442" y="164"/>
                    </a:lnTo>
                    <a:lnTo>
                      <a:pt x="442" y="162"/>
                    </a:lnTo>
                    <a:lnTo>
                      <a:pt x="440" y="164"/>
                    </a:lnTo>
                    <a:lnTo>
                      <a:pt x="440" y="162"/>
                    </a:lnTo>
                    <a:lnTo>
                      <a:pt x="440" y="164"/>
                    </a:lnTo>
                    <a:lnTo>
                      <a:pt x="438" y="164"/>
                    </a:lnTo>
                    <a:lnTo>
                      <a:pt x="436" y="164"/>
                    </a:lnTo>
                    <a:lnTo>
                      <a:pt x="436" y="162"/>
                    </a:lnTo>
                    <a:lnTo>
                      <a:pt x="434" y="162"/>
                    </a:lnTo>
                    <a:lnTo>
                      <a:pt x="434" y="164"/>
                    </a:lnTo>
                    <a:lnTo>
                      <a:pt x="434" y="162"/>
                    </a:lnTo>
                    <a:lnTo>
                      <a:pt x="436" y="162"/>
                    </a:lnTo>
                    <a:lnTo>
                      <a:pt x="436" y="164"/>
                    </a:lnTo>
                    <a:lnTo>
                      <a:pt x="438" y="164"/>
                    </a:lnTo>
                    <a:lnTo>
                      <a:pt x="440" y="164"/>
                    </a:lnTo>
                    <a:lnTo>
                      <a:pt x="440" y="162"/>
                    </a:lnTo>
                    <a:lnTo>
                      <a:pt x="440" y="164"/>
                    </a:lnTo>
                    <a:lnTo>
                      <a:pt x="442" y="162"/>
                    </a:lnTo>
                    <a:lnTo>
                      <a:pt x="442" y="164"/>
                    </a:lnTo>
                    <a:lnTo>
                      <a:pt x="444" y="164"/>
                    </a:lnTo>
                    <a:lnTo>
                      <a:pt x="444" y="162"/>
                    </a:lnTo>
                    <a:lnTo>
                      <a:pt x="444" y="164"/>
                    </a:lnTo>
                    <a:lnTo>
                      <a:pt x="444" y="162"/>
                    </a:lnTo>
                    <a:lnTo>
                      <a:pt x="446" y="162"/>
                    </a:lnTo>
                    <a:lnTo>
                      <a:pt x="446" y="160"/>
                    </a:lnTo>
                    <a:lnTo>
                      <a:pt x="448" y="160"/>
                    </a:lnTo>
                    <a:lnTo>
                      <a:pt x="446" y="160"/>
                    </a:lnTo>
                    <a:lnTo>
                      <a:pt x="446" y="158"/>
                    </a:lnTo>
                    <a:lnTo>
                      <a:pt x="448" y="158"/>
                    </a:lnTo>
                    <a:lnTo>
                      <a:pt x="446" y="158"/>
                    </a:lnTo>
                    <a:lnTo>
                      <a:pt x="448" y="158"/>
                    </a:lnTo>
                    <a:lnTo>
                      <a:pt x="448" y="156"/>
                    </a:lnTo>
                    <a:lnTo>
                      <a:pt x="446" y="156"/>
                    </a:lnTo>
                    <a:lnTo>
                      <a:pt x="446" y="158"/>
                    </a:lnTo>
                    <a:lnTo>
                      <a:pt x="444" y="158"/>
                    </a:lnTo>
                    <a:lnTo>
                      <a:pt x="446" y="158"/>
                    </a:lnTo>
                    <a:lnTo>
                      <a:pt x="444" y="158"/>
                    </a:lnTo>
                    <a:lnTo>
                      <a:pt x="444" y="156"/>
                    </a:lnTo>
                    <a:lnTo>
                      <a:pt x="446" y="156"/>
                    </a:lnTo>
                    <a:lnTo>
                      <a:pt x="448" y="156"/>
                    </a:lnTo>
                    <a:lnTo>
                      <a:pt x="448" y="154"/>
                    </a:lnTo>
                    <a:lnTo>
                      <a:pt x="446" y="154"/>
                    </a:lnTo>
                    <a:lnTo>
                      <a:pt x="448" y="154"/>
                    </a:lnTo>
                    <a:lnTo>
                      <a:pt x="448" y="152"/>
                    </a:lnTo>
                    <a:lnTo>
                      <a:pt x="446" y="150"/>
                    </a:lnTo>
                    <a:lnTo>
                      <a:pt x="446" y="152"/>
                    </a:lnTo>
                    <a:lnTo>
                      <a:pt x="444" y="152"/>
                    </a:lnTo>
                    <a:lnTo>
                      <a:pt x="444" y="150"/>
                    </a:lnTo>
                    <a:lnTo>
                      <a:pt x="446" y="150"/>
                    </a:lnTo>
                    <a:lnTo>
                      <a:pt x="448" y="150"/>
                    </a:lnTo>
                    <a:lnTo>
                      <a:pt x="448" y="148"/>
                    </a:lnTo>
                    <a:lnTo>
                      <a:pt x="448" y="146"/>
                    </a:lnTo>
                    <a:lnTo>
                      <a:pt x="446" y="146"/>
                    </a:lnTo>
                    <a:lnTo>
                      <a:pt x="446" y="144"/>
                    </a:lnTo>
                    <a:lnTo>
                      <a:pt x="448" y="142"/>
                    </a:lnTo>
                    <a:lnTo>
                      <a:pt x="446" y="142"/>
                    </a:lnTo>
                    <a:lnTo>
                      <a:pt x="448" y="142"/>
                    </a:lnTo>
                    <a:lnTo>
                      <a:pt x="448" y="141"/>
                    </a:lnTo>
                    <a:lnTo>
                      <a:pt x="446" y="141"/>
                    </a:lnTo>
                    <a:lnTo>
                      <a:pt x="446" y="139"/>
                    </a:lnTo>
                    <a:lnTo>
                      <a:pt x="448" y="139"/>
                    </a:lnTo>
                    <a:lnTo>
                      <a:pt x="448" y="137"/>
                    </a:lnTo>
                    <a:lnTo>
                      <a:pt x="450" y="135"/>
                    </a:lnTo>
                    <a:lnTo>
                      <a:pt x="448" y="137"/>
                    </a:lnTo>
                    <a:lnTo>
                      <a:pt x="448" y="135"/>
                    </a:lnTo>
                    <a:lnTo>
                      <a:pt x="448" y="133"/>
                    </a:lnTo>
                    <a:lnTo>
                      <a:pt x="450" y="133"/>
                    </a:lnTo>
                    <a:lnTo>
                      <a:pt x="451" y="133"/>
                    </a:lnTo>
                    <a:lnTo>
                      <a:pt x="451" y="135"/>
                    </a:lnTo>
                    <a:lnTo>
                      <a:pt x="451" y="133"/>
                    </a:lnTo>
                    <a:lnTo>
                      <a:pt x="453" y="135"/>
                    </a:lnTo>
                    <a:lnTo>
                      <a:pt x="451" y="133"/>
                    </a:lnTo>
                    <a:lnTo>
                      <a:pt x="453" y="135"/>
                    </a:lnTo>
                    <a:lnTo>
                      <a:pt x="455" y="135"/>
                    </a:lnTo>
                    <a:lnTo>
                      <a:pt x="457" y="135"/>
                    </a:lnTo>
                    <a:lnTo>
                      <a:pt x="459" y="135"/>
                    </a:lnTo>
                    <a:lnTo>
                      <a:pt x="459" y="137"/>
                    </a:lnTo>
                    <a:lnTo>
                      <a:pt x="461" y="135"/>
                    </a:lnTo>
                    <a:lnTo>
                      <a:pt x="459" y="137"/>
                    </a:lnTo>
                    <a:lnTo>
                      <a:pt x="461" y="137"/>
                    </a:lnTo>
                    <a:lnTo>
                      <a:pt x="463" y="137"/>
                    </a:lnTo>
                    <a:lnTo>
                      <a:pt x="465" y="137"/>
                    </a:lnTo>
                    <a:lnTo>
                      <a:pt x="465" y="139"/>
                    </a:lnTo>
                    <a:lnTo>
                      <a:pt x="467" y="139"/>
                    </a:lnTo>
                    <a:lnTo>
                      <a:pt x="469" y="141"/>
                    </a:lnTo>
                    <a:lnTo>
                      <a:pt x="469" y="142"/>
                    </a:lnTo>
                    <a:lnTo>
                      <a:pt x="469" y="144"/>
                    </a:lnTo>
                    <a:lnTo>
                      <a:pt x="469" y="146"/>
                    </a:lnTo>
                    <a:lnTo>
                      <a:pt x="469" y="148"/>
                    </a:lnTo>
                    <a:lnTo>
                      <a:pt x="471" y="148"/>
                    </a:lnTo>
                    <a:lnTo>
                      <a:pt x="471" y="150"/>
                    </a:lnTo>
                    <a:lnTo>
                      <a:pt x="473" y="150"/>
                    </a:lnTo>
                    <a:lnTo>
                      <a:pt x="475" y="150"/>
                    </a:lnTo>
                    <a:lnTo>
                      <a:pt x="473" y="150"/>
                    </a:lnTo>
                    <a:lnTo>
                      <a:pt x="473" y="152"/>
                    </a:lnTo>
                    <a:lnTo>
                      <a:pt x="471" y="152"/>
                    </a:lnTo>
                    <a:lnTo>
                      <a:pt x="473" y="152"/>
                    </a:lnTo>
                    <a:lnTo>
                      <a:pt x="471" y="152"/>
                    </a:lnTo>
                    <a:lnTo>
                      <a:pt x="473" y="152"/>
                    </a:lnTo>
                    <a:lnTo>
                      <a:pt x="471" y="152"/>
                    </a:lnTo>
                    <a:lnTo>
                      <a:pt x="473" y="152"/>
                    </a:lnTo>
                    <a:lnTo>
                      <a:pt x="475" y="150"/>
                    </a:lnTo>
                    <a:lnTo>
                      <a:pt x="475" y="152"/>
                    </a:lnTo>
                    <a:lnTo>
                      <a:pt x="476" y="152"/>
                    </a:lnTo>
                    <a:lnTo>
                      <a:pt x="478" y="152"/>
                    </a:lnTo>
                    <a:lnTo>
                      <a:pt x="478" y="154"/>
                    </a:lnTo>
                    <a:lnTo>
                      <a:pt x="476" y="154"/>
                    </a:lnTo>
                    <a:lnTo>
                      <a:pt x="478" y="154"/>
                    </a:lnTo>
                    <a:lnTo>
                      <a:pt x="478" y="156"/>
                    </a:lnTo>
                    <a:lnTo>
                      <a:pt x="476" y="156"/>
                    </a:lnTo>
                    <a:lnTo>
                      <a:pt x="478" y="156"/>
                    </a:lnTo>
                    <a:lnTo>
                      <a:pt x="478" y="154"/>
                    </a:lnTo>
                    <a:lnTo>
                      <a:pt x="476" y="154"/>
                    </a:lnTo>
                    <a:lnTo>
                      <a:pt x="478" y="154"/>
                    </a:lnTo>
                    <a:lnTo>
                      <a:pt x="480" y="154"/>
                    </a:lnTo>
                    <a:lnTo>
                      <a:pt x="480" y="156"/>
                    </a:lnTo>
                    <a:lnTo>
                      <a:pt x="480" y="154"/>
                    </a:lnTo>
                    <a:lnTo>
                      <a:pt x="482" y="154"/>
                    </a:lnTo>
                    <a:lnTo>
                      <a:pt x="484" y="154"/>
                    </a:lnTo>
                    <a:lnTo>
                      <a:pt x="486" y="154"/>
                    </a:lnTo>
                    <a:lnTo>
                      <a:pt x="488" y="154"/>
                    </a:lnTo>
                    <a:lnTo>
                      <a:pt x="490" y="154"/>
                    </a:lnTo>
                    <a:lnTo>
                      <a:pt x="490" y="156"/>
                    </a:lnTo>
                    <a:lnTo>
                      <a:pt x="490" y="154"/>
                    </a:lnTo>
                    <a:lnTo>
                      <a:pt x="492" y="154"/>
                    </a:lnTo>
                    <a:lnTo>
                      <a:pt x="490" y="154"/>
                    </a:lnTo>
                    <a:lnTo>
                      <a:pt x="490" y="156"/>
                    </a:lnTo>
                    <a:lnTo>
                      <a:pt x="492" y="158"/>
                    </a:lnTo>
                    <a:lnTo>
                      <a:pt x="492" y="156"/>
                    </a:lnTo>
                    <a:lnTo>
                      <a:pt x="490" y="156"/>
                    </a:lnTo>
                    <a:lnTo>
                      <a:pt x="492" y="156"/>
                    </a:lnTo>
                    <a:lnTo>
                      <a:pt x="492" y="154"/>
                    </a:lnTo>
                    <a:lnTo>
                      <a:pt x="492" y="156"/>
                    </a:lnTo>
                    <a:lnTo>
                      <a:pt x="494" y="156"/>
                    </a:lnTo>
                    <a:lnTo>
                      <a:pt x="496" y="156"/>
                    </a:lnTo>
                    <a:lnTo>
                      <a:pt x="498" y="156"/>
                    </a:lnTo>
                    <a:lnTo>
                      <a:pt x="496" y="156"/>
                    </a:lnTo>
                    <a:lnTo>
                      <a:pt x="494" y="156"/>
                    </a:lnTo>
                    <a:lnTo>
                      <a:pt x="496" y="156"/>
                    </a:lnTo>
                    <a:lnTo>
                      <a:pt x="494" y="156"/>
                    </a:lnTo>
                    <a:lnTo>
                      <a:pt x="492" y="156"/>
                    </a:lnTo>
                    <a:lnTo>
                      <a:pt x="492" y="154"/>
                    </a:lnTo>
                    <a:lnTo>
                      <a:pt x="492" y="156"/>
                    </a:lnTo>
                    <a:lnTo>
                      <a:pt x="494" y="156"/>
                    </a:lnTo>
                    <a:lnTo>
                      <a:pt x="494" y="154"/>
                    </a:lnTo>
                    <a:lnTo>
                      <a:pt x="492" y="154"/>
                    </a:lnTo>
                    <a:lnTo>
                      <a:pt x="492" y="152"/>
                    </a:lnTo>
                    <a:lnTo>
                      <a:pt x="492" y="154"/>
                    </a:lnTo>
                    <a:lnTo>
                      <a:pt x="494" y="154"/>
                    </a:lnTo>
                    <a:lnTo>
                      <a:pt x="496" y="152"/>
                    </a:lnTo>
                    <a:lnTo>
                      <a:pt x="494" y="152"/>
                    </a:lnTo>
                    <a:lnTo>
                      <a:pt x="496" y="152"/>
                    </a:lnTo>
                    <a:lnTo>
                      <a:pt x="496" y="150"/>
                    </a:lnTo>
                    <a:lnTo>
                      <a:pt x="494" y="150"/>
                    </a:lnTo>
                    <a:lnTo>
                      <a:pt x="494" y="152"/>
                    </a:lnTo>
                    <a:lnTo>
                      <a:pt x="494" y="150"/>
                    </a:lnTo>
                    <a:lnTo>
                      <a:pt x="494" y="152"/>
                    </a:lnTo>
                    <a:lnTo>
                      <a:pt x="492" y="152"/>
                    </a:lnTo>
                    <a:lnTo>
                      <a:pt x="490" y="152"/>
                    </a:lnTo>
                    <a:lnTo>
                      <a:pt x="490" y="150"/>
                    </a:lnTo>
                    <a:lnTo>
                      <a:pt x="488" y="150"/>
                    </a:lnTo>
                    <a:lnTo>
                      <a:pt x="488" y="152"/>
                    </a:lnTo>
                    <a:lnTo>
                      <a:pt x="490" y="152"/>
                    </a:lnTo>
                    <a:lnTo>
                      <a:pt x="488" y="154"/>
                    </a:lnTo>
                    <a:lnTo>
                      <a:pt x="488" y="152"/>
                    </a:lnTo>
                    <a:lnTo>
                      <a:pt x="488" y="154"/>
                    </a:lnTo>
                    <a:lnTo>
                      <a:pt x="486" y="154"/>
                    </a:lnTo>
                    <a:lnTo>
                      <a:pt x="484" y="152"/>
                    </a:lnTo>
                    <a:lnTo>
                      <a:pt x="482" y="152"/>
                    </a:lnTo>
                    <a:lnTo>
                      <a:pt x="480" y="154"/>
                    </a:lnTo>
                    <a:lnTo>
                      <a:pt x="478" y="154"/>
                    </a:lnTo>
                    <a:lnTo>
                      <a:pt x="480" y="154"/>
                    </a:lnTo>
                    <a:lnTo>
                      <a:pt x="480" y="152"/>
                    </a:lnTo>
                    <a:lnTo>
                      <a:pt x="480" y="150"/>
                    </a:lnTo>
                    <a:lnTo>
                      <a:pt x="482" y="148"/>
                    </a:lnTo>
                    <a:lnTo>
                      <a:pt x="480" y="148"/>
                    </a:lnTo>
                    <a:lnTo>
                      <a:pt x="482" y="148"/>
                    </a:lnTo>
                    <a:lnTo>
                      <a:pt x="484" y="146"/>
                    </a:lnTo>
                    <a:lnTo>
                      <a:pt x="482" y="146"/>
                    </a:lnTo>
                    <a:lnTo>
                      <a:pt x="482" y="144"/>
                    </a:lnTo>
                    <a:lnTo>
                      <a:pt x="482" y="142"/>
                    </a:lnTo>
                    <a:lnTo>
                      <a:pt x="480" y="142"/>
                    </a:lnTo>
                    <a:lnTo>
                      <a:pt x="478" y="144"/>
                    </a:lnTo>
                    <a:lnTo>
                      <a:pt x="480" y="144"/>
                    </a:lnTo>
                    <a:lnTo>
                      <a:pt x="480" y="146"/>
                    </a:lnTo>
                    <a:lnTo>
                      <a:pt x="482" y="146"/>
                    </a:lnTo>
                    <a:lnTo>
                      <a:pt x="480" y="146"/>
                    </a:lnTo>
                    <a:lnTo>
                      <a:pt x="478" y="146"/>
                    </a:lnTo>
                    <a:lnTo>
                      <a:pt x="478" y="144"/>
                    </a:lnTo>
                    <a:lnTo>
                      <a:pt x="476" y="144"/>
                    </a:lnTo>
                    <a:lnTo>
                      <a:pt x="476" y="142"/>
                    </a:lnTo>
                    <a:lnTo>
                      <a:pt x="478" y="144"/>
                    </a:lnTo>
                    <a:lnTo>
                      <a:pt x="476" y="142"/>
                    </a:lnTo>
                    <a:lnTo>
                      <a:pt x="478" y="142"/>
                    </a:lnTo>
                    <a:lnTo>
                      <a:pt x="478" y="141"/>
                    </a:lnTo>
                    <a:lnTo>
                      <a:pt x="478" y="139"/>
                    </a:lnTo>
                    <a:lnTo>
                      <a:pt x="478" y="137"/>
                    </a:lnTo>
                    <a:lnTo>
                      <a:pt x="480" y="137"/>
                    </a:lnTo>
                    <a:lnTo>
                      <a:pt x="480" y="135"/>
                    </a:lnTo>
                    <a:lnTo>
                      <a:pt x="478" y="135"/>
                    </a:lnTo>
                    <a:lnTo>
                      <a:pt x="478" y="133"/>
                    </a:lnTo>
                    <a:lnTo>
                      <a:pt x="476" y="133"/>
                    </a:lnTo>
                    <a:lnTo>
                      <a:pt x="478" y="133"/>
                    </a:lnTo>
                    <a:lnTo>
                      <a:pt x="478" y="135"/>
                    </a:lnTo>
                    <a:lnTo>
                      <a:pt x="476" y="133"/>
                    </a:lnTo>
                    <a:lnTo>
                      <a:pt x="475" y="133"/>
                    </a:lnTo>
                    <a:lnTo>
                      <a:pt x="473" y="133"/>
                    </a:lnTo>
                    <a:lnTo>
                      <a:pt x="471" y="133"/>
                    </a:lnTo>
                    <a:lnTo>
                      <a:pt x="471" y="131"/>
                    </a:lnTo>
                    <a:lnTo>
                      <a:pt x="473" y="129"/>
                    </a:lnTo>
                    <a:lnTo>
                      <a:pt x="473" y="127"/>
                    </a:lnTo>
                    <a:lnTo>
                      <a:pt x="475" y="129"/>
                    </a:lnTo>
                    <a:lnTo>
                      <a:pt x="475" y="127"/>
                    </a:lnTo>
                    <a:lnTo>
                      <a:pt x="473" y="127"/>
                    </a:lnTo>
                    <a:lnTo>
                      <a:pt x="471" y="127"/>
                    </a:lnTo>
                    <a:lnTo>
                      <a:pt x="471" y="129"/>
                    </a:lnTo>
                    <a:lnTo>
                      <a:pt x="469" y="129"/>
                    </a:lnTo>
                    <a:lnTo>
                      <a:pt x="467" y="129"/>
                    </a:lnTo>
                    <a:lnTo>
                      <a:pt x="467" y="131"/>
                    </a:lnTo>
                    <a:lnTo>
                      <a:pt x="465" y="131"/>
                    </a:lnTo>
                    <a:lnTo>
                      <a:pt x="463" y="129"/>
                    </a:lnTo>
                    <a:lnTo>
                      <a:pt x="463" y="127"/>
                    </a:lnTo>
                    <a:lnTo>
                      <a:pt x="461" y="127"/>
                    </a:lnTo>
                    <a:lnTo>
                      <a:pt x="459" y="127"/>
                    </a:lnTo>
                    <a:lnTo>
                      <a:pt x="461" y="127"/>
                    </a:lnTo>
                    <a:lnTo>
                      <a:pt x="461" y="129"/>
                    </a:lnTo>
                    <a:lnTo>
                      <a:pt x="463" y="129"/>
                    </a:lnTo>
                    <a:lnTo>
                      <a:pt x="461" y="129"/>
                    </a:lnTo>
                    <a:lnTo>
                      <a:pt x="461" y="127"/>
                    </a:lnTo>
                    <a:lnTo>
                      <a:pt x="459" y="127"/>
                    </a:lnTo>
                    <a:lnTo>
                      <a:pt x="457" y="127"/>
                    </a:lnTo>
                    <a:lnTo>
                      <a:pt x="457" y="125"/>
                    </a:lnTo>
                    <a:lnTo>
                      <a:pt x="455" y="125"/>
                    </a:lnTo>
                    <a:lnTo>
                      <a:pt x="455" y="123"/>
                    </a:lnTo>
                    <a:lnTo>
                      <a:pt x="455" y="121"/>
                    </a:lnTo>
                    <a:lnTo>
                      <a:pt x="453" y="121"/>
                    </a:lnTo>
                    <a:lnTo>
                      <a:pt x="453" y="119"/>
                    </a:lnTo>
                    <a:lnTo>
                      <a:pt x="455" y="119"/>
                    </a:lnTo>
                    <a:lnTo>
                      <a:pt x="455" y="117"/>
                    </a:lnTo>
                    <a:lnTo>
                      <a:pt x="455" y="119"/>
                    </a:lnTo>
                    <a:lnTo>
                      <a:pt x="453" y="119"/>
                    </a:lnTo>
                    <a:lnTo>
                      <a:pt x="451" y="119"/>
                    </a:lnTo>
                    <a:lnTo>
                      <a:pt x="450" y="119"/>
                    </a:lnTo>
                    <a:lnTo>
                      <a:pt x="448" y="117"/>
                    </a:lnTo>
                    <a:lnTo>
                      <a:pt x="446" y="116"/>
                    </a:lnTo>
                    <a:lnTo>
                      <a:pt x="444" y="116"/>
                    </a:lnTo>
                    <a:lnTo>
                      <a:pt x="444" y="114"/>
                    </a:lnTo>
                    <a:lnTo>
                      <a:pt x="444" y="112"/>
                    </a:lnTo>
                    <a:lnTo>
                      <a:pt x="442" y="112"/>
                    </a:lnTo>
                    <a:lnTo>
                      <a:pt x="442" y="110"/>
                    </a:lnTo>
                    <a:lnTo>
                      <a:pt x="440" y="110"/>
                    </a:lnTo>
                    <a:lnTo>
                      <a:pt x="438" y="108"/>
                    </a:lnTo>
                    <a:lnTo>
                      <a:pt x="438" y="106"/>
                    </a:lnTo>
                    <a:lnTo>
                      <a:pt x="438" y="104"/>
                    </a:lnTo>
                    <a:lnTo>
                      <a:pt x="438" y="102"/>
                    </a:lnTo>
                    <a:lnTo>
                      <a:pt x="438" y="100"/>
                    </a:lnTo>
                    <a:lnTo>
                      <a:pt x="436" y="100"/>
                    </a:lnTo>
                    <a:lnTo>
                      <a:pt x="436" y="98"/>
                    </a:lnTo>
                    <a:lnTo>
                      <a:pt x="436" y="96"/>
                    </a:lnTo>
                    <a:lnTo>
                      <a:pt x="436" y="94"/>
                    </a:lnTo>
                    <a:lnTo>
                      <a:pt x="436" y="92"/>
                    </a:lnTo>
                    <a:lnTo>
                      <a:pt x="436" y="91"/>
                    </a:lnTo>
                    <a:lnTo>
                      <a:pt x="434" y="91"/>
                    </a:lnTo>
                    <a:lnTo>
                      <a:pt x="434" y="89"/>
                    </a:lnTo>
                    <a:lnTo>
                      <a:pt x="436" y="89"/>
                    </a:lnTo>
                    <a:lnTo>
                      <a:pt x="438" y="89"/>
                    </a:lnTo>
                    <a:lnTo>
                      <a:pt x="440" y="89"/>
                    </a:lnTo>
                    <a:lnTo>
                      <a:pt x="440" y="87"/>
                    </a:lnTo>
                    <a:lnTo>
                      <a:pt x="440" y="89"/>
                    </a:lnTo>
                    <a:lnTo>
                      <a:pt x="438" y="89"/>
                    </a:lnTo>
                    <a:lnTo>
                      <a:pt x="440" y="87"/>
                    </a:lnTo>
                    <a:lnTo>
                      <a:pt x="442" y="87"/>
                    </a:lnTo>
                    <a:lnTo>
                      <a:pt x="444" y="85"/>
                    </a:lnTo>
                    <a:lnTo>
                      <a:pt x="444" y="87"/>
                    </a:lnTo>
                    <a:lnTo>
                      <a:pt x="444" y="89"/>
                    </a:lnTo>
                    <a:lnTo>
                      <a:pt x="444" y="87"/>
                    </a:lnTo>
                    <a:lnTo>
                      <a:pt x="444" y="89"/>
                    </a:lnTo>
                    <a:lnTo>
                      <a:pt x="446" y="89"/>
                    </a:lnTo>
                    <a:lnTo>
                      <a:pt x="444" y="89"/>
                    </a:lnTo>
                    <a:lnTo>
                      <a:pt x="446" y="89"/>
                    </a:lnTo>
                    <a:lnTo>
                      <a:pt x="446" y="91"/>
                    </a:lnTo>
                    <a:lnTo>
                      <a:pt x="446" y="92"/>
                    </a:lnTo>
                    <a:lnTo>
                      <a:pt x="448" y="92"/>
                    </a:lnTo>
                    <a:lnTo>
                      <a:pt x="446" y="92"/>
                    </a:lnTo>
                    <a:lnTo>
                      <a:pt x="446" y="91"/>
                    </a:lnTo>
                    <a:lnTo>
                      <a:pt x="446" y="89"/>
                    </a:lnTo>
                    <a:lnTo>
                      <a:pt x="444" y="87"/>
                    </a:lnTo>
                    <a:lnTo>
                      <a:pt x="444" y="85"/>
                    </a:lnTo>
                    <a:lnTo>
                      <a:pt x="450" y="85"/>
                    </a:lnTo>
                    <a:lnTo>
                      <a:pt x="451" y="85"/>
                    </a:lnTo>
                    <a:lnTo>
                      <a:pt x="453" y="85"/>
                    </a:lnTo>
                    <a:lnTo>
                      <a:pt x="455" y="85"/>
                    </a:lnTo>
                    <a:lnTo>
                      <a:pt x="457" y="85"/>
                    </a:lnTo>
                    <a:lnTo>
                      <a:pt x="457" y="87"/>
                    </a:lnTo>
                    <a:lnTo>
                      <a:pt x="459" y="89"/>
                    </a:lnTo>
                    <a:lnTo>
                      <a:pt x="461" y="89"/>
                    </a:lnTo>
                    <a:lnTo>
                      <a:pt x="461" y="91"/>
                    </a:lnTo>
                    <a:lnTo>
                      <a:pt x="463" y="92"/>
                    </a:lnTo>
                    <a:lnTo>
                      <a:pt x="465" y="94"/>
                    </a:lnTo>
                    <a:lnTo>
                      <a:pt x="465" y="96"/>
                    </a:lnTo>
                    <a:lnTo>
                      <a:pt x="467" y="96"/>
                    </a:lnTo>
                    <a:lnTo>
                      <a:pt x="467" y="98"/>
                    </a:lnTo>
                    <a:lnTo>
                      <a:pt x="469" y="98"/>
                    </a:lnTo>
                    <a:lnTo>
                      <a:pt x="469" y="100"/>
                    </a:lnTo>
                    <a:lnTo>
                      <a:pt x="471" y="100"/>
                    </a:lnTo>
                    <a:lnTo>
                      <a:pt x="473" y="100"/>
                    </a:lnTo>
                    <a:lnTo>
                      <a:pt x="473" y="102"/>
                    </a:lnTo>
                    <a:lnTo>
                      <a:pt x="475" y="102"/>
                    </a:lnTo>
                    <a:lnTo>
                      <a:pt x="475" y="100"/>
                    </a:lnTo>
                    <a:lnTo>
                      <a:pt x="476" y="100"/>
                    </a:lnTo>
                    <a:lnTo>
                      <a:pt x="478" y="100"/>
                    </a:lnTo>
                    <a:lnTo>
                      <a:pt x="478" y="102"/>
                    </a:lnTo>
                    <a:lnTo>
                      <a:pt x="478" y="100"/>
                    </a:lnTo>
                    <a:lnTo>
                      <a:pt x="480" y="100"/>
                    </a:lnTo>
                    <a:lnTo>
                      <a:pt x="482" y="100"/>
                    </a:lnTo>
                    <a:lnTo>
                      <a:pt x="480" y="100"/>
                    </a:lnTo>
                    <a:lnTo>
                      <a:pt x="482" y="100"/>
                    </a:lnTo>
                    <a:lnTo>
                      <a:pt x="480" y="100"/>
                    </a:lnTo>
                    <a:lnTo>
                      <a:pt x="482" y="100"/>
                    </a:lnTo>
                    <a:lnTo>
                      <a:pt x="482" y="102"/>
                    </a:lnTo>
                    <a:lnTo>
                      <a:pt x="482" y="100"/>
                    </a:lnTo>
                    <a:lnTo>
                      <a:pt x="482" y="102"/>
                    </a:lnTo>
                    <a:lnTo>
                      <a:pt x="484" y="102"/>
                    </a:lnTo>
                    <a:lnTo>
                      <a:pt x="484" y="104"/>
                    </a:lnTo>
                    <a:lnTo>
                      <a:pt x="486" y="104"/>
                    </a:lnTo>
                    <a:lnTo>
                      <a:pt x="486" y="106"/>
                    </a:lnTo>
                    <a:lnTo>
                      <a:pt x="486" y="104"/>
                    </a:lnTo>
                    <a:lnTo>
                      <a:pt x="484" y="104"/>
                    </a:lnTo>
                    <a:lnTo>
                      <a:pt x="484" y="102"/>
                    </a:lnTo>
                    <a:lnTo>
                      <a:pt x="482" y="102"/>
                    </a:lnTo>
                    <a:lnTo>
                      <a:pt x="484" y="102"/>
                    </a:lnTo>
                    <a:lnTo>
                      <a:pt x="482" y="100"/>
                    </a:lnTo>
                    <a:lnTo>
                      <a:pt x="480" y="100"/>
                    </a:lnTo>
                    <a:lnTo>
                      <a:pt x="482" y="98"/>
                    </a:lnTo>
                    <a:lnTo>
                      <a:pt x="484" y="98"/>
                    </a:lnTo>
                    <a:lnTo>
                      <a:pt x="484" y="96"/>
                    </a:lnTo>
                    <a:lnTo>
                      <a:pt x="486" y="96"/>
                    </a:lnTo>
                    <a:lnTo>
                      <a:pt x="484" y="96"/>
                    </a:lnTo>
                    <a:lnTo>
                      <a:pt x="486" y="96"/>
                    </a:lnTo>
                    <a:lnTo>
                      <a:pt x="486" y="94"/>
                    </a:lnTo>
                    <a:lnTo>
                      <a:pt x="484" y="92"/>
                    </a:lnTo>
                    <a:lnTo>
                      <a:pt x="484" y="91"/>
                    </a:lnTo>
                    <a:lnTo>
                      <a:pt x="482" y="89"/>
                    </a:lnTo>
                    <a:lnTo>
                      <a:pt x="482" y="87"/>
                    </a:lnTo>
                    <a:lnTo>
                      <a:pt x="480" y="87"/>
                    </a:lnTo>
                    <a:lnTo>
                      <a:pt x="478" y="87"/>
                    </a:lnTo>
                    <a:lnTo>
                      <a:pt x="476" y="87"/>
                    </a:lnTo>
                    <a:lnTo>
                      <a:pt x="476" y="85"/>
                    </a:lnTo>
                    <a:lnTo>
                      <a:pt x="475" y="87"/>
                    </a:lnTo>
                    <a:lnTo>
                      <a:pt x="473" y="87"/>
                    </a:lnTo>
                    <a:lnTo>
                      <a:pt x="471" y="87"/>
                    </a:lnTo>
                    <a:lnTo>
                      <a:pt x="469" y="87"/>
                    </a:lnTo>
                    <a:lnTo>
                      <a:pt x="469" y="85"/>
                    </a:lnTo>
                    <a:lnTo>
                      <a:pt x="467" y="85"/>
                    </a:lnTo>
                    <a:lnTo>
                      <a:pt x="469" y="85"/>
                    </a:lnTo>
                    <a:lnTo>
                      <a:pt x="469" y="83"/>
                    </a:lnTo>
                    <a:lnTo>
                      <a:pt x="471" y="81"/>
                    </a:lnTo>
                    <a:lnTo>
                      <a:pt x="471" y="79"/>
                    </a:lnTo>
                    <a:lnTo>
                      <a:pt x="473" y="79"/>
                    </a:lnTo>
                    <a:lnTo>
                      <a:pt x="473" y="81"/>
                    </a:lnTo>
                    <a:lnTo>
                      <a:pt x="475" y="81"/>
                    </a:lnTo>
                    <a:lnTo>
                      <a:pt x="476" y="81"/>
                    </a:lnTo>
                    <a:lnTo>
                      <a:pt x="476" y="79"/>
                    </a:lnTo>
                    <a:lnTo>
                      <a:pt x="476" y="81"/>
                    </a:lnTo>
                    <a:lnTo>
                      <a:pt x="476" y="79"/>
                    </a:lnTo>
                    <a:lnTo>
                      <a:pt x="476" y="81"/>
                    </a:lnTo>
                    <a:lnTo>
                      <a:pt x="476" y="79"/>
                    </a:lnTo>
                    <a:lnTo>
                      <a:pt x="478" y="77"/>
                    </a:lnTo>
                    <a:lnTo>
                      <a:pt x="480" y="77"/>
                    </a:lnTo>
                    <a:lnTo>
                      <a:pt x="480" y="75"/>
                    </a:lnTo>
                    <a:lnTo>
                      <a:pt x="482" y="75"/>
                    </a:lnTo>
                    <a:lnTo>
                      <a:pt x="482" y="73"/>
                    </a:lnTo>
                    <a:lnTo>
                      <a:pt x="484" y="73"/>
                    </a:lnTo>
                    <a:lnTo>
                      <a:pt x="486" y="73"/>
                    </a:lnTo>
                    <a:lnTo>
                      <a:pt x="488" y="73"/>
                    </a:lnTo>
                    <a:lnTo>
                      <a:pt x="488" y="75"/>
                    </a:lnTo>
                    <a:lnTo>
                      <a:pt x="488" y="73"/>
                    </a:lnTo>
                    <a:lnTo>
                      <a:pt x="488" y="75"/>
                    </a:lnTo>
                    <a:lnTo>
                      <a:pt x="488" y="73"/>
                    </a:lnTo>
                    <a:lnTo>
                      <a:pt x="490" y="73"/>
                    </a:lnTo>
                    <a:lnTo>
                      <a:pt x="490" y="75"/>
                    </a:lnTo>
                    <a:lnTo>
                      <a:pt x="492" y="77"/>
                    </a:lnTo>
                    <a:lnTo>
                      <a:pt x="494" y="77"/>
                    </a:lnTo>
                    <a:lnTo>
                      <a:pt x="494" y="79"/>
                    </a:lnTo>
                    <a:lnTo>
                      <a:pt x="496" y="79"/>
                    </a:lnTo>
                    <a:lnTo>
                      <a:pt x="496" y="81"/>
                    </a:lnTo>
                    <a:lnTo>
                      <a:pt x="498" y="81"/>
                    </a:lnTo>
                    <a:lnTo>
                      <a:pt x="496" y="81"/>
                    </a:lnTo>
                    <a:lnTo>
                      <a:pt x="496" y="83"/>
                    </a:lnTo>
                    <a:lnTo>
                      <a:pt x="498" y="83"/>
                    </a:lnTo>
                    <a:lnTo>
                      <a:pt x="496" y="83"/>
                    </a:lnTo>
                    <a:lnTo>
                      <a:pt x="494" y="83"/>
                    </a:lnTo>
                    <a:lnTo>
                      <a:pt x="496" y="83"/>
                    </a:lnTo>
                    <a:lnTo>
                      <a:pt x="496" y="85"/>
                    </a:lnTo>
                    <a:lnTo>
                      <a:pt x="498" y="85"/>
                    </a:lnTo>
                    <a:lnTo>
                      <a:pt x="498" y="87"/>
                    </a:lnTo>
                    <a:lnTo>
                      <a:pt x="498" y="85"/>
                    </a:lnTo>
                    <a:lnTo>
                      <a:pt x="499" y="85"/>
                    </a:lnTo>
                    <a:lnTo>
                      <a:pt x="499" y="87"/>
                    </a:lnTo>
                    <a:lnTo>
                      <a:pt x="498" y="87"/>
                    </a:lnTo>
                    <a:lnTo>
                      <a:pt x="499" y="87"/>
                    </a:lnTo>
                    <a:lnTo>
                      <a:pt x="499" y="89"/>
                    </a:lnTo>
                    <a:lnTo>
                      <a:pt x="501" y="89"/>
                    </a:lnTo>
                    <a:lnTo>
                      <a:pt x="503" y="89"/>
                    </a:lnTo>
                    <a:lnTo>
                      <a:pt x="503" y="91"/>
                    </a:lnTo>
                    <a:lnTo>
                      <a:pt x="505" y="91"/>
                    </a:lnTo>
                    <a:lnTo>
                      <a:pt x="503" y="91"/>
                    </a:lnTo>
                    <a:lnTo>
                      <a:pt x="505" y="91"/>
                    </a:lnTo>
                    <a:lnTo>
                      <a:pt x="505" y="92"/>
                    </a:lnTo>
                    <a:lnTo>
                      <a:pt x="507" y="92"/>
                    </a:lnTo>
                    <a:lnTo>
                      <a:pt x="509" y="92"/>
                    </a:lnTo>
                    <a:lnTo>
                      <a:pt x="509" y="94"/>
                    </a:lnTo>
                    <a:lnTo>
                      <a:pt x="511" y="94"/>
                    </a:lnTo>
                    <a:lnTo>
                      <a:pt x="511" y="96"/>
                    </a:lnTo>
                    <a:lnTo>
                      <a:pt x="513" y="96"/>
                    </a:lnTo>
                    <a:lnTo>
                      <a:pt x="513" y="94"/>
                    </a:lnTo>
                    <a:lnTo>
                      <a:pt x="513" y="96"/>
                    </a:lnTo>
                    <a:lnTo>
                      <a:pt x="513" y="94"/>
                    </a:lnTo>
                    <a:lnTo>
                      <a:pt x="515" y="94"/>
                    </a:lnTo>
                    <a:lnTo>
                      <a:pt x="515" y="96"/>
                    </a:lnTo>
                    <a:lnTo>
                      <a:pt x="517" y="96"/>
                    </a:lnTo>
                    <a:lnTo>
                      <a:pt x="517" y="94"/>
                    </a:lnTo>
                    <a:lnTo>
                      <a:pt x="519" y="94"/>
                    </a:lnTo>
                    <a:lnTo>
                      <a:pt x="519" y="96"/>
                    </a:lnTo>
                    <a:lnTo>
                      <a:pt x="521" y="96"/>
                    </a:lnTo>
                    <a:lnTo>
                      <a:pt x="521" y="98"/>
                    </a:lnTo>
                    <a:lnTo>
                      <a:pt x="521" y="96"/>
                    </a:lnTo>
                    <a:lnTo>
                      <a:pt x="521" y="98"/>
                    </a:lnTo>
                    <a:lnTo>
                      <a:pt x="523" y="98"/>
                    </a:lnTo>
                    <a:lnTo>
                      <a:pt x="523" y="100"/>
                    </a:lnTo>
                    <a:lnTo>
                      <a:pt x="524" y="100"/>
                    </a:lnTo>
                    <a:lnTo>
                      <a:pt x="526" y="100"/>
                    </a:lnTo>
                    <a:lnTo>
                      <a:pt x="526" y="102"/>
                    </a:lnTo>
                    <a:lnTo>
                      <a:pt x="526" y="100"/>
                    </a:lnTo>
                    <a:lnTo>
                      <a:pt x="526" y="102"/>
                    </a:lnTo>
                    <a:lnTo>
                      <a:pt x="528" y="102"/>
                    </a:lnTo>
                    <a:lnTo>
                      <a:pt x="528" y="104"/>
                    </a:lnTo>
                    <a:lnTo>
                      <a:pt x="530" y="104"/>
                    </a:lnTo>
                    <a:lnTo>
                      <a:pt x="530" y="106"/>
                    </a:lnTo>
                    <a:lnTo>
                      <a:pt x="532" y="106"/>
                    </a:lnTo>
                    <a:lnTo>
                      <a:pt x="532" y="108"/>
                    </a:lnTo>
                    <a:lnTo>
                      <a:pt x="530" y="108"/>
                    </a:lnTo>
                    <a:lnTo>
                      <a:pt x="528" y="108"/>
                    </a:lnTo>
                    <a:lnTo>
                      <a:pt x="530" y="108"/>
                    </a:lnTo>
                    <a:lnTo>
                      <a:pt x="528" y="108"/>
                    </a:lnTo>
                    <a:lnTo>
                      <a:pt x="526" y="108"/>
                    </a:lnTo>
                    <a:lnTo>
                      <a:pt x="524" y="108"/>
                    </a:lnTo>
                    <a:lnTo>
                      <a:pt x="526" y="110"/>
                    </a:lnTo>
                    <a:lnTo>
                      <a:pt x="524" y="110"/>
                    </a:lnTo>
                    <a:lnTo>
                      <a:pt x="524" y="108"/>
                    </a:lnTo>
                    <a:lnTo>
                      <a:pt x="524" y="110"/>
                    </a:lnTo>
                    <a:lnTo>
                      <a:pt x="526" y="110"/>
                    </a:lnTo>
                    <a:lnTo>
                      <a:pt x="524" y="110"/>
                    </a:lnTo>
                    <a:lnTo>
                      <a:pt x="526" y="110"/>
                    </a:lnTo>
                    <a:lnTo>
                      <a:pt x="526" y="112"/>
                    </a:lnTo>
                    <a:lnTo>
                      <a:pt x="524" y="112"/>
                    </a:lnTo>
                    <a:lnTo>
                      <a:pt x="526" y="112"/>
                    </a:lnTo>
                    <a:lnTo>
                      <a:pt x="524" y="112"/>
                    </a:lnTo>
                    <a:lnTo>
                      <a:pt x="526" y="112"/>
                    </a:lnTo>
                    <a:lnTo>
                      <a:pt x="526" y="114"/>
                    </a:lnTo>
                    <a:lnTo>
                      <a:pt x="524" y="114"/>
                    </a:lnTo>
                    <a:lnTo>
                      <a:pt x="526" y="114"/>
                    </a:lnTo>
                    <a:lnTo>
                      <a:pt x="524" y="114"/>
                    </a:lnTo>
                    <a:lnTo>
                      <a:pt x="524" y="116"/>
                    </a:lnTo>
                    <a:lnTo>
                      <a:pt x="526" y="116"/>
                    </a:lnTo>
                    <a:lnTo>
                      <a:pt x="524" y="116"/>
                    </a:lnTo>
                    <a:lnTo>
                      <a:pt x="526" y="116"/>
                    </a:lnTo>
                    <a:lnTo>
                      <a:pt x="524" y="116"/>
                    </a:lnTo>
                    <a:lnTo>
                      <a:pt x="524" y="117"/>
                    </a:lnTo>
                    <a:lnTo>
                      <a:pt x="526" y="117"/>
                    </a:lnTo>
                    <a:lnTo>
                      <a:pt x="524" y="117"/>
                    </a:lnTo>
                    <a:lnTo>
                      <a:pt x="524" y="119"/>
                    </a:lnTo>
                    <a:lnTo>
                      <a:pt x="524" y="117"/>
                    </a:lnTo>
                    <a:lnTo>
                      <a:pt x="523" y="119"/>
                    </a:lnTo>
                    <a:lnTo>
                      <a:pt x="523" y="117"/>
                    </a:lnTo>
                    <a:lnTo>
                      <a:pt x="523" y="119"/>
                    </a:lnTo>
                    <a:lnTo>
                      <a:pt x="521" y="119"/>
                    </a:lnTo>
                    <a:lnTo>
                      <a:pt x="521" y="121"/>
                    </a:lnTo>
                    <a:lnTo>
                      <a:pt x="519" y="121"/>
                    </a:lnTo>
                    <a:lnTo>
                      <a:pt x="517" y="121"/>
                    </a:lnTo>
                    <a:lnTo>
                      <a:pt x="515" y="121"/>
                    </a:lnTo>
                    <a:lnTo>
                      <a:pt x="515" y="119"/>
                    </a:lnTo>
                    <a:lnTo>
                      <a:pt x="513" y="119"/>
                    </a:lnTo>
                    <a:lnTo>
                      <a:pt x="511" y="119"/>
                    </a:lnTo>
                    <a:lnTo>
                      <a:pt x="509" y="119"/>
                    </a:lnTo>
                    <a:lnTo>
                      <a:pt x="509" y="117"/>
                    </a:lnTo>
                    <a:lnTo>
                      <a:pt x="507" y="117"/>
                    </a:lnTo>
                    <a:lnTo>
                      <a:pt x="507" y="119"/>
                    </a:lnTo>
                    <a:lnTo>
                      <a:pt x="505" y="119"/>
                    </a:lnTo>
                    <a:lnTo>
                      <a:pt x="507" y="121"/>
                    </a:lnTo>
                    <a:lnTo>
                      <a:pt x="507" y="123"/>
                    </a:lnTo>
                    <a:lnTo>
                      <a:pt x="505" y="125"/>
                    </a:lnTo>
                    <a:lnTo>
                      <a:pt x="503" y="127"/>
                    </a:lnTo>
                    <a:lnTo>
                      <a:pt x="501" y="129"/>
                    </a:lnTo>
                    <a:lnTo>
                      <a:pt x="499" y="129"/>
                    </a:lnTo>
                    <a:lnTo>
                      <a:pt x="499" y="131"/>
                    </a:lnTo>
                    <a:lnTo>
                      <a:pt x="501" y="133"/>
                    </a:lnTo>
                    <a:lnTo>
                      <a:pt x="501" y="135"/>
                    </a:lnTo>
                    <a:lnTo>
                      <a:pt x="503" y="135"/>
                    </a:lnTo>
                    <a:lnTo>
                      <a:pt x="507" y="137"/>
                    </a:lnTo>
                    <a:lnTo>
                      <a:pt x="517" y="146"/>
                    </a:lnTo>
                    <a:lnTo>
                      <a:pt x="517" y="148"/>
                    </a:lnTo>
                    <a:lnTo>
                      <a:pt x="523" y="150"/>
                    </a:lnTo>
                    <a:lnTo>
                      <a:pt x="526" y="152"/>
                    </a:lnTo>
                    <a:lnTo>
                      <a:pt x="530" y="154"/>
                    </a:lnTo>
                    <a:lnTo>
                      <a:pt x="530" y="162"/>
                    </a:lnTo>
                    <a:lnTo>
                      <a:pt x="530" y="166"/>
                    </a:lnTo>
                    <a:lnTo>
                      <a:pt x="530" y="167"/>
                    </a:lnTo>
                    <a:lnTo>
                      <a:pt x="530" y="169"/>
                    </a:lnTo>
                    <a:lnTo>
                      <a:pt x="530" y="167"/>
                    </a:lnTo>
                    <a:lnTo>
                      <a:pt x="530" y="169"/>
                    </a:lnTo>
                    <a:lnTo>
                      <a:pt x="530" y="171"/>
                    </a:lnTo>
                    <a:lnTo>
                      <a:pt x="528" y="171"/>
                    </a:lnTo>
                    <a:lnTo>
                      <a:pt x="530" y="171"/>
                    </a:lnTo>
                    <a:lnTo>
                      <a:pt x="528" y="171"/>
                    </a:lnTo>
                    <a:lnTo>
                      <a:pt x="528" y="173"/>
                    </a:lnTo>
                    <a:lnTo>
                      <a:pt x="528" y="175"/>
                    </a:lnTo>
                    <a:lnTo>
                      <a:pt x="530" y="175"/>
                    </a:lnTo>
                    <a:lnTo>
                      <a:pt x="530" y="177"/>
                    </a:lnTo>
                    <a:lnTo>
                      <a:pt x="532" y="177"/>
                    </a:lnTo>
                    <a:lnTo>
                      <a:pt x="530" y="177"/>
                    </a:lnTo>
                    <a:lnTo>
                      <a:pt x="532" y="177"/>
                    </a:lnTo>
                    <a:lnTo>
                      <a:pt x="532" y="179"/>
                    </a:lnTo>
                    <a:lnTo>
                      <a:pt x="530" y="179"/>
                    </a:lnTo>
                    <a:lnTo>
                      <a:pt x="530" y="181"/>
                    </a:lnTo>
                    <a:lnTo>
                      <a:pt x="528" y="181"/>
                    </a:lnTo>
                    <a:lnTo>
                      <a:pt x="530" y="181"/>
                    </a:lnTo>
                    <a:lnTo>
                      <a:pt x="530" y="183"/>
                    </a:lnTo>
                    <a:lnTo>
                      <a:pt x="528" y="183"/>
                    </a:lnTo>
                    <a:lnTo>
                      <a:pt x="530" y="183"/>
                    </a:lnTo>
                    <a:lnTo>
                      <a:pt x="528" y="183"/>
                    </a:lnTo>
                    <a:lnTo>
                      <a:pt x="530" y="183"/>
                    </a:lnTo>
                    <a:lnTo>
                      <a:pt x="528" y="183"/>
                    </a:lnTo>
                    <a:lnTo>
                      <a:pt x="528" y="185"/>
                    </a:lnTo>
                    <a:lnTo>
                      <a:pt x="526" y="185"/>
                    </a:lnTo>
                    <a:lnTo>
                      <a:pt x="526" y="187"/>
                    </a:lnTo>
                    <a:lnTo>
                      <a:pt x="528" y="187"/>
                    </a:lnTo>
                    <a:lnTo>
                      <a:pt x="528" y="189"/>
                    </a:lnTo>
                    <a:lnTo>
                      <a:pt x="530" y="189"/>
                    </a:lnTo>
                    <a:lnTo>
                      <a:pt x="530" y="190"/>
                    </a:lnTo>
                    <a:lnTo>
                      <a:pt x="530" y="189"/>
                    </a:lnTo>
                    <a:lnTo>
                      <a:pt x="532" y="189"/>
                    </a:lnTo>
                    <a:lnTo>
                      <a:pt x="532" y="190"/>
                    </a:lnTo>
                    <a:lnTo>
                      <a:pt x="530" y="190"/>
                    </a:lnTo>
                    <a:lnTo>
                      <a:pt x="528" y="190"/>
                    </a:lnTo>
                    <a:lnTo>
                      <a:pt x="530" y="190"/>
                    </a:lnTo>
                    <a:lnTo>
                      <a:pt x="530" y="192"/>
                    </a:lnTo>
                    <a:lnTo>
                      <a:pt x="528" y="192"/>
                    </a:lnTo>
                    <a:lnTo>
                      <a:pt x="528" y="190"/>
                    </a:lnTo>
                    <a:lnTo>
                      <a:pt x="526" y="190"/>
                    </a:lnTo>
                    <a:lnTo>
                      <a:pt x="526" y="189"/>
                    </a:lnTo>
                    <a:lnTo>
                      <a:pt x="526" y="187"/>
                    </a:lnTo>
                    <a:lnTo>
                      <a:pt x="524" y="187"/>
                    </a:lnTo>
                    <a:lnTo>
                      <a:pt x="523" y="187"/>
                    </a:lnTo>
                    <a:lnTo>
                      <a:pt x="521" y="187"/>
                    </a:lnTo>
                    <a:lnTo>
                      <a:pt x="519" y="189"/>
                    </a:lnTo>
                    <a:lnTo>
                      <a:pt x="517" y="187"/>
                    </a:lnTo>
                    <a:lnTo>
                      <a:pt x="517" y="189"/>
                    </a:lnTo>
                    <a:lnTo>
                      <a:pt x="515" y="190"/>
                    </a:lnTo>
                    <a:lnTo>
                      <a:pt x="515" y="189"/>
                    </a:lnTo>
                    <a:lnTo>
                      <a:pt x="513" y="189"/>
                    </a:lnTo>
                    <a:lnTo>
                      <a:pt x="513" y="190"/>
                    </a:lnTo>
                    <a:lnTo>
                      <a:pt x="515" y="190"/>
                    </a:lnTo>
                    <a:lnTo>
                      <a:pt x="513" y="192"/>
                    </a:lnTo>
                    <a:lnTo>
                      <a:pt x="511" y="192"/>
                    </a:lnTo>
                    <a:lnTo>
                      <a:pt x="509" y="192"/>
                    </a:lnTo>
                    <a:lnTo>
                      <a:pt x="509" y="194"/>
                    </a:lnTo>
                    <a:lnTo>
                      <a:pt x="507" y="194"/>
                    </a:lnTo>
                    <a:lnTo>
                      <a:pt x="505" y="194"/>
                    </a:lnTo>
                    <a:lnTo>
                      <a:pt x="503" y="194"/>
                    </a:lnTo>
                    <a:lnTo>
                      <a:pt x="503" y="196"/>
                    </a:lnTo>
                    <a:lnTo>
                      <a:pt x="505" y="196"/>
                    </a:lnTo>
                    <a:lnTo>
                      <a:pt x="503" y="196"/>
                    </a:lnTo>
                    <a:lnTo>
                      <a:pt x="501" y="196"/>
                    </a:lnTo>
                    <a:lnTo>
                      <a:pt x="501" y="198"/>
                    </a:lnTo>
                    <a:lnTo>
                      <a:pt x="501" y="200"/>
                    </a:lnTo>
                    <a:lnTo>
                      <a:pt x="499" y="200"/>
                    </a:lnTo>
                    <a:lnTo>
                      <a:pt x="498" y="202"/>
                    </a:lnTo>
                    <a:lnTo>
                      <a:pt x="496" y="202"/>
                    </a:lnTo>
                    <a:lnTo>
                      <a:pt x="494" y="202"/>
                    </a:lnTo>
                    <a:lnTo>
                      <a:pt x="496" y="200"/>
                    </a:lnTo>
                    <a:lnTo>
                      <a:pt x="494" y="200"/>
                    </a:lnTo>
                    <a:lnTo>
                      <a:pt x="494" y="202"/>
                    </a:lnTo>
                    <a:lnTo>
                      <a:pt x="492" y="204"/>
                    </a:lnTo>
                    <a:lnTo>
                      <a:pt x="494" y="204"/>
                    </a:lnTo>
                    <a:lnTo>
                      <a:pt x="494" y="206"/>
                    </a:lnTo>
                    <a:lnTo>
                      <a:pt x="492" y="206"/>
                    </a:lnTo>
                    <a:lnTo>
                      <a:pt x="492" y="204"/>
                    </a:lnTo>
                    <a:lnTo>
                      <a:pt x="492" y="206"/>
                    </a:lnTo>
                    <a:lnTo>
                      <a:pt x="490" y="204"/>
                    </a:lnTo>
                    <a:lnTo>
                      <a:pt x="490" y="206"/>
                    </a:lnTo>
                    <a:lnTo>
                      <a:pt x="490" y="208"/>
                    </a:lnTo>
                    <a:lnTo>
                      <a:pt x="488" y="206"/>
                    </a:lnTo>
                    <a:lnTo>
                      <a:pt x="488" y="208"/>
                    </a:lnTo>
                    <a:lnTo>
                      <a:pt x="486" y="208"/>
                    </a:lnTo>
                    <a:lnTo>
                      <a:pt x="488" y="208"/>
                    </a:lnTo>
                    <a:lnTo>
                      <a:pt x="488" y="210"/>
                    </a:lnTo>
                    <a:lnTo>
                      <a:pt x="486" y="210"/>
                    </a:lnTo>
                    <a:lnTo>
                      <a:pt x="488" y="210"/>
                    </a:lnTo>
                    <a:lnTo>
                      <a:pt x="486" y="212"/>
                    </a:lnTo>
                    <a:lnTo>
                      <a:pt x="484" y="212"/>
                    </a:lnTo>
                    <a:lnTo>
                      <a:pt x="484" y="214"/>
                    </a:lnTo>
                    <a:lnTo>
                      <a:pt x="482" y="214"/>
                    </a:lnTo>
                    <a:lnTo>
                      <a:pt x="480" y="214"/>
                    </a:lnTo>
                    <a:lnTo>
                      <a:pt x="480" y="215"/>
                    </a:lnTo>
                    <a:lnTo>
                      <a:pt x="482" y="215"/>
                    </a:lnTo>
                    <a:lnTo>
                      <a:pt x="484" y="217"/>
                    </a:lnTo>
                    <a:lnTo>
                      <a:pt x="482" y="217"/>
                    </a:lnTo>
                    <a:lnTo>
                      <a:pt x="482" y="219"/>
                    </a:lnTo>
                    <a:lnTo>
                      <a:pt x="484" y="219"/>
                    </a:lnTo>
                    <a:lnTo>
                      <a:pt x="484" y="221"/>
                    </a:lnTo>
                    <a:lnTo>
                      <a:pt x="486" y="221"/>
                    </a:lnTo>
                    <a:lnTo>
                      <a:pt x="486" y="223"/>
                    </a:lnTo>
                    <a:lnTo>
                      <a:pt x="484" y="223"/>
                    </a:lnTo>
                    <a:lnTo>
                      <a:pt x="482" y="223"/>
                    </a:lnTo>
                    <a:lnTo>
                      <a:pt x="482" y="225"/>
                    </a:lnTo>
                    <a:lnTo>
                      <a:pt x="484" y="225"/>
                    </a:lnTo>
                    <a:lnTo>
                      <a:pt x="486" y="225"/>
                    </a:lnTo>
                    <a:lnTo>
                      <a:pt x="486" y="227"/>
                    </a:lnTo>
                    <a:lnTo>
                      <a:pt x="488" y="227"/>
                    </a:lnTo>
                    <a:lnTo>
                      <a:pt x="488" y="229"/>
                    </a:lnTo>
                    <a:lnTo>
                      <a:pt x="490" y="229"/>
                    </a:lnTo>
                    <a:lnTo>
                      <a:pt x="490" y="227"/>
                    </a:lnTo>
                    <a:lnTo>
                      <a:pt x="490" y="229"/>
                    </a:lnTo>
                    <a:lnTo>
                      <a:pt x="492" y="229"/>
                    </a:lnTo>
                    <a:lnTo>
                      <a:pt x="492" y="231"/>
                    </a:lnTo>
                    <a:lnTo>
                      <a:pt x="492" y="229"/>
                    </a:lnTo>
                    <a:lnTo>
                      <a:pt x="492" y="231"/>
                    </a:lnTo>
                    <a:lnTo>
                      <a:pt x="492" y="233"/>
                    </a:lnTo>
                    <a:lnTo>
                      <a:pt x="494" y="233"/>
                    </a:lnTo>
                    <a:lnTo>
                      <a:pt x="494" y="235"/>
                    </a:lnTo>
                    <a:lnTo>
                      <a:pt x="494" y="237"/>
                    </a:lnTo>
                    <a:lnTo>
                      <a:pt x="494" y="239"/>
                    </a:lnTo>
                    <a:lnTo>
                      <a:pt x="494" y="240"/>
                    </a:lnTo>
                    <a:lnTo>
                      <a:pt x="496" y="242"/>
                    </a:lnTo>
                    <a:lnTo>
                      <a:pt x="494" y="242"/>
                    </a:lnTo>
                    <a:lnTo>
                      <a:pt x="496" y="242"/>
                    </a:lnTo>
                    <a:lnTo>
                      <a:pt x="496" y="244"/>
                    </a:lnTo>
                    <a:lnTo>
                      <a:pt x="496" y="242"/>
                    </a:lnTo>
                    <a:lnTo>
                      <a:pt x="498" y="242"/>
                    </a:lnTo>
                    <a:lnTo>
                      <a:pt x="498" y="244"/>
                    </a:lnTo>
                    <a:lnTo>
                      <a:pt x="496" y="244"/>
                    </a:lnTo>
                    <a:lnTo>
                      <a:pt x="498" y="244"/>
                    </a:lnTo>
                    <a:lnTo>
                      <a:pt x="498" y="246"/>
                    </a:lnTo>
                    <a:lnTo>
                      <a:pt x="499" y="246"/>
                    </a:lnTo>
                    <a:lnTo>
                      <a:pt x="498" y="246"/>
                    </a:lnTo>
                    <a:lnTo>
                      <a:pt x="498" y="248"/>
                    </a:lnTo>
                    <a:lnTo>
                      <a:pt x="499" y="248"/>
                    </a:lnTo>
                    <a:lnTo>
                      <a:pt x="501" y="248"/>
                    </a:lnTo>
                    <a:lnTo>
                      <a:pt x="503" y="248"/>
                    </a:lnTo>
                    <a:lnTo>
                      <a:pt x="505" y="248"/>
                    </a:lnTo>
                    <a:lnTo>
                      <a:pt x="507" y="248"/>
                    </a:lnTo>
                    <a:lnTo>
                      <a:pt x="507" y="250"/>
                    </a:lnTo>
                    <a:lnTo>
                      <a:pt x="509" y="250"/>
                    </a:lnTo>
                    <a:lnTo>
                      <a:pt x="509" y="252"/>
                    </a:lnTo>
                    <a:lnTo>
                      <a:pt x="511" y="252"/>
                    </a:lnTo>
                    <a:lnTo>
                      <a:pt x="511" y="250"/>
                    </a:lnTo>
                    <a:lnTo>
                      <a:pt x="511" y="252"/>
                    </a:lnTo>
                    <a:lnTo>
                      <a:pt x="511" y="250"/>
                    </a:lnTo>
                    <a:lnTo>
                      <a:pt x="511" y="252"/>
                    </a:lnTo>
                    <a:lnTo>
                      <a:pt x="513" y="252"/>
                    </a:lnTo>
                    <a:lnTo>
                      <a:pt x="515" y="252"/>
                    </a:lnTo>
                    <a:lnTo>
                      <a:pt x="517" y="252"/>
                    </a:lnTo>
                    <a:lnTo>
                      <a:pt x="517" y="254"/>
                    </a:lnTo>
                    <a:lnTo>
                      <a:pt x="517" y="252"/>
                    </a:lnTo>
                    <a:lnTo>
                      <a:pt x="519" y="252"/>
                    </a:lnTo>
                    <a:lnTo>
                      <a:pt x="519" y="254"/>
                    </a:lnTo>
                    <a:lnTo>
                      <a:pt x="521" y="254"/>
                    </a:lnTo>
                    <a:lnTo>
                      <a:pt x="519" y="254"/>
                    </a:lnTo>
                    <a:lnTo>
                      <a:pt x="519" y="256"/>
                    </a:lnTo>
                    <a:lnTo>
                      <a:pt x="521" y="256"/>
                    </a:lnTo>
                    <a:lnTo>
                      <a:pt x="521" y="258"/>
                    </a:lnTo>
                    <a:lnTo>
                      <a:pt x="523" y="258"/>
                    </a:lnTo>
                    <a:lnTo>
                      <a:pt x="521" y="258"/>
                    </a:lnTo>
                    <a:lnTo>
                      <a:pt x="523" y="258"/>
                    </a:lnTo>
                    <a:lnTo>
                      <a:pt x="523" y="260"/>
                    </a:lnTo>
                    <a:lnTo>
                      <a:pt x="524" y="260"/>
                    </a:lnTo>
                    <a:lnTo>
                      <a:pt x="526" y="260"/>
                    </a:lnTo>
                    <a:lnTo>
                      <a:pt x="528" y="260"/>
                    </a:lnTo>
                    <a:lnTo>
                      <a:pt x="530" y="260"/>
                    </a:lnTo>
                    <a:lnTo>
                      <a:pt x="530" y="258"/>
                    </a:lnTo>
                    <a:lnTo>
                      <a:pt x="532" y="258"/>
                    </a:lnTo>
                    <a:lnTo>
                      <a:pt x="534" y="258"/>
                    </a:lnTo>
                    <a:lnTo>
                      <a:pt x="534" y="260"/>
                    </a:lnTo>
                    <a:lnTo>
                      <a:pt x="536" y="260"/>
                    </a:lnTo>
                    <a:lnTo>
                      <a:pt x="538" y="260"/>
                    </a:lnTo>
                    <a:lnTo>
                      <a:pt x="538" y="258"/>
                    </a:lnTo>
                    <a:lnTo>
                      <a:pt x="540" y="258"/>
                    </a:lnTo>
                    <a:lnTo>
                      <a:pt x="542" y="256"/>
                    </a:lnTo>
                    <a:lnTo>
                      <a:pt x="540" y="256"/>
                    </a:lnTo>
                    <a:lnTo>
                      <a:pt x="540" y="254"/>
                    </a:lnTo>
                    <a:lnTo>
                      <a:pt x="542" y="250"/>
                    </a:lnTo>
                    <a:lnTo>
                      <a:pt x="544" y="248"/>
                    </a:lnTo>
                    <a:lnTo>
                      <a:pt x="544" y="250"/>
                    </a:lnTo>
                    <a:lnTo>
                      <a:pt x="546" y="250"/>
                    </a:lnTo>
                    <a:lnTo>
                      <a:pt x="548" y="252"/>
                    </a:lnTo>
                    <a:lnTo>
                      <a:pt x="548" y="254"/>
                    </a:lnTo>
                    <a:lnTo>
                      <a:pt x="548" y="256"/>
                    </a:lnTo>
                    <a:lnTo>
                      <a:pt x="546" y="258"/>
                    </a:lnTo>
                    <a:lnTo>
                      <a:pt x="546" y="260"/>
                    </a:lnTo>
                    <a:lnTo>
                      <a:pt x="544" y="262"/>
                    </a:lnTo>
                    <a:lnTo>
                      <a:pt x="544" y="264"/>
                    </a:lnTo>
                    <a:lnTo>
                      <a:pt x="546" y="264"/>
                    </a:lnTo>
                    <a:lnTo>
                      <a:pt x="548" y="264"/>
                    </a:lnTo>
                    <a:lnTo>
                      <a:pt x="549" y="265"/>
                    </a:lnTo>
                    <a:lnTo>
                      <a:pt x="551" y="265"/>
                    </a:lnTo>
                    <a:lnTo>
                      <a:pt x="551" y="267"/>
                    </a:lnTo>
                    <a:lnTo>
                      <a:pt x="553" y="267"/>
                    </a:lnTo>
                    <a:lnTo>
                      <a:pt x="555" y="267"/>
                    </a:lnTo>
                    <a:lnTo>
                      <a:pt x="557" y="267"/>
                    </a:lnTo>
                    <a:lnTo>
                      <a:pt x="559" y="267"/>
                    </a:lnTo>
                    <a:lnTo>
                      <a:pt x="559" y="269"/>
                    </a:lnTo>
                    <a:lnTo>
                      <a:pt x="559" y="271"/>
                    </a:lnTo>
                    <a:lnTo>
                      <a:pt x="559" y="273"/>
                    </a:lnTo>
                    <a:lnTo>
                      <a:pt x="557" y="273"/>
                    </a:lnTo>
                    <a:lnTo>
                      <a:pt x="555" y="273"/>
                    </a:lnTo>
                    <a:lnTo>
                      <a:pt x="555" y="275"/>
                    </a:lnTo>
                    <a:lnTo>
                      <a:pt x="557" y="275"/>
                    </a:lnTo>
                    <a:lnTo>
                      <a:pt x="557" y="277"/>
                    </a:lnTo>
                    <a:lnTo>
                      <a:pt x="557" y="279"/>
                    </a:lnTo>
                    <a:lnTo>
                      <a:pt x="559" y="279"/>
                    </a:lnTo>
                    <a:lnTo>
                      <a:pt x="559" y="281"/>
                    </a:lnTo>
                    <a:lnTo>
                      <a:pt x="559" y="283"/>
                    </a:lnTo>
                    <a:lnTo>
                      <a:pt x="559" y="285"/>
                    </a:lnTo>
                    <a:lnTo>
                      <a:pt x="559" y="289"/>
                    </a:lnTo>
                    <a:lnTo>
                      <a:pt x="561" y="290"/>
                    </a:lnTo>
                    <a:lnTo>
                      <a:pt x="563" y="290"/>
                    </a:lnTo>
                    <a:lnTo>
                      <a:pt x="565" y="292"/>
                    </a:lnTo>
                    <a:lnTo>
                      <a:pt x="565" y="294"/>
                    </a:lnTo>
                    <a:lnTo>
                      <a:pt x="565" y="296"/>
                    </a:lnTo>
                    <a:lnTo>
                      <a:pt x="565" y="298"/>
                    </a:lnTo>
                    <a:lnTo>
                      <a:pt x="563" y="300"/>
                    </a:lnTo>
                    <a:lnTo>
                      <a:pt x="559" y="300"/>
                    </a:lnTo>
                    <a:lnTo>
                      <a:pt x="559" y="302"/>
                    </a:lnTo>
                    <a:lnTo>
                      <a:pt x="559" y="304"/>
                    </a:lnTo>
                    <a:lnTo>
                      <a:pt x="559" y="306"/>
                    </a:lnTo>
                    <a:lnTo>
                      <a:pt x="559" y="308"/>
                    </a:lnTo>
                    <a:lnTo>
                      <a:pt x="559" y="312"/>
                    </a:lnTo>
                    <a:lnTo>
                      <a:pt x="559" y="314"/>
                    </a:lnTo>
                    <a:lnTo>
                      <a:pt x="559" y="317"/>
                    </a:lnTo>
                    <a:lnTo>
                      <a:pt x="559" y="319"/>
                    </a:lnTo>
                    <a:lnTo>
                      <a:pt x="557" y="321"/>
                    </a:lnTo>
                    <a:lnTo>
                      <a:pt x="555" y="321"/>
                    </a:lnTo>
                    <a:lnTo>
                      <a:pt x="553" y="323"/>
                    </a:lnTo>
                    <a:lnTo>
                      <a:pt x="553" y="325"/>
                    </a:lnTo>
                    <a:lnTo>
                      <a:pt x="553" y="327"/>
                    </a:lnTo>
                    <a:lnTo>
                      <a:pt x="551" y="327"/>
                    </a:lnTo>
                    <a:lnTo>
                      <a:pt x="549" y="329"/>
                    </a:lnTo>
                    <a:lnTo>
                      <a:pt x="548" y="329"/>
                    </a:lnTo>
                    <a:lnTo>
                      <a:pt x="548" y="331"/>
                    </a:lnTo>
                    <a:lnTo>
                      <a:pt x="549" y="333"/>
                    </a:lnTo>
                    <a:lnTo>
                      <a:pt x="548" y="333"/>
                    </a:lnTo>
                    <a:lnTo>
                      <a:pt x="548" y="337"/>
                    </a:lnTo>
                    <a:lnTo>
                      <a:pt x="548" y="339"/>
                    </a:lnTo>
                    <a:lnTo>
                      <a:pt x="548" y="340"/>
                    </a:lnTo>
                    <a:lnTo>
                      <a:pt x="546" y="340"/>
                    </a:lnTo>
                    <a:lnTo>
                      <a:pt x="544" y="340"/>
                    </a:lnTo>
                    <a:lnTo>
                      <a:pt x="544" y="339"/>
                    </a:lnTo>
                    <a:lnTo>
                      <a:pt x="542" y="339"/>
                    </a:lnTo>
                    <a:lnTo>
                      <a:pt x="540" y="339"/>
                    </a:lnTo>
                    <a:lnTo>
                      <a:pt x="538" y="337"/>
                    </a:lnTo>
                    <a:lnTo>
                      <a:pt x="536" y="339"/>
                    </a:lnTo>
                    <a:lnTo>
                      <a:pt x="534" y="339"/>
                    </a:lnTo>
                    <a:lnTo>
                      <a:pt x="532" y="339"/>
                    </a:lnTo>
                    <a:lnTo>
                      <a:pt x="532" y="337"/>
                    </a:lnTo>
                    <a:lnTo>
                      <a:pt x="532" y="339"/>
                    </a:lnTo>
                    <a:lnTo>
                      <a:pt x="530" y="340"/>
                    </a:lnTo>
                    <a:lnTo>
                      <a:pt x="532" y="340"/>
                    </a:lnTo>
                    <a:lnTo>
                      <a:pt x="532" y="342"/>
                    </a:lnTo>
                    <a:lnTo>
                      <a:pt x="532" y="344"/>
                    </a:lnTo>
                    <a:lnTo>
                      <a:pt x="534" y="344"/>
                    </a:lnTo>
                    <a:lnTo>
                      <a:pt x="534" y="346"/>
                    </a:lnTo>
                    <a:lnTo>
                      <a:pt x="534" y="348"/>
                    </a:lnTo>
                    <a:lnTo>
                      <a:pt x="536" y="348"/>
                    </a:lnTo>
                    <a:lnTo>
                      <a:pt x="536" y="350"/>
                    </a:lnTo>
                    <a:lnTo>
                      <a:pt x="538" y="350"/>
                    </a:lnTo>
                    <a:lnTo>
                      <a:pt x="538" y="352"/>
                    </a:lnTo>
                    <a:lnTo>
                      <a:pt x="538" y="350"/>
                    </a:lnTo>
                    <a:lnTo>
                      <a:pt x="538" y="352"/>
                    </a:lnTo>
                    <a:lnTo>
                      <a:pt x="540" y="352"/>
                    </a:lnTo>
                    <a:lnTo>
                      <a:pt x="538" y="352"/>
                    </a:lnTo>
                    <a:lnTo>
                      <a:pt x="538" y="354"/>
                    </a:lnTo>
                    <a:lnTo>
                      <a:pt x="540" y="354"/>
                    </a:lnTo>
                    <a:lnTo>
                      <a:pt x="538" y="354"/>
                    </a:lnTo>
                    <a:lnTo>
                      <a:pt x="538" y="356"/>
                    </a:lnTo>
                    <a:lnTo>
                      <a:pt x="538" y="354"/>
                    </a:lnTo>
                    <a:lnTo>
                      <a:pt x="538" y="356"/>
                    </a:lnTo>
                    <a:lnTo>
                      <a:pt x="536" y="356"/>
                    </a:lnTo>
                    <a:lnTo>
                      <a:pt x="538" y="356"/>
                    </a:lnTo>
                    <a:lnTo>
                      <a:pt x="538" y="358"/>
                    </a:lnTo>
                    <a:lnTo>
                      <a:pt x="538" y="360"/>
                    </a:lnTo>
                    <a:lnTo>
                      <a:pt x="540" y="360"/>
                    </a:lnTo>
                    <a:lnTo>
                      <a:pt x="540" y="362"/>
                    </a:lnTo>
                    <a:lnTo>
                      <a:pt x="540" y="360"/>
                    </a:lnTo>
                    <a:lnTo>
                      <a:pt x="540" y="362"/>
                    </a:lnTo>
                    <a:lnTo>
                      <a:pt x="542" y="362"/>
                    </a:lnTo>
                    <a:lnTo>
                      <a:pt x="542" y="364"/>
                    </a:lnTo>
                    <a:lnTo>
                      <a:pt x="544" y="364"/>
                    </a:lnTo>
                    <a:lnTo>
                      <a:pt x="546" y="364"/>
                    </a:lnTo>
                    <a:lnTo>
                      <a:pt x="544" y="364"/>
                    </a:lnTo>
                    <a:lnTo>
                      <a:pt x="544" y="365"/>
                    </a:lnTo>
                    <a:lnTo>
                      <a:pt x="546" y="365"/>
                    </a:lnTo>
                    <a:lnTo>
                      <a:pt x="544" y="365"/>
                    </a:lnTo>
                    <a:lnTo>
                      <a:pt x="546" y="365"/>
                    </a:lnTo>
                    <a:lnTo>
                      <a:pt x="544" y="365"/>
                    </a:lnTo>
                    <a:lnTo>
                      <a:pt x="544" y="367"/>
                    </a:lnTo>
                    <a:lnTo>
                      <a:pt x="544" y="369"/>
                    </a:lnTo>
                    <a:lnTo>
                      <a:pt x="544" y="367"/>
                    </a:lnTo>
                    <a:lnTo>
                      <a:pt x="544" y="369"/>
                    </a:lnTo>
                    <a:lnTo>
                      <a:pt x="542" y="369"/>
                    </a:lnTo>
                    <a:lnTo>
                      <a:pt x="540" y="369"/>
                    </a:lnTo>
                    <a:lnTo>
                      <a:pt x="542" y="369"/>
                    </a:lnTo>
                    <a:lnTo>
                      <a:pt x="542" y="371"/>
                    </a:lnTo>
                    <a:lnTo>
                      <a:pt x="540" y="371"/>
                    </a:lnTo>
                    <a:lnTo>
                      <a:pt x="540" y="373"/>
                    </a:lnTo>
                    <a:lnTo>
                      <a:pt x="542" y="373"/>
                    </a:lnTo>
                    <a:lnTo>
                      <a:pt x="540" y="373"/>
                    </a:lnTo>
                    <a:lnTo>
                      <a:pt x="542" y="373"/>
                    </a:lnTo>
                    <a:lnTo>
                      <a:pt x="542" y="375"/>
                    </a:lnTo>
                    <a:lnTo>
                      <a:pt x="540" y="375"/>
                    </a:lnTo>
                    <a:lnTo>
                      <a:pt x="542" y="375"/>
                    </a:lnTo>
                    <a:lnTo>
                      <a:pt x="540" y="375"/>
                    </a:lnTo>
                    <a:lnTo>
                      <a:pt x="542" y="375"/>
                    </a:lnTo>
                    <a:lnTo>
                      <a:pt x="542" y="377"/>
                    </a:lnTo>
                    <a:lnTo>
                      <a:pt x="542" y="375"/>
                    </a:lnTo>
                    <a:lnTo>
                      <a:pt x="542" y="377"/>
                    </a:lnTo>
                    <a:lnTo>
                      <a:pt x="540" y="377"/>
                    </a:lnTo>
                    <a:lnTo>
                      <a:pt x="540" y="379"/>
                    </a:lnTo>
                    <a:lnTo>
                      <a:pt x="538" y="377"/>
                    </a:lnTo>
                    <a:lnTo>
                      <a:pt x="538" y="379"/>
                    </a:lnTo>
                    <a:lnTo>
                      <a:pt x="540" y="379"/>
                    </a:lnTo>
                    <a:lnTo>
                      <a:pt x="538" y="379"/>
                    </a:lnTo>
                    <a:lnTo>
                      <a:pt x="538" y="381"/>
                    </a:lnTo>
                    <a:lnTo>
                      <a:pt x="536" y="381"/>
                    </a:lnTo>
                    <a:lnTo>
                      <a:pt x="536" y="383"/>
                    </a:lnTo>
                    <a:lnTo>
                      <a:pt x="538" y="383"/>
                    </a:lnTo>
                    <a:lnTo>
                      <a:pt x="538" y="385"/>
                    </a:lnTo>
                    <a:lnTo>
                      <a:pt x="542" y="390"/>
                    </a:lnTo>
                    <a:lnTo>
                      <a:pt x="546" y="392"/>
                    </a:lnTo>
                    <a:lnTo>
                      <a:pt x="555" y="406"/>
                    </a:lnTo>
                    <a:lnTo>
                      <a:pt x="557" y="406"/>
                    </a:lnTo>
                    <a:lnTo>
                      <a:pt x="555" y="408"/>
                    </a:lnTo>
                    <a:lnTo>
                      <a:pt x="557" y="408"/>
                    </a:lnTo>
                    <a:lnTo>
                      <a:pt x="559" y="410"/>
                    </a:lnTo>
                    <a:lnTo>
                      <a:pt x="559" y="412"/>
                    </a:lnTo>
                    <a:lnTo>
                      <a:pt x="559" y="414"/>
                    </a:lnTo>
                    <a:lnTo>
                      <a:pt x="561" y="415"/>
                    </a:lnTo>
                    <a:lnTo>
                      <a:pt x="559" y="415"/>
                    </a:lnTo>
                    <a:lnTo>
                      <a:pt x="559" y="417"/>
                    </a:lnTo>
                    <a:lnTo>
                      <a:pt x="561" y="417"/>
                    </a:lnTo>
                    <a:lnTo>
                      <a:pt x="561" y="419"/>
                    </a:lnTo>
                    <a:lnTo>
                      <a:pt x="561" y="421"/>
                    </a:lnTo>
                    <a:lnTo>
                      <a:pt x="559" y="421"/>
                    </a:lnTo>
                    <a:lnTo>
                      <a:pt x="559" y="423"/>
                    </a:lnTo>
                    <a:lnTo>
                      <a:pt x="557" y="423"/>
                    </a:lnTo>
                    <a:lnTo>
                      <a:pt x="555" y="423"/>
                    </a:lnTo>
                    <a:lnTo>
                      <a:pt x="555" y="425"/>
                    </a:lnTo>
                    <a:lnTo>
                      <a:pt x="555" y="427"/>
                    </a:lnTo>
                    <a:lnTo>
                      <a:pt x="555" y="429"/>
                    </a:lnTo>
                    <a:lnTo>
                      <a:pt x="553" y="431"/>
                    </a:lnTo>
                    <a:lnTo>
                      <a:pt x="553" y="433"/>
                    </a:lnTo>
                    <a:lnTo>
                      <a:pt x="555" y="435"/>
                    </a:lnTo>
                    <a:lnTo>
                      <a:pt x="555" y="437"/>
                    </a:lnTo>
                    <a:lnTo>
                      <a:pt x="557" y="437"/>
                    </a:lnTo>
                    <a:lnTo>
                      <a:pt x="557" y="438"/>
                    </a:lnTo>
                    <a:lnTo>
                      <a:pt x="559" y="438"/>
                    </a:lnTo>
                    <a:lnTo>
                      <a:pt x="559" y="440"/>
                    </a:lnTo>
                    <a:lnTo>
                      <a:pt x="559" y="442"/>
                    </a:lnTo>
                    <a:lnTo>
                      <a:pt x="561" y="442"/>
                    </a:lnTo>
                    <a:lnTo>
                      <a:pt x="561" y="444"/>
                    </a:lnTo>
                    <a:lnTo>
                      <a:pt x="561" y="446"/>
                    </a:lnTo>
                    <a:lnTo>
                      <a:pt x="563" y="448"/>
                    </a:lnTo>
                    <a:lnTo>
                      <a:pt x="563" y="450"/>
                    </a:lnTo>
                    <a:lnTo>
                      <a:pt x="563" y="452"/>
                    </a:lnTo>
                    <a:lnTo>
                      <a:pt x="561" y="452"/>
                    </a:lnTo>
                    <a:lnTo>
                      <a:pt x="561" y="454"/>
                    </a:lnTo>
                    <a:lnTo>
                      <a:pt x="559" y="454"/>
                    </a:lnTo>
                    <a:lnTo>
                      <a:pt x="559" y="456"/>
                    </a:lnTo>
                    <a:lnTo>
                      <a:pt x="557" y="456"/>
                    </a:lnTo>
                    <a:lnTo>
                      <a:pt x="557" y="458"/>
                    </a:lnTo>
                    <a:lnTo>
                      <a:pt x="555" y="458"/>
                    </a:lnTo>
                    <a:lnTo>
                      <a:pt x="555" y="460"/>
                    </a:lnTo>
                    <a:lnTo>
                      <a:pt x="555" y="458"/>
                    </a:lnTo>
                    <a:lnTo>
                      <a:pt x="557" y="458"/>
                    </a:lnTo>
                    <a:lnTo>
                      <a:pt x="557" y="460"/>
                    </a:lnTo>
                    <a:lnTo>
                      <a:pt x="557" y="462"/>
                    </a:lnTo>
                    <a:lnTo>
                      <a:pt x="555" y="462"/>
                    </a:lnTo>
                    <a:lnTo>
                      <a:pt x="557" y="462"/>
                    </a:lnTo>
                    <a:lnTo>
                      <a:pt x="557" y="463"/>
                    </a:lnTo>
                    <a:lnTo>
                      <a:pt x="559" y="463"/>
                    </a:lnTo>
                    <a:lnTo>
                      <a:pt x="559" y="465"/>
                    </a:lnTo>
                    <a:lnTo>
                      <a:pt x="561" y="465"/>
                    </a:lnTo>
                    <a:lnTo>
                      <a:pt x="561" y="467"/>
                    </a:lnTo>
                    <a:lnTo>
                      <a:pt x="561" y="469"/>
                    </a:lnTo>
                    <a:lnTo>
                      <a:pt x="561" y="471"/>
                    </a:lnTo>
                    <a:lnTo>
                      <a:pt x="559" y="473"/>
                    </a:lnTo>
                    <a:lnTo>
                      <a:pt x="561" y="477"/>
                    </a:lnTo>
                    <a:lnTo>
                      <a:pt x="563" y="477"/>
                    </a:lnTo>
                    <a:lnTo>
                      <a:pt x="563" y="475"/>
                    </a:lnTo>
                    <a:lnTo>
                      <a:pt x="565" y="475"/>
                    </a:lnTo>
                    <a:lnTo>
                      <a:pt x="569" y="475"/>
                    </a:lnTo>
                    <a:lnTo>
                      <a:pt x="572" y="475"/>
                    </a:lnTo>
                    <a:lnTo>
                      <a:pt x="574" y="479"/>
                    </a:lnTo>
                    <a:lnTo>
                      <a:pt x="574" y="481"/>
                    </a:lnTo>
                    <a:lnTo>
                      <a:pt x="576" y="481"/>
                    </a:lnTo>
                    <a:lnTo>
                      <a:pt x="576" y="483"/>
                    </a:lnTo>
                    <a:lnTo>
                      <a:pt x="578" y="483"/>
                    </a:lnTo>
                    <a:lnTo>
                      <a:pt x="578" y="485"/>
                    </a:lnTo>
                    <a:lnTo>
                      <a:pt x="580" y="483"/>
                    </a:lnTo>
                    <a:lnTo>
                      <a:pt x="580" y="485"/>
                    </a:lnTo>
                    <a:lnTo>
                      <a:pt x="580" y="487"/>
                    </a:lnTo>
                    <a:lnTo>
                      <a:pt x="578" y="487"/>
                    </a:lnTo>
                    <a:lnTo>
                      <a:pt x="578" y="488"/>
                    </a:lnTo>
                    <a:lnTo>
                      <a:pt x="576" y="488"/>
                    </a:lnTo>
                    <a:lnTo>
                      <a:pt x="576" y="490"/>
                    </a:lnTo>
                    <a:lnTo>
                      <a:pt x="578" y="490"/>
                    </a:lnTo>
                    <a:lnTo>
                      <a:pt x="580" y="492"/>
                    </a:lnTo>
                    <a:lnTo>
                      <a:pt x="582" y="492"/>
                    </a:lnTo>
                    <a:lnTo>
                      <a:pt x="582" y="494"/>
                    </a:lnTo>
                    <a:lnTo>
                      <a:pt x="582" y="496"/>
                    </a:lnTo>
                    <a:lnTo>
                      <a:pt x="584" y="496"/>
                    </a:lnTo>
                    <a:lnTo>
                      <a:pt x="584" y="498"/>
                    </a:lnTo>
                    <a:lnTo>
                      <a:pt x="584" y="500"/>
                    </a:lnTo>
                    <a:lnTo>
                      <a:pt x="582" y="502"/>
                    </a:lnTo>
                    <a:lnTo>
                      <a:pt x="584" y="502"/>
                    </a:lnTo>
                    <a:lnTo>
                      <a:pt x="584" y="504"/>
                    </a:lnTo>
                    <a:lnTo>
                      <a:pt x="584" y="506"/>
                    </a:lnTo>
                    <a:lnTo>
                      <a:pt x="584" y="508"/>
                    </a:lnTo>
                    <a:lnTo>
                      <a:pt x="584" y="510"/>
                    </a:lnTo>
                    <a:lnTo>
                      <a:pt x="584" y="512"/>
                    </a:lnTo>
                    <a:lnTo>
                      <a:pt x="582" y="512"/>
                    </a:lnTo>
                    <a:lnTo>
                      <a:pt x="582" y="513"/>
                    </a:lnTo>
                    <a:lnTo>
                      <a:pt x="580" y="513"/>
                    </a:lnTo>
                    <a:lnTo>
                      <a:pt x="578" y="515"/>
                    </a:lnTo>
                    <a:lnTo>
                      <a:pt x="576" y="519"/>
                    </a:lnTo>
                    <a:lnTo>
                      <a:pt x="576" y="521"/>
                    </a:lnTo>
                    <a:lnTo>
                      <a:pt x="576" y="523"/>
                    </a:lnTo>
                    <a:lnTo>
                      <a:pt x="576" y="521"/>
                    </a:lnTo>
                    <a:lnTo>
                      <a:pt x="578" y="521"/>
                    </a:lnTo>
                    <a:lnTo>
                      <a:pt x="576" y="523"/>
                    </a:lnTo>
                    <a:lnTo>
                      <a:pt x="578" y="523"/>
                    </a:lnTo>
                    <a:lnTo>
                      <a:pt x="578" y="525"/>
                    </a:lnTo>
                    <a:lnTo>
                      <a:pt x="576" y="525"/>
                    </a:lnTo>
                    <a:lnTo>
                      <a:pt x="578" y="525"/>
                    </a:lnTo>
                    <a:lnTo>
                      <a:pt x="578" y="527"/>
                    </a:lnTo>
                    <a:lnTo>
                      <a:pt x="576" y="527"/>
                    </a:lnTo>
                    <a:lnTo>
                      <a:pt x="576" y="529"/>
                    </a:lnTo>
                    <a:lnTo>
                      <a:pt x="574" y="529"/>
                    </a:lnTo>
                    <a:lnTo>
                      <a:pt x="574" y="531"/>
                    </a:lnTo>
                    <a:lnTo>
                      <a:pt x="574" y="529"/>
                    </a:lnTo>
                    <a:lnTo>
                      <a:pt x="574" y="531"/>
                    </a:lnTo>
                    <a:lnTo>
                      <a:pt x="576" y="533"/>
                    </a:lnTo>
                    <a:lnTo>
                      <a:pt x="574" y="533"/>
                    </a:lnTo>
                    <a:lnTo>
                      <a:pt x="576" y="533"/>
                    </a:lnTo>
                    <a:lnTo>
                      <a:pt x="578" y="533"/>
                    </a:lnTo>
                    <a:lnTo>
                      <a:pt x="578" y="531"/>
                    </a:lnTo>
                    <a:lnTo>
                      <a:pt x="578" y="533"/>
                    </a:lnTo>
                    <a:lnTo>
                      <a:pt x="580" y="533"/>
                    </a:lnTo>
                    <a:lnTo>
                      <a:pt x="582" y="533"/>
                    </a:lnTo>
                    <a:lnTo>
                      <a:pt x="584" y="533"/>
                    </a:lnTo>
                    <a:lnTo>
                      <a:pt x="586" y="533"/>
                    </a:lnTo>
                    <a:lnTo>
                      <a:pt x="588" y="533"/>
                    </a:lnTo>
                    <a:lnTo>
                      <a:pt x="588" y="531"/>
                    </a:lnTo>
                    <a:lnTo>
                      <a:pt x="588" y="533"/>
                    </a:lnTo>
                    <a:lnTo>
                      <a:pt x="590" y="531"/>
                    </a:lnTo>
                    <a:lnTo>
                      <a:pt x="590" y="533"/>
                    </a:lnTo>
                    <a:lnTo>
                      <a:pt x="590" y="531"/>
                    </a:lnTo>
                    <a:lnTo>
                      <a:pt x="590" y="533"/>
                    </a:lnTo>
                    <a:lnTo>
                      <a:pt x="592" y="533"/>
                    </a:lnTo>
                    <a:lnTo>
                      <a:pt x="592" y="531"/>
                    </a:lnTo>
                    <a:lnTo>
                      <a:pt x="592" y="533"/>
                    </a:lnTo>
                    <a:lnTo>
                      <a:pt x="594" y="533"/>
                    </a:lnTo>
                    <a:lnTo>
                      <a:pt x="594" y="535"/>
                    </a:lnTo>
                    <a:lnTo>
                      <a:pt x="594" y="537"/>
                    </a:lnTo>
                    <a:lnTo>
                      <a:pt x="592" y="537"/>
                    </a:lnTo>
                    <a:lnTo>
                      <a:pt x="592" y="538"/>
                    </a:lnTo>
                    <a:lnTo>
                      <a:pt x="594" y="538"/>
                    </a:lnTo>
                    <a:lnTo>
                      <a:pt x="592" y="538"/>
                    </a:lnTo>
                    <a:lnTo>
                      <a:pt x="594" y="538"/>
                    </a:lnTo>
                    <a:lnTo>
                      <a:pt x="594" y="540"/>
                    </a:lnTo>
                    <a:lnTo>
                      <a:pt x="596" y="540"/>
                    </a:lnTo>
                    <a:lnTo>
                      <a:pt x="596" y="542"/>
                    </a:lnTo>
                    <a:lnTo>
                      <a:pt x="596" y="544"/>
                    </a:lnTo>
                    <a:lnTo>
                      <a:pt x="597" y="544"/>
                    </a:lnTo>
                    <a:lnTo>
                      <a:pt x="597" y="542"/>
                    </a:lnTo>
                    <a:lnTo>
                      <a:pt x="597" y="544"/>
                    </a:lnTo>
                    <a:lnTo>
                      <a:pt x="597" y="542"/>
                    </a:lnTo>
                    <a:lnTo>
                      <a:pt x="599" y="542"/>
                    </a:lnTo>
                    <a:lnTo>
                      <a:pt x="601" y="542"/>
                    </a:lnTo>
                    <a:lnTo>
                      <a:pt x="599" y="542"/>
                    </a:lnTo>
                    <a:lnTo>
                      <a:pt x="601" y="542"/>
                    </a:lnTo>
                    <a:lnTo>
                      <a:pt x="603" y="542"/>
                    </a:lnTo>
                    <a:lnTo>
                      <a:pt x="603" y="540"/>
                    </a:lnTo>
                    <a:lnTo>
                      <a:pt x="605" y="540"/>
                    </a:lnTo>
                    <a:lnTo>
                      <a:pt x="607" y="540"/>
                    </a:lnTo>
                    <a:lnTo>
                      <a:pt x="607" y="538"/>
                    </a:lnTo>
                    <a:lnTo>
                      <a:pt x="609" y="540"/>
                    </a:lnTo>
                    <a:lnTo>
                      <a:pt x="611" y="540"/>
                    </a:lnTo>
                    <a:lnTo>
                      <a:pt x="613" y="542"/>
                    </a:lnTo>
                    <a:lnTo>
                      <a:pt x="615" y="544"/>
                    </a:lnTo>
                    <a:lnTo>
                      <a:pt x="615" y="548"/>
                    </a:lnTo>
                    <a:lnTo>
                      <a:pt x="615" y="550"/>
                    </a:lnTo>
                    <a:lnTo>
                      <a:pt x="615" y="552"/>
                    </a:lnTo>
                    <a:lnTo>
                      <a:pt x="617" y="556"/>
                    </a:lnTo>
                    <a:lnTo>
                      <a:pt x="617" y="558"/>
                    </a:lnTo>
                    <a:lnTo>
                      <a:pt x="613" y="562"/>
                    </a:lnTo>
                    <a:lnTo>
                      <a:pt x="613" y="563"/>
                    </a:lnTo>
                    <a:lnTo>
                      <a:pt x="613" y="565"/>
                    </a:lnTo>
                    <a:lnTo>
                      <a:pt x="615" y="565"/>
                    </a:lnTo>
                    <a:lnTo>
                      <a:pt x="615" y="567"/>
                    </a:lnTo>
                    <a:lnTo>
                      <a:pt x="615" y="569"/>
                    </a:lnTo>
                    <a:lnTo>
                      <a:pt x="615" y="571"/>
                    </a:lnTo>
                    <a:lnTo>
                      <a:pt x="615" y="573"/>
                    </a:lnTo>
                    <a:lnTo>
                      <a:pt x="617" y="575"/>
                    </a:lnTo>
                    <a:lnTo>
                      <a:pt x="617" y="577"/>
                    </a:lnTo>
                    <a:lnTo>
                      <a:pt x="617" y="581"/>
                    </a:lnTo>
                    <a:lnTo>
                      <a:pt x="615" y="581"/>
                    </a:lnTo>
                    <a:lnTo>
                      <a:pt x="615" y="583"/>
                    </a:lnTo>
                    <a:lnTo>
                      <a:pt x="615" y="585"/>
                    </a:lnTo>
                    <a:lnTo>
                      <a:pt x="615" y="587"/>
                    </a:lnTo>
                    <a:lnTo>
                      <a:pt x="613" y="587"/>
                    </a:lnTo>
                    <a:lnTo>
                      <a:pt x="615" y="587"/>
                    </a:lnTo>
                    <a:lnTo>
                      <a:pt x="615" y="588"/>
                    </a:lnTo>
                    <a:lnTo>
                      <a:pt x="615" y="590"/>
                    </a:lnTo>
                    <a:lnTo>
                      <a:pt x="615" y="592"/>
                    </a:lnTo>
                    <a:lnTo>
                      <a:pt x="613" y="592"/>
                    </a:lnTo>
                    <a:lnTo>
                      <a:pt x="609" y="594"/>
                    </a:lnTo>
                    <a:lnTo>
                      <a:pt x="607" y="594"/>
                    </a:lnTo>
                    <a:lnTo>
                      <a:pt x="605" y="594"/>
                    </a:lnTo>
                    <a:lnTo>
                      <a:pt x="605" y="596"/>
                    </a:lnTo>
                    <a:lnTo>
                      <a:pt x="603" y="596"/>
                    </a:lnTo>
                    <a:lnTo>
                      <a:pt x="603" y="598"/>
                    </a:lnTo>
                    <a:lnTo>
                      <a:pt x="601" y="598"/>
                    </a:lnTo>
                    <a:lnTo>
                      <a:pt x="599" y="598"/>
                    </a:lnTo>
                    <a:lnTo>
                      <a:pt x="599" y="600"/>
                    </a:lnTo>
                    <a:lnTo>
                      <a:pt x="601" y="600"/>
                    </a:lnTo>
                    <a:lnTo>
                      <a:pt x="599" y="600"/>
                    </a:lnTo>
                    <a:lnTo>
                      <a:pt x="599" y="602"/>
                    </a:lnTo>
                    <a:lnTo>
                      <a:pt x="597" y="602"/>
                    </a:lnTo>
                    <a:lnTo>
                      <a:pt x="596" y="602"/>
                    </a:lnTo>
                    <a:lnTo>
                      <a:pt x="597" y="602"/>
                    </a:lnTo>
                    <a:lnTo>
                      <a:pt x="596" y="602"/>
                    </a:lnTo>
                    <a:lnTo>
                      <a:pt x="597" y="604"/>
                    </a:lnTo>
                    <a:lnTo>
                      <a:pt x="596" y="604"/>
                    </a:lnTo>
                    <a:lnTo>
                      <a:pt x="596" y="606"/>
                    </a:lnTo>
                    <a:lnTo>
                      <a:pt x="596" y="608"/>
                    </a:lnTo>
                    <a:lnTo>
                      <a:pt x="597" y="608"/>
                    </a:lnTo>
                    <a:lnTo>
                      <a:pt x="596" y="608"/>
                    </a:lnTo>
                    <a:lnTo>
                      <a:pt x="596" y="610"/>
                    </a:lnTo>
                    <a:lnTo>
                      <a:pt x="594" y="610"/>
                    </a:lnTo>
                    <a:lnTo>
                      <a:pt x="596" y="610"/>
                    </a:lnTo>
                    <a:lnTo>
                      <a:pt x="594" y="610"/>
                    </a:lnTo>
                    <a:lnTo>
                      <a:pt x="594" y="612"/>
                    </a:lnTo>
                    <a:lnTo>
                      <a:pt x="596" y="612"/>
                    </a:lnTo>
                    <a:lnTo>
                      <a:pt x="594" y="612"/>
                    </a:lnTo>
                    <a:lnTo>
                      <a:pt x="596" y="612"/>
                    </a:lnTo>
                    <a:lnTo>
                      <a:pt x="594" y="612"/>
                    </a:lnTo>
                    <a:lnTo>
                      <a:pt x="594" y="613"/>
                    </a:lnTo>
                    <a:lnTo>
                      <a:pt x="594" y="615"/>
                    </a:lnTo>
                    <a:lnTo>
                      <a:pt x="592" y="615"/>
                    </a:lnTo>
                    <a:lnTo>
                      <a:pt x="592" y="617"/>
                    </a:lnTo>
                    <a:lnTo>
                      <a:pt x="590" y="617"/>
                    </a:lnTo>
                    <a:lnTo>
                      <a:pt x="592" y="617"/>
                    </a:lnTo>
                    <a:lnTo>
                      <a:pt x="590" y="617"/>
                    </a:lnTo>
                    <a:lnTo>
                      <a:pt x="590" y="619"/>
                    </a:lnTo>
                    <a:lnTo>
                      <a:pt x="588" y="619"/>
                    </a:lnTo>
                    <a:lnTo>
                      <a:pt x="590" y="619"/>
                    </a:lnTo>
                    <a:lnTo>
                      <a:pt x="588" y="621"/>
                    </a:lnTo>
                    <a:lnTo>
                      <a:pt x="588" y="619"/>
                    </a:lnTo>
                    <a:lnTo>
                      <a:pt x="586" y="619"/>
                    </a:lnTo>
                    <a:lnTo>
                      <a:pt x="588" y="619"/>
                    </a:lnTo>
                    <a:lnTo>
                      <a:pt x="586" y="619"/>
                    </a:lnTo>
                    <a:lnTo>
                      <a:pt x="586" y="617"/>
                    </a:lnTo>
                    <a:lnTo>
                      <a:pt x="586" y="619"/>
                    </a:lnTo>
                    <a:lnTo>
                      <a:pt x="586" y="617"/>
                    </a:lnTo>
                    <a:lnTo>
                      <a:pt x="586" y="619"/>
                    </a:lnTo>
                    <a:lnTo>
                      <a:pt x="588" y="619"/>
                    </a:lnTo>
                    <a:lnTo>
                      <a:pt x="586" y="619"/>
                    </a:lnTo>
                    <a:lnTo>
                      <a:pt x="586" y="621"/>
                    </a:lnTo>
                    <a:lnTo>
                      <a:pt x="588" y="621"/>
                    </a:lnTo>
                    <a:lnTo>
                      <a:pt x="586" y="621"/>
                    </a:lnTo>
                    <a:lnTo>
                      <a:pt x="586" y="623"/>
                    </a:lnTo>
                    <a:lnTo>
                      <a:pt x="588" y="623"/>
                    </a:lnTo>
                    <a:lnTo>
                      <a:pt x="588" y="621"/>
                    </a:lnTo>
                    <a:lnTo>
                      <a:pt x="588" y="623"/>
                    </a:lnTo>
                    <a:lnTo>
                      <a:pt x="590" y="623"/>
                    </a:lnTo>
                    <a:lnTo>
                      <a:pt x="590" y="625"/>
                    </a:lnTo>
                    <a:lnTo>
                      <a:pt x="592" y="625"/>
                    </a:lnTo>
                    <a:lnTo>
                      <a:pt x="592" y="623"/>
                    </a:lnTo>
                    <a:lnTo>
                      <a:pt x="594" y="623"/>
                    </a:lnTo>
                    <a:lnTo>
                      <a:pt x="592" y="623"/>
                    </a:lnTo>
                    <a:lnTo>
                      <a:pt x="594" y="625"/>
                    </a:lnTo>
                    <a:lnTo>
                      <a:pt x="594" y="627"/>
                    </a:lnTo>
                    <a:lnTo>
                      <a:pt x="596" y="627"/>
                    </a:lnTo>
                    <a:lnTo>
                      <a:pt x="594" y="627"/>
                    </a:lnTo>
                    <a:lnTo>
                      <a:pt x="596" y="627"/>
                    </a:lnTo>
                    <a:lnTo>
                      <a:pt x="594" y="627"/>
                    </a:lnTo>
                    <a:lnTo>
                      <a:pt x="594" y="629"/>
                    </a:lnTo>
                    <a:lnTo>
                      <a:pt x="596" y="629"/>
                    </a:lnTo>
                    <a:lnTo>
                      <a:pt x="596" y="631"/>
                    </a:lnTo>
                    <a:lnTo>
                      <a:pt x="594" y="631"/>
                    </a:lnTo>
                    <a:lnTo>
                      <a:pt x="596" y="631"/>
                    </a:lnTo>
                    <a:lnTo>
                      <a:pt x="594" y="631"/>
                    </a:lnTo>
                    <a:lnTo>
                      <a:pt x="596" y="631"/>
                    </a:lnTo>
                    <a:lnTo>
                      <a:pt x="594" y="631"/>
                    </a:lnTo>
                    <a:lnTo>
                      <a:pt x="594" y="633"/>
                    </a:lnTo>
                    <a:lnTo>
                      <a:pt x="594" y="631"/>
                    </a:lnTo>
                    <a:lnTo>
                      <a:pt x="594" y="633"/>
                    </a:lnTo>
                    <a:lnTo>
                      <a:pt x="596" y="633"/>
                    </a:lnTo>
                    <a:lnTo>
                      <a:pt x="594" y="633"/>
                    </a:lnTo>
                    <a:lnTo>
                      <a:pt x="596" y="633"/>
                    </a:lnTo>
                    <a:lnTo>
                      <a:pt x="596" y="635"/>
                    </a:lnTo>
                    <a:lnTo>
                      <a:pt x="597" y="635"/>
                    </a:lnTo>
                    <a:lnTo>
                      <a:pt x="597" y="633"/>
                    </a:lnTo>
                    <a:lnTo>
                      <a:pt x="597" y="635"/>
                    </a:lnTo>
                    <a:lnTo>
                      <a:pt x="597" y="633"/>
                    </a:lnTo>
                    <a:lnTo>
                      <a:pt x="599" y="633"/>
                    </a:lnTo>
                    <a:lnTo>
                      <a:pt x="601" y="633"/>
                    </a:lnTo>
                    <a:lnTo>
                      <a:pt x="601" y="635"/>
                    </a:lnTo>
                    <a:lnTo>
                      <a:pt x="603" y="635"/>
                    </a:lnTo>
                    <a:lnTo>
                      <a:pt x="601" y="635"/>
                    </a:lnTo>
                    <a:lnTo>
                      <a:pt x="603" y="635"/>
                    </a:lnTo>
                    <a:lnTo>
                      <a:pt x="603" y="637"/>
                    </a:lnTo>
                    <a:lnTo>
                      <a:pt x="601" y="637"/>
                    </a:lnTo>
                    <a:lnTo>
                      <a:pt x="601" y="638"/>
                    </a:lnTo>
                    <a:lnTo>
                      <a:pt x="599" y="638"/>
                    </a:lnTo>
                    <a:lnTo>
                      <a:pt x="601" y="638"/>
                    </a:lnTo>
                    <a:lnTo>
                      <a:pt x="599" y="638"/>
                    </a:lnTo>
                    <a:lnTo>
                      <a:pt x="599" y="640"/>
                    </a:lnTo>
                    <a:lnTo>
                      <a:pt x="597" y="640"/>
                    </a:lnTo>
                    <a:lnTo>
                      <a:pt x="599" y="640"/>
                    </a:lnTo>
                    <a:lnTo>
                      <a:pt x="599" y="642"/>
                    </a:lnTo>
                    <a:lnTo>
                      <a:pt x="599" y="640"/>
                    </a:lnTo>
                    <a:lnTo>
                      <a:pt x="597" y="642"/>
                    </a:lnTo>
                    <a:lnTo>
                      <a:pt x="597" y="644"/>
                    </a:lnTo>
                    <a:lnTo>
                      <a:pt x="597" y="646"/>
                    </a:lnTo>
                    <a:lnTo>
                      <a:pt x="596" y="646"/>
                    </a:lnTo>
                    <a:lnTo>
                      <a:pt x="597" y="646"/>
                    </a:lnTo>
                    <a:lnTo>
                      <a:pt x="596" y="646"/>
                    </a:lnTo>
                    <a:lnTo>
                      <a:pt x="596" y="648"/>
                    </a:lnTo>
                    <a:lnTo>
                      <a:pt x="596" y="650"/>
                    </a:lnTo>
                    <a:lnTo>
                      <a:pt x="596" y="648"/>
                    </a:lnTo>
                    <a:lnTo>
                      <a:pt x="596" y="650"/>
                    </a:lnTo>
                    <a:lnTo>
                      <a:pt x="597" y="650"/>
                    </a:lnTo>
                    <a:lnTo>
                      <a:pt x="596" y="650"/>
                    </a:lnTo>
                    <a:lnTo>
                      <a:pt x="597" y="650"/>
                    </a:lnTo>
                    <a:lnTo>
                      <a:pt x="596" y="650"/>
                    </a:lnTo>
                    <a:lnTo>
                      <a:pt x="597" y="650"/>
                    </a:lnTo>
                    <a:lnTo>
                      <a:pt x="596" y="650"/>
                    </a:lnTo>
                    <a:lnTo>
                      <a:pt x="597" y="652"/>
                    </a:lnTo>
                    <a:lnTo>
                      <a:pt x="597" y="654"/>
                    </a:lnTo>
                    <a:lnTo>
                      <a:pt x="597" y="656"/>
                    </a:lnTo>
                    <a:lnTo>
                      <a:pt x="599" y="656"/>
                    </a:lnTo>
                    <a:lnTo>
                      <a:pt x="597" y="656"/>
                    </a:lnTo>
                    <a:lnTo>
                      <a:pt x="599" y="656"/>
                    </a:lnTo>
                    <a:lnTo>
                      <a:pt x="597" y="656"/>
                    </a:lnTo>
                    <a:lnTo>
                      <a:pt x="597" y="658"/>
                    </a:lnTo>
                    <a:lnTo>
                      <a:pt x="596" y="658"/>
                    </a:lnTo>
                    <a:lnTo>
                      <a:pt x="596" y="660"/>
                    </a:lnTo>
                    <a:lnTo>
                      <a:pt x="596" y="662"/>
                    </a:lnTo>
                    <a:lnTo>
                      <a:pt x="596" y="663"/>
                    </a:lnTo>
                    <a:lnTo>
                      <a:pt x="594" y="663"/>
                    </a:lnTo>
                    <a:lnTo>
                      <a:pt x="594" y="665"/>
                    </a:lnTo>
                    <a:lnTo>
                      <a:pt x="592" y="665"/>
                    </a:lnTo>
                    <a:lnTo>
                      <a:pt x="590" y="665"/>
                    </a:lnTo>
                    <a:lnTo>
                      <a:pt x="588" y="667"/>
                    </a:lnTo>
                    <a:lnTo>
                      <a:pt x="588" y="669"/>
                    </a:lnTo>
                    <a:lnTo>
                      <a:pt x="586" y="669"/>
                    </a:lnTo>
                    <a:lnTo>
                      <a:pt x="586" y="671"/>
                    </a:lnTo>
                    <a:lnTo>
                      <a:pt x="584" y="671"/>
                    </a:lnTo>
                    <a:lnTo>
                      <a:pt x="584" y="673"/>
                    </a:lnTo>
                    <a:lnTo>
                      <a:pt x="584" y="675"/>
                    </a:lnTo>
                    <a:lnTo>
                      <a:pt x="582" y="675"/>
                    </a:lnTo>
                    <a:lnTo>
                      <a:pt x="582" y="677"/>
                    </a:lnTo>
                    <a:lnTo>
                      <a:pt x="580" y="677"/>
                    </a:lnTo>
                    <a:lnTo>
                      <a:pt x="580" y="679"/>
                    </a:lnTo>
                    <a:lnTo>
                      <a:pt x="582" y="679"/>
                    </a:lnTo>
                    <a:lnTo>
                      <a:pt x="582" y="681"/>
                    </a:lnTo>
                    <a:lnTo>
                      <a:pt x="580" y="681"/>
                    </a:lnTo>
                    <a:lnTo>
                      <a:pt x="582" y="681"/>
                    </a:lnTo>
                    <a:lnTo>
                      <a:pt x="580" y="681"/>
                    </a:lnTo>
                    <a:lnTo>
                      <a:pt x="578" y="681"/>
                    </a:lnTo>
                    <a:lnTo>
                      <a:pt x="578" y="683"/>
                    </a:lnTo>
                    <a:lnTo>
                      <a:pt x="576" y="683"/>
                    </a:lnTo>
                    <a:lnTo>
                      <a:pt x="576" y="685"/>
                    </a:lnTo>
                    <a:lnTo>
                      <a:pt x="574" y="685"/>
                    </a:lnTo>
                    <a:lnTo>
                      <a:pt x="576" y="685"/>
                    </a:lnTo>
                    <a:lnTo>
                      <a:pt x="576" y="686"/>
                    </a:lnTo>
                    <a:lnTo>
                      <a:pt x="574" y="686"/>
                    </a:lnTo>
                    <a:lnTo>
                      <a:pt x="576" y="686"/>
                    </a:lnTo>
                    <a:lnTo>
                      <a:pt x="576" y="688"/>
                    </a:lnTo>
                    <a:lnTo>
                      <a:pt x="574" y="688"/>
                    </a:lnTo>
                    <a:lnTo>
                      <a:pt x="574" y="690"/>
                    </a:lnTo>
                    <a:lnTo>
                      <a:pt x="572" y="692"/>
                    </a:lnTo>
                    <a:lnTo>
                      <a:pt x="571" y="694"/>
                    </a:lnTo>
                    <a:lnTo>
                      <a:pt x="569" y="694"/>
                    </a:lnTo>
                    <a:lnTo>
                      <a:pt x="569" y="696"/>
                    </a:lnTo>
                    <a:lnTo>
                      <a:pt x="567" y="698"/>
                    </a:lnTo>
                    <a:lnTo>
                      <a:pt x="563" y="702"/>
                    </a:lnTo>
                    <a:lnTo>
                      <a:pt x="563" y="704"/>
                    </a:lnTo>
                    <a:lnTo>
                      <a:pt x="561" y="706"/>
                    </a:lnTo>
                    <a:lnTo>
                      <a:pt x="559" y="706"/>
                    </a:lnTo>
                    <a:lnTo>
                      <a:pt x="559" y="704"/>
                    </a:lnTo>
                    <a:lnTo>
                      <a:pt x="557" y="702"/>
                    </a:lnTo>
                    <a:lnTo>
                      <a:pt x="557" y="700"/>
                    </a:lnTo>
                    <a:lnTo>
                      <a:pt x="557" y="698"/>
                    </a:lnTo>
                    <a:lnTo>
                      <a:pt x="557" y="696"/>
                    </a:lnTo>
                    <a:lnTo>
                      <a:pt x="555" y="694"/>
                    </a:lnTo>
                    <a:lnTo>
                      <a:pt x="551" y="694"/>
                    </a:lnTo>
                    <a:lnTo>
                      <a:pt x="549" y="692"/>
                    </a:lnTo>
                    <a:lnTo>
                      <a:pt x="549" y="690"/>
                    </a:lnTo>
                    <a:lnTo>
                      <a:pt x="549" y="688"/>
                    </a:lnTo>
                    <a:lnTo>
                      <a:pt x="548" y="686"/>
                    </a:lnTo>
                    <a:lnTo>
                      <a:pt x="548" y="685"/>
                    </a:lnTo>
                    <a:lnTo>
                      <a:pt x="544" y="681"/>
                    </a:lnTo>
                    <a:lnTo>
                      <a:pt x="540" y="685"/>
                    </a:lnTo>
                    <a:lnTo>
                      <a:pt x="538" y="685"/>
                    </a:lnTo>
                    <a:lnTo>
                      <a:pt x="536" y="683"/>
                    </a:lnTo>
                    <a:lnTo>
                      <a:pt x="530" y="686"/>
                    </a:lnTo>
                    <a:lnTo>
                      <a:pt x="528" y="686"/>
                    </a:lnTo>
                    <a:lnTo>
                      <a:pt x="523" y="681"/>
                    </a:lnTo>
                    <a:lnTo>
                      <a:pt x="523" y="679"/>
                    </a:lnTo>
                    <a:lnTo>
                      <a:pt x="523" y="677"/>
                    </a:lnTo>
                    <a:lnTo>
                      <a:pt x="523" y="675"/>
                    </a:lnTo>
                    <a:lnTo>
                      <a:pt x="515" y="671"/>
                    </a:lnTo>
                    <a:lnTo>
                      <a:pt x="517" y="665"/>
                    </a:lnTo>
                    <a:lnTo>
                      <a:pt x="511" y="663"/>
                    </a:lnTo>
                    <a:lnTo>
                      <a:pt x="509" y="663"/>
                    </a:lnTo>
                    <a:lnTo>
                      <a:pt x="507" y="663"/>
                    </a:lnTo>
                    <a:lnTo>
                      <a:pt x="503" y="662"/>
                    </a:lnTo>
                    <a:lnTo>
                      <a:pt x="499" y="660"/>
                    </a:lnTo>
                    <a:lnTo>
                      <a:pt x="498" y="662"/>
                    </a:lnTo>
                    <a:lnTo>
                      <a:pt x="494" y="662"/>
                    </a:lnTo>
                    <a:lnTo>
                      <a:pt x="492" y="665"/>
                    </a:lnTo>
                    <a:lnTo>
                      <a:pt x="490" y="665"/>
                    </a:lnTo>
                    <a:lnTo>
                      <a:pt x="486" y="663"/>
                    </a:lnTo>
                    <a:lnTo>
                      <a:pt x="484" y="662"/>
                    </a:lnTo>
                    <a:lnTo>
                      <a:pt x="484" y="660"/>
                    </a:lnTo>
                    <a:lnTo>
                      <a:pt x="482" y="658"/>
                    </a:lnTo>
                    <a:lnTo>
                      <a:pt x="480" y="656"/>
                    </a:lnTo>
                    <a:lnTo>
                      <a:pt x="478" y="656"/>
                    </a:lnTo>
                    <a:lnTo>
                      <a:pt x="476" y="654"/>
                    </a:lnTo>
                    <a:lnTo>
                      <a:pt x="476" y="652"/>
                    </a:lnTo>
                    <a:lnTo>
                      <a:pt x="476" y="650"/>
                    </a:lnTo>
                    <a:lnTo>
                      <a:pt x="476" y="648"/>
                    </a:lnTo>
                    <a:lnTo>
                      <a:pt x="475" y="648"/>
                    </a:lnTo>
                    <a:lnTo>
                      <a:pt x="475" y="646"/>
                    </a:lnTo>
                    <a:lnTo>
                      <a:pt x="473" y="644"/>
                    </a:lnTo>
                    <a:lnTo>
                      <a:pt x="473" y="642"/>
                    </a:lnTo>
                    <a:lnTo>
                      <a:pt x="471" y="638"/>
                    </a:lnTo>
                    <a:lnTo>
                      <a:pt x="473" y="633"/>
                    </a:lnTo>
                    <a:lnTo>
                      <a:pt x="469" y="633"/>
                    </a:lnTo>
                    <a:lnTo>
                      <a:pt x="463" y="633"/>
                    </a:lnTo>
                    <a:lnTo>
                      <a:pt x="459" y="635"/>
                    </a:lnTo>
                    <a:lnTo>
                      <a:pt x="459" y="637"/>
                    </a:lnTo>
                    <a:lnTo>
                      <a:pt x="459" y="638"/>
                    </a:lnTo>
                    <a:lnTo>
                      <a:pt x="457" y="640"/>
                    </a:lnTo>
                    <a:lnTo>
                      <a:pt x="455" y="640"/>
                    </a:lnTo>
                    <a:lnTo>
                      <a:pt x="453" y="642"/>
                    </a:lnTo>
                    <a:lnTo>
                      <a:pt x="451" y="644"/>
                    </a:lnTo>
                    <a:lnTo>
                      <a:pt x="450" y="644"/>
                    </a:lnTo>
                    <a:lnTo>
                      <a:pt x="450" y="646"/>
                    </a:lnTo>
                    <a:lnTo>
                      <a:pt x="446" y="648"/>
                    </a:lnTo>
                    <a:lnTo>
                      <a:pt x="444" y="648"/>
                    </a:lnTo>
                    <a:lnTo>
                      <a:pt x="444" y="650"/>
                    </a:lnTo>
                    <a:lnTo>
                      <a:pt x="442" y="650"/>
                    </a:lnTo>
                    <a:lnTo>
                      <a:pt x="440" y="650"/>
                    </a:lnTo>
                    <a:lnTo>
                      <a:pt x="438" y="650"/>
                    </a:lnTo>
                    <a:lnTo>
                      <a:pt x="436" y="652"/>
                    </a:lnTo>
                    <a:lnTo>
                      <a:pt x="436" y="654"/>
                    </a:lnTo>
                    <a:lnTo>
                      <a:pt x="436" y="656"/>
                    </a:lnTo>
                    <a:lnTo>
                      <a:pt x="434" y="662"/>
                    </a:lnTo>
                    <a:lnTo>
                      <a:pt x="434" y="663"/>
                    </a:lnTo>
                    <a:lnTo>
                      <a:pt x="432" y="663"/>
                    </a:lnTo>
                    <a:lnTo>
                      <a:pt x="426" y="662"/>
                    </a:lnTo>
                    <a:lnTo>
                      <a:pt x="423" y="662"/>
                    </a:lnTo>
                    <a:lnTo>
                      <a:pt x="417" y="660"/>
                    </a:lnTo>
                    <a:lnTo>
                      <a:pt x="411" y="660"/>
                    </a:lnTo>
                    <a:lnTo>
                      <a:pt x="405" y="658"/>
                    </a:lnTo>
                    <a:lnTo>
                      <a:pt x="403" y="658"/>
                    </a:lnTo>
                    <a:lnTo>
                      <a:pt x="401" y="658"/>
                    </a:lnTo>
                    <a:lnTo>
                      <a:pt x="398" y="660"/>
                    </a:lnTo>
                    <a:lnTo>
                      <a:pt x="396" y="660"/>
                    </a:lnTo>
                    <a:lnTo>
                      <a:pt x="394" y="660"/>
                    </a:lnTo>
                    <a:lnTo>
                      <a:pt x="392" y="660"/>
                    </a:lnTo>
                    <a:lnTo>
                      <a:pt x="388" y="662"/>
                    </a:lnTo>
                    <a:lnTo>
                      <a:pt x="386" y="662"/>
                    </a:lnTo>
                    <a:lnTo>
                      <a:pt x="384" y="662"/>
                    </a:lnTo>
                    <a:lnTo>
                      <a:pt x="384" y="663"/>
                    </a:lnTo>
                    <a:lnTo>
                      <a:pt x="382" y="663"/>
                    </a:lnTo>
                    <a:lnTo>
                      <a:pt x="380" y="660"/>
                    </a:lnTo>
                    <a:lnTo>
                      <a:pt x="378" y="656"/>
                    </a:lnTo>
                    <a:lnTo>
                      <a:pt x="375" y="652"/>
                    </a:lnTo>
                    <a:lnTo>
                      <a:pt x="373" y="652"/>
                    </a:lnTo>
                    <a:lnTo>
                      <a:pt x="371" y="648"/>
                    </a:lnTo>
                    <a:lnTo>
                      <a:pt x="369" y="648"/>
                    </a:lnTo>
                    <a:lnTo>
                      <a:pt x="367" y="646"/>
                    </a:lnTo>
                    <a:lnTo>
                      <a:pt x="363" y="642"/>
                    </a:lnTo>
                    <a:lnTo>
                      <a:pt x="361" y="640"/>
                    </a:lnTo>
                    <a:lnTo>
                      <a:pt x="361" y="638"/>
                    </a:lnTo>
                    <a:lnTo>
                      <a:pt x="361" y="637"/>
                    </a:lnTo>
                    <a:lnTo>
                      <a:pt x="359" y="637"/>
                    </a:lnTo>
                    <a:lnTo>
                      <a:pt x="359" y="631"/>
                    </a:lnTo>
                    <a:lnTo>
                      <a:pt x="359" y="627"/>
                    </a:lnTo>
                    <a:lnTo>
                      <a:pt x="355" y="625"/>
                    </a:lnTo>
                    <a:lnTo>
                      <a:pt x="353" y="623"/>
                    </a:lnTo>
                    <a:lnTo>
                      <a:pt x="350" y="621"/>
                    </a:lnTo>
                    <a:lnTo>
                      <a:pt x="350" y="619"/>
                    </a:lnTo>
                    <a:lnTo>
                      <a:pt x="342" y="623"/>
                    </a:lnTo>
                    <a:lnTo>
                      <a:pt x="340" y="623"/>
                    </a:lnTo>
                    <a:lnTo>
                      <a:pt x="340" y="621"/>
                    </a:lnTo>
                    <a:lnTo>
                      <a:pt x="338" y="619"/>
                    </a:lnTo>
                    <a:lnTo>
                      <a:pt x="336" y="617"/>
                    </a:lnTo>
                    <a:lnTo>
                      <a:pt x="334" y="615"/>
                    </a:lnTo>
                    <a:lnTo>
                      <a:pt x="332" y="615"/>
                    </a:lnTo>
                    <a:lnTo>
                      <a:pt x="330" y="613"/>
                    </a:lnTo>
                    <a:lnTo>
                      <a:pt x="330" y="612"/>
                    </a:lnTo>
                    <a:lnTo>
                      <a:pt x="327" y="610"/>
                    </a:lnTo>
                    <a:lnTo>
                      <a:pt x="325" y="610"/>
                    </a:lnTo>
                    <a:lnTo>
                      <a:pt x="323" y="612"/>
                    </a:lnTo>
                    <a:lnTo>
                      <a:pt x="321" y="612"/>
                    </a:lnTo>
                    <a:lnTo>
                      <a:pt x="319" y="610"/>
                    </a:lnTo>
                    <a:lnTo>
                      <a:pt x="317" y="610"/>
                    </a:lnTo>
                    <a:lnTo>
                      <a:pt x="315" y="610"/>
                    </a:lnTo>
                    <a:lnTo>
                      <a:pt x="313" y="610"/>
                    </a:lnTo>
                    <a:lnTo>
                      <a:pt x="311" y="610"/>
                    </a:lnTo>
                    <a:lnTo>
                      <a:pt x="309" y="610"/>
                    </a:lnTo>
                    <a:lnTo>
                      <a:pt x="307" y="610"/>
                    </a:lnTo>
                    <a:lnTo>
                      <a:pt x="305" y="610"/>
                    </a:lnTo>
                    <a:lnTo>
                      <a:pt x="304" y="612"/>
                    </a:lnTo>
                    <a:lnTo>
                      <a:pt x="302" y="612"/>
                    </a:lnTo>
                    <a:lnTo>
                      <a:pt x="296" y="610"/>
                    </a:lnTo>
                    <a:lnTo>
                      <a:pt x="292" y="608"/>
                    </a:lnTo>
                    <a:lnTo>
                      <a:pt x="290" y="606"/>
                    </a:lnTo>
                    <a:lnTo>
                      <a:pt x="288" y="604"/>
                    </a:lnTo>
                    <a:lnTo>
                      <a:pt x="288" y="602"/>
                    </a:lnTo>
                    <a:lnTo>
                      <a:pt x="284" y="598"/>
                    </a:lnTo>
                    <a:lnTo>
                      <a:pt x="282" y="598"/>
                    </a:lnTo>
                    <a:lnTo>
                      <a:pt x="279" y="596"/>
                    </a:lnTo>
                    <a:lnTo>
                      <a:pt x="273" y="594"/>
                    </a:lnTo>
                    <a:lnTo>
                      <a:pt x="267" y="594"/>
                    </a:lnTo>
                    <a:lnTo>
                      <a:pt x="265" y="592"/>
                    </a:lnTo>
                    <a:lnTo>
                      <a:pt x="261" y="588"/>
                    </a:lnTo>
                    <a:lnTo>
                      <a:pt x="261" y="583"/>
                    </a:lnTo>
                    <a:lnTo>
                      <a:pt x="257" y="579"/>
                    </a:lnTo>
                    <a:lnTo>
                      <a:pt x="257" y="577"/>
                    </a:lnTo>
                    <a:lnTo>
                      <a:pt x="257" y="575"/>
                    </a:lnTo>
                    <a:lnTo>
                      <a:pt x="252" y="575"/>
                    </a:lnTo>
                    <a:lnTo>
                      <a:pt x="250" y="579"/>
                    </a:lnTo>
                    <a:lnTo>
                      <a:pt x="246" y="581"/>
                    </a:lnTo>
                    <a:lnTo>
                      <a:pt x="244" y="581"/>
                    </a:lnTo>
                    <a:lnTo>
                      <a:pt x="242" y="581"/>
                    </a:lnTo>
                    <a:lnTo>
                      <a:pt x="240" y="581"/>
                    </a:lnTo>
                    <a:lnTo>
                      <a:pt x="238" y="579"/>
                    </a:lnTo>
                    <a:lnTo>
                      <a:pt x="236" y="579"/>
                    </a:lnTo>
                    <a:lnTo>
                      <a:pt x="234" y="579"/>
                    </a:lnTo>
                    <a:lnTo>
                      <a:pt x="231" y="577"/>
                    </a:lnTo>
                    <a:lnTo>
                      <a:pt x="227" y="581"/>
                    </a:lnTo>
                    <a:lnTo>
                      <a:pt x="225" y="579"/>
                    </a:lnTo>
                    <a:lnTo>
                      <a:pt x="223" y="579"/>
                    </a:lnTo>
                    <a:lnTo>
                      <a:pt x="213" y="581"/>
                    </a:lnTo>
                    <a:lnTo>
                      <a:pt x="217" y="563"/>
                    </a:lnTo>
                    <a:lnTo>
                      <a:pt x="219" y="556"/>
                    </a:lnTo>
                    <a:lnTo>
                      <a:pt x="219" y="554"/>
                    </a:lnTo>
                    <a:lnTo>
                      <a:pt x="217" y="552"/>
                    </a:lnTo>
                    <a:lnTo>
                      <a:pt x="217" y="550"/>
                    </a:lnTo>
                    <a:lnTo>
                      <a:pt x="217" y="548"/>
                    </a:lnTo>
                    <a:lnTo>
                      <a:pt x="215" y="548"/>
                    </a:lnTo>
                    <a:lnTo>
                      <a:pt x="213" y="546"/>
                    </a:lnTo>
                    <a:lnTo>
                      <a:pt x="211" y="546"/>
                    </a:lnTo>
                    <a:lnTo>
                      <a:pt x="209" y="546"/>
                    </a:lnTo>
                    <a:lnTo>
                      <a:pt x="204" y="544"/>
                    </a:lnTo>
                    <a:lnTo>
                      <a:pt x="202" y="538"/>
                    </a:lnTo>
                    <a:lnTo>
                      <a:pt x="202" y="537"/>
                    </a:lnTo>
                    <a:lnTo>
                      <a:pt x="202" y="535"/>
                    </a:lnTo>
                    <a:lnTo>
                      <a:pt x="200" y="531"/>
                    </a:lnTo>
                    <a:lnTo>
                      <a:pt x="202" y="527"/>
                    </a:lnTo>
                    <a:lnTo>
                      <a:pt x="200" y="527"/>
                    </a:lnTo>
                    <a:lnTo>
                      <a:pt x="200" y="525"/>
                    </a:lnTo>
                    <a:lnTo>
                      <a:pt x="198" y="525"/>
                    </a:lnTo>
                    <a:lnTo>
                      <a:pt x="198" y="523"/>
                    </a:lnTo>
                    <a:lnTo>
                      <a:pt x="198" y="521"/>
                    </a:lnTo>
                    <a:lnTo>
                      <a:pt x="202" y="519"/>
                    </a:lnTo>
                    <a:lnTo>
                      <a:pt x="204" y="519"/>
                    </a:lnTo>
                    <a:lnTo>
                      <a:pt x="206" y="517"/>
                    </a:lnTo>
                    <a:lnTo>
                      <a:pt x="207" y="512"/>
                    </a:lnTo>
                    <a:lnTo>
                      <a:pt x="206" y="510"/>
                    </a:lnTo>
                    <a:lnTo>
                      <a:pt x="204" y="508"/>
                    </a:lnTo>
                    <a:lnTo>
                      <a:pt x="200" y="508"/>
                    </a:lnTo>
                    <a:lnTo>
                      <a:pt x="200" y="506"/>
                    </a:lnTo>
                    <a:lnTo>
                      <a:pt x="198" y="502"/>
                    </a:lnTo>
                    <a:lnTo>
                      <a:pt x="196" y="500"/>
                    </a:lnTo>
                    <a:lnTo>
                      <a:pt x="194" y="498"/>
                    </a:lnTo>
                    <a:lnTo>
                      <a:pt x="192" y="500"/>
                    </a:lnTo>
                    <a:lnTo>
                      <a:pt x="190" y="500"/>
                    </a:lnTo>
                    <a:lnTo>
                      <a:pt x="186" y="498"/>
                    </a:lnTo>
                    <a:lnTo>
                      <a:pt x="184" y="498"/>
                    </a:lnTo>
                    <a:lnTo>
                      <a:pt x="184" y="496"/>
                    </a:lnTo>
                    <a:lnTo>
                      <a:pt x="184" y="494"/>
                    </a:lnTo>
                    <a:lnTo>
                      <a:pt x="182" y="494"/>
                    </a:lnTo>
                    <a:lnTo>
                      <a:pt x="182" y="492"/>
                    </a:lnTo>
                    <a:lnTo>
                      <a:pt x="181" y="492"/>
                    </a:lnTo>
                    <a:lnTo>
                      <a:pt x="179" y="492"/>
                    </a:lnTo>
                    <a:lnTo>
                      <a:pt x="173" y="490"/>
                    </a:lnTo>
                    <a:lnTo>
                      <a:pt x="173" y="487"/>
                    </a:lnTo>
                    <a:lnTo>
                      <a:pt x="173" y="485"/>
                    </a:lnTo>
                    <a:lnTo>
                      <a:pt x="171" y="485"/>
                    </a:lnTo>
                    <a:lnTo>
                      <a:pt x="169" y="485"/>
                    </a:lnTo>
                    <a:lnTo>
                      <a:pt x="167" y="485"/>
                    </a:lnTo>
                    <a:lnTo>
                      <a:pt x="163" y="485"/>
                    </a:lnTo>
                    <a:lnTo>
                      <a:pt x="161" y="485"/>
                    </a:lnTo>
                    <a:lnTo>
                      <a:pt x="161" y="488"/>
                    </a:lnTo>
                    <a:lnTo>
                      <a:pt x="161" y="490"/>
                    </a:lnTo>
                    <a:lnTo>
                      <a:pt x="163" y="490"/>
                    </a:lnTo>
                    <a:lnTo>
                      <a:pt x="163" y="492"/>
                    </a:lnTo>
                    <a:lnTo>
                      <a:pt x="161" y="494"/>
                    </a:lnTo>
                    <a:lnTo>
                      <a:pt x="159" y="494"/>
                    </a:lnTo>
                    <a:lnTo>
                      <a:pt x="159" y="496"/>
                    </a:lnTo>
                    <a:lnTo>
                      <a:pt x="159" y="498"/>
                    </a:lnTo>
                    <a:lnTo>
                      <a:pt x="158" y="498"/>
                    </a:lnTo>
                    <a:lnTo>
                      <a:pt x="156" y="498"/>
                    </a:lnTo>
                    <a:lnTo>
                      <a:pt x="156" y="496"/>
                    </a:lnTo>
                    <a:lnTo>
                      <a:pt x="154" y="494"/>
                    </a:lnTo>
                    <a:lnTo>
                      <a:pt x="152" y="492"/>
                    </a:lnTo>
                    <a:lnTo>
                      <a:pt x="150" y="490"/>
                    </a:lnTo>
                    <a:lnTo>
                      <a:pt x="148" y="490"/>
                    </a:lnTo>
                    <a:lnTo>
                      <a:pt x="146" y="490"/>
                    </a:lnTo>
                    <a:lnTo>
                      <a:pt x="138" y="494"/>
                    </a:lnTo>
                    <a:lnTo>
                      <a:pt x="138" y="496"/>
                    </a:lnTo>
                    <a:lnTo>
                      <a:pt x="136" y="496"/>
                    </a:lnTo>
                    <a:lnTo>
                      <a:pt x="133" y="498"/>
                    </a:lnTo>
                    <a:lnTo>
                      <a:pt x="131" y="498"/>
                    </a:lnTo>
                    <a:lnTo>
                      <a:pt x="129" y="500"/>
                    </a:lnTo>
                    <a:lnTo>
                      <a:pt x="127" y="500"/>
                    </a:lnTo>
                    <a:lnTo>
                      <a:pt x="127" y="502"/>
                    </a:lnTo>
                    <a:lnTo>
                      <a:pt x="125" y="502"/>
                    </a:lnTo>
                    <a:lnTo>
                      <a:pt x="125" y="500"/>
                    </a:lnTo>
                    <a:lnTo>
                      <a:pt x="125" y="498"/>
                    </a:lnTo>
                    <a:lnTo>
                      <a:pt x="123" y="498"/>
                    </a:lnTo>
                    <a:lnTo>
                      <a:pt x="121" y="498"/>
                    </a:lnTo>
                    <a:lnTo>
                      <a:pt x="121" y="496"/>
                    </a:lnTo>
                    <a:lnTo>
                      <a:pt x="119" y="496"/>
                    </a:lnTo>
                    <a:lnTo>
                      <a:pt x="117" y="496"/>
                    </a:lnTo>
                    <a:lnTo>
                      <a:pt x="117" y="494"/>
                    </a:lnTo>
                    <a:lnTo>
                      <a:pt x="115" y="494"/>
                    </a:lnTo>
                    <a:lnTo>
                      <a:pt x="113" y="494"/>
                    </a:lnTo>
                    <a:lnTo>
                      <a:pt x="111" y="494"/>
                    </a:lnTo>
                    <a:lnTo>
                      <a:pt x="113" y="494"/>
                    </a:lnTo>
                    <a:lnTo>
                      <a:pt x="113" y="492"/>
                    </a:lnTo>
                    <a:lnTo>
                      <a:pt x="111" y="490"/>
                    </a:lnTo>
                    <a:lnTo>
                      <a:pt x="111" y="488"/>
                    </a:lnTo>
                    <a:lnTo>
                      <a:pt x="109" y="488"/>
                    </a:lnTo>
                    <a:lnTo>
                      <a:pt x="109" y="487"/>
                    </a:lnTo>
                    <a:lnTo>
                      <a:pt x="108" y="487"/>
                    </a:lnTo>
                    <a:lnTo>
                      <a:pt x="106" y="485"/>
                    </a:lnTo>
                    <a:lnTo>
                      <a:pt x="104" y="485"/>
                    </a:lnTo>
                    <a:lnTo>
                      <a:pt x="104" y="483"/>
                    </a:lnTo>
                    <a:lnTo>
                      <a:pt x="104" y="481"/>
                    </a:lnTo>
                    <a:lnTo>
                      <a:pt x="106" y="479"/>
                    </a:lnTo>
                    <a:lnTo>
                      <a:pt x="106" y="477"/>
                    </a:lnTo>
                    <a:lnTo>
                      <a:pt x="106" y="475"/>
                    </a:lnTo>
                    <a:lnTo>
                      <a:pt x="108" y="475"/>
                    </a:lnTo>
                    <a:lnTo>
                      <a:pt x="108" y="473"/>
                    </a:lnTo>
                    <a:lnTo>
                      <a:pt x="109" y="471"/>
                    </a:lnTo>
                    <a:lnTo>
                      <a:pt x="111" y="471"/>
                    </a:lnTo>
                    <a:lnTo>
                      <a:pt x="111" y="469"/>
                    </a:lnTo>
                    <a:lnTo>
                      <a:pt x="111" y="467"/>
                    </a:lnTo>
                    <a:lnTo>
                      <a:pt x="111" y="465"/>
                    </a:lnTo>
                    <a:lnTo>
                      <a:pt x="109" y="465"/>
                    </a:lnTo>
                    <a:lnTo>
                      <a:pt x="109" y="463"/>
                    </a:lnTo>
                    <a:lnTo>
                      <a:pt x="108" y="462"/>
                    </a:lnTo>
                    <a:lnTo>
                      <a:pt x="106" y="462"/>
                    </a:lnTo>
                    <a:lnTo>
                      <a:pt x="102" y="462"/>
                    </a:lnTo>
                    <a:lnTo>
                      <a:pt x="100" y="462"/>
                    </a:lnTo>
                    <a:lnTo>
                      <a:pt x="98" y="460"/>
                    </a:lnTo>
                    <a:lnTo>
                      <a:pt x="94" y="456"/>
                    </a:lnTo>
                    <a:lnTo>
                      <a:pt x="88" y="454"/>
                    </a:lnTo>
                    <a:lnTo>
                      <a:pt x="88" y="452"/>
                    </a:lnTo>
                    <a:lnTo>
                      <a:pt x="86" y="452"/>
                    </a:lnTo>
                    <a:lnTo>
                      <a:pt x="86" y="450"/>
                    </a:lnTo>
                    <a:lnTo>
                      <a:pt x="86" y="452"/>
                    </a:lnTo>
                    <a:lnTo>
                      <a:pt x="88" y="452"/>
                    </a:lnTo>
                    <a:lnTo>
                      <a:pt x="88" y="450"/>
                    </a:lnTo>
                    <a:lnTo>
                      <a:pt x="88" y="452"/>
                    </a:lnTo>
                    <a:lnTo>
                      <a:pt x="88" y="450"/>
                    </a:lnTo>
                    <a:lnTo>
                      <a:pt x="86" y="450"/>
                    </a:lnTo>
                    <a:lnTo>
                      <a:pt x="86" y="448"/>
                    </a:lnTo>
                    <a:lnTo>
                      <a:pt x="86" y="446"/>
                    </a:lnTo>
                    <a:lnTo>
                      <a:pt x="88" y="446"/>
                    </a:lnTo>
                    <a:lnTo>
                      <a:pt x="86" y="446"/>
                    </a:lnTo>
                    <a:lnTo>
                      <a:pt x="88" y="446"/>
                    </a:lnTo>
                    <a:lnTo>
                      <a:pt x="86" y="446"/>
                    </a:lnTo>
                    <a:lnTo>
                      <a:pt x="88" y="446"/>
                    </a:lnTo>
                    <a:lnTo>
                      <a:pt x="88" y="448"/>
                    </a:lnTo>
                    <a:lnTo>
                      <a:pt x="86" y="448"/>
                    </a:lnTo>
                    <a:lnTo>
                      <a:pt x="86" y="446"/>
                    </a:lnTo>
                    <a:lnTo>
                      <a:pt x="86" y="448"/>
                    </a:lnTo>
                    <a:lnTo>
                      <a:pt x="88" y="448"/>
                    </a:lnTo>
                    <a:lnTo>
                      <a:pt x="88" y="446"/>
                    </a:lnTo>
                    <a:lnTo>
                      <a:pt x="90" y="446"/>
                    </a:lnTo>
                    <a:lnTo>
                      <a:pt x="90" y="444"/>
                    </a:lnTo>
                    <a:lnTo>
                      <a:pt x="92" y="444"/>
                    </a:lnTo>
                    <a:lnTo>
                      <a:pt x="92" y="446"/>
                    </a:lnTo>
                    <a:lnTo>
                      <a:pt x="92" y="444"/>
                    </a:lnTo>
                    <a:lnTo>
                      <a:pt x="94" y="444"/>
                    </a:lnTo>
                    <a:lnTo>
                      <a:pt x="94" y="446"/>
                    </a:lnTo>
                    <a:lnTo>
                      <a:pt x="94" y="448"/>
                    </a:lnTo>
                    <a:lnTo>
                      <a:pt x="94" y="446"/>
                    </a:lnTo>
                    <a:lnTo>
                      <a:pt x="96" y="446"/>
                    </a:lnTo>
                    <a:lnTo>
                      <a:pt x="98" y="446"/>
                    </a:lnTo>
                    <a:lnTo>
                      <a:pt x="100" y="446"/>
                    </a:lnTo>
                    <a:lnTo>
                      <a:pt x="98" y="446"/>
                    </a:lnTo>
                    <a:lnTo>
                      <a:pt x="100" y="446"/>
                    </a:lnTo>
                    <a:lnTo>
                      <a:pt x="98" y="446"/>
                    </a:lnTo>
                    <a:lnTo>
                      <a:pt x="98" y="444"/>
                    </a:lnTo>
                    <a:lnTo>
                      <a:pt x="96" y="444"/>
                    </a:lnTo>
                    <a:lnTo>
                      <a:pt x="98" y="444"/>
                    </a:lnTo>
                    <a:lnTo>
                      <a:pt x="96" y="444"/>
                    </a:lnTo>
                    <a:lnTo>
                      <a:pt x="94" y="444"/>
                    </a:lnTo>
                    <a:lnTo>
                      <a:pt x="94" y="442"/>
                    </a:lnTo>
                    <a:lnTo>
                      <a:pt x="92" y="442"/>
                    </a:lnTo>
                    <a:lnTo>
                      <a:pt x="92" y="440"/>
                    </a:lnTo>
                    <a:lnTo>
                      <a:pt x="92" y="442"/>
                    </a:lnTo>
                    <a:lnTo>
                      <a:pt x="90" y="442"/>
                    </a:lnTo>
                    <a:lnTo>
                      <a:pt x="92" y="442"/>
                    </a:lnTo>
                    <a:lnTo>
                      <a:pt x="90" y="444"/>
                    </a:lnTo>
                    <a:lnTo>
                      <a:pt x="90" y="442"/>
                    </a:lnTo>
                    <a:lnTo>
                      <a:pt x="90" y="444"/>
                    </a:lnTo>
                    <a:lnTo>
                      <a:pt x="90" y="442"/>
                    </a:lnTo>
                    <a:lnTo>
                      <a:pt x="90" y="444"/>
                    </a:lnTo>
                    <a:lnTo>
                      <a:pt x="90" y="442"/>
                    </a:lnTo>
                    <a:lnTo>
                      <a:pt x="90" y="444"/>
                    </a:lnTo>
                    <a:lnTo>
                      <a:pt x="88" y="444"/>
                    </a:lnTo>
                    <a:lnTo>
                      <a:pt x="90" y="442"/>
                    </a:lnTo>
                    <a:lnTo>
                      <a:pt x="88" y="442"/>
                    </a:lnTo>
                    <a:lnTo>
                      <a:pt x="88" y="444"/>
                    </a:lnTo>
                    <a:lnTo>
                      <a:pt x="88" y="442"/>
                    </a:lnTo>
                    <a:lnTo>
                      <a:pt x="88" y="444"/>
                    </a:lnTo>
                    <a:lnTo>
                      <a:pt x="86" y="444"/>
                    </a:lnTo>
                    <a:lnTo>
                      <a:pt x="85" y="444"/>
                    </a:lnTo>
                    <a:lnTo>
                      <a:pt x="83" y="444"/>
                    </a:lnTo>
                    <a:lnTo>
                      <a:pt x="83" y="446"/>
                    </a:lnTo>
                    <a:lnTo>
                      <a:pt x="83" y="444"/>
                    </a:lnTo>
                    <a:lnTo>
                      <a:pt x="83" y="446"/>
                    </a:lnTo>
                    <a:lnTo>
                      <a:pt x="81" y="446"/>
                    </a:lnTo>
                    <a:lnTo>
                      <a:pt x="81" y="444"/>
                    </a:lnTo>
                    <a:lnTo>
                      <a:pt x="81" y="442"/>
                    </a:lnTo>
                    <a:lnTo>
                      <a:pt x="81" y="440"/>
                    </a:lnTo>
                    <a:lnTo>
                      <a:pt x="81" y="438"/>
                    </a:lnTo>
                    <a:lnTo>
                      <a:pt x="83" y="438"/>
                    </a:lnTo>
                    <a:lnTo>
                      <a:pt x="83" y="437"/>
                    </a:lnTo>
                    <a:lnTo>
                      <a:pt x="83" y="435"/>
                    </a:lnTo>
                    <a:lnTo>
                      <a:pt x="83" y="433"/>
                    </a:lnTo>
                    <a:lnTo>
                      <a:pt x="83" y="435"/>
                    </a:lnTo>
                    <a:lnTo>
                      <a:pt x="83" y="433"/>
                    </a:lnTo>
                    <a:lnTo>
                      <a:pt x="85" y="431"/>
                    </a:lnTo>
                    <a:lnTo>
                      <a:pt x="85" y="433"/>
                    </a:lnTo>
                    <a:lnTo>
                      <a:pt x="85" y="431"/>
                    </a:lnTo>
                    <a:lnTo>
                      <a:pt x="86" y="431"/>
                    </a:lnTo>
                    <a:lnTo>
                      <a:pt x="85" y="431"/>
                    </a:lnTo>
                    <a:lnTo>
                      <a:pt x="86" y="431"/>
                    </a:lnTo>
                    <a:lnTo>
                      <a:pt x="88" y="431"/>
                    </a:lnTo>
                    <a:lnTo>
                      <a:pt x="86" y="429"/>
                    </a:lnTo>
                    <a:lnTo>
                      <a:pt x="88" y="429"/>
                    </a:lnTo>
                    <a:lnTo>
                      <a:pt x="88" y="427"/>
                    </a:lnTo>
                    <a:lnTo>
                      <a:pt x="88" y="429"/>
                    </a:lnTo>
                    <a:lnTo>
                      <a:pt x="88" y="427"/>
                    </a:lnTo>
                    <a:lnTo>
                      <a:pt x="88" y="429"/>
                    </a:lnTo>
                    <a:lnTo>
                      <a:pt x="90" y="429"/>
                    </a:lnTo>
                    <a:lnTo>
                      <a:pt x="88" y="429"/>
                    </a:lnTo>
                    <a:lnTo>
                      <a:pt x="88" y="431"/>
                    </a:lnTo>
                    <a:lnTo>
                      <a:pt x="90" y="431"/>
                    </a:lnTo>
                    <a:lnTo>
                      <a:pt x="90" y="429"/>
                    </a:lnTo>
                    <a:lnTo>
                      <a:pt x="90" y="431"/>
                    </a:lnTo>
                    <a:lnTo>
                      <a:pt x="88" y="431"/>
                    </a:lnTo>
                    <a:lnTo>
                      <a:pt x="90" y="431"/>
                    </a:lnTo>
                    <a:lnTo>
                      <a:pt x="88" y="431"/>
                    </a:lnTo>
                    <a:lnTo>
                      <a:pt x="88" y="429"/>
                    </a:lnTo>
                    <a:lnTo>
                      <a:pt x="88" y="431"/>
                    </a:lnTo>
                    <a:lnTo>
                      <a:pt x="88" y="429"/>
                    </a:lnTo>
                    <a:lnTo>
                      <a:pt x="88" y="431"/>
                    </a:lnTo>
                    <a:lnTo>
                      <a:pt x="90" y="431"/>
                    </a:lnTo>
                    <a:lnTo>
                      <a:pt x="90" y="433"/>
                    </a:lnTo>
                    <a:lnTo>
                      <a:pt x="88" y="433"/>
                    </a:lnTo>
                    <a:lnTo>
                      <a:pt x="90" y="433"/>
                    </a:lnTo>
                    <a:lnTo>
                      <a:pt x="92" y="433"/>
                    </a:lnTo>
                    <a:lnTo>
                      <a:pt x="92" y="435"/>
                    </a:lnTo>
                    <a:lnTo>
                      <a:pt x="94" y="435"/>
                    </a:lnTo>
                    <a:lnTo>
                      <a:pt x="92" y="435"/>
                    </a:lnTo>
                    <a:lnTo>
                      <a:pt x="94" y="435"/>
                    </a:lnTo>
                    <a:lnTo>
                      <a:pt x="92" y="433"/>
                    </a:lnTo>
                    <a:lnTo>
                      <a:pt x="94" y="433"/>
                    </a:lnTo>
                    <a:lnTo>
                      <a:pt x="92" y="433"/>
                    </a:lnTo>
                    <a:lnTo>
                      <a:pt x="94" y="433"/>
                    </a:lnTo>
                    <a:lnTo>
                      <a:pt x="96" y="433"/>
                    </a:lnTo>
                    <a:lnTo>
                      <a:pt x="94" y="433"/>
                    </a:lnTo>
                    <a:lnTo>
                      <a:pt x="94" y="431"/>
                    </a:lnTo>
                    <a:lnTo>
                      <a:pt x="94" y="433"/>
                    </a:lnTo>
                    <a:lnTo>
                      <a:pt x="92" y="431"/>
                    </a:lnTo>
                    <a:lnTo>
                      <a:pt x="90" y="431"/>
                    </a:lnTo>
                    <a:lnTo>
                      <a:pt x="92" y="431"/>
                    </a:lnTo>
                    <a:lnTo>
                      <a:pt x="92" y="429"/>
                    </a:lnTo>
                    <a:lnTo>
                      <a:pt x="94" y="431"/>
                    </a:lnTo>
                    <a:lnTo>
                      <a:pt x="96" y="431"/>
                    </a:lnTo>
                    <a:lnTo>
                      <a:pt x="96" y="429"/>
                    </a:lnTo>
                    <a:lnTo>
                      <a:pt x="98" y="429"/>
                    </a:lnTo>
                    <a:lnTo>
                      <a:pt x="98" y="427"/>
                    </a:lnTo>
                    <a:lnTo>
                      <a:pt x="96" y="427"/>
                    </a:lnTo>
                    <a:lnTo>
                      <a:pt x="96" y="429"/>
                    </a:lnTo>
                    <a:lnTo>
                      <a:pt x="96" y="427"/>
                    </a:lnTo>
                    <a:lnTo>
                      <a:pt x="96" y="425"/>
                    </a:lnTo>
                    <a:lnTo>
                      <a:pt x="96" y="427"/>
                    </a:lnTo>
                    <a:lnTo>
                      <a:pt x="96" y="425"/>
                    </a:lnTo>
                    <a:lnTo>
                      <a:pt x="96" y="427"/>
                    </a:lnTo>
                    <a:lnTo>
                      <a:pt x="96" y="425"/>
                    </a:lnTo>
                    <a:lnTo>
                      <a:pt x="96" y="427"/>
                    </a:lnTo>
                    <a:lnTo>
                      <a:pt x="96" y="425"/>
                    </a:lnTo>
                    <a:lnTo>
                      <a:pt x="96" y="427"/>
                    </a:lnTo>
                    <a:lnTo>
                      <a:pt x="94" y="427"/>
                    </a:lnTo>
                    <a:lnTo>
                      <a:pt x="94" y="425"/>
                    </a:lnTo>
                    <a:lnTo>
                      <a:pt x="96" y="425"/>
                    </a:lnTo>
                    <a:lnTo>
                      <a:pt x="94" y="425"/>
                    </a:lnTo>
                    <a:lnTo>
                      <a:pt x="92" y="425"/>
                    </a:lnTo>
                    <a:lnTo>
                      <a:pt x="92" y="427"/>
                    </a:lnTo>
                    <a:lnTo>
                      <a:pt x="90" y="427"/>
                    </a:lnTo>
                    <a:lnTo>
                      <a:pt x="90" y="425"/>
                    </a:lnTo>
                    <a:lnTo>
                      <a:pt x="90" y="423"/>
                    </a:lnTo>
                    <a:lnTo>
                      <a:pt x="88" y="421"/>
                    </a:lnTo>
                    <a:lnTo>
                      <a:pt x="90" y="421"/>
                    </a:lnTo>
                    <a:lnTo>
                      <a:pt x="88" y="421"/>
                    </a:lnTo>
                    <a:lnTo>
                      <a:pt x="90" y="423"/>
                    </a:lnTo>
                    <a:lnTo>
                      <a:pt x="88" y="423"/>
                    </a:lnTo>
                    <a:lnTo>
                      <a:pt x="88" y="421"/>
                    </a:lnTo>
                    <a:lnTo>
                      <a:pt x="88" y="423"/>
                    </a:lnTo>
                    <a:lnTo>
                      <a:pt x="88" y="421"/>
                    </a:lnTo>
                    <a:lnTo>
                      <a:pt x="88" y="423"/>
                    </a:lnTo>
                    <a:lnTo>
                      <a:pt x="86" y="423"/>
                    </a:lnTo>
                    <a:lnTo>
                      <a:pt x="86" y="421"/>
                    </a:lnTo>
                    <a:lnTo>
                      <a:pt x="85" y="421"/>
                    </a:lnTo>
                    <a:lnTo>
                      <a:pt x="85" y="419"/>
                    </a:lnTo>
                    <a:lnTo>
                      <a:pt x="83" y="419"/>
                    </a:lnTo>
                    <a:lnTo>
                      <a:pt x="81" y="421"/>
                    </a:lnTo>
                    <a:lnTo>
                      <a:pt x="79" y="421"/>
                    </a:lnTo>
                    <a:lnTo>
                      <a:pt x="79" y="419"/>
                    </a:lnTo>
                    <a:lnTo>
                      <a:pt x="79" y="417"/>
                    </a:lnTo>
                    <a:lnTo>
                      <a:pt x="81" y="417"/>
                    </a:lnTo>
                    <a:lnTo>
                      <a:pt x="79" y="417"/>
                    </a:lnTo>
                    <a:lnTo>
                      <a:pt x="79" y="419"/>
                    </a:lnTo>
                    <a:lnTo>
                      <a:pt x="81" y="417"/>
                    </a:lnTo>
                    <a:lnTo>
                      <a:pt x="81" y="415"/>
                    </a:lnTo>
                    <a:lnTo>
                      <a:pt x="83" y="414"/>
                    </a:lnTo>
                    <a:lnTo>
                      <a:pt x="83" y="415"/>
                    </a:lnTo>
                    <a:lnTo>
                      <a:pt x="83" y="414"/>
                    </a:lnTo>
                    <a:lnTo>
                      <a:pt x="81" y="414"/>
                    </a:lnTo>
                    <a:lnTo>
                      <a:pt x="81" y="415"/>
                    </a:lnTo>
                    <a:lnTo>
                      <a:pt x="81" y="414"/>
                    </a:lnTo>
                    <a:lnTo>
                      <a:pt x="83" y="414"/>
                    </a:lnTo>
                    <a:lnTo>
                      <a:pt x="83" y="412"/>
                    </a:lnTo>
                    <a:lnTo>
                      <a:pt x="85" y="410"/>
                    </a:lnTo>
                    <a:lnTo>
                      <a:pt x="85" y="412"/>
                    </a:lnTo>
                    <a:lnTo>
                      <a:pt x="85" y="410"/>
                    </a:lnTo>
                    <a:lnTo>
                      <a:pt x="85" y="412"/>
                    </a:lnTo>
                    <a:lnTo>
                      <a:pt x="86" y="410"/>
                    </a:lnTo>
                    <a:lnTo>
                      <a:pt x="86" y="412"/>
                    </a:lnTo>
                    <a:lnTo>
                      <a:pt x="88" y="412"/>
                    </a:lnTo>
                    <a:lnTo>
                      <a:pt x="86" y="412"/>
                    </a:lnTo>
                    <a:lnTo>
                      <a:pt x="88" y="412"/>
                    </a:lnTo>
                    <a:lnTo>
                      <a:pt x="88" y="414"/>
                    </a:lnTo>
                    <a:lnTo>
                      <a:pt x="88" y="412"/>
                    </a:lnTo>
                    <a:lnTo>
                      <a:pt x="88" y="410"/>
                    </a:lnTo>
                    <a:lnTo>
                      <a:pt x="88" y="412"/>
                    </a:lnTo>
                    <a:lnTo>
                      <a:pt x="88" y="410"/>
                    </a:lnTo>
                    <a:lnTo>
                      <a:pt x="86" y="410"/>
                    </a:lnTo>
                    <a:lnTo>
                      <a:pt x="85" y="410"/>
                    </a:lnTo>
                    <a:lnTo>
                      <a:pt x="86" y="410"/>
                    </a:lnTo>
                    <a:lnTo>
                      <a:pt x="85" y="410"/>
                    </a:lnTo>
                    <a:lnTo>
                      <a:pt x="86" y="408"/>
                    </a:lnTo>
                    <a:lnTo>
                      <a:pt x="86" y="406"/>
                    </a:lnTo>
                    <a:lnTo>
                      <a:pt x="88" y="406"/>
                    </a:lnTo>
                    <a:lnTo>
                      <a:pt x="90" y="406"/>
                    </a:lnTo>
                    <a:lnTo>
                      <a:pt x="90" y="404"/>
                    </a:lnTo>
                    <a:lnTo>
                      <a:pt x="92" y="404"/>
                    </a:lnTo>
                    <a:lnTo>
                      <a:pt x="94" y="402"/>
                    </a:lnTo>
                    <a:lnTo>
                      <a:pt x="94" y="400"/>
                    </a:lnTo>
                    <a:lnTo>
                      <a:pt x="96" y="398"/>
                    </a:lnTo>
                    <a:lnTo>
                      <a:pt x="98" y="398"/>
                    </a:lnTo>
                    <a:lnTo>
                      <a:pt x="98" y="400"/>
                    </a:lnTo>
                    <a:lnTo>
                      <a:pt x="98" y="398"/>
                    </a:lnTo>
                    <a:lnTo>
                      <a:pt x="98" y="400"/>
                    </a:lnTo>
                    <a:lnTo>
                      <a:pt x="98" y="402"/>
                    </a:lnTo>
                    <a:lnTo>
                      <a:pt x="98" y="400"/>
                    </a:lnTo>
                    <a:lnTo>
                      <a:pt x="98" y="398"/>
                    </a:lnTo>
                    <a:lnTo>
                      <a:pt x="98" y="396"/>
                    </a:lnTo>
                    <a:lnTo>
                      <a:pt x="98" y="398"/>
                    </a:lnTo>
                    <a:lnTo>
                      <a:pt x="96" y="396"/>
                    </a:lnTo>
                    <a:lnTo>
                      <a:pt x="98" y="396"/>
                    </a:lnTo>
                    <a:lnTo>
                      <a:pt x="98" y="394"/>
                    </a:lnTo>
                    <a:lnTo>
                      <a:pt x="98" y="392"/>
                    </a:lnTo>
                    <a:lnTo>
                      <a:pt x="100" y="390"/>
                    </a:lnTo>
                    <a:lnTo>
                      <a:pt x="100" y="389"/>
                    </a:lnTo>
                    <a:lnTo>
                      <a:pt x="102" y="389"/>
                    </a:lnTo>
                    <a:lnTo>
                      <a:pt x="102" y="390"/>
                    </a:lnTo>
                    <a:lnTo>
                      <a:pt x="104" y="390"/>
                    </a:lnTo>
                    <a:lnTo>
                      <a:pt x="102" y="390"/>
                    </a:lnTo>
                    <a:lnTo>
                      <a:pt x="104" y="390"/>
                    </a:lnTo>
                    <a:lnTo>
                      <a:pt x="102" y="390"/>
                    </a:lnTo>
                    <a:lnTo>
                      <a:pt x="102" y="389"/>
                    </a:lnTo>
                    <a:lnTo>
                      <a:pt x="104" y="389"/>
                    </a:lnTo>
                    <a:lnTo>
                      <a:pt x="102" y="389"/>
                    </a:lnTo>
                    <a:lnTo>
                      <a:pt x="102" y="390"/>
                    </a:lnTo>
                    <a:lnTo>
                      <a:pt x="102" y="389"/>
                    </a:lnTo>
                    <a:lnTo>
                      <a:pt x="102" y="387"/>
                    </a:lnTo>
                    <a:lnTo>
                      <a:pt x="102" y="385"/>
                    </a:lnTo>
                    <a:lnTo>
                      <a:pt x="104" y="385"/>
                    </a:lnTo>
                    <a:lnTo>
                      <a:pt x="104" y="383"/>
                    </a:lnTo>
                    <a:lnTo>
                      <a:pt x="106" y="381"/>
                    </a:lnTo>
                    <a:lnTo>
                      <a:pt x="106" y="383"/>
                    </a:lnTo>
                    <a:lnTo>
                      <a:pt x="108" y="383"/>
                    </a:lnTo>
                    <a:lnTo>
                      <a:pt x="108" y="385"/>
                    </a:lnTo>
                    <a:lnTo>
                      <a:pt x="108" y="383"/>
                    </a:lnTo>
                    <a:lnTo>
                      <a:pt x="109" y="383"/>
                    </a:lnTo>
                    <a:lnTo>
                      <a:pt x="109" y="385"/>
                    </a:lnTo>
                    <a:lnTo>
                      <a:pt x="111" y="385"/>
                    </a:lnTo>
                    <a:lnTo>
                      <a:pt x="109" y="385"/>
                    </a:lnTo>
                    <a:lnTo>
                      <a:pt x="109" y="383"/>
                    </a:lnTo>
                    <a:lnTo>
                      <a:pt x="111" y="383"/>
                    </a:lnTo>
                    <a:lnTo>
                      <a:pt x="111" y="385"/>
                    </a:lnTo>
                    <a:lnTo>
                      <a:pt x="109" y="385"/>
                    </a:lnTo>
                    <a:lnTo>
                      <a:pt x="111" y="385"/>
                    </a:lnTo>
                    <a:lnTo>
                      <a:pt x="109" y="385"/>
                    </a:lnTo>
                    <a:lnTo>
                      <a:pt x="111" y="385"/>
                    </a:lnTo>
                    <a:lnTo>
                      <a:pt x="113" y="385"/>
                    </a:lnTo>
                    <a:lnTo>
                      <a:pt x="115" y="385"/>
                    </a:lnTo>
                    <a:lnTo>
                      <a:pt x="115" y="387"/>
                    </a:lnTo>
                    <a:lnTo>
                      <a:pt x="117" y="387"/>
                    </a:lnTo>
                    <a:lnTo>
                      <a:pt x="119" y="387"/>
                    </a:lnTo>
                    <a:lnTo>
                      <a:pt x="119" y="385"/>
                    </a:lnTo>
                    <a:lnTo>
                      <a:pt x="119" y="387"/>
                    </a:lnTo>
                    <a:lnTo>
                      <a:pt x="119" y="385"/>
                    </a:lnTo>
                    <a:lnTo>
                      <a:pt x="117" y="385"/>
                    </a:lnTo>
                    <a:lnTo>
                      <a:pt x="119" y="385"/>
                    </a:lnTo>
                    <a:lnTo>
                      <a:pt x="117" y="385"/>
                    </a:lnTo>
                    <a:lnTo>
                      <a:pt x="117" y="387"/>
                    </a:lnTo>
                    <a:lnTo>
                      <a:pt x="115" y="387"/>
                    </a:lnTo>
                    <a:lnTo>
                      <a:pt x="117" y="385"/>
                    </a:lnTo>
                    <a:lnTo>
                      <a:pt x="115" y="385"/>
                    </a:lnTo>
                    <a:lnTo>
                      <a:pt x="115" y="383"/>
                    </a:lnTo>
                    <a:lnTo>
                      <a:pt x="113" y="383"/>
                    </a:lnTo>
                    <a:lnTo>
                      <a:pt x="115" y="383"/>
                    </a:lnTo>
                    <a:lnTo>
                      <a:pt x="113" y="383"/>
                    </a:lnTo>
                    <a:lnTo>
                      <a:pt x="111" y="383"/>
                    </a:lnTo>
                    <a:lnTo>
                      <a:pt x="111" y="381"/>
                    </a:lnTo>
                    <a:lnTo>
                      <a:pt x="111" y="383"/>
                    </a:lnTo>
                    <a:lnTo>
                      <a:pt x="111" y="381"/>
                    </a:lnTo>
                    <a:lnTo>
                      <a:pt x="111" y="383"/>
                    </a:lnTo>
                    <a:lnTo>
                      <a:pt x="111" y="381"/>
                    </a:lnTo>
                    <a:lnTo>
                      <a:pt x="111" y="383"/>
                    </a:lnTo>
                    <a:lnTo>
                      <a:pt x="109" y="383"/>
                    </a:lnTo>
                    <a:lnTo>
                      <a:pt x="109" y="381"/>
                    </a:lnTo>
                    <a:lnTo>
                      <a:pt x="108" y="381"/>
                    </a:lnTo>
                    <a:lnTo>
                      <a:pt x="108" y="379"/>
                    </a:lnTo>
                    <a:lnTo>
                      <a:pt x="109" y="377"/>
                    </a:lnTo>
                    <a:lnTo>
                      <a:pt x="109" y="375"/>
                    </a:lnTo>
                    <a:lnTo>
                      <a:pt x="109" y="373"/>
                    </a:lnTo>
                    <a:lnTo>
                      <a:pt x="111" y="375"/>
                    </a:lnTo>
                    <a:lnTo>
                      <a:pt x="111" y="373"/>
                    </a:lnTo>
                    <a:lnTo>
                      <a:pt x="111" y="371"/>
                    </a:lnTo>
                    <a:lnTo>
                      <a:pt x="111" y="369"/>
                    </a:lnTo>
                    <a:lnTo>
                      <a:pt x="113" y="369"/>
                    </a:lnTo>
                    <a:lnTo>
                      <a:pt x="113" y="367"/>
                    </a:lnTo>
                    <a:lnTo>
                      <a:pt x="113" y="369"/>
                    </a:lnTo>
                    <a:lnTo>
                      <a:pt x="115" y="369"/>
                    </a:lnTo>
                    <a:lnTo>
                      <a:pt x="115" y="371"/>
                    </a:lnTo>
                    <a:lnTo>
                      <a:pt x="115" y="369"/>
                    </a:lnTo>
                    <a:lnTo>
                      <a:pt x="115" y="371"/>
                    </a:lnTo>
                    <a:lnTo>
                      <a:pt x="117" y="371"/>
                    </a:lnTo>
                    <a:lnTo>
                      <a:pt x="119" y="373"/>
                    </a:lnTo>
                    <a:lnTo>
                      <a:pt x="119" y="371"/>
                    </a:lnTo>
                    <a:lnTo>
                      <a:pt x="117" y="371"/>
                    </a:lnTo>
                    <a:lnTo>
                      <a:pt x="117" y="369"/>
                    </a:lnTo>
                    <a:lnTo>
                      <a:pt x="117" y="371"/>
                    </a:lnTo>
                    <a:lnTo>
                      <a:pt x="117" y="369"/>
                    </a:lnTo>
                    <a:lnTo>
                      <a:pt x="117" y="371"/>
                    </a:lnTo>
                    <a:lnTo>
                      <a:pt x="117" y="369"/>
                    </a:lnTo>
                    <a:lnTo>
                      <a:pt x="115" y="369"/>
                    </a:lnTo>
                    <a:lnTo>
                      <a:pt x="115" y="367"/>
                    </a:lnTo>
                    <a:lnTo>
                      <a:pt x="115" y="365"/>
                    </a:lnTo>
                    <a:lnTo>
                      <a:pt x="117" y="365"/>
                    </a:lnTo>
                    <a:lnTo>
                      <a:pt x="117" y="364"/>
                    </a:lnTo>
                    <a:lnTo>
                      <a:pt x="119" y="364"/>
                    </a:lnTo>
                    <a:lnTo>
                      <a:pt x="119" y="365"/>
                    </a:lnTo>
                    <a:lnTo>
                      <a:pt x="119" y="364"/>
                    </a:lnTo>
                    <a:lnTo>
                      <a:pt x="117" y="364"/>
                    </a:lnTo>
                    <a:lnTo>
                      <a:pt x="119" y="364"/>
                    </a:lnTo>
                    <a:lnTo>
                      <a:pt x="121" y="364"/>
                    </a:lnTo>
                    <a:lnTo>
                      <a:pt x="121" y="365"/>
                    </a:lnTo>
                    <a:lnTo>
                      <a:pt x="123" y="365"/>
                    </a:lnTo>
                    <a:lnTo>
                      <a:pt x="125" y="365"/>
                    </a:lnTo>
                    <a:lnTo>
                      <a:pt x="127" y="364"/>
                    </a:lnTo>
                    <a:lnTo>
                      <a:pt x="129" y="364"/>
                    </a:lnTo>
                    <a:lnTo>
                      <a:pt x="129" y="365"/>
                    </a:lnTo>
                    <a:lnTo>
                      <a:pt x="129" y="364"/>
                    </a:lnTo>
                    <a:lnTo>
                      <a:pt x="129" y="362"/>
                    </a:lnTo>
                    <a:lnTo>
                      <a:pt x="129" y="360"/>
                    </a:lnTo>
                    <a:lnTo>
                      <a:pt x="131" y="360"/>
                    </a:lnTo>
                    <a:lnTo>
                      <a:pt x="133" y="360"/>
                    </a:lnTo>
                    <a:lnTo>
                      <a:pt x="133" y="358"/>
                    </a:lnTo>
                    <a:lnTo>
                      <a:pt x="134" y="358"/>
                    </a:lnTo>
                    <a:lnTo>
                      <a:pt x="134" y="360"/>
                    </a:lnTo>
                    <a:lnTo>
                      <a:pt x="133" y="360"/>
                    </a:lnTo>
                    <a:lnTo>
                      <a:pt x="134" y="360"/>
                    </a:lnTo>
                    <a:lnTo>
                      <a:pt x="134" y="358"/>
                    </a:lnTo>
                    <a:lnTo>
                      <a:pt x="136" y="358"/>
                    </a:lnTo>
                    <a:lnTo>
                      <a:pt x="136" y="356"/>
                    </a:lnTo>
                    <a:lnTo>
                      <a:pt x="134" y="356"/>
                    </a:lnTo>
                    <a:lnTo>
                      <a:pt x="134" y="354"/>
                    </a:lnTo>
                    <a:lnTo>
                      <a:pt x="136" y="352"/>
                    </a:lnTo>
                    <a:lnTo>
                      <a:pt x="136" y="354"/>
                    </a:lnTo>
                    <a:lnTo>
                      <a:pt x="136" y="352"/>
                    </a:lnTo>
                    <a:lnTo>
                      <a:pt x="136" y="354"/>
                    </a:lnTo>
                    <a:lnTo>
                      <a:pt x="136" y="352"/>
                    </a:lnTo>
                    <a:lnTo>
                      <a:pt x="136" y="350"/>
                    </a:lnTo>
                    <a:lnTo>
                      <a:pt x="136" y="348"/>
                    </a:lnTo>
                    <a:lnTo>
                      <a:pt x="136" y="346"/>
                    </a:lnTo>
                    <a:lnTo>
                      <a:pt x="136" y="348"/>
                    </a:lnTo>
                    <a:lnTo>
                      <a:pt x="136" y="350"/>
                    </a:lnTo>
                    <a:lnTo>
                      <a:pt x="136" y="348"/>
                    </a:lnTo>
                    <a:lnTo>
                      <a:pt x="134" y="348"/>
                    </a:lnTo>
                    <a:lnTo>
                      <a:pt x="134" y="346"/>
                    </a:lnTo>
                    <a:lnTo>
                      <a:pt x="134" y="348"/>
                    </a:lnTo>
                    <a:lnTo>
                      <a:pt x="133" y="346"/>
                    </a:lnTo>
                    <a:lnTo>
                      <a:pt x="134" y="344"/>
                    </a:lnTo>
                    <a:lnTo>
                      <a:pt x="134" y="342"/>
                    </a:lnTo>
                    <a:lnTo>
                      <a:pt x="136" y="342"/>
                    </a:lnTo>
                    <a:lnTo>
                      <a:pt x="136" y="344"/>
                    </a:lnTo>
                    <a:lnTo>
                      <a:pt x="136" y="346"/>
                    </a:lnTo>
                    <a:lnTo>
                      <a:pt x="136" y="344"/>
                    </a:lnTo>
                    <a:lnTo>
                      <a:pt x="136" y="342"/>
                    </a:lnTo>
                    <a:lnTo>
                      <a:pt x="136" y="344"/>
                    </a:lnTo>
                    <a:lnTo>
                      <a:pt x="136" y="342"/>
                    </a:lnTo>
                    <a:lnTo>
                      <a:pt x="138" y="340"/>
                    </a:lnTo>
                    <a:lnTo>
                      <a:pt x="138" y="342"/>
                    </a:lnTo>
                    <a:lnTo>
                      <a:pt x="138" y="340"/>
                    </a:lnTo>
                    <a:lnTo>
                      <a:pt x="138" y="342"/>
                    </a:lnTo>
                    <a:lnTo>
                      <a:pt x="138" y="344"/>
                    </a:lnTo>
                    <a:lnTo>
                      <a:pt x="140" y="346"/>
                    </a:lnTo>
                    <a:lnTo>
                      <a:pt x="140" y="348"/>
                    </a:lnTo>
                    <a:lnTo>
                      <a:pt x="142" y="348"/>
                    </a:lnTo>
                    <a:lnTo>
                      <a:pt x="142" y="350"/>
                    </a:lnTo>
                    <a:lnTo>
                      <a:pt x="142" y="352"/>
                    </a:lnTo>
                    <a:lnTo>
                      <a:pt x="140" y="352"/>
                    </a:lnTo>
                    <a:lnTo>
                      <a:pt x="142" y="352"/>
                    </a:lnTo>
                    <a:lnTo>
                      <a:pt x="142" y="354"/>
                    </a:lnTo>
                    <a:lnTo>
                      <a:pt x="142" y="352"/>
                    </a:lnTo>
                    <a:lnTo>
                      <a:pt x="142" y="354"/>
                    </a:lnTo>
                    <a:lnTo>
                      <a:pt x="142" y="352"/>
                    </a:lnTo>
                    <a:lnTo>
                      <a:pt x="144" y="352"/>
                    </a:lnTo>
                    <a:lnTo>
                      <a:pt x="144" y="354"/>
                    </a:lnTo>
                    <a:lnTo>
                      <a:pt x="146" y="354"/>
                    </a:lnTo>
                    <a:lnTo>
                      <a:pt x="144" y="354"/>
                    </a:lnTo>
                    <a:lnTo>
                      <a:pt x="146" y="354"/>
                    </a:lnTo>
                    <a:lnTo>
                      <a:pt x="144" y="354"/>
                    </a:lnTo>
                    <a:lnTo>
                      <a:pt x="144" y="352"/>
                    </a:lnTo>
                    <a:lnTo>
                      <a:pt x="146" y="352"/>
                    </a:lnTo>
                    <a:lnTo>
                      <a:pt x="144" y="352"/>
                    </a:lnTo>
                    <a:lnTo>
                      <a:pt x="144" y="350"/>
                    </a:lnTo>
                    <a:lnTo>
                      <a:pt x="142" y="350"/>
                    </a:lnTo>
                    <a:lnTo>
                      <a:pt x="142" y="348"/>
                    </a:lnTo>
                    <a:lnTo>
                      <a:pt x="140" y="348"/>
                    </a:lnTo>
                    <a:lnTo>
                      <a:pt x="140" y="346"/>
                    </a:lnTo>
                    <a:lnTo>
                      <a:pt x="138" y="346"/>
                    </a:lnTo>
                    <a:lnTo>
                      <a:pt x="138" y="344"/>
                    </a:lnTo>
                    <a:lnTo>
                      <a:pt x="140" y="344"/>
                    </a:lnTo>
                    <a:lnTo>
                      <a:pt x="138" y="344"/>
                    </a:lnTo>
                    <a:lnTo>
                      <a:pt x="140" y="342"/>
                    </a:lnTo>
                    <a:lnTo>
                      <a:pt x="138" y="342"/>
                    </a:lnTo>
                    <a:lnTo>
                      <a:pt x="140" y="342"/>
                    </a:lnTo>
                    <a:lnTo>
                      <a:pt x="138" y="342"/>
                    </a:lnTo>
                    <a:lnTo>
                      <a:pt x="140" y="342"/>
                    </a:lnTo>
                    <a:lnTo>
                      <a:pt x="138" y="342"/>
                    </a:lnTo>
                    <a:lnTo>
                      <a:pt x="138" y="340"/>
                    </a:lnTo>
                    <a:lnTo>
                      <a:pt x="138" y="339"/>
                    </a:lnTo>
                    <a:lnTo>
                      <a:pt x="138" y="337"/>
                    </a:lnTo>
                    <a:lnTo>
                      <a:pt x="138" y="335"/>
                    </a:lnTo>
                    <a:lnTo>
                      <a:pt x="140" y="335"/>
                    </a:lnTo>
                    <a:lnTo>
                      <a:pt x="142" y="337"/>
                    </a:lnTo>
                    <a:lnTo>
                      <a:pt x="144" y="337"/>
                    </a:lnTo>
                    <a:lnTo>
                      <a:pt x="144" y="339"/>
                    </a:lnTo>
                    <a:lnTo>
                      <a:pt x="146" y="339"/>
                    </a:lnTo>
                    <a:lnTo>
                      <a:pt x="148" y="340"/>
                    </a:lnTo>
                    <a:lnTo>
                      <a:pt x="148" y="342"/>
                    </a:lnTo>
                    <a:lnTo>
                      <a:pt x="150" y="342"/>
                    </a:lnTo>
                    <a:lnTo>
                      <a:pt x="150" y="344"/>
                    </a:lnTo>
                    <a:lnTo>
                      <a:pt x="152" y="344"/>
                    </a:lnTo>
                    <a:lnTo>
                      <a:pt x="154" y="344"/>
                    </a:lnTo>
                    <a:lnTo>
                      <a:pt x="156" y="342"/>
                    </a:lnTo>
                    <a:lnTo>
                      <a:pt x="158" y="342"/>
                    </a:lnTo>
                    <a:lnTo>
                      <a:pt x="158" y="340"/>
                    </a:lnTo>
                    <a:lnTo>
                      <a:pt x="159" y="340"/>
                    </a:lnTo>
                    <a:lnTo>
                      <a:pt x="161" y="340"/>
                    </a:lnTo>
                    <a:lnTo>
                      <a:pt x="161" y="342"/>
                    </a:lnTo>
                    <a:lnTo>
                      <a:pt x="163" y="344"/>
                    </a:lnTo>
                    <a:lnTo>
                      <a:pt x="165" y="344"/>
                    </a:lnTo>
                    <a:lnTo>
                      <a:pt x="165" y="346"/>
                    </a:lnTo>
                    <a:lnTo>
                      <a:pt x="165" y="344"/>
                    </a:lnTo>
                    <a:lnTo>
                      <a:pt x="165" y="346"/>
                    </a:lnTo>
                    <a:lnTo>
                      <a:pt x="167" y="346"/>
                    </a:lnTo>
                    <a:lnTo>
                      <a:pt x="169" y="346"/>
                    </a:lnTo>
                    <a:lnTo>
                      <a:pt x="169" y="348"/>
                    </a:lnTo>
                    <a:lnTo>
                      <a:pt x="171" y="350"/>
                    </a:lnTo>
                    <a:lnTo>
                      <a:pt x="171" y="352"/>
                    </a:lnTo>
                    <a:lnTo>
                      <a:pt x="173" y="352"/>
                    </a:lnTo>
                    <a:lnTo>
                      <a:pt x="175" y="354"/>
                    </a:lnTo>
                    <a:lnTo>
                      <a:pt x="177" y="354"/>
                    </a:lnTo>
                    <a:lnTo>
                      <a:pt x="175" y="354"/>
                    </a:lnTo>
                    <a:lnTo>
                      <a:pt x="177" y="354"/>
                    </a:lnTo>
                    <a:lnTo>
                      <a:pt x="179" y="354"/>
                    </a:lnTo>
                    <a:lnTo>
                      <a:pt x="181" y="354"/>
                    </a:lnTo>
                    <a:lnTo>
                      <a:pt x="181" y="352"/>
                    </a:lnTo>
                    <a:lnTo>
                      <a:pt x="182" y="352"/>
                    </a:lnTo>
                    <a:lnTo>
                      <a:pt x="184" y="352"/>
                    </a:lnTo>
                    <a:lnTo>
                      <a:pt x="186" y="352"/>
                    </a:lnTo>
                    <a:lnTo>
                      <a:pt x="186" y="350"/>
                    </a:lnTo>
                    <a:lnTo>
                      <a:pt x="188" y="350"/>
                    </a:lnTo>
                    <a:lnTo>
                      <a:pt x="188" y="348"/>
                    </a:lnTo>
                    <a:lnTo>
                      <a:pt x="190" y="348"/>
                    </a:lnTo>
                    <a:lnTo>
                      <a:pt x="192" y="348"/>
                    </a:lnTo>
                    <a:lnTo>
                      <a:pt x="192" y="346"/>
                    </a:lnTo>
                    <a:lnTo>
                      <a:pt x="194" y="346"/>
                    </a:lnTo>
                    <a:lnTo>
                      <a:pt x="194" y="344"/>
                    </a:lnTo>
                    <a:lnTo>
                      <a:pt x="196" y="344"/>
                    </a:lnTo>
                    <a:lnTo>
                      <a:pt x="196" y="342"/>
                    </a:lnTo>
                    <a:lnTo>
                      <a:pt x="198" y="342"/>
                    </a:lnTo>
                    <a:lnTo>
                      <a:pt x="200" y="342"/>
                    </a:lnTo>
                    <a:lnTo>
                      <a:pt x="200" y="344"/>
                    </a:lnTo>
                    <a:lnTo>
                      <a:pt x="202" y="344"/>
                    </a:lnTo>
                    <a:lnTo>
                      <a:pt x="204" y="344"/>
                    </a:lnTo>
                    <a:lnTo>
                      <a:pt x="206" y="344"/>
                    </a:lnTo>
                    <a:lnTo>
                      <a:pt x="206" y="346"/>
                    </a:lnTo>
                    <a:lnTo>
                      <a:pt x="206" y="348"/>
                    </a:lnTo>
                    <a:lnTo>
                      <a:pt x="204" y="350"/>
                    </a:lnTo>
                    <a:lnTo>
                      <a:pt x="204" y="352"/>
                    </a:lnTo>
                    <a:lnTo>
                      <a:pt x="204" y="354"/>
                    </a:lnTo>
                    <a:lnTo>
                      <a:pt x="204" y="356"/>
                    </a:lnTo>
                    <a:lnTo>
                      <a:pt x="206" y="356"/>
                    </a:lnTo>
                    <a:lnTo>
                      <a:pt x="206" y="358"/>
                    </a:lnTo>
                    <a:lnTo>
                      <a:pt x="206" y="356"/>
                    </a:lnTo>
                    <a:lnTo>
                      <a:pt x="206" y="358"/>
                    </a:lnTo>
                    <a:lnTo>
                      <a:pt x="206" y="360"/>
                    </a:lnTo>
                    <a:lnTo>
                      <a:pt x="207" y="360"/>
                    </a:lnTo>
                    <a:lnTo>
                      <a:pt x="207" y="362"/>
                    </a:lnTo>
                    <a:lnTo>
                      <a:pt x="207" y="364"/>
                    </a:lnTo>
                    <a:lnTo>
                      <a:pt x="209" y="364"/>
                    </a:lnTo>
                    <a:lnTo>
                      <a:pt x="211" y="364"/>
                    </a:lnTo>
                    <a:lnTo>
                      <a:pt x="211" y="365"/>
                    </a:lnTo>
                    <a:lnTo>
                      <a:pt x="213" y="365"/>
                    </a:lnTo>
                    <a:lnTo>
                      <a:pt x="215" y="365"/>
                    </a:lnTo>
                    <a:lnTo>
                      <a:pt x="215" y="367"/>
                    </a:lnTo>
                    <a:lnTo>
                      <a:pt x="217" y="367"/>
                    </a:lnTo>
                    <a:lnTo>
                      <a:pt x="219" y="367"/>
                    </a:lnTo>
                    <a:lnTo>
                      <a:pt x="219" y="369"/>
                    </a:lnTo>
                    <a:lnTo>
                      <a:pt x="221" y="369"/>
                    </a:lnTo>
                    <a:lnTo>
                      <a:pt x="223" y="371"/>
                    </a:lnTo>
                    <a:lnTo>
                      <a:pt x="223" y="369"/>
                    </a:lnTo>
                    <a:lnTo>
                      <a:pt x="225" y="369"/>
                    </a:lnTo>
                    <a:lnTo>
                      <a:pt x="227" y="369"/>
                    </a:lnTo>
                    <a:lnTo>
                      <a:pt x="227" y="371"/>
                    </a:lnTo>
                    <a:lnTo>
                      <a:pt x="227" y="369"/>
                    </a:lnTo>
                    <a:lnTo>
                      <a:pt x="227" y="371"/>
                    </a:lnTo>
                    <a:lnTo>
                      <a:pt x="225" y="371"/>
                    </a:lnTo>
                    <a:lnTo>
                      <a:pt x="225" y="373"/>
                    </a:lnTo>
                    <a:lnTo>
                      <a:pt x="227" y="373"/>
                    </a:lnTo>
                    <a:lnTo>
                      <a:pt x="225" y="373"/>
                    </a:lnTo>
                    <a:lnTo>
                      <a:pt x="227" y="373"/>
                    </a:lnTo>
                    <a:lnTo>
                      <a:pt x="227" y="375"/>
                    </a:lnTo>
                    <a:lnTo>
                      <a:pt x="225" y="373"/>
                    </a:lnTo>
                    <a:lnTo>
                      <a:pt x="223" y="373"/>
                    </a:lnTo>
                    <a:lnTo>
                      <a:pt x="225" y="373"/>
                    </a:lnTo>
                    <a:lnTo>
                      <a:pt x="223" y="373"/>
                    </a:lnTo>
                    <a:lnTo>
                      <a:pt x="225" y="373"/>
                    </a:lnTo>
                    <a:lnTo>
                      <a:pt x="223" y="373"/>
                    </a:lnTo>
                    <a:lnTo>
                      <a:pt x="221" y="373"/>
                    </a:lnTo>
                    <a:lnTo>
                      <a:pt x="223" y="373"/>
                    </a:lnTo>
                    <a:lnTo>
                      <a:pt x="221" y="373"/>
                    </a:lnTo>
                    <a:lnTo>
                      <a:pt x="223" y="373"/>
                    </a:lnTo>
                    <a:lnTo>
                      <a:pt x="221" y="373"/>
                    </a:lnTo>
                    <a:lnTo>
                      <a:pt x="221" y="371"/>
                    </a:lnTo>
                    <a:lnTo>
                      <a:pt x="221" y="373"/>
                    </a:lnTo>
                    <a:lnTo>
                      <a:pt x="221" y="371"/>
                    </a:lnTo>
                    <a:lnTo>
                      <a:pt x="221" y="373"/>
                    </a:lnTo>
                    <a:lnTo>
                      <a:pt x="219" y="371"/>
                    </a:lnTo>
                    <a:lnTo>
                      <a:pt x="219" y="373"/>
                    </a:lnTo>
                    <a:lnTo>
                      <a:pt x="221" y="373"/>
                    </a:lnTo>
                    <a:lnTo>
                      <a:pt x="223" y="373"/>
                    </a:lnTo>
                    <a:lnTo>
                      <a:pt x="221" y="373"/>
                    </a:lnTo>
                    <a:lnTo>
                      <a:pt x="223" y="373"/>
                    </a:lnTo>
                    <a:lnTo>
                      <a:pt x="223" y="375"/>
                    </a:lnTo>
                    <a:lnTo>
                      <a:pt x="225" y="375"/>
                    </a:lnTo>
                    <a:lnTo>
                      <a:pt x="223" y="375"/>
                    </a:lnTo>
                    <a:lnTo>
                      <a:pt x="225" y="375"/>
                    </a:lnTo>
                    <a:lnTo>
                      <a:pt x="225" y="377"/>
                    </a:lnTo>
                    <a:lnTo>
                      <a:pt x="227" y="377"/>
                    </a:lnTo>
                    <a:lnTo>
                      <a:pt x="229" y="377"/>
                    </a:lnTo>
                    <a:lnTo>
                      <a:pt x="229" y="379"/>
                    </a:lnTo>
                    <a:lnTo>
                      <a:pt x="229" y="377"/>
                    </a:lnTo>
                    <a:lnTo>
                      <a:pt x="229" y="379"/>
                    </a:lnTo>
                    <a:lnTo>
                      <a:pt x="231" y="379"/>
                    </a:lnTo>
                    <a:lnTo>
                      <a:pt x="232" y="379"/>
                    </a:lnTo>
                    <a:lnTo>
                      <a:pt x="231" y="379"/>
                    </a:lnTo>
                    <a:lnTo>
                      <a:pt x="232" y="379"/>
                    </a:lnTo>
                    <a:lnTo>
                      <a:pt x="232" y="381"/>
                    </a:lnTo>
                    <a:lnTo>
                      <a:pt x="232" y="379"/>
                    </a:lnTo>
                    <a:lnTo>
                      <a:pt x="234" y="381"/>
                    </a:lnTo>
                    <a:lnTo>
                      <a:pt x="232" y="381"/>
                    </a:lnTo>
                    <a:lnTo>
                      <a:pt x="234" y="381"/>
                    </a:lnTo>
                    <a:lnTo>
                      <a:pt x="236" y="381"/>
                    </a:lnTo>
                    <a:lnTo>
                      <a:pt x="238" y="381"/>
                    </a:lnTo>
                    <a:lnTo>
                      <a:pt x="240" y="381"/>
                    </a:lnTo>
                    <a:lnTo>
                      <a:pt x="242" y="381"/>
                    </a:lnTo>
                    <a:lnTo>
                      <a:pt x="244" y="381"/>
                    </a:lnTo>
                    <a:lnTo>
                      <a:pt x="246" y="381"/>
                    </a:lnTo>
                    <a:lnTo>
                      <a:pt x="244" y="381"/>
                    </a:lnTo>
                    <a:lnTo>
                      <a:pt x="246" y="381"/>
                    </a:lnTo>
                    <a:lnTo>
                      <a:pt x="248" y="381"/>
                    </a:lnTo>
                    <a:lnTo>
                      <a:pt x="248" y="383"/>
                    </a:lnTo>
                    <a:lnTo>
                      <a:pt x="250" y="383"/>
                    </a:lnTo>
                    <a:lnTo>
                      <a:pt x="252" y="383"/>
                    </a:lnTo>
                    <a:lnTo>
                      <a:pt x="250" y="383"/>
                    </a:lnTo>
                    <a:lnTo>
                      <a:pt x="252" y="383"/>
                    </a:lnTo>
                    <a:lnTo>
                      <a:pt x="252" y="385"/>
                    </a:lnTo>
                    <a:lnTo>
                      <a:pt x="255" y="385"/>
                    </a:lnTo>
                    <a:lnTo>
                      <a:pt x="257" y="387"/>
                    </a:lnTo>
                    <a:lnTo>
                      <a:pt x="259" y="387"/>
                    </a:lnTo>
                    <a:lnTo>
                      <a:pt x="259" y="389"/>
                    </a:lnTo>
                    <a:lnTo>
                      <a:pt x="259" y="387"/>
                    </a:lnTo>
                    <a:lnTo>
                      <a:pt x="261" y="389"/>
                    </a:lnTo>
                    <a:lnTo>
                      <a:pt x="263" y="389"/>
                    </a:lnTo>
                    <a:lnTo>
                      <a:pt x="263" y="390"/>
                    </a:lnTo>
                    <a:lnTo>
                      <a:pt x="263" y="392"/>
                    </a:lnTo>
                    <a:lnTo>
                      <a:pt x="263" y="390"/>
                    </a:lnTo>
                    <a:lnTo>
                      <a:pt x="263" y="392"/>
                    </a:lnTo>
                    <a:lnTo>
                      <a:pt x="263" y="394"/>
                    </a:lnTo>
                    <a:lnTo>
                      <a:pt x="261" y="394"/>
                    </a:lnTo>
                    <a:lnTo>
                      <a:pt x="263" y="394"/>
                    </a:lnTo>
                    <a:lnTo>
                      <a:pt x="263" y="392"/>
                    </a:lnTo>
                    <a:lnTo>
                      <a:pt x="263" y="394"/>
                    </a:lnTo>
                    <a:lnTo>
                      <a:pt x="265" y="392"/>
                    </a:lnTo>
                    <a:lnTo>
                      <a:pt x="265" y="394"/>
                    </a:lnTo>
                    <a:lnTo>
                      <a:pt x="265" y="392"/>
                    </a:lnTo>
                    <a:lnTo>
                      <a:pt x="263" y="392"/>
                    </a:lnTo>
                    <a:lnTo>
                      <a:pt x="265" y="392"/>
                    </a:lnTo>
                    <a:lnTo>
                      <a:pt x="265" y="394"/>
                    </a:lnTo>
                    <a:lnTo>
                      <a:pt x="265" y="392"/>
                    </a:lnTo>
                    <a:lnTo>
                      <a:pt x="263" y="394"/>
                    </a:lnTo>
                    <a:lnTo>
                      <a:pt x="265" y="394"/>
                    </a:lnTo>
                    <a:lnTo>
                      <a:pt x="267" y="396"/>
                    </a:lnTo>
                    <a:lnTo>
                      <a:pt x="265" y="394"/>
                    </a:lnTo>
                    <a:lnTo>
                      <a:pt x="263" y="394"/>
                    </a:lnTo>
                    <a:lnTo>
                      <a:pt x="265" y="394"/>
                    </a:lnTo>
                    <a:lnTo>
                      <a:pt x="267" y="394"/>
                    </a:lnTo>
                    <a:lnTo>
                      <a:pt x="269" y="394"/>
                    </a:lnTo>
                    <a:lnTo>
                      <a:pt x="267" y="394"/>
                    </a:lnTo>
                    <a:lnTo>
                      <a:pt x="269" y="394"/>
                    </a:lnTo>
                    <a:lnTo>
                      <a:pt x="269" y="392"/>
                    </a:lnTo>
                    <a:lnTo>
                      <a:pt x="269" y="394"/>
                    </a:lnTo>
                    <a:lnTo>
                      <a:pt x="269" y="396"/>
                    </a:lnTo>
                    <a:lnTo>
                      <a:pt x="269" y="398"/>
                    </a:lnTo>
                    <a:lnTo>
                      <a:pt x="267" y="398"/>
                    </a:lnTo>
                    <a:lnTo>
                      <a:pt x="267" y="400"/>
                    </a:lnTo>
                    <a:lnTo>
                      <a:pt x="265" y="400"/>
                    </a:lnTo>
                    <a:lnTo>
                      <a:pt x="263" y="400"/>
                    </a:lnTo>
                    <a:lnTo>
                      <a:pt x="263" y="402"/>
                    </a:lnTo>
                    <a:lnTo>
                      <a:pt x="263" y="404"/>
                    </a:lnTo>
                    <a:lnTo>
                      <a:pt x="263" y="406"/>
                    </a:lnTo>
                    <a:lnTo>
                      <a:pt x="261" y="406"/>
                    </a:lnTo>
                    <a:lnTo>
                      <a:pt x="263" y="406"/>
                    </a:lnTo>
                    <a:lnTo>
                      <a:pt x="263" y="404"/>
                    </a:lnTo>
                    <a:lnTo>
                      <a:pt x="263" y="402"/>
                    </a:lnTo>
                    <a:lnTo>
                      <a:pt x="265" y="402"/>
                    </a:lnTo>
                    <a:lnTo>
                      <a:pt x="263" y="402"/>
                    </a:lnTo>
                    <a:lnTo>
                      <a:pt x="263" y="400"/>
                    </a:lnTo>
                    <a:lnTo>
                      <a:pt x="265" y="400"/>
                    </a:lnTo>
                    <a:lnTo>
                      <a:pt x="265" y="402"/>
                    </a:lnTo>
                    <a:lnTo>
                      <a:pt x="265" y="404"/>
                    </a:lnTo>
                    <a:lnTo>
                      <a:pt x="265" y="402"/>
                    </a:lnTo>
                    <a:lnTo>
                      <a:pt x="265" y="400"/>
                    </a:lnTo>
                    <a:lnTo>
                      <a:pt x="267" y="400"/>
                    </a:lnTo>
                    <a:lnTo>
                      <a:pt x="269" y="400"/>
                    </a:lnTo>
                    <a:lnTo>
                      <a:pt x="269" y="398"/>
                    </a:lnTo>
                    <a:lnTo>
                      <a:pt x="269" y="400"/>
                    </a:lnTo>
                    <a:lnTo>
                      <a:pt x="267" y="402"/>
                    </a:lnTo>
                    <a:lnTo>
                      <a:pt x="267" y="404"/>
                    </a:lnTo>
                    <a:lnTo>
                      <a:pt x="267" y="406"/>
                    </a:lnTo>
                    <a:lnTo>
                      <a:pt x="267" y="408"/>
                    </a:lnTo>
                    <a:lnTo>
                      <a:pt x="265" y="408"/>
                    </a:lnTo>
                    <a:lnTo>
                      <a:pt x="265" y="410"/>
                    </a:lnTo>
                    <a:lnTo>
                      <a:pt x="265" y="408"/>
                    </a:lnTo>
                    <a:lnTo>
                      <a:pt x="265" y="410"/>
                    </a:lnTo>
                    <a:lnTo>
                      <a:pt x="267" y="412"/>
                    </a:lnTo>
                    <a:lnTo>
                      <a:pt x="265" y="412"/>
                    </a:lnTo>
                    <a:lnTo>
                      <a:pt x="265" y="414"/>
                    </a:lnTo>
                    <a:lnTo>
                      <a:pt x="265" y="415"/>
                    </a:lnTo>
                    <a:lnTo>
                      <a:pt x="265" y="417"/>
                    </a:lnTo>
                    <a:lnTo>
                      <a:pt x="267" y="417"/>
                    </a:lnTo>
                    <a:lnTo>
                      <a:pt x="265" y="417"/>
                    </a:lnTo>
                    <a:lnTo>
                      <a:pt x="265" y="415"/>
                    </a:lnTo>
                    <a:lnTo>
                      <a:pt x="267" y="415"/>
                    </a:lnTo>
                    <a:lnTo>
                      <a:pt x="265" y="415"/>
                    </a:lnTo>
                    <a:lnTo>
                      <a:pt x="265" y="414"/>
                    </a:lnTo>
                    <a:lnTo>
                      <a:pt x="267" y="414"/>
                    </a:lnTo>
                    <a:lnTo>
                      <a:pt x="265" y="414"/>
                    </a:lnTo>
                    <a:lnTo>
                      <a:pt x="267" y="414"/>
                    </a:lnTo>
                    <a:lnTo>
                      <a:pt x="269" y="414"/>
                    </a:lnTo>
                    <a:lnTo>
                      <a:pt x="269" y="415"/>
                    </a:lnTo>
                    <a:lnTo>
                      <a:pt x="267" y="414"/>
                    </a:lnTo>
                    <a:lnTo>
                      <a:pt x="269" y="414"/>
                    </a:lnTo>
                    <a:lnTo>
                      <a:pt x="269" y="415"/>
                    </a:lnTo>
                    <a:lnTo>
                      <a:pt x="269" y="417"/>
                    </a:lnTo>
                    <a:lnTo>
                      <a:pt x="271" y="417"/>
                    </a:lnTo>
                    <a:lnTo>
                      <a:pt x="271" y="419"/>
                    </a:lnTo>
                    <a:lnTo>
                      <a:pt x="271" y="417"/>
                    </a:lnTo>
                    <a:lnTo>
                      <a:pt x="271" y="419"/>
                    </a:lnTo>
                    <a:lnTo>
                      <a:pt x="271" y="417"/>
                    </a:lnTo>
                    <a:lnTo>
                      <a:pt x="273" y="419"/>
                    </a:lnTo>
                    <a:lnTo>
                      <a:pt x="271" y="419"/>
                    </a:lnTo>
                    <a:lnTo>
                      <a:pt x="273" y="419"/>
                    </a:lnTo>
                    <a:lnTo>
                      <a:pt x="273" y="421"/>
                    </a:lnTo>
                    <a:lnTo>
                      <a:pt x="275" y="423"/>
                    </a:lnTo>
                    <a:lnTo>
                      <a:pt x="275" y="425"/>
                    </a:lnTo>
                    <a:lnTo>
                      <a:pt x="275" y="427"/>
                    </a:lnTo>
                    <a:lnTo>
                      <a:pt x="275" y="429"/>
                    </a:lnTo>
                    <a:lnTo>
                      <a:pt x="273" y="429"/>
                    </a:lnTo>
                    <a:lnTo>
                      <a:pt x="275" y="429"/>
                    </a:lnTo>
                    <a:lnTo>
                      <a:pt x="275" y="431"/>
                    </a:lnTo>
                    <a:lnTo>
                      <a:pt x="275" y="429"/>
                    </a:lnTo>
                    <a:lnTo>
                      <a:pt x="275" y="431"/>
                    </a:lnTo>
                    <a:lnTo>
                      <a:pt x="275" y="433"/>
                    </a:lnTo>
                    <a:lnTo>
                      <a:pt x="275" y="435"/>
                    </a:lnTo>
                    <a:lnTo>
                      <a:pt x="275" y="437"/>
                    </a:lnTo>
                    <a:lnTo>
                      <a:pt x="277" y="437"/>
                    </a:lnTo>
                    <a:lnTo>
                      <a:pt x="277" y="438"/>
                    </a:lnTo>
                    <a:lnTo>
                      <a:pt x="277" y="440"/>
                    </a:lnTo>
                    <a:lnTo>
                      <a:pt x="277" y="442"/>
                    </a:lnTo>
                    <a:lnTo>
                      <a:pt x="279" y="442"/>
                    </a:lnTo>
                    <a:lnTo>
                      <a:pt x="279" y="444"/>
                    </a:lnTo>
                    <a:lnTo>
                      <a:pt x="279" y="446"/>
                    </a:lnTo>
                    <a:lnTo>
                      <a:pt x="279" y="448"/>
                    </a:lnTo>
                    <a:lnTo>
                      <a:pt x="279" y="450"/>
                    </a:lnTo>
                    <a:lnTo>
                      <a:pt x="280" y="450"/>
                    </a:lnTo>
                    <a:lnTo>
                      <a:pt x="280" y="452"/>
                    </a:lnTo>
                    <a:lnTo>
                      <a:pt x="282" y="452"/>
                    </a:lnTo>
                    <a:lnTo>
                      <a:pt x="282" y="454"/>
                    </a:lnTo>
                    <a:lnTo>
                      <a:pt x="284" y="454"/>
                    </a:lnTo>
                    <a:lnTo>
                      <a:pt x="284" y="456"/>
                    </a:lnTo>
                    <a:lnTo>
                      <a:pt x="286" y="456"/>
                    </a:lnTo>
                    <a:lnTo>
                      <a:pt x="286" y="458"/>
                    </a:lnTo>
                    <a:lnTo>
                      <a:pt x="286" y="456"/>
                    </a:lnTo>
                    <a:lnTo>
                      <a:pt x="286" y="458"/>
                    </a:lnTo>
                    <a:lnTo>
                      <a:pt x="288" y="460"/>
                    </a:lnTo>
                    <a:lnTo>
                      <a:pt x="288" y="462"/>
                    </a:lnTo>
                    <a:lnTo>
                      <a:pt x="288" y="463"/>
                    </a:lnTo>
                    <a:lnTo>
                      <a:pt x="288" y="465"/>
                    </a:lnTo>
                    <a:lnTo>
                      <a:pt x="288" y="467"/>
                    </a:lnTo>
                    <a:lnTo>
                      <a:pt x="288" y="465"/>
                    </a:lnTo>
                    <a:lnTo>
                      <a:pt x="288" y="463"/>
                    </a:lnTo>
                    <a:lnTo>
                      <a:pt x="288" y="462"/>
                    </a:lnTo>
                    <a:lnTo>
                      <a:pt x="288" y="463"/>
                    </a:lnTo>
                    <a:lnTo>
                      <a:pt x="290" y="463"/>
                    </a:lnTo>
                    <a:lnTo>
                      <a:pt x="290" y="465"/>
                    </a:lnTo>
                    <a:lnTo>
                      <a:pt x="292" y="465"/>
                    </a:lnTo>
                    <a:lnTo>
                      <a:pt x="290" y="465"/>
                    </a:lnTo>
                    <a:lnTo>
                      <a:pt x="292" y="465"/>
                    </a:lnTo>
                    <a:lnTo>
                      <a:pt x="290" y="465"/>
                    </a:lnTo>
                    <a:lnTo>
                      <a:pt x="290" y="463"/>
                    </a:lnTo>
                    <a:lnTo>
                      <a:pt x="288" y="463"/>
                    </a:lnTo>
                    <a:lnTo>
                      <a:pt x="290" y="463"/>
                    </a:lnTo>
                    <a:lnTo>
                      <a:pt x="290" y="465"/>
                    </a:lnTo>
                    <a:lnTo>
                      <a:pt x="290" y="463"/>
                    </a:lnTo>
                    <a:lnTo>
                      <a:pt x="290" y="465"/>
                    </a:lnTo>
                    <a:lnTo>
                      <a:pt x="292" y="465"/>
                    </a:lnTo>
                    <a:lnTo>
                      <a:pt x="292" y="467"/>
                    </a:lnTo>
                    <a:lnTo>
                      <a:pt x="294" y="467"/>
                    </a:lnTo>
                    <a:lnTo>
                      <a:pt x="296" y="467"/>
                    </a:lnTo>
                    <a:lnTo>
                      <a:pt x="296" y="469"/>
                    </a:lnTo>
                    <a:lnTo>
                      <a:pt x="298" y="469"/>
                    </a:lnTo>
                    <a:lnTo>
                      <a:pt x="300" y="471"/>
                    </a:lnTo>
                    <a:lnTo>
                      <a:pt x="302" y="471"/>
                    </a:lnTo>
                    <a:lnTo>
                      <a:pt x="302" y="473"/>
                    </a:lnTo>
                    <a:lnTo>
                      <a:pt x="304" y="473"/>
                    </a:lnTo>
                    <a:lnTo>
                      <a:pt x="304" y="475"/>
                    </a:lnTo>
                    <a:lnTo>
                      <a:pt x="304" y="477"/>
                    </a:lnTo>
                    <a:lnTo>
                      <a:pt x="304" y="479"/>
                    </a:lnTo>
                    <a:lnTo>
                      <a:pt x="304" y="481"/>
                    </a:lnTo>
                    <a:lnTo>
                      <a:pt x="304" y="483"/>
                    </a:lnTo>
                    <a:lnTo>
                      <a:pt x="304" y="485"/>
                    </a:lnTo>
                    <a:lnTo>
                      <a:pt x="302" y="485"/>
                    </a:lnTo>
                    <a:lnTo>
                      <a:pt x="302" y="487"/>
                    </a:lnTo>
                    <a:lnTo>
                      <a:pt x="302" y="485"/>
                    </a:lnTo>
                    <a:lnTo>
                      <a:pt x="302" y="487"/>
                    </a:lnTo>
                    <a:lnTo>
                      <a:pt x="302" y="485"/>
                    </a:lnTo>
                    <a:lnTo>
                      <a:pt x="302" y="487"/>
                    </a:lnTo>
                    <a:lnTo>
                      <a:pt x="300" y="487"/>
                    </a:lnTo>
                    <a:lnTo>
                      <a:pt x="300" y="488"/>
                    </a:lnTo>
                    <a:lnTo>
                      <a:pt x="298" y="488"/>
                    </a:lnTo>
                    <a:lnTo>
                      <a:pt x="296" y="488"/>
                    </a:lnTo>
                    <a:lnTo>
                      <a:pt x="296" y="490"/>
                    </a:lnTo>
                    <a:lnTo>
                      <a:pt x="294" y="492"/>
                    </a:lnTo>
                    <a:lnTo>
                      <a:pt x="296" y="492"/>
                    </a:lnTo>
                    <a:lnTo>
                      <a:pt x="294" y="492"/>
                    </a:lnTo>
                    <a:lnTo>
                      <a:pt x="294" y="494"/>
                    </a:lnTo>
                    <a:lnTo>
                      <a:pt x="292" y="494"/>
                    </a:lnTo>
                    <a:lnTo>
                      <a:pt x="292" y="496"/>
                    </a:lnTo>
                    <a:lnTo>
                      <a:pt x="290" y="496"/>
                    </a:lnTo>
                    <a:lnTo>
                      <a:pt x="292" y="496"/>
                    </a:lnTo>
                    <a:lnTo>
                      <a:pt x="290" y="496"/>
                    </a:lnTo>
                    <a:lnTo>
                      <a:pt x="290" y="498"/>
                    </a:lnTo>
                    <a:lnTo>
                      <a:pt x="288" y="498"/>
                    </a:lnTo>
                    <a:lnTo>
                      <a:pt x="288" y="500"/>
                    </a:lnTo>
                    <a:lnTo>
                      <a:pt x="288" y="498"/>
                    </a:lnTo>
                    <a:lnTo>
                      <a:pt x="288" y="500"/>
                    </a:lnTo>
                    <a:lnTo>
                      <a:pt x="286" y="500"/>
                    </a:lnTo>
                    <a:lnTo>
                      <a:pt x="286" y="502"/>
                    </a:lnTo>
                    <a:lnTo>
                      <a:pt x="284" y="504"/>
                    </a:lnTo>
                    <a:lnTo>
                      <a:pt x="284" y="506"/>
                    </a:lnTo>
                    <a:lnTo>
                      <a:pt x="284" y="508"/>
                    </a:lnTo>
                    <a:lnTo>
                      <a:pt x="284" y="510"/>
                    </a:lnTo>
                    <a:lnTo>
                      <a:pt x="282" y="510"/>
                    </a:lnTo>
                    <a:lnTo>
                      <a:pt x="280" y="512"/>
                    </a:lnTo>
                    <a:lnTo>
                      <a:pt x="280" y="513"/>
                    </a:lnTo>
                    <a:lnTo>
                      <a:pt x="280" y="515"/>
                    </a:lnTo>
                    <a:lnTo>
                      <a:pt x="279" y="515"/>
                    </a:lnTo>
                    <a:lnTo>
                      <a:pt x="280" y="515"/>
                    </a:lnTo>
                    <a:lnTo>
                      <a:pt x="279" y="515"/>
                    </a:lnTo>
                    <a:lnTo>
                      <a:pt x="280" y="515"/>
                    </a:lnTo>
                    <a:lnTo>
                      <a:pt x="280" y="513"/>
                    </a:lnTo>
                    <a:lnTo>
                      <a:pt x="282" y="512"/>
                    </a:lnTo>
                    <a:lnTo>
                      <a:pt x="282" y="510"/>
                    </a:lnTo>
                    <a:lnTo>
                      <a:pt x="284" y="510"/>
                    </a:lnTo>
                    <a:lnTo>
                      <a:pt x="282" y="510"/>
                    </a:lnTo>
                    <a:lnTo>
                      <a:pt x="284" y="510"/>
                    </a:lnTo>
                    <a:lnTo>
                      <a:pt x="284" y="508"/>
                    </a:lnTo>
                    <a:lnTo>
                      <a:pt x="284" y="506"/>
                    </a:lnTo>
                    <a:lnTo>
                      <a:pt x="284" y="504"/>
                    </a:lnTo>
                    <a:lnTo>
                      <a:pt x="286" y="504"/>
                    </a:lnTo>
                    <a:lnTo>
                      <a:pt x="286" y="502"/>
                    </a:lnTo>
                    <a:lnTo>
                      <a:pt x="286" y="500"/>
                    </a:lnTo>
                    <a:lnTo>
                      <a:pt x="288" y="500"/>
                    </a:lnTo>
                    <a:lnTo>
                      <a:pt x="286" y="500"/>
                    </a:lnTo>
                    <a:lnTo>
                      <a:pt x="288" y="500"/>
                    </a:lnTo>
                    <a:lnTo>
                      <a:pt x="288" y="498"/>
                    </a:lnTo>
                    <a:lnTo>
                      <a:pt x="290" y="498"/>
                    </a:lnTo>
                    <a:lnTo>
                      <a:pt x="288" y="498"/>
                    </a:lnTo>
                    <a:lnTo>
                      <a:pt x="290" y="498"/>
                    </a:lnTo>
                    <a:lnTo>
                      <a:pt x="288" y="498"/>
                    </a:lnTo>
                    <a:lnTo>
                      <a:pt x="290" y="498"/>
                    </a:lnTo>
                    <a:lnTo>
                      <a:pt x="288" y="498"/>
                    </a:lnTo>
                    <a:lnTo>
                      <a:pt x="290" y="498"/>
                    </a:lnTo>
                    <a:lnTo>
                      <a:pt x="290" y="496"/>
                    </a:lnTo>
                    <a:lnTo>
                      <a:pt x="292" y="496"/>
                    </a:lnTo>
                    <a:lnTo>
                      <a:pt x="292" y="494"/>
                    </a:lnTo>
                    <a:lnTo>
                      <a:pt x="292" y="496"/>
                    </a:lnTo>
                    <a:lnTo>
                      <a:pt x="292" y="494"/>
                    </a:lnTo>
                    <a:lnTo>
                      <a:pt x="294" y="496"/>
                    </a:lnTo>
                    <a:lnTo>
                      <a:pt x="294" y="494"/>
                    </a:lnTo>
                    <a:lnTo>
                      <a:pt x="294" y="492"/>
                    </a:lnTo>
                    <a:lnTo>
                      <a:pt x="296" y="490"/>
                    </a:lnTo>
                    <a:lnTo>
                      <a:pt x="298" y="488"/>
                    </a:lnTo>
                    <a:lnTo>
                      <a:pt x="296" y="490"/>
                    </a:lnTo>
                    <a:lnTo>
                      <a:pt x="296" y="488"/>
                    </a:lnTo>
                    <a:lnTo>
                      <a:pt x="296" y="490"/>
                    </a:lnTo>
                    <a:lnTo>
                      <a:pt x="298" y="488"/>
                    </a:lnTo>
                    <a:lnTo>
                      <a:pt x="296" y="488"/>
                    </a:lnTo>
                    <a:lnTo>
                      <a:pt x="298" y="488"/>
                    </a:lnTo>
                    <a:lnTo>
                      <a:pt x="298" y="490"/>
                    </a:lnTo>
                    <a:lnTo>
                      <a:pt x="298" y="488"/>
                    </a:lnTo>
                    <a:lnTo>
                      <a:pt x="300" y="488"/>
                    </a:lnTo>
                    <a:lnTo>
                      <a:pt x="300" y="487"/>
                    </a:lnTo>
                    <a:lnTo>
                      <a:pt x="300" y="488"/>
                    </a:lnTo>
                    <a:lnTo>
                      <a:pt x="300" y="487"/>
                    </a:lnTo>
                    <a:lnTo>
                      <a:pt x="302" y="487"/>
                    </a:lnTo>
                    <a:lnTo>
                      <a:pt x="304" y="485"/>
                    </a:lnTo>
                    <a:lnTo>
                      <a:pt x="304" y="487"/>
                    </a:lnTo>
                    <a:lnTo>
                      <a:pt x="302" y="487"/>
                    </a:lnTo>
                    <a:lnTo>
                      <a:pt x="304" y="487"/>
                    </a:lnTo>
                    <a:lnTo>
                      <a:pt x="304" y="485"/>
                    </a:lnTo>
                    <a:lnTo>
                      <a:pt x="304" y="483"/>
                    </a:lnTo>
                    <a:lnTo>
                      <a:pt x="304" y="481"/>
                    </a:lnTo>
                    <a:lnTo>
                      <a:pt x="305" y="481"/>
                    </a:lnTo>
                    <a:lnTo>
                      <a:pt x="304" y="483"/>
                    </a:lnTo>
                    <a:lnTo>
                      <a:pt x="305" y="483"/>
                    </a:lnTo>
                    <a:lnTo>
                      <a:pt x="305" y="485"/>
                    </a:lnTo>
                    <a:lnTo>
                      <a:pt x="307" y="485"/>
                    </a:lnTo>
                    <a:lnTo>
                      <a:pt x="305" y="485"/>
                    </a:lnTo>
                    <a:lnTo>
                      <a:pt x="305" y="483"/>
                    </a:lnTo>
                    <a:lnTo>
                      <a:pt x="305" y="481"/>
                    </a:lnTo>
                    <a:lnTo>
                      <a:pt x="304" y="481"/>
                    </a:lnTo>
                    <a:lnTo>
                      <a:pt x="304" y="479"/>
                    </a:lnTo>
                    <a:lnTo>
                      <a:pt x="304" y="477"/>
                    </a:lnTo>
                    <a:lnTo>
                      <a:pt x="304" y="475"/>
                    </a:lnTo>
                    <a:lnTo>
                      <a:pt x="305" y="475"/>
                    </a:lnTo>
                    <a:lnTo>
                      <a:pt x="304" y="475"/>
                    </a:lnTo>
                    <a:lnTo>
                      <a:pt x="304" y="473"/>
                    </a:lnTo>
                    <a:lnTo>
                      <a:pt x="302" y="471"/>
                    </a:lnTo>
                    <a:lnTo>
                      <a:pt x="300" y="471"/>
                    </a:lnTo>
                    <a:lnTo>
                      <a:pt x="300" y="469"/>
                    </a:lnTo>
                    <a:lnTo>
                      <a:pt x="298" y="469"/>
                    </a:lnTo>
                    <a:lnTo>
                      <a:pt x="298" y="467"/>
                    </a:lnTo>
                    <a:lnTo>
                      <a:pt x="296" y="467"/>
                    </a:lnTo>
                    <a:lnTo>
                      <a:pt x="294" y="467"/>
                    </a:lnTo>
                    <a:lnTo>
                      <a:pt x="294" y="465"/>
                    </a:lnTo>
                    <a:lnTo>
                      <a:pt x="292" y="465"/>
                    </a:lnTo>
                    <a:lnTo>
                      <a:pt x="290" y="465"/>
                    </a:lnTo>
                    <a:lnTo>
                      <a:pt x="290" y="463"/>
                    </a:lnTo>
                    <a:lnTo>
                      <a:pt x="288" y="463"/>
                    </a:lnTo>
                    <a:lnTo>
                      <a:pt x="290" y="463"/>
                    </a:lnTo>
                    <a:lnTo>
                      <a:pt x="288" y="463"/>
                    </a:lnTo>
                    <a:lnTo>
                      <a:pt x="290" y="462"/>
                    </a:lnTo>
                    <a:lnTo>
                      <a:pt x="288" y="462"/>
                    </a:lnTo>
                    <a:lnTo>
                      <a:pt x="288" y="460"/>
                    </a:lnTo>
                    <a:lnTo>
                      <a:pt x="288" y="458"/>
                    </a:lnTo>
                    <a:lnTo>
                      <a:pt x="286" y="458"/>
                    </a:lnTo>
                    <a:lnTo>
                      <a:pt x="286" y="456"/>
                    </a:lnTo>
                    <a:lnTo>
                      <a:pt x="284" y="454"/>
                    </a:lnTo>
                    <a:lnTo>
                      <a:pt x="282" y="452"/>
                    </a:lnTo>
                    <a:lnTo>
                      <a:pt x="280" y="450"/>
                    </a:lnTo>
                    <a:lnTo>
                      <a:pt x="280" y="448"/>
                    </a:lnTo>
                    <a:lnTo>
                      <a:pt x="279" y="448"/>
                    </a:lnTo>
                    <a:lnTo>
                      <a:pt x="279" y="446"/>
                    </a:lnTo>
                    <a:lnTo>
                      <a:pt x="280" y="446"/>
                    </a:lnTo>
                    <a:lnTo>
                      <a:pt x="280" y="448"/>
                    </a:lnTo>
                    <a:lnTo>
                      <a:pt x="280" y="446"/>
                    </a:lnTo>
                    <a:lnTo>
                      <a:pt x="279" y="446"/>
                    </a:lnTo>
                    <a:lnTo>
                      <a:pt x="279" y="444"/>
                    </a:lnTo>
                    <a:lnTo>
                      <a:pt x="279" y="442"/>
                    </a:lnTo>
                    <a:lnTo>
                      <a:pt x="279" y="440"/>
                    </a:lnTo>
                    <a:lnTo>
                      <a:pt x="277" y="440"/>
                    </a:lnTo>
                    <a:lnTo>
                      <a:pt x="277" y="438"/>
                    </a:lnTo>
                    <a:lnTo>
                      <a:pt x="279" y="438"/>
                    </a:lnTo>
                    <a:lnTo>
                      <a:pt x="277" y="438"/>
                    </a:lnTo>
                    <a:lnTo>
                      <a:pt x="277" y="437"/>
                    </a:lnTo>
                    <a:lnTo>
                      <a:pt x="277" y="438"/>
                    </a:lnTo>
                    <a:lnTo>
                      <a:pt x="277" y="437"/>
                    </a:lnTo>
                    <a:lnTo>
                      <a:pt x="277" y="435"/>
                    </a:lnTo>
                    <a:lnTo>
                      <a:pt x="277" y="437"/>
                    </a:lnTo>
                    <a:lnTo>
                      <a:pt x="277" y="435"/>
                    </a:lnTo>
                    <a:lnTo>
                      <a:pt x="277" y="433"/>
                    </a:lnTo>
                    <a:lnTo>
                      <a:pt x="277" y="435"/>
                    </a:lnTo>
                    <a:lnTo>
                      <a:pt x="277" y="433"/>
                    </a:lnTo>
                    <a:lnTo>
                      <a:pt x="275" y="433"/>
                    </a:lnTo>
                    <a:lnTo>
                      <a:pt x="277" y="433"/>
                    </a:lnTo>
                    <a:lnTo>
                      <a:pt x="277" y="431"/>
                    </a:lnTo>
                    <a:lnTo>
                      <a:pt x="275" y="431"/>
                    </a:lnTo>
                    <a:lnTo>
                      <a:pt x="275" y="429"/>
                    </a:lnTo>
                    <a:lnTo>
                      <a:pt x="275" y="427"/>
                    </a:lnTo>
                    <a:lnTo>
                      <a:pt x="275" y="425"/>
                    </a:lnTo>
                    <a:lnTo>
                      <a:pt x="275" y="423"/>
                    </a:lnTo>
                    <a:lnTo>
                      <a:pt x="277" y="423"/>
                    </a:lnTo>
                    <a:lnTo>
                      <a:pt x="275" y="423"/>
                    </a:lnTo>
                    <a:lnTo>
                      <a:pt x="277" y="423"/>
                    </a:lnTo>
                    <a:lnTo>
                      <a:pt x="275" y="421"/>
                    </a:lnTo>
                    <a:lnTo>
                      <a:pt x="277" y="421"/>
                    </a:lnTo>
                    <a:lnTo>
                      <a:pt x="275" y="421"/>
                    </a:lnTo>
                    <a:lnTo>
                      <a:pt x="275" y="423"/>
                    </a:lnTo>
                    <a:lnTo>
                      <a:pt x="277" y="423"/>
                    </a:lnTo>
                    <a:lnTo>
                      <a:pt x="275" y="423"/>
                    </a:lnTo>
                    <a:lnTo>
                      <a:pt x="275" y="425"/>
                    </a:lnTo>
                    <a:lnTo>
                      <a:pt x="275" y="423"/>
                    </a:lnTo>
                    <a:lnTo>
                      <a:pt x="275" y="421"/>
                    </a:lnTo>
                    <a:lnTo>
                      <a:pt x="273" y="421"/>
                    </a:lnTo>
                    <a:lnTo>
                      <a:pt x="273" y="419"/>
                    </a:lnTo>
                    <a:lnTo>
                      <a:pt x="271" y="417"/>
                    </a:lnTo>
                    <a:lnTo>
                      <a:pt x="269" y="417"/>
                    </a:lnTo>
                    <a:lnTo>
                      <a:pt x="269" y="415"/>
                    </a:lnTo>
                    <a:lnTo>
                      <a:pt x="269" y="414"/>
                    </a:lnTo>
                    <a:lnTo>
                      <a:pt x="267" y="414"/>
                    </a:lnTo>
                    <a:lnTo>
                      <a:pt x="267" y="412"/>
                    </a:lnTo>
                    <a:lnTo>
                      <a:pt x="267" y="414"/>
                    </a:lnTo>
                    <a:lnTo>
                      <a:pt x="265" y="414"/>
                    </a:lnTo>
                    <a:lnTo>
                      <a:pt x="267" y="412"/>
                    </a:lnTo>
                    <a:lnTo>
                      <a:pt x="265" y="414"/>
                    </a:lnTo>
                    <a:lnTo>
                      <a:pt x="265" y="412"/>
                    </a:lnTo>
                    <a:lnTo>
                      <a:pt x="267" y="412"/>
                    </a:lnTo>
                    <a:lnTo>
                      <a:pt x="267" y="410"/>
                    </a:lnTo>
                    <a:lnTo>
                      <a:pt x="265" y="410"/>
                    </a:lnTo>
                    <a:lnTo>
                      <a:pt x="265" y="408"/>
                    </a:lnTo>
                    <a:lnTo>
                      <a:pt x="265" y="410"/>
                    </a:lnTo>
                    <a:lnTo>
                      <a:pt x="265" y="408"/>
                    </a:lnTo>
                    <a:lnTo>
                      <a:pt x="267" y="408"/>
                    </a:lnTo>
                    <a:lnTo>
                      <a:pt x="267" y="406"/>
                    </a:lnTo>
                    <a:lnTo>
                      <a:pt x="267" y="404"/>
                    </a:lnTo>
                    <a:lnTo>
                      <a:pt x="269" y="404"/>
                    </a:lnTo>
                    <a:lnTo>
                      <a:pt x="269" y="402"/>
                    </a:lnTo>
                    <a:lnTo>
                      <a:pt x="269" y="400"/>
                    </a:lnTo>
                    <a:lnTo>
                      <a:pt x="269" y="402"/>
                    </a:lnTo>
                    <a:lnTo>
                      <a:pt x="269" y="400"/>
                    </a:lnTo>
                    <a:lnTo>
                      <a:pt x="269" y="398"/>
                    </a:lnTo>
                    <a:lnTo>
                      <a:pt x="269" y="400"/>
                    </a:lnTo>
                    <a:lnTo>
                      <a:pt x="269" y="398"/>
                    </a:lnTo>
                    <a:lnTo>
                      <a:pt x="269" y="396"/>
                    </a:lnTo>
                    <a:lnTo>
                      <a:pt x="269" y="394"/>
                    </a:lnTo>
                    <a:lnTo>
                      <a:pt x="271" y="394"/>
                    </a:lnTo>
                    <a:lnTo>
                      <a:pt x="271" y="396"/>
                    </a:lnTo>
                    <a:lnTo>
                      <a:pt x="271" y="394"/>
                    </a:lnTo>
                    <a:lnTo>
                      <a:pt x="271" y="396"/>
                    </a:lnTo>
                    <a:lnTo>
                      <a:pt x="271" y="398"/>
                    </a:lnTo>
                    <a:lnTo>
                      <a:pt x="271" y="400"/>
                    </a:lnTo>
                    <a:lnTo>
                      <a:pt x="271" y="402"/>
                    </a:lnTo>
                    <a:lnTo>
                      <a:pt x="271" y="404"/>
                    </a:lnTo>
                    <a:lnTo>
                      <a:pt x="269" y="404"/>
                    </a:lnTo>
                    <a:lnTo>
                      <a:pt x="269" y="406"/>
                    </a:lnTo>
                    <a:lnTo>
                      <a:pt x="271" y="408"/>
                    </a:lnTo>
                    <a:lnTo>
                      <a:pt x="269" y="408"/>
                    </a:lnTo>
                    <a:lnTo>
                      <a:pt x="271" y="408"/>
                    </a:lnTo>
                    <a:lnTo>
                      <a:pt x="269" y="408"/>
                    </a:lnTo>
                    <a:lnTo>
                      <a:pt x="271" y="408"/>
                    </a:lnTo>
                    <a:lnTo>
                      <a:pt x="269" y="406"/>
                    </a:lnTo>
                    <a:lnTo>
                      <a:pt x="269" y="404"/>
                    </a:lnTo>
                    <a:lnTo>
                      <a:pt x="271" y="404"/>
                    </a:lnTo>
                    <a:lnTo>
                      <a:pt x="269" y="404"/>
                    </a:lnTo>
                    <a:lnTo>
                      <a:pt x="271" y="404"/>
                    </a:lnTo>
                    <a:lnTo>
                      <a:pt x="271" y="402"/>
                    </a:lnTo>
                    <a:lnTo>
                      <a:pt x="271" y="404"/>
                    </a:lnTo>
                    <a:lnTo>
                      <a:pt x="271" y="402"/>
                    </a:lnTo>
                    <a:lnTo>
                      <a:pt x="271" y="400"/>
                    </a:lnTo>
                    <a:lnTo>
                      <a:pt x="271" y="398"/>
                    </a:lnTo>
                    <a:lnTo>
                      <a:pt x="271" y="400"/>
                    </a:lnTo>
                    <a:lnTo>
                      <a:pt x="271" y="398"/>
                    </a:lnTo>
                    <a:lnTo>
                      <a:pt x="273" y="398"/>
                    </a:lnTo>
                    <a:lnTo>
                      <a:pt x="273" y="400"/>
                    </a:lnTo>
                    <a:lnTo>
                      <a:pt x="271" y="400"/>
                    </a:lnTo>
                    <a:lnTo>
                      <a:pt x="273" y="400"/>
                    </a:lnTo>
                    <a:lnTo>
                      <a:pt x="273" y="402"/>
                    </a:lnTo>
                    <a:lnTo>
                      <a:pt x="273" y="404"/>
                    </a:lnTo>
                    <a:lnTo>
                      <a:pt x="271" y="404"/>
                    </a:lnTo>
                    <a:lnTo>
                      <a:pt x="273" y="404"/>
                    </a:lnTo>
                    <a:lnTo>
                      <a:pt x="271" y="406"/>
                    </a:lnTo>
                    <a:lnTo>
                      <a:pt x="273" y="406"/>
                    </a:lnTo>
                    <a:lnTo>
                      <a:pt x="271" y="406"/>
                    </a:lnTo>
                    <a:lnTo>
                      <a:pt x="273" y="406"/>
                    </a:lnTo>
                    <a:lnTo>
                      <a:pt x="273" y="404"/>
                    </a:lnTo>
                    <a:lnTo>
                      <a:pt x="271" y="404"/>
                    </a:lnTo>
                    <a:lnTo>
                      <a:pt x="273" y="404"/>
                    </a:lnTo>
                    <a:lnTo>
                      <a:pt x="273" y="406"/>
                    </a:lnTo>
                    <a:lnTo>
                      <a:pt x="273" y="404"/>
                    </a:lnTo>
                    <a:lnTo>
                      <a:pt x="273" y="406"/>
                    </a:lnTo>
                    <a:lnTo>
                      <a:pt x="273" y="408"/>
                    </a:lnTo>
                    <a:lnTo>
                      <a:pt x="273" y="406"/>
                    </a:lnTo>
                    <a:lnTo>
                      <a:pt x="273" y="408"/>
                    </a:lnTo>
                    <a:lnTo>
                      <a:pt x="273" y="406"/>
                    </a:lnTo>
                    <a:lnTo>
                      <a:pt x="273" y="404"/>
                    </a:lnTo>
                    <a:lnTo>
                      <a:pt x="273" y="406"/>
                    </a:lnTo>
                    <a:lnTo>
                      <a:pt x="273" y="404"/>
                    </a:lnTo>
                    <a:lnTo>
                      <a:pt x="273" y="402"/>
                    </a:lnTo>
                    <a:lnTo>
                      <a:pt x="273" y="400"/>
                    </a:lnTo>
                    <a:lnTo>
                      <a:pt x="273" y="398"/>
                    </a:lnTo>
                    <a:lnTo>
                      <a:pt x="271" y="398"/>
                    </a:lnTo>
                    <a:lnTo>
                      <a:pt x="273" y="396"/>
                    </a:lnTo>
                    <a:lnTo>
                      <a:pt x="271" y="394"/>
                    </a:lnTo>
                    <a:lnTo>
                      <a:pt x="273" y="394"/>
                    </a:lnTo>
                    <a:lnTo>
                      <a:pt x="275" y="396"/>
                    </a:lnTo>
                    <a:lnTo>
                      <a:pt x="275" y="394"/>
                    </a:lnTo>
                    <a:lnTo>
                      <a:pt x="273" y="394"/>
                    </a:lnTo>
                    <a:lnTo>
                      <a:pt x="275" y="394"/>
                    </a:lnTo>
                    <a:lnTo>
                      <a:pt x="275" y="396"/>
                    </a:lnTo>
                    <a:lnTo>
                      <a:pt x="275" y="394"/>
                    </a:lnTo>
                    <a:lnTo>
                      <a:pt x="275" y="396"/>
                    </a:lnTo>
                    <a:lnTo>
                      <a:pt x="275" y="398"/>
                    </a:lnTo>
                    <a:lnTo>
                      <a:pt x="275" y="396"/>
                    </a:lnTo>
                    <a:lnTo>
                      <a:pt x="275" y="398"/>
                    </a:lnTo>
                    <a:lnTo>
                      <a:pt x="275" y="400"/>
                    </a:lnTo>
                    <a:lnTo>
                      <a:pt x="275" y="402"/>
                    </a:lnTo>
                    <a:lnTo>
                      <a:pt x="275" y="404"/>
                    </a:lnTo>
                    <a:lnTo>
                      <a:pt x="275" y="402"/>
                    </a:lnTo>
                    <a:lnTo>
                      <a:pt x="277" y="402"/>
                    </a:lnTo>
                    <a:lnTo>
                      <a:pt x="275" y="402"/>
                    </a:lnTo>
                    <a:lnTo>
                      <a:pt x="277" y="402"/>
                    </a:lnTo>
                    <a:lnTo>
                      <a:pt x="277" y="404"/>
                    </a:lnTo>
                    <a:lnTo>
                      <a:pt x="277" y="402"/>
                    </a:lnTo>
                    <a:lnTo>
                      <a:pt x="275" y="402"/>
                    </a:lnTo>
                    <a:lnTo>
                      <a:pt x="277" y="402"/>
                    </a:lnTo>
                    <a:lnTo>
                      <a:pt x="277" y="400"/>
                    </a:lnTo>
                    <a:lnTo>
                      <a:pt x="275" y="400"/>
                    </a:lnTo>
                    <a:lnTo>
                      <a:pt x="275" y="398"/>
                    </a:lnTo>
                    <a:lnTo>
                      <a:pt x="275" y="400"/>
                    </a:lnTo>
                    <a:lnTo>
                      <a:pt x="277" y="400"/>
                    </a:lnTo>
                    <a:lnTo>
                      <a:pt x="279" y="400"/>
                    </a:lnTo>
                    <a:lnTo>
                      <a:pt x="279" y="402"/>
                    </a:lnTo>
                    <a:lnTo>
                      <a:pt x="277" y="402"/>
                    </a:lnTo>
                    <a:lnTo>
                      <a:pt x="279" y="402"/>
                    </a:lnTo>
                    <a:lnTo>
                      <a:pt x="279" y="400"/>
                    </a:lnTo>
                    <a:lnTo>
                      <a:pt x="277" y="400"/>
                    </a:lnTo>
                    <a:lnTo>
                      <a:pt x="275" y="400"/>
                    </a:lnTo>
                    <a:lnTo>
                      <a:pt x="275" y="398"/>
                    </a:lnTo>
                    <a:lnTo>
                      <a:pt x="275" y="396"/>
                    </a:lnTo>
                    <a:lnTo>
                      <a:pt x="275" y="394"/>
                    </a:lnTo>
                    <a:lnTo>
                      <a:pt x="277" y="394"/>
                    </a:lnTo>
                    <a:lnTo>
                      <a:pt x="277" y="392"/>
                    </a:lnTo>
                    <a:lnTo>
                      <a:pt x="277" y="394"/>
                    </a:lnTo>
                    <a:lnTo>
                      <a:pt x="277" y="392"/>
                    </a:lnTo>
                    <a:lnTo>
                      <a:pt x="279" y="392"/>
                    </a:lnTo>
                    <a:lnTo>
                      <a:pt x="277" y="392"/>
                    </a:lnTo>
                    <a:lnTo>
                      <a:pt x="279" y="392"/>
                    </a:lnTo>
                    <a:lnTo>
                      <a:pt x="277" y="392"/>
                    </a:lnTo>
                    <a:lnTo>
                      <a:pt x="277" y="390"/>
                    </a:lnTo>
                    <a:lnTo>
                      <a:pt x="277" y="392"/>
                    </a:lnTo>
                    <a:lnTo>
                      <a:pt x="277" y="390"/>
                    </a:lnTo>
                    <a:lnTo>
                      <a:pt x="277" y="392"/>
                    </a:lnTo>
                    <a:lnTo>
                      <a:pt x="277" y="390"/>
                    </a:lnTo>
                    <a:lnTo>
                      <a:pt x="279" y="390"/>
                    </a:lnTo>
                    <a:lnTo>
                      <a:pt x="280" y="390"/>
                    </a:lnTo>
                    <a:lnTo>
                      <a:pt x="280" y="392"/>
                    </a:lnTo>
                    <a:lnTo>
                      <a:pt x="280" y="390"/>
                    </a:lnTo>
                    <a:lnTo>
                      <a:pt x="280" y="389"/>
                    </a:lnTo>
                    <a:lnTo>
                      <a:pt x="282" y="389"/>
                    </a:lnTo>
                    <a:lnTo>
                      <a:pt x="282" y="387"/>
                    </a:lnTo>
                    <a:lnTo>
                      <a:pt x="280" y="385"/>
                    </a:lnTo>
                    <a:lnTo>
                      <a:pt x="280" y="383"/>
                    </a:lnTo>
                    <a:lnTo>
                      <a:pt x="282" y="383"/>
                    </a:lnTo>
                    <a:lnTo>
                      <a:pt x="282" y="381"/>
                    </a:lnTo>
                    <a:lnTo>
                      <a:pt x="280" y="381"/>
                    </a:lnTo>
                    <a:lnTo>
                      <a:pt x="280" y="383"/>
                    </a:lnTo>
                    <a:lnTo>
                      <a:pt x="280" y="381"/>
                    </a:lnTo>
                    <a:lnTo>
                      <a:pt x="282" y="381"/>
                    </a:lnTo>
                    <a:lnTo>
                      <a:pt x="282" y="379"/>
                    </a:lnTo>
                    <a:lnTo>
                      <a:pt x="282" y="381"/>
                    </a:lnTo>
                    <a:lnTo>
                      <a:pt x="282" y="379"/>
                    </a:lnTo>
                    <a:lnTo>
                      <a:pt x="282" y="381"/>
                    </a:lnTo>
                    <a:lnTo>
                      <a:pt x="284" y="379"/>
                    </a:lnTo>
                    <a:lnTo>
                      <a:pt x="284" y="377"/>
                    </a:lnTo>
                    <a:lnTo>
                      <a:pt x="286" y="377"/>
                    </a:lnTo>
                    <a:lnTo>
                      <a:pt x="288" y="377"/>
                    </a:lnTo>
                    <a:lnTo>
                      <a:pt x="290" y="377"/>
                    </a:lnTo>
                    <a:lnTo>
                      <a:pt x="288" y="377"/>
                    </a:lnTo>
                    <a:lnTo>
                      <a:pt x="288" y="375"/>
                    </a:lnTo>
                    <a:lnTo>
                      <a:pt x="290" y="377"/>
                    </a:lnTo>
                    <a:lnTo>
                      <a:pt x="290" y="375"/>
                    </a:lnTo>
                    <a:lnTo>
                      <a:pt x="292" y="375"/>
                    </a:lnTo>
                    <a:lnTo>
                      <a:pt x="294" y="375"/>
                    </a:lnTo>
                    <a:lnTo>
                      <a:pt x="294" y="377"/>
                    </a:lnTo>
                    <a:lnTo>
                      <a:pt x="296" y="377"/>
                    </a:lnTo>
                    <a:lnTo>
                      <a:pt x="298" y="377"/>
                    </a:lnTo>
                    <a:lnTo>
                      <a:pt x="298" y="375"/>
                    </a:lnTo>
                    <a:lnTo>
                      <a:pt x="298" y="377"/>
                    </a:lnTo>
                    <a:lnTo>
                      <a:pt x="300" y="377"/>
                    </a:lnTo>
                    <a:lnTo>
                      <a:pt x="298" y="377"/>
                    </a:lnTo>
                    <a:lnTo>
                      <a:pt x="298" y="379"/>
                    </a:lnTo>
                    <a:lnTo>
                      <a:pt x="300" y="379"/>
                    </a:lnTo>
                    <a:lnTo>
                      <a:pt x="302" y="379"/>
                    </a:lnTo>
                    <a:lnTo>
                      <a:pt x="300" y="379"/>
                    </a:lnTo>
                    <a:lnTo>
                      <a:pt x="298" y="379"/>
                    </a:lnTo>
                    <a:lnTo>
                      <a:pt x="298" y="377"/>
                    </a:lnTo>
                    <a:lnTo>
                      <a:pt x="300" y="377"/>
                    </a:lnTo>
                    <a:lnTo>
                      <a:pt x="300" y="379"/>
                    </a:lnTo>
                    <a:lnTo>
                      <a:pt x="300" y="377"/>
                    </a:lnTo>
                    <a:lnTo>
                      <a:pt x="302" y="379"/>
                    </a:lnTo>
                    <a:lnTo>
                      <a:pt x="300" y="379"/>
                    </a:lnTo>
                    <a:lnTo>
                      <a:pt x="302" y="379"/>
                    </a:lnTo>
                    <a:lnTo>
                      <a:pt x="300" y="379"/>
                    </a:lnTo>
                    <a:lnTo>
                      <a:pt x="302" y="379"/>
                    </a:lnTo>
                    <a:lnTo>
                      <a:pt x="300" y="377"/>
                    </a:lnTo>
                    <a:lnTo>
                      <a:pt x="300" y="379"/>
                    </a:lnTo>
                    <a:lnTo>
                      <a:pt x="300" y="377"/>
                    </a:lnTo>
                    <a:lnTo>
                      <a:pt x="300" y="379"/>
                    </a:lnTo>
                    <a:lnTo>
                      <a:pt x="300" y="377"/>
                    </a:lnTo>
                    <a:lnTo>
                      <a:pt x="302" y="377"/>
                    </a:lnTo>
                    <a:lnTo>
                      <a:pt x="302" y="379"/>
                    </a:lnTo>
                    <a:lnTo>
                      <a:pt x="302" y="377"/>
                    </a:lnTo>
                    <a:lnTo>
                      <a:pt x="304" y="377"/>
                    </a:lnTo>
                    <a:lnTo>
                      <a:pt x="304" y="379"/>
                    </a:lnTo>
                    <a:lnTo>
                      <a:pt x="304" y="377"/>
                    </a:lnTo>
                    <a:lnTo>
                      <a:pt x="304" y="379"/>
                    </a:lnTo>
                    <a:lnTo>
                      <a:pt x="305" y="379"/>
                    </a:lnTo>
                    <a:lnTo>
                      <a:pt x="305" y="377"/>
                    </a:lnTo>
                    <a:lnTo>
                      <a:pt x="307" y="377"/>
                    </a:lnTo>
                    <a:lnTo>
                      <a:pt x="305" y="377"/>
                    </a:lnTo>
                    <a:lnTo>
                      <a:pt x="305" y="379"/>
                    </a:lnTo>
                    <a:lnTo>
                      <a:pt x="304" y="379"/>
                    </a:lnTo>
                    <a:lnTo>
                      <a:pt x="304" y="377"/>
                    </a:lnTo>
                    <a:lnTo>
                      <a:pt x="304" y="379"/>
                    </a:lnTo>
                    <a:lnTo>
                      <a:pt x="304" y="377"/>
                    </a:lnTo>
                    <a:lnTo>
                      <a:pt x="302" y="377"/>
                    </a:lnTo>
                    <a:lnTo>
                      <a:pt x="300" y="377"/>
                    </a:lnTo>
                    <a:lnTo>
                      <a:pt x="298" y="377"/>
                    </a:lnTo>
                    <a:lnTo>
                      <a:pt x="300" y="377"/>
                    </a:lnTo>
                    <a:lnTo>
                      <a:pt x="300" y="375"/>
                    </a:lnTo>
                    <a:lnTo>
                      <a:pt x="300" y="377"/>
                    </a:lnTo>
                    <a:lnTo>
                      <a:pt x="300" y="375"/>
                    </a:lnTo>
                    <a:lnTo>
                      <a:pt x="300" y="377"/>
                    </a:lnTo>
                    <a:lnTo>
                      <a:pt x="300" y="375"/>
                    </a:lnTo>
                    <a:lnTo>
                      <a:pt x="302" y="375"/>
                    </a:lnTo>
                    <a:lnTo>
                      <a:pt x="302" y="377"/>
                    </a:lnTo>
                    <a:lnTo>
                      <a:pt x="302" y="375"/>
                    </a:lnTo>
                    <a:lnTo>
                      <a:pt x="302" y="377"/>
                    </a:lnTo>
                    <a:lnTo>
                      <a:pt x="302" y="375"/>
                    </a:lnTo>
                    <a:lnTo>
                      <a:pt x="302" y="377"/>
                    </a:lnTo>
                    <a:lnTo>
                      <a:pt x="302" y="375"/>
                    </a:lnTo>
                    <a:lnTo>
                      <a:pt x="304" y="375"/>
                    </a:lnTo>
                    <a:lnTo>
                      <a:pt x="302" y="375"/>
                    </a:lnTo>
                    <a:lnTo>
                      <a:pt x="302" y="377"/>
                    </a:lnTo>
                    <a:lnTo>
                      <a:pt x="302" y="375"/>
                    </a:lnTo>
                    <a:lnTo>
                      <a:pt x="304" y="375"/>
                    </a:lnTo>
                    <a:lnTo>
                      <a:pt x="302" y="375"/>
                    </a:lnTo>
                    <a:lnTo>
                      <a:pt x="304" y="375"/>
                    </a:lnTo>
                    <a:lnTo>
                      <a:pt x="302" y="375"/>
                    </a:lnTo>
                    <a:lnTo>
                      <a:pt x="300" y="375"/>
                    </a:lnTo>
                    <a:lnTo>
                      <a:pt x="302" y="375"/>
                    </a:lnTo>
                    <a:lnTo>
                      <a:pt x="302" y="373"/>
                    </a:lnTo>
                    <a:lnTo>
                      <a:pt x="304" y="373"/>
                    </a:lnTo>
                    <a:lnTo>
                      <a:pt x="305" y="373"/>
                    </a:lnTo>
                    <a:lnTo>
                      <a:pt x="305" y="375"/>
                    </a:lnTo>
                    <a:lnTo>
                      <a:pt x="305" y="373"/>
                    </a:lnTo>
                    <a:lnTo>
                      <a:pt x="305" y="375"/>
                    </a:lnTo>
                    <a:lnTo>
                      <a:pt x="307" y="375"/>
                    </a:lnTo>
                    <a:lnTo>
                      <a:pt x="307" y="373"/>
                    </a:lnTo>
                    <a:lnTo>
                      <a:pt x="305" y="373"/>
                    </a:lnTo>
                    <a:lnTo>
                      <a:pt x="307" y="373"/>
                    </a:lnTo>
                    <a:lnTo>
                      <a:pt x="305" y="373"/>
                    </a:lnTo>
                    <a:lnTo>
                      <a:pt x="304" y="373"/>
                    </a:lnTo>
                    <a:lnTo>
                      <a:pt x="302" y="373"/>
                    </a:lnTo>
                    <a:lnTo>
                      <a:pt x="302" y="375"/>
                    </a:lnTo>
                    <a:lnTo>
                      <a:pt x="300" y="375"/>
                    </a:lnTo>
                    <a:lnTo>
                      <a:pt x="300" y="377"/>
                    </a:lnTo>
                    <a:lnTo>
                      <a:pt x="298" y="375"/>
                    </a:lnTo>
                    <a:lnTo>
                      <a:pt x="300" y="375"/>
                    </a:lnTo>
                    <a:lnTo>
                      <a:pt x="298" y="375"/>
                    </a:lnTo>
                    <a:lnTo>
                      <a:pt x="300" y="375"/>
                    </a:lnTo>
                    <a:lnTo>
                      <a:pt x="300" y="373"/>
                    </a:lnTo>
                    <a:lnTo>
                      <a:pt x="302" y="371"/>
                    </a:lnTo>
                    <a:lnTo>
                      <a:pt x="304" y="371"/>
                    </a:lnTo>
                    <a:lnTo>
                      <a:pt x="305" y="371"/>
                    </a:lnTo>
                    <a:lnTo>
                      <a:pt x="307" y="369"/>
                    </a:lnTo>
                    <a:lnTo>
                      <a:pt x="309" y="369"/>
                    </a:lnTo>
                    <a:lnTo>
                      <a:pt x="311" y="369"/>
                    </a:lnTo>
                    <a:lnTo>
                      <a:pt x="313" y="369"/>
                    </a:lnTo>
                    <a:lnTo>
                      <a:pt x="315" y="369"/>
                    </a:lnTo>
                    <a:lnTo>
                      <a:pt x="315" y="367"/>
                    </a:lnTo>
                    <a:lnTo>
                      <a:pt x="317" y="367"/>
                    </a:lnTo>
                    <a:lnTo>
                      <a:pt x="317" y="365"/>
                    </a:lnTo>
                    <a:lnTo>
                      <a:pt x="319" y="365"/>
                    </a:lnTo>
                    <a:lnTo>
                      <a:pt x="319" y="364"/>
                    </a:lnTo>
                    <a:lnTo>
                      <a:pt x="321" y="364"/>
                    </a:lnTo>
                    <a:lnTo>
                      <a:pt x="319" y="364"/>
                    </a:lnTo>
                    <a:lnTo>
                      <a:pt x="319" y="362"/>
                    </a:lnTo>
                    <a:lnTo>
                      <a:pt x="321" y="362"/>
                    </a:lnTo>
                    <a:lnTo>
                      <a:pt x="323" y="362"/>
                    </a:lnTo>
                    <a:lnTo>
                      <a:pt x="325" y="362"/>
                    </a:lnTo>
                    <a:lnTo>
                      <a:pt x="327" y="360"/>
                    </a:lnTo>
                    <a:lnTo>
                      <a:pt x="327" y="358"/>
                    </a:lnTo>
                    <a:lnTo>
                      <a:pt x="327" y="356"/>
                    </a:lnTo>
                    <a:lnTo>
                      <a:pt x="328" y="358"/>
                    </a:lnTo>
                    <a:lnTo>
                      <a:pt x="327" y="356"/>
                    </a:lnTo>
                    <a:lnTo>
                      <a:pt x="328" y="356"/>
                    </a:lnTo>
                    <a:lnTo>
                      <a:pt x="328" y="354"/>
                    </a:lnTo>
                    <a:lnTo>
                      <a:pt x="328" y="352"/>
                    </a:lnTo>
                    <a:lnTo>
                      <a:pt x="330" y="352"/>
                    </a:lnTo>
                    <a:lnTo>
                      <a:pt x="330" y="350"/>
                    </a:lnTo>
                    <a:lnTo>
                      <a:pt x="330" y="352"/>
                    </a:lnTo>
                    <a:lnTo>
                      <a:pt x="330" y="350"/>
                    </a:lnTo>
                    <a:lnTo>
                      <a:pt x="330" y="348"/>
                    </a:lnTo>
                    <a:lnTo>
                      <a:pt x="330" y="346"/>
                    </a:lnTo>
                    <a:lnTo>
                      <a:pt x="332" y="346"/>
                    </a:lnTo>
                    <a:lnTo>
                      <a:pt x="330" y="346"/>
                    </a:lnTo>
                    <a:lnTo>
                      <a:pt x="330" y="344"/>
                    </a:lnTo>
                    <a:lnTo>
                      <a:pt x="332" y="342"/>
                    </a:lnTo>
                    <a:lnTo>
                      <a:pt x="334" y="340"/>
                    </a:lnTo>
                    <a:lnTo>
                      <a:pt x="334" y="339"/>
                    </a:lnTo>
                    <a:lnTo>
                      <a:pt x="336" y="339"/>
                    </a:lnTo>
                    <a:lnTo>
                      <a:pt x="336" y="337"/>
                    </a:lnTo>
                    <a:lnTo>
                      <a:pt x="338" y="337"/>
                    </a:lnTo>
                    <a:lnTo>
                      <a:pt x="338" y="335"/>
                    </a:lnTo>
                    <a:lnTo>
                      <a:pt x="340" y="335"/>
                    </a:lnTo>
                    <a:lnTo>
                      <a:pt x="346" y="331"/>
                    </a:lnTo>
                    <a:lnTo>
                      <a:pt x="348" y="329"/>
                    </a:lnTo>
                    <a:lnTo>
                      <a:pt x="352" y="327"/>
                    </a:lnTo>
                    <a:lnTo>
                      <a:pt x="353" y="327"/>
                    </a:lnTo>
                    <a:lnTo>
                      <a:pt x="355" y="325"/>
                    </a:lnTo>
                    <a:lnTo>
                      <a:pt x="357" y="323"/>
                    </a:lnTo>
                    <a:lnTo>
                      <a:pt x="357" y="321"/>
                    </a:lnTo>
                    <a:lnTo>
                      <a:pt x="359" y="321"/>
                    </a:lnTo>
                    <a:lnTo>
                      <a:pt x="357" y="321"/>
                    </a:lnTo>
                    <a:lnTo>
                      <a:pt x="359" y="319"/>
                    </a:lnTo>
                    <a:lnTo>
                      <a:pt x="359" y="317"/>
                    </a:lnTo>
                    <a:lnTo>
                      <a:pt x="359" y="315"/>
                    </a:lnTo>
                    <a:lnTo>
                      <a:pt x="361" y="314"/>
                    </a:lnTo>
                    <a:lnTo>
                      <a:pt x="361" y="312"/>
                    </a:lnTo>
                    <a:lnTo>
                      <a:pt x="361" y="310"/>
                    </a:lnTo>
                    <a:lnTo>
                      <a:pt x="361" y="308"/>
                    </a:lnTo>
                    <a:lnTo>
                      <a:pt x="363" y="308"/>
                    </a:lnTo>
                    <a:lnTo>
                      <a:pt x="363" y="306"/>
                    </a:lnTo>
                    <a:lnTo>
                      <a:pt x="363" y="304"/>
                    </a:lnTo>
                    <a:lnTo>
                      <a:pt x="361" y="302"/>
                    </a:lnTo>
                    <a:lnTo>
                      <a:pt x="361" y="300"/>
                    </a:lnTo>
                    <a:lnTo>
                      <a:pt x="361" y="298"/>
                    </a:lnTo>
                    <a:lnTo>
                      <a:pt x="361" y="292"/>
                    </a:lnTo>
                    <a:lnTo>
                      <a:pt x="361" y="290"/>
                    </a:lnTo>
                    <a:lnTo>
                      <a:pt x="359" y="290"/>
                    </a:lnTo>
                    <a:lnTo>
                      <a:pt x="359" y="289"/>
                    </a:lnTo>
                    <a:lnTo>
                      <a:pt x="359" y="287"/>
                    </a:lnTo>
                    <a:lnTo>
                      <a:pt x="357" y="287"/>
                    </a:lnTo>
                    <a:lnTo>
                      <a:pt x="357" y="285"/>
                    </a:lnTo>
                    <a:lnTo>
                      <a:pt x="359" y="285"/>
                    </a:lnTo>
                    <a:lnTo>
                      <a:pt x="357" y="285"/>
                    </a:lnTo>
                    <a:lnTo>
                      <a:pt x="357" y="287"/>
                    </a:lnTo>
                    <a:lnTo>
                      <a:pt x="357" y="285"/>
                    </a:lnTo>
                    <a:lnTo>
                      <a:pt x="355" y="283"/>
                    </a:lnTo>
                    <a:lnTo>
                      <a:pt x="355" y="281"/>
                    </a:lnTo>
                    <a:lnTo>
                      <a:pt x="359" y="275"/>
                    </a:lnTo>
                    <a:lnTo>
                      <a:pt x="361" y="273"/>
                    </a:lnTo>
                    <a:lnTo>
                      <a:pt x="361" y="271"/>
                    </a:lnTo>
                    <a:lnTo>
                      <a:pt x="361" y="269"/>
                    </a:lnTo>
                    <a:lnTo>
                      <a:pt x="361" y="267"/>
                    </a:lnTo>
                    <a:lnTo>
                      <a:pt x="361" y="265"/>
                    </a:lnTo>
                    <a:lnTo>
                      <a:pt x="361" y="264"/>
                    </a:lnTo>
                    <a:lnTo>
                      <a:pt x="363" y="264"/>
                    </a:lnTo>
                    <a:lnTo>
                      <a:pt x="363" y="262"/>
                    </a:lnTo>
                    <a:lnTo>
                      <a:pt x="365" y="262"/>
                    </a:lnTo>
                    <a:lnTo>
                      <a:pt x="365" y="260"/>
                    </a:lnTo>
                    <a:lnTo>
                      <a:pt x="367" y="260"/>
                    </a:lnTo>
                    <a:lnTo>
                      <a:pt x="369" y="260"/>
                    </a:lnTo>
                    <a:lnTo>
                      <a:pt x="371" y="260"/>
                    </a:lnTo>
                    <a:lnTo>
                      <a:pt x="371" y="258"/>
                    </a:lnTo>
                    <a:lnTo>
                      <a:pt x="373" y="258"/>
                    </a:lnTo>
                    <a:lnTo>
                      <a:pt x="375" y="258"/>
                    </a:lnTo>
                    <a:lnTo>
                      <a:pt x="377" y="258"/>
                    </a:lnTo>
                    <a:lnTo>
                      <a:pt x="378" y="258"/>
                    </a:lnTo>
                    <a:lnTo>
                      <a:pt x="380" y="258"/>
                    </a:lnTo>
                    <a:lnTo>
                      <a:pt x="384" y="256"/>
                    </a:lnTo>
                    <a:lnTo>
                      <a:pt x="386" y="256"/>
                    </a:lnTo>
                    <a:lnTo>
                      <a:pt x="388" y="256"/>
                    </a:lnTo>
                    <a:lnTo>
                      <a:pt x="390" y="256"/>
                    </a:lnTo>
                    <a:lnTo>
                      <a:pt x="392" y="256"/>
                    </a:lnTo>
                    <a:lnTo>
                      <a:pt x="394" y="256"/>
                    </a:lnTo>
                    <a:lnTo>
                      <a:pt x="396" y="256"/>
                    </a:lnTo>
                    <a:lnTo>
                      <a:pt x="394" y="256"/>
                    </a:lnTo>
                    <a:lnTo>
                      <a:pt x="396" y="256"/>
                    </a:lnTo>
                    <a:lnTo>
                      <a:pt x="398" y="256"/>
                    </a:lnTo>
                    <a:lnTo>
                      <a:pt x="396" y="256"/>
                    </a:lnTo>
                    <a:lnTo>
                      <a:pt x="396" y="258"/>
                    </a:lnTo>
                    <a:lnTo>
                      <a:pt x="398" y="258"/>
                    </a:lnTo>
                    <a:lnTo>
                      <a:pt x="400" y="258"/>
                    </a:lnTo>
                    <a:lnTo>
                      <a:pt x="398" y="258"/>
                    </a:lnTo>
                    <a:lnTo>
                      <a:pt x="400" y="258"/>
                    </a:lnTo>
                    <a:lnTo>
                      <a:pt x="400" y="260"/>
                    </a:lnTo>
                    <a:lnTo>
                      <a:pt x="400" y="258"/>
                    </a:lnTo>
                    <a:lnTo>
                      <a:pt x="398" y="258"/>
                    </a:lnTo>
                    <a:lnTo>
                      <a:pt x="400" y="258"/>
                    </a:lnTo>
                    <a:lnTo>
                      <a:pt x="398" y="258"/>
                    </a:lnTo>
                    <a:lnTo>
                      <a:pt x="398" y="256"/>
                    </a:lnTo>
                    <a:lnTo>
                      <a:pt x="398" y="258"/>
                    </a:lnTo>
                    <a:lnTo>
                      <a:pt x="396" y="258"/>
                    </a:lnTo>
                    <a:lnTo>
                      <a:pt x="396" y="256"/>
                    </a:lnTo>
                    <a:lnTo>
                      <a:pt x="398" y="256"/>
                    </a:lnTo>
                    <a:lnTo>
                      <a:pt x="396" y="256"/>
                    </a:lnTo>
                    <a:lnTo>
                      <a:pt x="398" y="256"/>
                    </a:lnTo>
                    <a:lnTo>
                      <a:pt x="400" y="256"/>
                    </a:lnTo>
                    <a:lnTo>
                      <a:pt x="401" y="256"/>
                    </a:lnTo>
                    <a:lnTo>
                      <a:pt x="403" y="256"/>
                    </a:lnTo>
                    <a:lnTo>
                      <a:pt x="405" y="254"/>
                    </a:lnTo>
                    <a:lnTo>
                      <a:pt x="407" y="254"/>
                    </a:lnTo>
                    <a:lnTo>
                      <a:pt x="409" y="254"/>
                    </a:lnTo>
                    <a:lnTo>
                      <a:pt x="411" y="254"/>
                    </a:lnTo>
                    <a:lnTo>
                      <a:pt x="411" y="256"/>
                    </a:lnTo>
                    <a:lnTo>
                      <a:pt x="413" y="256"/>
                    </a:lnTo>
                    <a:lnTo>
                      <a:pt x="415" y="256"/>
                    </a:lnTo>
                    <a:lnTo>
                      <a:pt x="417" y="256"/>
                    </a:lnTo>
                    <a:lnTo>
                      <a:pt x="417" y="258"/>
                    </a:lnTo>
                    <a:lnTo>
                      <a:pt x="417" y="260"/>
                    </a:lnTo>
                    <a:lnTo>
                      <a:pt x="417" y="262"/>
                    </a:lnTo>
                    <a:lnTo>
                      <a:pt x="417" y="264"/>
                    </a:lnTo>
                    <a:lnTo>
                      <a:pt x="419" y="264"/>
                    </a:lnTo>
                    <a:lnTo>
                      <a:pt x="417" y="265"/>
                    </a:lnTo>
                    <a:lnTo>
                      <a:pt x="415" y="267"/>
                    </a:lnTo>
                    <a:lnTo>
                      <a:pt x="415" y="269"/>
                    </a:lnTo>
                    <a:lnTo>
                      <a:pt x="417" y="271"/>
                    </a:lnTo>
                    <a:lnTo>
                      <a:pt x="417" y="273"/>
                    </a:lnTo>
                    <a:lnTo>
                      <a:pt x="419" y="273"/>
                    </a:lnTo>
                    <a:lnTo>
                      <a:pt x="419" y="275"/>
                    </a:lnTo>
                    <a:lnTo>
                      <a:pt x="421" y="275"/>
                    </a:lnTo>
                    <a:lnTo>
                      <a:pt x="421" y="277"/>
                    </a:lnTo>
                    <a:lnTo>
                      <a:pt x="423" y="277"/>
                    </a:lnTo>
                    <a:lnTo>
                      <a:pt x="421" y="277"/>
                    </a:lnTo>
                    <a:lnTo>
                      <a:pt x="423" y="277"/>
                    </a:lnTo>
                    <a:lnTo>
                      <a:pt x="423" y="279"/>
                    </a:lnTo>
                    <a:lnTo>
                      <a:pt x="423" y="281"/>
                    </a:lnTo>
                    <a:lnTo>
                      <a:pt x="423" y="279"/>
                    </a:lnTo>
                    <a:lnTo>
                      <a:pt x="423" y="277"/>
                    </a:lnTo>
                    <a:lnTo>
                      <a:pt x="423" y="279"/>
                    </a:lnTo>
                    <a:lnTo>
                      <a:pt x="421" y="279"/>
                    </a:lnTo>
                    <a:lnTo>
                      <a:pt x="421" y="277"/>
                    </a:lnTo>
                    <a:lnTo>
                      <a:pt x="423" y="277"/>
                    </a:lnTo>
                    <a:lnTo>
                      <a:pt x="421" y="277"/>
                    </a:lnTo>
                    <a:lnTo>
                      <a:pt x="421" y="279"/>
                    </a:lnTo>
                    <a:lnTo>
                      <a:pt x="421" y="281"/>
                    </a:lnTo>
                    <a:lnTo>
                      <a:pt x="423" y="281"/>
                    </a:lnTo>
                    <a:lnTo>
                      <a:pt x="425" y="281"/>
                    </a:lnTo>
                    <a:lnTo>
                      <a:pt x="423" y="281"/>
                    </a:lnTo>
                    <a:lnTo>
                      <a:pt x="423" y="283"/>
                    </a:lnTo>
                    <a:lnTo>
                      <a:pt x="425" y="283"/>
                    </a:lnTo>
                    <a:lnTo>
                      <a:pt x="423" y="283"/>
                    </a:lnTo>
                    <a:lnTo>
                      <a:pt x="425" y="283"/>
                    </a:lnTo>
                    <a:lnTo>
                      <a:pt x="426" y="283"/>
                    </a:lnTo>
                    <a:lnTo>
                      <a:pt x="425" y="283"/>
                    </a:lnTo>
                    <a:lnTo>
                      <a:pt x="425" y="281"/>
                    </a:lnTo>
                    <a:lnTo>
                      <a:pt x="425" y="283"/>
                    </a:lnTo>
                    <a:lnTo>
                      <a:pt x="425" y="281"/>
                    </a:lnTo>
                    <a:lnTo>
                      <a:pt x="425" y="283"/>
                    </a:lnTo>
                    <a:lnTo>
                      <a:pt x="426" y="283"/>
                    </a:lnTo>
                    <a:lnTo>
                      <a:pt x="426" y="285"/>
                    </a:lnTo>
                    <a:lnTo>
                      <a:pt x="428" y="285"/>
                    </a:lnTo>
                    <a:lnTo>
                      <a:pt x="428" y="287"/>
                    </a:lnTo>
                    <a:lnTo>
                      <a:pt x="426" y="287"/>
                    </a:lnTo>
                    <a:lnTo>
                      <a:pt x="425" y="287"/>
                    </a:lnTo>
                    <a:lnTo>
                      <a:pt x="425" y="285"/>
                    </a:lnTo>
                    <a:lnTo>
                      <a:pt x="425" y="287"/>
                    </a:lnTo>
                    <a:lnTo>
                      <a:pt x="423" y="287"/>
                    </a:lnTo>
                    <a:lnTo>
                      <a:pt x="423" y="289"/>
                    </a:lnTo>
                    <a:lnTo>
                      <a:pt x="421" y="289"/>
                    </a:lnTo>
                    <a:lnTo>
                      <a:pt x="423" y="289"/>
                    </a:lnTo>
                    <a:lnTo>
                      <a:pt x="421" y="289"/>
                    </a:lnTo>
                    <a:lnTo>
                      <a:pt x="419" y="289"/>
                    </a:lnTo>
                    <a:lnTo>
                      <a:pt x="421" y="289"/>
                    </a:lnTo>
                    <a:lnTo>
                      <a:pt x="421" y="287"/>
                    </a:lnTo>
                    <a:lnTo>
                      <a:pt x="419" y="287"/>
                    </a:lnTo>
                    <a:lnTo>
                      <a:pt x="417" y="287"/>
                    </a:lnTo>
                    <a:lnTo>
                      <a:pt x="419" y="287"/>
                    </a:lnTo>
                    <a:lnTo>
                      <a:pt x="421" y="289"/>
                    </a:lnTo>
                    <a:lnTo>
                      <a:pt x="419" y="289"/>
                    </a:lnTo>
                    <a:lnTo>
                      <a:pt x="421" y="289"/>
                    </a:lnTo>
                    <a:lnTo>
                      <a:pt x="423" y="289"/>
                    </a:lnTo>
                    <a:lnTo>
                      <a:pt x="421" y="289"/>
                    </a:lnTo>
                    <a:lnTo>
                      <a:pt x="423" y="289"/>
                    </a:lnTo>
                    <a:lnTo>
                      <a:pt x="423" y="287"/>
                    </a:lnTo>
                    <a:lnTo>
                      <a:pt x="425" y="287"/>
                    </a:lnTo>
                    <a:lnTo>
                      <a:pt x="425" y="285"/>
                    </a:lnTo>
                    <a:lnTo>
                      <a:pt x="425" y="287"/>
                    </a:lnTo>
                    <a:lnTo>
                      <a:pt x="426" y="287"/>
                    </a:lnTo>
                    <a:lnTo>
                      <a:pt x="428" y="287"/>
                    </a:lnTo>
                    <a:lnTo>
                      <a:pt x="428" y="289"/>
                    </a:lnTo>
                    <a:lnTo>
                      <a:pt x="426" y="289"/>
                    </a:lnTo>
                    <a:lnTo>
                      <a:pt x="426" y="290"/>
                    </a:lnTo>
                    <a:lnTo>
                      <a:pt x="426" y="289"/>
                    </a:lnTo>
                    <a:lnTo>
                      <a:pt x="426" y="290"/>
                    </a:lnTo>
                    <a:lnTo>
                      <a:pt x="426" y="292"/>
                    </a:lnTo>
                    <a:lnTo>
                      <a:pt x="426" y="294"/>
                    </a:lnTo>
                    <a:lnTo>
                      <a:pt x="426" y="292"/>
                    </a:lnTo>
                    <a:lnTo>
                      <a:pt x="426" y="294"/>
                    </a:lnTo>
                    <a:lnTo>
                      <a:pt x="426" y="296"/>
                    </a:lnTo>
                    <a:lnTo>
                      <a:pt x="425" y="296"/>
                    </a:lnTo>
                    <a:lnTo>
                      <a:pt x="426" y="296"/>
                    </a:lnTo>
                    <a:lnTo>
                      <a:pt x="425" y="296"/>
                    </a:lnTo>
                    <a:lnTo>
                      <a:pt x="425" y="298"/>
                    </a:lnTo>
                    <a:lnTo>
                      <a:pt x="423" y="298"/>
                    </a:lnTo>
                    <a:lnTo>
                      <a:pt x="423" y="300"/>
                    </a:lnTo>
                    <a:lnTo>
                      <a:pt x="423" y="302"/>
                    </a:lnTo>
                    <a:lnTo>
                      <a:pt x="425" y="302"/>
                    </a:lnTo>
                    <a:lnTo>
                      <a:pt x="426" y="302"/>
                    </a:lnTo>
                    <a:lnTo>
                      <a:pt x="426" y="304"/>
                    </a:lnTo>
                    <a:lnTo>
                      <a:pt x="426" y="306"/>
                    </a:lnTo>
                    <a:lnTo>
                      <a:pt x="425" y="306"/>
                    </a:lnTo>
                    <a:lnTo>
                      <a:pt x="425" y="308"/>
                    </a:lnTo>
                    <a:lnTo>
                      <a:pt x="425" y="310"/>
                    </a:lnTo>
                    <a:lnTo>
                      <a:pt x="423" y="310"/>
                    </a:lnTo>
                    <a:lnTo>
                      <a:pt x="423" y="312"/>
                    </a:lnTo>
                    <a:lnTo>
                      <a:pt x="421" y="312"/>
                    </a:lnTo>
                    <a:lnTo>
                      <a:pt x="423" y="312"/>
                    </a:lnTo>
                    <a:lnTo>
                      <a:pt x="423" y="314"/>
                    </a:lnTo>
                    <a:lnTo>
                      <a:pt x="421" y="315"/>
                    </a:lnTo>
                    <a:lnTo>
                      <a:pt x="421" y="317"/>
                    </a:lnTo>
                    <a:lnTo>
                      <a:pt x="421" y="319"/>
                    </a:lnTo>
                    <a:lnTo>
                      <a:pt x="421" y="321"/>
                    </a:lnTo>
                    <a:lnTo>
                      <a:pt x="423" y="323"/>
                    </a:lnTo>
                    <a:lnTo>
                      <a:pt x="421" y="323"/>
                    </a:lnTo>
                    <a:lnTo>
                      <a:pt x="421" y="321"/>
                    </a:lnTo>
                    <a:lnTo>
                      <a:pt x="423" y="323"/>
                    </a:lnTo>
                    <a:lnTo>
                      <a:pt x="421" y="323"/>
                    </a:lnTo>
                    <a:lnTo>
                      <a:pt x="423" y="323"/>
                    </a:lnTo>
                    <a:lnTo>
                      <a:pt x="421" y="325"/>
                    </a:lnTo>
                    <a:lnTo>
                      <a:pt x="421" y="327"/>
                    </a:lnTo>
                    <a:lnTo>
                      <a:pt x="419" y="327"/>
                    </a:lnTo>
                    <a:lnTo>
                      <a:pt x="417" y="327"/>
                    </a:lnTo>
                    <a:lnTo>
                      <a:pt x="417" y="325"/>
                    </a:lnTo>
                    <a:lnTo>
                      <a:pt x="417" y="327"/>
                    </a:lnTo>
                    <a:lnTo>
                      <a:pt x="415" y="327"/>
                    </a:lnTo>
                    <a:lnTo>
                      <a:pt x="415" y="329"/>
                    </a:lnTo>
                    <a:lnTo>
                      <a:pt x="417" y="331"/>
                    </a:lnTo>
                    <a:lnTo>
                      <a:pt x="417" y="333"/>
                    </a:lnTo>
                    <a:lnTo>
                      <a:pt x="419" y="333"/>
                    </a:lnTo>
                    <a:lnTo>
                      <a:pt x="421" y="335"/>
                    </a:lnTo>
                    <a:lnTo>
                      <a:pt x="421" y="337"/>
                    </a:lnTo>
                    <a:lnTo>
                      <a:pt x="423" y="337"/>
                    </a:lnTo>
                    <a:lnTo>
                      <a:pt x="425" y="339"/>
                    </a:lnTo>
                    <a:lnTo>
                      <a:pt x="426" y="339"/>
                    </a:lnTo>
                    <a:lnTo>
                      <a:pt x="426" y="340"/>
                    </a:lnTo>
                    <a:lnTo>
                      <a:pt x="426" y="342"/>
                    </a:lnTo>
                    <a:lnTo>
                      <a:pt x="426" y="340"/>
                    </a:lnTo>
                    <a:lnTo>
                      <a:pt x="428" y="340"/>
                    </a:lnTo>
                    <a:lnTo>
                      <a:pt x="428" y="342"/>
                    </a:lnTo>
                    <a:lnTo>
                      <a:pt x="428" y="340"/>
                    </a:lnTo>
                    <a:lnTo>
                      <a:pt x="428" y="342"/>
                    </a:lnTo>
                    <a:lnTo>
                      <a:pt x="428" y="344"/>
                    </a:lnTo>
                    <a:lnTo>
                      <a:pt x="428" y="346"/>
                    </a:lnTo>
                    <a:lnTo>
                      <a:pt x="426" y="346"/>
                    </a:lnTo>
                    <a:lnTo>
                      <a:pt x="428" y="346"/>
                    </a:lnTo>
                    <a:lnTo>
                      <a:pt x="428" y="348"/>
                    </a:lnTo>
                    <a:lnTo>
                      <a:pt x="426" y="348"/>
                    </a:lnTo>
                    <a:lnTo>
                      <a:pt x="428" y="348"/>
                    </a:lnTo>
                    <a:lnTo>
                      <a:pt x="426" y="348"/>
                    </a:lnTo>
                    <a:lnTo>
                      <a:pt x="426" y="350"/>
                    </a:lnTo>
                    <a:lnTo>
                      <a:pt x="426" y="352"/>
                    </a:lnTo>
                    <a:lnTo>
                      <a:pt x="425" y="354"/>
                    </a:lnTo>
                    <a:lnTo>
                      <a:pt x="425" y="352"/>
                    </a:lnTo>
                    <a:lnTo>
                      <a:pt x="425" y="354"/>
                    </a:lnTo>
                    <a:lnTo>
                      <a:pt x="423" y="354"/>
                    </a:lnTo>
                    <a:lnTo>
                      <a:pt x="423" y="352"/>
                    </a:lnTo>
                    <a:lnTo>
                      <a:pt x="421" y="352"/>
                    </a:lnTo>
                    <a:lnTo>
                      <a:pt x="421" y="350"/>
                    </a:lnTo>
                    <a:lnTo>
                      <a:pt x="421" y="352"/>
                    </a:lnTo>
                    <a:lnTo>
                      <a:pt x="423" y="352"/>
                    </a:lnTo>
                    <a:lnTo>
                      <a:pt x="423" y="354"/>
                    </a:lnTo>
                    <a:lnTo>
                      <a:pt x="425" y="354"/>
                    </a:lnTo>
                    <a:lnTo>
                      <a:pt x="425" y="352"/>
                    </a:lnTo>
                    <a:lnTo>
                      <a:pt x="425" y="354"/>
                    </a:lnTo>
                    <a:lnTo>
                      <a:pt x="425" y="352"/>
                    </a:lnTo>
                    <a:lnTo>
                      <a:pt x="425" y="354"/>
                    </a:lnTo>
                    <a:lnTo>
                      <a:pt x="425" y="356"/>
                    </a:lnTo>
                    <a:lnTo>
                      <a:pt x="423" y="356"/>
                    </a:lnTo>
                    <a:lnTo>
                      <a:pt x="425" y="356"/>
                    </a:lnTo>
                    <a:lnTo>
                      <a:pt x="423" y="356"/>
                    </a:lnTo>
                    <a:lnTo>
                      <a:pt x="425" y="356"/>
                    </a:lnTo>
                    <a:lnTo>
                      <a:pt x="423" y="356"/>
                    </a:lnTo>
                    <a:lnTo>
                      <a:pt x="423" y="358"/>
                    </a:lnTo>
                    <a:lnTo>
                      <a:pt x="421" y="358"/>
                    </a:lnTo>
                    <a:lnTo>
                      <a:pt x="421" y="360"/>
                    </a:lnTo>
                    <a:lnTo>
                      <a:pt x="423" y="360"/>
                    </a:lnTo>
                    <a:lnTo>
                      <a:pt x="421" y="360"/>
                    </a:lnTo>
                    <a:lnTo>
                      <a:pt x="421" y="362"/>
                    </a:lnTo>
                    <a:lnTo>
                      <a:pt x="419" y="362"/>
                    </a:lnTo>
                    <a:lnTo>
                      <a:pt x="421" y="362"/>
                    </a:lnTo>
                    <a:lnTo>
                      <a:pt x="421" y="364"/>
                    </a:lnTo>
                    <a:lnTo>
                      <a:pt x="419" y="364"/>
                    </a:lnTo>
                    <a:lnTo>
                      <a:pt x="419" y="362"/>
                    </a:lnTo>
                    <a:lnTo>
                      <a:pt x="419" y="364"/>
                    </a:lnTo>
                    <a:lnTo>
                      <a:pt x="419" y="365"/>
                    </a:lnTo>
                    <a:lnTo>
                      <a:pt x="421" y="365"/>
                    </a:lnTo>
                    <a:lnTo>
                      <a:pt x="423" y="365"/>
                    </a:lnTo>
                    <a:lnTo>
                      <a:pt x="421" y="365"/>
                    </a:lnTo>
                    <a:lnTo>
                      <a:pt x="423" y="365"/>
                    </a:lnTo>
                    <a:lnTo>
                      <a:pt x="423" y="367"/>
                    </a:lnTo>
                    <a:lnTo>
                      <a:pt x="423" y="365"/>
                    </a:lnTo>
                    <a:lnTo>
                      <a:pt x="423" y="367"/>
                    </a:lnTo>
                    <a:lnTo>
                      <a:pt x="423" y="365"/>
                    </a:lnTo>
                    <a:lnTo>
                      <a:pt x="421" y="365"/>
                    </a:lnTo>
                    <a:lnTo>
                      <a:pt x="421" y="364"/>
                    </a:lnTo>
                    <a:lnTo>
                      <a:pt x="421" y="362"/>
                    </a:lnTo>
                    <a:lnTo>
                      <a:pt x="421" y="364"/>
                    </a:lnTo>
                    <a:lnTo>
                      <a:pt x="421" y="362"/>
                    </a:lnTo>
                    <a:lnTo>
                      <a:pt x="423" y="360"/>
                    </a:lnTo>
                    <a:lnTo>
                      <a:pt x="421" y="362"/>
                    </a:lnTo>
                    <a:lnTo>
                      <a:pt x="423" y="362"/>
                    </a:lnTo>
                    <a:lnTo>
                      <a:pt x="423" y="360"/>
                    </a:lnTo>
                    <a:lnTo>
                      <a:pt x="423" y="362"/>
                    </a:lnTo>
                    <a:lnTo>
                      <a:pt x="423" y="364"/>
                    </a:lnTo>
                    <a:lnTo>
                      <a:pt x="421" y="364"/>
                    </a:lnTo>
                    <a:lnTo>
                      <a:pt x="423" y="364"/>
                    </a:lnTo>
                    <a:lnTo>
                      <a:pt x="425" y="364"/>
                    </a:lnTo>
                    <a:lnTo>
                      <a:pt x="426" y="364"/>
                    </a:lnTo>
                    <a:lnTo>
                      <a:pt x="425" y="364"/>
                    </a:lnTo>
                    <a:lnTo>
                      <a:pt x="426" y="365"/>
                    </a:lnTo>
                    <a:lnTo>
                      <a:pt x="426" y="367"/>
                    </a:lnTo>
                    <a:lnTo>
                      <a:pt x="428" y="367"/>
                    </a:lnTo>
                    <a:lnTo>
                      <a:pt x="426" y="367"/>
                    </a:lnTo>
                    <a:lnTo>
                      <a:pt x="426" y="369"/>
                    </a:lnTo>
                    <a:lnTo>
                      <a:pt x="425" y="369"/>
                    </a:lnTo>
                    <a:lnTo>
                      <a:pt x="426" y="369"/>
                    </a:lnTo>
                    <a:lnTo>
                      <a:pt x="428" y="369"/>
                    </a:lnTo>
                    <a:lnTo>
                      <a:pt x="428" y="371"/>
                    </a:lnTo>
                    <a:lnTo>
                      <a:pt x="428" y="369"/>
                    </a:lnTo>
                    <a:lnTo>
                      <a:pt x="428" y="371"/>
                    </a:lnTo>
                    <a:lnTo>
                      <a:pt x="428" y="369"/>
                    </a:lnTo>
                    <a:lnTo>
                      <a:pt x="426" y="369"/>
                    </a:lnTo>
                    <a:lnTo>
                      <a:pt x="426" y="367"/>
                    </a:lnTo>
                    <a:lnTo>
                      <a:pt x="428" y="367"/>
                    </a:lnTo>
                    <a:lnTo>
                      <a:pt x="426" y="365"/>
                    </a:lnTo>
                    <a:lnTo>
                      <a:pt x="428" y="367"/>
                    </a:lnTo>
                    <a:lnTo>
                      <a:pt x="428" y="365"/>
                    </a:lnTo>
                    <a:lnTo>
                      <a:pt x="426" y="365"/>
                    </a:lnTo>
                    <a:lnTo>
                      <a:pt x="425" y="364"/>
                    </a:lnTo>
                    <a:lnTo>
                      <a:pt x="426" y="364"/>
                    </a:lnTo>
                    <a:lnTo>
                      <a:pt x="428" y="364"/>
                    </a:lnTo>
                    <a:lnTo>
                      <a:pt x="426" y="364"/>
                    </a:lnTo>
                    <a:lnTo>
                      <a:pt x="425" y="364"/>
                    </a:lnTo>
                    <a:lnTo>
                      <a:pt x="423" y="364"/>
                    </a:lnTo>
                    <a:lnTo>
                      <a:pt x="423" y="362"/>
                    </a:lnTo>
                    <a:lnTo>
                      <a:pt x="423" y="360"/>
                    </a:lnTo>
                    <a:lnTo>
                      <a:pt x="423" y="358"/>
                    </a:lnTo>
                    <a:lnTo>
                      <a:pt x="423" y="360"/>
                    </a:lnTo>
                    <a:lnTo>
                      <a:pt x="425" y="360"/>
                    </a:lnTo>
                    <a:lnTo>
                      <a:pt x="425" y="358"/>
                    </a:lnTo>
                    <a:lnTo>
                      <a:pt x="426" y="358"/>
                    </a:lnTo>
                    <a:lnTo>
                      <a:pt x="425" y="356"/>
                    </a:lnTo>
                    <a:lnTo>
                      <a:pt x="425" y="358"/>
                    </a:lnTo>
                    <a:lnTo>
                      <a:pt x="425" y="356"/>
                    </a:lnTo>
                    <a:lnTo>
                      <a:pt x="425" y="354"/>
                    </a:lnTo>
                    <a:lnTo>
                      <a:pt x="426" y="354"/>
                    </a:lnTo>
                    <a:lnTo>
                      <a:pt x="426" y="356"/>
                    </a:lnTo>
                    <a:lnTo>
                      <a:pt x="425" y="356"/>
                    </a:lnTo>
                    <a:lnTo>
                      <a:pt x="426" y="356"/>
                    </a:lnTo>
                    <a:lnTo>
                      <a:pt x="426" y="358"/>
                    </a:lnTo>
                    <a:lnTo>
                      <a:pt x="426" y="356"/>
                    </a:lnTo>
                    <a:lnTo>
                      <a:pt x="426" y="358"/>
                    </a:lnTo>
                    <a:lnTo>
                      <a:pt x="428" y="358"/>
                    </a:lnTo>
                    <a:lnTo>
                      <a:pt x="426" y="358"/>
                    </a:lnTo>
                    <a:lnTo>
                      <a:pt x="426" y="356"/>
                    </a:lnTo>
                    <a:lnTo>
                      <a:pt x="426" y="354"/>
                    </a:lnTo>
                    <a:lnTo>
                      <a:pt x="426" y="356"/>
                    </a:lnTo>
                    <a:lnTo>
                      <a:pt x="426" y="354"/>
                    </a:lnTo>
                    <a:lnTo>
                      <a:pt x="426" y="352"/>
                    </a:lnTo>
                    <a:lnTo>
                      <a:pt x="428" y="352"/>
                    </a:lnTo>
                    <a:lnTo>
                      <a:pt x="428" y="354"/>
                    </a:lnTo>
                    <a:lnTo>
                      <a:pt x="430" y="354"/>
                    </a:lnTo>
                    <a:lnTo>
                      <a:pt x="430" y="356"/>
                    </a:lnTo>
                    <a:lnTo>
                      <a:pt x="430" y="358"/>
                    </a:lnTo>
                    <a:lnTo>
                      <a:pt x="430" y="360"/>
                    </a:lnTo>
                    <a:lnTo>
                      <a:pt x="428" y="360"/>
                    </a:lnTo>
                    <a:lnTo>
                      <a:pt x="428" y="362"/>
                    </a:lnTo>
                    <a:lnTo>
                      <a:pt x="430" y="362"/>
                    </a:lnTo>
                    <a:lnTo>
                      <a:pt x="428" y="364"/>
                    </a:lnTo>
                    <a:lnTo>
                      <a:pt x="428" y="362"/>
                    </a:lnTo>
                    <a:lnTo>
                      <a:pt x="428" y="364"/>
                    </a:lnTo>
                    <a:lnTo>
                      <a:pt x="428" y="362"/>
                    </a:lnTo>
                    <a:lnTo>
                      <a:pt x="426" y="362"/>
                    </a:lnTo>
                    <a:lnTo>
                      <a:pt x="426" y="360"/>
                    </a:lnTo>
                    <a:lnTo>
                      <a:pt x="426" y="358"/>
                    </a:lnTo>
                    <a:lnTo>
                      <a:pt x="425" y="358"/>
                    </a:lnTo>
                    <a:lnTo>
                      <a:pt x="426" y="358"/>
                    </a:lnTo>
                    <a:lnTo>
                      <a:pt x="426" y="360"/>
                    </a:lnTo>
                    <a:lnTo>
                      <a:pt x="426" y="362"/>
                    </a:lnTo>
                    <a:lnTo>
                      <a:pt x="428" y="362"/>
                    </a:lnTo>
                    <a:lnTo>
                      <a:pt x="428" y="364"/>
                    </a:lnTo>
                    <a:lnTo>
                      <a:pt x="428" y="362"/>
                    </a:lnTo>
                    <a:lnTo>
                      <a:pt x="428" y="364"/>
                    </a:lnTo>
                    <a:lnTo>
                      <a:pt x="428" y="365"/>
                    </a:lnTo>
                    <a:lnTo>
                      <a:pt x="428" y="364"/>
                    </a:lnTo>
                    <a:lnTo>
                      <a:pt x="430" y="364"/>
                    </a:lnTo>
                    <a:lnTo>
                      <a:pt x="428" y="364"/>
                    </a:lnTo>
                    <a:lnTo>
                      <a:pt x="430" y="364"/>
                    </a:lnTo>
                    <a:lnTo>
                      <a:pt x="430" y="365"/>
                    </a:lnTo>
                    <a:lnTo>
                      <a:pt x="430" y="367"/>
                    </a:lnTo>
                    <a:lnTo>
                      <a:pt x="432" y="367"/>
                    </a:lnTo>
                    <a:lnTo>
                      <a:pt x="432" y="369"/>
                    </a:lnTo>
                    <a:lnTo>
                      <a:pt x="432" y="371"/>
                    </a:lnTo>
                    <a:lnTo>
                      <a:pt x="430" y="371"/>
                    </a:lnTo>
                    <a:lnTo>
                      <a:pt x="432" y="371"/>
                    </a:lnTo>
                    <a:lnTo>
                      <a:pt x="432" y="373"/>
                    </a:lnTo>
                    <a:lnTo>
                      <a:pt x="432" y="375"/>
                    </a:lnTo>
                    <a:lnTo>
                      <a:pt x="432" y="377"/>
                    </a:lnTo>
                    <a:lnTo>
                      <a:pt x="434" y="379"/>
                    </a:lnTo>
                    <a:lnTo>
                      <a:pt x="434" y="381"/>
                    </a:lnTo>
                    <a:lnTo>
                      <a:pt x="432" y="383"/>
                    </a:lnTo>
                    <a:lnTo>
                      <a:pt x="430" y="383"/>
                    </a:lnTo>
                    <a:lnTo>
                      <a:pt x="428" y="383"/>
                    </a:lnTo>
                    <a:lnTo>
                      <a:pt x="428" y="385"/>
                    </a:lnTo>
                    <a:lnTo>
                      <a:pt x="428" y="383"/>
                    </a:lnTo>
                    <a:lnTo>
                      <a:pt x="428" y="385"/>
                    </a:lnTo>
                    <a:lnTo>
                      <a:pt x="428" y="383"/>
                    </a:lnTo>
                    <a:lnTo>
                      <a:pt x="428" y="385"/>
                    </a:lnTo>
                    <a:lnTo>
                      <a:pt x="426" y="387"/>
                    </a:lnTo>
                    <a:lnTo>
                      <a:pt x="425" y="387"/>
                    </a:lnTo>
                    <a:lnTo>
                      <a:pt x="426" y="387"/>
                    </a:lnTo>
                    <a:lnTo>
                      <a:pt x="426" y="385"/>
                    </a:lnTo>
                    <a:lnTo>
                      <a:pt x="426" y="387"/>
                    </a:lnTo>
                    <a:lnTo>
                      <a:pt x="425" y="387"/>
                    </a:lnTo>
                    <a:lnTo>
                      <a:pt x="425" y="389"/>
                    </a:lnTo>
                    <a:lnTo>
                      <a:pt x="423" y="389"/>
                    </a:lnTo>
                    <a:lnTo>
                      <a:pt x="423" y="390"/>
                    </a:lnTo>
                    <a:lnTo>
                      <a:pt x="421" y="390"/>
                    </a:lnTo>
                    <a:lnTo>
                      <a:pt x="423" y="390"/>
                    </a:lnTo>
                    <a:lnTo>
                      <a:pt x="423" y="392"/>
                    </a:lnTo>
                    <a:lnTo>
                      <a:pt x="423" y="390"/>
                    </a:lnTo>
                    <a:lnTo>
                      <a:pt x="423" y="392"/>
                    </a:lnTo>
                    <a:lnTo>
                      <a:pt x="421" y="392"/>
                    </a:lnTo>
                    <a:lnTo>
                      <a:pt x="423" y="392"/>
                    </a:lnTo>
                    <a:lnTo>
                      <a:pt x="423" y="394"/>
                    </a:lnTo>
                    <a:lnTo>
                      <a:pt x="423" y="396"/>
                    </a:lnTo>
                    <a:lnTo>
                      <a:pt x="423" y="398"/>
                    </a:lnTo>
                    <a:lnTo>
                      <a:pt x="423" y="400"/>
                    </a:lnTo>
                    <a:lnTo>
                      <a:pt x="423" y="402"/>
                    </a:lnTo>
                    <a:lnTo>
                      <a:pt x="423" y="404"/>
                    </a:lnTo>
                    <a:lnTo>
                      <a:pt x="425" y="404"/>
                    </a:lnTo>
                    <a:lnTo>
                      <a:pt x="425" y="406"/>
                    </a:lnTo>
                    <a:lnTo>
                      <a:pt x="425" y="404"/>
                    </a:lnTo>
                    <a:lnTo>
                      <a:pt x="425" y="402"/>
                    </a:lnTo>
                    <a:lnTo>
                      <a:pt x="423" y="402"/>
                    </a:lnTo>
                    <a:lnTo>
                      <a:pt x="425" y="402"/>
                    </a:lnTo>
                    <a:lnTo>
                      <a:pt x="425" y="404"/>
                    </a:lnTo>
                    <a:lnTo>
                      <a:pt x="426" y="406"/>
                    </a:lnTo>
                    <a:lnTo>
                      <a:pt x="426" y="408"/>
                    </a:lnTo>
                    <a:lnTo>
                      <a:pt x="425" y="406"/>
                    </a:lnTo>
                    <a:lnTo>
                      <a:pt x="426" y="406"/>
                    </a:lnTo>
                    <a:lnTo>
                      <a:pt x="426" y="408"/>
                    </a:lnTo>
                    <a:lnTo>
                      <a:pt x="426" y="406"/>
                    </a:lnTo>
                    <a:lnTo>
                      <a:pt x="426" y="408"/>
                    </a:lnTo>
                    <a:lnTo>
                      <a:pt x="426" y="410"/>
                    </a:lnTo>
                    <a:lnTo>
                      <a:pt x="426" y="412"/>
                    </a:lnTo>
                    <a:lnTo>
                      <a:pt x="426" y="414"/>
                    </a:lnTo>
                    <a:lnTo>
                      <a:pt x="426" y="415"/>
                    </a:lnTo>
                    <a:lnTo>
                      <a:pt x="426" y="417"/>
                    </a:lnTo>
                    <a:lnTo>
                      <a:pt x="425" y="417"/>
                    </a:lnTo>
                    <a:lnTo>
                      <a:pt x="423" y="417"/>
                    </a:lnTo>
                    <a:lnTo>
                      <a:pt x="423" y="419"/>
                    </a:lnTo>
                    <a:lnTo>
                      <a:pt x="423" y="421"/>
                    </a:lnTo>
                    <a:lnTo>
                      <a:pt x="423" y="423"/>
                    </a:lnTo>
                    <a:lnTo>
                      <a:pt x="423" y="425"/>
                    </a:lnTo>
                    <a:lnTo>
                      <a:pt x="421" y="425"/>
                    </a:lnTo>
                    <a:lnTo>
                      <a:pt x="423" y="427"/>
                    </a:lnTo>
                    <a:lnTo>
                      <a:pt x="421" y="425"/>
                    </a:lnTo>
                    <a:lnTo>
                      <a:pt x="423" y="425"/>
                    </a:lnTo>
                    <a:lnTo>
                      <a:pt x="423" y="423"/>
                    </a:lnTo>
                    <a:lnTo>
                      <a:pt x="425" y="425"/>
                    </a:lnTo>
                    <a:lnTo>
                      <a:pt x="425" y="427"/>
                    </a:lnTo>
                    <a:lnTo>
                      <a:pt x="426" y="429"/>
                    </a:lnTo>
                    <a:lnTo>
                      <a:pt x="426" y="427"/>
                    </a:lnTo>
                    <a:lnTo>
                      <a:pt x="426" y="429"/>
                    </a:lnTo>
                    <a:lnTo>
                      <a:pt x="426" y="431"/>
                    </a:lnTo>
                    <a:lnTo>
                      <a:pt x="426" y="429"/>
                    </a:lnTo>
                    <a:lnTo>
                      <a:pt x="426" y="431"/>
                    </a:lnTo>
                    <a:lnTo>
                      <a:pt x="426" y="433"/>
                    </a:lnTo>
                    <a:lnTo>
                      <a:pt x="426" y="435"/>
                    </a:lnTo>
                    <a:lnTo>
                      <a:pt x="426" y="437"/>
                    </a:lnTo>
                    <a:lnTo>
                      <a:pt x="428" y="437"/>
                    </a:lnTo>
                    <a:lnTo>
                      <a:pt x="426" y="438"/>
                    </a:lnTo>
                    <a:lnTo>
                      <a:pt x="426" y="440"/>
                    </a:lnTo>
                    <a:lnTo>
                      <a:pt x="426" y="442"/>
                    </a:lnTo>
                    <a:lnTo>
                      <a:pt x="428" y="442"/>
                    </a:lnTo>
                    <a:lnTo>
                      <a:pt x="428" y="444"/>
                    </a:lnTo>
                    <a:lnTo>
                      <a:pt x="426" y="446"/>
                    </a:lnTo>
                    <a:lnTo>
                      <a:pt x="425" y="446"/>
                    </a:lnTo>
                    <a:lnTo>
                      <a:pt x="425" y="448"/>
                    </a:lnTo>
                    <a:lnTo>
                      <a:pt x="423" y="448"/>
                    </a:lnTo>
                    <a:lnTo>
                      <a:pt x="425" y="448"/>
                    </a:lnTo>
                    <a:lnTo>
                      <a:pt x="425" y="450"/>
                    </a:lnTo>
                    <a:lnTo>
                      <a:pt x="425" y="452"/>
                    </a:lnTo>
                    <a:lnTo>
                      <a:pt x="423" y="452"/>
                    </a:lnTo>
                    <a:lnTo>
                      <a:pt x="423" y="454"/>
                    </a:lnTo>
                    <a:lnTo>
                      <a:pt x="425" y="452"/>
                    </a:lnTo>
                    <a:lnTo>
                      <a:pt x="425" y="454"/>
                    </a:lnTo>
                    <a:lnTo>
                      <a:pt x="423" y="454"/>
                    </a:lnTo>
                    <a:lnTo>
                      <a:pt x="423" y="456"/>
                    </a:lnTo>
                    <a:lnTo>
                      <a:pt x="421" y="456"/>
                    </a:lnTo>
                    <a:lnTo>
                      <a:pt x="423" y="456"/>
                    </a:lnTo>
                    <a:lnTo>
                      <a:pt x="423" y="458"/>
                    </a:lnTo>
                    <a:lnTo>
                      <a:pt x="425" y="458"/>
                    </a:lnTo>
                    <a:lnTo>
                      <a:pt x="425" y="460"/>
                    </a:lnTo>
                    <a:lnTo>
                      <a:pt x="423" y="460"/>
                    </a:lnTo>
                    <a:lnTo>
                      <a:pt x="423" y="462"/>
                    </a:lnTo>
                    <a:lnTo>
                      <a:pt x="423" y="463"/>
                    </a:lnTo>
                    <a:lnTo>
                      <a:pt x="421" y="463"/>
                    </a:lnTo>
                    <a:lnTo>
                      <a:pt x="421" y="462"/>
                    </a:lnTo>
                    <a:lnTo>
                      <a:pt x="421" y="463"/>
                    </a:lnTo>
                    <a:lnTo>
                      <a:pt x="419" y="463"/>
                    </a:lnTo>
                    <a:lnTo>
                      <a:pt x="421" y="463"/>
                    </a:lnTo>
                    <a:lnTo>
                      <a:pt x="419" y="463"/>
                    </a:lnTo>
                    <a:lnTo>
                      <a:pt x="421" y="463"/>
                    </a:lnTo>
                    <a:lnTo>
                      <a:pt x="419" y="463"/>
                    </a:lnTo>
                    <a:lnTo>
                      <a:pt x="419" y="465"/>
                    </a:lnTo>
                    <a:lnTo>
                      <a:pt x="417" y="465"/>
                    </a:lnTo>
                    <a:lnTo>
                      <a:pt x="417" y="467"/>
                    </a:lnTo>
                    <a:lnTo>
                      <a:pt x="417" y="469"/>
                    </a:lnTo>
                    <a:lnTo>
                      <a:pt x="417" y="471"/>
                    </a:lnTo>
                    <a:lnTo>
                      <a:pt x="417" y="473"/>
                    </a:lnTo>
                    <a:lnTo>
                      <a:pt x="415" y="473"/>
                    </a:lnTo>
                    <a:lnTo>
                      <a:pt x="413" y="473"/>
                    </a:lnTo>
                    <a:lnTo>
                      <a:pt x="413" y="471"/>
                    </a:lnTo>
                    <a:lnTo>
                      <a:pt x="413" y="473"/>
                    </a:lnTo>
                    <a:lnTo>
                      <a:pt x="413" y="475"/>
                    </a:lnTo>
                    <a:lnTo>
                      <a:pt x="413" y="473"/>
                    </a:lnTo>
                    <a:lnTo>
                      <a:pt x="413" y="475"/>
                    </a:lnTo>
                    <a:lnTo>
                      <a:pt x="413" y="477"/>
                    </a:lnTo>
                    <a:lnTo>
                      <a:pt x="411" y="477"/>
                    </a:lnTo>
                    <a:lnTo>
                      <a:pt x="409" y="477"/>
                    </a:lnTo>
                    <a:lnTo>
                      <a:pt x="409" y="479"/>
                    </a:lnTo>
                    <a:lnTo>
                      <a:pt x="409" y="481"/>
                    </a:lnTo>
                    <a:lnTo>
                      <a:pt x="409" y="483"/>
                    </a:lnTo>
                    <a:lnTo>
                      <a:pt x="409" y="481"/>
                    </a:lnTo>
                    <a:lnTo>
                      <a:pt x="411" y="481"/>
                    </a:lnTo>
                    <a:lnTo>
                      <a:pt x="413" y="481"/>
                    </a:lnTo>
                    <a:lnTo>
                      <a:pt x="411" y="481"/>
                    </a:lnTo>
                    <a:lnTo>
                      <a:pt x="413" y="481"/>
                    </a:lnTo>
                    <a:lnTo>
                      <a:pt x="411" y="481"/>
                    </a:lnTo>
                    <a:lnTo>
                      <a:pt x="413" y="481"/>
                    </a:lnTo>
                    <a:lnTo>
                      <a:pt x="413" y="483"/>
                    </a:lnTo>
                    <a:lnTo>
                      <a:pt x="413" y="485"/>
                    </a:lnTo>
                    <a:lnTo>
                      <a:pt x="413" y="487"/>
                    </a:lnTo>
                    <a:lnTo>
                      <a:pt x="413" y="488"/>
                    </a:lnTo>
                    <a:lnTo>
                      <a:pt x="413" y="490"/>
                    </a:lnTo>
                    <a:lnTo>
                      <a:pt x="411" y="490"/>
                    </a:lnTo>
                    <a:lnTo>
                      <a:pt x="411" y="492"/>
                    </a:lnTo>
                    <a:lnTo>
                      <a:pt x="409" y="492"/>
                    </a:lnTo>
                    <a:lnTo>
                      <a:pt x="409" y="494"/>
                    </a:lnTo>
                    <a:lnTo>
                      <a:pt x="409" y="492"/>
                    </a:lnTo>
                    <a:lnTo>
                      <a:pt x="409" y="494"/>
                    </a:lnTo>
                    <a:lnTo>
                      <a:pt x="409" y="496"/>
                    </a:lnTo>
                    <a:lnTo>
                      <a:pt x="409" y="494"/>
                    </a:lnTo>
                    <a:lnTo>
                      <a:pt x="407" y="496"/>
                    </a:lnTo>
                    <a:lnTo>
                      <a:pt x="407" y="498"/>
                    </a:lnTo>
                    <a:lnTo>
                      <a:pt x="407" y="500"/>
                    </a:lnTo>
                    <a:lnTo>
                      <a:pt x="405" y="500"/>
                    </a:lnTo>
                    <a:lnTo>
                      <a:pt x="405" y="502"/>
                    </a:lnTo>
                    <a:lnTo>
                      <a:pt x="405" y="504"/>
                    </a:lnTo>
                    <a:lnTo>
                      <a:pt x="403" y="504"/>
                    </a:lnTo>
                    <a:lnTo>
                      <a:pt x="405" y="502"/>
                    </a:lnTo>
                    <a:lnTo>
                      <a:pt x="403" y="504"/>
                    </a:lnTo>
                    <a:lnTo>
                      <a:pt x="405" y="504"/>
                    </a:lnTo>
                    <a:lnTo>
                      <a:pt x="403" y="504"/>
                    </a:lnTo>
                    <a:lnTo>
                      <a:pt x="403" y="506"/>
                    </a:lnTo>
                    <a:lnTo>
                      <a:pt x="401" y="506"/>
                    </a:lnTo>
                    <a:lnTo>
                      <a:pt x="400" y="506"/>
                    </a:lnTo>
                    <a:lnTo>
                      <a:pt x="401" y="506"/>
                    </a:lnTo>
                    <a:lnTo>
                      <a:pt x="400" y="504"/>
                    </a:lnTo>
                    <a:lnTo>
                      <a:pt x="400" y="506"/>
                    </a:lnTo>
                    <a:lnTo>
                      <a:pt x="398" y="506"/>
                    </a:lnTo>
                    <a:lnTo>
                      <a:pt x="400" y="506"/>
                    </a:lnTo>
                    <a:lnTo>
                      <a:pt x="400" y="504"/>
                    </a:lnTo>
                    <a:lnTo>
                      <a:pt x="401" y="506"/>
                    </a:lnTo>
                    <a:lnTo>
                      <a:pt x="400" y="506"/>
                    </a:lnTo>
                    <a:lnTo>
                      <a:pt x="401" y="508"/>
                    </a:lnTo>
                    <a:lnTo>
                      <a:pt x="401" y="506"/>
                    </a:lnTo>
                    <a:lnTo>
                      <a:pt x="401" y="508"/>
                    </a:lnTo>
                    <a:lnTo>
                      <a:pt x="401" y="506"/>
                    </a:lnTo>
                    <a:lnTo>
                      <a:pt x="403" y="506"/>
                    </a:lnTo>
                    <a:lnTo>
                      <a:pt x="405" y="506"/>
                    </a:lnTo>
                    <a:lnTo>
                      <a:pt x="405" y="508"/>
                    </a:lnTo>
                    <a:lnTo>
                      <a:pt x="407" y="508"/>
                    </a:lnTo>
                    <a:lnTo>
                      <a:pt x="405" y="508"/>
                    </a:lnTo>
                    <a:lnTo>
                      <a:pt x="407" y="508"/>
                    </a:lnTo>
                    <a:lnTo>
                      <a:pt x="405" y="508"/>
                    </a:lnTo>
                    <a:lnTo>
                      <a:pt x="407" y="508"/>
                    </a:lnTo>
                    <a:lnTo>
                      <a:pt x="405" y="508"/>
                    </a:lnTo>
                    <a:lnTo>
                      <a:pt x="405" y="510"/>
                    </a:lnTo>
                    <a:lnTo>
                      <a:pt x="405" y="508"/>
                    </a:lnTo>
                    <a:lnTo>
                      <a:pt x="405" y="510"/>
                    </a:lnTo>
                    <a:lnTo>
                      <a:pt x="405" y="512"/>
                    </a:lnTo>
                    <a:lnTo>
                      <a:pt x="405" y="510"/>
                    </a:lnTo>
                    <a:lnTo>
                      <a:pt x="405" y="512"/>
                    </a:lnTo>
                    <a:lnTo>
                      <a:pt x="405" y="513"/>
                    </a:lnTo>
                    <a:lnTo>
                      <a:pt x="405" y="515"/>
                    </a:lnTo>
                    <a:lnTo>
                      <a:pt x="405" y="517"/>
                    </a:lnTo>
                    <a:lnTo>
                      <a:pt x="405" y="519"/>
                    </a:lnTo>
                    <a:lnTo>
                      <a:pt x="405" y="521"/>
                    </a:lnTo>
                    <a:lnTo>
                      <a:pt x="405" y="523"/>
                    </a:lnTo>
                    <a:lnTo>
                      <a:pt x="405" y="525"/>
                    </a:lnTo>
                    <a:lnTo>
                      <a:pt x="405" y="523"/>
                    </a:lnTo>
                    <a:lnTo>
                      <a:pt x="405" y="525"/>
                    </a:lnTo>
                    <a:lnTo>
                      <a:pt x="405" y="527"/>
                    </a:lnTo>
                    <a:lnTo>
                      <a:pt x="405" y="525"/>
                    </a:lnTo>
                    <a:lnTo>
                      <a:pt x="405" y="527"/>
                    </a:lnTo>
                    <a:lnTo>
                      <a:pt x="405" y="529"/>
                    </a:lnTo>
                    <a:lnTo>
                      <a:pt x="405" y="527"/>
                    </a:lnTo>
                    <a:lnTo>
                      <a:pt x="405" y="529"/>
                    </a:lnTo>
                    <a:lnTo>
                      <a:pt x="405" y="531"/>
                    </a:lnTo>
                    <a:lnTo>
                      <a:pt x="405" y="533"/>
                    </a:lnTo>
                    <a:lnTo>
                      <a:pt x="405" y="535"/>
                    </a:lnTo>
                    <a:lnTo>
                      <a:pt x="403" y="535"/>
                    </a:lnTo>
                    <a:lnTo>
                      <a:pt x="403" y="537"/>
                    </a:lnTo>
                    <a:lnTo>
                      <a:pt x="405" y="537"/>
                    </a:lnTo>
                    <a:lnTo>
                      <a:pt x="403" y="537"/>
                    </a:lnTo>
                    <a:lnTo>
                      <a:pt x="403" y="538"/>
                    </a:lnTo>
                    <a:lnTo>
                      <a:pt x="403" y="537"/>
                    </a:lnTo>
                    <a:lnTo>
                      <a:pt x="405" y="537"/>
                    </a:lnTo>
                    <a:lnTo>
                      <a:pt x="403" y="537"/>
                    </a:lnTo>
                    <a:lnTo>
                      <a:pt x="403" y="535"/>
                    </a:lnTo>
                    <a:lnTo>
                      <a:pt x="405" y="535"/>
                    </a:lnTo>
                    <a:lnTo>
                      <a:pt x="405" y="533"/>
                    </a:lnTo>
                    <a:lnTo>
                      <a:pt x="405" y="531"/>
                    </a:lnTo>
                    <a:lnTo>
                      <a:pt x="405" y="529"/>
                    </a:lnTo>
                    <a:lnTo>
                      <a:pt x="405" y="527"/>
                    </a:lnTo>
                    <a:lnTo>
                      <a:pt x="405" y="525"/>
                    </a:lnTo>
                    <a:lnTo>
                      <a:pt x="405" y="523"/>
                    </a:lnTo>
                    <a:lnTo>
                      <a:pt x="405" y="521"/>
                    </a:lnTo>
                    <a:lnTo>
                      <a:pt x="405" y="519"/>
                    </a:lnTo>
                    <a:lnTo>
                      <a:pt x="407" y="519"/>
                    </a:lnTo>
                    <a:lnTo>
                      <a:pt x="405" y="519"/>
                    </a:lnTo>
                    <a:lnTo>
                      <a:pt x="407" y="519"/>
                    </a:lnTo>
                    <a:lnTo>
                      <a:pt x="405" y="519"/>
                    </a:lnTo>
                    <a:lnTo>
                      <a:pt x="405" y="517"/>
                    </a:lnTo>
                    <a:lnTo>
                      <a:pt x="407" y="517"/>
                    </a:lnTo>
                    <a:lnTo>
                      <a:pt x="407" y="519"/>
                    </a:lnTo>
                    <a:lnTo>
                      <a:pt x="407" y="517"/>
                    </a:lnTo>
                    <a:lnTo>
                      <a:pt x="405" y="517"/>
                    </a:lnTo>
                    <a:lnTo>
                      <a:pt x="405" y="515"/>
                    </a:lnTo>
                    <a:lnTo>
                      <a:pt x="405" y="513"/>
                    </a:lnTo>
                    <a:lnTo>
                      <a:pt x="405" y="515"/>
                    </a:lnTo>
                    <a:lnTo>
                      <a:pt x="405" y="513"/>
                    </a:lnTo>
                    <a:lnTo>
                      <a:pt x="405" y="512"/>
                    </a:lnTo>
                    <a:lnTo>
                      <a:pt x="405" y="510"/>
                    </a:lnTo>
                    <a:lnTo>
                      <a:pt x="405" y="508"/>
                    </a:lnTo>
                    <a:lnTo>
                      <a:pt x="407" y="508"/>
                    </a:lnTo>
                    <a:lnTo>
                      <a:pt x="407" y="506"/>
                    </a:lnTo>
                    <a:lnTo>
                      <a:pt x="405" y="506"/>
                    </a:lnTo>
                    <a:lnTo>
                      <a:pt x="403" y="506"/>
                    </a:lnTo>
                    <a:lnTo>
                      <a:pt x="403" y="504"/>
                    </a:lnTo>
                    <a:lnTo>
                      <a:pt x="405" y="504"/>
                    </a:lnTo>
                    <a:lnTo>
                      <a:pt x="405" y="502"/>
                    </a:lnTo>
                    <a:lnTo>
                      <a:pt x="405" y="500"/>
                    </a:lnTo>
                    <a:lnTo>
                      <a:pt x="407" y="500"/>
                    </a:lnTo>
                    <a:lnTo>
                      <a:pt x="407" y="498"/>
                    </a:lnTo>
                    <a:lnTo>
                      <a:pt x="407" y="496"/>
                    </a:lnTo>
                    <a:lnTo>
                      <a:pt x="409" y="496"/>
                    </a:lnTo>
                    <a:lnTo>
                      <a:pt x="409" y="494"/>
                    </a:lnTo>
                    <a:lnTo>
                      <a:pt x="409" y="492"/>
                    </a:lnTo>
                    <a:lnTo>
                      <a:pt x="411" y="492"/>
                    </a:lnTo>
                    <a:lnTo>
                      <a:pt x="411" y="490"/>
                    </a:lnTo>
                    <a:lnTo>
                      <a:pt x="413" y="490"/>
                    </a:lnTo>
                    <a:lnTo>
                      <a:pt x="413" y="488"/>
                    </a:lnTo>
                    <a:lnTo>
                      <a:pt x="413" y="487"/>
                    </a:lnTo>
                    <a:lnTo>
                      <a:pt x="413" y="485"/>
                    </a:lnTo>
                    <a:lnTo>
                      <a:pt x="413" y="483"/>
                    </a:lnTo>
                    <a:lnTo>
                      <a:pt x="413" y="481"/>
                    </a:lnTo>
                    <a:lnTo>
                      <a:pt x="413" y="483"/>
                    </a:lnTo>
                    <a:lnTo>
                      <a:pt x="413" y="481"/>
                    </a:lnTo>
                    <a:lnTo>
                      <a:pt x="411" y="481"/>
                    </a:lnTo>
                    <a:lnTo>
                      <a:pt x="411" y="479"/>
                    </a:lnTo>
                    <a:lnTo>
                      <a:pt x="411" y="477"/>
                    </a:lnTo>
                    <a:lnTo>
                      <a:pt x="413" y="477"/>
                    </a:lnTo>
                    <a:lnTo>
                      <a:pt x="411" y="477"/>
                    </a:lnTo>
                    <a:lnTo>
                      <a:pt x="413" y="477"/>
                    </a:lnTo>
                    <a:lnTo>
                      <a:pt x="413" y="475"/>
                    </a:lnTo>
                    <a:lnTo>
                      <a:pt x="413" y="473"/>
                    </a:lnTo>
                    <a:lnTo>
                      <a:pt x="415" y="473"/>
                    </a:lnTo>
                    <a:lnTo>
                      <a:pt x="417" y="471"/>
                    </a:lnTo>
                    <a:lnTo>
                      <a:pt x="417" y="473"/>
                    </a:lnTo>
                    <a:lnTo>
                      <a:pt x="417" y="471"/>
                    </a:lnTo>
                    <a:lnTo>
                      <a:pt x="417" y="469"/>
                    </a:lnTo>
                    <a:lnTo>
                      <a:pt x="417" y="467"/>
                    </a:lnTo>
                    <a:lnTo>
                      <a:pt x="419" y="467"/>
                    </a:lnTo>
                    <a:lnTo>
                      <a:pt x="421" y="467"/>
                    </a:lnTo>
                    <a:lnTo>
                      <a:pt x="421" y="469"/>
                    </a:lnTo>
                    <a:lnTo>
                      <a:pt x="419" y="467"/>
                    </a:lnTo>
                    <a:lnTo>
                      <a:pt x="419" y="469"/>
                    </a:lnTo>
                    <a:lnTo>
                      <a:pt x="421" y="469"/>
                    </a:lnTo>
                    <a:lnTo>
                      <a:pt x="421" y="467"/>
                    </a:lnTo>
                    <a:lnTo>
                      <a:pt x="421" y="465"/>
                    </a:lnTo>
                    <a:lnTo>
                      <a:pt x="421" y="463"/>
                    </a:lnTo>
                    <a:lnTo>
                      <a:pt x="423" y="463"/>
                    </a:lnTo>
                    <a:lnTo>
                      <a:pt x="423" y="462"/>
                    </a:lnTo>
                    <a:lnTo>
                      <a:pt x="423" y="463"/>
                    </a:lnTo>
                    <a:lnTo>
                      <a:pt x="423" y="462"/>
                    </a:lnTo>
                    <a:lnTo>
                      <a:pt x="425" y="462"/>
                    </a:lnTo>
                    <a:lnTo>
                      <a:pt x="425" y="460"/>
                    </a:lnTo>
                    <a:lnTo>
                      <a:pt x="425" y="458"/>
                    </a:lnTo>
                    <a:lnTo>
                      <a:pt x="423" y="458"/>
                    </a:lnTo>
                    <a:lnTo>
                      <a:pt x="425" y="458"/>
                    </a:lnTo>
                    <a:lnTo>
                      <a:pt x="423" y="456"/>
                    </a:lnTo>
                    <a:lnTo>
                      <a:pt x="423" y="454"/>
                    </a:lnTo>
                    <a:lnTo>
                      <a:pt x="425" y="454"/>
                    </a:lnTo>
                    <a:lnTo>
                      <a:pt x="425" y="452"/>
                    </a:lnTo>
                    <a:lnTo>
                      <a:pt x="425" y="450"/>
                    </a:lnTo>
                    <a:lnTo>
                      <a:pt x="425" y="452"/>
                    </a:lnTo>
                    <a:lnTo>
                      <a:pt x="426" y="452"/>
                    </a:lnTo>
                    <a:lnTo>
                      <a:pt x="426" y="454"/>
                    </a:lnTo>
                    <a:lnTo>
                      <a:pt x="425" y="454"/>
                    </a:lnTo>
                    <a:lnTo>
                      <a:pt x="426" y="454"/>
                    </a:lnTo>
                    <a:lnTo>
                      <a:pt x="426" y="452"/>
                    </a:lnTo>
                    <a:lnTo>
                      <a:pt x="425" y="450"/>
                    </a:lnTo>
                    <a:lnTo>
                      <a:pt x="425" y="448"/>
                    </a:lnTo>
                    <a:lnTo>
                      <a:pt x="425" y="446"/>
                    </a:lnTo>
                    <a:lnTo>
                      <a:pt x="426" y="446"/>
                    </a:lnTo>
                    <a:lnTo>
                      <a:pt x="428" y="446"/>
                    </a:lnTo>
                    <a:lnTo>
                      <a:pt x="428" y="444"/>
                    </a:lnTo>
                    <a:lnTo>
                      <a:pt x="428" y="442"/>
                    </a:lnTo>
                    <a:lnTo>
                      <a:pt x="426" y="440"/>
                    </a:lnTo>
                    <a:lnTo>
                      <a:pt x="426" y="438"/>
                    </a:lnTo>
                    <a:lnTo>
                      <a:pt x="428" y="438"/>
                    </a:lnTo>
                    <a:lnTo>
                      <a:pt x="428" y="437"/>
                    </a:lnTo>
                    <a:lnTo>
                      <a:pt x="428" y="438"/>
                    </a:lnTo>
                    <a:lnTo>
                      <a:pt x="428" y="437"/>
                    </a:lnTo>
                    <a:lnTo>
                      <a:pt x="426" y="437"/>
                    </a:lnTo>
                    <a:lnTo>
                      <a:pt x="426" y="435"/>
                    </a:lnTo>
                    <a:lnTo>
                      <a:pt x="426" y="433"/>
                    </a:lnTo>
                    <a:lnTo>
                      <a:pt x="426" y="431"/>
                    </a:lnTo>
                    <a:lnTo>
                      <a:pt x="426" y="429"/>
                    </a:lnTo>
                    <a:lnTo>
                      <a:pt x="426" y="431"/>
                    </a:lnTo>
                    <a:lnTo>
                      <a:pt x="426" y="429"/>
                    </a:lnTo>
                    <a:lnTo>
                      <a:pt x="426" y="427"/>
                    </a:lnTo>
                    <a:lnTo>
                      <a:pt x="425" y="427"/>
                    </a:lnTo>
                    <a:lnTo>
                      <a:pt x="425" y="425"/>
                    </a:lnTo>
                    <a:lnTo>
                      <a:pt x="425" y="423"/>
                    </a:lnTo>
                    <a:lnTo>
                      <a:pt x="425" y="421"/>
                    </a:lnTo>
                    <a:lnTo>
                      <a:pt x="425" y="423"/>
                    </a:lnTo>
                    <a:lnTo>
                      <a:pt x="425" y="421"/>
                    </a:lnTo>
                    <a:lnTo>
                      <a:pt x="425" y="419"/>
                    </a:lnTo>
                    <a:lnTo>
                      <a:pt x="425" y="421"/>
                    </a:lnTo>
                    <a:lnTo>
                      <a:pt x="425" y="419"/>
                    </a:lnTo>
                    <a:lnTo>
                      <a:pt x="425" y="421"/>
                    </a:lnTo>
                    <a:lnTo>
                      <a:pt x="425" y="419"/>
                    </a:lnTo>
                    <a:lnTo>
                      <a:pt x="425" y="417"/>
                    </a:lnTo>
                    <a:lnTo>
                      <a:pt x="426" y="417"/>
                    </a:lnTo>
                    <a:lnTo>
                      <a:pt x="426" y="415"/>
                    </a:lnTo>
                    <a:lnTo>
                      <a:pt x="428" y="415"/>
                    </a:lnTo>
                    <a:lnTo>
                      <a:pt x="426" y="414"/>
                    </a:lnTo>
                    <a:lnTo>
                      <a:pt x="428" y="414"/>
                    </a:lnTo>
                    <a:lnTo>
                      <a:pt x="426" y="414"/>
                    </a:lnTo>
                    <a:lnTo>
                      <a:pt x="428" y="414"/>
                    </a:lnTo>
                    <a:lnTo>
                      <a:pt x="428" y="412"/>
                    </a:lnTo>
                    <a:lnTo>
                      <a:pt x="426" y="410"/>
                    </a:lnTo>
                    <a:lnTo>
                      <a:pt x="426" y="408"/>
                    </a:lnTo>
                    <a:lnTo>
                      <a:pt x="426" y="406"/>
                    </a:lnTo>
                    <a:lnTo>
                      <a:pt x="426" y="404"/>
                    </a:lnTo>
                    <a:lnTo>
                      <a:pt x="425" y="404"/>
                    </a:lnTo>
                    <a:lnTo>
                      <a:pt x="425" y="402"/>
                    </a:lnTo>
                    <a:lnTo>
                      <a:pt x="425" y="400"/>
                    </a:lnTo>
                    <a:lnTo>
                      <a:pt x="425" y="398"/>
                    </a:lnTo>
                    <a:lnTo>
                      <a:pt x="425" y="396"/>
                    </a:lnTo>
                    <a:lnTo>
                      <a:pt x="426" y="394"/>
                    </a:lnTo>
                    <a:lnTo>
                      <a:pt x="425" y="394"/>
                    </a:lnTo>
                    <a:lnTo>
                      <a:pt x="426" y="394"/>
                    </a:lnTo>
                    <a:lnTo>
                      <a:pt x="426" y="396"/>
                    </a:lnTo>
                    <a:lnTo>
                      <a:pt x="425" y="396"/>
                    </a:lnTo>
                    <a:lnTo>
                      <a:pt x="426" y="396"/>
                    </a:lnTo>
                    <a:lnTo>
                      <a:pt x="426" y="394"/>
                    </a:lnTo>
                    <a:lnTo>
                      <a:pt x="426" y="392"/>
                    </a:lnTo>
                    <a:lnTo>
                      <a:pt x="425" y="390"/>
                    </a:lnTo>
                    <a:lnTo>
                      <a:pt x="426" y="390"/>
                    </a:lnTo>
                    <a:lnTo>
                      <a:pt x="425" y="390"/>
                    </a:lnTo>
                    <a:lnTo>
                      <a:pt x="425" y="389"/>
                    </a:lnTo>
                    <a:lnTo>
                      <a:pt x="425" y="387"/>
                    </a:lnTo>
                    <a:lnTo>
                      <a:pt x="426" y="387"/>
                    </a:lnTo>
                    <a:lnTo>
                      <a:pt x="426" y="389"/>
                    </a:lnTo>
                    <a:lnTo>
                      <a:pt x="426" y="387"/>
                    </a:lnTo>
                    <a:lnTo>
                      <a:pt x="426" y="389"/>
                    </a:lnTo>
                    <a:lnTo>
                      <a:pt x="428" y="387"/>
                    </a:lnTo>
                    <a:lnTo>
                      <a:pt x="430" y="387"/>
                    </a:lnTo>
                    <a:lnTo>
                      <a:pt x="430" y="385"/>
                    </a:lnTo>
                    <a:lnTo>
                      <a:pt x="430" y="387"/>
                    </a:lnTo>
                    <a:lnTo>
                      <a:pt x="428" y="387"/>
                    </a:lnTo>
                    <a:lnTo>
                      <a:pt x="426" y="387"/>
                    </a:lnTo>
                    <a:lnTo>
                      <a:pt x="428" y="387"/>
                    </a:lnTo>
                    <a:lnTo>
                      <a:pt x="428" y="385"/>
                    </a:lnTo>
                    <a:lnTo>
                      <a:pt x="428" y="383"/>
                    </a:lnTo>
                    <a:lnTo>
                      <a:pt x="430" y="383"/>
                    </a:lnTo>
                    <a:lnTo>
                      <a:pt x="430" y="385"/>
                    </a:lnTo>
                    <a:lnTo>
                      <a:pt x="430" y="383"/>
                    </a:lnTo>
                    <a:lnTo>
                      <a:pt x="432" y="383"/>
                    </a:lnTo>
                    <a:lnTo>
                      <a:pt x="434" y="381"/>
                    </a:lnTo>
                    <a:lnTo>
                      <a:pt x="436" y="381"/>
                    </a:lnTo>
                    <a:lnTo>
                      <a:pt x="434" y="381"/>
                    </a:lnTo>
                    <a:lnTo>
                      <a:pt x="436" y="381"/>
                    </a:lnTo>
                    <a:lnTo>
                      <a:pt x="436" y="379"/>
                    </a:lnTo>
                    <a:lnTo>
                      <a:pt x="434" y="379"/>
                    </a:lnTo>
                    <a:lnTo>
                      <a:pt x="434" y="377"/>
                    </a:lnTo>
                    <a:lnTo>
                      <a:pt x="434" y="375"/>
                    </a:lnTo>
                    <a:lnTo>
                      <a:pt x="434" y="373"/>
                    </a:lnTo>
                    <a:lnTo>
                      <a:pt x="434" y="375"/>
                    </a:lnTo>
                    <a:lnTo>
                      <a:pt x="434" y="373"/>
                    </a:lnTo>
                    <a:lnTo>
                      <a:pt x="432" y="373"/>
                    </a:lnTo>
                    <a:lnTo>
                      <a:pt x="432" y="371"/>
                    </a:lnTo>
                    <a:lnTo>
                      <a:pt x="432" y="369"/>
                    </a:lnTo>
                    <a:lnTo>
                      <a:pt x="432" y="367"/>
                    </a:lnTo>
                    <a:lnTo>
                      <a:pt x="430" y="365"/>
                    </a:lnTo>
                    <a:lnTo>
                      <a:pt x="432" y="365"/>
                    </a:lnTo>
                    <a:lnTo>
                      <a:pt x="432" y="364"/>
                    </a:lnTo>
                    <a:lnTo>
                      <a:pt x="432" y="362"/>
                    </a:lnTo>
                    <a:lnTo>
                      <a:pt x="434" y="362"/>
                    </a:lnTo>
                    <a:lnTo>
                      <a:pt x="432" y="362"/>
                    </a:lnTo>
                    <a:lnTo>
                      <a:pt x="432" y="360"/>
                    </a:lnTo>
                    <a:lnTo>
                      <a:pt x="434" y="360"/>
                    </a:lnTo>
                    <a:lnTo>
                      <a:pt x="432" y="360"/>
                    </a:lnTo>
                    <a:lnTo>
                      <a:pt x="432" y="358"/>
                    </a:lnTo>
                    <a:lnTo>
                      <a:pt x="432" y="360"/>
                    </a:lnTo>
                    <a:lnTo>
                      <a:pt x="434" y="360"/>
                    </a:lnTo>
                    <a:lnTo>
                      <a:pt x="432" y="360"/>
                    </a:lnTo>
                    <a:lnTo>
                      <a:pt x="432" y="362"/>
                    </a:lnTo>
                    <a:lnTo>
                      <a:pt x="434" y="362"/>
                    </a:lnTo>
                    <a:lnTo>
                      <a:pt x="432" y="362"/>
                    </a:lnTo>
                    <a:lnTo>
                      <a:pt x="432" y="364"/>
                    </a:lnTo>
                    <a:lnTo>
                      <a:pt x="432" y="365"/>
                    </a:lnTo>
                    <a:lnTo>
                      <a:pt x="430" y="365"/>
                    </a:lnTo>
                    <a:lnTo>
                      <a:pt x="430" y="364"/>
                    </a:lnTo>
                    <a:lnTo>
                      <a:pt x="430" y="362"/>
                    </a:lnTo>
                    <a:lnTo>
                      <a:pt x="428" y="362"/>
                    </a:lnTo>
                    <a:lnTo>
                      <a:pt x="430" y="360"/>
                    </a:lnTo>
                    <a:lnTo>
                      <a:pt x="430" y="362"/>
                    </a:lnTo>
                    <a:lnTo>
                      <a:pt x="430" y="360"/>
                    </a:lnTo>
                    <a:lnTo>
                      <a:pt x="430" y="358"/>
                    </a:lnTo>
                    <a:lnTo>
                      <a:pt x="432" y="358"/>
                    </a:lnTo>
                    <a:lnTo>
                      <a:pt x="432" y="356"/>
                    </a:lnTo>
                    <a:lnTo>
                      <a:pt x="432" y="358"/>
                    </a:lnTo>
                    <a:lnTo>
                      <a:pt x="432" y="356"/>
                    </a:lnTo>
                    <a:lnTo>
                      <a:pt x="430" y="356"/>
                    </a:lnTo>
                    <a:lnTo>
                      <a:pt x="430" y="354"/>
                    </a:lnTo>
                    <a:lnTo>
                      <a:pt x="432" y="354"/>
                    </a:lnTo>
                    <a:lnTo>
                      <a:pt x="430" y="352"/>
                    </a:lnTo>
                    <a:lnTo>
                      <a:pt x="430" y="350"/>
                    </a:lnTo>
                    <a:lnTo>
                      <a:pt x="432" y="350"/>
                    </a:lnTo>
                    <a:lnTo>
                      <a:pt x="432" y="348"/>
                    </a:lnTo>
                    <a:lnTo>
                      <a:pt x="434" y="348"/>
                    </a:lnTo>
                    <a:lnTo>
                      <a:pt x="436" y="348"/>
                    </a:lnTo>
                    <a:lnTo>
                      <a:pt x="438" y="348"/>
                    </a:lnTo>
                    <a:lnTo>
                      <a:pt x="440" y="348"/>
                    </a:lnTo>
                    <a:lnTo>
                      <a:pt x="442" y="346"/>
                    </a:lnTo>
                    <a:lnTo>
                      <a:pt x="442" y="348"/>
                    </a:lnTo>
                    <a:lnTo>
                      <a:pt x="442" y="346"/>
                    </a:lnTo>
                    <a:lnTo>
                      <a:pt x="442" y="348"/>
                    </a:lnTo>
                    <a:lnTo>
                      <a:pt x="444" y="350"/>
                    </a:lnTo>
                    <a:lnTo>
                      <a:pt x="446" y="350"/>
                    </a:lnTo>
                    <a:lnTo>
                      <a:pt x="448" y="350"/>
                    </a:lnTo>
                    <a:lnTo>
                      <a:pt x="450" y="350"/>
                    </a:lnTo>
                    <a:lnTo>
                      <a:pt x="448" y="350"/>
                    </a:lnTo>
                    <a:lnTo>
                      <a:pt x="448" y="348"/>
                    </a:lnTo>
                    <a:lnTo>
                      <a:pt x="448" y="350"/>
                    </a:lnTo>
                    <a:lnTo>
                      <a:pt x="448" y="348"/>
                    </a:lnTo>
                    <a:lnTo>
                      <a:pt x="448" y="350"/>
                    </a:lnTo>
                    <a:lnTo>
                      <a:pt x="450" y="350"/>
                    </a:lnTo>
                    <a:lnTo>
                      <a:pt x="451" y="352"/>
                    </a:lnTo>
                    <a:lnTo>
                      <a:pt x="453" y="352"/>
                    </a:lnTo>
                    <a:lnTo>
                      <a:pt x="453" y="354"/>
                    </a:lnTo>
                    <a:lnTo>
                      <a:pt x="453" y="356"/>
                    </a:lnTo>
                    <a:lnTo>
                      <a:pt x="451" y="356"/>
                    </a:lnTo>
                    <a:lnTo>
                      <a:pt x="453" y="356"/>
                    </a:lnTo>
                    <a:lnTo>
                      <a:pt x="453" y="354"/>
                    </a:lnTo>
                    <a:lnTo>
                      <a:pt x="453" y="356"/>
                    </a:lnTo>
                    <a:lnTo>
                      <a:pt x="453" y="354"/>
                    </a:lnTo>
                    <a:lnTo>
                      <a:pt x="453" y="356"/>
                    </a:lnTo>
                    <a:lnTo>
                      <a:pt x="455" y="356"/>
                    </a:lnTo>
                    <a:lnTo>
                      <a:pt x="455" y="358"/>
                    </a:lnTo>
                    <a:lnTo>
                      <a:pt x="455" y="360"/>
                    </a:lnTo>
                    <a:lnTo>
                      <a:pt x="457" y="360"/>
                    </a:lnTo>
                    <a:lnTo>
                      <a:pt x="457" y="362"/>
                    </a:lnTo>
                    <a:lnTo>
                      <a:pt x="459" y="362"/>
                    </a:lnTo>
                    <a:lnTo>
                      <a:pt x="459" y="364"/>
                    </a:lnTo>
                    <a:lnTo>
                      <a:pt x="461" y="364"/>
                    </a:lnTo>
                    <a:lnTo>
                      <a:pt x="461" y="362"/>
                    </a:lnTo>
                    <a:lnTo>
                      <a:pt x="459" y="362"/>
                    </a:lnTo>
                    <a:lnTo>
                      <a:pt x="461" y="362"/>
                    </a:lnTo>
                    <a:lnTo>
                      <a:pt x="461" y="364"/>
                    </a:lnTo>
                    <a:lnTo>
                      <a:pt x="461" y="365"/>
                    </a:lnTo>
                    <a:lnTo>
                      <a:pt x="463" y="365"/>
                    </a:lnTo>
                    <a:lnTo>
                      <a:pt x="463" y="367"/>
                    </a:lnTo>
                    <a:lnTo>
                      <a:pt x="465" y="367"/>
                    </a:lnTo>
                    <a:lnTo>
                      <a:pt x="465" y="369"/>
                    </a:lnTo>
                    <a:lnTo>
                      <a:pt x="465" y="371"/>
                    </a:lnTo>
                    <a:lnTo>
                      <a:pt x="465" y="369"/>
                    </a:lnTo>
                    <a:lnTo>
                      <a:pt x="467" y="369"/>
                    </a:lnTo>
                    <a:lnTo>
                      <a:pt x="465" y="369"/>
                    </a:lnTo>
                    <a:lnTo>
                      <a:pt x="467" y="369"/>
                    </a:lnTo>
                    <a:lnTo>
                      <a:pt x="467" y="367"/>
                    </a:lnTo>
                    <a:lnTo>
                      <a:pt x="467" y="369"/>
                    </a:lnTo>
                    <a:lnTo>
                      <a:pt x="467" y="371"/>
                    </a:lnTo>
                    <a:lnTo>
                      <a:pt x="469" y="371"/>
                    </a:lnTo>
                    <a:lnTo>
                      <a:pt x="469" y="373"/>
                    </a:lnTo>
                    <a:lnTo>
                      <a:pt x="469" y="375"/>
                    </a:lnTo>
                    <a:lnTo>
                      <a:pt x="471" y="375"/>
                    </a:lnTo>
                    <a:lnTo>
                      <a:pt x="471" y="377"/>
                    </a:lnTo>
                    <a:lnTo>
                      <a:pt x="473" y="377"/>
                    </a:lnTo>
                    <a:lnTo>
                      <a:pt x="473" y="379"/>
                    </a:lnTo>
                    <a:lnTo>
                      <a:pt x="475" y="379"/>
                    </a:lnTo>
                    <a:lnTo>
                      <a:pt x="476" y="379"/>
                    </a:lnTo>
                    <a:lnTo>
                      <a:pt x="475" y="379"/>
                    </a:lnTo>
                    <a:lnTo>
                      <a:pt x="476" y="377"/>
                    </a:lnTo>
                    <a:lnTo>
                      <a:pt x="476" y="379"/>
                    </a:lnTo>
                    <a:lnTo>
                      <a:pt x="478" y="379"/>
                    </a:lnTo>
                    <a:lnTo>
                      <a:pt x="478" y="381"/>
                    </a:lnTo>
                    <a:lnTo>
                      <a:pt x="478" y="379"/>
                    </a:lnTo>
                    <a:lnTo>
                      <a:pt x="478" y="381"/>
                    </a:lnTo>
                    <a:lnTo>
                      <a:pt x="478" y="379"/>
                    </a:lnTo>
                    <a:lnTo>
                      <a:pt x="478" y="381"/>
                    </a:lnTo>
                    <a:lnTo>
                      <a:pt x="480" y="381"/>
                    </a:lnTo>
                    <a:lnTo>
                      <a:pt x="478" y="383"/>
                    </a:lnTo>
                    <a:lnTo>
                      <a:pt x="478" y="381"/>
                    </a:lnTo>
                    <a:lnTo>
                      <a:pt x="478" y="383"/>
                    </a:lnTo>
                    <a:lnTo>
                      <a:pt x="480" y="383"/>
                    </a:lnTo>
                    <a:lnTo>
                      <a:pt x="480" y="385"/>
                    </a:lnTo>
                    <a:lnTo>
                      <a:pt x="480" y="383"/>
                    </a:lnTo>
                    <a:lnTo>
                      <a:pt x="480" y="385"/>
                    </a:lnTo>
                    <a:lnTo>
                      <a:pt x="482" y="385"/>
                    </a:lnTo>
                    <a:lnTo>
                      <a:pt x="480" y="385"/>
                    </a:lnTo>
                    <a:lnTo>
                      <a:pt x="482" y="385"/>
                    </a:lnTo>
                    <a:lnTo>
                      <a:pt x="480" y="385"/>
                    </a:lnTo>
                    <a:lnTo>
                      <a:pt x="482" y="385"/>
                    </a:lnTo>
                    <a:lnTo>
                      <a:pt x="482" y="387"/>
                    </a:lnTo>
                    <a:lnTo>
                      <a:pt x="480" y="387"/>
                    </a:lnTo>
                    <a:lnTo>
                      <a:pt x="482" y="387"/>
                    </a:lnTo>
                    <a:lnTo>
                      <a:pt x="482" y="385"/>
                    </a:lnTo>
                    <a:lnTo>
                      <a:pt x="482" y="387"/>
                    </a:lnTo>
                    <a:lnTo>
                      <a:pt x="484" y="387"/>
                    </a:lnTo>
                    <a:lnTo>
                      <a:pt x="482" y="387"/>
                    </a:lnTo>
                    <a:lnTo>
                      <a:pt x="484" y="387"/>
                    </a:lnTo>
                    <a:lnTo>
                      <a:pt x="482" y="387"/>
                    </a:lnTo>
                    <a:lnTo>
                      <a:pt x="484" y="387"/>
                    </a:lnTo>
                    <a:lnTo>
                      <a:pt x="484" y="385"/>
                    </a:lnTo>
                    <a:lnTo>
                      <a:pt x="482" y="385"/>
                    </a:lnTo>
                    <a:lnTo>
                      <a:pt x="484" y="385"/>
                    </a:lnTo>
                    <a:lnTo>
                      <a:pt x="482" y="385"/>
                    </a:lnTo>
                    <a:lnTo>
                      <a:pt x="484" y="385"/>
                    </a:lnTo>
                    <a:lnTo>
                      <a:pt x="484" y="387"/>
                    </a:lnTo>
                    <a:lnTo>
                      <a:pt x="484" y="389"/>
                    </a:lnTo>
                    <a:lnTo>
                      <a:pt x="486" y="389"/>
                    </a:lnTo>
                    <a:lnTo>
                      <a:pt x="486" y="387"/>
                    </a:lnTo>
                    <a:lnTo>
                      <a:pt x="486" y="389"/>
                    </a:lnTo>
                    <a:lnTo>
                      <a:pt x="488" y="389"/>
                    </a:lnTo>
                    <a:lnTo>
                      <a:pt x="488" y="390"/>
                    </a:lnTo>
                    <a:lnTo>
                      <a:pt x="488" y="389"/>
                    </a:lnTo>
                    <a:lnTo>
                      <a:pt x="488" y="390"/>
                    </a:lnTo>
                    <a:lnTo>
                      <a:pt x="488" y="389"/>
                    </a:lnTo>
                    <a:lnTo>
                      <a:pt x="488" y="390"/>
                    </a:lnTo>
                    <a:lnTo>
                      <a:pt x="488" y="389"/>
                    </a:lnTo>
                    <a:lnTo>
                      <a:pt x="486" y="389"/>
                    </a:lnTo>
                    <a:lnTo>
                      <a:pt x="488" y="389"/>
                    </a:lnTo>
                    <a:lnTo>
                      <a:pt x="486" y="389"/>
                    </a:lnTo>
                    <a:lnTo>
                      <a:pt x="486" y="387"/>
                    </a:lnTo>
                    <a:lnTo>
                      <a:pt x="488" y="387"/>
                    </a:lnTo>
                    <a:lnTo>
                      <a:pt x="486" y="389"/>
                    </a:lnTo>
                    <a:lnTo>
                      <a:pt x="488" y="389"/>
                    </a:lnTo>
                    <a:lnTo>
                      <a:pt x="490" y="389"/>
                    </a:lnTo>
                    <a:lnTo>
                      <a:pt x="490" y="390"/>
                    </a:lnTo>
                    <a:lnTo>
                      <a:pt x="490" y="392"/>
                    </a:lnTo>
                    <a:lnTo>
                      <a:pt x="492" y="392"/>
                    </a:lnTo>
                    <a:lnTo>
                      <a:pt x="492" y="390"/>
                    </a:lnTo>
                    <a:lnTo>
                      <a:pt x="490" y="390"/>
                    </a:lnTo>
                    <a:lnTo>
                      <a:pt x="492" y="390"/>
                    </a:lnTo>
                    <a:lnTo>
                      <a:pt x="490" y="390"/>
                    </a:lnTo>
                    <a:lnTo>
                      <a:pt x="492" y="390"/>
                    </a:lnTo>
                    <a:lnTo>
                      <a:pt x="492" y="389"/>
                    </a:lnTo>
                    <a:lnTo>
                      <a:pt x="490" y="389"/>
                    </a:lnTo>
                    <a:lnTo>
                      <a:pt x="492" y="389"/>
                    </a:lnTo>
                    <a:lnTo>
                      <a:pt x="494" y="389"/>
                    </a:lnTo>
                    <a:lnTo>
                      <a:pt x="496" y="389"/>
                    </a:lnTo>
                    <a:lnTo>
                      <a:pt x="494" y="389"/>
                    </a:lnTo>
                    <a:lnTo>
                      <a:pt x="496" y="389"/>
                    </a:lnTo>
                    <a:lnTo>
                      <a:pt x="494" y="389"/>
                    </a:lnTo>
                    <a:lnTo>
                      <a:pt x="496" y="389"/>
                    </a:lnTo>
                    <a:lnTo>
                      <a:pt x="496" y="390"/>
                    </a:lnTo>
                    <a:lnTo>
                      <a:pt x="494" y="390"/>
                    </a:lnTo>
                    <a:lnTo>
                      <a:pt x="496" y="390"/>
                    </a:lnTo>
                    <a:lnTo>
                      <a:pt x="494" y="390"/>
                    </a:lnTo>
                    <a:lnTo>
                      <a:pt x="496" y="390"/>
                    </a:lnTo>
                    <a:lnTo>
                      <a:pt x="496" y="389"/>
                    </a:lnTo>
                    <a:lnTo>
                      <a:pt x="494" y="389"/>
                    </a:lnTo>
                    <a:lnTo>
                      <a:pt x="492" y="389"/>
                    </a:lnTo>
                    <a:lnTo>
                      <a:pt x="492" y="387"/>
                    </a:lnTo>
                    <a:lnTo>
                      <a:pt x="492" y="389"/>
                    </a:lnTo>
                    <a:lnTo>
                      <a:pt x="492" y="387"/>
                    </a:lnTo>
                    <a:lnTo>
                      <a:pt x="492" y="389"/>
                    </a:lnTo>
                    <a:lnTo>
                      <a:pt x="490" y="389"/>
                    </a:lnTo>
                    <a:lnTo>
                      <a:pt x="492" y="389"/>
                    </a:lnTo>
                    <a:lnTo>
                      <a:pt x="490" y="389"/>
                    </a:lnTo>
                    <a:lnTo>
                      <a:pt x="492" y="389"/>
                    </a:lnTo>
                    <a:lnTo>
                      <a:pt x="490" y="389"/>
                    </a:lnTo>
                    <a:lnTo>
                      <a:pt x="488" y="389"/>
                    </a:lnTo>
                    <a:lnTo>
                      <a:pt x="488" y="387"/>
                    </a:lnTo>
                    <a:lnTo>
                      <a:pt x="486" y="387"/>
                    </a:lnTo>
                    <a:lnTo>
                      <a:pt x="486" y="389"/>
                    </a:lnTo>
                    <a:lnTo>
                      <a:pt x="486" y="387"/>
                    </a:lnTo>
                    <a:lnTo>
                      <a:pt x="486" y="389"/>
                    </a:lnTo>
                    <a:lnTo>
                      <a:pt x="486" y="387"/>
                    </a:lnTo>
                    <a:lnTo>
                      <a:pt x="486" y="389"/>
                    </a:lnTo>
                    <a:lnTo>
                      <a:pt x="484" y="389"/>
                    </a:lnTo>
                    <a:lnTo>
                      <a:pt x="484" y="387"/>
                    </a:lnTo>
                    <a:lnTo>
                      <a:pt x="486" y="387"/>
                    </a:lnTo>
                    <a:lnTo>
                      <a:pt x="484" y="387"/>
                    </a:lnTo>
                    <a:lnTo>
                      <a:pt x="486" y="387"/>
                    </a:lnTo>
                    <a:lnTo>
                      <a:pt x="486" y="385"/>
                    </a:lnTo>
                    <a:lnTo>
                      <a:pt x="488" y="385"/>
                    </a:lnTo>
                    <a:lnTo>
                      <a:pt x="488" y="383"/>
                    </a:lnTo>
                    <a:lnTo>
                      <a:pt x="488" y="385"/>
                    </a:lnTo>
                    <a:lnTo>
                      <a:pt x="488" y="383"/>
                    </a:lnTo>
                    <a:lnTo>
                      <a:pt x="486" y="385"/>
                    </a:lnTo>
                    <a:lnTo>
                      <a:pt x="486" y="383"/>
                    </a:lnTo>
                    <a:lnTo>
                      <a:pt x="486" y="385"/>
                    </a:lnTo>
                    <a:lnTo>
                      <a:pt x="486" y="383"/>
                    </a:lnTo>
                    <a:lnTo>
                      <a:pt x="486" y="385"/>
                    </a:lnTo>
                    <a:lnTo>
                      <a:pt x="486" y="383"/>
                    </a:lnTo>
                    <a:lnTo>
                      <a:pt x="484" y="383"/>
                    </a:lnTo>
                    <a:lnTo>
                      <a:pt x="486" y="383"/>
                    </a:lnTo>
                    <a:lnTo>
                      <a:pt x="484" y="383"/>
                    </a:lnTo>
                    <a:lnTo>
                      <a:pt x="484" y="385"/>
                    </a:lnTo>
                    <a:lnTo>
                      <a:pt x="484" y="383"/>
                    </a:lnTo>
                    <a:lnTo>
                      <a:pt x="484" y="385"/>
                    </a:lnTo>
                    <a:lnTo>
                      <a:pt x="484" y="383"/>
                    </a:lnTo>
                    <a:lnTo>
                      <a:pt x="484" y="385"/>
                    </a:lnTo>
                    <a:lnTo>
                      <a:pt x="484" y="383"/>
                    </a:lnTo>
                    <a:lnTo>
                      <a:pt x="486" y="383"/>
                    </a:lnTo>
                    <a:lnTo>
                      <a:pt x="488" y="381"/>
                    </a:lnTo>
                    <a:lnTo>
                      <a:pt x="488" y="383"/>
                    </a:lnTo>
                    <a:lnTo>
                      <a:pt x="488" y="385"/>
                    </a:lnTo>
                    <a:lnTo>
                      <a:pt x="490" y="385"/>
                    </a:lnTo>
                    <a:lnTo>
                      <a:pt x="492" y="385"/>
                    </a:lnTo>
                    <a:lnTo>
                      <a:pt x="494" y="387"/>
                    </a:lnTo>
                    <a:lnTo>
                      <a:pt x="494" y="389"/>
                    </a:lnTo>
                    <a:lnTo>
                      <a:pt x="496" y="389"/>
                    </a:lnTo>
                    <a:lnTo>
                      <a:pt x="496" y="387"/>
                    </a:lnTo>
                    <a:lnTo>
                      <a:pt x="494" y="387"/>
                    </a:lnTo>
                    <a:lnTo>
                      <a:pt x="494" y="385"/>
                    </a:lnTo>
                    <a:lnTo>
                      <a:pt x="496" y="385"/>
                    </a:lnTo>
                    <a:lnTo>
                      <a:pt x="498" y="387"/>
                    </a:lnTo>
                    <a:lnTo>
                      <a:pt x="499" y="387"/>
                    </a:lnTo>
                    <a:lnTo>
                      <a:pt x="498" y="387"/>
                    </a:lnTo>
                    <a:lnTo>
                      <a:pt x="499" y="385"/>
                    </a:lnTo>
                    <a:lnTo>
                      <a:pt x="501" y="385"/>
                    </a:lnTo>
                    <a:lnTo>
                      <a:pt x="501" y="387"/>
                    </a:lnTo>
                    <a:lnTo>
                      <a:pt x="501" y="389"/>
                    </a:lnTo>
                    <a:lnTo>
                      <a:pt x="503" y="389"/>
                    </a:lnTo>
                    <a:lnTo>
                      <a:pt x="503" y="390"/>
                    </a:lnTo>
                    <a:lnTo>
                      <a:pt x="501" y="390"/>
                    </a:lnTo>
                    <a:lnTo>
                      <a:pt x="503" y="390"/>
                    </a:lnTo>
                    <a:lnTo>
                      <a:pt x="501" y="390"/>
                    </a:lnTo>
                    <a:lnTo>
                      <a:pt x="503" y="390"/>
                    </a:lnTo>
                    <a:lnTo>
                      <a:pt x="503" y="392"/>
                    </a:lnTo>
                    <a:lnTo>
                      <a:pt x="503" y="390"/>
                    </a:lnTo>
                    <a:lnTo>
                      <a:pt x="503" y="392"/>
                    </a:lnTo>
                    <a:lnTo>
                      <a:pt x="503" y="394"/>
                    </a:lnTo>
                    <a:lnTo>
                      <a:pt x="505" y="394"/>
                    </a:lnTo>
                    <a:lnTo>
                      <a:pt x="503" y="394"/>
                    </a:lnTo>
                    <a:lnTo>
                      <a:pt x="503" y="392"/>
                    </a:lnTo>
                    <a:lnTo>
                      <a:pt x="503" y="394"/>
                    </a:lnTo>
                    <a:lnTo>
                      <a:pt x="505" y="394"/>
                    </a:lnTo>
                    <a:lnTo>
                      <a:pt x="505" y="396"/>
                    </a:lnTo>
                    <a:lnTo>
                      <a:pt x="503" y="396"/>
                    </a:lnTo>
                    <a:lnTo>
                      <a:pt x="505" y="396"/>
                    </a:lnTo>
                    <a:lnTo>
                      <a:pt x="503" y="396"/>
                    </a:lnTo>
                    <a:lnTo>
                      <a:pt x="505" y="396"/>
                    </a:lnTo>
                    <a:lnTo>
                      <a:pt x="503" y="396"/>
                    </a:lnTo>
                    <a:lnTo>
                      <a:pt x="505" y="396"/>
                    </a:lnTo>
                    <a:lnTo>
                      <a:pt x="507" y="396"/>
                    </a:lnTo>
                    <a:lnTo>
                      <a:pt x="505" y="396"/>
                    </a:lnTo>
                    <a:lnTo>
                      <a:pt x="507" y="396"/>
                    </a:lnTo>
                    <a:lnTo>
                      <a:pt x="505" y="396"/>
                    </a:lnTo>
                    <a:lnTo>
                      <a:pt x="507" y="396"/>
                    </a:lnTo>
                    <a:lnTo>
                      <a:pt x="505" y="396"/>
                    </a:lnTo>
                    <a:lnTo>
                      <a:pt x="507" y="396"/>
                    </a:lnTo>
                    <a:lnTo>
                      <a:pt x="505" y="396"/>
                    </a:lnTo>
                    <a:lnTo>
                      <a:pt x="505" y="394"/>
                    </a:lnTo>
                    <a:lnTo>
                      <a:pt x="507" y="394"/>
                    </a:lnTo>
                    <a:lnTo>
                      <a:pt x="505" y="394"/>
                    </a:lnTo>
                    <a:lnTo>
                      <a:pt x="507" y="394"/>
                    </a:lnTo>
                    <a:lnTo>
                      <a:pt x="505" y="394"/>
                    </a:lnTo>
                    <a:lnTo>
                      <a:pt x="507" y="394"/>
                    </a:lnTo>
                    <a:lnTo>
                      <a:pt x="507" y="396"/>
                    </a:lnTo>
                    <a:lnTo>
                      <a:pt x="507" y="394"/>
                    </a:lnTo>
                    <a:lnTo>
                      <a:pt x="509" y="394"/>
                    </a:lnTo>
                    <a:lnTo>
                      <a:pt x="509" y="396"/>
                    </a:lnTo>
                    <a:lnTo>
                      <a:pt x="509" y="398"/>
                    </a:lnTo>
                    <a:lnTo>
                      <a:pt x="509" y="400"/>
                    </a:lnTo>
                    <a:lnTo>
                      <a:pt x="509" y="398"/>
                    </a:lnTo>
                    <a:lnTo>
                      <a:pt x="509" y="400"/>
                    </a:lnTo>
                    <a:lnTo>
                      <a:pt x="509" y="398"/>
                    </a:lnTo>
                    <a:lnTo>
                      <a:pt x="509" y="400"/>
                    </a:lnTo>
                    <a:lnTo>
                      <a:pt x="509" y="398"/>
                    </a:lnTo>
                    <a:lnTo>
                      <a:pt x="509" y="400"/>
                    </a:lnTo>
                    <a:lnTo>
                      <a:pt x="509" y="398"/>
                    </a:lnTo>
                    <a:lnTo>
                      <a:pt x="511" y="398"/>
                    </a:lnTo>
                    <a:lnTo>
                      <a:pt x="509" y="398"/>
                    </a:lnTo>
                    <a:lnTo>
                      <a:pt x="509" y="396"/>
                    </a:lnTo>
                    <a:lnTo>
                      <a:pt x="509" y="394"/>
                    </a:lnTo>
                    <a:lnTo>
                      <a:pt x="507" y="394"/>
                    </a:lnTo>
                    <a:lnTo>
                      <a:pt x="507" y="396"/>
                    </a:lnTo>
                    <a:lnTo>
                      <a:pt x="507" y="394"/>
                    </a:lnTo>
                    <a:lnTo>
                      <a:pt x="509" y="394"/>
                    </a:lnTo>
                    <a:lnTo>
                      <a:pt x="507" y="394"/>
                    </a:lnTo>
                    <a:lnTo>
                      <a:pt x="505" y="394"/>
                    </a:lnTo>
                    <a:lnTo>
                      <a:pt x="507" y="394"/>
                    </a:lnTo>
                    <a:lnTo>
                      <a:pt x="507" y="392"/>
                    </a:lnTo>
                    <a:lnTo>
                      <a:pt x="505" y="392"/>
                    </a:lnTo>
                    <a:lnTo>
                      <a:pt x="507" y="392"/>
                    </a:lnTo>
                    <a:lnTo>
                      <a:pt x="505" y="392"/>
                    </a:lnTo>
                    <a:lnTo>
                      <a:pt x="507" y="392"/>
                    </a:lnTo>
                    <a:lnTo>
                      <a:pt x="507" y="394"/>
                    </a:lnTo>
                    <a:lnTo>
                      <a:pt x="505" y="394"/>
                    </a:lnTo>
                    <a:lnTo>
                      <a:pt x="503" y="392"/>
                    </a:lnTo>
                    <a:lnTo>
                      <a:pt x="505" y="392"/>
                    </a:lnTo>
                    <a:lnTo>
                      <a:pt x="503" y="392"/>
                    </a:lnTo>
                    <a:lnTo>
                      <a:pt x="503" y="390"/>
                    </a:lnTo>
                    <a:lnTo>
                      <a:pt x="501" y="390"/>
                    </a:lnTo>
                    <a:lnTo>
                      <a:pt x="503" y="390"/>
                    </a:lnTo>
                    <a:lnTo>
                      <a:pt x="503" y="389"/>
                    </a:lnTo>
                    <a:lnTo>
                      <a:pt x="505" y="389"/>
                    </a:lnTo>
                    <a:lnTo>
                      <a:pt x="505" y="390"/>
                    </a:lnTo>
                    <a:lnTo>
                      <a:pt x="507" y="390"/>
                    </a:lnTo>
                    <a:lnTo>
                      <a:pt x="507" y="389"/>
                    </a:lnTo>
                    <a:lnTo>
                      <a:pt x="509" y="389"/>
                    </a:lnTo>
                    <a:lnTo>
                      <a:pt x="509" y="390"/>
                    </a:lnTo>
                    <a:lnTo>
                      <a:pt x="511" y="390"/>
                    </a:lnTo>
                    <a:lnTo>
                      <a:pt x="511" y="392"/>
                    </a:lnTo>
                    <a:lnTo>
                      <a:pt x="513" y="392"/>
                    </a:lnTo>
                    <a:lnTo>
                      <a:pt x="515" y="392"/>
                    </a:lnTo>
                    <a:lnTo>
                      <a:pt x="515" y="394"/>
                    </a:lnTo>
                    <a:lnTo>
                      <a:pt x="517" y="396"/>
                    </a:lnTo>
                    <a:lnTo>
                      <a:pt x="517" y="394"/>
                    </a:lnTo>
                    <a:lnTo>
                      <a:pt x="517" y="396"/>
                    </a:lnTo>
                    <a:lnTo>
                      <a:pt x="519" y="396"/>
                    </a:lnTo>
                    <a:lnTo>
                      <a:pt x="517" y="396"/>
                    </a:lnTo>
                    <a:lnTo>
                      <a:pt x="519" y="396"/>
                    </a:lnTo>
                    <a:lnTo>
                      <a:pt x="517" y="396"/>
                    </a:lnTo>
                    <a:lnTo>
                      <a:pt x="515" y="396"/>
                    </a:lnTo>
                    <a:lnTo>
                      <a:pt x="515" y="394"/>
                    </a:lnTo>
                    <a:lnTo>
                      <a:pt x="515" y="396"/>
                    </a:lnTo>
                    <a:lnTo>
                      <a:pt x="517" y="396"/>
                    </a:lnTo>
                    <a:lnTo>
                      <a:pt x="517" y="398"/>
                    </a:lnTo>
                    <a:lnTo>
                      <a:pt x="519" y="398"/>
                    </a:lnTo>
                    <a:lnTo>
                      <a:pt x="519" y="396"/>
                    </a:lnTo>
                    <a:lnTo>
                      <a:pt x="521" y="396"/>
                    </a:lnTo>
                    <a:lnTo>
                      <a:pt x="523" y="396"/>
                    </a:lnTo>
                    <a:lnTo>
                      <a:pt x="523" y="398"/>
                    </a:lnTo>
                    <a:lnTo>
                      <a:pt x="524" y="398"/>
                    </a:lnTo>
                    <a:lnTo>
                      <a:pt x="523" y="398"/>
                    </a:lnTo>
                    <a:lnTo>
                      <a:pt x="524" y="398"/>
                    </a:lnTo>
                    <a:lnTo>
                      <a:pt x="524" y="400"/>
                    </a:lnTo>
                    <a:lnTo>
                      <a:pt x="526" y="402"/>
                    </a:lnTo>
                    <a:lnTo>
                      <a:pt x="524" y="402"/>
                    </a:lnTo>
                    <a:lnTo>
                      <a:pt x="524" y="400"/>
                    </a:lnTo>
                    <a:lnTo>
                      <a:pt x="523" y="402"/>
                    </a:lnTo>
                    <a:lnTo>
                      <a:pt x="521" y="402"/>
                    </a:lnTo>
                    <a:lnTo>
                      <a:pt x="521" y="400"/>
                    </a:lnTo>
                    <a:lnTo>
                      <a:pt x="519" y="400"/>
                    </a:lnTo>
                    <a:lnTo>
                      <a:pt x="521" y="402"/>
                    </a:lnTo>
                    <a:lnTo>
                      <a:pt x="519" y="402"/>
                    </a:lnTo>
                    <a:lnTo>
                      <a:pt x="517" y="402"/>
                    </a:lnTo>
                    <a:lnTo>
                      <a:pt x="519" y="402"/>
                    </a:lnTo>
                    <a:lnTo>
                      <a:pt x="517" y="402"/>
                    </a:lnTo>
                    <a:lnTo>
                      <a:pt x="517" y="404"/>
                    </a:lnTo>
                    <a:lnTo>
                      <a:pt x="517" y="402"/>
                    </a:lnTo>
                    <a:lnTo>
                      <a:pt x="517" y="404"/>
                    </a:lnTo>
                    <a:lnTo>
                      <a:pt x="517" y="402"/>
                    </a:lnTo>
                    <a:lnTo>
                      <a:pt x="519" y="402"/>
                    </a:lnTo>
                    <a:lnTo>
                      <a:pt x="517" y="402"/>
                    </a:lnTo>
                    <a:lnTo>
                      <a:pt x="519" y="402"/>
                    </a:lnTo>
                    <a:lnTo>
                      <a:pt x="521" y="402"/>
                    </a:lnTo>
                    <a:lnTo>
                      <a:pt x="519" y="402"/>
                    </a:lnTo>
                    <a:lnTo>
                      <a:pt x="521" y="402"/>
                    </a:lnTo>
                    <a:lnTo>
                      <a:pt x="521" y="400"/>
                    </a:lnTo>
                    <a:lnTo>
                      <a:pt x="521" y="402"/>
                    </a:lnTo>
                    <a:lnTo>
                      <a:pt x="521" y="404"/>
                    </a:lnTo>
                    <a:lnTo>
                      <a:pt x="519" y="404"/>
                    </a:lnTo>
                    <a:lnTo>
                      <a:pt x="521" y="404"/>
                    </a:lnTo>
                    <a:lnTo>
                      <a:pt x="521" y="402"/>
                    </a:lnTo>
                    <a:lnTo>
                      <a:pt x="523" y="402"/>
                    </a:lnTo>
                    <a:lnTo>
                      <a:pt x="524" y="402"/>
                    </a:lnTo>
                    <a:lnTo>
                      <a:pt x="526" y="404"/>
                    </a:lnTo>
                    <a:lnTo>
                      <a:pt x="526" y="406"/>
                    </a:lnTo>
                    <a:lnTo>
                      <a:pt x="528" y="406"/>
                    </a:lnTo>
                    <a:lnTo>
                      <a:pt x="528" y="408"/>
                    </a:lnTo>
                    <a:lnTo>
                      <a:pt x="530" y="408"/>
                    </a:lnTo>
                    <a:lnTo>
                      <a:pt x="530" y="410"/>
                    </a:lnTo>
                    <a:lnTo>
                      <a:pt x="530" y="412"/>
                    </a:lnTo>
                    <a:lnTo>
                      <a:pt x="530" y="414"/>
                    </a:lnTo>
                    <a:lnTo>
                      <a:pt x="532" y="414"/>
                    </a:lnTo>
                    <a:lnTo>
                      <a:pt x="534" y="415"/>
                    </a:lnTo>
                    <a:lnTo>
                      <a:pt x="534" y="417"/>
                    </a:lnTo>
                    <a:lnTo>
                      <a:pt x="534" y="419"/>
                    </a:lnTo>
                    <a:lnTo>
                      <a:pt x="534" y="417"/>
                    </a:lnTo>
                    <a:lnTo>
                      <a:pt x="534" y="419"/>
                    </a:lnTo>
                    <a:lnTo>
                      <a:pt x="534" y="421"/>
                    </a:lnTo>
                    <a:lnTo>
                      <a:pt x="532" y="423"/>
                    </a:lnTo>
                    <a:lnTo>
                      <a:pt x="532" y="425"/>
                    </a:lnTo>
                    <a:lnTo>
                      <a:pt x="532" y="423"/>
                    </a:lnTo>
                    <a:lnTo>
                      <a:pt x="534" y="425"/>
                    </a:lnTo>
                    <a:lnTo>
                      <a:pt x="534" y="427"/>
                    </a:lnTo>
                    <a:lnTo>
                      <a:pt x="534" y="429"/>
                    </a:lnTo>
                    <a:lnTo>
                      <a:pt x="532" y="429"/>
                    </a:lnTo>
                    <a:lnTo>
                      <a:pt x="534" y="429"/>
                    </a:lnTo>
                    <a:lnTo>
                      <a:pt x="532" y="429"/>
                    </a:lnTo>
                    <a:lnTo>
                      <a:pt x="530" y="431"/>
                    </a:lnTo>
                    <a:lnTo>
                      <a:pt x="532" y="433"/>
                    </a:lnTo>
                    <a:lnTo>
                      <a:pt x="534" y="433"/>
                    </a:lnTo>
                    <a:lnTo>
                      <a:pt x="534" y="435"/>
                    </a:lnTo>
                    <a:lnTo>
                      <a:pt x="532" y="435"/>
                    </a:lnTo>
                    <a:lnTo>
                      <a:pt x="532" y="437"/>
                    </a:lnTo>
                    <a:lnTo>
                      <a:pt x="530" y="437"/>
                    </a:lnTo>
                    <a:lnTo>
                      <a:pt x="528" y="437"/>
                    </a:lnTo>
                    <a:lnTo>
                      <a:pt x="526" y="437"/>
                    </a:lnTo>
                    <a:lnTo>
                      <a:pt x="526" y="438"/>
                    </a:lnTo>
                    <a:lnTo>
                      <a:pt x="528" y="440"/>
                    </a:lnTo>
                    <a:lnTo>
                      <a:pt x="526" y="440"/>
                    </a:lnTo>
                    <a:lnTo>
                      <a:pt x="526" y="442"/>
                    </a:lnTo>
                    <a:lnTo>
                      <a:pt x="526" y="444"/>
                    </a:lnTo>
                    <a:lnTo>
                      <a:pt x="528" y="444"/>
                    </a:lnTo>
                    <a:lnTo>
                      <a:pt x="530" y="444"/>
                    </a:lnTo>
                    <a:lnTo>
                      <a:pt x="530" y="446"/>
                    </a:lnTo>
                    <a:lnTo>
                      <a:pt x="530" y="448"/>
                    </a:lnTo>
                    <a:lnTo>
                      <a:pt x="528" y="448"/>
                    </a:lnTo>
                    <a:lnTo>
                      <a:pt x="528" y="450"/>
                    </a:lnTo>
                    <a:lnTo>
                      <a:pt x="526" y="450"/>
                    </a:lnTo>
                    <a:lnTo>
                      <a:pt x="526" y="452"/>
                    </a:lnTo>
                    <a:lnTo>
                      <a:pt x="526" y="454"/>
                    </a:lnTo>
                    <a:lnTo>
                      <a:pt x="524" y="454"/>
                    </a:lnTo>
                    <a:lnTo>
                      <a:pt x="526" y="456"/>
                    </a:lnTo>
                    <a:lnTo>
                      <a:pt x="526" y="458"/>
                    </a:lnTo>
                    <a:lnTo>
                      <a:pt x="526" y="460"/>
                    </a:lnTo>
                    <a:lnTo>
                      <a:pt x="526" y="458"/>
                    </a:lnTo>
                    <a:lnTo>
                      <a:pt x="528" y="460"/>
                    </a:lnTo>
                    <a:lnTo>
                      <a:pt x="528" y="462"/>
                    </a:lnTo>
                    <a:lnTo>
                      <a:pt x="528" y="460"/>
                    </a:lnTo>
                    <a:lnTo>
                      <a:pt x="528" y="462"/>
                    </a:lnTo>
                    <a:lnTo>
                      <a:pt x="530" y="462"/>
                    </a:lnTo>
                    <a:lnTo>
                      <a:pt x="530" y="463"/>
                    </a:lnTo>
                    <a:lnTo>
                      <a:pt x="530" y="465"/>
                    </a:lnTo>
                    <a:lnTo>
                      <a:pt x="528" y="465"/>
                    </a:lnTo>
                    <a:lnTo>
                      <a:pt x="530" y="465"/>
                    </a:lnTo>
                    <a:lnTo>
                      <a:pt x="530" y="463"/>
                    </a:lnTo>
                    <a:lnTo>
                      <a:pt x="530" y="465"/>
                    </a:lnTo>
                    <a:lnTo>
                      <a:pt x="528" y="465"/>
                    </a:lnTo>
                    <a:lnTo>
                      <a:pt x="528" y="467"/>
                    </a:lnTo>
                    <a:lnTo>
                      <a:pt x="528" y="469"/>
                    </a:lnTo>
                    <a:lnTo>
                      <a:pt x="528" y="467"/>
                    </a:lnTo>
                    <a:lnTo>
                      <a:pt x="528" y="469"/>
                    </a:lnTo>
                    <a:lnTo>
                      <a:pt x="528" y="471"/>
                    </a:lnTo>
                    <a:lnTo>
                      <a:pt x="528" y="473"/>
                    </a:lnTo>
                    <a:lnTo>
                      <a:pt x="528" y="475"/>
                    </a:lnTo>
                    <a:lnTo>
                      <a:pt x="530" y="475"/>
                    </a:lnTo>
                    <a:lnTo>
                      <a:pt x="528" y="475"/>
                    </a:lnTo>
                    <a:lnTo>
                      <a:pt x="530" y="475"/>
                    </a:lnTo>
                    <a:lnTo>
                      <a:pt x="530" y="477"/>
                    </a:lnTo>
                    <a:lnTo>
                      <a:pt x="530" y="475"/>
                    </a:lnTo>
                    <a:lnTo>
                      <a:pt x="528" y="473"/>
                    </a:lnTo>
                    <a:lnTo>
                      <a:pt x="528" y="471"/>
                    </a:lnTo>
                    <a:lnTo>
                      <a:pt x="528" y="469"/>
                    </a:lnTo>
                    <a:lnTo>
                      <a:pt x="528" y="467"/>
                    </a:lnTo>
                    <a:lnTo>
                      <a:pt x="528" y="465"/>
                    </a:lnTo>
                    <a:lnTo>
                      <a:pt x="530" y="465"/>
                    </a:lnTo>
                    <a:lnTo>
                      <a:pt x="530" y="463"/>
                    </a:lnTo>
                    <a:lnTo>
                      <a:pt x="530" y="462"/>
                    </a:lnTo>
                    <a:lnTo>
                      <a:pt x="530" y="460"/>
                    </a:lnTo>
                    <a:lnTo>
                      <a:pt x="528" y="460"/>
                    </a:lnTo>
                    <a:lnTo>
                      <a:pt x="528" y="458"/>
                    </a:lnTo>
                    <a:lnTo>
                      <a:pt x="526" y="458"/>
                    </a:lnTo>
                    <a:lnTo>
                      <a:pt x="526" y="456"/>
                    </a:lnTo>
                    <a:lnTo>
                      <a:pt x="526" y="454"/>
                    </a:lnTo>
                    <a:lnTo>
                      <a:pt x="526" y="452"/>
                    </a:lnTo>
                    <a:lnTo>
                      <a:pt x="528" y="450"/>
                    </a:lnTo>
                    <a:lnTo>
                      <a:pt x="528" y="452"/>
                    </a:lnTo>
                    <a:lnTo>
                      <a:pt x="528" y="450"/>
                    </a:lnTo>
                    <a:lnTo>
                      <a:pt x="530" y="450"/>
                    </a:lnTo>
                    <a:lnTo>
                      <a:pt x="530" y="448"/>
                    </a:lnTo>
                    <a:lnTo>
                      <a:pt x="532" y="448"/>
                    </a:lnTo>
                    <a:lnTo>
                      <a:pt x="532" y="446"/>
                    </a:lnTo>
                    <a:lnTo>
                      <a:pt x="530" y="446"/>
                    </a:lnTo>
                    <a:lnTo>
                      <a:pt x="530" y="444"/>
                    </a:lnTo>
                    <a:lnTo>
                      <a:pt x="528" y="444"/>
                    </a:lnTo>
                    <a:lnTo>
                      <a:pt x="526" y="444"/>
                    </a:lnTo>
                    <a:lnTo>
                      <a:pt x="526" y="442"/>
                    </a:lnTo>
                    <a:lnTo>
                      <a:pt x="528" y="442"/>
                    </a:lnTo>
                    <a:lnTo>
                      <a:pt x="528" y="440"/>
                    </a:lnTo>
                    <a:lnTo>
                      <a:pt x="528" y="438"/>
                    </a:lnTo>
                    <a:lnTo>
                      <a:pt x="526" y="438"/>
                    </a:lnTo>
                    <a:lnTo>
                      <a:pt x="528" y="438"/>
                    </a:lnTo>
                    <a:lnTo>
                      <a:pt x="526" y="438"/>
                    </a:lnTo>
                    <a:lnTo>
                      <a:pt x="526" y="437"/>
                    </a:lnTo>
                    <a:lnTo>
                      <a:pt x="528" y="437"/>
                    </a:lnTo>
                    <a:lnTo>
                      <a:pt x="530" y="437"/>
                    </a:lnTo>
                    <a:lnTo>
                      <a:pt x="532" y="435"/>
                    </a:lnTo>
                    <a:lnTo>
                      <a:pt x="534" y="435"/>
                    </a:lnTo>
                    <a:lnTo>
                      <a:pt x="534" y="433"/>
                    </a:lnTo>
                    <a:lnTo>
                      <a:pt x="532" y="433"/>
                    </a:lnTo>
                    <a:lnTo>
                      <a:pt x="532" y="431"/>
                    </a:lnTo>
                    <a:lnTo>
                      <a:pt x="530" y="431"/>
                    </a:lnTo>
                    <a:lnTo>
                      <a:pt x="532" y="431"/>
                    </a:lnTo>
                    <a:lnTo>
                      <a:pt x="530" y="431"/>
                    </a:lnTo>
                    <a:lnTo>
                      <a:pt x="532" y="431"/>
                    </a:lnTo>
                    <a:lnTo>
                      <a:pt x="534" y="429"/>
                    </a:lnTo>
                    <a:lnTo>
                      <a:pt x="534" y="427"/>
                    </a:lnTo>
                    <a:lnTo>
                      <a:pt x="534" y="425"/>
                    </a:lnTo>
                    <a:lnTo>
                      <a:pt x="534" y="423"/>
                    </a:lnTo>
                    <a:lnTo>
                      <a:pt x="534" y="421"/>
                    </a:lnTo>
                    <a:lnTo>
                      <a:pt x="534" y="423"/>
                    </a:lnTo>
                    <a:lnTo>
                      <a:pt x="534" y="421"/>
                    </a:lnTo>
                    <a:lnTo>
                      <a:pt x="536" y="419"/>
                    </a:lnTo>
                    <a:lnTo>
                      <a:pt x="536" y="417"/>
                    </a:lnTo>
                    <a:lnTo>
                      <a:pt x="534" y="417"/>
                    </a:lnTo>
                    <a:lnTo>
                      <a:pt x="534" y="415"/>
                    </a:lnTo>
                    <a:lnTo>
                      <a:pt x="534" y="414"/>
                    </a:lnTo>
                    <a:lnTo>
                      <a:pt x="532" y="414"/>
                    </a:lnTo>
                    <a:lnTo>
                      <a:pt x="530" y="412"/>
                    </a:lnTo>
                    <a:lnTo>
                      <a:pt x="530" y="410"/>
                    </a:lnTo>
                    <a:lnTo>
                      <a:pt x="530" y="408"/>
                    </a:lnTo>
                    <a:lnTo>
                      <a:pt x="528" y="408"/>
                    </a:lnTo>
                    <a:lnTo>
                      <a:pt x="528" y="406"/>
                    </a:lnTo>
                    <a:lnTo>
                      <a:pt x="528" y="404"/>
                    </a:lnTo>
                    <a:lnTo>
                      <a:pt x="526" y="404"/>
                    </a:lnTo>
                    <a:lnTo>
                      <a:pt x="526" y="402"/>
                    </a:lnTo>
                    <a:lnTo>
                      <a:pt x="526" y="400"/>
                    </a:lnTo>
                    <a:lnTo>
                      <a:pt x="524" y="400"/>
                    </a:lnTo>
                    <a:lnTo>
                      <a:pt x="524" y="398"/>
                    </a:lnTo>
                    <a:lnTo>
                      <a:pt x="524" y="396"/>
                    </a:lnTo>
                    <a:lnTo>
                      <a:pt x="524" y="398"/>
                    </a:lnTo>
                    <a:lnTo>
                      <a:pt x="523" y="396"/>
                    </a:lnTo>
                    <a:lnTo>
                      <a:pt x="524" y="396"/>
                    </a:lnTo>
                    <a:lnTo>
                      <a:pt x="523" y="396"/>
                    </a:lnTo>
                    <a:lnTo>
                      <a:pt x="521" y="396"/>
                    </a:lnTo>
                    <a:lnTo>
                      <a:pt x="519" y="396"/>
                    </a:lnTo>
                    <a:lnTo>
                      <a:pt x="517" y="396"/>
                    </a:lnTo>
                    <a:lnTo>
                      <a:pt x="517" y="394"/>
                    </a:lnTo>
                    <a:lnTo>
                      <a:pt x="515" y="394"/>
                    </a:lnTo>
                    <a:lnTo>
                      <a:pt x="515" y="392"/>
                    </a:lnTo>
                    <a:lnTo>
                      <a:pt x="517" y="392"/>
                    </a:lnTo>
                    <a:lnTo>
                      <a:pt x="515" y="392"/>
                    </a:lnTo>
                    <a:lnTo>
                      <a:pt x="515" y="390"/>
                    </a:lnTo>
                    <a:lnTo>
                      <a:pt x="515" y="389"/>
                    </a:lnTo>
                    <a:lnTo>
                      <a:pt x="517" y="389"/>
                    </a:lnTo>
                    <a:lnTo>
                      <a:pt x="515" y="389"/>
                    </a:lnTo>
                    <a:lnTo>
                      <a:pt x="515" y="387"/>
                    </a:lnTo>
                    <a:lnTo>
                      <a:pt x="517" y="387"/>
                    </a:lnTo>
                    <a:lnTo>
                      <a:pt x="517" y="385"/>
                    </a:lnTo>
                    <a:lnTo>
                      <a:pt x="517" y="387"/>
                    </a:lnTo>
                    <a:lnTo>
                      <a:pt x="515" y="387"/>
                    </a:lnTo>
                    <a:lnTo>
                      <a:pt x="515" y="389"/>
                    </a:lnTo>
                    <a:lnTo>
                      <a:pt x="517" y="389"/>
                    </a:lnTo>
                    <a:lnTo>
                      <a:pt x="515" y="389"/>
                    </a:lnTo>
                    <a:lnTo>
                      <a:pt x="515" y="390"/>
                    </a:lnTo>
                    <a:lnTo>
                      <a:pt x="515" y="392"/>
                    </a:lnTo>
                    <a:lnTo>
                      <a:pt x="513" y="392"/>
                    </a:lnTo>
                    <a:lnTo>
                      <a:pt x="513" y="390"/>
                    </a:lnTo>
                    <a:lnTo>
                      <a:pt x="511" y="390"/>
                    </a:lnTo>
                    <a:lnTo>
                      <a:pt x="511" y="389"/>
                    </a:lnTo>
                    <a:lnTo>
                      <a:pt x="509" y="389"/>
                    </a:lnTo>
                    <a:lnTo>
                      <a:pt x="507" y="389"/>
                    </a:lnTo>
                    <a:lnTo>
                      <a:pt x="507" y="387"/>
                    </a:lnTo>
                    <a:lnTo>
                      <a:pt x="507" y="389"/>
                    </a:lnTo>
                    <a:lnTo>
                      <a:pt x="507" y="387"/>
                    </a:lnTo>
                    <a:lnTo>
                      <a:pt x="507" y="389"/>
                    </a:lnTo>
                    <a:lnTo>
                      <a:pt x="505" y="389"/>
                    </a:lnTo>
                    <a:lnTo>
                      <a:pt x="507" y="389"/>
                    </a:lnTo>
                    <a:lnTo>
                      <a:pt x="505" y="390"/>
                    </a:lnTo>
                    <a:lnTo>
                      <a:pt x="505" y="389"/>
                    </a:lnTo>
                    <a:lnTo>
                      <a:pt x="505" y="387"/>
                    </a:lnTo>
                    <a:lnTo>
                      <a:pt x="503" y="387"/>
                    </a:lnTo>
                    <a:lnTo>
                      <a:pt x="505" y="387"/>
                    </a:lnTo>
                    <a:lnTo>
                      <a:pt x="503" y="387"/>
                    </a:lnTo>
                    <a:lnTo>
                      <a:pt x="501" y="385"/>
                    </a:lnTo>
                    <a:lnTo>
                      <a:pt x="501" y="383"/>
                    </a:lnTo>
                    <a:lnTo>
                      <a:pt x="499" y="383"/>
                    </a:lnTo>
                    <a:lnTo>
                      <a:pt x="498" y="383"/>
                    </a:lnTo>
                    <a:lnTo>
                      <a:pt x="499" y="383"/>
                    </a:lnTo>
                    <a:lnTo>
                      <a:pt x="498" y="383"/>
                    </a:lnTo>
                    <a:lnTo>
                      <a:pt x="496" y="383"/>
                    </a:lnTo>
                    <a:lnTo>
                      <a:pt x="496" y="381"/>
                    </a:lnTo>
                    <a:lnTo>
                      <a:pt x="498" y="381"/>
                    </a:lnTo>
                    <a:lnTo>
                      <a:pt x="498" y="379"/>
                    </a:lnTo>
                    <a:lnTo>
                      <a:pt x="496" y="379"/>
                    </a:lnTo>
                    <a:lnTo>
                      <a:pt x="494" y="379"/>
                    </a:lnTo>
                    <a:lnTo>
                      <a:pt x="496" y="379"/>
                    </a:lnTo>
                    <a:lnTo>
                      <a:pt x="494" y="379"/>
                    </a:lnTo>
                    <a:lnTo>
                      <a:pt x="496" y="379"/>
                    </a:lnTo>
                    <a:lnTo>
                      <a:pt x="494" y="379"/>
                    </a:lnTo>
                    <a:lnTo>
                      <a:pt x="492" y="379"/>
                    </a:lnTo>
                    <a:lnTo>
                      <a:pt x="490" y="379"/>
                    </a:lnTo>
                    <a:lnTo>
                      <a:pt x="490" y="377"/>
                    </a:lnTo>
                    <a:lnTo>
                      <a:pt x="488" y="377"/>
                    </a:lnTo>
                    <a:lnTo>
                      <a:pt x="486" y="377"/>
                    </a:lnTo>
                    <a:lnTo>
                      <a:pt x="488" y="377"/>
                    </a:lnTo>
                    <a:lnTo>
                      <a:pt x="486" y="377"/>
                    </a:lnTo>
                    <a:lnTo>
                      <a:pt x="486" y="375"/>
                    </a:lnTo>
                    <a:lnTo>
                      <a:pt x="486" y="377"/>
                    </a:lnTo>
                    <a:lnTo>
                      <a:pt x="486" y="375"/>
                    </a:lnTo>
                    <a:lnTo>
                      <a:pt x="484" y="375"/>
                    </a:lnTo>
                    <a:lnTo>
                      <a:pt x="482" y="375"/>
                    </a:lnTo>
                    <a:lnTo>
                      <a:pt x="484" y="375"/>
                    </a:lnTo>
                    <a:lnTo>
                      <a:pt x="484" y="377"/>
                    </a:lnTo>
                    <a:lnTo>
                      <a:pt x="482" y="377"/>
                    </a:lnTo>
                    <a:lnTo>
                      <a:pt x="480" y="377"/>
                    </a:lnTo>
                    <a:lnTo>
                      <a:pt x="482" y="377"/>
                    </a:lnTo>
                    <a:lnTo>
                      <a:pt x="480" y="377"/>
                    </a:lnTo>
                    <a:lnTo>
                      <a:pt x="482" y="377"/>
                    </a:lnTo>
                    <a:lnTo>
                      <a:pt x="480" y="377"/>
                    </a:lnTo>
                    <a:lnTo>
                      <a:pt x="482" y="379"/>
                    </a:lnTo>
                    <a:lnTo>
                      <a:pt x="480" y="379"/>
                    </a:lnTo>
                    <a:lnTo>
                      <a:pt x="482" y="379"/>
                    </a:lnTo>
                    <a:lnTo>
                      <a:pt x="480" y="379"/>
                    </a:lnTo>
                    <a:lnTo>
                      <a:pt x="480" y="377"/>
                    </a:lnTo>
                    <a:lnTo>
                      <a:pt x="478" y="377"/>
                    </a:lnTo>
                    <a:lnTo>
                      <a:pt x="476" y="375"/>
                    </a:lnTo>
                    <a:lnTo>
                      <a:pt x="476" y="373"/>
                    </a:lnTo>
                    <a:lnTo>
                      <a:pt x="476" y="375"/>
                    </a:lnTo>
                    <a:lnTo>
                      <a:pt x="478" y="375"/>
                    </a:lnTo>
                    <a:lnTo>
                      <a:pt x="478" y="377"/>
                    </a:lnTo>
                    <a:lnTo>
                      <a:pt x="476" y="377"/>
                    </a:lnTo>
                    <a:lnTo>
                      <a:pt x="478" y="377"/>
                    </a:lnTo>
                    <a:lnTo>
                      <a:pt x="476" y="377"/>
                    </a:lnTo>
                    <a:lnTo>
                      <a:pt x="475" y="377"/>
                    </a:lnTo>
                    <a:lnTo>
                      <a:pt x="473" y="377"/>
                    </a:lnTo>
                    <a:lnTo>
                      <a:pt x="471" y="375"/>
                    </a:lnTo>
                    <a:lnTo>
                      <a:pt x="471" y="373"/>
                    </a:lnTo>
                    <a:lnTo>
                      <a:pt x="471" y="375"/>
                    </a:lnTo>
                    <a:lnTo>
                      <a:pt x="471" y="373"/>
                    </a:lnTo>
                    <a:lnTo>
                      <a:pt x="473" y="373"/>
                    </a:lnTo>
                    <a:lnTo>
                      <a:pt x="471" y="373"/>
                    </a:lnTo>
                    <a:lnTo>
                      <a:pt x="473" y="373"/>
                    </a:lnTo>
                    <a:lnTo>
                      <a:pt x="473" y="371"/>
                    </a:lnTo>
                    <a:lnTo>
                      <a:pt x="473" y="369"/>
                    </a:lnTo>
                    <a:lnTo>
                      <a:pt x="473" y="371"/>
                    </a:lnTo>
                    <a:lnTo>
                      <a:pt x="471" y="371"/>
                    </a:lnTo>
                    <a:lnTo>
                      <a:pt x="471" y="369"/>
                    </a:lnTo>
                    <a:lnTo>
                      <a:pt x="471" y="367"/>
                    </a:lnTo>
                    <a:lnTo>
                      <a:pt x="471" y="365"/>
                    </a:lnTo>
                    <a:lnTo>
                      <a:pt x="473" y="365"/>
                    </a:lnTo>
                    <a:lnTo>
                      <a:pt x="471" y="365"/>
                    </a:lnTo>
                    <a:lnTo>
                      <a:pt x="471" y="364"/>
                    </a:lnTo>
                    <a:lnTo>
                      <a:pt x="469" y="364"/>
                    </a:lnTo>
                    <a:lnTo>
                      <a:pt x="469" y="362"/>
                    </a:lnTo>
                    <a:lnTo>
                      <a:pt x="467" y="362"/>
                    </a:lnTo>
                    <a:lnTo>
                      <a:pt x="467" y="360"/>
                    </a:lnTo>
                    <a:lnTo>
                      <a:pt x="469" y="360"/>
                    </a:lnTo>
                    <a:lnTo>
                      <a:pt x="467" y="360"/>
                    </a:lnTo>
                    <a:lnTo>
                      <a:pt x="469" y="360"/>
                    </a:lnTo>
                    <a:lnTo>
                      <a:pt x="467" y="360"/>
                    </a:lnTo>
                    <a:lnTo>
                      <a:pt x="467" y="358"/>
                    </a:lnTo>
                    <a:lnTo>
                      <a:pt x="467" y="360"/>
                    </a:lnTo>
                    <a:lnTo>
                      <a:pt x="467" y="358"/>
                    </a:lnTo>
                    <a:lnTo>
                      <a:pt x="467" y="356"/>
                    </a:lnTo>
                    <a:lnTo>
                      <a:pt x="465" y="356"/>
                    </a:lnTo>
                    <a:lnTo>
                      <a:pt x="465" y="354"/>
                    </a:lnTo>
                    <a:lnTo>
                      <a:pt x="465" y="352"/>
                    </a:lnTo>
                    <a:lnTo>
                      <a:pt x="465" y="354"/>
                    </a:lnTo>
                    <a:lnTo>
                      <a:pt x="463" y="354"/>
                    </a:lnTo>
                    <a:lnTo>
                      <a:pt x="463" y="352"/>
                    </a:lnTo>
                    <a:lnTo>
                      <a:pt x="465" y="352"/>
                    </a:lnTo>
                    <a:lnTo>
                      <a:pt x="463" y="352"/>
                    </a:lnTo>
                    <a:lnTo>
                      <a:pt x="461" y="352"/>
                    </a:lnTo>
                    <a:lnTo>
                      <a:pt x="461" y="350"/>
                    </a:lnTo>
                    <a:lnTo>
                      <a:pt x="461" y="348"/>
                    </a:lnTo>
                    <a:lnTo>
                      <a:pt x="459" y="348"/>
                    </a:lnTo>
                    <a:lnTo>
                      <a:pt x="457" y="348"/>
                    </a:lnTo>
                    <a:lnTo>
                      <a:pt x="457" y="346"/>
                    </a:lnTo>
                    <a:lnTo>
                      <a:pt x="457" y="348"/>
                    </a:lnTo>
                    <a:lnTo>
                      <a:pt x="457" y="346"/>
                    </a:lnTo>
                    <a:lnTo>
                      <a:pt x="457" y="348"/>
                    </a:lnTo>
                    <a:lnTo>
                      <a:pt x="457" y="346"/>
                    </a:lnTo>
                    <a:lnTo>
                      <a:pt x="455" y="346"/>
                    </a:lnTo>
                    <a:lnTo>
                      <a:pt x="457" y="346"/>
                    </a:lnTo>
                    <a:lnTo>
                      <a:pt x="457" y="344"/>
                    </a:lnTo>
                    <a:lnTo>
                      <a:pt x="455" y="344"/>
                    </a:lnTo>
                    <a:lnTo>
                      <a:pt x="453" y="344"/>
                    </a:lnTo>
                    <a:lnTo>
                      <a:pt x="453" y="346"/>
                    </a:lnTo>
                    <a:lnTo>
                      <a:pt x="453" y="344"/>
                    </a:lnTo>
                    <a:lnTo>
                      <a:pt x="453" y="342"/>
                    </a:lnTo>
                    <a:lnTo>
                      <a:pt x="451" y="342"/>
                    </a:lnTo>
                    <a:lnTo>
                      <a:pt x="451" y="340"/>
                    </a:lnTo>
                    <a:lnTo>
                      <a:pt x="451" y="339"/>
                    </a:lnTo>
                    <a:lnTo>
                      <a:pt x="450" y="339"/>
                    </a:lnTo>
                    <a:lnTo>
                      <a:pt x="450" y="337"/>
                    </a:lnTo>
                    <a:lnTo>
                      <a:pt x="450" y="339"/>
                    </a:lnTo>
                    <a:lnTo>
                      <a:pt x="448" y="339"/>
                    </a:lnTo>
                    <a:lnTo>
                      <a:pt x="448" y="337"/>
                    </a:lnTo>
                    <a:lnTo>
                      <a:pt x="448" y="339"/>
                    </a:lnTo>
                    <a:lnTo>
                      <a:pt x="448" y="337"/>
                    </a:lnTo>
                    <a:lnTo>
                      <a:pt x="446" y="337"/>
                    </a:lnTo>
                    <a:lnTo>
                      <a:pt x="448" y="339"/>
                    </a:lnTo>
                    <a:lnTo>
                      <a:pt x="450" y="339"/>
                    </a:lnTo>
                    <a:lnTo>
                      <a:pt x="450" y="337"/>
                    </a:lnTo>
                    <a:lnTo>
                      <a:pt x="450" y="339"/>
                    </a:lnTo>
                    <a:lnTo>
                      <a:pt x="451" y="339"/>
                    </a:lnTo>
                    <a:lnTo>
                      <a:pt x="451" y="340"/>
                    </a:lnTo>
                    <a:lnTo>
                      <a:pt x="451" y="342"/>
                    </a:lnTo>
                    <a:lnTo>
                      <a:pt x="453" y="342"/>
                    </a:lnTo>
                    <a:lnTo>
                      <a:pt x="453" y="344"/>
                    </a:lnTo>
                    <a:lnTo>
                      <a:pt x="453" y="346"/>
                    </a:lnTo>
                    <a:lnTo>
                      <a:pt x="451" y="346"/>
                    </a:lnTo>
                    <a:lnTo>
                      <a:pt x="453" y="346"/>
                    </a:lnTo>
                    <a:lnTo>
                      <a:pt x="453" y="348"/>
                    </a:lnTo>
                    <a:lnTo>
                      <a:pt x="451" y="348"/>
                    </a:lnTo>
                    <a:lnTo>
                      <a:pt x="451" y="346"/>
                    </a:lnTo>
                    <a:lnTo>
                      <a:pt x="451" y="348"/>
                    </a:lnTo>
                    <a:lnTo>
                      <a:pt x="450" y="346"/>
                    </a:lnTo>
                    <a:lnTo>
                      <a:pt x="448" y="346"/>
                    </a:lnTo>
                    <a:lnTo>
                      <a:pt x="448" y="344"/>
                    </a:lnTo>
                    <a:lnTo>
                      <a:pt x="450" y="344"/>
                    </a:lnTo>
                    <a:lnTo>
                      <a:pt x="450" y="346"/>
                    </a:lnTo>
                    <a:lnTo>
                      <a:pt x="451" y="346"/>
                    </a:lnTo>
                    <a:lnTo>
                      <a:pt x="451" y="344"/>
                    </a:lnTo>
                    <a:lnTo>
                      <a:pt x="453" y="344"/>
                    </a:lnTo>
                    <a:lnTo>
                      <a:pt x="451" y="342"/>
                    </a:lnTo>
                    <a:lnTo>
                      <a:pt x="450" y="342"/>
                    </a:lnTo>
                    <a:lnTo>
                      <a:pt x="450" y="344"/>
                    </a:lnTo>
                    <a:lnTo>
                      <a:pt x="448" y="344"/>
                    </a:lnTo>
                    <a:lnTo>
                      <a:pt x="448" y="342"/>
                    </a:lnTo>
                    <a:lnTo>
                      <a:pt x="448" y="340"/>
                    </a:lnTo>
                    <a:lnTo>
                      <a:pt x="448" y="339"/>
                    </a:lnTo>
                    <a:lnTo>
                      <a:pt x="448" y="340"/>
                    </a:lnTo>
                    <a:lnTo>
                      <a:pt x="448" y="339"/>
                    </a:lnTo>
                    <a:lnTo>
                      <a:pt x="448" y="340"/>
                    </a:lnTo>
                    <a:lnTo>
                      <a:pt x="446" y="342"/>
                    </a:lnTo>
                    <a:lnTo>
                      <a:pt x="446" y="344"/>
                    </a:lnTo>
                    <a:lnTo>
                      <a:pt x="446" y="342"/>
                    </a:lnTo>
                    <a:lnTo>
                      <a:pt x="444" y="340"/>
                    </a:lnTo>
                    <a:lnTo>
                      <a:pt x="444" y="342"/>
                    </a:lnTo>
                    <a:lnTo>
                      <a:pt x="442" y="342"/>
                    </a:lnTo>
                    <a:lnTo>
                      <a:pt x="442" y="340"/>
                    </a:lnTo>
                    <a:lnTo>
                      <a:pt x="440" y="340"/>
                    </a:lnTo>
                    <a:lnTo>
                      <a:pt x="440" y="342"/>
                    </a:lnTo>
                    <a:lnTo>
                      <a:pt x="438" y="342"/>
                    </a:lnTo>
                    <a:lnTo>
                      <a:pt x="438" y="340"/>
                    </a:lnTo>
                    <a:lnTo>
                      <a:pt x="436" y="339"/>
                    </a:lnTo>
                    <a:lnTo>
                      <a:pt x="434" y="339"/>
                    </a:lnTo>
                    <a:lnTo>
                      <a:pt x="434" y="340"/>
                    </a:lnTo>
                    <a:lnTo>
                      <a:pt x="432" y="340"/>
                    </a:lnTo>
                    <a:lnTo>
                      <a:pt x="432" y="339"/>
                    </a:lnTo>
                    <a:lnTo>
                      <a:pt x="434" y="339"/>
                    </a:lnTo>
                    <a:lnTo>
                      <a:pt x="436" y="339"/>
                    </a:lnTo>
                    <a:lnTo>
                      <a:pt x="438" y="339"/>
                    </a:lnTo>
                    <a:lnTo>
                      <a:pt x="438" y="340"/>
                    </a:lnTo>
                    <a:lnTo>
                      <a:pt x="440" y="340"/>
                    </a:lnTo>
                    <a:lnTo>
                      <a:pt x="440" y="339"/>
                    </a:lnTo>
                    <a:lnTo>
                      <a:pt x="440" y="340"/>
                    </a:lnTo>
                    <a:lnTo>
                      <a:pt x="442" y="340"/>
                    </a:lnTo>
                    <a:lnTo>
                      <a:pt x="442" y="339"/>
                    </a:lnTo>
                    <a:lnTo>
                      <a:pt x="444" y="339"/>
                    </a:lnTo>
                    <a:lnTo>
                      <a:pt x="442" y="339"/>
                    </a:lnTo>
                    <a:lnTo>
                      <a:pt x="442" y="337"/>
                    </a:lnTo>
                    <a:lnTo>
                      <a:pt x="442" y="335"/>
                    </a:lnTo>
                    <a:lnTo>
                      <a:pt x="442" y="337"/>
                    </a:lnTo>
                    <a:lnTo>
                      <a:pt x="442" y="339"/>
                    </a:lnTo>
                    <a:lnTo>
                      <a:pt x="444" y="339"/>
                    </a:lnTo>
                    <a:lnTo>
                      <a:pt x="442" y="339"/>
                    </a:lnTo>
                    <a:lnTo>
                      <a:pt x="440" y="340"/>
                    </a:lnTo>
                    <a:lnTo>
                      <a:pt x="440" y="339"/>
                    </a:lnTo>
                    <a:lnTo>
                      <a:pt x="440" y="340"/>
                    </a:lnTo>
                    <a:lnTo>
                      <a:pt x="438" y="340"/>
                    </a:lnTo>
                    <a:lnTo>
                      <a:pt x="438" y="339"/>
                    </a:lnTo>
                    <a:lnTo>
                      <a:pt x="436" y="339"/>
                    </a:lnTo>
                    <a:lnTo>
                      <a:pt x="434" y="339"/>
                    </a:lnTo>
                    <a:lnTo>
                      <a:pt x="432" y="339"/>
                    </a:lnTo>
                    <a:lnTo>
                      <a:pt x="432" y="340"/>
                    </a:lnTo>
                    <a:lnTo>
                      <a:pt x="432" y="339"/>
                    </a:lnTo>
                    <a:lnTo>
                      <a:pt x="434" y="339"/>
                    </a:lnTo>
                    <a:lnTo>
                      <a:pt x="436" y="337"/>
                    </a:lnTo>
                    <a:lnTo>
                      <a:pt x="436" y="339"/>
                    </a:lnTo>
                    <a:lnTo>
                      <a:pt x="436" y="337"/>
                    </a:lnTo>
                    <a:lnTo>
                      <a:pt x="436" y="339"/>
                    </a:lnTo>
                    <a:lnTo>
                      <a:pt x="436" y="337"/>
                    </a:lnTo>
                    <a:lnTo>
                      <a:pt x="434" y="337"/>
                    </a:lnTo>
                    <a:lnTo>
                      <a:pt x="432" y="337"/>
                    </a:lnTo>
                    <a:lnTo>
                      <a:pt x="432" y="335"/>
                    </a:lnTo>
                    <a:lnTo>
                      <a:pt x="432" y="333"/>
                    </a:lnTo>
                    <a:lnTo>
                      <a:pt x="432" y="335"/>
                    </a:lnTo>
                    <a:lnTo>
                      <a:pt x="430" y="335"/>
                    </a:lnTo>
                    <a:lnTo>
                      <a:pt x="428" y="335"/>
                    </a:lnTo>
                    <a:lnTo>
                      <a:pt x="430" y="335"/>
                    </a:lnTo>
                    <a:lnTo>
                      <a:pt x="430" y="333"/>
                    </a:lnTo>
                    <a:lnTo>
                      <a:pt x="432" y="333"/>
                    </a:lnTo>
                    <a:lnTo>
                      <a:pt x="430" y="333"/>
                    </a:lnTo>
                    <a:lnTo>
                      <a:pt x="432" y="333"/>
                    </a:lnTo>
                    <a:lnTo>
                      <a:pt x="432" y="331"/>
                    </a:lnTo>
                    <a:lnTo>
                      <a:pt x="434" y="331"/>
                    </a:lnTo>
                    <a:lnTo>
                      <a:pt x="432" y="331"/>
                    </a:lnTo>
                    <a:lnTo>
                      <a:pt x="432" y="333"/>
                    </a:lnTo>
                    <a:lnTo>
                      <a:pt x="432" y="331"/>
                    </a:lnTo>
                    <a:lnTo>
                      <a:pt x="430" y="331"/>
                    </a:lnTo>
                    <a:lnTo>
                      <a:pt x="430" y="333"/>
                    </a:lnTo>
                    <a:lnTo>
                      <a:pt x="432" y="333"/>
                    </a:lnTo>
                    <a:lnTo>
                      <a:pt x="430" y="333"/>
                    </a:lnTo>
                    <a:lnTo>
                      <a:pt x="430" y="335"/>
                    </a:lnTo>
                    <a:lnTo>
                      <a:pt x="430" y="333"/>
                    </a:lnTo>
                    <a:lnTo>
                      <a:pt x="430" y="335"/>
                    </a:lnTo>
                    <a:lnTo>
                      <a:pt x="428" y="335"/>
                    </a:lnTo>
                    <a:lnTo>
                      <a:pt x="430" y="335"/>
                    </a:lnTo>
                    <a:lnTo>
                      <a:pt x="428" y="335"/>
                    </a:lnTo>
                    <a:lnTo>
                      <a:pt x="428" y="337"/>
                    </a:lnTo>
                    <a:lnTo>
                      <a:pt x="428" y="335"/>
                    </a:lnTo>
                    <a:lnTo>
                      <a:pt x="426" y="335"/>
                    </a:lnTo>
                    <a:lnTo>
                      <a:pt x="426" y="333"/>
                    </a:lnTo>
                    <a:lnTo>
                      <a:pt x="425" y="333"/>
                    </a:lnTo>
                    <a:lnTo>
                      <a:pt x="425" y="331"/>
                    </a:lnTo>
                    <a:lnTo>
                      <a:pt x="426" y="331"/>
                    </a:lnTo>
                    <a:lnTo>
                      <a:pt x="426" y="329"/>
                    </a:lnTo>
                    <a:lnTo>
                      <a:pt x="425" y="329"/>
                    </a:lnTo>
                    <a:lnTo>
                      <a:pt x="426" y="327"/>
                    </a:lnTo>
                    <a:lnTo>
                      <a:pt x="425" y="325"/>
                    </a:lnTo>
                    <a:lnTo>
                      <a:pt x="426" y="325"/>
                    </a:lnTo>
                    <a:lnTo>
                      <a:pt x="426" y="327"/>
                    </a:lnTo>
                    <a:lnTo>
                      <a:pt x="426" y="329"/>
                    </a:lnTo>
                    <a:lnTo>
                      <a:pt x="426" y="331"/>
                    </a:lnTo>
                    <a:lnTo>
                      <a:pt x="426" y="329"/>
                    </a:lnTo>
                    <a:lnTo>
                      <a:pt x="426" y="327"/>
                    </a:lnTo>
                    <a:lnTo>
                      <a:pt x="426" y="325"/>
                    </a:lnTo>
                    <a:lnTo>
                      <a:pt x="426" y="323"/>
                    </a:lnTo>
                    <a:lnTo>
                      <a:pt x="426" y="325"/>
                    </a:lnTo>
                    <a:lnTo>
                      <a:pt x="426" y="323"/>
                    </a:lnTo>
                    <a:lnTo>
                      <a:pt x="428" y="323"/>
                    </a:lnTo>
                    <a:lnTo>
                      <a:pt x="430" y="323"/>
                    </a:lnTo>
                    <a:lnTo>
                      <a:pt x="430" y="321"/>
                    </a:lnTo>
                    <a:lnTo>
                      <a:pt x="428" y="321"/>
                    </a:lnTo>
                    <a:lnTo>
                      <a:pt x="428" y="323"/>
                    </a:lnTo>
                    <a:lnTo>
                      <a:pt x="428" y="321"/>
                    </a:lnTo>
                    <a:lnTo>
                      <a:pt x="426" y="321"/>
                    </a:lnTo>
                    <a:lnTo>
                      <a:pt x="426" y="319"/>
                    </a:lnTo>
                    <a:lnTo>
                      <a:pt x="428" y="319"/>
                    </a:lnTo>
                    <a:lnTo>
                      <a:pt x="428" y="317"/>
                    </a:lnTo>
                    <a:lnTo>
                      <a:pt x="428" y="315"/>
                    </a:lnTo>
                    <a:lnTo>
                      <a:pt x="428" y="314"/>
                    </a:lnTo>
                    <a:lnTo>
                      <a:pt x="428" y="312"/>
                    </a:lnTo>
                    <a:lnTo>
                      <a:pt x="430" y="312"/>
                    </a:lnTo>
                    <a:lnTo>
                      <a:pt x="430" y="310"/>
                    </a:lnTo>
                    <a:lnTo>
                      <a:pt x="432" y="308"/>
                    </a:lnTo>
                    <a:lnTo>
                      <a:pt x="434" y="308"/>
                    </a:lnTo>
                    <a:lnTo>
                      <a:pt x="432" y="308"/>
                    </a:lnTo>
                    <a:lnTo>
                      <a:pt x="434" y="308"/>
                    </a:lnTo>
                    <a:lnTo>
                      <a:pt x="436" y="308"/>
                    </a:lnTo>
                    <a:lnTo>
                      <a:pt x="436" y="306"/>
                    </a:lnTo>
                    <a:lnTo>
                      <a:pt x="438" y="306"/>
                    </a:lnTo>
                    <a:lnTo>
                      <a:pt x="440" y="306"/>
                    </a:lnTo>
                    <a:lnTo>
                      <a:pt x="442" y="308"/>
                    </a:lnTo>
                    <a:lnTo>
                      <a:pt x="442" y="306"/>
                    </a:lnTo>
                    <a:lnTo>
                      <a:pt x="442" y="308"/>
                    </a:lnTo>
                    <a:lnTo>
                      <a:pt x="442" y="306"/>
                    </a:lnTo>
                    <a:lnTo>
                      <a:pt x="444" y="306"/>
                    </a:lnTo>
                    <a:lnTo>
                      <a:pt x="446" y="306"/>
                    </a:lnTo>
                    <a:lnTo>
                      <a:pt x="448" y="306"/>
                    </a:lnTo>
                    <a:lnTo>
                      <a:pt x="448" y="304"/>
                    </a:lnTo>
                    <a:lnTo>
                      <a:pt x="446" y="304"/>
                    </a:lnTo>
                    <a:lnTo>
                      <a:pt x="446" y="302"/>
                    </a:lnTo>
                    <a:lnTo>
                      <a:pt x="444" y="302"/>
                    </a:lnTo>
                    <a:lnTo>
                      <a:pt x="446" y="302"/>
                    </a:lnTo>
                    <a:lnTo>
                      <a:pt x="446" y="300"/>
                    </a:lnTo>
                    <a:lnTo>
                      <a:pt x="446" y="298"/>
                    </a:lnTo>
                    <a:lnTo>
                      <a:pt x="444" y="298"/>
                    </a:lnTo>
                    <a:lnTo>
                      <a:pt x="444" y="296"/>
                    </a:lnTo>
                    <a:lnTo>
                      <a:pt x="442" y="296"/>
                    </a:lnTo>
                    <a:lnTo>
                      <a:pt x="442" y="294"/>
                    </a:lnTo>
                    <a:lnTo>
                      <a:pt x="444" y="294"/>
                    </a:lnTo>
                    <a:lnTo>
                      <a:pt x="442" y="294"/>
                    </a:lnTo>
                    <a:lnTo>
                      <a:pt x="444" y="294"/>
                    </a:lnTo>
                    <a:lnTo>
                      <a:pt x="442" y="292"/>
                    </a:lnTo>
                    <a:lnTo>
                      <a:pt x="444" y="292"/>
                    </a:lnTo>
                    <a:lnTo>
                      <a:pt x="444" y="290"/>
                    </a:lnTo>
                    <a:lnTo>
                      <a:pt x="444" y="289"/>
                    </a:lnTo>
                    <a:lnTo>
                      <a:pt x="442" y="289"/>
                    </a:lnTo>
                    <a:lnTo>
                      <a:pt x="440" y="289"/>
                    </a:lnTo>
                    <a:lnTo>
                      <a:pt x="442" y="289"/>
                    </a:lnTo>
                    <a:lnTo>
                      <a:pt x="440" y="289"/>
                    </a:lnTo>
                    <a:lnTo>
                      <a:pt x="440" y="287"/>
                    </a:lnTo>
                    <a:lnTo>
                      <a:pt x="440" y="285"/>
                    </a:lnTo>
                    <a:lnTo>
                      <a:pt x="440" y="283"/>
                    </a:lnTo>
                    <a:lnTo>
                      <a:pt x="440" y="281"/>
                    </a:lnTo>
                    <a:lnTo>
                      <a:pt x="440" y="283"/>
                    </a:lnTo>
                    <a:lnTo>
                      <a:pt x="440" y="281"/>
                    </a:lnTo>
                    <a:lnTo>
                      <a:pt x="442" y="281"/>
                    </a:lnTo>
                    <a:lnTo>
                      <a:pt x="440" y="281"/>
                    </a:lnTo>
                    <a:lnTo>
                      <a:pt x="442" y="281"/>
                    </a:lnTo>
                    <a:lnTo>
                      <a:pt x="442" y="279"/>
                    </a:lnTo>
                    <a:lnTo>
                      <a:pt x="442" y="277"/>
                    </a:lnTo>
                    <a:lnTo>
                      <a:pt x="442" y="275"/>
                    </a:lnTo>
                    <a:lnTo>
                      <a:pt x="442" y="273"/>
                    </a:lnTo>
                    <a:lnTo>
                      <a:pt x="440" y="273"/>
                    </a:lnTo>
                    <a:lnTo>
                      <a:pt x="440" y="271"/>
                    </a:lnTo>
                    <a:lnTo>
                      <a:pt x="442" y="273"/>
                    </a:lnTo>
                    <a:lnTo>
                      <a:pt x="440" y="271"/>
                    </a:lnTo>
                    <a:lnTo>
                      <a:pt x="442" y="271"/>
                    </a:lnTo>
                    <a:lnTo>
                      <a:pt x="442" y="267"/>
                    </a:lnTo>
                    <a:lnTo>
                      <a:pt x="442" y="265"/>
                    </a:lnTo>
                    <a:lnTo>
                      <a:pt x="440" y="265"/>
                    </a:lnTo>
                    <a:lnTo>
                      <a:pt x="438" y="264"/>
                    </a:lnTo>
                    <a:lnTo>
                      <a:pt x="436" y="264"/>
                    </a:lnTo>
                    <a:lnTo>
                      <a:pt x="434" y="264"/>
                    </a:lnTo>
                    <a:lnTo>
                      <a:pt x="434" y="262"/>
                    </a:lnTo>
                    <a:lnTo>
                      <a:pt x="432" y="262"/>
                    </a:lnTo>
                    <a:lnTo>
                      <a:pt x="432" y="260"/>
                    </a:lnTo>
                    <a:lnTo>
                      <a:pt x="430" y="258"/>
                    </a:lnTo>
                    <a:lnTo>
                      <a:pt x="428" y="258"/>
                    </a:lnTo>
                    <a:lnTo>
                      <a:pt x="426" y="258"/>
                    </a:lnTo>
                    <a:lnTo>
                      <a:pt x="426" y="256"/>
                    </a:lnTo>
                    <a:lnTo>
                      <a:pt x="425" y="256"/>
                    </a:lnTo>
                    <a:lnTo>
                      <a:pt x="425" y="254"/>
                    </a:lnTo>
                    <a:lnTo>
                      <a:pt x="426" y="254"/>
                    </a:lnTo>
                    <a:lnTo>
                      <a:pt x="426" y="256"/>
                    </a:lnTo>
                    <a:lnTo>
                      <a:pt x="426" y="254"/>
                    </a:lnTo>
                    <a:lnTo>
                      <a:pt x="428" y="254"/>
                    </a:lnTo>
                    <a:lnTo>
                      <a:pt x="426" y="252"/>
                    </a:lnTo>
                    <a:lnTo>
                      <a:pt x="428" y="252"/>
                    </a:lnTo>
                    <a:lnTo>
                      <a:pt x="426" y="252"/>
                    </a:lnTo>
                    <a:lnTo>
                      <a:pt x="428" y="254"/>
                    </a:lnTo>
                    <a:lnTo>
                      <a:pt x="426" y="254"/>
                    </a:lnTo>
                    <a:lnTo>
                      <a:pt x="426" y="256"/>
                    </a:lnTo>
                    <a:lnTo>
                      <a:pt x="426" y="254"/>
                    </a:lnTo>
                    <a:lnTo>
                      <a:pt x="425" y="254"/>
                    </a:lnTo>
                    <a:lnTo>
                      <a:pt x="425" y="256"/>
                    </a:lnTo>
                    <a:lnTo>
                      <a:pt x="423" y="254"/>
                    </a:lnTo>
                    <a:lnTo>
                      <a:pt x="425" y="252"/>
                    </a:lnTo>
                    <a:lnTo>
                      <a:pt x="426" y="252"/>
                    </a:lnTo>
                    <a:lnTo>
                      <a:pt x="426" y="250"/>
                    </a:lnTo>
                    <a:lnTo>
                      <a:pt x="425" y="250"/>
                    </a:lnTo>
                    <a:lnTo>
                      <a:pt x="426" y="250"/>
                    </a:lnTo>
                    <a:lnTo>
                      <a:pt x="426" y="248"/>
                    </a:lnTo>
                    <a:lnTo>
                      <a:pt x="428" y="248"/>
                    </a:lnTo>
                    <a:lnTo>
                      <a:pt x="428" y="250"/>
                    </a:lnTo>
                    <a:lnTo>
                      <a:pt x="428" y="248"/>
                    </a:lnTo>
                    <a:lnTo>
                      <a:pt x="430" y="248"/>
                    </a:lnTo>
                    <a:lnTo>
                      <a:pt x="428" y="248"/>
                    </a:lnTo>
                    <a:lnTo>
                      <a:pt x="428" y="250"/>
                    </a:lnTo>
                    <a:lnTo>
                      <a:pt x="428" y="248"/>
                    </a:lnTo>
                    <a:lnTo>
                      <a:pt x="426" y="248"/>
                    </a:lnTo>
                    <a:lnTo>
                      <a:pt x="426" y="250"/>
                    </a:lnTo>
                    <a:lnTo>
                      <a:pt x="425" y="250"/>
                    </a:lnTo>
                    <a:lnTo>
                      <a:pt x="425" y="248"/>
                    </a:lnTo>
                    <a:lnTo>
                      <a:pt x="426" y="248"/>
                    </a:lnTo>
                    <a:lnTo>
                      <a:pt x="425" y="248"/>
                    </a:lnTo>
                    <a:lnTo>
                      <a:pt x="426" y="248"/>
                    </a:lnTo>
                    <a:lnTo>
                      <a:pt x="425" y="248"/>
                    </a:lnTo>
                    <a:lnTo>
                      <a:pt x="426" y="246"/>
                    </a:lnTo>
                    <a:lnTo>
                      <a:pt x="428" y="246"/>
                    </a:lnTo>
                    <a:lnTo>
                      <a:pt x="428" y="244"/>
                    </a:lnTo>
                    <a:lnTo>
                      <a:pt x="428" y="246"/>
                    </a:lnTo>
                    <a:lnTo>
                      <a:pt x="428" y="244"/>
                    </a:lnTo>
                    <a:lnTo>
                      <a:pt x="428" y="246"/>
                    </a:lnTo>
                    <a:lnTo>
                      <a:pt x="426" y="246"/>
                    </a:lnTo>
                    <a:lnTo>
                      <a:pt x="425" y="248"/>
                    </a:lnTo>
                    <a:lnTo>
                      <a:pt x="426" y="248"/>
                    </a:lnTo>
                    <a:lnTo>
                      <a:pt x="425" y="248"/>
                    </a:lnTo>
                    <a:lnTo>
                      <a:pt x="425" y="250"/>
                    </a:lnTo>
                    <a:lnTo>
                      <a:pt x="425" y="248"/>
                    </a:lnTo>
                    <a:lnTo>
                      <a:pt x="423" y="248"/>
                    </a:lnTo>
                    <a:lnTo>
                      <a:pt x="421" y="248"/>
                    </a:lnTo>
                    <a:lnTo>
                      <a:pt x="423" y="248"/>
                    </a:lnTo>
                    <a:lnTo>
                      <a:pt x="421" y="248"/>
                    </a:lnTo>
                    <a:lnTo>
                      <a:pt x="421" y="246"/>
                    </a:lnTo>
                    <a:lnTo>
                      <a:pt x="421" y="248"/>
                    </a:lnTo>
                    <a:lnTo>
                      <a:pt x="421" y="246"/>
                    </a:lnTo>
                    <a:lnTo>
                      <a:pt x="419" y="246"/>
                    </a:lnTo>
                    <a:lnTo>
                      <a:pt x="419" y="248"/>
                    </a:lnTo>
                    <a:lnTo>
                      <a:pt x="417" y="246"/>
                    </a:lnTo>
                    <a:lnTo>
                      <a:pt x="415" y="246"/>
                    </a:lnTo>
                    <a:lnTo>
                      <a:pt x="417" y="246"/>
                    </a:lnTo>
                    <a:lnTo>
                      <a:pt x="415" y="248"/>
                    </a:lnTo>
                    <a:lnTo>
                      <a:pt x="415" y="246"/>
                    </a:lnTo>
                    <a:lnTo>
                      <a:pt x="415" y="248"/>
                    </a:lnTo>
                    <a:lnTo>
                      <a:pt x="415" y="246"/>
                    </a:lnTo>
                    <a:lnTo>
                      <a:pt x="415" y="244"/>
                    </a:lnTo>
                    <a:lnTo>
                      <a:pt x="417" y="244"/>
                    </a:lnTo>
                    <a:lnTo>
                      <a:pt x="415" y="244"/>
                    </a:lnTo>
                    <a:lnTo>
                      <a:pt x="417" y="244"/>
                    </a:lnTo>
                    <a:lnTo>
                      <a:pt x="415" y="244"/>
                    </a:lnTo>
                    <a:lnTo>
                      <a:pt x="417" y="242"/>
                    </a:lnTo>
                    <a:lnTo>
                      <a:pt x="419" y="242"/>
                    </a:lnTo>
                    <a:lnTo>
                      <a:pt x="417" y="242"/>
                    </a:lnTo>
                    <a:lnTo>
                      <a:pt x="415" y="242"/>
                    </a:lnTo>
                    <a:lnTo>
                      <a:pt x="415" y="244"/>
                    </a:lnTo>
                    <a:lnTo>
                      <a:pt x="417" y="244"/>
                    </a:lnTo>
                    <a:lnTo>
                      <a:pt x="415" y="244"/>
                    </a:lnTo>
                    <a:lnTo>
                      <a:pt x="417" y="244"/>
                    </a:lnTo>
                    <a:lnTo>
                      <a:pt x="415" y="244"/>
                    </a:lnTo>
                    <a:lnTo>
                      <a:pt x="415" y="246"/>
                    </a:lnTo>
                    <a:lnTo>
                      <a:pt x="413" y="246"/>
                    </a:lnTo>
                    <a:lnTo>
                      <a:pt x="415" y="244"/>
                    </a:lnTo>
                    <a:lnTo>
                      <a:pt x="413" y="244"/>
                    </a:lnTo>
                    <a:lnTo>
                      <a:pt x="411" y="244"/>
                    </a:lnTo>
                    <a:lnTo>
                      <a:pt x="413" y="244"/>
                    </a:lnTo>
                    <a:lnTo>
                      <a:pt x="411" y="244"/>
                    </a:lnTo>
                    <a:lnTo>
                      <a:pt x="411" y="242"/>
                    </a:lnTo>
                    <a:lnTo>
                      <a:pt x="413" y="242"/>
                    </a:lnTo>
                    <a:lnTo>
                      <a:pt x="411" y="242"/>
                    </a:lnTo>
                    <a:lnTo>
                      <a:pt x="413" y="242"/>
                    </a:lnTo>
                    <a:lnTo>
                      <a:pt x="411" y="242"/>
                    </a:lnTo>
                    <a:lnTo>
                      <a:pt x="409" y="240"/>
                    </a:lnTo>
                    <a:lnTo>
                      <a:pt x="407" y="239"/>
                    </a:lnTo>
                    <a:lnTo>
                      <a:pt x="405" y="239"/>
                    </a:lnTo>
                    <a:lnTo>
                      <a:pt x="405" y="237"/>
                    </a:lnTo>
                    <a:lnTo>
                      <a:pt x="403" y="237"/>
                    </a:lnTo>
                    <a:lnTo>
                      <a:pt x="405" y="237"/>
                    </a:lnTo>
                    <a:lnTo>
                      <a:pt x="405" y="239"/>
                    </a:lnTo>
                    <a:lnTo>
                      <a:pt x="403" y="239"/>
                    </a:lnTo>
                    <a:lnTo>
                      <a:pt x="401" y="239"/>
                    </a:lnTo>
                    <a:lnTo>
                      <a:pt x="401" y="237"/>
                    </a:lnTo>
                    <a:lnTo>
                      <a:pt x="401" y="239"/>
                    </a:lnTo>
                    <a:lnTo>
                      <a:pt x="400" y="239"/>
                    </a:lnTo>
                    <a:lnTo>
                      <a:pt x="400" y="237"/>
                    </a:lnTo>
                    <a:lnTo>
                      <a:pt x="398" y="237"/>
                    </a:lnTo>
                    <a:lnTo>
                      <a:pt x="396" y="237"/>
                    </a:lnTo>
                    <a:lnTo>
                      <a:pt x="396" y="235"/>
                    </a:lnTo>
                    <a:lnTo>
                      <a:pt x="396" y="237"/>
                    </a:lnTo>
                    <a:lnTo>
                      <a:pt x="396" y="235"/>
                    </a:lnTo>
                    <a:lnTo>
                      <a:pt x="396" y="237"/>
                    </a:lnTo>
                    <a:lnTo>
                      <a:pt x="396" y="235"/>
                    </a:lnTo>
                    <a:lnTo>
                      <a:pt x="394" y="235"/>
                    </a:lnTo>
                    <a:lnTo>
                      <a:pt x="394" y="237"/>
                    </a:lnTo>
                    <a:lnTo>
                      <a:pt x="394" y="235"/>
                    </a:lnTo>
                    <a:lnTo>
                      <a:pt x="394" y="237"/>
                    </a:lnTo>
                    <a:lnTo>
                      <a:pt x="392" y="237"/>
                    </a:lnTo>
                    <a:lnTo>
                      <a:pt x="390" y="237"/>
                    </a:lnTo>
                    <a:lnTo>
                      <a:pt x="388" y="239"/>
                    </a:lnTo>
                    <a:lnTo>
                      <a:pt x="386" y="239"/>
                    </a:lnTo>
                    <a:lnTo>
                      <a:pt x="384" y="239"/>
                    </a:lnTo>
                    <a:lnTo>
                      <a:pt x="384" y="240"/>
                    </a:lnTo>
                    <a:lnTo>
                      <a:pt x="384" y="239"/>
                    </a:lnTo>
                    <a:lnTo>
                      <a:pt x="384" y="240"/>
                    </a:lnTo>
                    <a:lnTo>
                      <a:pt x="382" y="240"/>
                    </a:lnTo>
                    <a:lnTo>
                      <a:pt x="382" y="242"/>
                    </a:lnTo>
                    <a:lnTo>
                      <a:pt x="384" y="242"/>
                    </a:lnTo>
                    <a:lnTo>
                      <a:pt x="382" y="242"/>
                    </a:lnTo>
                    <a:lnTo>
                      <a:pt x="380" y="242"/>
                    </a:lnTo>
                    <a:lnTo>
                      <a:pt x="378" y="242"/>
                    </a:lnTo>
                    <a:lnTo>
                      <a:pt x="377" y="242"/>
                    </a:lnTo>
                    <a:lnTo>
                      <a:pt x="378" y="242"/>
                    </a:lnTo>
                    <a:lnTo>
                      <a:pt x="377" y="242"/>
                    </a:lnTo>
                    <a:lnTo>
                      <a:pt x="378" y="242"/>
                    </a:lnTo>
                    <a:lnTo>
                      <a:pt x="377" y="242"/>
                    </a:lnTo>
                    <a:lnTo>
                      <a:pt x="375" y="242"/>
                    </a:lnTo>
                    <a:lnTo>
                      <a:pt x="373" y="242"/>
                    </a:lnTo>
                    <a:lnTo>
                      <a:pt x="375" y="242"/>
                    </a:lnTo>
                    <a:lnTo>
                      <a:pt x="375" y="240"/>
                    </a:lnTo>
                    <a:lnTo>
                      <a:pt x="375" y="242"/>
                    </a:lnTo>
                    <a:lnTo>
                      <a:pt x="375" y="240"/>
                    </a:lnTo>
                    <a:lnTo>
                      <a:pt x="377" y="240"/>
                    </a:lnTo>
                    <a:lnTo>
                      <a:pt x="375" y="240"/>
                    </a:lnTo>
                    <a:lnTo>
                      <a:pt x="375" y="239"/>
                    </a:lnTo>
                    <a:lnTo>
                      <a:pt x="377" y="239"/>
                    </a:lnTo>
                    <a:lnTo>
                      <a:pt x="375" y="239"/>
                    </a:lnTo>
                    <a:lnTo>
                      <a:pt x="377" y="239"/>
                    </a:lnTo>
                    <a:lnTo>
                      <a:pt x="375" y="239"/>
                    </a:lnTo>
                    <a:lnTo>
                      <a:pt x="375" y="240"/>
                    </a:lnTo>
                    <a:lnTo>
                      <a:pt x="377" y="240"/>
                    </a:lnTo>
                    <a:lnTo>
                      <a:pt x="375" y="240"/>
                    </a:lnTo>
                    <a:lnTo>
                      <a:pt x="373" y="240"/>
                    </a:lnTo>
                    <a:lnTo>
                      <a:pt x="373" y="239"/>
                    </a:lnTo>
                    <a:lnTo>
                      <a:pt x="371" y="239"/>
                    </a:lnTo>
                    <a:lnTo>
                      <a:pt x="369" y="237"/>
                    </a:lnTo>
                    <a:lnTo>
                      <a:pt x="367" y="237"/>
                    </a:lnTo>
                    <a:lnTo>
                      <a:pt x="365" y="237"/>
                    </a:lnTo>
                    <a:lnTo>
                      <a:pt x="363" y="237"/>
                    </a:lnTo>
                    <a:lnTo>
                      <a:pt x="361" y="237"/>
                    </a:lnTo>
                    <a:lnTo>
                      <a:pt x="359" y="237"/>
                    </a:lnTo>
                    <a:lnTo>
                      <a:pt x="359" y="239"/>
                    </a:lnTo>
                    <a:lnTo>
                      <a:pt x="357" y="239"/>
                    </a:lnTo>
                    <a:lnTo>
                      <a:pt x="355" y="239"/>
                    </a:lnTo>
                    <a:lnTo>
                      <a:pt x="353" y="239"/>
                    </a:lnTo>
                    <a:lnTo>
                      <a:pt x="353" y="237"/>
                    </a:lnTo>
                    <a:lnTo>
                      <a:pt x="353" y="235"/>
                    </a:lnTo>
                    <a:lnTo>
                      <a:pt x="352" y="233"/>
                    </a:lnTo>
                    <a:lnTo>
                      <a:pt x="352" y="231"/>
                    </a:lnTo>
                    <a:lnTo>
                      <a:pt x="353" y="227"/>
                    </a:lnTo>
                    <a:lnTo>
                      <a:pt x="355" y="225"/>
                    </a:lnTo>
                    <a:lnTo>
                      <a:pt x="357" y="223"/>
                    </a:lnTo>
                    <a:lnTo>
                      <a:pt x="357" y="221"/>
                    </a:lnTo>
                    <a:lnTo>
                      <a:pt x="357" y="219"/>
                    </a:lnTo>
                    <a:lnTo>
                      <a:pt x="357" y="217"/>
                    </a:lnTo>
                    <a:lnTo>
                      <a:pt x="357" y="215"/>
                    </a:lnTo>
                    <a:lnTo>
                      <a:pt x="357" y="214"/>
                    </a:lnTo>
                    <a:lnTo>
                      <a:pt x="357" y="212"/>
                    </a:lnTo>
                    <a:lnTo>
                      <a:pt x="357" y="210"/>
                    </a:lnTo>
                    <a:lnTo>
                      <a:pt x="357" y="208"/>
                    </a:lnTo>
                    <a:lnTo>
                      <a:pt x="355" y="208"/>
                    </a:lnTo>
                    <a:lnTo>
                      <a:pt x="355" y="206"/>
                    </a:lnTo>
                    <a:lnTo>
                      <a:pt x="353" y="204"/>
                    </a:lnTo>
                    <a:lnTo>
                      <a:pt x="353" y="202"/>
                    </a:lnTo>
                    <a:lnTo>
                      <a:pt x="353" y="200"/>
                    </a:lnTo>
                    <a:lnTo>
                      <a:pt x="353" y="198"/>
                    </a:lnTo>
                    <a:lnTo>
                      <a:pt x="355" y="196"/>
                    </a:lnTo>
                    <a:lnTo>
                      <a:pt x="355" y="194"/>
                    </a:lnTo>
                    <a:lnTo>
                      <a:pt x="357" y="194"/>
                    </a:lnTo>
                    <a:lnTo>
                      <a:pt x="357" y="192"/>
                    </a:lnTo>
                    <a:lnTo>
                      <a:pt x="359" y="192"/>
                    </a:lnTo>
                    <a:lnTo>
                      <a:pt x="359" y="190"/>
                    </a:lnTo>
                    <a:lnTo>
                      <a:pt x="359" y="189"/>
                    </a:lnTo>
                    <a:lnTo>
                      <a:pt x="361" y="187"/>
                    </a:lnTo>
                    <a:lnTo>
                      <a:pt x="361" y="185"/>
                    </a:lnTo>
                    <a:lnTo>
                      <a:pt x="363" y="185"/>
                    </a:lnTo>
                    <a:lnTo>
                      <a:pt x="361" y="185"/>
                    </a:lnTo>
                    <a:lnTo>
                      <a:pt x="361" y="183"/>
                    </a:lnTo>
                    <a:lnTo>
                      <a:pt x="363" y="183"/>
                    </a:lnTo>
                    <a:lnTo>
                      <a:pt x="363" y="181"/>
                    </a:lnTo>
                    <a:lnTo>
                      <a:pt x="363" y="179"/>
                    </a:lnTo>
                    <a:lnTo>
                      <a:pt x="363" y="177"/>
                    </a:lnTo>
                    <a:lnTo>
                      <a:pt x="361" y="177"/>
                    </a:lnTo>
                    <a:lnTo>
                      <a:pt x="363" y="175"/>
                    </a:lnTo>
                    <a:lnTo>
                      <a:pt x="365" y="173"/>
                    </a:lnTo>
                    <a:lnTo>
                      <a:pt x="369" y="171"/>
                    </a:lnTo>
                    <a:lnTo>
                      <a:pt x="371" y="169"/>
                    </a:lnTo>
                    <a:lnTo>
                      <a:pt x="373" y="167"/>
                    </a:lnTo>
                    <a:lnTo>
                      <a:pt x="375" y="166"/>
                    </a:lnTo>
                    <a:lnTo>
                      <a:pt x="375" y="164"/>
                    </a:lnTo>
                    <a:lnTo>
                      <a:pt x="377" y="164"/>
                    </a:lnTo>
                    <a:lnTo>
                      <a:pt x="377" y="166"/>
                    </a:lnTo>
                    <a:lnTo>
                      <a:pt x="375" y="166"/>
                    </a:lnTo>
                    <a:lnTo>
                      <a:pt x="377" y="166"/>
                    </a:lnTo>
                    <a:lnTo>
                      <a:pt x="377" y="167"/>
                    </a:lnTo>
                    <a:lnTo>
                      <a:pt x="378" y="167"/>
                    </a:lnTo>
                    <a:lnTo>
                      <a:pt x="377" y="167"/>
                    </a:lnTo>
                    <a:lnTo>
                      <a:pt x="377" y="166"/>
                    </a:lnTo>
                    <a:lnTo>
                      <a:pt x="375" y="166"/>
                    </a:lnTo>
                    <a:lnTo>
                      <a:pt x="377" y="166"/>
                    </a:lnTo>
                    <a:lnTo>
                      <a:pt x="377" y="164"/>
                    </a:lnTo>
                    <a:lnTo>
                      <a:pt x="375" y="164"/>
                    </a:lnTo>
                    <a:lnTo>
                      <a:pt x="377" y="164"/>
                    </a:lnTo>
                    <a:lnTo>
                      <a:pt x="378" y="162"/>
                    </a:lnTo>
                    <a:lnTo>
                      <a:pt x="380" y="160"/>
                    </a:lnTo>
                    <a:lnTo>
                      <a:pt x="380" y="158"/>
                    </a:lnTo>
                    <a:lnTo>
                      <a:pt x="382" y="156"/>
                    </a:lnTo>
                    <a:lnTo>
                      <a:pt x="382" y="154"/>
                    </a:lnTo>
                    <a:lnTo>
                      <a:pt x="382" y="152"/>
                    </a:lnTo>
                    <a:lnTo>
                      <a:pt x="382" y="150"/>
                    </a:lnTo>
                    <a:lnTo>
                      <a:pt x="382" y="148"/>
                    </a:lnTo>
                    <a:lnTo>
                      <a:pt x="380" y="146"/>
                    </a:lnTo>
                    <a:lnTo>
                      <a:pt x="380" y="144"/>
                    </a:lnTo>
                    <a:lnTo>
                      <a:pt x="377" y="139"/>
                    </a:lnTo>
                    <a:lnTo>
                      <a:pt x="377" y="137"/>
                    </a:lnTo>
                    <a:lnTo>
                      <a:pt x="377" y="135"/>
                    </a:lnTo>
                    <a:lnTo>
                      <a:pt x="377" y="133"/>
                    </a:lnTo>
                    <a:lnTo>
                      <a:pt x="377" y="131"/>
                    </a:lnTo>
                    <a:lnTo>
                      <a:pt x="377" y="129"/>
                    </a:lnTo>
                    <a:lnTo>
                      <a:pt x="375" y="127"/>
                    </a:lnTo>
                    <a:lnTo>
                      <a:pt x="375" y="125"/>
                    </a:lnTo>
                    <a:lnTo>
                      <a:pt x="375" y="123"/>
                    </a:lnTo>
                    <a:lnTo>
                      <a:pt x="373" y="123"/>
                    </a:lnTo>
                    <a:lnTo>
                      <a:pt x="375" y="123"/>
                    </a:lnTo>
                    <a:lnTo>
                      <a:pt x="373" y="123"/>
                    </a:lnTo>
                    <a:lnTo>
                      <a:pt x="373" y="121"/>
                    </a:lnTo>
                    <a:lnTo>
                      <a:pt x="375" y="121"/>
                    </a:lnTo>
                    <a:lnTo>
                      <a:pt x="375" y="119"/>
                    </a:lnTo>
                    <a:lnTo>
                      <a:pt x="373" y="117"/>
                    </a:lnTo>
                    <a:lnTo>
                      <a:pt x="373" y="116"/>
                    </a:lnTo>
                    <a:lnTo>
                      <a:pt x="373" y="114"/>
                    </a:lnTo>
                    <a:lnTo>
                      <a:pt x="371" y="112"/>
                    </a:lnTo>
                    <a:lnTo>
                      <a:pt x="369" y="110"/>
                    </a:lnTo>
                    <a:lnTo>
                      <a:pt x="369" y="108"/>
                    </a:lnTo>
                    <a:lnTo>
                      <a:pt x="367" y="108"/>
                    </a:lnTo>
                    <a:lnTo>
                      <a:pt x="367" y="106"/>
                    </a:lnTo>
                    <a:lnTo>
                      <a:pt x="365" y="106"/>
                    </a:lnTo>
                    <a:lnTo>
                      <a:pt x="363" y="104"/>
                    </a:lnTo>
                    <a:lnTo>
                      <a:pt x="363" y="102"/>
                    </a:lnTo>
                    <a:lnTo>
                      <a:pt x="365" y="102"/>
                    </a:lnTo>
                    <a:lnTo>
                      <a:pt x="363" y="102"/>
                    </a:lnTo>
                    <a:lnTo>
                      <a:pt x="363" y="100"/>
                    </a:lnTo>
                    <a:lnTo>
                      <a:pt x="365" y="100"/>
                    </a:lnTo>
                    <a:lnTo>
                      <a:pt x="367" y="98"/>
                    </a:lnTo>
                    <a:lnTo>
                      <a:pt x="369" y="98"/>
                    </a:lnTo>
                    <a:lnTo>
                      <a:pt x="371" y="96"/>
                    </a:lnTo>
                    <a:lnTo>
                      <a:pt x="373" y="94"/>
                    </a:lnTo>
                    <a:lnTo>
                      <a:pt x="375" y="94"/>
                    </a:lnTo>
                    <a:lnTo>
                      <a:pt x="375" y="92"/>
                    </a:lnTo>
                    <a:lnTo>
                      <a:pt x="377" y="92"/>
                    </a:lnTo>
                    <a:lnTo>
                      <a:pt x="377" y="91"/>
                    </a:lnTo>
                    <a:lnTo>
                      <a:pt x="378" y="89"/>
                    </a:lnTo>
                    <a:lnTo>
                      <a:pt x="378" y="87"/>
                    </a:lnTo>
                    <a:lnTo>
                      <a:pt x="377" y="85"/>
                    </a:lnTo>
                    <a:lnTo>
                      <a:pt x="378" y="85"/>
                    </a:lnTo>
                    <a:lnTo>
                      <a:pt x="377" y="85"/>
                    </a:lnTo>
                    <a:lnTo>
                      <a:pt x="378" y="83"/>
                    </a:lnTo>
                    <a:lnTo>
                      <a:pt x="380" y="83"/>
                    </a:lnTo>
                    <a:lnTo>
                      <a:pt x="380" y="81"/>
                    </a:lnTo>
                    <a:lnTo>
                      <a:pt x="386" y="81"/>
                    </a:lnTo>
                    <a:lnTo>
                      <a:pt x="390" y="79"/>
                    </a:lnTo>
                    <a:lnTo>
                      <a:pt x="390" y="81"/>
                    </a:lnTo>
                    <a:lnTo>
                      <a:pt x="390" y="79"/>
                    </a:lnTo>
                    <a:lnTo>
                      <a:pt x="392" y="79"/>
                    </a:lnTo>
                    <a:lnTo>
                      <a:pt x="396" y="79"/>
                    </a:lnTo>
                    <a:lnTo>
                      <a:pt x="398" y="79"/>
                    </a:lnTo>
                    <a:lnTo>
                      <a:pt x="398" y="77"/>
                    </a:lnTo>
                    <a:lnTo>
                      <a:pt x="400" y="77"/>
                    </a:lnTo>
                    <a:lnTo>
                      <a:pt x="400" y="79"/>
                    </a:lnTo>
                    <a:lnTo>
                      <a:pt x="398" y="79"/>
                    </a:lnTo>
                    <a:lnTo>
                      <a:pt x="400" y="79"/>
                    </a:lnTo>
                    <a:lnTo>
                      <a:pt x="398" y="79"/>
                    </a:lnTo>
                    <a:lnTo>
                      <a:pt x="398" y="81"/>
                    </a:lnTo>
                    <a:lnTo>
                      <a:pt x="398" y="79"/>
                    </a:lnTo>
                    <a:lnTo>
                      <a:pt x="398" y="81"/>
                    </a:lnTo>
                    <a:lnTo>
                      <a:pt x="398" y="79"/>
                    </a:lnTo>
                    <a:lnTo>
                      <a:pt x="400" y="79"/>
                    </a:lnTo>
                    <a:lnTo>
                      <a:pt x="398" y="79"/>
                    </a:lnTo>
                    <a:lnTo>
                      <a:pt x="400" y="79"/>
                    </a:lnTo>
                    <a:lnTo>
                      <a:pt x="400" y="77"/>
                    </a:lnTo>
                    <a:lnTo>
                      <a:pt x="401" y="77"/>
                    </a:lnTo>
                    <a:lnTo>
                      <a:pt x="403" y="77"/>
                    </a:lnTo>
                    <a:lnTo>
                      <a:pt x="405" y="77"/>
                    </a:lnTo>
                    <a:lnTo>
                      <a:pt x="407" y="77"/>
                    </a:lnTo>
                    <a:lnTo>
                      <a:pt x="407" y="75"/>
                    </a:lnTo>
                    <a:lnTo>
                      <a:pt x="409" y="75"/>
                    </a:lnTo>
                    <a:lnTo>
                      <a:pt x="411" y="73"/>
                    </a:lnTo>
                    <a:lnTo>
                      <a:pt x="413" y="73"/>
                    </a:lnTo>
                    <a:lnTo>
                      <a:pt x="415" y="71"/>
                    </a:lnTo>
                    <a:lnTo>
                      <a:pt x="415" y="69"/>
                    </a:lnTo>
                    <a:lnTo>
                      <a:pt x="417" y="69"/>
                    </a:lnTo>
                    <a:lnTo>
                      <a:pt x="417" y="67"/>
                    </a:lnTo>
                    <a:lnTo>
                      <a:pt x="419" y="66"/>
                    </a:lnTo>
                    <a:lnTo>
                      <a:pt x="419" y="64"/>
                    </a:lnTo>
                    <a:lnTo>
                      <a:pt x="419" y="60"/>
                    </a:lnTo>
                    <a:lnTo>
                      <a:pt x="421" y="58"/>
                    </a:lnTo>
                    <a:lnTo>
                      <a:pt x="421" y="56"/>
                    </a:lnTo>
                    <a:lnTo>
                      <a:pt x="421" y="54"/>
                    </a:lnTo>
                    <a:lnTo>
                      <a:pt x="421" y="52"/>
                    </a:lnTo>
                    <a:lnTo>
                      <a:pt x="421" y="48"/>
                    </a:lnTo>
                    <a:lnTo>
                      <a:pt x="421" y="46"/>
                    </a:lnTo>
                    <a:lnTo>
                      <a:pt x="421" y="44"/>
                    </a:lnTo>
                    <a:lnTo>
                      <a:pt x="421" y="42"/>
                    </a:lnTo>
                    <a:lnTo>
                      <a:pt x="419" y="41"/>
                    </a:lnTo>
                    <a:lnTo>
                      <a:pt x="419" y="39"/>
                    </a:lnTo>
                    <a:lnTo>
                      <a:pt x="417" y="37"/>
                    </a:lnTo>
                    <a:lnTo>
                      <a:pt x="417" y="35"/>
                    </a:lnTo>
                    <a:lnTo>
                      <a:pt x="419" y="35"/>
                    </a:lnTo>
                    <a:lnTo>
                      <a:pt x="421" y="33"/>
                    </a:lnTo>
                    <a:lnTo>
                      <a:pt x="423" y="33"/>
                    </a:lnTo>
                    <a:lnTo>
                      <a:pt x="425" y="33"/>
                    </a:lnTo>
                    <a:lnTo>
                      <a:pt x="425" y="35"/>
                    </a:lnTo>
                    <a:lnTo>
                      <a:pt x="426" y="37"/>
                    </a:lnTo>
                    <a:lnTo>
                      <a:pt x="428" y="37"/>
                    </a:lnTo>
                    <a:lnTo>
                      <a:pt x="428" y="39"/>
                    </a:lnTo>
                    <a:lnTo>
                      <a:pt x="430" y="39"/>
                    </a:lnTo>
                    <a:lnTo>
                      <a:pt x="430" y="41"/>
                    </a:lnTo>
                    <a:lnTo>
                      <a:pt x="432" y="41"/>
                    </a:lnTo>
                    <a:lnTo>
                      <a:pt x="430" y="41"/>
                    </a:lnTo>
                    <a:lnTo>
                      <a:pt x="432" y="41"/>
                    </a:lnTo>
                    <a:lnTo>
                      <a:pt x="432" y="42"/>
                    </a:lnTo>
                    <a:lnTo>
                      <a:pt x="430" y="42"/>
                    </a:lnTo>
                    <a:lnTo>
                      <a:pt x="430" y="44"/>
                    </a:lnTo>
                    <a:lnTo>
                      <a:pt x="430" y="42"/>
                    </a:lnTo>
                    <a:lnTo>
                      <a:pt x="428" y="42"/>
                    </a:lnTo>
                    <a:lnTo>
                      <a:pt x="430" y="42"/>
                    </a:lnTo>
                    <a:lnTo>
                      <a:pt x="428" y="42"/>
                    </a:lnTo>
                    <a:lnTo>
                      <a:pt x="428" y="44"/>
                    </a:lnTo>
                    <a:lnTo>
                      <a:pt x="430" y="46"/>
                    </a:lnTo>
                    <a:lnTo>
                      <a:pt x="430" y="48"/>
                    </a:lnTo>
                    <a:lnTo>
                      <a:pt x="432" y="50"/>
                    </a:lnTo>
                    <a:lnTo>
                      <a:pt x="432" y="52"/>
                    </a:lnTo>
                    <a:lnTo>
                      <a:pt x="434" y="52"/>
                    </a:lnTo>
                    <a:lnTo>
                      <a:pt x="434" y="54"/>
                    </a:lnTo>
                    <a:lnTo>
                      <a:pt x="432" y="54"/>
                    </a:lnTo>
                    <a:lnTo>
                      <a:pt x="430" y="54"/>
                    </a:lnTo>
                    <a:lnTo>
                      <a:pt x="430" y="56"/>
                    </a:lnTo>
                    <a:lnTo>
                      <a:pt x="430" y="58"/>
                    </a:lnTo>
                    <a:lnTo>
                      <a:pt x="430" y="60"/>
                    </a:lnTo>
                    <a:lnTo>
                      <a:pt x="430" y="62"/>
                    </a:lnTo>
                    <a:lnTo>
                      <a:pt x="430" y="64"/>
                    </a:lnTo>
                    <a:lnTo>
                      <a:pt x="430" y="62"/>
                    </a:lnTo>
                    <a:lnTo>
                      <a:pt x="430" y="64"/>
                    </a:lnTo>
                    <a:lnTo>
                      <a:pt x="432" y="66"/>
                    </a:lnTo>
                    <a:lnTo>
                      <a:pt x="430" y="66"/>
                    </a:lnTo>
                    <a:lnTo>
                      <a:pt x="432" y="66"/>
                    </a:lnTo>
                    <a:lnTo>
                      <a:pt x="430" y="66"/>
                    </a:lnTo>
                    <a:lnTo>
                      <a:pt x="432" y="66"/>
                    </a:lnTo>
                    <a:lnTo>
                      <a:pt x="432" y="67"/>
                    </a:lnTo>
                    <a:lnTo>
                      <a:pt x="432" y="69"/>
                    </a:lnTo>
                    <a:lnTo>
                      <a:pt x="430" y="69"/>
                    </a:lnTo>
                    <a:lnTo>
                      <a:pt x="428" y="69"/>
                    </a:lnTo>
                    <a:lnTo>
                      <a:pt x="428" y="71"/>
                    </a:lnTo>
                    <a:lnTo>
                      <a:pt x="426" y="71"/>
                    </a:lnTo>
                    <a:lnTo>
                      <a:pt x="426" y="73"/>
                    </a:lnTo>
                    <a:lnTo>
                      <a:pt x="426" y="75"/>
                    </a:lnTo>
                    <a:lnTo>
                      <a:pt x="425" y="77"/>
                    </a:lnTo>
                    <a:lnTo>
                      <a:pt x="425" y="79"/>
                    </a:lnTo>
                    <a:lnTo>
                      <a:pt x="423" y="79"/>
                    </a:lnTo>
                    <a:lnTo>
                      <a:pt x="423" y="81"/>
                    </a:lnTo>
                    <a:close/>
                    <a:moveTo>
                      <a:pt x="400" y="237"/>
                    </a:moveTo>
                    <a:lnTo>
                      <a:pt x="401" y="237"/>
                    </a:lnTo>
                    <a:lnTo>
                      <a:pt x="400" y="237"/>
                    </a:lnTo>
                    <a:lnTo>
                      <a:pt x="401" y="237"/>
                    </a:lnTo>
                    <a:lnTo>
                      <a:pt x="400" y="235"/>
                    </a:lnTo>
                    <a:lnTo>
                      <a:pt x="400" y="237"/>
                    </a:lnTo>
                    <a:close/>
                    <a:moveTo>
                      <a:pt x="417" y="246"/>
                    </a:moveTo>
                    <a:lnTo>
                      <a:pt x="419" y="246"/>
                    </a:lnTo>
                    <a:lnTo>
                      <a:pt x="417" y="246"/>
                    </a:lnTo>
                    <a:close/>
                    <a:moveTo>
                      <a:pt x="521" y="402"/>
                    </a:moveTo>
                    <a:lnTo>
                      <a:pt x="519" y="402"/>
                    </a:lnTo>
                    <a:lnTo>
                      <a:pt x="521" y="402"/>
                    </a:lnTo>
                    <a:close/>
                    <a:moveTo>
                      <a:pt x="98" y="427"/>
                    </a:moveTo>
                    <a:lnTo>
                      <a:pt x="100" y="429"/>
                    </a:lnTo>
                    <a:lnTo>
                      <a:pt x="98" y="427"/>
                    </a:lnTo>
                    <a:lnTo>
                      <a:pt x="98" y="429"/>
                    </a:lnTo>
                    <a:lnTo>
                      <a:pt x="98" y="427"/>
                    </a:lnTo>
                    <a:close/>
                    <a:moveTo>
                      <a:pt x="96" y="427"/>
                    </a:moveTo>
                    <a:lnTo>
                      <a:pt x="98" y="427"/>
                    </a:lnTo>
                    <a:lnTo>
                      <a:pt x="96" y="427"/>
                    </a:lnTo>
                    <a:close/>
                    <a:moveTo>
                      <a:pt x="86" y="414"/>
                    </a:moveTo>
                    <a:lnTo>
                      <a:pt x="86" y="412"/>
                    </a:lnTo>
                    <a:lnTo>
                      <a:pt x="86" y="414"/>
                    </a:lnTo>
                    <a:close/>
                    <a:moveTo>
                      <a:pt x="100" y="402"/>
                    </a:moveTo>
                    <a:lnTo>
                      <a:pt x="98" y="402"/>
                    </a:lnTo>
                    <a:lnTo>
                      <a:pt x="100" y="402"/>
                    </a:lnTo>
                    <a:close/>
                    <a:moveTo>
                      <a:pt x="131" y="367"/>
                    </a:moveTo>
                    <a:lnTo>
                      <a:pt x="133" y="367"/>
                    </a:lnTo>
                    <a:lnTo>
                      <a:pt x="131" y="367"/>
                    </a:lnTo>
                    <a:lnTo>
                      <a:pt x="133" y="367"/>
                    </a:lnTo>
                    <a:lnTo>
                      <a:pt x="131" y="367"/>
                    </a:lnTo>
                    <a:lnTo>
                      <a:pt x="133" y="367"/>
                    </a:lnTo>
                    <a:lnTo>
                      <a:pt x="133" y="365"/>
                    </a:lnTo>
                    <a:lnTo>
                      <a:pt x="131" y="365"/>
                    </a:lnTo>
                    <a:lnTo>
                      <a:pt x="133" y="365"/>
                    </a:lnTo>
                    <a:lnTo>
                      <a:pt x="131" y="365"/>
                    </a:lnTo>
                    <a:lnTo>
                      <a:pt x="131" y="364"/>
                    </a:lnTo>
                    <a:lnTo>
                      <a:pt x="131" y="362"/>
                    </a:lnTo>
                    <a:lnTo>
                      <a:pt x="133" y="362"/>
                    </a:lnTo>
                    <a:lnTo>
                      <a:pt x="133" y="360"/>
                    </a:lnTo>
                    <a:lnTo>
                      <a:pt x="133" y="362"/>
                    </a:lnTo>
                    <a:lnTo>
                      <a:pt x="131" y="362"/>
                    </a:lnTo>
                    <a:lnTo>
                      <a:pt x="131" y="364"/>
                    </a:lnTo>
                    <a:lnTo>
                      <a:pt x="131" y="365"/>
                    </a:lnTo>
                    <a:lnTo>
                      <a:pt x="133" y="365"/>
                    </a:lnTo>
                    <a:lnTo>
                      <a:pt x="131" y="367"/>
                    </a:lnTo>
                    <a:lnTo>
                      <a:pt x="131" y="365"/>
                    </a:lnTo>
                    <a:lnTo>
                      <a:pt x="131" y="367"/>
                    </a:lnTo>
                    <a:lnTo>
                      <a:pt x="131" y="365"/>
                    </a:lnTo>
                    <a:lnTo>
                      <a:pt x="131" y="367"/>
                    </a:lnTo>
                    <a:lnTo>
                      <a:pt x="129" y="367"/>
                    </a:lnTo>
                    <a:lnTo>
                      <a:pt x="131" y="367"/>
                    </a:lnTo>
                    <a:lnTo>
                      <a:pt x="131" y="369"/>
                    </a:lnTo>
                    <a:lnTo>
                      <a:pt x="133" y="369"/>
                    </a:lnTo>
                    <a:lnTo>
                      <a:pt x="131" y="369"/>
                    </a:lnTo>
                    <a:lnTo>
                      <a:pt x="131" y="367"/>
                    </a:lnTo>
                    <a:lnTo>
                      <a:pt x="133" y="369"/>
                    </a:lnTo>
                    <a:lnTo>
                      <a:pt x="133" y="367"/>
                    </a:lnTo>
                    <a:lnTo>
                      <a:pt x="131" y="367"/>
                    </a:lnTo>
                    <a:close/>
                    <a:moveTo>
                      <a:pt x="131" y="362"/>
                    </a:moveTo>
                    <a:lnTo>
                      <a:pt x="133" y="362"/>
                    </a:lnTo>
                    <a:lnTo>
                      <a:pt x="131" y="362"/>
                    </a:lnTo>
                    <a:close/>
                    <a:moveTo>
                      <a:pt x="219" y="369"/>
                    </a:moveTo>
                    <a:lnTo>
                      <a:pt x="219" y="371"/>
                    </a:lnTo>
                    <a:lnTo>
                      <a:pt x="219" y="369"/>
                    </a:lnTo>
                    <a:lnTo>
                      <a:pt x="219" y="371"/>
                    </a:lnTo>
                    <a:lnTo>
                      <a:pt x="219" y="369"/>
                    </a:lnTo>
                    <a:lnTo>
                      <a:pt x="219" y="367"/>
                    </a:lnTo>
                    <a:lnTo>
                      <a:pt x="217" y="367"/>
                    </a:lnTo>
                    <a:lnTo>
                      <a:pt x="219" y="369"/>
                    </a:lnTo>
                    <a:lnTo>
                      <a:pt x="219" y="371"/>
                    </a:lnTo>
                    <a:lnTo>
                      <a:pt x="219" y="369"/>
                    </a:lnTo>
                    <a:close/>
                    <a:moveTo>
                      <a:pt x="223" y="371"/>
                    </a:moveTo>
                    <a:lnTo>
                      <a:pt x="223" y="373"/>
                    </a:lnTo>
                    <a:lnTo>
                      <a:pt x="223" y="371"/>
                    </a:lnTo>
                    <a:close/>
                    <a:moveTo>
                      <a:pt x="140" y="346"/>
                    </a:moveTo>
                    <a:lnTo>
                      <a:pt x="140" y="344"/>
                    </a:lnTo>
                    <a:lnTo>
                      <a:pt x="140" y="346"/>
                    </a:lnTo>
                    <a:close/>
                    <a:moveTo>
                      <a:pt x="115" y="383"/>
                    </a:moveTo>
                    <a:lnTo>
                      <a:pt x="115" y="385"/>
                    </a:lnTo>
                    <a:lnTo>
                      <a:pt x="115" y="383"/>
                    </a:lnTo>
                    <a:lnTo>
                      <a:pt x="115" y="385"/>
                    </a:lnTo>
                    <a:lnTo>
                      <a:pt x="115" y="383"/>
                    </a:lnTo>
                    <a:close/>
                    <a:moveTo>
                      <a:pt x="90" y="425"/>
                    </a:moveTo>
                    <a:lnTo>
                      <a:pt x="90" y="427"/>
                    </a:lnTo>
                    <a:lnTo>
                      <a:pt x="90" y="425"/>
                    </a:lnTo>
                    <a:close/>
                    <a:moveTo>
                      <a:pt x="88" y="429"/>
                    </a:moveTo>
                    <a:lnTo>
                      <a:pt x="88" y="431"/>
                    </a:lnTo>
                    <a:lnTo>
                      <a:pt x="88" y="429"/>
                    </a:lnTo>
                    <a:close/>
                    <a:moveTo>
                      <a:pt x="526" y="190"/>
                    </a:moveTo>
                    <a:lnTo>
                      <a:pt x="528" y="190"/>
                    </a:lnTo>
                    <a:lnTo>
                      <a:pt x="526" y="190"/>
                    </a:lnTo>
                    <a:close/>
                    <a:moveTo>
                      <a:pt x="463" y="127"/>
                    </a:moveTo>
                    <a:lnTo>
                      <a:pt x="463" y="129"/>
                    </a:lnTo>
                    <a:lnTo>
                      <a:pt x="463" y="127"/>
                    </a:lnTo>
                    <a:close/>
                    <a:moveTo>
                      <a:pt x="471" y="152"/>
                    </a:moveTo>
                    <a:lnTo>
                      <a:pt x="471" y="154"/>
                    </a:lnTo>
                    <a:lnTo>
                      <a:pt x="471" y="152"/>
                    </a:lnTo>
                    <a:close/>
                    <a:moveTo>
                      <a:pt x="340" y="16"/>
                    </a:moveTo>
                    <a:lnTo>
                      <a:pt x="340" y="14"/>
                    </a:lnTo>
                    <a:lnTo>
                      <a:pt x="342" y="14"/>
                    </a:lnTo>
                    <a:lnTo>
                      <a:pt x="344" y="14"/>
                    </a:lnTo>
                    <a:lnTo>
                      <a:pt x="344" y="16"/>
                    </a:lnTo>
                    <a:lnTo>
                      <a:pt x="346" y="16"/>
                    </a:lnTo>
                    <a:lnTo>
                      <a:pt x="348" y="16"/>
                    </a:lnTo>
                    <a:lnTo>
                      <a:pt x="350" y="16"/>
                    </a:lnTo>
                    <a:lnTo>
                      <a:pt x="352" y="16"/>
                    </a:lnTo>
                    <a:lnTo>
                      <a:pt x="352" y="17"/>
                    </a:lnTo>
                    <a:lnTo>
                      <a:pt x="353" y="17"/>
                    </a:lnTo>
                    <a:lnTo>
                      <a:pt x="355" y="19"/>
                    </a:lnTo>
                    <a:lnTo>
                      <a:pt x="357" y="21"/>
                    </a:lnTo>
                    <a:lnTo>
                      <a:pt x="359" y="21"/>
                    </a:lnTo>
                    <a:lnTo>
                      <a:pt x="357" y="21"/>
                    </a:lnTo>
                    <a:lnTo>
                      <a:pt x="355" y="21"/>
                    </a:lnTo>
                    <a:lnTo>
                      <a:pt x="357" y="21"/>
                    </a:lnTo>
                    <a:lnTo>
                      <a:pt x="357" y="23"/>
                    </a:lnTo>
                    <a:lnTo>
                      <a:pt x="357" y="21"/>
                    </a:lnTo>
                    <a:lnTo>
                      <a:pt x="355" y="21"/>
                    </a:lnTo>
                    <a:lnTo>
                      <a:pt x="355" y="23"/>
                    </a:lnTo>
                    <a:lnTo>
                      <a:pt x="355" y="21"/>
                    </a:lnTo>
                    <a:lnTo>
                      <a:pt x="355" y="23"/>
                    </a:lnTo>
                    <a:lnTo>
                      <a:pt x="353" y="25"/>
                    </a:lnTo>
                    <a:lnTo>
                      <a:pt x="353" y="23"/>
                    </a:lnTo>
                    <a:lnTo>
                      <a:pt x="352" y="23"/>
                    </a:lnTo>
                    <a:lnTo>
                      <a:pt x="353" y="23"/>
                    </a:lnTo>
                    <a:lnTo>
                      <a:pt x="353" y="25"/>
                    </a:lnTo>
                    <a:lnTo>
                      <a:pt x="352" y="25"/>
                    </a:lnTo>
                    <a:lnTo>
                      <a:pt x="353" y="25"/>
                    </a:lnTo>
                    <a:lnTo>
                      <a:pt x="355" y="23"/>
                    </a:lnTo>
                    <a:lnTo>
                      <a:pt x="355" y="21"/>
                    </a:lnTo>
                    <a:lnTo>
                      <a:pt x="355" y="23"/>
                    </a:lnTo>
                    <a:lnTo>
                      <a:pt x="357" y="23"/>
                    </a:lnTo>
                    <a:lnTo>
                      <a:pt x="359" y="23"/>
                    </a:lnTo>
                    <a:lnTo>
                      <a:pt x="357" y="23"/>
                    </a:lnTo>
                    <a:lnTo>
                      <a:pt x="359" y="23"/>
                    </a:lnTo>
                    <a:lnTo>
                      <a:pt x="359" y="21"/>
                    </a:lnTo>
                    <a:lnTo>
                      <a:pt x="361" y="21"/>
                    </a:lnTo>
                    <a:lnTo>
                      <a:pt x="359" y="21"/>
                    </a:lnTo>
                    <a:lnTo>
                      <a:pt x="361" y="21"/>
                    </a:lnTo>
                    <a:lnTo>
                      <a:pt x="363" y="23"/>
                    </a:lnTo>
                    <a:lnTo>
                      <a:pt x="365" y="25"/>
                    </a:lnTo>
                    <a:lnTo>
                      <a:pt x="367" y="25"/>
                    </a:lnTo>
                    <a:lnTo>
                      <a:pt x="371" y="29"/>
                    </a:lnTo>
                    <a:lnTo>
                      <a:pt x="373" y="31"/>
                    </a:lnTo>
                    <a:lnTo>
                      <a:pt x="375" y="31"/>
                    </a:lnTo>
                    <a:lnTo>
                      <a:pt x="375" y="33"/>
                    </a:lnTo>
                    <a:lnTo>
                      <a:pt x="373" y="31"/>
                    </a:lnTo>
                    <a:lnTo>
                      <a:pt x="373" y="33"/>
                    </a:lnTo>
                    <a:lnTo>
                      <a:pt x="373" y="35"/>
                    </a:lnTo>
                    <a:lnTo>
                      <a:pt x="373" y="37"/>
                    </a:lnTo>
                    <a:lnTo>
                      <a:pt x="371" y="37"/>
                    </a:lnTo>
                    <a:lnTo>
                      <a:pt x="371" y="39"/>
                    </a:lnTo>
                    <a:lnTo>
                      <a:pt x="371" y="41"/>
                    </a:lnTo>
                    <a:lnTo>
                      <a:pt x="371" y="42"/>
                    </a:lnTo>
                    <a:lnTo>
                      <a:pt x="373" y="42"/>
                    </a:lnTo>
                    <a:lnTo>
                      <a:pt x="371" y="42"/>
                    </a:lnTo>
                    <a:lnTo>
                      <a:pt x="369" y="42"/>
                    </a:lnTo>
                    <a:lnTo>
                      <a:pt x="367" y="42"/>
                    </a:lnTo>
                    <a:lnTo>
                      <a:pt x="369" y="42"/>
                    </a:lnTo>
                    <a:lnTo>
                      <a:pt x="371" y="42"/>
                    </a:lnTo>
                    <a:lnTo>
                      <a:pt x="373" y="42"/>
                    </a:lnTo>
                    <a:lnTo>
                      <a:pt x="373" y="44"/>
                    </a:lnTo>
                    <a:lnTo>
                      <a:pt x="373" y="42"/>
                    </a:lnTo>
                    <a:lnTo>
                      <a:pt x="373" y="44"/>
                    </a:lnTo>
                    <a:lnTo>
                      <a:pt x="371" y="44"/>
                    </a:lnTo>
                    <a:lnTo>
                      <a:pt x="371" y="46"/>
                    </a:lnTo>
                    <a:lnTo>
                      <a:pt x="369" y="48"/>
                    </a:lnTo>
                    <a:lnTo>
                      <a:pt x="371" y="48"/>
                    </a:lnTo>
                    <a:lnTo>
                      <a:pt x="369" y="48"/>
                    </a:lnTo>
                    <a:lnTo>
                      <a:pt x="371" y="48"/>
                    </a:lnTo>
                    <a:lnTo>
                      <a:pt x="369" y="48"/>
                    </a:lnTo>
                    <a:lnTo>
                      <a:pt x="369" y="50"/>
                    </a:lnTo>
                    <a:lnTo>
                      <a:pt x="369" y="52"/>
                    </a:lnTo>
                    <a:lnTo>
                      <a:pt x="369" y="54"/>
                    </a:lnTo>
                    <a:lnTo>
                      <a:pt x="369" y="56"/>
                    </a:lnTo>
                    <a:lnTo>
                      <a:pt x="367" y="56"/>
                    </a:lnTo>
                    <a:lnTo>
                      <a:pt x="367" y="58"/>
                    </a:lnTo>
                    <a:lnTo>
                      <a:pt x="365" y="58"/>
                    </a:lnTo>
                    <a:lnTo>
                      <a:pt x="365" y="60"/>
                    </a:lnTo>
                    <a:lnTo>
                      <a:pt x="365" y="58"/>
                    </a:lnTo>
                    <a:lnTo>
                      <a:pt x="365" y="60"/>
                    </a:lnTo>
                    <a:lnTo>
                      <a:pt x="365" y="62"/>
                    </a:lnTo>
                    <a:lnTo>
                      <a:pt x="363" y="62"/>
                    </a:lnTo>
                    <a:lnTo>
                      <a:pt x="363" y="64"/>
                    </a:lnTo>
                    <a:lnTo>
                      <a:pt x="361" y="64"/>
                    </a:lnTo>
                    <a:lnTo>
                      <a:pt x="361" y="66"/>
                    </a:lnTo>
                    <a:lnTo>
                      <a:pt x="359" y="67"/>
                    </a:lnTo>
                    <a:lnTo>
                      <a:pt x="359" y="69"/>
                    </a:lnTo>
                    <a:lnTo>
                      <a:pt x="359" y="71"/>
                    </a:lnTo>
                    <a:lnTo>
                      <a:pt x="357" y="71"/>
                    </a:lnTo>
                    <a:lnTo>
                      <a:pt x="357" y="73"/>
                    </a:lnTo>
                    <a:lnTo>
                      <a:pt x="355" y="73"/>
                    </a:lnTo>
                    <a:lnTo>
                      <a:pt x="353" y="73"/>
                    </a:lnTo>
                    <a:lnTo>
                      <a:pt x="353" y="75"/>
                    </a:lnTo>
                    <a:lnTo>
                      <a:pt x="353" y="73"/>
                    </a:lnTo>
                    <a:lnTo>
                      <a:pt x="353" y="75"/>
                    </a:lnTo>
                    <a:lnTo>
                      <a:pt x="352" y="75"/>
                    </a:lnTo>
                    <a:lnTo>
                      <a:pt x="352" y="79"/>
                    </a:lnTo>
                    <a:lnTo>
                      <a:pt x="352" y="81"/>
                    </a:lnTo>
                    <a:lnTo>
                      <a:pt x="352" y="83"/>
                    </a:lnTo>
                    <a:lnTo>
                      <a:pt x="350" y="83"/>
                    </a:lnTo>
                    <a:lnTo>
                      <a:pt x="352" y="83"/>
                    </a:lnTo>
                    <a:lnTo>
                      <a:pt x="350" y="83"/>
                    </a:lnTo>
                    <a:lnTo>
                      <a:pt x="348" y="83"/>
                    </a:lnTo>
                    <a:lnTo>
                      <a:pt x="348" y="85"/>
                    </a:lnTo>
                    <a:lnTo>
                      <a:pt x="346" y="85"/>
                    </a:lnTo>
                    <a:lnTo>
                      <a:pt x="346" y="83"/>
                    </a:lnTo>
                    <a:lnTo>
                      <a:pt x="346" y="85"/>
                    </a:lnTo>
                    <a:lnTo>
                      <a:pt x="344" y="83"/>
                    </a:lnTo>
                    <a:lnTo>
                      <a:pt x="344" y="81"/>
                    </a:lnTo>
                    <a:lnTo>
                      <a:pt x="342" y="81"/>
                    </a:lnTo>
                    <a:lnTo>
                      <a:pt x="344" y="81"/>
                    </a:lnTo>
                    <a:lnTo>
                      <a:pt x="344" y="83"/>
                    </a:lnTo>
                    <a:lnTo>
                      <a:pt x="342" y="83"/>
                    </a:lnTo>
                    <a:lnTo>
                      <a:pt x="342" y="81"/>
                    </a:lnTo>
                    <a:lnTo>
                      <a:pt x="342" y="83"/>
                    </a:lnTo>
                    <a:lnTo>
                      <a:pt x="344" y="83"/>
                    </a:lnTo>
                    <a:lnTo>
                      <a:pt x="346" y="85"/>
                    </a:lnTo>
                    <a:lnTo>
                      <a:pt x="346" y="83"/>
                    </a:lnTo>
                    <a:lnTo>
                      <a:pt x="346" y="85"/>
                    </a:lnTo>
                    <a:lnTo>
                      <a:pt x="348" y="85"/>
                    </a:lnTo>
                    <a:lnTo>
                      <a:pt x="346" y="85"/>
                    </a:lnTo>
                    <a:lnTo>
                      <a:pt x="346" y="87"/>
                    </a:lnTo>
                    <a:lnTo>
                      <a:pt x="346" y="85"/>
                    </a:lnTo>
                    <a:lnTo>
                      <a:pt x="344" y="85"/>
                    </a:lnTo>
                    <a:lnTo>
                      <a:pt x="346" y="85"/>
                    </a:lnTo>
                    <a:lnTo>
                      <a:pt x="346" y="87"/>
                    </a:lnTo>
                    <a:lnTo>
                      <a:pt x="344" y="87"/>
                    </a:lnTo>
                    <a:lnTo>
                      <a:pt x="346" y="87"/>
                    </a:lnTo>
                    <a:lnTo>
                      <a:pt x="344" y="87"/>
                    </a:lnTo>
                    <a:lnTo>
                      <a:pt x="342" y="87"/>
                    </a:lnTo>
                    <a:lnTo>
                      <a:pt x="344" y="89"/>
                    </a:lnTo>
                    <a:lnTo>
                      <a:pt x="342" y="89"/>
                    </a:lnTo>
                    <a:lnTo>
                      <a:pt x="342" y="87"/>
                    </a:lnTo>
                    <a:lnTo>
                      <a:pt x="340" y="87"/>
                    </a:lnTo>
                    <a:lnTo>
                      <a:pt x="342" y="87"/>
                    </a:lnTo>
                    <a:lnTo>
                      <a:pt x="340" y="87"/>
                    </a:lnTo>
                    <a:lnTo>
                      <a:pt x="342" y="85"/>
                    </a:lnTo>
                    <a:lnTo>
                      <a:pt x="340" y="85"/>
                    </a:lnTo>
                    <a:lnTo>
                      <a:pt x="340" y="83"/>
                    </a:lnTo>
                    <a:lnTo>
                      <a:pt x="338" y="83"/>
                    </a:lnTo>
                    <a:lnTo>
                      <a:pt x="340" y="83"/>
                    </a:lnTo>
                    <a:lnTo>
                      <a:pt x="340" y="81"/>
                    </a:lnTo>
                    <a:lnTo>
                      <a:pt x="338" y="81"/>
                    </a:lnTo>
                    <a:lnTo>
                      <a:pt x="338" y="83"/>
                    </a:lnTo>
                    <a:lnTo>
                      <a:pt x="336" y="83"/>
                    </a:lnTo>
                    <a:lnTo>
                      <a:pt x="336" y="81"/>
                    </a:lnTo>
                    <a:lnTo>
                      <a:pt x="338" y="81"/>
                    </a:lnTo>
                    <a:lnTo>
                      <a:pt x="336" y="81"/>
                    </a:lnTo>
                    <a:lnTo>
                      <a:pt x="334" y="81"/>
                    </a:lnTo>
                    <a:lnTo>
                      <a:pt x="336" y="79"/>
                    </a:lnTo>
                    <a:lnTo>
                      <a:pt x="334" y="79"/>
                    </a:lnTo>
                    <a:lnTo>
                      <a:pt x="336" y="79"/>
                    </a:lnTo>
                    <a:lnTo>
                      <a:pt x="334" y="81"/>
                    </a:lnTo>
                    <a:lnTo>
                      <a:pt x="336" y="81"/>
                    </a:lnTo>
                    <a:lnTo>
                      <a:pt x="336" y="83"/>
                    </a:lnTo>
                    <a:lnTo>
                      <a:pt x="338" y="83"/>
                    </a:lnTo>
                    <a:lnTo>
                      <a:pt x="338" y="81"/>
                    </a:lnTo>
                    <a:lnTo>
                      <a:pt x="338" y="83"/>
                    </a:lnTo>
                    <a:lnTo>
                      <a:pt x="340" y="83"/>
                    </a:lnTo>
                    <a:lnTo>
                      <a:pt x="338" y="83"/>
                    </a:lnTo>
                    <a:lnTo>
                      <a:pt x="340" y="85"/>
                    </a:lnTo>
                    <a:lnTo>
                      <a:pt x="340" y="87"/>
                    </a:lnTo>
                    <a:lnTo>
                      <a:pt x="342" y="87"/>
                    </a:lnTo>
                    <a:lnTo>
                      <a:pt x="342" y="89"/>
                    </a:lnTo>
                    <a:lnTo>
                      <a:pt x="340" y="89"/>
                    </a:lnTo>
                    <a:lnTo>
                      <a:pt x="338" y="89"/>
                    </a:lnTo>
                    <a:lnTo>
                      <a:pt x="338" y="87"/>
                    </a:lnTo>
                    <a:lnTo>
                      <a:pt x="338" y="89"/>
                    </a:lnTo>
                    <a:lnTo>
                      <a:pt x="338" y="91"/>
                    </a:lnTo>
                    <a:lnTo>
                      <a:pt x="338" y="92"/>
                    </a:lnTo>
                    <a:lnTo>
                      <a:pt x="336" y="92"/>
                    </a:lnTo>
                    <a:lnTo>
                      <a:pt x="338" y="94"/>
                    </a:lnTo>
                    <a:lnTo>
                      <a:pt x="336" y="94"/>
                    </a:lnTo>
                    <a:lnTo>
                      <a:pt x="338" y="94"/>
                    </a:lnTo>
                    <a:lnTo>
                      <a:pt x="338" y="96"/>
                    </a:lnTo>
                    <a:lnTo>
                      <a:pt x="340" y="98"/>
                    </a:lnTo>
                    <a:lnTo>
                      <a:pt x="340" y="100"/>
                    </a:lnTo>
                    <a:lnTo>
                      <a:pt x="340" y="98"/>
                    </a:lnTo>
                    <a:lnTo>
                      <a:pt x="338" y="98"/>
                    </a:lnTo>
                    <a:lnTo>
                      <a:pt x="338" y="100"/>
                    </a:lnTo>
                    <a:lnTo>
                      <a:pt x="336" y="100"/>
                    </a:lnTo>
                    <a:lnTo>
                      <a:pt x="338" y="100"/>
                    </a:lnTo>
                    <a:lnTo>
                      <a:pt x="340" y="100"/>
                    </a:lnTo>
                    <a:lnTo>
                      <a:pt x="340" y="102"/>
                    </a:lnTo>
                    <a:lnTo>
                      <a:pt x="340" y="104"/>
                    </a:lnTo>
                    <a:lnTo>
                      <a:pt x="340" y="102"/>
                    </a:lnTo>
                    <a:lnTo>
                      <a:pt x="338" y="102"/>
                    </a:lnTo>
                    <a:lnTo>
                      <a:pt x="336" y="102"/>
                    </a:lnTo>
                    <a:lnTo>
                      <a:pt x="334" y="102"/>
                    </a:lnTo>
                    <a:lnTo>
                      <a:pt x="336" y="102"/>
                    </a:lnTo>
                    <a:lnTo>
                      <a:pt x="334" y="102"/>
                    </a:lnTo>
                    <a:lnTo>
                      <a:pt x="332" y="102"/>
                    </a:lnTo>
                    <a:lnTo>
                      <a:pt x="334" y="102"/>
                    </a:lnTo>
                    <a:lnTo>
                      <a:pt x="336" y="102"/>
                    </a:lnTo>
                    <a:lnTo>
                      <a:pt x="338" y="102"/>
                    </a:lnTo>
                    <a:lnTo>
                      <a:pt x="340" y="102"/>
                    </a:lnTo>
                    <a:lnTo>
                      <a:pt x="338" y="104"/>
                    </a:lnTo>
                    <a:lnTo>
                      <a:pt x="338" y="102"/>
                    </a:lnTo>
                    <a:lnTo>
                      <a:pt x="338" y="104"/>
                    </a:lnTo>
                    <a:lnTo>
                      <a:pt x="338" y="102"/>
                    </a:lnTo>
                    <a:lnTo>
                      <a:pt x="338" y="104"/>
                    </a:lnTo>
                    <a:lnTo>
                      <a:pt x="340" y="102"/>
                    </a:lnTo>
                    <a:lnTo>
                      <a:pt x="340" y="104"/>
                    </a:lnTo>
                    <a:lnTo>
                      <a:pt x="340" y="106"/>
                    </a:lnTo>
                    <a:lnTo>
                      <a:pt x="342" y="106"/>
                    </a:lnTo>
                    <a:lnTo>
                      <a:pt x="342" y="108"/>
                    </a:lnTo>
                    <a:lnTo>
                      <a:pt x="344" y="108"/>
                    </a:lnTo>
                    <a:lnTo>
                      <a:pt x="344" y="110"/>
                    </a:lnTo>
                    <a:lnTo>
                      <a:pt x="346" y="112"/>
                    </a:lnTo>
                    <a:lnTo>
                      <a:pt x="348" y="112"/>
                    </a:lnTo>
                    <a:lnTo>
                      <a:pt x="348" y="114"/>
                    </a:lnTo>
                    <a:lnTo>
                      <a:pt x="346" y="114"/>
                    </a:lnTo>
                    <a:lnTo>
                      <a:pt x="346" y="112"/>
                    </a:lnTo>
                    <a:lnTo>
                      <a:pt x="346" y="114"/>
                    </a:lnTo>
                    <a:lnTo>
                      <a:pt x="344" y="114"/>
                    </a:lnTo>
                    <a:lnTo>
                      <a:pt x="346" y="114"/>
                    </a:lnTo>
                    <a:lnTo>
                      <a:pt x="348" y="114"/>
                    </a:lnTo>
                    <a:lnTo>
                      <a:pt x="346" y="114"/>
                    </a:lnTo>
                    <a:lnTo>
                      <a:pt x="346" y="116"/>
                    </a:lnTo>
                    <a:lnTo>
                      <a:pt x="346" y="114"/>
                    </a:lnTo>
                    <a:lnTo>
                      <a:pt x="344" y="114"/>
                    </a:lnTo>
                    <a:lnTo>
                      <a:pt x="342" y="114"/>
                    </a:lnTo>
                    <a:lnTo>
                      <a:pt x="342" y="116"/>
                    </a:lnTo>
                    <a:lnTo>
                      <a:pt x="340" y="116"/>
                    </a:lnTo>
                    <a:lnTo>
                      <a:pt x="340" y="114"/>
                    </a:lnTo>
                    <a:lnTo>
                      <a:pt x="340" y="116"/>
                    </a:lnTo>
                    <a:lnTo>
                      <a:pt x="340" y="114"/>
                    </a:lnTo>
                    <a:lnTo>
                      <a:pt x="340" y="116"/>
                    </a:lnTo>
                    <a:lnTo>
                      <a:pt x="338" y="116"/>
                    </a:lnTo>
                    <a:lnTo>
                      <a:pt x="340" y="116"/>
                    </a:lnTo>
                    <a:lnTo>
                      <a:pt x="342" y="116"/>
                    </a:lnTo>
                    <a:lnTo>
                      <a:pt x="342" y="114"/>
                    </a:lnTo>
                    <a:lnTo>
                      <a:pt x="344" y="114"/>
                    </a:lnTo>
                    <a:lnTo>
                      <a:pt x="346" y="114"/>
                    </a:lnTo>
                    <a:lnTo>
                      <a:pt x="346" y="116"/>
                    </a:lnTo>
                    <a:lnTo>
                      <a:pt x="346" y="114"/>
                    </a:lnTo>
                    <a:lnTo>
                      <a:pt x="348" y="114"/>
                    </a:lnTo>
                    <a:lnTo>
                      <a:pt x="350" y="114"/>
                    </a:lnTo>
                    <a:lnTo>
                      <a:pt x="348" y="114"/>
                    </a:lnTo>
                    <a:lnTo>
                      <a:pt x="350" y="114"/>
                    </a:lnTo>
                    <a:lnTo>
                      <a:pt x="350" y="116"/>
                    </a:lnTo>
                    <a:lnTo>
                      <a:pt x="350" y="117"/>
                    </a:lnTo>
                    <a:lnTo>
                      <a:pt x="352" y="119"/>
                    </a:lnTo>
                    <a:lnTo>
                      <a:pt x="350" y="119"/>
                    </a:lnTo>
                    <a:lnTo>
                      <a:pt x="348" y="121"/>
                    </a:lnTo>
                    <a:lnTo>
                      <a:pt x="348" y="123"/>
                    </a:lnTo>
                    <a:lnTo>
                      <a:pt x="348" y="125"/>
                    </a:lnTo>
                    <a:lnTo>
                      <a:pt x="350" y="127"/>
                    </a:lnTo>
                    <a:lnTo>
                      <a:pt x="348" y="127"/>
                    </a:lnTo>
                    <a:lnTo>
                      <a:pt x="346" y="127"/>
                    </a:lnTo>
                    <a:lnTo>
                      <a:pt x="348" y="127"/>
                    </a:lnTo>
                    <a:lnTo>
                      <a:pt x="350" y="127"/>
                    </a:lnTo>
                    <a:lnTo>
                      <a:pt x="350" y="129"/>
                    </a:lnTo>
                    <a:lnTo>
                      <a:pt x="352" y="129"/>
                    </a:lnTo>
                    <a:lnTo>
                      <a:pt x="352" y="131"/>
                    </a:lnTo>
                    <a:lnTo>
                      <a:pt x="352" y="133"/>
                    </a:lnTo>
                    <a:lnTo>
                      <a:pt x="350" y="133"/>
                    </a:lnTo>
                    <a:lnTo>
                      <a:pt x="350" y="135"/>
                    </a:lnTo>
                    <a:lnTo>
                      <a:pt x="350" y="137"/>
                    </a:lnTo>
                    <a:lnTo>
                      <a:pt x="348" y="139"/>
                    </a:lnTo>
                    <a:lnTo>
                      <a:pt x="348" y="141"/>
                    </a:lnTo>
                    <a:lnTo>
                      <a:pt x="348" y="142"/>
                    </a:lnTo>
                    <a:lnTo>
                      <a:pt x="346" y="142"/>
                    </a:lnTo>
                    <a:lnTo>
                      <a:pt x="346" y="144"/>
                    </a:lnTo>
                    <a:lnTo>
                      <a:pt x="344" y="144"/>
                    </a:lnTo>
                    <a:lnTo>
                      <a:pt x="346" y="144"/>
                    </a:lnTo>
                    <a:lnTo>
                      <a:pt x="344" y="144"/>
                    </a:lnTo>
                    <a:lnTo>
                      <a:pt x="346" y="144"/>
                    </a:lnTo>
                    <a:lnTo>
                      <a:pt x="344" y="144"/>
                    </a:lnTo>
                    <a:lnTo>
                      <a:pt x="346" y="144"/>
                    </a:lnTo>
                    <a:lnTo>
                      <a:pt x="346" y="146"/>
                    </a:lnTo>
                    <a:lnTo>
                      <a:pt x="344" y="146"/>
                    </a:lnTo>
                    <a:lnTo>
                      <a:pt x="346" y="146"/>
                    </a:lnTo>
                    <a:lnTo>
                      <a:pt x="346" y="148"/>
                    </a:lnTo>
                    <a:lnTo>
                      <a:pt x="346" y="150"/>
                    </a:lnTo>
                    <a:lnTo>
                      <a:pt x="346" y="152"/>
                    </a:lnTo>
                    <a:lnTo>
                      <a:pt x="344" y="154"/>
                    </a:lnTo>
                    <a:lnTo>
                      <a:pt x="344" y="156"/>
                    </a:lnTo>
                    <a:lnTo>
                      <a:pt x="344" y="158"/>
                    </a:lnTo>
                    <a:lnTo>
                      <a:pt x="342" y="158"/>
                    </a:lnTo>
                    <a:lnTo>
                      <a:pt x="344" y="156"/>
                    </a:lnTo>
                    <a:lnTo>
                      <a:pt x="342" y="156"/>
                    </a:lnTo>
                    <a:lnTo>
                      <a:pt x="340" y="158"/>
                    </a:lnTo>
                    <a:lnTo>
                      <a:pt x="338" y="158"/>
                    </a:lnTo>
                    <a:lnTo>
                      <a:pt x="338" y="160"/>
                    </a:lnTo>
                    <a:lnTo>
                      <a:pt x="336" y="160"/>
                    </a:lnTo>
                    <a:lnTo>
                      <a:pt x="334" y="160"/>
                    </a:lnTo>
                    <a:lnTo>
                      <a:pt x="336" y="160"/>
                    </a:lnTo>
                    <a:lnTo>
                      <a:pt x="334" y="162"/>
                    </a:lnTo>
                    <a:lnTo>
                      <a:pt x="334" y="160"/>
                    </a:lnTo>
                    <a:lnTo>
                      <a:pt x="334" y="158"/>
                    </a:lnTo>
                    <a:lnTo>
                      <a:pt x="332" y="158"/>
                    </a:lnTo>
                    <a:lnTo>
                      <a:pt x="330" y="158"/>
                    </a:lnTo>
                    <a:lnTo>
                      <a:pt x="332" y="158"/>
                    </a:lnTo>
                    <a:lnTo>
                      <a:pt x="334" y="158"/>
                    </a:lnTo>
                    <a:lnTo>
                      <a:pt x="332" y="158"/>
                    </a:lnTo>
                    <a:lnTo>
                      <a:pt x="332" y="160"/>
                    </a:lnTo>
                    <a:lnTo>
                      <a:pt x="334" y="160"/>
                    </a:lnTo>
                    <a:lnTo>
                      <a:pt x="332" y="160"/>
                    </a:lnTo>
                    <a:lnTo>
                      <a:pt x="334" y="160"/>
                    </a:lnTo>
                    <a:lnTo>
                      <a:pt x="334" y="162"/>
                    </a:lnTo>
                    <a:lnTo>
                      <a:pt x="334" y="164"/>
                    </a:lnTo>
                    <a:lnTo>
                      <a:pt x="334" y="166"/>
                    </a:lnTo>
                    <a:lnTo>
                      <a:pt x="336" y="166"/>
                    </a:lnTo>
                    <a:lnTo>
                      <a:pt x="336" y="167"/>
                    </a:lnTo>
                    <a:lnTo>
                      <a:pt x="334" y="167"/>
                    </a:lnTo>
                    <a:lnTo>
                      <a:pt x="334" y="166"/>
                    </a:lnTo>
                    <a:lnTo>
                      <a:pt x="334" y="167"/>
                    </a:lnTo>
                    <a:lnTo>
                      <a:pt x="332" y="166"/>
                    </a:lnTo>
                    <a:lnTo>
                      <a:pt x="332" y="167"/>
                    </a:lnTo>
                    <a:lnTo>
                      <a:pt x="332" y="169"/>
                    </a:lnTo>
                    <a:lnTo>
                      <a:pt x="330" y="169"/>
                    </a:lnTo>
                    <a:lnTo>
                      <a:pt x="332" y="169"/>
                    </a:lnTo>
                    <a:lnTo>
                      <a:pt x="330" y="169"/>
                    </a:lnTo>
                    <a:lnTo>
                      <a:pt x="328" y="169"/>
                    </a:lnTo>
                    <a:lnTo>
                      <a:pt x="330" y="169"/>
                    </a:lnTo>
                    <a:lnTo>
                      <a:pt x="330" y="171"/>
                    </a:lnTo>
                    <a:lnTo>
                      <a:pt x="330" y="169"/>
                    </a:lnTo>
                    <a:lnTo>
                      <a:pt x="332" y="169"/>
                    </a:lnTo>
                    <a:lnTo>
                      <a:pt x="330" y="169"/>
                    </a:lnTo>
                    <a:lnTo>
                      <a:pt x="332" y="169"/>
                    </a:lnTo>
                    <a:lnTo>
                      <a:pt x="332" y="167"/>
                    </a:lnTo>
                    <a:lnTo>
                      <a:pt x="332" y="166"/>
                    </a:lnTo>
                    <a:lnTo>
                      <a:pt x="334" y="167"/>
                    </a:lnTo>
                    <a:lnTo>
                      <a:pt x="336" y="167"/>
                    </a:lnTo>
                    <a:lnTo>
                      <a:pt x="336" y="169"/>
                    </a:lnTo>
                    <a:lnTo>
                      <a:pt x="336" y="171"/>
                    </a:lnTo>
                    <a:lnTo>
                      <a:pt x="336" y="173"/>
                    </a:lnTo>
                    <a:lnTo>
                      <a:pt x="336" y="171"/>
                    </a:lnTo>
                    <a:lnTo>
                      <a:pt x="336" y="173"/>
                    </a:lnTo>
                    <a:lnTo>
                      <a:pt x="334" y="173"/>
                    </a:lnTo>
                    <a:lnTo>
                      <a:pt x="334" y="175"/>
                    </a:lnTo>
                    <a:lnTo>
                      <a:pt x="332" y="175"/>
                    </a:lnTo>
                    <a:lnTo>
                      <a:pt x="332" y="177"/>
                    </a:lnTo>
                    <a:lnTo>
                      <a:pt x="332" y="179"/>
                    </a:lnTo>
                    <a:lnTo>
                      <a:pt x="332" y="181"/>
                    </a:lnTo>
                    <a:lnTo>
                      <a:pt x="334" y="183"/>
                    </a:lnTo>
                    <a:lnTo>
                      <a:pt x="334" y="185"/>
                    </a:lnTo>
                    <a:lnTo>
                      <a:pt x="334" y="187"/>
                    </a:lnTo>
                    <a:lnTo>
                      <a:pt x="334" y="189"/>
                    </a:lnTo>
                    <a:lnTo>
                      <a:pt x="334" y="190"/>
                    </a:lnTo>
                    <a:lnTo>
                      <a:pt x="334" y="192"/>
                    </a:lnTo>
                    <a:lnTo>
                      <a:pt x="332" y="192"/>
                    </a:lnTo>
                    <a:lnTo>
                      <a:pt x="332" y="194"/>
                    </a:lnTo>
                    <a:lnTo>
                      <a:pt x="330" y="194"/>
                    </a:lnTo>
                    <a:lnTo>
                      <a:pt x="330" y="196"/>
                    </a:lnTo>
                    <a:lnTo>
                      <a:pt x="328" y="196"/>
                    </a:lnTo>
                    <a:lnTo>
                      <a:pt x="330" y="196"/>
                    </a:lnTo>
                    <a:lnTo>
                      <a:pt x="328" y="196"/>
                    </a:lnTo>
                    <a:lnTo>
                      <a:pt x="330" y="194"/>
                    </a:lnTo>
                    <a:lnTo>
                      <a:pt x="328" y="194"/>
                    </a:lnTo>
                    <a:lnTo>
                      <a:pt x="328" y="196"/>
                    </a:lnTo>
                    <a:lnTo>
                      <a:pt x="330" y="196"/>
                    </a:lnTo>
                    <a:lnTo>
                      <a:pt x="328" y="196"/>
                    </a:lnTo>
                    <a:lnTo>
                      <a:pt x="330" y="196"/>
                    </a:lnTo>
                    <a:lnTo>
                      <a:pt x="328" y="198"/>
                    </a:lnTo>
                    <a:lnTo>
                      <a:pt x="328" y="200"/>
                    </a:lnTo>
                    <a:lnTo>
                      <a:pt x="328" y="202"/>
                    </a:lnTo>
                    <a:lnTo>
                      <a:pt x="328" y="204"/>
                    </a:lnTo>
                    <a:lnTo>
                      <a:pt x="330" y="206"/>
                    </a:lnTo>
                    <a:lnTo>
                      <a:pt x="330" y="208"/>
                    </a:lnTo>
                    <a:lnTo>
                      <a:pt x="328" y="210"/>
                    </a:lnTo>
                    <a:lnTo>
                      <a:pt x="328" y="212"/>
                    </a:lnTo>
                    <a:lnTo>
                      <a:pt x="327" y="212"/>
                    </a:lnTo>
                    <a:lnTo>
                      <a:pt x="328" y="212"/>
                    </a:lnTo>
                    <a:lnTo>
                      <a:pt x="327" y="212"/>
                    </a:lnTo>
                    <a:lnTo>
                      <a:pt x="325" y="210"/>
                    </a:lnTo>
                    <a:lnTo>
                      <a:pt x="325" y="208"/>
                    </a:lnTo>
                    <a:lnTo>
                      <a:pt x="323" y="208"/>
                    </a:lnTo>
                    <a:lnTo>
                      <a:pt x="323" y="206"/>
                    </a:lnTo>
                    <a:lnTo>
                      <a:pt x="323" y="208"/>
                    </a:lnTo>
                    <a:lnTo>
                      <a:pt x="325" y="208"/>
                    </a:lnTo>
                    <a:lnTo>
                      <a:pt x="323" y="208"/>
                    </a:lnTo>
                    <a:lnTo>
                      <a:pt x="321" y="208"/>
                    </a:lnTo>
                    <a:lnTo>
                      <a:pt x="321" y="206"/>
                    </a:lnTo>
                    <a:lnTo>
                      <a:pt x="323" y="206"/>
                    </a:lnTo>
                    <a:lnTo>
                      <a:pt x="321" y="206"/>
                    </a:lnTo>
                    <a:lnTo>
                      <a:pt x="323" y="206"/>
                    </a:lnTo>
                    <a:lnTo>
                      <a:pt x="321" y="206"/>
                    </a:lnTo>
                    <a:lnTo>
                      <a:pt x="321" y="208"/>
                    </a:lnTo>
                    <a:lnTo>
                      <a:pt x="319" y="208"/>
                    </a:lnTo>
                    <a:lnTo>
                      <a:pt x="317" y="208"/>
                    </a:lnTo>
                    <a:lnTo>
                      <a:pt x="315" y="208"/>
                    </a:lnTo>
                    <a:lnTo>
                      <a:pt x="315" y="206"/>
                    </a:lnTo>
                    <a:lnTo>
                      <a:pt x="315" y="208"/>
                    </a:lnTo>
                    <a:lnTo>
                      <a:pt x="313" y="208"/>
                    </a:lnTo>
                    <a:lnTo>
                      <a:pt x="315" y="208"/>
                    </a:lnTo>
                    <a:lnTo>
                      <a:pt x="313" y="210"/>
                    </a:lnTo>
                    <a:lnTo>
                      <a:pt x="313" y="212"/>
                    </a:lnTo>
                    <a:lnTo>
                      <a:pt x="311" y="212"/>
                    </a:lnTo>
                    <a:lnTo>
                      <a:pt x="313" y="212"/>
                    </a:lnTo>
                    <a:lnTo>
                      <a:pt x="313" y="210"/>
                    </a:lnTo>
                    <a:lnTo>
                      <a:pt x="315" y="210"/>
                    </a:lnTo>
                    <a:lnTo>
                      <a:pt x="315" y="212"/>
                    </a:lnTo>
                    <a:lnTo>
                      <a:pt x="313" y="212"/>
                    </a:lnTo>
                    <a:lnTo>
                      <a:pt x="315" y="212"/>
                    </a:lnTo>
                    <a:lnTo>
                      <a:pt x="313" y="212"/>
                    </a:lnTo>
                    <a:lnTo>
                      <a:pt x="315" y="210"/>
                    </a:lnTo>
                    <a:lnTo>
                      <a:pt x="313" y="210"/>
                    </a:lnTo>
                    <a:lnTo>
                      <a:pt x="315" y="208"/>
                    </a:lnTo>
                    <a:lnTo>
                      <a:pt x="313" y="208"/>
                    </a:lnTo>
                    <a:lnTo>
                      <a:pt x="315" y="208"/>
                    </a:lnTo>
                    <a:lnTo>
                      <a:pt x="317" y="208"/>
                    </a:lnTo>
                    <a:lnTo>
                      <a:pt x="319" y="208"/>
                    </a:lnTo>
                    <a:lnTo>
                      <a:pt x="319" y="210"/>
                    </a:lnTo>
                    <a:lnTo>
                      <a:pt x="317" y="210"/>
                    </a:lnTo>
                    <a:lnTo>
                      <a:pt x="317" y="208"/>
                    </a:lnTo>
                    <a:lnTo>
                      <a:pt x="315" y="208"/>
                    </a:lnTo>
                    <a:lnTo>
                      <a:pt x="313" y="210"/>
                    </a:lnTo>
                    <a:lnTo>
                      <a:pt x="315" y="210"/>
                    </a:lnTo>
                    <a:lnTo>
                      <a:pt x="315" y="212"/>
                    </a:lnTo>
                    <a:lnTo>
                      <a:pt x="315" y="210"/>
                    </a:lnTo>
                    <a:lnTo>
                      <a:pt x="313" y="210"/>
                    </a:lnTo>
                    <a:lnTo>
                      <a:pt x="313" y="208"/>
                    </a:lnTo>
                    <a:lnTo>
                      <a:pt x="315" y="208"/>
                    </a:lnTo>
                    <a:lnTo>
                      <a:pt x="317" y="208"/>
                    </a:lnTo>
                    <a:lnTo>
                      <a:pt x="317" y="210"/>
                    </a:lnTo>
                    <a:lnTo>
                      <a:pt x="319" y="210"/>
                    </a:lnTo>
                    <a:lnTo>
                      <a:pt x="321" y="210"/>
                    </a:lnTo>
                    <a:lnTo>
                      <a:pt x="323" y="210"/>
                    </a:lnTo>
                    <a:lnTo>
                      <a:pt x="321" y="210"/>
                    </a:lnTo>
                    <a:lnTo>
                      <a:pt x="323" y="210"/>
                    </a:lnTo>
                    <a:lnTo>
                      <a:pt x="325" y="210"/>
                    </a:lnTo>
                    <a:lnTo>
                      <a:pt x="325" y="212"/>
                    </a:lnTo>
                    <a:lnTo>
                      <a:pt x="323" y="212"/>
                    </a:lnTo>
                    <a:lnTo>
                      <a:pt x="323" y="210"/>
                    </a:lnTo>
                    <a:lnTo>
                      <a:pt x="321" y="210"/>
                    </a:lnTo>
                    <a:lnTo>
                      <a:pt x="319" y="210"/>
                    </a:lnTo>
                    <a:lnTo>
                      <a:pt x="319" y="212"/>
                    </a:lnTo>
                    <a:lnTo>
                      <a:pt x="319" y="210"/>
                    </a:lnTo>
                    <a:lnTo>
                      <a:pt x="317" y="210"/>
                    </a:lnTo>
                    <a:lnTo>
                      <a:pt x="317" y="212"/>
                    </a:lnTo>
                    <a:lnTo>
                      <a:pt x="317" y="210"/>
                    </a:lnTo>
                    <a:lnTo>
                      <a:pt x="319" y="210"/>
                    </a:lnTo>
                    <a:lnTo>
                      <a:pt x="319" y="212"/>
                    </a:lnTo>
                    <a:lnTo>
                      <a:pt x="319" y="210"/>
                    </a:lnTo>
                    <a:lnTo>
                      <a:pt x="321" y="210"/>
                    </a:lnTo>
                    <a:lnTo>
                      <a:pt x="321" y="212"/>
                    </a:lnTo>
                    <a:lnTo>
                      <a:pt x="321" y="210"/>
                    </a:lnTo>
                    <a:lnTo>
                      <a:pt x="321" y="212"/>
                    </a:lnTo>
                    <a:lnTo>
                      <a:pt x="321" y="210"/>
                    </a:lnTo>
                    <a:lnTo>
                      <a:pt x="323" y="210"/>
                    </a:lnTo>
                    <a:lnTo>
                      <a:pt x="323" y="212"/>
                    </a:lnTo>
                    <a:lnTo>
                      <a:pt x="325" y="212"/>
                    </a:lnTo>
                    <a:lnTo>
                      <a:pt x="327" y="212"/>
                    </a:lnTo>
                    <a:lnTo>
                      <a:pt x="327" y="214"/>
                    </a:lnTo>
                    <a:lnTo>
                      <a:pt x="327" y="215"/>
                    </a:lnTo>
                    <a:lnTo>
                      <a:pt x="327" y="217"/>
                    </a:lnTo>
                    <a:lnTo>
                      <a:pt x="327" y="219"/>
                    </a:lnTo>
                    <a:lnTo>
                      <a:pt x="327" y="217"/>
                    </a:lnTo>
                    <a:lnTo>
                      <a:pt x="327" y="219"/>
                    </a:lnTo>
                    <a:lnTo>
                      <a:pt x="325" y="219"/>
                    </a:lnTo>
                    <a:lnTo>
                      <a:pt x="325" y="221"/>
                    </a:lnTo>
                    <a:lnTo>
                      <a:pt x="323" y="221"/>
                    </a:lnTo>
                    <a:lnTo>
                      <a:pt x="323" y="223"/>
                    </a:lnTo>
                    <a:lnTo>
                      <a:pt x="321" y="225"/>
                    </a:lnTo>
                    <a:lnTo>
                      <a:pt x="321" y="227"/>
                    </a:lnTo>
                    <a:lnTo>
                      <a:pt x="321" y="229"/>
                    </a:lnTo>
                    <a:lnTo>
                      <a:pt x="321" y="231"/>
                    </a:lnTo>
                    <a:lnTo>
                      <a:pt x="321" y="233"/>
                    </a:lnTo>
                    <a:lnTo>
                      <a:pt x="321" y="235"/>
                    </a:lnTo>
                    <a:lnTo>
                      <a:pt x="321" y="237"/>
                    </a:lnTo>
                    <a:lnTo>
                      <a:pt x="321" y="239"/>
                    </a:lnTo>
                    <a:lnTo>
                      <a:pt x="321" y="240"/>
                    </a:lnTo>
                    <a:lnTo>
                      <a:pt x="321" y="242"/>
                    </a:lnTo>
                    <a:lnTo>
                      <a:pt x="323" y="242"/>
                    </a:lnTo>
                    <a:lnTo>
                      <a:pt x="323" y="244"/>
                    </a:lnTo>
                    <a:lnTo>
                      <a:pt x="323" y="246"/>
                    </a:lnTo>
                    <a:lnTo>
                      <a:pt x="325" y="246"/>
                    </a:lnTo>
                    <a:lnTo>
                      <a:pt x="325" y="248"/>
                    </a:lnTo>
                    <a:lnTo>
                      <a:pt x="327" y="248"/>
                    </a:lnTo>
                    <a:lnTo>
                      <a:pt x="327" y="250"/>
                    </a:lnTo>
                    <a:lnTo>
                      <a:pt x="328" y="252"/>
                    </a:lnTo>
                    <a:lnTo>
                      <a:pt x="330" y="254"/>
                    </a:lnTo>
                    <a:lnTo>
                      <a:pt x="328" y="256"/>
                    </a:lnTo>
                    <a:lnTo>
                      <a:pt x="328" y="254"/>
                    </a:lnTo>
                    <a:lnTo>
                      <a:pt x="328" y="256"/>
                    </a:lnTo>
                    <a:lnTo>
                      <a:pt x="328" y="254"/>
                    </a:lnTo>
                    <a:lnTo>
                      <a:pt x="328" y="256"/>
                    </a:lnTo>
                    <a:lnTo>
                      <a:pt x="330" y="256"/>
                    </a:lnTo>
                    <a:lnTo>
                      <a:pt x="330" y="254"/>
                    </a:lnTo>
                    <a:lnTo>
                      <a:pt x="330" y="256"/>
                    </a:lnTo>
                    <a:lnTo>
                      <a:pt x="332" y="256"/>
                    </a:lnTo>
                    <a:lnTo>
                      <a:pt x="332" y="258"/>
                    </a:lnTo>
                    <a:lnTo>
                      <a:pt x="334" y="260"/>
                    </a:lnTo>
                    <a:lnTo>
                      <a:pt x="336" y="262"/>
                    </a:lnTo>
                    <a:lnTo>
                      <a:pt x="336" y="264"/>
                    </a:lnTo>
                    <a:lnTo>
                      <a:pt x="338" y="265"/>
                    </a:lnTo>
                    <a:lnTo>
                      <a:pt x="338" y="267"/>
                    </a:lnTo>
                    <a:lnTo>
                      <a:pt x="340" y="269"/>
                    </a:lnTo>
                    <a:lnTo>
                      <a:pt x="338" y="273"/>
                    </a:lnTo>
                    <a:lnTo>
                      <a:pt x="338" y="275"/>
                    </a:lnTo>
                    <a:lnTo>
                      <a:pt x="338" y="273"/>
                    </a:lnTo>
                    <a:lnTo>
                      <a:pt x="338" y="271"/>
                    </a:lnTo>
                    <a:lnTo>
                      <a:pt x="336" y="271"/>
                    </a:lnTo>
                    <a:lnTo>
                      <a:pt x="336" y="273"/>
                    </a:lnTo>
                    <a:lnTo>
                      <a:pt x="334" y="273"/>
                    </a:lnTo>
                    <a:lnTo>
                      <a:pt x="334" y="275"/>
                    </a:lnTo>
                    <a:lnTo>
                      <a:pt x="334" y="277"/>
                    </a:lnTo>
                    <a:lnTo>
                      <a:pt x="332" y="277"/>
                    </a:lnTo>
                    <a:lnTo>
                      <a:pt x="330" y="277"/>
                    </a:lnTo>
                    <a:lnTo>
                      <a:pt x="330" y="279"/>
                    </a:lnTo>
                    <a:lnTo>
                      <a:pt x="328" y="279"/>
                    </a:lnTo>
                    <a:lnTo>
                      <a:pt x="327" y="281"/>
                    </a:lnTo>
                    <a:lnTo>
                      <a:pt x="325" y="281"/>
                    </a:lnTo>
                    <a:lnTo>
                      <a:pt x="325" y="283"/>
                    </a:lnTo>
                    <a:lnTo>
                      <a:pt x="323" y="283"/>
                    </a:lnTo>
                    <a:lnTo>
                      <a:pt x="323" y="285"/>
                    </a:lnTo>
                    <a:lnTo>
                      <a:pt x="323" y="287"/>
                    </a:lnTo>
                    <a:lnTo>
                      <a:pt x="323" y="289"/>
                    </a:lnTo>
                    <a:lnTo>
                      <a:pt x="321" y="289"/>
                    </a:lnTo>
                    <a:lnTo>
                      <a:pt x="321" y="290"/>
                    </a:lnTo>
                    <a:lnTo>
                      <a:pt x="321" y="292"/>
                    </a:lnTo>
                    <a:lnTo>
                      <a:pt x="321" y="294"/>
                    </a:lnTo>
                    <a:lnTo>
                      <a:pt x="321" y="296"/>
                    </a:lnTo>
                    <a:lnTo>
                      <a:pt x="323" y="298"/>
                    </a:lnTo>
                    <a:lnTo>
                      <a:pt x="321" y="298"/>
                    </a:lnTo>
                    <a:lnTo>
                      <a:pt x="323" y="298"/>
                    </a:lnTo>
                    <a:lnTo>
                      <a:pt x="323" y="300"/>
                    </a:lnTo>
                    <a:lnTo>
                      <a:pt x="321" y="300"/>
                    </a:lnTo>
                    <a:lnTo>
                      <a:pt x="323" y="300"/>
                    </a:lnTo>
                    <a:lnTo>
                      <a:pt x="323" y="302"/>
                    </a:lnTo>
                    <a:lnTo>
                      <a:pt x="321" y="304"/>
                    </a:lnTo>
                    <a:lnTo>
                      <a:pt x="321" y="306"/>
                    </a:lnTo>
                    <a:lnTo>
                      <a:pt x="319" y="306"/>
                    </a:lnTo>
                    <a:lnTo>
                      <a:pt x="317" y="308"/>
                    </a:lnTo>
                    <a:lnTo>
                      <a:pt x="317" y="310"/>
                    </a:lnTo>
                    <a:lnTo>
                      <a:pt x="317" y="312"/>
                    </a:lnTo>
                    <a:lnTo>
                      <a:pt x="317" y="314"/>
                    </a:lnTo>
                    <a:lnTo>
                      <a:pt x="317" y="312"/>
                    </a:lnTo>
                    <a:lnTo>
                      <a:pt x="315" y="312"/>
                    </a:lnTo>
                    <a:lnTo>
                      <a:pt x="317" y="312"/>
                    </a:lnTo>
                    <a:lnTo>
                      <a:pt x="317" y="314"/>
                    </a:lnTo>
                    <a:lnTo>
                      <a:pt x="315" y="312"/>
                    </a:lnTo>
                    <a:lnTo>
                      <a:pt x="315" y="314"/>
                    </a:lnTo>
                    <a:lnTo>
                      <a:pt x="315" y="312"/>
                    </a:lnTo>
                    <a:lnTo>
                      <a:pt x="315" y="314"/>
                    </a:lnTo>
                    <a:lnTo>
                      <a:pt x="315" y="312"/>
                    </a:lnTo>
                    <a:lnTo>
                      <a:pt x="315" y="314"/>
                    </a:lnTo>
                    <a:lnTo>
                      <a:pt x="313" y="314"/>
                    </a:lnTo>
                    <a:lnTo>
                      <a:pt x="311" y="314"/>
                    </a:lnTo>
                    <a:lnTo>
                      <a:pt x="311" y="315"/>
                    </a:lnTo>
                    <a:lnTo>
                      <a:pt x="309" y="315"/>
                    </a:lnTo>
                    <a:lnTo>
                      <a:pt x="309" y="317"/>
                    </a:lnTo>
                    <a:lnTo>
                      <a:pt x="307" y="317"/>
                    </a:lnTo>
                    <a:lnTo>
                      <a:pt x="305" y="317"/>
                    </a:lnTo>
                    <a:lnTo>
                      <a:pt x="304" y="317"/>
                    </a:lnTo>
                    <a:lnTo>
                      <a:pt x="305" y="317"/>
                    </a:lnTo>
                    <a:lnTo>
                      <a:pt x="304" y="317"/>
                    </a:lnTo>
                    <a:lnTo>
                      <a:pt x="304" y="315"/>
                    </a:lnTo>
                    <a:lnTo>
                      <a:pt x="304" y="317"/>
                    </a:lnTo>
                    <a:lnTo>
                      <a:pt x="304" y="315"/>
                    </a:lnTo>
                    <a:lnTo>
                      <a:pt x="302" y="315"/>
                    </a:lnTo>
                    <a:lnTo>
                      <a:pt x="302" y="317"/>
                    </a:lnTo>
                    <a:lnTo>
                      <a:pt x="302" y="319"/>
                    </a:lnTo>
                    <a:lnTo>
                      <a:pt x="302" y="321"/>
                    </a:lnTo>
                    <a:lnTo>
                      <a:pt x="300" y="321"/>
                    </a:lnTo>
                    <a:lnTo>
                      <a:pt x="300" y="323"/>
                    </a:lnTo>
                    <a:lnTo>
                      <a:pt x="298" y="323"/>
                    </a:lnTo>
                    <a:lnTo>
                      <a:pt x="296" y="325"/>
                    </a:lnTo>
                    <a:lnTo>
                      <a:pt x="296" y="327"/>
                    </a:lnTo>
                    <a:lnTo>
                      <a:pt x="296" y="329"/>
                    </a:lnTo>
                    <a:lnTo>
                      <a:pt x="296" y="331"/>
                    </a:lnTo>
                    <a:lnTo>
                      <a:pt x="296" y="333"/>
                    </a:lnTo>
                    <a:lnTo>
                      <a:pt x="296" y="331"/>
                    </a:lnTo>
                    <a:lnTo>
                      <a:pt x="294" y="333"/>
                    </a:lnTo>
                    <a:lnTo>
                      <a:pt x="292" y="333"/>
                    </a:lnTo>
                    <a:lnTo>
                      <a:pt x="290" y="333"/>
                    </a:lnTo>
                    <a:lnTo>
                      <a:pt x="290" y="331"/>
                    </a:lnTo>
                    <a:lnTo>
                      <a:pt x="288" y="331"/>
                    </a:lnTo>
                    <a:lnTo>
                      <a:pt x="288" y="333"/>
                    </a:lnTo>
                    <a:lnTo>
                      <a:pt x="288" y="331"/>
                    </a:lnTo>
                    <a:lnTo>
                      <a:pt x="286" y="331"/>
                    </a:lnTo>
                    <a:lnTo>
                      <a:pt x="284" y="331"/>
                    </a:lnTo>
                    <a:lnTo>
                      <a:pt x="284" y="333"/>
                    </a:lnTo>
                    <a:lnTo>
                      <a:pt x="284" y="335"/>
                    </a:lnTo>
                    <a:lnTo>
                      <a:pt x="286" y="335"/>
                    </a:lnTo>
                    <a:lnTo>
                      <a:pt x="284" y="335"/>
                    </a:lnTo>
                    <a:lnTo>
                      <a:pt x="286" y="335"/>
                    </a:lnTo>
                    <a:lnTo>
                      <a:pt x="284" y="335"/>
                    </a:lnTo>
                    <a:lnTo>
                      <a:pt x="286" y="335"/>
                    </a:lnTo>
                    <a:lnTo>
                      <a:pt x="284" y="335"/>
                    </a:lnTo>
                    <a:lnTo>
                      <a:pt x="286" y="335"/>
                    </a:lnTo>
                    <a:lnTo>
                      <a:pt x="288" y="335"/>
                    </a:lnTo>
                    <a:lnTo>
                      <a:pt x="288" y="337"/>
                    </a:lnTo>
                    <a:lnTo>
                      <a:pt x="288" y="339"/>
                    </a:lnTo>
                    <a:lnTo>
                      <a:pt x="288" y="340"/>
                    </a:lnTo>
                    <a:lnTo>
                      <a:pt x="288" y="342"/>
                    </a:lnTo>
                    <a:lnTo>
                      <a:pt x="286" y="342"/>
                    </a:lnTo>
                    <a:lnTo>
                      <a:pt x="286" y="340"/>
                    </a:lnTo>
                    <a:lnTo>
                      <a:pt x="288" y="340"/>
                    </a:lnTo>
                    <a:lnTo>
                      <a:pt x="286" y="340"/>
                    </a:lnTo>
                    <a:lnTo>
                      <a:pt x="286" y="339"/>
                    </a:lnTo>
                    <a:lnTo>
                      <a:pt x="286" y="337"/>
                    </a:lnTo>
                    <a:lnTo>
                      <a:pt x="286" y="339"/>
                    </a:lnTo>
                    <a:lnTo>
                      <a:pt x="286" y="340"/>
                    </a:lnTo>
                    <a:lnTo>
                      <a:pt x="286" y="339"/>
                    </a:lnTo>
                    <a:lnTo>
                      <a:pt x="286" y="340"/>
                    </a:lnTo>
                    <a:lnTo>
                      <a:pt x="284" y="340"/>
                    </a:lnTo>
                    <a:lnTo>
                      <a:pt x="282" y="340"/>
                    </a:lnTo>
                    <a:lnTo>
                      <a:pt x="280" y="342"/>
                    </a:lnTo>
                    <a:lnTo>
                      <a:pt x="280" y="340"/>
                    </a:lnTo>
                    <a:lnTo>
                      <a:pt x="280" y="342"/>
                    </a:lnTo>
                    <a:lnTo>
                      <a:pt x="279" y="342"/>
                    </a:lnTo>
                    <a:lnTo>
                      <a:pt x="280" y="342"/>
                    </a:lnTo>
                    <a:lnTo>
                      <a:pt x="282" y="342"/>
                    </a:lnTo>
                    <a:lnTo>
                      <a:pt x="282" y="344"/>
                    </a:lnTo>
                    <a:lnTo>
                      <a:pt x="280" y="342"/>
                    </a:lnTo>
                    <a:lnTo>
                      <a:pt x="279" y="342"/>
                    </a:lnTo>
                    <a:lnTo>
                      <a:pt x="279" y="344"/>
                    </a:lnTo>
                    <a:lnTo>
                      <a:pt x="280" y="342"/>
                    </a:lnTo>
                    <a:lnTo>
                      <a:pt x="280" y="344"/>
                    </a:lnTo>
                    <a:lnTo>
                      <a:pt x="279" y="344"/>
                    </a:lnTo>
                    <a:lnTo>
                      <a:pt x="280" y="344"/>
                    </a:lnTo>
                    <a:lnTo>
                      <a:pt x="280" y="346"/>
                    </a:lnTo>
                    <a:lnTo>
                      <a:pt x="279" y="346"/>
                    </a:lnTo>
                    <a:lnTo>
                      <a:pt x="279" y="348"/>
                    </a:lnTo>
                    <a:lnTo>
                      <a:pt x="279" y="346"/>
                    </a:lnTo>
                    <a:lnTo>
                      <a:pt x="279" y="348"/>
                    </a:lnTo>
                    <a:lnTo>
                      <a:pt x="277" y="348"/>
                    </a:lnTo>
                    <a:lnTo>
                      <a:pt x="277" y="350"/>
                    </a:lnTo>
                    <a:lnTo>
                      <a:pt x="275" y="350"/>
                    </a:lnTo>
                    <a:lnTo>
                      <a:pt x="273" y="352"/>
                    </a:lnTo>
                    <a:lnTo>
                      <a:pt x="273" y="354"/>
                    </a:lnTo>
                    <a:lnTo>
                      <a:pt x="271" y="354"/>
                    </a:lnTo>
                    <a:lnTo>
                      <a:pt x="271" y="352"/>
                    </a:lnTo>
                    <a:lnTo>
                      <a:pt x="271" y="350"/>
                    </a:lnTo>
                    <a:lnTo>
                      <a:pt x="271" y="352"/>
                    </a:lnTo>
                    <a:lnTo>
                      <a:pt x="271" y="350"/>
                    </a:lnTo>
                    <a:lnTo>
                      <a:pt x="271" y="352"/>
                    </a:lnTo>
                    <a:lnTo>
                      <a:pt x="271" y="350"/>
                    </a:lnTo>
                    <a:lnTo>
                      <a:pt x="269" y="350"/>
                    </a:lnTo>
                    <a:lnTo>
                      <a:pt x="267" y="352"/>
                    </a:lnTo>
                    <a:lnTo>
                      <a:pt x="269" y="352"/>
                    </a:lnTo>
                    <a:lnTo>
                      <a:pt x="267" y="352"/>
                    </a:lnTo>
                    <a:lnTo>
                      <a:pt x="267" y="350"/>
                    </a:lnTo>
                    <a:lnTo>
                      <a:pt x="265" y="350"/>
                    </a:lnTo>
                    <a:lnTo>
                      <a:pt x="265" y="348"/>
                    </a:lnTo>
                    <a:lnTo>
                      <a:pt x="263" y="348"/>
                    </a:lnTo>
                    <a:lnTo>
                      <a:pt x="263" y="350"/>
                    </a:lnTo>
                    <a:lnTo>
                      <a:pt x="261" y="352"/>
                    </a:lnTo>
                    <a:lnTo>
                      <a:pt x="259" y="352"/>
                    </a:lnTo>
                    <a:lnTo>
                      <a:pt x="257" y="350"/>
                    </a:lnTo>
                    <a:lnTo>
                      <a:pt x="255" y="350"/>
                    </a:lnTo>
                    <a:lnTo>
                      <a:pt x="257" y="350"/>
                    </a:lnTo>
                    <a:lnTo>
                      <a:pt x="259" y="352"/>
                    </a:lnTo>
                    <a:lnTo>
                      <a:pt x="261" y="352"/>
                    </a:lnTo>
                    <a:lnTo>
                      <a:pt x="259" y="352"/>
                    </a:lnTo>
                    <a:lnTo>
                      <a:pt x="257" y="352"/>
                    </a:lnTo>
                    <a:lnTo>
                      <a:pt x="255" y="352"/>
                    </a:lnTo>
                    <a:lnTo>
                      <a:pt x="257" y="352"/>
                    </a:lnTo>
                    <a:lnTo>
                      <a:pt x="255" y="354"/>
                    </a:lnTo>
                    <a:lnTo>
                      <a:pt x="254" y="354"/>
                    </a:lnTo>
                    <a:lnTo>
                      <a:pt x="252" y="354"/>
                    </a:lnTo>
                    <a:lnTo>
                      <a:pt x="250" y="354"/>
                    </a:lnTo>
                    <a:lnTo>
                      <a:pt x="248" y="354"/>
                    </a:lnTo>
                    <a:lnTo>
                      <a:pt x="248" y="352"/>
                    </a:lnTo>
                    <a:lnTo>
                      <a:pt x="250" y="352"/>
                    </a:lnTo>
                    <a:lnTo>
                      <a:pt x="252" y="352"/>
                    </a:lnTo>
                    <a:lnTo>
                      <a:pt x="252" y="350"/>
                    </a:lnTo>
                    <a:lnTo>
                      <a:pt x="250" y="352"/>
                    </a:lnTo>
                    <a:lnTo>
                      <a:pt x="250" y="350"/>
                    </a:lnTo>
                    <a:lnTo>
                      <a:pt x="250" y="352"/>
                    </a:lnTo>
                    <a:lnTo>
                      <a:pt x="248" y="352"/>
                    </a:lnTo>
                    <a:lnTo>
                      <a:pt x="248" y="354"/>
                    </a:lnTo>
                    <a:lnTo>
                      <a:pt x="248" y="356"/>
                    </a:lnTo>
                    <a:lnTo>
                      <a:pt x="246" y="356"/>
                    </a:lnTo>
                    <a:lnTo>
                      <a:pt x="244" y="356"/>
                    </a:lnTo>
                    <a:lnTo>
                      <a:pt x="242" y="356"/>
                    </a:lnTo>
                    <a:lnTo>
                      <a:pt x="240" y="356"/>
                    </a:lnTo>
                    <a:lnTo>
                      <a:pt x="242" y="356"/>
                    </a:lnTo>
                    <a:lnTo>
                      <a:pt x="244" y="356"/>
                    </a:lnTo>
                    <a:lnTo>
                      <a:pt x="242" y="356"/>
                    </a:lnTo>
                    <a:lnTo>
                      <a:pt x="240" y="356"/>
                    </a:lnTo>
                    <a:lnTo>
                      <a:pt x="240" y="354"/>
                    </a:lnTo>
                    <a:lnTo>
                      <a:pt x="238" y="354"/>
                    </a:lnTo>
                    <a:lnTo>
                      <a:pt x="236" y="354"/>
                    </a:lnTo>
                    <a:lnTo>
                      <a:pt x="234" y="354"/>
                    </a:lnTo>
                    <a:lnTo>
                      <a:pt x="234" y="352"/>
                    </a:lnTo>
                    <a:lnTo>
                      <a:pt x="234" y="354"/>
                    </a:lnTo>
                    <a:lnTo>
                      <a:pt x="232" y="354"/>
                    </a:lnTo>
                    <a:lnTo>
                      <a:pt x="231" y="354"/>
                    </a:lnTo>
                    <a:lnTo>
                      <a:pt x="229" y="354"/>
                    </a:lnTo>
                    <a:lnTo>
                      <a:pt x="229" y="352"/>
                    </a:lnTo>
                    <a:lnTo>
                      <a:pt x="229" y="350"/>
                    </a:lnTo>
                    <a:lnTo>
                      <a:pt x="227" y="350"/>
                    </a:lnTo>
                    <a:lnTo>
                      <a:pt x="227" y="348"/>
                    </a:lnTo>
                    <a:lnTo>
                      <a:pt x="227" y="346"/>
                    </a:lnTo>
                    <a:lnTo>
                      <a:pt x="227" y="344"/>
                    </a:lnTo>
                    <a:lnTo>
                      <a:pt x="225" y="344"/>
                    </a:lnTo>
                    <a:lnTo>
                      <a:pt x="225" y="346"/>
                    </a:lnTo>
                    <a:lnTo>
                      <a:pt x="227" y="346"/>
                    </a:lnTo>
                    <a:lnTo>
                      <a:pt x="225" y="348"/>
                    </a:lnTo>
                    <a:lnTo>
                      <a:pt x="225" y="346"/>
                    </a:lnTo>
                    <a:lnTo>
                      <a:pt x="223" y="346"/>
                    </a:lnTo>
                    <a:lnTo>
                      <a:pt x="221" y="346"/>
                    </a:lnTo>
                    <a:lnTo>
                      <a:pt x="219" y="346"/>
                    </a:lnTo>
                    <a:lnTo>
                      <a:pt x="217" y="344"/>
                    </a:lnTo>
                    <a:lnTo>
                      <a:pt x="217" y="342"/>
                    </a:lnTo>
                    <a:lnTo>
                      <a:pt x="215" y="342"/>
                    </a:lnTo>
                    <a:lnTo>
                      <a:pt x="213" y="342"/>
                    </a:lnTo>
                    <a:lnTo>
                      <a:pt x="213" y="340"/>
                    </a:lnTo>
                    <a:lnTo>
                      <a:pt x="213" y="342"/>
                    </a:lnTo>
                    <a:lnTo>
                      <a:pt x="211" y="342"/>
                    </a:lnTo>
                    <a:lnTo>
                      <a:pt x="211" y="340"/>
                    </a:lnTo>
                    <a:lnTo>
                      <a:pt x="209" y="339"/>
                    </a:lnTo>
                    <a:lnTo>
                      <a:pt x="209" y="340"/>
                    </a:lnTo>
                    <a:lnTo>
                      <a:pt x="209" y="339"/>
                    </a:lnTo>
                    <a:lnTo>
                      <a:pt x="209" y="340"/>
                    </a:lnTo>
                    <a:lnTo>
                      <a:pt x="209" y="339"/>
                    </a:lnTo>
                    <a:lnTo>
                      <a:pt x="209" y="337"/>
                    </a:lnTo>
                    <a:lnTo>
                      <a:pt x="207" y="337"/>
                    </a:lnTo>
                    <a:lnTo>
                      <a:pt x="209" y="337"/>
                    </a:lnTo>
                    <a:lnTo>
                      <a:pt x="209" y="335"/>
                    </a:lnTo>
                    <a:lnTo>
                      <a:pt x="209" y="337"/>
                    </a:lnTo>
                    <a:lnTo>
                      <a:pt x="207" y="337"/>
                    </a:lnTo>
                    <a:lnTo>
                      <a:pt x="207" y="339"/>
                    </a:lnTo>
                    <a:lnTo>
                      <a:pt x="207" y="337"/>
                    </a:lnTo>
                    <a:lnTo>
                      <a:pt x="207" y="339"/>
                    </a:lnTo>
                    <a:lnTo>
                      <a:pt x="207" y="337"/>
                    </a:lnTo>
                    <a:lnTo>
                      <a:pt x="207" y="339"/>
                    </a:lnTo>
                    <a:lnTo>
                      <a:pt x="206" y="339"/>
                    </a:lnTo>
                    <a:lnTo>
                      <a:pt x="206" y="337"/>
                    </a:lnTo>
                    <a:lnTo>
                      <a:pt x="206" y="339"/>
                    </a:lnTo>
                    <a:lnTo>
                      <a:pt x="204" y="339"/>
                    </a:lnTo>
                    <a:lnTo>
                      <a:pt x="206" y="339"/>
                    </a:lnTo>
                    <a:lnTo>
                      <a:pt x="204" y="339"/>
                    </a:lnTo>
                    <a:lnTo>
                      <a:pt x="202" y="339"/>
                    </a:lnTo>
                    <a:lnTo>
                      <a:pt x="202" y="337"/>
                    </a:lnTo>
                    <a:lnTo>
                      <a:pt x="200" y="337"/>
                    </a:lnTo>
                    <a:lnTo>
                      <a:pt x="202" y="337"/>
                    </a:lnTo>
                    <a:lnTo>
                      <a:pt x="200" y="337"/>
                    </a:lnTo>
                    <a:lnTo>
                      <a:pt x="202" y="337"/>
                    </a:lnTo>
                    <a:lnTo>
                      <a:pt x="202" y="339"/>
                    </a:lnTo>
                    <a:lnTo>
                      <a:pt x="202" y="340"/>
                    </a:lnTo>
                    <a:lnTo>
                      <a:pt x="200" y="340"/>
                    </a:lnTo>
                    <a:lnTo>
                      <a:pt x="198" y="340"/>
                    </a:lnTo>
                    <a:lnTo>
                      <a:pt x="200" y="340"/>
                    </a:lnTo>
                    <a:lnTo>
                      <a:pt x="198" y="340"/>
                    </a:lnTo>
                    <a:lnTo>
                      <a:pt x="198" y="339"/>
                    </a:lnTo>
                    <a:lnTo>
                      <a:pt x="198" y="340"/>
                    </a:lnTo>
                    <a:lnTo>
                      <a:pt x="198" y="342"/>
                    </a:lnTo>
                    <a:lnTo>
                      <a:pt x="196" y="342"/>
                    </a:lnTo>
                    <a:lnTo>
                      <a:pt x="194" y="342"/>
                    </a:lnTo>
                    <a:lnTo>
                      <a:pt x="192" y="342"/>
                    </a:lnTo>
                    <a:lnTo>
                      <a:pt x="192" y="340"/>
                    </a:lnTo>
                    <a:lnTo>
                      <a:pt x="190" y="340"/>
                    </a:lnTo>
                    <a:lnTo>
                      <a:pt x="192" y="340"/>
                    </a:lnTo>
                    <a:lnTo>
                      <a:pt x="190" y="340"/>
                    </a:lnTo>
                    <a:lnTo>
                      <a:pt x="188" y="340"/>
                    </a:lnTo>
                    <a:lnTo>
                      <a:pt x="188" y="339"/>
                    </a:lnTo>
                    <a:lnTo>
                      <a:pt x="186" y="337"/>
                    </a:lnTo>
                    <a:lnTo>
                      <a:pt x="186" y="335"/>
                    </a:lnTo>
                    <a:lnTo>
                      <a:pt x="186" y="333"/>
                    </a:lnTo>
                    <a:lnTo>
                      <a:pt x="188" y="333"/>
                    </a:lnTo>
                    <a:lnTo>
                      <a:pt x="186" y="333"/>
                    </a:lnTo>
                    <a:lnTo>
                      <a:pt x="184" y="333"/>
                    </a:lnTo>
                    <a:lnTo>
                      <a:pt x="184" y="335"/>
                    </a:lnTo>
                    <a:lnTo>
                      <a:pt x="184" y="333"/>
                    </a:lnTo>
                    <a:lnTo>
                      <a:pt x="182" y="333"/>
                    </a:lnTo>
                    <a:lnTo>
                      <a:pt x="184" y="333"/>
                    </a:lnTo>
                    <a:lnTo>
                      <a:pt x="184" y="331"/>
                    </a:lnTo>
                    <a:lnTo>
                      <a:pt x="182" y="333"/>
                    </a:lnTo>
                    <a:lnTo>
                      <a:pt x="184" y="333"/>
                    </a:lnTo>
                    <a:lnTo>
                      <a:pt x="184" y="335"/>
                    </a:lnTo>
                    <a:lnTo>
                      <a:pt x="186" y="335"/>
                    </a:lnTo>
                    <a:lnTo>
                      <a:pt x="186" y="337"/>
                    </a:lnTo>
                    <a:lnTo>
                      <a:pt x="184" y="337"/>
                    </a:lnTo>
                    <a:lnTo>
                      <a:pt x="186" y="337"/>
                    </a:lnTo>
                    <a:lnTo>
                      <a:pt x="186" y="339"/>
                    </a:lnTo>
                    <a:lnTo>
                      <a:pt x="186" y="337"/>
                    </a:lnTo>
                    <a:lnTo>
                      <a:pt x="186" y="339"/>
                    </a:lnTo>
                    <a:lnTo>
                      <a:pt x="184" y="337"/>
                    </a:lnTo>
                    <a:lnTo>
                      <a:pt x="182" y="337"/>
                    </a:lnTo>
                    <a:lnTo>
                      <a:pt x="182" y="335"/>
                    </a:lnTo>
                    <a:lnTo>
                      <a:pt x="181" y="335"/>
                    </a:lnTo>
                    <a:lnTo>
                      <a:pt x="179" y="337"/>
                    </a:lnTo>
                    <a:lnTo>
                      <a:pt x="177" y="337"/>
                    </a:lnTo>
                    <a:lnTo>
                      <a:pt x="175" y="337"/>
                    </a:lnTo>
                    <a:lnTo>
                      <a:pt x="173" y="337"/>
                    </a:lnTo>
                    <a:lnTo>
                      <a:pt x="173" y="335"/>
                    </a:lnTo>
                    <a:lnTo>
                      <a:pt x="171" y="335"/>
                    </a:lnTo>
                    <a:lnTo>
                      <a:pt x="169" y="335"/>
                    </a:lnTo>
                    <a:lnTo>
                      <a:pt x="169" y="333"/>
                    </a:lnTo>
                    <a:lnTo>
                      <a:pt x="167" y="335"/>
                    </a:lnTo>
                    <a:lnTo>
                      <a:pt x="165" y="335"/>
                    </a:lnTo>
                    <a:lnTo>
                      <a:pt x="165" y="333"/>
                    </a:lnTo>
                    <a:lnTo>
                      <a:pt x="167" y="333"/>
                    </a:lnTo>
                    <a:lnTo>
                      <a:pt x="165" y="333"/>
                    </a:lnTo>
                    <a:lnTo>
                      <a:pt x="167" y="333"/>
                    </a:lnTo>
                    <a:lnTo>
                      <a:pt x="167" y="331"/>
                    </a:lnTo>
                    <a:lnTo>
                      <a:pt x="169" y="333"/>
                    </a:lnTo>
                    <a:lnTo>
                      <a:pt x="169" y="331"/>
                    </a:lnTo>
                    <a:lnTo>
                      <a:pt x="171" y="331"/>
                    </a:lnTo>
                    <a:lnTo>
                      <a:pt x="169" y="331"/>
                    </a:lnTo>
                    <a:lnTo>
                      <a:pt x="167" y="331"/>
                    </a:lnTo>
                    <a:lnTo>
                      <a:pt x="167" y="333"/>
                    </a:lnTo>
                    <a:lnTo>
                      <a:pt x="167" y="331"/>
                    </a:lnTo>
                    <a:lnTo>
                      <a:pt x="167" y="329"/>
                    </a:lnTo>
                    <a:lnTo>
                      <a:pt x="167" y="331"/>
                    </a:lnTo>
                    <a:lnTo>
                      <a:pt x="167" y="329"/>
                    </a:lnTo>
                    <a:lnTo>
                      <a:pt x="167" y="331"/>
                    </a:lnTo>
                    <a:lnTo>
                      <a:pt x="165" y="331"/>
                    </a:lnTo>
                    <a:lnTo>
                      <a:pt x="167" y="333"/>
                    </a:lnTo>
                    <a:lnTo>
                      <a:pt x="165" y="333"/>
                    </a:lnTo>
                    <a:lnTo>
                      <a:pt x="163" y="333"/>
                    </a:lnTo>
                    <a:lnTo>
                      <a:pt x="163" y="331"/>
                    </a:lnTo>
                    <a:lnTo>
                      <a:pt x="163" y="333"/>
                    </a:lnTo>
                    <a:lnTo>
                      <a:pt x="163" y="331"/>
                    </a:lnTo>
                    <a:lnTo>
                      <a:pt x="163" y="333"/>
                    </a:lnTo>
                    <a:lnTo>
                      <a:pt x="163" y="331"/>
                    </a:lnTo>
                    <a:lnTo>
                      <a:pt x="163" y="333"/>
                    </a:lnTo>
                    <a:lnTo>
                      <a:pt x="165" y="335"/>
                    </a:lnTo>
                    <a:lnTo>
                      <a:pt x="167" y="335"/>
                    </a:lnTo>
                    <a:lnTo>
                      <a:pt x="165" y="335"/>
                    </a:lnTo>
                    <a:lnTo>
                      <a:pt x="167" y="335"/>
                    </a:lnTo>
                    <a:lnTo>
                      <a:pt x="165" y="335"/>
                    </a:lnTo>
                    <a:lnTo>
                      <a:pt x="165" y="337"/>
                    </a:lnTo>
                    <a:lnTo>
                      <a:pt x="163" y="337"/>
                    </a:lnTo>
                    <a:lnTo>
                      <a:pt x="161" y="337"/>
                    </a:lnTo>
                    <a:lnTo>
                      <a:pt x="159" y="337"/>
                    </a:lnTo>
                    <a:lnTo>
                      <a:pt x="161" y="337"/>
                    </a:lnTo>
                    <a:lnTo>
                      <a:pt x="159" y="339"/>
                    </a:lnTo>
                    <a:lnTo>
                      <a:pt x="161" y="337"/>
                    </a:lnTo>
                    <a:lnTo>
                      <a:pt x="163" y="337"/>
                    </a:lnTo>
                    <a:lnTo>
                      <a:pt x="165" y="337"/>
                    </a:lnTo>
                    <a:lnTo>
                      <a:pt x="163" y="339"/>
                    </a:lnTo>
                    <a:lnTo>
                      <a:pt x="161" y="339"/>
                    </a:lnTo>
                    <a:lnTo>
                      <a:pt x="159" y="339"/>
                    </a:lnTo>
                    <a:lnTo>
                      <a:pt x="158" y="339"/>
                    </a:lnTo>
                    <a:lnTo>
                      <a:pt x="156" y="339"/>
                    </a:lnTo>
                    <a:lnTo>
                      <a:pt x="158" y="339"/>
                    </a:lnTo>
                    <a:lnTo>
                      <a:pt x="156" y="339"/>
                    </a:lnTo>
                    <a:lnTo>
                      <a:pt x="156" y="337"/>
                    </a:lnTo>
                    <a:lnTo>
                      <a:pt x="154" y="337"/>
                    </a:lnTo>
                    <a:lnTo>
                      <a:pt x="152" y="337"/>
                    </a:lnTo>
                    <a:lnTo>
                      <a:pt x="152" y="335"/>
                    </a:lnTo>
                    <a:lnTo>
                      <a:pt x="152" y="337"/>
                    </a:lnTo>
                    <a:lnTo>
                      <a:pt x="150" y="337"/>
                    </a:lnTo>
                    <a:lnTo>
                      <a:pt x="150" y="335"/>
                    </a:lnTo>
                    <a:lnTo>
                      <a:pt x="148" y="335"/>
                    </a:lnTo>
                    <a:lnTo>
                      <a:pt x="146" y="335"/>
                    </a:lnTo>
                    <a:lnTo>
                      <a:pt x="146" y="333"/>
                    </a:lnTo>
                    <a:lnTo>
                      <a:pt x="144" y="333"/>
                    </a:lnTo>
                    <a:lnTo>
                      <a:pt x="142" y="331"/>
                    </a:lnTo>
                    <a:lnTo>
                      <a:pt x="144" y="331"/>
                    </a:lnTo>
                    <a:lnTo>
                      <a:pt x="144" y="333"/>
                    </a:lnTo>
                    <a:lnTo>
                      <a:pt x="144" y="331"/>
                    </a:lnTo>
                    <a:lnTo>
                      <a:pt x="142" y="331"/>
                    </a:lnTo>
                    <a:lnTo>
                      <a:pt x="140" y="331"/>
                    </a:lnTo>
                    <a:lnTo>
                      <a:pt x="138" y="331"/>
                    </a:lnTo>
                    <a:lnTo>
                      <a:pt x="138" y="333"/>
                    </a:lnTo>
                    <a:lnTo>
                      <a:pt x="136" y="333"/>
                    </a:lnTo>
                    <a:lnTo>
                      <a:pt x="138" y="333"/>
                    </a:lnTo>
                    <a:lnTo>
                      <a:pt x="140" y="333"/>
                    </a:lnTo>
                    <a:lnTo>
                      <a:pt x="140" y="335"/>
                    </a:lnTo>
                    <a:lnTo>
                      <a:pt x="138" y="335"/>
                    </a:lnTo>
                    <a:lnTo>
                      <a:pt x="140" y="335"/>
                    </a:lnTo>
                    <a:lnTo>
                      <a:pt x="138" y="335"/>
                    </a:lnTo>
                    <a:lnTo>
                      <a:pt x="136" y="337"/>
                    </a:lnTo>
                    <a:lnTo>
                      <a:pt x="134" y="339"/>
                    </a:lnTo>
                    <a:lnTo>
                      <a:pt x="136" y="339"/>
                    </a:lnTo>
                    <a:lnTo>
                      <a:pt x="134" y="339"/>
                    </a:lnTo>
                    <a:lnTo>
                      <a:pt x="134" y="340"/>
                    </a:lnTo>
                    <a:lnTo>
                      <a:pt x="133" y="340"/>
                    </a:lnTo>
                    <a:lnTo>
                      <a:pt x="133" y="342"/>
                    </a:lnTo>
                    <a:lnTo>
                      <a:pt x="133" y="340"/>
                    </a:lnTo>
                    <a:lnTo>
                      <a:pt x="134" y="340"/>
                    </a:lnTo>
                    <a:lnTo>
                      <a:pt x="133" y="342"/>
                    </a:lnTo>
                    <a:lnTo>
                      <a:pt x="131" y="344"/>
                    </a:lnTo>
                    <a:lnTo>
                      <a:pt x="129" y="344"/>
                    </a:lnTo>
                    <a:lnTo>
                      <a:pt x="129" y="346"/>
                    </a:lnTo>
                    <a:lnTo>
                      <a:pt x="129" y="344"/>
                    </a:lnTo>
                    <a:lnTo>
                      <a:pt x="129" y="346"/>
                    </a:lnTo>
                    <a:lnTo>
                      <a:pt x="127" y="346"/>
                    </a:lnTo>
                    <a:lnTo>
                      <a:pt x="127" y="348"/>
                    </a:lnTo>
                    <a:lnTo>
                      <a:pt x="125" y="348"/>
                    </a:lnTo>
                    <a:lnTo>
                      <a:pt x="127" y="348"/>
                    </a:lnTo>
                    <a:lnTo>
                      <a:pt x="125" y="348"/>
                    </a:lnTo>
                    <a:lnTo>
                      <a:pt x="125" y="350"/>
                    </a:lnTo>
                    <a:lnTo>
                      <a:pt x="123" y="350"/>
                    </a:lnTo>
                    <a:lnTo>
                      <a:pt x="121" y="350"/>
                    </a:lnTo>
                    <a:lnTo>
                      <a:pt x="123" y="350"/>
                    </a:lnTo>
                    <a:lnTo>
                      <a:pt x="121" y="350"/>
                    </a:lnTo>
                    <a:lnTo>
                      <a:pt x="121" y="348"/>
                    </a:lnTo>
                    <a:lnTo>
                      <a:pt x="121" y="346"/>
                    </a:lnTo>
                    <a:lnTo>
                      <a:pt x="121" y="344"/>
                    </a:lnTo>
                    <a:lnTo>
                      <a:pt x="121" y="346"/>
                    </a:lnTo>
                    <a:lnTo>
                      <a:pt x="121" y="344"/>
                    </a:lnTo>
                    <a:lnTo>
                      <a:pt x="119" y="344"/>
                    </a:lnTo>
                    <a:lnTo>
                      <a:pt x="121" y="344"/>
                    </a:lnTo>
                    <a:lnTo>
                      <a:pt x="119" y="342"/>
                    </a:lnTo>
                    <a:lnTo>
                      <a:pt x="119" y="344"/>
                    </a:lnTo>
                    <a:lnTo>
                      <a:pt x="117" y="344"/>
                    </a:lnTo>
                    <a:lnTo>
                      <a:pt x="117" y="342"/>
                    </a:lnTo>
                    <a:lnTo>
                      <a:pt x="115" y="342"/>
                    </a:lnTo>
                    <a:lnTo>
                      <a:pt x="117" y="342"/>
                    </a:lnTo>
                    <a:lnTo>
                      <a:pt x="115" y="342"/>
                    </a:lnTo>
                    <a:lnTo>
                      <a:pt x="117" y="342"/>
                    </a:lnTo>
                    <a:lnTo>
                      <a:pt x="117" y="344"/>
                    </a:lnTo>
                    <a:lnTo>
                      <a:pt x="119" y="344"/>
                    </a:lnTo>
                    <a:lnTo>
                      <a:pt x="119" y="342"/>
                    </a:lnTo>
                    <a:lnTo>
                      <a:pt x="119" y="344"/>
                    </a:lnTo>
                    <a:lnTo>
                      <a:pt x="121" y="346"/>
                    </a:lnTo>
                    <a:lnTo>
                      <a:pt x="121" y="348"/>
                    </a:lnTo>
                    <a:lnTo>
                      <a:pt x="121" y="350"/>
                    </a:lnTo>
                    <a:lnTo>
                      <a:pt x="123" y="350"/>
                    </a:lnTo>
                    <a:lnTo>
                      <a:pt x="121" y="350"/>
                    </a:lnTo>
                    <a:lnTo>
                      <a:pt x="121" y="352"/>
                    </a:lnTo>
                    <a:lnTo>
                      <a:pt x="119" y="352"/>
                    </a:lnTo>
                    <a:lnTo>
                      <a:pt x="121" y="350"/>
                    </a:lnTo>
                    <a:lnTo>
                      <a:pt x="123" y="350"/>
                    </a:lnTo>
                    <a:lnTo>
                      <a:pt x="125" y="350"/>
                    </a:lnTo>
                    <a:lnTo>
                      <a:pt x="123" y="350"/>
                    </a:lnTo>
                    <a:lnTo>
                      <a:pt x="123" y="352"/>
                    </a:lnTo>
                    <a:lnTo>
                      <a:pt x="121" y="352"/>
                    </a:lnTo>
                    <a:lnTo>
                      <a:pt x="119" y="352"/>
                    </a:lnTo>
                    <a:lnTo>
                      <a:pt x="119" y="354"/>
                    </a:lnTo>
                    <a:lnTo>
                      <a:pt x="117" y="354"/>
                    </a:lnTo>
                    <a:lnTo>
                      <a:pt x="115" y="354"/>
                    </a:lnTo>
                    <a:lnTo>
                      <a:pt x="113" y="354"/>
                    </a:lnTo>
                    <a:lnTo>
                      <a:pt x="113" y="356"/>
                    </a:lnTo>
                    <a:lnTo>
                      <a:pt x="111" y="356"/>
                    </a:lnTo>
                    <a:lnTo>
                      <a:pt x="111" y="354"/>
                    </a:lnTo>
                    <a:lnTo>
                      <a:pt x="111" y="352"/>
                    </a:lnTo>
                    <a:lnTo>
                      <a:pt x="111" y="354"/>
                    </a:lnTo>
                    <a:lnTo>
                      <a:pt x="111" y="356"/>
                    </a:lnTo>
                    <a:lnTo>
                      <a:pt x="111" y="354"/>
                    </a:lnTo>
                    <a:lnTo>
                      <a:pt x="109" y="354"/>
                    </a:lnTo>
                    <a:lnTo>
                      <a:pt x="111" y="354"/>
                    </a:lnTo>
                    <a:lnTo>
                      <a:pt x="111" y="356"/>
                    </a:lnTo>
                    <a:lnTo>
                      <a:pt x="109" y="356"/>
                    </a:lnTo>
                    <a:lnTo>
                      <a:pt x="109" y="358"/>
                    </a:lnTo>
                    <a:lnTo>
                      <a:pt x="108" y="356"/>
                    </a:lnTo>
                    <a:lnTo>
                      <a:pt x="108" y="358"/>
                    </a:lnTo>
                    <a:lnTo>
                      <a:pt x="108" y="356"/>
                    </a:lnTo>
                    <a:lnTo>
                      <a:pt x="108" y="358"/>
                    </a:lnTo>
                    <a:lnTo>
                      <a:pt x="108" y="356"/>
                    </a:lnTo>
                    <a:lnTo>
                      <a:pt x="106" y="356"/>
                    </a:lnTo>
                    <a:lnTo>
                      <a:pt x="108" y="358"/>
                    </a:lnTo>
                    <a:lnTo>
                      <a:pt x="106" y="358"/>
                    </a:lnTo>
                    <a:lnTo>
                      <a:pt x="104" y="358"/>
                    </a:lnTo>
                    <a:lnTo>
                      <a:pt x="104" y="356"/>
                    </a:lnTo>
                    <a:lnTo>
                      <a:pt x="104" y="358"/>
                    </a:lnTo>
                    <a:lnTo>
                      <a:pt x="106" y="358"/>
                    </a:lnTo>
                    <a:lnTo>
                      <a:pt x="108" y="358"/>
                    </a:lnTo>
                    <a:lnTo>
                      <a:pt x="108" y="360"/>
                    </a:lnTo>
                    <a:lnTo>
                      <a:pt x="106" y="360"/>
                    </a:lnTo>
                    <a:lnTo>
                      <a:pt x="108" y="360"/>
                    </a:lnTo>
                    <a:lnTo>
                      <a:pt x="106" y="362"/>
                    </a:lnTo>
                    <a:lnTo>
                      <a:pt x="106" y="360"/>
                    </a:lnTo>
                    <a:lnTo>
                      <a:pt x="106" y="362"/>
                    </a:lnTo>
                    <a:lnTo>
                      <a:pt x="104" y="364"/>
                    </a:lnTo>
                    <a:lnTo>
                      <a:pt x="102" y="364"/>
                    </a:lnTo>
                    <a:lnTo>
                      <a:pt x="102" y="365"/>
                    </a:lnTo>
                    <a:lnTo>
                      <a:pt x="100" y="365"/>
                    </a:lnTo>
                    <a:lnTo>
                      <a:pt x="100" y="367"/>
                    </a:lnTo>
                    <a:lnTo>
                      <a:pt x="100" y="369"/>
                    </a:lnTo>
                    <a:lnTo>
                      <a:pt x="98" y="369"/>
                    </a:lnTo>
                    <a:lnTo>
                      <a:pt x="100" y="369"/>
                    </a:lnTo>
                    <a:lnTo>
                      <a:pt x="100" y="367"/>
                    </a:lnTo>
                    <a:lnTo>
                      <a:pt x="100" y="369"/>
                    </a:lnTo>
                    <a:lnTo>
                      <a:pt x="100" y="367"/>
                    </a:lnTo>
                    <a:lnTo>
                      <a:pt x="100" y="369"/>
                    </a:lnTo>
                    <a:lnTo>
                      <a:pt x="100" y="367"/>
                    </a:lnTo>
                    <a:lnTo>
                      <a:pt x="100" y="369"/>
                    </a:lnTo>
                    <a:lnTo>
                      <a:pt x="98" y="369"/>
                    </a:lnTo>
                    <a:lnTo>
                      <a:pt x="96" y="369"/>
                    </a:lnTo>
                    <a:lnTo>
                      <a:pt x="98" y="369"/>
                    </a:lnTo>
                    <a:lnTo>
                      <a:pt x="96" y="369"/>
                    </a:lnTo>
                    <a:lnTo>
                      <a:pt x="96" y="367"/>
                    </a:lnTo>
                    <a:lnTo>
                      <a:pt x="96" y="365"/>
                    </a:lnTo>
                    <a:lnTo>
                      <a:pt x="96" y="364"/>
                    </a:lnTo>
                    <a:lnTo>
                      <a:pt x="96" y="362"/>
                    </a:lnTo>
                    <a:lnTo>
                      <a:pt x="96" y="360"/>
                    </a:lnTo>
                    <a:lnTo>
                      <a:pt x="96" y="358"/>
                    </a:lnTo>
                    <a:lnTo>
                      <a:pt x="98" y="358"/>
                    </a:lnTo>
                    <a:lnTo>
                      <a:pt x="98" y="356"/>
                    </a:lnTo>
                    <a:lnTo>
                      <a:pt x="96" y="356"/>
                    </a:lnTo>
                    <a:lnTo>
                      <a:pt x="96" y="358"/>
                    </a:lnTo>
                    <a:lnTo>
                      <a:pt x="96" y="356"/>
                    </a:lnTo>
                    <a:lnTo>
                      <a:pt x="96" y="358"/>
                    </a:lnTo>
                    <a:lnTo>
                      <a:pt x="94" y="358"/>
                    </a:lnTo>
                    <a:lnTo>
                      <a:pt x="92" y="358"/>
                    </a:lnTo>
                    <a:lnTo>
                      <a:pt x="90" y="358"/>
                    </a:lnTo>
                    <a:lnTo>
                      <a:pt x="90" y="360"/>
                    </a:lnTo>
                    <a:lnTo>
                      <a:pt x="90" y="362"/>
                    </a:lnTo>
                    <a:lnTo>
                      <a:pt x="88" y="362"/>
                    </a:lnTo>
                    <a:lnTo>
                      <a:pt x="88" y="364"/>
                    </a:lnTo>
                    <a:lnTo>
                      <a:pt x="88" y="365"/>
                    </a:lnTo>
                    <a:lnTo>
                      <a:pt x="88" y="367"/>
                    </a:lnTo>
                    <a:lnTo>
                      <a:pt x="90" y="367"/>
                    </a:lnTo>
                    <a:lnTo>
                      <a:pt x="92" y="369"/>
                    </a:lnTo>
                    <a:lnTo>
                      <a:pt x="94" y="367"/>
                    </a:lnTo>
                    <a:lnTo>
                      <a:pt x="94" y="369"/>
                    </a:lnTo>
                    <a:lnTo>
                      <a:pt x="94" y="367"/>
                    </a:lnTo>
                    <a:lnTo>
                      <a:pt x="94" y="369"/>
                    </a:lnTo>
                    <a:lnTo>
                      <a:pt x="92" y="369"/>
                    </a:lnTo>
                    <a:lnTo>
                      <a:pt x="90" y="369"/>
                    </a:lnTo>
                    <a:lnTo>
                      <a:pt x="88" y="369"/>
                    </a:lnTo>
                    <a:lnTo>
                      <a:pt x="86" y="369"/>
                    </a:lnTo>
                    <a:lnTo>
                      <a:pt x="85" y="369"/>
                    </a:lnTo>
                    <a:lnTo>
                      <a:pt x="86" y="369"/>
                    </a:lnTo>
                    <a:lnTo>
                      <a:pt x="88" y="369"/>
                    </a:lnTo>
                    <a:lnTo>
                      <a:pt x="90" y="371"/>
                    </a:lnTo>
                    <a:lnTo>
                      <a:pt x="88" y="369"/>
                    </a:lnTo>
                    <a:lnTo>
                      <a:pt x="88" y="371"/>
                    </a:lnTo>
                    <a:lnTo>
                      <a:pt x="90" y="371"/>
                    </a:lnTo>
                    <a:lnTo>
                      <a:pt x="88" y="371"/>
                    </a:lnTo>
                    <a:lnTo>
                      <a:pt x="86" y="371"/>
                    </a:lnTo>
                    <a:lnTo>
                      <a:pt x="86" y="373"/>
                    </a:lnTo>
                    <a:lnTo>
                      <a:pt x="86" y="371"/>
                    </a:lnTo>
                    <a:lnTo>
                      <a:pt x="86" y="373"/>
                    </a:lnTo>
                    <a:lnTo>
                      <a:pt x="88" y="373"/>
                    </a:lnTo>
                    <a:lnTo>
                      <a:pt x="86" y="373"/>
                    </a:lnTo>
                    <a:lnTo>
                      <a:pt x="88" y="373"/>
                    </a:lnTo>
                    <a:lnTo>
                      <a:pt x="88" y="371"/>
                    </a:lnTo>
                    <a:lnTo>
                      <a:pt x="88" y="373"/>
                    </a:lnTo>
                    <a:lnTo>
                      <a:pt x="86" y="373"/>
                    </a:lnTo>
                    <a:lnTo>
                      <a:pt x="86" y="375"/>
                    </a:lnTo>
                    <a:lnTo>
                      <a:pt x="85" y="375"/>
                    </a:lnTo>
                    <a:lnTo>
                      <a:pt x="86" y="375"/>
                    </a:lnTo>
                    <a:lnTo>
                      <a:pt x="85" y="375"/>
                    </a:lnTo>
                    <a:lnTo>
                      <a:pt x="86" y="375"/>
                    </a:lnTo>
                    <a:lnTo>
                      <a:pt x="86" y="373"/>
                    </a:lnTo>
                    <a:lnTo>
                      <a:pt x="88" y="373"/>
                    </a:lnTo>
                    <a:lnTo>
                      <a:pt x="88" y="375"/>
                    </a:lnTo>
                    <a:lnTo>
                      <a:pt x="86" y="375"/>
                    </a:lnTo>
                    <a:lnTo>
                      <a:pt x="86" y="377"/>
                    </a:lnTo>
                    <a:lnTo>
                      <a:pt x="86" y="375"/>
                    </a:lnTo>
                    <a:lnTo>
                      <a:pt x="86" y="377"/>
                    </a:lnTo>
                    <a:lnTo>
                      <a:pt x="85" y="377"/>
                    </a:lnTo>
                    <a:lnTo>
                      <a:pt x="83" y="379"/>
                    </a:lnTo>
                    <a:lnTo>
                      <a:pt x="83" y="377"/>
                    </a:lnTo>
                    <a:lnTo>
                      <a:pt x="83" y="375"/>
                    </a:lnTo>
                    <a:lnTo>
                      <a:pt x="83" y="377"/>
                    </a:lnTo>
                    <a:lnTo>
                      <a:pt x="81" y="379"/>
                    </a:lnTo>
                    <a:lnTo>
                      <a:pt x="81" y="381"/>
                    </a:lnTo>
                    <a:lnTo>
                      <a:pt x="79" y="381"/>
                    </a:lnTo>
                    <a:lnTo>
                      <a:pt x="79" y="383"/>
                    </a:lnTo>
                    <a:lnTo>
                      <a:pt x="79" y="385"/>
                    </a:lnTo>
                    <a:lnTo>
                      <a:pt x="77" y="385"/>
                    </a:lnTo>
                    <a:lnTo>
                      <a:pt x="79" y="385"/>
                    </a:lnTo>
                    <a:lnTo>
                      <a:pt x="79" y="387"/>
                    </a:lnTo>
                    <a:lnTo>
                      <a:pt x="77" y="387"/>
                    </a:lnTo>
                    <a:lnTo>
                      <a:pt x="79" y="387"/>
                    </a:lnTo>
                    <a:lnTo>
                      <a:pt x="79" y="385"/>
                    </a:lnTo>
                    <a:lnTo>
                      <a:pt x="79" y="383"/>
                    </a:lnTo>
                    <a:lnTo>
                      <a:pt x="81" y="381"/>
                    </a:lnTo>
                    <a:lnTo>
                      <a:pt x="83" y="381"/>
                    </a:lnTo>
                    <a:lnTo>
                      <a:pt x="81" y="381"/>
                    </a:lnTo>
                    <a:lnTo>
                      <a:pt x="81" y="379"/>
                    </a:lnTo>
                    <a:lnTo>
                      <a:pt x="83" y="379"/>
                    </a:lnTo>
                    <a:lnTo>
                      <a:pt x="83" y="377"/>
                    </a:lnTo>
                    <a:lnTo>
                      <a:pt x="83" y="379"/>
                    </a:lnTo>
                    <a:lnTo>
                      <a:pt x="85" y="379"/>
                    </a:lnTo>
                    <a:lnTo>
                      <a:pt x="85" y="377"/>
                    </a:lnTo>
                    <a:lnTo>
                      <a:pt x="85" y="379"/>
                    </a:lnTo>
                    <a:lnTo>
                      <a:pt x="83" y="379"/>
                    </a:lnTo>
                    <a:lnTo>
                      <a:pt x="85" y="379"/>
                    </a:lnTo>
                    <a:lnTo>
                      <a:pt x="83" y="379"/>
                    </a:lnTo>
                    <a:lnTo>
                      <a:pt x="83" y="381"/>
                    </a:lnTo>
                    <a:lnTo>
                      <a:pt x="85" y="381"/>
                    </a:lnTo>
                    <a:lnTo>
                      <a:pt x="83" y="381"/>
                    </a:lnTo>
                    <a:lnTo>
                      <a:pt x="83" y="379"/>
                    </a:lnTo>
                    <a:lnTo>
                      <a:pt x="83" y="381"/>
                    </a:lnTo>
                    <a:lnTo>
                      <a:pt x="83" y="379"/>
                    </a:lnTo>
                    <a:lnTo>
                      <a:pt x="83" y="381"/>
                    </a:lnTo>
                    <a:lnTo>
                      <a:pt x="83" y="379"/>
                    </a:lnTo>
                    <a:lnTo>
                      <a:pt x="83" y="381"/>
                    </a:lnTo>
                    <a:lnTo>
                      <a:pt x="83" y="383"/>
                    </a:lnTo>
                    <a:lnTo>
                      <a:pt x="85" y="383"/>
                    </a:lnTo>
                    <a:lnTo>
                      <a:pt x="83" y="383"/>
                    </a:lnTo>
                    <a:lnTo>
                      <a:pt x="85" y="383"/>
                    </a:lnTo>
                    <a:lnTo>
                      <a:pt x="83" y="383"/>
                    </a:lnTo>
                    <a:lnTo>
                      <a:pt x="85" y="383"/>
                    </a:lnTo>
                    <a:lnTo>
                      <a:pt x="83" y="383"/>
                    </a:lnTo>
                    <a:lnTo>
                      <a:pt x="85" y="383"/>
                    </a:lnTo>
                    <a:lnTo>
                      <a:pt x="85" y="381"/>
                    </a:lnTo>
                    <a:lnTo>
                      <a:pt x="85" y="383"/>
                    </a:lnTo>
                    <a:lnTo>
                      <a:pt x="86" y="383"/>
                    </a:lnTo>
                    <a:lnTo>
                      <a:pt x="85" y="383"/>
                    </a:lnTo>
                    <a:lnTo>
                      <a:pt x="86" y="383"/>
                    </a:lnTo>
                    <a:lnTo>
                      <a:pt x="85" y="383"/>
                    </a:lnTo>
                    <a:lnTo>
                      <a:pt x="86" y="383"/>
                    </a:lnTo>
                    <a:lnTo>
                      <a:pt x="86" y="381"/>
                    </a:lnTo>
                    <a:lnTo>
                      <a:pt x="86" y="383"/>
                    </a:lnTo>
                    <a:lnTo>
                      <a:pt x="86" y="381"/>
                    </a:lnTo>
                    <a:lnTo>
                      <a:pt x="85" y="381"/>
                    </a:lnTo>
                    <a:lnTo>
                      <a:pt x="86" y="381"/>
                    </a:lnTo>
                    <a:lnTo>
                      <a:pt x="85" y="381"/>
                    </a:lnTo>
                    <a:lnTo>
                      <a:pt x="85" y="383"/>
                    </a:lnTo>
                    <a:lnTo>
                      <a:pt x="86" y="383"/>
                    </a:lnTo>
                    <a:lnTo>
                      <a:pt x="85" y="383"/>
                    </a:lnTo>
                    <a:lnTo>
                      <a:pt x="85" y="381"/>
                    </a:lnTo>
                    <a:lnTo>
                      <a:pt x="86" y="381"/>
                    </a:lnTo>
                    <a:lnTo>
                      <a:pt x="85" y="381"/>
                    </a:lnTo>
                    <a:lnTo>
                      <a:pt x="86" y="381"/>
                    </a:lnTo>
                    <a:lnTo>
                      <a:pt x="85" y="381"/>
                    </a:lnTo>
                    <a:lnTo>
                      <a:pt x="86" y="381"/>
                    </a:lnTo>
                    <a:lnTo>
                      <a:pt x="85" y="381"/>
                    </a:lnTo>
                    <a:lnTo>
                      <a:pt x="86" y="381"/>
                    </a:lnTo>
                    <a:lnTo>
                      <a:pt x="88" y="381"/>
                    </a:lnTo>
                    <a:lnTo>
                      <a:pt x="86" y="381"/>
                    </a:lnTo>
                    <a:lnTo>
                      <a:pt x="88" y="381"/>
                    </a:lnTo>
                    <a:lnTo>
                      <a:pt x="86" y="379"/>
                    </a:lnTo>
                    <a:lnTo>
                      <a:pt x="88" y="379"/>
                    </a:lnTo>
                    <a:lnTo>
                      <a:pt x="86" y="379"/>
                    </a:lnTo>
                    <a:lnTo>
                      <a:pt x="88" y="381"/>
                    </a:lnTo>
                    <a:lnTo>
                      <a:pt x="88" y="379"/>
                    </a:lnTo>
                    <a:lnTo>
                      <a:pt x="88" y="381"/>
                    </a:lnTo>
                    <a:lnTo>
                      <a:pt x="88" y="379"/>
                    </a:lnTo>
                    <a:lnTo>
                      <a:pt x="88" y="381"/>
                    </a:lnTo>
                    <a:lnTo>
                      <a:pt x="88" y="379"/>
                    </a:lnTo>
                    <a:lnTo>
                      <a:pt x="90" y="379"/>
                    </a:lnTo>
                    <a:lnTo>
                      <a:pt x="90" y="377"/>
                    </a:lnTo>
                    <a:lnTo>
                      <a:pt x="88" y="377"/>
                    </a:lnTo>
                    <a:lnTo>
                      <a:pt x="90" y="377"/>
                    </a:lnTo>
                    <a:lnTo>
                      <a:pt x="90" y="379"/>
                    </a:lnTo>
                    <a:lnTo>
                      <a:pt x="88" y="379"/>
                    </a:lnTo>
                    <a:lnTo>
                      <a:pt x="86" y="379"/>
                    </a:lnTo>
                    <a:lnTo>
                      <a:pt x="85" y="379"/>
                    </a:lnTo>
                    <a:lnTo>
                      <a:pt x="86" y="379"/>
                    </a:lnTo>
                    <a:lnTo>
                      <a:pt x="85" y="379"/>
                    </a:lnTo>
                    <a:lnTo>
                      <a:pt x="85" y="381"/>
                    </a:lnTo>
                    <a:lnTo>
                      <a:pt x="85" y="379"/>
                    </a:lnTo>
                    <a:lnTo>
                      <a:pt x="85" y="381"/>
                    </a:lnTo>
                    <a:lnTo>
                      <a:pt x="85" y="379"/>
                    </a:lnTo>
                    <a:lnTo>
                      <a:pt x="85" y="377"/>
                    </a:lnTo>
                    <a:lnTo>
                      <a:pt x="86" y="377"/>
                    </a:lnTo>
                    <a:lnTo>
                      <a:pt x="86" y="375"/>
                    </a:lnTo>
                    <a:lnTo>
                      <a:pt x="88" y="375"/>
                    </a:lnTo>
                    <a:lnTo>
                      <a:pt x="86" y="373"/>
                    </a:lnTo>
                    <a:lnTo>
                      <a:pt x="88" y="373"/>
                    </a:lnTo>
                    <a:lnTo>
                      <a:pt x="90" y="373"/>
                    </a:lnTo>
                    <a:lnTo>
                      <a:pt x="90" y="371"/>
                    </a:lnTo>
                    <a:lnTo>
                      <a:pt x="92" y="371"/>
                    </a:lnTo>
                    <a:lnTo>
                      <a:pt x="92" y="369"/>
                    </a:lnTo>
                    <a:lnTo>
                      <a:pt x="92" y="371"/>
                    </a:lnTo>
                    <a:lnTo>
                      <a:pt x="94" y="371"/>
                    </a:lnTo>
                    <a:lnTo>
                      <a:pt x="96" y="371"/>
                    </a:lnTo>
                    <a:lnTo>
                      <a:pt x="98" y="371"/>
                    </a:lnTo>
                    <a:lnTo>
                      <a:pt x="96" y="371"/>
                    </a:lnTo>
                    <a:lnTo>
                      <a:pt x="98" y="371"/>
                    </a:lnTo>
                    <a:lnTo>
                      <a:pt x="96" y="371"/>
                    </a:lnTo>
                    <a:lnTo>
                      <a:pt x="98" y="371"/>
                    </a:lnTo>
                    <a:lnTo>
                      <a:pt x="96" y="371"/>
                    </a:lnTo>
                    <a:lnTo>
                      <a:pt x="94" y="371"/>
                    </a:lnTo>
                    <a:lnTo>
                      <a:pt x="92" y="371"/>
                    </a:lnTo>
                    <a:lnTo>
                      <a:pt x="92" y="373"/>
                    </a:lnTo>
                    <a:lnTo>
                      <a:pt x="92" y="375"/>
                    </a:lnTo>
                    <a:lnTo>
                      <a:pt x="92" y="373"/>
                    </a:lnTo>
                    <a:lnTo>
                      <a:pt x="94" y="373"/>
                    </a:lnTo>
                    <a:lnTo>
                      <a:pt x="92" y="373"/>
                    </a:lnTo>
                    <a:lnTo>
                      <a:pt x="92" y="375"/>
                    </a:lnTo>
                    <a:lnTo>
                      <a:pt x="92" y="373"/>
                    </a:lnTo>
                    <a:lnTo>
                      <a:pt x="92" y="375"/>
                    </a:lnTo>
                    <a:lnTo>
                      <a:pt x="94" y="373"/>
                    </a:lnTo>
                    <a:lnTo>
                      <a:pt x="92" y="375"/>
                    </a:lnTo>
                    <a:lnTo>
                      <a:pt x="92" y="377"/>
                    </a:lnTo>
                    <a:lnTo>
                      <a:pt x="92" y="375"/>
                    </a:lnTo>
                    <a:lnTo>
                      <a:pt x="92" y="377"/>
                    </a:lnTo>
                    <a:lnTo>
                      <a:pt x="94" y="377"/>
                    </a:lnTo>
                    <a:lnTo>
                      <a:pt x="94" y="375"/>
                    </a:lnTo>
                    <a:lnTo>
                      <a:pt x="94" y="377"/>
                    </a:lnTo>
                    <a:lnTo>
                      <a:pt x="92" y="377"/>
                    </a:lnTo>
                    <a:lnTo>
                      <a:pt x="92" y="379"/>
                    </a:lnTo>
                    <a:lnTo>
                      <a:pt x="92" y="377"/>
                    </a:lnTo>
                    <a:lnTo>
                      <a:pt x="92" y="379"/>
                    </a:lnTo>
                    <a:lnTo>
                      <a:pt x="90" y="379"/>
                    </a:lnTo>
                    <a:lnTo>
                      <a:pt x="92" y="379"/>
                    </a:lnTo>
                    <a:lnTo>
                      <a:pt x="90" y="379"/>
                    </a:lnTo>
                    <a:lnTo>
                      <a:pt x="90" y="377"/>
                    </a:lnTo>
                    <a:lnTo>
                      <a:pt x="90" y="379"/>
                    </a:lnTo>
                    <a:lnTo>
                      <a:pt x="90" y="377"/>
                    </a:lnTo>
                    <a:lnTo>
                      <a:pt x="90" y="379"/>
                    </a:lnTo>
                    <a:lnTo>
                      <a:pt x="90" y="381"/>
                    </a:lnTo>
                    <a:lnTo>
                      <a:pt x="90" y="379"/>
                    </a:lnTo>
                    <a:lnTo>
                      <a:pt x="90" y="381"/>
                    </a:lnTo>
                    <a:lnTo>
                      <a:pt x="90" y="379"/>
                    </a:lnTo>
                    <a:lnTo>
                      <a:pt x="90" y="381"/>
                    </a:lnTo>
                    <a:lnTo>
                      <a:pt x="90" y="379"/>
                    </a:lnTo>
                    <a:lnTo>
                      <a:pt x="90" y="381"/>
                    </a:lnTo>
                    <a:lnTo>
                      <a:pt x="90" y="379"/>
                    </a:lnTo>
                    <a:lnTo>
                      <a:pt x="92" y="379"/>
                    </a:lnTo>
                    <a:lnTo>
                      <a:pt x="92" y="381"/>
                    </a:lnTo>
                    <a:lnTo>
                      <a:pt x="92" y="379"/>
                    </a:lnTo>
                    <a:lnTo>
                      <a:pt x="94" y="379"/>
                    </a:lnTo>
                    <a:lnTo>
                      <a:pt x="92" y="379"/>
                    </a:lnTo>
                    <a:lnTo>
                      <a:pt x="92" y="381"/>
                    </a:lnTo>
                    <a:lnTo>
                      <a:pt x="90" y="381"/>
                    </a:lnTo>
                    <a:lnTo>
                      <a:pt x="88" y="381"/>
                    </a:lnTo>
                    <a:lnTo>
                      <a:pt x="88" y="383"/>
                    </a:lnTo>
                    <a:lnTo>
                      <a:pt x="88" y="381"/>
                    </a:lnTo>
                    <a:lnTo>
                      <a:pt x="88" y="383"/>
                    </a:lnTo>
                    <a:lnTo>
                      <a:pt x="88" y="385"/>
                    </a:lnTo>
                    <a:lnTo>
                      <a:pt x="86" y="385"/>
                    </a:lnTo>
                    <a:lnTo>
                      <a:pt x="86" y="387"/>
                    </a:lnTo>
                    <a:lnTo>
                      <a:pt x="85" y="387"/>
                    </a:lnTo>
                    <a:lnTo>
                      <a:pt x="86" y="387"/>
                    </a:lnTo>
                    <a:lnTo>
                      <a:pt x="88" y="385"/>
                    </a:lnTo>
                    <a:lnTo>
                      <a:pt x="88" y="383"/>
                    </a:lnTo>
                    <a:lnTo>
                      <a:pt x="88" y="385"/>
                    </a:lnTo>
                    <a:lnTo>
                      <a:pt x="88" y="387"/>
                    </a:lnTo>
                    <a:lnTo>
                      <a:pt x="86" y="387"/>
                    </a:lnTo>
                    <a:lnTo>
                      <a:pt x="86" y="389"/>
                    </a:lnTo>
                    <a:lnTo>
                      <a:pt x="86" y="387"/>
                    </a:lnTo>
                    <a:lnTo>
                      <a:pt x="86" y="389"/>
                    </a:lnTo>
                    <a:lnTo>
                      <a:pt x="88" y="389"/>
                    </a:lnTo>
                    <a:lnTo>
                      <a:pt x="88" y="387"/>
                    </a:lnTo>
                    <a:lnTo>
                      <a:pt x="88" y="389"/>
                    </a:lnTo>
                    <a:lnTo>
                      <a:pt x="86" y="389"/>
                    </a:lnTo>
                    <a:lnTo>
                      <a:pt x="86" y="390"/>
                    </a:lnTo>
                    <a:lnTo>
                      <a:pt x="86" y="389"/>
                    </a:lnTo>
                    <a:lnTo>
                      <a:pt x="88" y="389"/>
                    </a:lnTo>
                    <a:lnTo>
                      <a:pt x="86" y="390"/>
                    </a:lnTo>
                    <a:lnTo>
                      <a:pt x="86" y="389"/>
                    </a:lnTo>
                    <a:lnTo>
                      <a:pt x="85" y="389"/>
                    </a:lnTo>
                    <a:lnTo>
                      <a:pt x="83" y="389"/>
                    </a:lnTo>
                    <a:lnTo>
                      <a:pt x="83" y="390"/>
                    </a:lnTo>
                    <a:lnTo>
                      <a:pt x="81" y="390"/>
                    </a:lnTo>
                    <a:lnTo>
                      <a:pt x="81" y="392"/>
                    </a:lnTo>
                    <a:lnTo>
                      <a:pt x="79" y="392"/>
                    </a:lnTo>
                    <a:lnTo>
                      <a:pt x="79" y="394"/>
                    </a:lnTo>
                    <a:lnTo>
                      <a:pt x="77" y="394"/>
                    </a:lnTo>
                    <a:lnTo>
                      <a:pt x="79" y="394"/>
                    </a:lnTo>
                    <a:lnTo>
                      <a:pt x="77" y="394"/>
                    </a:lnTo>
                    <a:lnTo>
                      <a:pt x="77" y="396"/>
                    </a:lnTo>
                    <a:lnTo>
                      <a:pt x="75" y="396"/>
                    </a:lnTo>
                    <a:lnTo>
                      <a:pt x="73" y="396"/>
                    </a:lnTo>
                    <a:lnTo>
                      <a:pt x="73" y="394"/>
                    </a:lnTo>
                    <a:lnTo>
                      <a:pt x="75" y="394"/>
                    </a:lnTo>
                    <a:lnTo>
                      <a:pt x="73" y="394"/>
                    </a:lnTo>
                    <a:lnTo>
                      <a:pt x="73" y="392"/>
                    </a:lnTo>
                    <a:lnTo>
                      <a:pt x="75" y="390"/>
                    </a:lnTo>
                    <a:lnTo>
                      <a:pt x="73" y="390"/>
                    </a:lnTo>
                    <a:lnTo>
                      <a:pt x="75" y="389"/>
                    </a:lnTo>
                    <a:lnTo>
                      <a:pt x="75" y="387"/>
                    </a:lnTo>
                    <a:lnTo>
                      <a:pt x="77" y="387"/>
                    </a:lnTo>
                    <a:lnTo>
                      <a:pt x="75" y="387"/>
                    </a:lnTo>
                    <a:lnTo>
                      <a:pt x="75" y="389"/>
                    </a:lnTo>
                    <a:lnTo>
                      <a:pt x="73" y="389"/>
                    </a:lnTo>
                    <a:lnTo>
                      <a:pt x="73" y="387"/>
                    </a:lnTo>
                    <a:lnTo>
                      <a:pt x="75" y="387"/>
                    </a:lnTo>
                    <a:lnTo>
                      <a:pt x="77" y="387"/>
                    </a:lnTo>
                    <a:lnTo>
                      <a:pt x="75" y="387"/>
                    </a:lnTo>
                    <a:lnTo>
                      <a:pt x="77" y="387"/>
                    </a:lnTo>
                    <a:lnTo>
                      <a:pt x="75" y="387"/>
                    </a:lnTo>
                    <a:lnTo>
                      <a:pt x="73" y="387"/>
                    </a:lnTo>
                    <a:lnTo>
                      <a:pt x="71" y="387"/>
                    </a:lnTo>
                    <a:lnTo>
                      <a:pt x="71" y="389"/>
                    </a:lnTo>
                    <a:lnTo>
                      <a:pt x="71" y="390"/>
                    </a:lnTo>
                    <a:lnTo>
                      <a:pt x="71" y="392"/>
                    </a:lnTo>
                    <a:lnTo>
                      <a:pt x="73" y="392"/>
                    </a:lnTo>
                    <a:lnTo>
                      <a:pt x="71" y="392"/>
                    </a:lnTo>
                    <a:lnTo>
                      <a:pt x="71" y="394"/>
                    </a:lnTo>
                    <a:lnTo>
                      <a:pt x="71" y="396"/>
                    </a:lnTo>
                    <a:lnTo>
                      <a:pt x="69" y="398"/>
                    </a:lnTo>
                    <a:lnTo>
                      <a:pt x="71" y="398"/>
                    </a:lnTo>
                    <a:lnTo>
                      <a:pt x="69" y="398"/>
                    </a:lnTo>
                    <a:lnTo>
                      <a:pt x="71" y="398"/>
                    </a:lnTo>
                    <a:lnTo>
                      <a:pt x="69" y="398"/>
                    </a:lnTo>
                    <a:lnTo>
                      <a:pt x="71" y="398"/>
                    </a:lnTo>
                    <a:lnTo>
                      <a:pt x="69" y="398"/>
                    </a:lnTo>
                    <a:lnTo>
                      <a:pt x="71" y="398"/>
                    </a:lnTo>
                    <a:lnTo>
                      <a:pt x="69" y="398"/>
                    </a:lnTo>
                    <a:lnTo>
                      <a:pt x="69" y="400"/>
                    </a:lnTo>
                    <a:lnTo>
                      <a:pt x="69" y="402"/>
                    </a:lnTo>
                    <a:lnTo>
                      <a:pt x="69" y="400"/>
                    </a:lnTo>
                    <a:lnTo>
                      <a:pt x="69" y="402"/>
                    </a:lnTo>
                    <a:lnTo>
                      <a:pt x="69" y="404"/>
                    </a:lnTo>
                    <a:lnTo>
                      <a:pt x="67" y="404"/>
                    </a:lnTo>
                    <a:lnTo>
                      <a:pt x="69" y="404"/>
                    </a:lnTo>
                    <a:lnTo>
                      <a:pt x="67" y="404"/>
                    </a:lnTo>
                    <a:lnTo>
                      <a:pt x="67" y="406"/>
                    </a:lnTo>
                    <a:lnTo>
                      <a:pt x="69" y="404"/>
                    </a:lnTo>
                    <a:lnTo>
                      <a:pt x="67" y="404"/>
                    </a:lnTo>
                    <a:lnTo>
                      <a:pt x="69" y="404"/>
                    </a:lnTo>
                    <a:lnTo>
                      <a:pt x="69" y="406"/>
                    </a:lnTo>
                    <a:lnTo>
                      <a:pt x="67" y="406"/>
                    </a:lnTo>
                    <a:lnTo>
                      <a:pt x="69" y="406"/>
                    </a:lnTo>
                    <a:lnTo>
                      <a:pt x="69" y="404"/>
                    </a:lnTo>
                    <a:lnTo>
                      <a:pt x="69" y="406"/>
                    </a:lnTo>
                    <a:lnTo>
                      <a:pt x="67" y="406"/>
                    </a:lnTo>
                    <a:lnTo>
                      <a:pt x="67" y="404"/>
                    </a:lnTo>
                    <a:lnTo>
                      <a:pt x="67" y="402"/>
                    </a:lnTo>
                    <a:lnTo>
                      <a:pt x="67" y="404"/>
                    </a:lnTo>
                    <a:lnTo>
                      <a:pt x="67" y="402"/>
                    </a:lnTo>
                    <a:lnTo>
                      <a:pt x="67" y="404"/>
                    </a:lnTo>
                    <a:lnTo>
                      <a:pt x="65" y="404"/>
                    </a:lnTo>
                    <a:lnTo>
                      <a:pt x="67" y="404"/>
                    </a:lnTo>
                    <a:lnTo>
                      <a:pt x="67" y="406"/>
                    </a:lnTo>
                    <a:lnTo>
                      <a:pt x="65" y="406"/>
                    </a:lnTo>
                    <a:lnTo>
                      <a:pt x="67" y="406"/>
                    </a:lnTo>
                    <a:lnTo>
                      <a:pt x="65" y="408"/>
                    </a:lnTo>
                    <a:lnTo>
                      <a:pt x="65" y="410"/>
                    </a:lnTo>
                    <a:lnTo>
                      <a:pt x="63" y="412"/>
                    </a:lnTo>
                    <a:lnTo>
                      <a:pt x="65" y="410"/>
                    </a:lnTo>
                    <a:lnTo>
                      <a:pt x="65" y="412"/>
                    </a:lnTo>
                    <a:lnTo>
                      <a:pt x="63" y="412"/>
                    </a:lnTo>
                    <a:lnTo>
                      <a:pt x="65" y="412"/>
                    </a:lnTo>
                    <a:lnTo>
                      <a:pt x="63" y="412"/>
                    </a:lnTo>
                    <a:lnTo>
                      <a:pt x="61" y="412"/>
                    </a:lnTo>
                    <a:lnTo>
                      <a:pt x="63" y="412"/>
                    </a:lnTo>
                    <a:lnTo>
                      <a:pt x="63" y="414"/>
                    </a:lnTo>
                    <a:lnTo>
                      <a:pt x="61" y="414"/>
                    </a:lnTo>
                    <a:lnTo>
                      <a:pt x="63" y="414"/>
                    </a:lnTo>
                    <a:lnTo>
                      <a:pt x="63" y="415"/>
                    </a:lnTo>
                    <a:lnTo>
                      <a:pt x="65" y="415"/>
                    </a:lnTo>
                    <a:lnTo>
                      <a:pt x="65" y="414"/>
                    </a:lnTo>
                    <a:lnTo>
                      <a:pt x="63" y="414"/>
                    </a:lnTo>
                    <a:lnTo>
                      <a:pt x="65" y="414"/>
                    </a:lnTo>
                    <a:lnTo>
                      <a:pt x="65" y="415"/>
                    </a:lnTo>
                    <a:lnTo>
                      <a:pt x="63" y="415"/>
                    </a:lnTo>
                    <a:lnTo>
                      <a:pt x="65" y="415"/>
                    </a:lnTo>
                    <a:lnTo>
                      <a:pt x="63" y="415"/>
                    </a:lnTo>
                    <a:lnTo>
                      <a:pt x="63" y="417"/>
                    </a:lnTo>
                    <a:lnTo>
                      <a:pt x="65" y="417"/>
                    </a:lnTo>
                    <a:lnTo>
                      <a:pt x="63" y="417"/>
                    </a:lnTo>
                    <a:lnTo>
                      <a:pt x="61" y="417"/>
                    </a:lnTo>
                    <a:lnTo>
                      <a:pt x="61" y="419"/>
                    </a:lnTo>
                    <a:lnTo>
                      <a:pt x="60" y="419"/>
                    </a:lnTo>
                    <a:lnTo>
                      <a:pt x="60" y="421"/>
                    </a:lnTo>
                    <a:lnTo>
                      <a:pt x="60" y="419"/>
                    </a:lnTo>
                    <a:lnTo>
                      <a:pt x="60" y="421"/>
                    </a:lnTo>
                    <a:lnTo>
                      <a:pt x="60" y="419"/>
                    </a:lnTo>
                    <a:lnTo>
                      <a:pt x="58" y="419"/>
                    </a:lnTo>
                    <a:lnTo>
                      <a:pt x="58" y="417"/>
                    </a:lnTo>
                    <a:lnTo>
                      <a:pt x="56" y="417"/>
                    </a:lnTo>
                    <a:lnTo>
                      <a:pt x="54" y="417"/>
                    </a:lnTo>
                    <a:lnTo>
                      <a:pt x="54" y="419"/>
                    </a:lnTo>
                    <a:lnTo>
                      <a:pt x="52" y="417"/>
                    </a:lnTo>
                    <a:lnTo>
                      <a:pt x="54" y="419"/>
                    </a:lnTo>
                    <a:lnTo>
                      <a:pt x="52" y="419"/>
                    </a:lnTo>
                    <a:lnTo>
                      <a:pt x="52" y="417"/>
                    </a:lnTo>
                    <a:lnTo>
                      <a:pt x="50" y="417"/>
                    </a:lnTo>
                    <a:lnTo>
                      <a:pt x="50" y="419"/>
                    </a:lnTo>
                    <a:lnTo>
                      <a:pt x="50" y="417"/>
                    </a:lnTo>
                    <a:lnTo>
                      <a:pt x="50" y="419"/>
                    </a:lnTo>
                    <a:lnTo>
                      <a:pt x="48" y="419"/>
                    </a:lnTo>
                    <a:lnTo>
                      <a:pt x="46" y="419"/>
                    </a:lnTo>
                    <a:lnTo>
                      <a:pt x="44" y="419"/>
                    </a:lnTo>
                    <a:lnTo>
                      <a:pt x="42" y="419"/>
                    </a:lnTo>
                    <a:lnTo>
                      <a:pt x="42" y="421"/>
                    </a:lnTo>
                    <a:lnTo>
                      <a:pt x="40" y="421"/>
                    </a:lnTo>
                    <a:lnTo>
                      <a:pt x="40" y="423"/>
                    </a:lnTo>
                    <a:lnTo>
                      <a:pt x="40" y="421"/>
                    </a:lnTo>
                    <a:lnTo>
                      <a:pt x="40" y="419"/>
                    </a:lnTo>
                    <a:lnTo>
                      <a:pt x="40" y="417"/>
                    </a:lnTo>
                    <a:lnTo>
                      <a:pt x="40" y="415"/>
                    </a:lnTo>
                    <a:lnTo>
                      <a:pt x="40" y="414"/>
                    </a:lnTo>
                    <a:lnTo>
                      <a:pt x="38" y="414"/>
                    </a:lnTo>
                    <a:lnTo>
                      <a:pt x="40" y="412"/>
                    </a:lnTo>
                    <a:lnTo>
                      <a:pt x="38" y="412"/>
                    </a:lnTo>
                    <a:lnTo>
                      <a:pt x="38" y="410"/>
                    </a:lnTo>
                    <a:lnTo>
                      <a:pt x="36" y="412"/>
                    </a:lnTo>
                    <a:lnTo>
                      <a:pt x="36" y="410"/>
                    </a:lnTo>
                    <a:lnTo>
                      <a:pt x="36" y="408"/>
                    </a:lnTo>
                    <a:lnTo>
                      <a:pt x="36" y="410"/>
                    </a:lnTo>
                    <a:lnTo>
                      <a:pt x="36" y="408"/>
                    </a:lnTo>
                    <a:lnTo>
                      <a:pt x="36" y="410"/>
                    </a:lnTo>
                    <a:lnTo>
                      <a:pt x="36" y="412"/>
                    </a:lnTo>
                    <a:lnTo>
                      <a:pt x="38" y="410"/>
                    </a:lnTo>
                    <a:lnTo>
                      <a:pt x="38" y="412"/>
                    </a:lnTo>
                    <a:lnTo>
                      <a:pt x="40" y="412"/>
                    </a:lnTo>
                    <a:lnTo>
                      <a:pt x="38" y="414"/>
                    </a:lnTo>
                    <a:lnTo>
                      <a:pt x="40" y="414"/>
                    </a:lnTo>
                    <a:lnTo>
                      <a:pt x="40" y="415"/>
                    </a:lnTo>
                    <a:lnTo>
                      <a:pt x="38" y="417"/>
                    </a:lnTo>
                    <a:lnTo>
                      <a:pt x="40" y="417"/>
                    </a:lnTo>
                    <a:lnTo>
                      <a:pt x="40" y="419"/>
                    </a:lnTo>
                    <a:lnTo>
                      <a:pt x="40" y="421"/>
                    </a:lnTo>
                    <a:lnTo>
                      <a:pt x="40" y="423"/>
                    </a:lnTo>
                    <a:lnTo>
                      <a:pt x="38" y="423"/>
                    </a:lnTo>
                    <a:lnTo>
                      <a:pt x="40" y="423"/>
                    </a:lnTo>
                    <a:lnTo>
                      <a:pt x="42" y="423"/>
                    </a:lnTo>
                    <a:lnTo>
                      <a:pt x="40" y="423"/>
                    </a:lnTo>
                    <a:lnTo>
                      <a:pt x="40" y="421"/>
                    </a:lnTo>
                    <a:lnTo>
                      <a:pt x="42" y="421"/>
                    </a:lnTo>
                    <a:lnTo>
                      <a:pt x="42" y="419"/>
                    </a:lnTo>
                    <a:lnTo>
                      <a:pt x="44" y="419"/>
                    </a:lnTo>
                    <a:lnTo>
                      <a:pt x="46" y="419"/>
                    </a:lnTo>
                    <a:lnTo>
                      <a:pt x="46" y="421"/>
                    </a:lnTo>
                    <a:lnTo>
                      <a:pt x="46" y="419"/>
                    </a:lnTo>
                    <a:lnTo>
                      <a:pt x="48" y="419"/>
                    </a:lnTo>
                    <a:lnTo>
                      <a:pt x="50" y="419"/>
                    </a:lnTo>
                    <a:lnTo>
                      <a:pt x="48" y="419"/>
                    </a:lnTo>
                    <a:lnTo>
                      <a:pt x="50" y="419"/>
                    </a:lnTo>
                    <a:lnTo>
                      <a:pt x="50" y="417"/>
                    </a:lnTo>
                    <a:lnTo>
                      <a:pt x="52" y="417"/>
                    </a:lnTo>
                    <a:lnTo>
                      <a:pt x="50" y="417"/>
                    </a:lnTo>
                    <a:lnTo>
                      <a:pt x="52" y="417"/>
                    </a:lnTo>
                    <a:lnTo>
                      <a:pt x="52" y="419"/>
                    </a:lnTo>
                    <a:lnTo>
                      <a:pt x="52" y="417"/>
                    </a:lnTo>
                    <a:lnTo>
                      <a:pt x="52" y="419"/>
                    </a:lnTo>
                    <a:lnTo>
                      <a:pt x="54" y="419"/>
                    </a:lnTo>
                    <a:lnTo>
                      <a:pt x="52" y="419"/>
                    </a:lnTo>
                    <a:lnTo>
                      <a:pt x="52" y="421"/>
                    </a:lnTo>
                    <a:lnTo>
                      <a:pt x="52" y="423"/>
                    </a:lnTo>
                    <a:lnTo>
                      <a:pt x="50" y="423"/>
                    </a:lnTo>
                    <a:lnTo>
                      <a:pt x="52" y="423"/>
                    </a:lnTo>
                    <a:lnTo>
                      <a:pt x="52" y="421"/>
                    </a:lnTo>
                    <a:lnTo>
                      <a:pt x="52" y="423"/>
                    </a:lnTo>
                    <a:lnTo>
                      <a:pt x="52" y="421"/>
                    </a:lnTo>
                    <a:lnTo>
                      <a:pt x="52" y="423"/>
                    </a:lnTo>
                    <a:lnTo>
                      <a:pt x="52" y="421"/>
                    </a:lnTo>
                    <a:lnTo>
                      <a:pt x="52" y="423"/>
                    </a:lnTo>
                    <a:lnTo>
                      <a:pt x="52" y="421"/>
                    </a:lnTo>
                    <a:lnTo>
                      <a:pt x="52" y="423"/>
                    </a:lnTo>
                    <a:lnTo>
                      <a:pt x="54" y="423"/>
                    </a:lnTo>
                    <a:lnTo>
                      <a:pt x="52" y="423"/>
                    </a:lnTo>
                    <a:lnTo>
                      <a:pt x="54" y="423"/>
                    </a:lnTo>
                    <a:lnTo>
                      <a:pt x="54" y="421"/>
                    </a:lnTo>
                    <a:lnTo>
                      <a:pt x="56" y="421"/>
                    </a:lnTo>
                    <a:lnTo>
                      <a:pt x="56" y="419"/>
                    </a:lnTo>
                    <a:lnTo>
                      <a:pt x="54" y="419"/>
                    </a:lnTo>
                    <a:lnTo>
                      <a:pt x="56" y="417"/>
                    </a:lnTo>
                    <a:lnTo>
                      <a:pt x="58" y="419"/>
                    </a:lnTo>
                    <a:lnTo>
                      <a:pt x="58" y="417"/>
                    </a:lnTo>
                    <a:lnTo>
                      <a:pt x="58" y="419"/>
                    </a:lnTo>
                    <a:lnTo>
                      <a:pt x="58" y="421"/>
                    </a:lnTo>
                    <a:lnTo>
                      <a:pt x="58" y="423"/>
                    </a:lnTo>
                    <a:lnTo>
                      <a:pt x="58" y="425"/>
                    </a:lnTo>
                    <a:lnTo>
                      <a:pt x="58" y="423"/>
                    </a:lnTo>
                    <a:lnTo>
                      <a:pt x="60" y="423"/>
                    </a:lnTo>
                    <a:lnTo>
                      <a:pt x="60" y="421"/>
                    </a:lnTo>
                    <a:lnTo>
                      <a:pt x="60" y="423"/>
                    </a:lnTo>
                    <a:lnTo>
                      <a:pt x="60" y="421"/>
                    </a:lnTo>
                    <a:lnTo>
                      <a:pt x="60" y="423"/>
                    </a:lnTo>
                    <a:lnTo>
                      <a:pt x="60" y="421"/>
                    </a:lnTo>
                    <a:lnTo>
                      <a:pt x="60" y="423"/>
                    </a:lnTo>
                    <a:lnTo>
                      <a:pt x="61" y="423"/>
                    </a:lnTo>
                    <a:lnTo>
                      <a:pt x="60" y="423"/>
                    </a:lnTo>
                    <a:lnTo>
                      <a:pt x="60" y="421"/>
                    </a:lnTo>
                    <a:lnTo>
                      <a:pt x="61" y="421"/>
                    </a:lnTo>
                    <a:lnTo>
                      <a:pt x="63" y="421"/>
                    </a:lnTo>
                    <a:lnTo>
                      <a:pt x="61" y="421"/>
                    </a:lnTo>
                    <a:lnTo>
                      <a:pt x="63" y="421"/>
                    </a:lnTo>
                    <a:lnTo>
                      <a:pt x="63" y="423"/>
                    </a:lnTo>
                    <a:lnTo>
                      <a:pt x="63" y="425"/>
                    </a:lnTo>
                    <a:lnTo>
                      <a:pt x="65" y="425"/>
                    </a:lnTo>
                    <a:lnTo>
                      <a:pt x="65" y="423"/>
                    </a:lnTo>
                    <a:lnTo>
                      <a:pt x="63" y="423"/>
                    </a:lnTo>
                    <a:lnTo>
                      <a:pt x="65" y="423"/>
                    </a:lnTo>
                    <a:lnTo>
                      <a:pt x="65" y="421"/>
                    </a:lnTo>
                    <a:lnTo>
                      <a:pt x="63" y="421"/>
                    </a:lnTo>
                    <a:lnTo>
                      <a:pt x="63" y="419"/>
                    </a:lnTo>
                    <a:lnTo>
                      <a:pt x="65" y="419"/>
                    </a:lnTo>
                    <a:lnTo>
                      <a:pt x="63" y="419"/>
                    </a:lnTo>
                    <a:lnTo>
                      <a:pt x="63" y="421"/>
                    </a:lnTo>
                    <a:lnTo>
                      <a:pt x="63" y="419"/>
                    </a:lnTo>
                    <a:lnTo>
                      <a:pt x="63" y="421"/>
                    </a:lnTo>
                    <a:lnTo>
                      <a:pt x="63" y="419"/>
                    </a:lnTo>
                    <a:lnTo>
                      <a:pt x="65" y="419"/>
                    </a:lnTo>
                    <a:lnTo>
                      <a:pt x="65" y="421"/>
                    </a:lnTo>
                    <a:lnTo>
                      <a:pt x="65" y="419"/>
                    </a:lnTo>
                    <a:lnTo>
                      <a:pt x="65" y="421"/>
                    </a:lnTo>
                    <a:lnTo>
                      <a:pt x="67" y="421"/>
                    </a:lnTo>
                    <a:lnTo>
                      <a:pt x="65" y="421"/>
                    </a:lnTo>
                    <a:lnTo>
                      <a:pt x="67" y="421"/>
                    </a:lnTo>
                    <a:lnTo>
                      <a:pt x="65" y="421"/>
                    </a:lnTo>
                    <a:lnTo>
                      <a:pt x="67" y="421"/>
                    </a:lnTo>
                    <a:lnTo>
                      <a:pt x="67" y="419"/>
                    </a:lnTo>
                    <a:lnTo>
                      <a:pt x="65" y="419"/>
                    </a:lnTo>
                    <a:lnTo>
                      <a:pt x="65" y="417"/>
                    </a:lnTo>
                    <a:lnTo>
                      <a:pt x="65" y="419"/>
                    </a:lnTo>
                    <a:lnTo>
                      <a:pt x="65" y="417"/>
                    </a:lnTo>
                    <a:lnTo>
                      <a:pt x="65" y="419"/>
                    </a:lnTo>
                    <a:lnTo>
                      <a:pt x="65" y="417"/>
                    </a:lnTo>
                    <a:lnTo>
                      <a:pt x="67" y="417"/>
                    </a:lnTo>
                    <a:lnTo>
                      <a:pt x="65" y="417"/>
                    </a:lnTo>
                    <a:lnTo>
                      <a:pt x="67" y="417"/>
                    </a:lnTo>
                    <a:lnTo>
                      <a:pt x="67" y="419"/>
                    </a:lnTo>
                    <a:lnTo>
                      <a:pt x="67" y="421"/>
                    </a:lnTo>
                    <a:lnTo>
                      <a:pt x="69" y="419"/>
                    </a:lnTo>
                    <a:lnTo>
                      <a:pt x="69" y="421"/>
                    </a:lnTo>
                    <a:lnTo>
                      <a:pt x="67" y="421"/>
                    </a:lnTo>
                    <a:lnTo>
                      <a:pt x="69" y="421"/>
                    </a:lnTo>
                    <a:lnTo>
                      <a:pt x="67" y="421"/>
                    </a:lnTo>
                    <a:lnTo>
                      <a:pt x="69" y="421"/>
                    </a:lnTo>
                    <a:lnTo>
                      <a:pt x="67" y="421"/>
                    </a:lnTo>
                    <a:lnTo>
                      <a:pt x="69" y="421"/>
                    </a:lnTo>
                    <a:lnTo>
                      <a:pt x="69" y="423"/>
                    </a:lnTo>
                    <a:lnTo>
                      <a:pt x="69" y="425"/>
                    </a:lnTo>
                    <a:lnTo>
                      <a:pt x="69" y="423"/>
                    </a:lnTo>
                    <a:lnTo>
                      <a:pt x="67" y="425"/>
                    </a:lnTo>
                    <a:lnTo>
                      <a:pt x="67" y="423"/>
                    </a:lnTo>
                    <a:lnTo>
                      <a:pt x="67" y="425"/>
                    </a:lnTo>
                    <a:lnTo>
                      <a:pt x="67" y="423"/>
                    </a:lnTo>
                    <a:lnTo>
                      <a:pt x="65" y="423"/>
                    </a:lnTo>
                    <a:lnTo>
                      <a:pt x="65" y="425"/>
                    </a:lnTo>
                    <a:lnTo>
                      <a:pt x="67" y="425"/>
                    </a:lnTo>
                    <a:lnTo>
                      <a:pt x="69" y="427"/>
                    </a:lnTo>
                    <a:lnTo>
                      <a:pt x="67" y="427"/>
                    </a:lnTo>
                    <a:lnTo>
                      <a:pt x="69" y="427"/>
                    </a:lnTo>
                    <a:lnTo>
                      <a:pt x="67" y="427"/>
                    </a:lnTo>
                    <a:lnTo>
                      <a:pt x="69" y="427"/>
                    </a:lnTo>
                    <a:lnTo>
                      <a:pt x="69" y="429"/>
                    </a:lnTo>
                    <a:lnTo>
                      <a:pt x="67" y="429"/>
                    </a:lnTo>
                    <a:lnTo>
                      <a:pt x="65" y="429"/>
                    </a:lnTo>
                    <a:lnTo>
                      <a:pt x="63" y="429"/>
                    </a:lnTo>
                    <a:lnTo>
                      <a:pt x="65" y="429"/>
                    </a:lnTo>
                    <a:lnTo>
                      <a:pt x="63" y="429"/>
                    </a:lnTo>
                    <a:lnTo>
                      <a:pt x="63" y="431"/>
                    </a:lnTo>
                    <a:lnTo>
                      <a:pt x="63" y="429"/>
                    </a:lnTo>
                    <a:lnTo>
                      <a:pt x="65" y="429"/>
                    </a:lnTo>
                    <a:lnTo>
                      <a:pt x="65" y="431"/>
                    </a:lnTo>
                    <a:lnTo>
                      <a:pt x="65" y="429"/>
                    </a:lnTo>
                    <a:lnTo>
                      <a:pt x="67" y="429"/>
                    </a:lnTo>
                    <a:lnTo>
                      <a:pt x="67" y="431"/>
                    </a:lnTo>
                    <a:lnTo>
                      <a:pt x="67" y="429"/>
                    </a:lnTo>
                    <a:lnTo>
                      <a:pt x="67" y="431"/>
                    </a:lnTo>
                    <a:lnTo>
                      <a:pt x="67" y="429"/>
                    </a:lnTo>
                    <a:lnTo>
                      <a:pt x="67" y="431"/>
                    </a:lnTo>
                    <a:lnTo>
                      <a:pt x="69" y="431"/>
                    </a:lnTo>
                    <a:lnTo>
                      <a:pt x="69" y="433"/>
                    </a:lnTo>
                    <a:lnTo>
                      <a:pt x="69" y="431"/>
                    </a:lnTo>
                    <a:lnTo>
                      <a:pt x="67" y="431"/>
                    </a:lnTo>
                    <a:lnTo>
                      <a:pt x="69" y="431"/>
                    </a:lnTo>
                    <a:lnTo>
                      <a:pt x="67" y="431"/>
                    </a:lnTo>
                    <a:lnTo>
                      <a:pt x="67" y="429"/>
                    </a:lnTo>
                    <a:lnTo>
                      <a:pt x="67" y="431"/>
                    </a:lnTo>
                    <a:lnTo>
                      <a:pt x="69" y="431"/>
                    </a:lnTo>
                    <a:lnTo>
                      <a:pt x="69" y="429"/>
                    </a:lnTo>
                    <a:lnTo>
                      <a:pt x="69" y="431"/>
                    </a:lnTo>
                    <a:lnTo>
                      <a:pt x="69" y="429"/>
                    </a:lnTo>
                    <a:lnTo>
                      <a:pt x="69" y="431"/>
                    </a:lnTo>
                    <a:lnTo>
                      <a:pt x="69" y="429"/>
                    </a:lnTo>
                    <a:lnTo>
                      <a:pt x="69" y="431"/>
                    </a:lnTo>
                    <a:lnTo>
                      <a:pt x="71" y="431"/>
                    </a:lnTo>
                    <a:lnTo>
                      <a:pt x="71" y="433"/>
                    </a:lnTo>
                    <a:lnTo>
                      <a:pt x="71" y="431"/>
                    </a:lnTo>
                    <a:lnTo>
                      <a:pt x="69" y="431"/>
                    </a:lnTo>
                    <a:lnTo>
                      <a:pt x="69" y="433"/>
                    </a:lnTo>
                    <a:lnTo>
                      <a:pt x="69" y="431"/>
                    </a:lnTo>
                    <a:lnTo>
                      <a:pt x="69" y="433"/>
                    </a:lnTo>
                    <a:lnTo>
                      <a:pt x="71" y="433"/>
                    </a:lnTo>
                    <a:lnTo>
                      <a:pt x="69" y="433"/>
                    </a:lnTo>
                    <a:lnTo>
                      <a:pt x="71" y="433"/>
                    </a:lnTo>
                    <a:lnTo>
                      <a:pt x="71" y="435"/>
                    </a:lnTo>
                    <a:lnTo>
                      <a:pt x="69" y="435"/>
                    </a:lnTo>
                    <a:lnTo>
                      <a:pt x="71" y="435"/>
                    </a:lnTo>
                    <a:lnTo>
                      <a:pt x="69" y="435"/>
                    </a:lnTo>
                    <a:lnTo>
                      <a:pt x="71" y="435"/>
                    </a:lnTo>
                    <a:lnTo>
                      <a:pt x="69" y="435"/>
                    </a:lnTo>
                    <a:lnTo>
                      <a:pt x="69" y="437"/>
                    </a:lnTo>
                    <a:lnTo>
                      <a:pt x="69" y="435"/>
                    </a:lnTo>
                    <a:lnTo>
                      <a:pt x="69" y="437"/>
                    </a:lnTo>
                    <a:lnTo>
                      <a:pt x="67" y="437"/>
                    </a:lnTo>
                    <a:lnTo>
                      <a:pt x="67" y="438"/>
                    </a:lnTo>
                    <a:lnTo>
                      <a:pt x="67" y="437"/>
                    </a:lnTo>
                    <a:lnTo>
                      <a:pt x="67" y="438"/>
                    </a:lnTo>
                    <a:lnTo>
                      <a:pt x="65" y="437"/>
                    </a:lnTo>
                    <a:lnTo>
                      <a:pt x="65" y="438"/>
                    </a:lnTo>
                    <a:lnTo>
                      <a:pt x="67" y="438"/>
                    </a:lnTo>
                    <a:lnTo>
                      <a:pt x="67" y="440"/>
                    </a:lnTo>
                    <a:lnTo>
                      <a:pt x="65" y="440"/>
                    </a:lnTo>
                    <a:lnTo>
                      <a:pt x="67" y="440"/>
                    </a:lnTo>
                    <a:lnTo>
                      <a:pt x="67" y="442"/>
                    </a:lnTo>
                    <a:lnTo>
                      <a:pt x="67" y="440"/>
                    </a:lnTo>
                    <a:lnTo>
                      <a:pt x="65" y="440"/>
                    </a:lnTo>
                    <a:lnTo>
                      <a:pt x="65" y="442"/>
                    </a:lnTo>
                    <a:lnTo>
                      <a:pt x="67" y="442"/>
                    </a:lnTo>
                    <a:lnTo>
                      <a:pt x="67" y="444"/>
                    </a:lnTo>
                    <a:lnTo>
                      <a:pt x="67" y="442"/>
                    </a:lnTo>
                    <a:lnTo>
                      <a:pt x="67" y="444"/>
                    </a:lnTo>
                    <a:lnTo>
                      <a:pt x="67" y="442"/>
                    </a:lnTo>
                    <a:lnTo>
                      <a:pt x="67" y="444"/>
                    </a:lnTo>
                    <a:lnTo>
                      <a:pt x="67" y="442"/>
                    </a:lnTo>
                    <a:lnTo>
                      <a:pt x="67" y="444"/>
                    </a:lnTo>
                    <a:lnTo>
                      <a:pt x="69" y="444"/>
                    </a:lnTo>
                    <a:lnTo>
                      <a:pt x="69" y="442"/>
                    </a:lnTo>
                    <a:lnTo>
                      <a:pt x="69" y="440"/>
                    </a:lnTo>
                    <a:lnTo>
                      <a:pt x="69" y="442"/>
                    </a:lnTo>
                    <a:lnTo>
                      <a:pt x="69" y="440"/>
                    </a:lnTo>
                    <a:lnTo>
                      <a:pt x="69" y="438"/>
                    </a:lnTo>
                    <a:lnTo>
                      <a:pt x="69" y="440"/>
                    </a:lnTo>
                    <a:lnTo>
                      <a:pt x="69" y="438"/>
                    </a:lnTo>
                    <a:lnTo>
                      <a:pt x="69" y="437"/>
                    </a:lnTo>
                    <a:lnTo>
                      <a:pt x="69" y="438"/>
                    </a:lnTo>
                    <a:lnTo>
                      <a:pt x="71" y="438"/>
                    </a:lnTo>
                    <a:lnTo>
                      <a:pt x="71" y="440"/>
                    </a:lnTo>
                    <a:lnTo>
                      <a:pt x="71" y="438"/>
                    </a:lnTo>
                    <a:lnTo>
                      <a:pt x="71" y="440"/>
                    </a:lnTo>
                    <a:lnTo>
                      <a:pt x="71" y="438"/>
                    </a:lnTo>
                    <a:lnTo>
                      <a:pt x="71" y="437"/>
                    </a:lnTo>
                    <a:lnTo>
                      <a:pt x="69" y="437"/>
                    </a:lnTo>
                    <a:lnTo>
                      <a:pt x="69" y="438"/>
                    </a:lnTo>
                    <a:lnTo>
                      <a:pt x="69" y="437"/>
                    </a:lnTo>
                    <a:lnTo>
                      <a:pt x="71" y="437"/>
                    </a:lnTo>
                    <a:lnTo>
                      <a:pt x="71" y="438"/>
                    </a:lnTo>
                    <a:lnTo>
                      <a:pt x="71" y="437"/>
                    </a:lnTo>
                    <a:lnTo>
                      <a:pt x="71" y="438"/>
                    </a:lnTo>
                    <a:lnTo>
                      <a:pt x="71" y="437"/>
                    </a:lnTo>
                    <a:lnTo>
                      <a:pt x="69" y="437"/>
                    </a:lnTo>
                    <a:lnTo>
                      <a:pt x="71" y="437"/>
                    </a:lnTo>
                    <a:lnTo>
                      <a:pt x="69" y="437"/>
                    </a:lnTo>
                    <a:lnTo>
                      <a:pt x="71" y="437"/>
                    </a:lnTo>
                    <a:lnTo>
                      <a:pt x="71" y="435"/>
                    </a:lnTo>
                    <a:lnTo>
                      <a:pt x="71" y="433"/>
                    </a:lnTo>
                    <a:lnTo>
                      <a:pt x="71" y="435"/>
                    </a:lnTo>
                    <a:lnTo>
                      <a:pt x="71" y="437"/>
                    </a:lnTo>
                    <a:lnTo>
                      <a:pt x="71" y="435"/>
                    </a:lnTo>
                    <a:lnTo>
                      <a:pt x="71" y="437"/>
                    </a:lnTo>
                    <a:lnTo>
                      <a:pt x="71" y="435"/>
                    </a:lnTo>
                    <a:lnTo>
                      <a:pt x="71" y="437"/>
                    </a:lnTo>
                    <a:lnTo>
                      <a:pt x="71" y="435"/>
                    </a:lnTo>
                    <a:lnTo>
                      <a:pt x="71" y="433"/>
                    </a:lnTo>
                    <a:lnTo>
                      <a:pt x="73" y="433"/>
                    </a:lnTo>
                    <a:lnTo>
                      <a:pt x="73" y="431"/>
                    </a:lnTo>
                    <a:lnTo>
                      <a:pt x="73" y="433"/>
                    </a:lnTo>
                    <a:lnTo>
                      <a:pt x="73" y="431"/>
                    </a:lnTo>
                    <a:lnTo>
                      <a:pt x="71" y="431"/>
                    </a:lnTo>
                    <a:lnTo>
                      <a:pt x="73" y="433"/>
                    </a:lnTo>
                    <a:lnTo>
                      <a:pt x="73" y="431"/>
                    </a:lnTo>
                    <a:lnTo>
                      <a:pt x="71" y="431"/>
                    </a:lnTo>
                    <a:lnTo>
                      <a:pt x="73" y="431"/>
                    </a:lnTo>
                    <a:lnTo>
                      <a:pt x="71" y="431"/>
                    </a:lnTo>
                    <a:lnTo>
                      <a:pt x="71" y="429"/>
                    </a:lnTo>
                    <a:lnTo>
                      <a:pt x="71" y="431"/>
                    </a:lnTo>
                    <a:lnTo>
                      <a:pt x="71" y="429"/>
                    </a:lnTo>
                    <a:lnTo>
                      <a:pt x="71" y="431"/>
                    </a:lnTo>
                    <a:lnTo>
                      <a:pt x="73" y="431"/>
                    </a:lnTo>
                    <a:lnTo>
                      <a:pt x="73" y="429"/>
                    </a:lnTo>
                    <a:lnTo>
                      <a:pt x="71" y="429"/>
                    </a:lnTo>
                    <a:lnTo>
                      <a:pt x="73" y="429"/>
                    </a:lnTo>
                    <a:lnTo>
                      <a:pt x="73" y="431"/>
                    </a:lnTo>
                    <a:lnTo>
                      <a:pt x="73" y="429"/>
                    </a:lnTo>
                    <a:lnTo>
                      <a:pt x="73" y="431"/>
                    </a:lnTo>
                    <a:lnTo>
                      <a:pt x="75" y="431"/>
                    </a:lnTo>
                    <a:lnTo>
                      <a:pt x="73" y="433"/>
                    </a:lnTo>
                    <a:lnTo>
                      <a:pt x="71" y="433"/>
                    </a:lnTo>
                    <a:lnTo>
                      <a:pt x="71" y="435"/>
                    </a:lnTo>
                    <a:lnTo>
                      <a:pt x="71" y="437"/>
                    </a:lnTo>
                    <a:lnTo>
                      <a:pt x="71" y="438"/>
                    </a:lnTo>
                    <a:lnTo>
                      <a:pt x="71" y="440"/>
                    </a:lnTo>
                    <a:lnTo>
                      <a:pt x="71" y="442"/>
                    </a:lnTo>
                    <a:lnTo>
                      <a:pt x="71" y="440"/>
                    </a:lnTo>
                    <a:lnTo>
                      <a:pt x="71" y="442"/>
                    </a:lnTo>
                    <a:lnTo>
                      <a:pt x="69" y="442"/>
                    </a:lnTo>
                    <a:lnTo>
                      <a:pt x="69" y="444"/>
                    </a:lnTo>
                    <a:lnTo>
                      <a:pt x="67" y="446"/>
                    </a:lnTo>
                    <a:lnTo>
                      <a:pt x="65" y="448"/>
                    </a:lnTo>
                    <a:lnTo>
                      <a:pt x="67" y="448"/>
                    </a:lnTo>
                    <a:lnTo>
                      <a:pt x="67" y="450"/>
                    </a:lnTo>
                    <a:lnTo>
                      <a:pt x="65" y="450"/>
                    </a:lnTo>
                    <a:lnTo>
                      <a:pt x="65" y="452"/>
                    </a:lnTo>
                    <a:lnTo>
                      <a:pt x="65" y="450"/>
                    </a:lnTo>
                    <a:lnTo>
                      <a:pt x="67" y="450"/>
                    </a:lnTo>
                    <a:lnTo>
                      <a:pt x="67" y="452"/>
                    </a:lnTo>
                    <a:lnTo>
                      <a:pt x="65" y="452"/>
                    </a:lnTo>
                    <a:lnTo>
                      <a:pt x="67" y="452"/>
                    </a:lnTo>
                    <a:lnTo>
                      <a:pt x="65" y="452"/>
                    </a:lnTo>
                    <a:lnTo>
                      <a:pt x="65" y="454"/>
                    </a:lnTo>
                    <a:lnTo>
                      <a:pt x="65" y="452"/>
                    </a:lnTo>
                    <a:lnTo>
                      <a:pt x="65" y="454"/>
                    </a:lnTo>
                    <a:lnTo>
                      <a:pt x="63" y="454"/>
                    </a:lnTo>
                    <a:lnTo>
                      <a:pt x="60" y="452"/>
                    </a:lnTo>
                    <a:lnTo>
                      <a:pt x="52" y="452"/>
                    </a:lnTo>
                    <a:lnTo>
                      <a:pt x="50" y="452"/>
                    </a:lnTo>
                    <a:lnTo>
                      <a:pt x="46" y="454"/>
                    </a:lnTo>
                    <a:lnTo>
                      <a:pt x="42" y="454"/>
                    </a:lnTo>
                    <a:lnTo>
                      <a:pt x="35" y="452"/>
                    </a:lnTo>
                    <a:lnTo>
                      <a:pt x="31" y="452"/>
                    </a:lnTo>
                    <a:lnTo>
                      <a:pt x="29" y="456"/>
                    </a:lnTo>
                    <a:lnTo>
                      <a:pt x="27" y="454"/>
                    </a:lnTo>
                    <a:lnTo>
                      <a:pt x="21" y="454"/>
                    </a:lnTo>
                    <a:lnTo>
                      <a:pt x="21" y="452"/>
                    </a:lnTo>
                    <a:lnTo>
                      <a:pt x="17" y="450"/>
                    </a:lnTo>
                    <a:lnTo>
                      <a:pt x="17" y="448"/>
                    </a:lnTo>
                    <a:lnTo>
                      <a:pt x="19" y="446"/>
                    </a:lnTo>
                    <a:lnTo>
                      <a:pt x="21" y="440"/>
                    </a:lnTo>
                    <a:lnTo>
                      <a:pt x="19" y="440"/>
                    </a:lnTo>
                    <a:lnTo>
                      <a:pt x="19" y="438"/>
                    </a:lnTo>
                    <a:lnTo>
                      <a:pt x="17" y="438"/>
                    </a:lnTo>
                    <a:lnTo>
                      <a:pt x="17" y="437"/>
                    </a:lnTo>
                    <a:lnTo>
                      <a:pt x="15" y="435"/>
                    </a:lnTo>
                    <a:lnTo>
                      <a:pt x="11" y="433"/>
                    </a:lnTo>
                    <a:lnTo>
                      <a:pt x="10" y="435"/>
                    </a:lnTo>
                    <a:lnTo>
                      <a:pt x="8" y="435"/>
                    </a:lnTo>
                    <a:lnTo>
                      <a:pt x="6" y="433"/>
                    </a:lnTo>
                    <a:lnTo>
                      <a:pt x="2" y="433"/>
                    </a:lnTo>
                    <a:lnTo>
                      <a:pt x="2" y="431"/>
                    </a:lnTo>
                    <a:lnTo>
                      <a:pt x="0" y="429"/>
                    </a:lnTo>
                    <a:lnTo>
                      <a:pt x="0" y="427"/>
                    </a:lnTo>
                    <a:lnTo>
                      <a:pt x="0" y="425"/>
                    </a:lnTo>
                    <a:lnTo>
                      <a:pt x="2" y="423"/>
                    </a:lnTo>
                    <a:lnTo>
                      <a:pt x="2" y="421"/>
                    </a:lnTo>
                    <a:lnTo>
                      <a:pt x="4" y="421"/>
                    </a:lnTo>
                    <a:lnTo>
                      <a:pt x="6" y="421"/>
                    </a:lnTo>
                    <a:lnTo>
                      <a:pt x="8" y="419"/>
                    </a:lnTo>
                    <a:lnTo>
                      <a:pt x="10" y="417"/>
                    </a:lnTo>
                    <a:lnTo>
                      <a:pt x="10" y="415"/>
                    </a:lnTo>
                    <a:lnTo>
                      <a:pt x="11" y="415"/>
                    </a:lnTo>
                    <a:lnTo>
                      <a:pt x="11" y="414"/>
                    </a:lnTo>
                    <a:lnTo>
                      <a:pt x="11" y="412"/>
                    </a:lnTo>
                    <a:lnTo>
                      <a:pt x="10" y="410"/>
                    </a:lnTo>
                    <a:lnTo>
                      <a:pt x="10" y="408"/>
                    </a:lnTo>
                    <a:lnTo>
                      <a:pt x="11" y="406"/>
                    </a:lnTo>
                    <a:lnTo>
                      <a:pt x="13" y="404"/>
                    </a:lnTo>
                    <a:lnTo>
                      <a:pt x="15" y="400"/>
                    </a:lnTo>
                    <a:lnTo>
                      <a:pt x="19" y="392"/>
                    </a:lnTo>
                    <a:lnTo>
                      <a:pt x="19" y="390"/>
                    </a:lnTo>
                    <a:lnTo>
                      <a:pt x="21" y="389"/>
                    </a:lnTo>
                    <a:lnTo>
                      <a:pt x="23" y="385"/>
                    </a:lnTo>
                    <a:lnTo>
                      <a:pt x="21" y="385"/>
                    </a:lnTo>
                    <a:lnTo>
                      <a:pt x="19" y="383"/>
                    </a:lnTo>
                    <a:lnTo>
                      <a:pt x="17" y="381"/>
                    </a:lnTo>
                    <a:lnTo>
                      <a:pt x="15" y="381"/>
                    </a:lnTo>
                    <a:lnTo>
                      <a:pt x="13" y="379"/>
                    </a:lnTo>
                    <a:lnTo>
                      <a:pt x="13" y="377"/>
                    </a:lnTo>
                    <a:lnTo>
                      <a:pt x="13" y="373"/>
                    </a:lnTo>
                    <a:lnTo>
                      <a:pt x="13" y="371"/>
                    </a:lnTo>
                    <a:lnTo>
                      <a:pt x="15" y="369"/>
                    </a:lnTo>
                    <a:lnTo>
                      <a:pt x="13" y="367"/>
                    </a:lnTo>
                    <a:lnTo>
                      <a:pt x="13" y="365"/>
                    </a:lnTo>
                    <a:lnTo>
                      <a:pt x="13" y="364"/>
                    </a:lnTo>
                    <a:lnTo>
                      <a:pt x="15" y="364"/>
                    </a:lnTo>
                    <a:lnTo>
                      <a:pt x="13" y="362"/>
                    </a:lnTo>
                    <a:lnTo>
                      <a:pt x="13" y="360"/>
                    </a:lnTo>
                    <a:lnTo>
                      <a:pt x="11" y="358"/>
                    </a:lnTo>
                    <a:lnTo>
                      <a:pt x="11" y="356"/>
                    </a:lnTo>
                    <a:lnTo>
                      <a:pt x="11" y="354"/>
                    </a:lnTo>
                    <a:lnTo>
                      <a:pt x="10" y="354"/>
                    </a:lnTo>
                    <a:lnTo>
                      <a:pt x="10" y="352"/>
                    </a:lnTo>
                    <a:lnTo>
                      <a:pt x="11" y="352"/>
                    </a:lnTo>
                    <a:lnTo>
                      <a:pt x="13" y="352"/>
                    </a:lnTo>
                    <a:lnTo>
                      <a:pt x="15" y="352"/>
                    </a:lnTo>
                    <a:lnTo>
                      <a:pt x="17" y="352"/>
                    </a:lnTo>
                    <a:lnTo>
                      <a:pt x="19" y="352"/>
                    </a:lnTo>
                    <a:lnTo>
                      <a:pt x="19" y="350"/>
                    </a:lnTo>
                    <a:lnTo>
                      <a:pt x="21" y="350"/>
                    </a:lnTo>
                    <a:lnTo>
                      <a:pt x="23" y="350"/>
                    </a:lnTo>
                    <a:lnTo>
                      <a:pt x="25" y="350"/>
                    </a:lnTo>
                    <a:lnTo>
                      <a:pt x="27" y="350"/>
                    </a:lnTo>
                    <a:lnTo>
                      <a:pt x="29" y="350"/>
                    </a:lnTo>
                    <a:lnTo>
                      <a:pt x="31" y="350"/>
                    </a:lnTo>
                    <a:lnTo>
                      <a:pt x="33" y="350"/>
                    </a:lnTo>
                    <a:lnTo>
                      <a:pt x="33" y="352"/>
                    </a:lnTo>
                    <a:lnTo>
                      <a:pt x="33" y="350"/>
                    </a:lnTo>
                    <a:lnTo>
                      <a:pt x="33" y="348"/>
                    </a:lnTo>
                    <a:lnTo>
                      <a:pt x="35" y="346"/>
                    </a:lnTo>
                    <a:lnTo>
                      <a:pt x="36" y="346"/>
                    </a:lnTo>
                    <a:lnTo>
                      <a:pt x="36" y="344"/>
                    </a:lnTo>
                    <a:lnTo>
                      <a:pt x="35" y="344"/>
                    </a:lnTo>
                    <a:lnTo>
                      <a:pt x="35" y="342"/>
                    </a:lnTo>
                    <a:lnTo>
                      <a:pt x="36" y="342"/>
                    </a:lnTo>
                    <a:lnTo>
                      <a:pt x="36" y="340"/>
                    </a:lnTo>
                    <a:lnTo>
                      <a:pt x="38" y="340"/>
                    </a:lnTo>
                    <a:lnTo>
                      <a:pt x="38" y="339"/>
                    </a:lnTo>
                    <a:lnTo>
                      <a:pt x="40" y="339"/>
                    </a:lnTo>
                    <a:lnTo>
                      <a:pt x="40" y="337"/>
                    </a:lnTo>
                    <a:lnTo>
                      <a:pt x="42" y="337"/>
                    </a:lnTo>
                    <a:lnTo>
                      <a:pt x="42" y="335"/>
                    </a:lnTo>
                    <a:lnTo>
                      <a:pt x="44" y="333"/>
                    </a:lnTo>
                    <a:lnTo>
                      <a:pt x="46" y="333"/>
                    </a:lnTo>
                    <a:lnTo>
                      <a:pt x="46" y="331"/>
                    </a:lnTo>
                    <a:lnTo>
                      <a:pt x="48" y="331"/>
                    </a:lnTo>
                    <a:lnTo>
                      <a:pt x="50" y="331"/>
                    </a:lnTo>
                    <a:lnTo>
                      <a:pt x="50" y="333"/>
                    </a:lnTo>
                    <a:lnTo>
                      <a:pt x="52" y="333"/>
                    </a:lnTo>
                    <a:lnTo>
                      <a:pt x="52" y="331"/>
                    </a:lnTo>
                    <a:lnTo>
                      <a:pt x="52" y="329"/>
                    </a:lnTo>
                    <a:lnTo>
                      <a:pt x="52" y="327"/>
                    </a:lnTo>
                    <a:lnTo>
                      <a:pt x="54" y="327"/>
                    </a:lnTo>
                    <a:lnTo>
                      <a:pt x="54" y="325"/>
                    </a:lnTo>
                    <a:lnTo>
                      <a:pt x="56" y="325"/>
                    </a:lnTo>
                    <a:lnTo>
                      <a:pt x="56" y="323"/>
                    </a:lnTo>
                    <a:lnTo>
                      <a:pt x="58" y="323"/>
                    </a:lnTo>
                    <a:lnTo>
                      <a:pt x="58" y="321"/>
                    </a:lnTo>
                    <a:lnTo>
                      <a:pt x="60" y="321"/>
                    </a:lnTo>
                    <a:lnTo>
                      <a:pt x="60" y="319"/>
                    </a:lnTo>
                    <a:lnTo>
                      <a:pt x="61" y="319"/>
                    </a:lnTo>
                    <a:lnTo>
                      <a:pt x="61" y="321"/>
                    </a:lnTo>
                    <a:lnTo>
                      <a:pt x="63" y="321"/>
                    </a:lnTo>
                    <a:lnTo>
                      <a:pt x="65" y="319"/>
                    </a:lnTo>
                    <a:lnTo>
                      <a:pt x="67" y="319"/>
                    </a:lnTo>
                    <a:lnTo>
                      <a:pt x="69" y="319"/>
                    </a:lnTo>
                    <a:lnTo>
                      <a:pt x="71" y="319"/>
                    </a:lnTo>
                    <a:lnTo>
                      <a:pt x="71" y="317"/>
                    </a:lnTo>
                    <a:lnTo>
                      <a:pt x="73" y="317"/>
                    </a:lnTo>
                    <a:lnTo>
                      <a:pt x="75" y="315"/>
                    </a:lnTo>
                    <a:lnTo>
                      <a:pt x="77" y="315"/>
                    </a:lnTo>
                    <a:lnTo>
                      <a:pt x="79" y="315"/>
                    </a:lnTo>
                    <a:lnTo>
                      <a:pt x="81" y="315"/>
                    </a:lnTo>
                    <a:lnTo>
                      <a:pt x="83" y="315"/>
                    </a:lnTo>
                    <a:lnTo>
                      <a:pt x="83" y="317"/>
                    </a:lnTo>
                    <a:lnTo>
                      <a:pt x="85" y="315"/>
                    </a:lnTo>
                    <a:lnTo>
                      <a:pt x="86" y="315"/>
                    </a:lnTo>
                    <a:lnTo>
                      <a:pt x="86" y="314"/>
                    </a:lnTo>
                    <a:lnTo>
                      <a:pt x="88" y="314"/>
                    </a:lnTo>
                    <a:lnTo>
                      <a:pt x="90" y="314"/>
                    </a:lnTo>
                    <a:lnTo>
                      <a:pt x="90" y="315"/>
                    </a:lnTo>
                    <a:lnTo>
                      <a:pt x="92" y="314"/>
                    </a:lnTo>
                    <a:lnTo>
                      <a:pt x="92" y="312"/>
                    </a:lnTo>
                    <a:lnTo>
                      <a:pt x="94" y="310"/>
                    </a:lnTo>
                    <a:lnTo>
                      <a:pt x="96" y="310"/>
                    </a:lnTo>
                    <a:lnTo>
                      <a:pt x="96" y="312"/>
                    </a:lnTo>
                    <a:lnTo>
                      <a:pt x="98" y="310"/>
                    </a:lnTo>
                    <a:lnTo>
                      <a:pt x="100" y="310"/>
                    </a:lnTo>
                    <a:lnTo>
                      <a:pt x="102" y="310"/>
                    </a:lnTo>
                    <a:lnTo>
                      <a:pt x="104" y="310"/>
                    </a:lnTo>
                    <a:lnTo>
                      <a:pt x="106" y="310"/>
                    </a:lnTo>
                    <a:lnTo>
                      <a:pt x="108" y="310"/>
                    </a:lnTo>
                    <a:lnTo>
                      <a:pt x="108" y="308"/>
                    </a:lnTo>
                    <a:lnTo>
                      <a:pt x="109" y="308"/>
                    </a:lnTo>
                    <a:lnTo>
                      <a:pt x="109" y="306"/>
                    </a:lnTo>
                    <a:lnTo>
                      <a:pt x="111" y="306"/>
                    </a:lnTo>
                    <a:lnTo>
                      <a:pt x="111" y="304"/>
                    </a:lnTo>
                    <a:lnTo>
                      <a:pt x="109" y="304"/>
                    </a:lnTo>
                    <a:lnTo>
                      <a:pt x="111" y="302"/>
                    </a:lnTo>
                    <a:lnTo>
                      <a:pt x="111" y="300"/>
                    </a:lnTo>
                    <a:lnTo>
                      <a:pt x="113" y="298"/>
                    </a:lnTo>
                    <a:lnTo>
                      <a:pt x="115" y="298"/>
                    </a:lnTo>
                    <a:lnTo>
                      <a:pt x="115" y="296"/>
                    </a:lnTo>
                    <a:lnTo>
                      <a:pt x="115" y="294"/>
                    </a:lnTo>
                    <a:lnTo>
                      <a:pt x="117" y="294"/>
                    </a:lnTo>
                    <a:lnTo>
                      <a:pt x="119" y="292"/>
                    </a:lnTo>
                    <a:lnTo>
                      <a:pt x="121" y="292"/>
                    </a:lnTo>
                    <a:lnTo>
                      <a:pt x="123" y="292"/>
                    </a:lnTo>
                    <a:lnTo>
                      <a:pt x="125" y="290"/>
                    </a:lnTo>
                    <a:lnTo>
                      <a:pt x="127" y="290"/>
                    </a:lnTo>
                    <a:lnTo>
                      <a:pt x="127" y="289"/>
                    </a:lnTo>
                    <a:lnTo>
                      <a:pt x="129" y="289"/>
                    </a:lnTo>
                    <a:lnTo>
                      <a:pt x="131" y="287"/>
                    </a:lnTo>
                    <a:lnTo>
                      <a:pt x="133" y="287"/>
                    </a:lnTo>
                    <a:lnTo>
                      <a:pt x="133" y="285"/>
                    </a:lnTo>
                    <a:lnTo>
                      <a:pt x="134" y="285"/>
                    </a:lnTo>
                    <a:lnTo>
                      <a:pt x="136" y="285"/>
                    </a:lnTo>
                    <a:lnTo>
                      <a:pt x="138" y="285"/>
                    </a:lnTo>
                    <a:lnTo>
                      <a:pt x="140" y="285"/>
                    </a:lnTo>
                    <a:lnTo>
                      <a:pt x="142" y="283"/>
                    </a:lnTo>
                    <a:lnTo>
                      <a:pt x="142" y="281"/>
                    </a:lnTo>
                    <a:lnTo>
                      <a:pt x="144" y="281"/>
                    </a:lnTo>
                    <a:lnTo>
                      <a:pt x="144" y="279"/>
                    </a:lnTo>
                    <a:lnTo>
                      <a:pt x="144" y="277"/>
                    </a:lnTo>
                    <a:lnTo>
                      <a:pt x="144" y="275"/>
                    </a:lnTo>
                    <a:lnTo>
                      <a:pt x="142" y="275"/>
                    </a:lnTo>
                    <a:lnTo>
                      <a:pt x="140" y="275"/>
                    </a:lnTo>
                    <a:lnTo>
                      <a:pt x="140" y="277"/>
                    </a:lnTo>
                    <a:lnTo>
                      <a:pt x="138" y="277"/>
                    </a:lnTo>
                    <a:lnTo>
                      <a:pt x="138" y="275"/>
                    </a:lnTo>
                    <a:lnTo>
                      <a:pt x="138" y="273"/>
                    </a:lnTo>
                    <a:lnTo>
                      <a:pt x="140" y="271"/>
                    </a:lnTo>
                    <a:lnTo>
                      <a:pt x="138" y="271"/>
                    </a:lnTo>
                    <a:lnTo>
                      <a:pt x="138" y="269"/>
                    </a:lnTo>
                    <a:lnTo>
                      <a:pt x="140" y="269"/>
                    </a:lnTo>
                    <a:lnTo>
                      <a:pt x="142" y="269"/>
                    </a:lnTo>
                    <a:lnTo>
                      <a:pt x="144" y="269"/>
                    </a:lnTo>
                    <a:lnTo>
                      <a:pt x="146" y="269"/>
                    </a:lnTo>
                    <a:lnTo>
                      <a:pt x="146" y="271"/>
                    </a:lnTo>
                    <a:lnTo>
                      <a:pt x="148" y="271"/>
                    </a:lnTo>
                    <a:lnTo>
                      <a:pt x="150" y="271"/>
                    </a:lnTo>
                    <a:lnTo>
                      <a:pt x="150" y="269"/>
                    </a:lnTo>
                    <a:lnTo>
                      <a:pt x="152" y="267"/>
                    </a:lnTo>
                    <a:lnTo>
                      <a:pt x="152" y="265"/>
                    </a:lnTo>
                    <a:lnTo>
                      <a:pt x="150" y="265"/>
                    </a:lnTo>
                    <a:lnTo>
                      <a:pt x="150" y="264"/>
                    </a:lnTo>
                    <a:lnTo>
                      <a:pt x="148" y="264"/>
                    </a:lnTo>
                    <a:lnTo>
                      <a:pt x="148" y="262"/>
                    </a:lnTo>
                    <a:lnTo>
                      <a:pt x="150" y="262"/>
                    </a:lnTo>
                    <a:lnTo>
                      <a:pt x="150" y="260"/>
                    </a:lnTo>
                    <a:lnTo>
                      <a:pt x="150" y="258"/>
                    </a:lnTo>
                    <a:lnTo>
                      <a:pt x="150" y="256"/>
                    </a:lnTo>
                    <a:lnTo>
                      <a:pt x="150" y="254"/>
                    </a:lnTo>
                    <a:lnTo>
                      <a:pt x="148" y="254"/>
                    </a:lnTo>
                    <a:lnTo>
                      <a:pt x="148" y="252"/>
                    </a:lnTo>
                    <a:lnTo>
                      <a:pt x="146" y="254"/>
                    </a:lnTo>
                    <a:lnTo>
                      <a:pt x="144" y="254"/>
                    </a:lnTo>
                    <a:lnTo>
                      <a:pt x="142" y="254"/>
                    </a:lnTo>
                    <a:lnTo>
                      <a:pt x="142" y="252"/>
                    </a:lnTo>
                    <a:lnTo>
                      <a:pt x="140" y="252"/>
                    </a:lnTo>
                    <a:lnTo>
                      <a:pt x="138" y="252"/>
                    </a:lnTo>
                    <a:lnTo>
                      <a:pt x="136" y="252"/>
                    </a:lnTo>
                    <a:lnTo>
                      <a:pt x="134" y="252"/>
                    </a:lnTo>
                    <a:lnTo>
                      <a:pt x="134" y="250"/>
                    </a:lnTo>
                    <a:lnTo>
                      <a:pt x="134" y="248"/>
                    </a:lnTo>
                    <a:lnTo>
                      <a:pt x="134" y="246"/>
                    </a:lnTo>
                    <a:lnTo>
                      <a:pt x="134" y="244"/>
                    </a:lnTo>
                    <a:lnTo>
                      <a:pt x="134" y="242"/>
                    </a:lnTo>
                    <a:lnTo>
                      <a:pt x="136" y="242"/>
                    </a:lnTo>
                    <a:lnTo>
                      <a:pt x="136" y="240"/>
                    </a:lnTo>
                    <a:lnTo>
                      <a:pt x="136" y="239"/>
                    </a:lnTo>
                    <a:lnTo>
                      <a:pt x="136" y="237"/>
                    </a:lnTo>
                    <a:lnTo>
                      <a:pt x="136" y="235"/>
                    </a:lnTo>
                    <a:lnTo>
                      <a:pt x="138" y="235"/>
                    </a:lnTo>
                    <a:lnTo>
                      <a:pt x="136" y="235"/>
                    </a:lnTo>
                    <a:lnTo>
                      <a:pt x="136" y="233"/>
                    </a:lnTo>
                    <a:lnTo>
                      <a:pt x="138" y="231"/>
                    </a:lnTo>
                    <a:lnTo>
                      <a:pt x="140" y="231"/>
                    </a:lnTo>
                    <a:lnTo>
                      <a:pt x="140" y="229"/>
                    </a:lnTo>
                    <a:lnTo>
                      <a:pt x="142" y="229"/>
                    </a:lnTo>
                    <a:lnTo>
                      <a:pt x="142" y="227"/>
                    </a:lnTo>
                    <a:lnTo>
                      <a:pt x="142" y="225"/>
                    </a:lnTo>
                    <a:lnTo>
                      <a:pt x="144" y="225"/>
                    </a:lnTo>
                    <a:lnTo>
                      <a:pt x="142" y="225"/>
                    </a:lnTo>
                    <a:lnTo>
                      <a:pt x="144" y="225"/>
                    </a:lnTo>
                    <a:lnTo>
                      <a:pt x="144" y="223"/>
                    </a:lnTo>
                    <a:lnTo>
                      <a:pt x="146" y="223"/>
                    </a:lnTo>
                    <a:lnTo>
                      <a:pt x="146" y="221"/>
                    </a:lnTo>
                    <a:lnTo>
                      <a:pt x="146" y="223"/>
                    </a:lnTo>
                    <a:lnTo>
                      <a:pt x="146" y="221"/>
                    </a:lnTo>
                    <a:lnTo>
                      <a:pt x="148" y="221"/>
                    </a:lnTo>
                    <a:lnTo>
                      <a:pt x="148" y="219"/>
                    </a:lnTo>
                    <a:lnTo>
                      <a:pt x="150" y="219"/>
                    </a:lnTo>
                    <a:lnTo>
                      <a:pt x="150" y="217"/>
                    </a:lnTo>
                    <a:lnTo>
                      <a:pt x="152" y="217"/>
                    </a:lnTo>
                    <a:lnTo>
                      <a:pt x="152" y="215"/>
                    </a:lnTo>
                    <a:lnTo>
                      <a:pt x="152" y="214"/>
                    </a:lnTo>
                    <a:lnTo>
                      <a:pt x="150" y="214"/>
                    </a:lnTo>
                    <a:lnTo>
                      <a:pt x="150" y="212"/>
                    </a:lnTo>
                    <a:lnTo>
                      <a:pt x="150" y="210"/>
                    </a:lnTo>
                    <a:lnTo>
                      <a:pt x="148" y="210"/>
                    </a:lnTo>
                    <a:lnTo>
                      <a:pt x="148" y="208"/>
                    </a:lnTo>
                    <a:lnTo>
                      <a:pt x="148" y="206"/>
                    </a:lnTo>
                    <a:lnTo>
                      <a:pt x="150" y="206"/>
                    </a:lnTo>
                    <a:lnTo>
                      <a:pt x="150" y="208"/>
                    </a:lnTo>
                    <a:lnTo>
                      <a:pt x="150" y="206"/>
                    </a:lnTo>
                    <a:lnTo>
                      <a:pt x="150" y="204"/>
                    </a:lnTo>
                    <a:lnTo>
                      <a:pt x="148" y="206"/>
                    </a:lnTo>
                    <a:lnTo>
                      <a:pt x="148" y="204"/>
                    </a:lnTo>
                    <a:lnTo>
                      <a:pt x="148" y="202"/>
                    </a:lnTo>
                    <a:lnTo>
                      <a:pt x="150" y="202"/>
                    </a:lnTo>
                    <a:lnTo>
                      <a:pt x="150" y="200"/>
                    </a:lnTo>
                    <a:lnTo>
                      <a:pt x="148" y="200"/>
                    </a:lnTo>
                    <a:lnTo>
                      <a:pt x="150" y="200"/>
                    </a:lnTo>
                    <a:lnTo>
                      <a:pt x="148" y="200"/>
                    </a:lnTo>
                    <a:lnTo>
                      <a:pt x="148" y="198"/>
                    </a:lnTo>
                    <a:lnTo>
                      <a:pt x="146" y="198"/>
                    </a:lnTo>
                    <a:lnTo>
                      <a:pt x="146" y="200"/>
                    </a:lnTo>
                    <a:lnTo>
                      <a:pt x="146" y="198"/>
                    </a:lnTo>
                    <a:lnTo>
                      <a:pt x="144" y="198"/>
                    </a:lnTo>
                    <a:lnTo>
                      <a:pt x="142" y="198"/>
                    </a:lnTo>
                    <a:lnTo>
                      <a:pt x="142" y="196"/>
                    </a:lnTo>
                    <a:lnTo>
                      <a:pt x="142" y="194"/>
                    </a:lnTo>
                    <a:lnTo>
                      <a:pt x="142" y="196"/>
                    </a:lnTo>
                    <a:lnTo>
                      <a:pt x="142" y="194"/>
                    </a:lnTo>
                    <a:lnTo>
                      <a:pt x="140" y="194"/>
                    </a:lnTo>
                    <a:lnTo>
                      <a:pt x="140" y="192"/>
                    </a:lnTo>
                    <a:lnTo>
                      <a:pt x="138" y="192"/>
                    </a:lnTo>
                    <a:lnTo>
                      <a:pt x="138" y="190"/>
                    </a:lnTo>
                    <a:lnTo>
                      <a:pt x="136" y="190"/>
                    </a:lnTo>
                    <a:lnTo>
                      <a:pt x="136" y="192"/>
                    </a:lnTo>
                    <a:lnTo>
                      <a:pt x="134" y="192"/>
                    </a:lnTo>
                    <a:lnTo>
                      <a:pt x="134" y="190"/>
                    </a:lnTo>
                    <a:lnTo>
                      <a:pt x="133" y="190"/>
                    </a:lnTo>
                    <a:lnTo>
                      <a:pt x="133" y="189"/>
                    </a:lnTo>
                    <a:lnTo>
                      <a:pt x="134" y="187"/>
                    </a:lnTo>
                    <a:lnTo>
                      <a:pt x="134" y="189"/>
                    </a:lnTo>
                    <a:lnTo>
                      <a:pt x="134" y="187"/>
                    </a:lnTo>
                    <a:lnTo>
                      <a:pt x="134" y="185"/>
                    </a:lnTo>
                    <a:lnTo>
                      <a:pt x="134" y="183"/>
                    </a:lnTo>
                    <a:lnTo>
                      <a:pt x="133" y="183"/>
                    </a:lnTo>
                    <a:lnTo>
                      <a:pt x="134" y="183"/>
                    </a:lnTo>
                    <a:lnTo>
                      <a:pt x="134" y="181"/>
                    </a:lnTo>
                    <a:lnTo>
                      <a:pt x="136" y="181"/>
                    </a:lnTo>
                    <a:lnTo>
                      <a:pt x="134" y="181"/>
                    </a:lnTo>
                    <a:lnTo>
                      <a:pt x="136" y="181"/>
                    </a:lnTo>
                    <a:lnTo>
                      <a:pt x="138" y="181"/>
                    </a:lnTo>
                    <a:lnTo>
                      <a:pt x="138" y="179"/>
                    </a:lnTo>
                    <a:lnTo>
                      <a:pt x="140" y="179"/>
                    </a:lnTo>
                    <a:lnTo>
                      <a:pt x="140" y="177"/>
                    </a:lnTo>
                    <a:lnTo>
                      <a:pt x="142" y="177"/>
                    </a:lnTo>
                    <a:lnTo>
                      <a:pt x="142" y="179"/>
                    </a:lnTo>
                    <a:lnTo>
                      <a:pt x="142" y="177"/>
                    </a:lnTo>
                    <a:lnTo>
                      <a:pt x="144" y="177"/>
                    </a:lnTo>
                    <a:lnTo>
                      <a:pt x="144" y="175"/>
                    </a:lnTo>
                    <a:lnTo>
                      <a:pt x="146" y="175"/>
                    </a:lnTo>
                    <a:lnTo>
                      <a:pt x="146" y="173"/>
                    </a:lnTo>
                    <a:lnTo>
                      <a:pt x="146" y="171"/>
                    </a:lnTo>
                    <a:lnTo>
                      <a:pt x="148" y="171"/>
                    </a:lnTo>
                    <a:lnTo>
                      <a:pt x="150" y="171"/>
                    </a:lnTo>
                    <a:lnTo>
                      <a:pt x="152" y="171"/>
                    </a:lnTo>
                    <a:lnTo>
                      <a:pt x="152" y="173"/>
                    </a:lnTo>
                    <a:lnTo>
                      <a:pt x="152" y="175"/>
                    </a:lnTo>
                    <a:lnTo>
                      <a:pt x="152" y="173"/>
                    </a:lnTo>
                    <a:lnTo>
                      <a:pt x="152" y="175"/>
                    </a:lnTo>
                    <a:lnTo>
                      <a:pt x="154" y="175"/>
                    </a:lnTo>
                    <a:lnTo>
                      <a:pt x="154" y="177"/>
                    </a:lnTo>
                    <a:lnTo>
                      <a:pt x="156" y="179"/>
                    </a:lnTo>
                    <a:lnTo>
                      <a:pt x="158" y="179"/>
                    </a:lnTo>
                    <a:lnTo>
                      <a:pt x="158" y="181"/>
                    </a:lnTo>
                    <a:lnTo>
                      <a:pt x="159" y="181"/>
                    </a:lnTo>
                    <a:lnTo>
                      <a:pt x="159" y="183"/>
                    </a:lnTo>
                    <a:lnTo>
                      <a:pt x="161" y="183"/>
                    </a:lnTo>
                    <a:lnTo>
                      <a:pt x="163" y="183"/>
                    </a:lnTo>
                    <a:lnTo>
                      <a:pt x="163" y="185"/>
                    </a:lnTo>
                    <a:lnTo>
                      <a:pt x="165" y="185"/>
                    </a:lnTo>
                    <a:lnTo>
                      <a:pt x="165" y="187"/>
                    </a:lnTo>
                    <a:lnTo>
                      <a:pt x="167" y="187"/>
                    </a:lnTo>
                    <a:lnTo>
                      <a:pt x="169" y="189"/>
                    </a:lnTo>
                    <a:lnTo>
                      <a:pt x="167" y="189"/>
                    </a:lnTo>
                    <a:lnTo>
                      <a:pt x="167" y="187"/>
                    </a:lnTo>
                    <a:lnTo>
                      <a:pt x="165" y="187"/>
                    </a:lnTo>
                    <a:lnTo>
                      <a:pt x="163" y="187"/>
                    </a:lnTo>
                    <a:lnTo>
                      <a:pt x="163" y="185"/>
                    </a:lnTo>
                    <a:lnTo>
                      <a:pt x="165" y="187"/>
                    </a:lnTo>
                    <a:lnTo>
                      <a:pt x="165" y="185"/>
                    </a:lnTo>
                    <a:lnTo>
                      <a:pt x="163" y="185"/>
                    </a:lnTo>
                    <a:lnTo>
                      <a:pt x="161" y="185"/>
                    </a:lnTo>
                    <a:lnTo>
                      <a:pt x="161" y="183"/>
                    </a:lnTo>
                    <a:lnTo>
                      <a:pt x="161" y="185"/>
                    </a:lnTo>
                    <a:lnTo>
                      <a:pt x="161" y="183"/>
                    </a:lnTo>
                    <a:lnTo>
                      <a:pt x="159" y="183"/>
                    </a:lnTo>
                    <a:lnTo>
                      <a:pt x="161" y="183"/>
                    </a:lnTo>
                    <a:lnTo>
                      <a:pt x="159" y="183"/>
                    </a:lnTo>
                    <a:lnTo>
                      <a:pt x="161" y="183"/>
                    </a:lnTo>
                    <a:lnTo>
                      <a:pt x="161" y="185"/>
                    </a:lnTo>
                    <a:lnTo>
                      <a:pt x="161" y="187"/>
                    </a:lnTo>
                    <a:lnTo>
                      <a:pt x="163" y="187"/>
                    </a:lnTo>
                    <a:lnTo>
                      <a:pt x="161" y="187"/>
                    </a:lnTo>
                    <a:lnTo>
                      <a:pt x="163" y="187"/>
                    </a:lnTo>
                    <a:lnTo>
                      <a:pt x="161" y="187"/>
                    </a:lnTo>
                    <a:lnTo>
                      <a:pt x="163" y="187"/>
                    </a:lnTo>
                    <a:lnTo>
                      <a:pt x="163" y="189"/>
                    </a:lnTo>
                    <a:lnTo>
                      <a:pt x="165" y="189"/>
                    </a:lnTo>
                    <a:lnTo>
                      <a:pt x="167" y="190"/>
                    </a:lnTo>
                    <a:lnTo>
                      <a:pt x="167" y="192"/>
                    </a:lnTo>
                    <a:lnTo>
                      <a:pt x="169" y="192"/>
                    </a:lnTo>
                    <a:lnTo>
                      <a:pt x="171" y="192"/>
                    </a:lnTo>
                    <a:lnTo>
                      <a:pt x="169" y="192"/>
                    </a:lnTo>
                    <a:lnTo>
                      <a:pt x="171" y="192"/>
                    </a:lnTo>
                    <a:lnTo>
                      <a:pt x="171" y="194"/>
                    </a:lnTo>
                    <a:lnTo>
                      <a:pt x="173" y="194"/>
                    </a:lnTo>
                    <a:lnTo>
                      <a:pt x="173" y="196"/>
                    </a:lnTo>
                    <a:lnTo>
                      <a:pt x="175" y="196"/>
                    </a:lnTo>
                    <a:lnTo>
                      <a:pt x="173" y="198"/>
                    </a:lnTo>
                    <a:lnTo>
                      <a:pt x="175" y="198"/>
                    </a:lnTo>
                    <a:lnTo>
                      <a:pt x="175" y="200"/>
                    </a:lnTo>
                    <a:lnTo>
                      <a:pt x="177" y="200"/>
                    </a:lnTo>
                    <a:lnTo>
                      <a:pt x="177" y="202"/>
                    </a:lnTo>
                    <a:lnTo>
                      <a:pt x="179" y="202"/>
                    </a:lnTo>
                    <a:lnTo>
                      <a:pt x="179" y="204"/>
                    </a:lnTo>
                    <a:lnTo>
                      <a:pt x="181" y="204"/>
                    </a:lnTo>
                    <a:lnTo>
                      <a:pt x="181" y="206"/>
                    </a:lnTo>
                    <a:lnTo>
                      <a:pt x="182" y="206"/>
                    </a:lnTo>
                    <a:lnTo>
                      <a:pt x="182" y="208"/>
                    </a:lnTo>
                    <a:lnTo>
                      <a:pt x="182" y="206"/>
                    </a:lnTo>
                    <a:lnTo>
                      <a:pt x="184" y="208"/>
                    </a:lnTo>
                    <a:lnTo>
                      <a:pt x="186" y="208"/>
                    </a:lnTo>
                    <a:lnTo>
                      <a:pt x="186" y="210"/>
                    </a:lnTo>
                    <a:lnTo>
                      <a:pt x="188" y="210"/>
                    </a:lnTo>
                    <a:lnTo>
                      <a:pt x="190" y="212"/>
                    </a:lnTo>
                    <a:lnTo>
                      <a:pt x="192" y="212"/>
                    </a:lnTo>
                    <a:lnTo>
                      <a:pt x="190" y="212"/>
                    </a:lnTo>
                    <a:lnTo>
                      <a:pt x="188" y="212"/>
                    </a:lnTo>
                    <a:lnTo>
                      <a:pt x="190" y="212"/>
                    </a:lnTo>
                    <a:lnTo>
                      <a:pt x="188" y="212"/>
                    </a:lnTo>
                    <a:lnTo>
                      <a:pt x="188" y="214"/>
                    </a:lnTo>
                    <a:lnTo>
                      <a:pt x="188" y="215"/>
                    </a:lnTo>
                    <a:lnTo>
                      <a:pt x="190" y="215"/>
                    </a:lnTo>
                    <a:lnTo>
                      <a:pt x="190" y="217"/>
                    </a:lnTo>
                    <a:lnTo>
                      <a:pt x="190" y="219"/>
                    </a:lnTo>
                    <a:lnTo>
                      <a:pt x="192" y="221"/>
                    </a:lnTo>
                    <a:lnTo>
                      <a:pt x="194" y="221"/>
                    </a:lnTo>
                    <a:lnTo>
                      <a:pt x="194" y="223"/>
                    </a:lnTo>
                    <a:lnTo>
                      <a:pt x="194" y="225"/>
                    </a:lnTo>
                    <a:lnTo>
                      <a:pt x="196" y="225"/>
                    </a:lnTo>
                    <a:lnTo>
                      <a:pt x="196" y="227"/>
                    </a:lnTo>
                    <a:lnTo>
                      <a:pt x="198" y="227"/>
                    </a:lnTo>
                    <a:lnTo>
                      <a:pt x="198" y="229"/>
                    </a:lnTo>
                    <a:lnTo>
                      <a:pt x="198" y="231"/>
                    </a:lnTo>
                    <a:lnTo>
                      <a:pt x="200" y="231"/>
                    </a:lnTo>
                    <a:lnTo>
                      <a:pt x="200" y="233"/>
                    </a:lnTo>
                    <a:lnTo>
                      <a:pt x="200" y="231"/>
                    </a:lnTo>
                    <a:lnTo>
                      <a:pt x="198" y="231"/>
                    </a:lnTo>
                    <a:lnTo>
                      <a:pt x="198" y="229"/>
                    </a:lnTo>
                    <a:lnTo>
                      <a:pt x="198" y="231"/>
                    </a:lnTo>
                    <a:lnTo>
                      <a:pt x="198" y="229"/>
                    </a:lnTo>
                    <a:lnTo>
                      <a:pt x="198" y="231"/>
                    </a:lnTo>
                    <a:lnTo>
                      <a:pt x="200" y="231"/>
                    </a:lnTo>
                    <a:lnTo>
                      <a:pt x="200" y="233"/>
                    </a:lnTo>
                    <a:lnTo>
                      <a:pt x="200" y="235"/>
                    </a:lnTo>
                    <a:lnTo>
                      <a:pt x="202" y="235"/>
                    </a:lnTo>
                    <a:lnTo>
                      <a:pt x="202" y="237"/>
                    </a:lnTo>
                    <a:lnTo>
                      <a:pt x="202" y="235"/>
                    </a:lnTo>
                    <a:lnTo>
                      <a:pt x="200" y="235"/>
                    </a:lnTo>
                    <a:lnTo>
                      <a:pt x="198" y="235"/>
                    </a:lnTo>
                    <a:lnTo>
                      <a:pt x="198" y="233"/>
                    </a:lnTo>
                    <a:lnTo>
                      <a:pt x="198" y="235"/>
                    </a:lnTo>
                    <a:lnTo>
                      <a:pt x="200" y="235"/>
                    </a:lnTo>
                    <a:lnTo>
                      <a:pt x="200" y="237"/>
                    </a:lnTo>
                    <a:lnTo>
                      <a:pt x="202" y="237"/>
                    </a:lnTo>
                    <a:lnTo>
                      <a:pt x="202" y="239"/>
                    </a:lnTo>
                    <a:lnTo>
                      <a:pt x="204" y="239"/>
                    </a:lnTo>
                    <a:lnTo>
                      <a:pt x="206" y="240"/>
                    </a:lnTo>
                    <a:lnTo>
                      <a:pt x="207" y="242"/>
                    </a:lnTo>
                    <a:lnTo>
                      <a:pt x="209" y="244"/>
                    </a:lnTo>
                    <a:lnTo>
                      <a:pt x="209" y="246"/>
                    </a:lnTo>
                    <a:lnTo>
                      <a:pt x="209" y="248"/>
                    </a:lnTo>
                    <a:lnTo>
                      <a:pt x="207" y="248"/>
                    </a:lnTo>
                    <a:lnTo>
                      <a:pt x="209" y="248"/>
                    </a:lnTo>
                    <a:lnTo>
                      <a:pt x="207" y="248"/>
                    </a:lnTo>
                    <a:lnTo>
                      <a:pt x="209" y="248"/>
                    </a:lnTo>
                    <a:lnTo>
                      <a:pt x="207" y="250"/>
                    </a:lnTo>
                    <a:lnTo>
                      <a:pt x="207" y="248"/>
                    </a:lnTo>
                    <a:lnTo>
                      <a:pt x="207" y="250"/>
                    </a:lnTo>
                    <a:lnTo>
                      <a:pt x="206" y="250"/>
                    </a:lnTo>
                    <a:lnTo>
                      <a:pt x="206" y="248"/>
                    </a:lnTo>
                    <a:lnTo>
                      <a:pt x="204" y="248"/>
                    </a:lnTo>
                    <a:lnTo>
                      <a:pt x="206" y="248"/>
                    </a:lnTo>
                    <a:lnTo>
                      <a:pt x="206" y="250"/>
                    </a:lnTo>
                    <a:lnTo>
                      <a:pt x="207" y="250"/>
                    </a:lnTo>
                    <a:lnTo>
                      <a:pt x="207" y="252"/>
                    </a:lnTo>
                    <a:lnTo>
                      <a:pt x="207" y="250"/>
                    </a:lnTo>
                    <a:lnTo>
                      <a:pt x="207" y="252"/>
                    </a:lnTo>
                    <a:lnTo>
                      <a:pt x="206" y="252"/>
                    </a:lnTo>
                    <a:lnTo>
                      <a:pt x="206" y="254"/>
                    </a:lnTo>
                    <a:lnTo>
                      <a:pt x="204" y="254"/>
                    </a:lnTo>
                    <a:lnTo>
                      <a:pt x="206" y="254"/>
                    </a:lnTo>
                    <a:lnTo>
                      <a:pt x="206" y="252"/>
                    </a:lnTo>
                    <a:lnTo>
                      <a:pt x="206" y="254"/>
                    </a:lnTo>
                    <a:lnTo>
                      <a:pt x="207" y="254"/>
                    </a:lnTo>
                    <a:lnTo>
                      <a:pt x="207" y="256"/>
                    </a:lnTo>
                    <a:lnTo>
                      <a:pt x="207" y="258"/>
                    </a:lnTo>
                    <a:lnTo>
                      <a:pt x="206" y="258"/>
                    </a:lnTo>
                    <a:lnTo>
                      <a:pt x="206" y="260"/>
                    </a:lnTo>
                    <a:lnTo>
                      <a:pt x="204" y="260"/>
                    </a:lnTo>
                    <a:lnTo>
                      <a:pt x="206" y="260"/>
                    </a:lnTo>
                    <a:lnTo>
                      <a:pt x="206" y="262"/>
                    </a:lnTo>
                    <a:lnTo>
                      <a:pt x="206" y="260"/>
                    </a:lnTo>
                    <a:lnTo>
                      <a:pt x="204" y="262"/>
                    </a:lnTo>
                    <a:lnTo>
                      <a:pt x="202" y="262"/>
                    </a:lnTo>
                    <a:lnTo>
                      <a:pt x="202" y="264"/>
                    </a:lnTo>
                    <a:lnTo>
                      <a:pt x="200" y="264"/>
                    </a:lnTo>
                    <a:lnTo>
                      <a:pt x="202" y="264"/>
                    </a:lnTo>
                    <a:lnTo>
                      <a:pt x="200" y="264"/>
                    </a:lnTo>
                    <a:lnTo>
                      <a:pt x="198" y="264"/>
                    </a:lnTo>
                    <a:lnTo>
                      <a:pt x="198" y="265"/>
                    </a:lnTo>
                    <a:lnTo>
                      <a:pt x="198" y="264"/>
                    </a:lnTo>
                    <a:lnTo>
                      <a:pt x="198" y="265"/>
                    </a:lnTo>
                    <a:lnTo>
                      <a:pt x="200" y="264"/>
                    </a:lnTo>
                    <a:lnTo>
                      <a:pt x="200" y="265"/>
                    </a:lnTo>
                    <a:lnTo>
                      <a:pt x="200" y="264"/>
                    </a:lnTo>
                    <a:lnTo>
                      <a:pt x="202" y="264"/>
                    </a:lnTo>
                    <a:lnTo>
                      <a:pt x="202" y="262"/>
                    </a:lnTo>
                    <a:lnTo>
                      <a:pt x="204" y="262"/>
                    </a:lnTo>
                    <a:lnTo>
                      <a:pt x="206" y="260"/>
                    </a:lnTo>
                    <a:lnTo>
                      <a:pt x="206" y="262"/>
                    </a:lnTo>
                    <a:lnTo>
                      <a:pt x="207" y="262"/>
                    </a:lnTo>
                    <a:lnTo>
                      <a:pt x="206" y="262"/>
                    </a:lnTo>
                    <a:lnTo>
                      <a:pt x="206" y="260"/>
                    </a:lnTo>
                    <a:lnTo>
                      <a:pt x="206" y="258"/>
                    </a:lnTo>
                    <a:lnTo>
                      <a:pt x="207" y="258"/>
                    </a:lnTo>
                    <a:lnTo>
                      <a:pt x="207" y="256"/>
                    </a:lnTo>
                    <a:lnTo>
                      <a:pt x="209" y="256"/>
                    </a:lnTo>
                    <a:lnTo>
                      <a:pt x="211" y="256"/>
                    </a:lnTo>
                    <a:lnTo>
                      <a:pt x="209" y="256"/>
                    </a:lnTo>
                    <a:lnTo>
                      <a:pt x="211" y="256"/>
                    </a:lnTo>
                    <a:lnTo>
                      <a:pt x="209" y="256"/>
                    </a:lnTo>
                    <a:lnTo>
                      <a:pt x="211" y="256"/>
                    </a:lnTo>
                    <a:lnTo>
                      <a:pt x="211" y="254"/>
                    </a:lnTo>
                    <a:lnTo>
                      <a:pt x="211" y="256"/>
                    </a:lnTo>
                    <a:lnTo>
                      <a:pt x="211" y="254"/>
                    </a:lnTo>
                    <a:lnTo>
                      <a:pt x="211" y="256"/>
                    </a:lnTo>
                    <a:lnTo>
                      <a:pt x="211" y="254"/>
                    </a:lnTo>
                    <a:lnTo>
                      <a:pt x="211" y="256"/>
                    </a:lnTo>
                    <a:lnTo>
                      <a:pt x="211" y="254"/>
                    </a:lnTo>
                    <a:lnTo>
                      <a:pt x="211" y="256"/>
                    </a:lnTo>
                    <a:lnTo>
                      <a:pt x="211" y="254"/>
                    </a:lnTo>
                    <a:lnTo>
                      <a:pt x="213" y="254"/>
                    </a:lnTo>
                    <a:lnTo>
                      <a:pt x="215" y="254"/>
                    </a:lnTo>
                    <a:lnTo>
                      <a:pt x="215" y="256"/>
                    </a:lnTo>
                    <a:lnTo>
                      <a:pt x="215" y="254"/>
                    </a:lnTo>
                    <a:lnTo>
                      <a:pt x="213" y="254"/>
                    </a:lnTo>
                    <a:lnTo>
                      <a:pt x="215" y="254"/>
                    </a:lnTo>
                    <a:lnTo>
                      <a:pt x="213" y="254"/>
                    </a:lnTo>
                    <a:lnTo>
                      <a:pt x="215" y="254"/>
                    </a:lnTo>
                    <a:lnTo>
                      <a:pt x="217" y="254"/>
                    </a:lnTo>
                    <a:lnTo>
                      <a:pt x="217" y="256"/>
                    </a:lnTo>
                    <a:lnTo>
                      <a:pt x="215" y="256"/>
                    </a:lnTo>
                    <a:lnTo>
                      <a:pt x="217" y="256"/>
                    </a:lnTo>
                    <a:lnTo>
                      <a:pt x="217" y="258"/>
                    </a:lnTo>
                    <a:lnTo>
                      <a:pt x="217" y="256"/>
                    </a:lnTo>
                    <a:lnTo>
                      <a:pt x="219" y="258"/>
                    </a:lnTo>
                    <a:lnTo>
                      <a:pt x="221" y="258"/>
                    </a:lnTo>
                    <a:lnTo>
                      <a:pt x="221" y="260"/>
                    </a:lnTo>
                    <a:lnTo>
                      <a:pt x="223" y="260"/>
                    </a:lnTo>
                    <a:lnTo>
                      <a:pt x="221" y="260"/>
                    </a:lnTo>
                    <a:lnTo>
                      <a:pt x="221" y="258"/>
                    </a:lnTo>
                    <a:lnTo>
                      <a:pt x="219" y="258"/>
                    </a:lnTo>
                    <a:lnTo>
                      <a:pt x="217" y="256"/>
                    </a:lnTo>
                    <a:lnTo>
                      <a:pt x="217" y="258"/>
                    </a:lnTo>
                    <a:lnTo>
                      <a:pt x="217" y="256"/>
                    </a:lnTo>
                    <a:lnTo>
                      <a:pt x="215" y="256"/>
                    </a:lnTo>
                    <a:lnTo>
                      <a:pt x="217" y="256"/>
                    </a:lnTo>
                    <a:lnTo>
                      <a:pt x="217" y="254"/>
                    </a:lnTo>
                    <a:lnTo>
                      <a:pt x="215" y="254"/>
                    </a:lnTo>
                    <a:lnTo>
                      <a:pt x="215" y="252"/>
                    </a:lnTo>
                    <a:lnTo>
                      <a:pt x="217" y="252"/>
                    </a:lnTo>
                    <a:lnTo>
                      <a:pt x="217" y="250"/>
                    </a:lnTo>
                    <a:lnTo>
                      <a:pt x="217" y="252"/>
                    </a:lnTo>
                    <a:lnTo>
                      <a:pt x="217" y="250"/>
                    </a:lnTo>
                    <a:lnTo>
                      <a:pt x="217" y="252"/>
                    </a:lnTo>
                    <a:lnTo>
                      <a:pt x="217" y="250"/>
                    </a:lnTo>
                    <a:lnTo>
                      <a:pt x="217" y="252"/>
                    </a:lnTo>
                    <a:lnTo>
                      <a:pt x="217" y="250"/>
                    </a:lnTo>
                    <a:lnTo>
                      <a:pt x="217" y="252"/>
                    </a:lnTo>
                    <a:lnTo>
                      <a:pt x="217" y="250"/>
                    </a:lnTo>
                    <a:lnTo>
                      <a:pt x="217" y="252"/>
                    </a:lnTo>
                    <a:lnTo>
                      <a:pt x="217" y="250"/>
                    </a:lnTo>
                    <a:lnTo>
                      <a:pt x="219" y="250"/>
                    </a:lnTo>
                    <a:lnTo>
                      <a:pt x="219" y="252"/>
                    </a:lnTo>
                    <a:lnTo>
                      <a:pt x="221" y="254"/>
                    </a:lnTo>
                    <a:lnTo>
                      <a:pt x="221" y="252"/>
                    </a:lnTo>
                    <a:lnTo>
                      <a:pt x="219" y="252"/>
                    </a:lnTo>
                    <a:lnTo>
                      <a:pt x="219" y="250"/>
                    </a:lnTo>
                    <a:lnTo>
                      <a:pt x="217" y="250"/>
                    </a:lnTo>
                    <a:lnTo>
                      <a:pt x="219" y="250"/>
                    </a:lnTo>
                    <a:lnTo>
                      <a:pt x="217" y="250"/>
                    </a:lnTo>
                    <a:lnTo>
                      <a:pt x="217" y="248"/>
                    </a:lnTo>
                    <a:lnTo>
                      <a:pt x="217" y="250"/>
                    </a:lnTo>
                    <a:lnTo>
                      <a:pt x="217" y="248"/>
                    </a:lnTo>
                    <a:lnTo>
                      <a:pt x="219" y="248"/>
                    </a:lnTo>
                    <a:lnTo>
                      <a:pt x="219" y="246"/>
                    </a:lnTo>
                    <a:lnTo>
                      <a:pt x="221" y="244"/>
                    </a:lnTo>
                    <a:lnTo>
                      <a:pt x="223" y="244"/>
                    </a:lnTo>
                    <a:lnTo>
                      <a:pt x="221" y="244"/>
                    </a:lnTo>
                    <a:lnTo>
                      <a:pt x="227" y="240"/>
                    </a:lnTo>
                    <a:lnTo>
                      <a:pt x="227" y="239"/>
                    </a:lnTo>
                    <a:lnTo>
                      <a:pt x="229" y="237"/>
                    </a:lnTo>
                    <a:lnTo>
                      <a:pt x="231" y="235"/>
                    </a:lnTo>
                    <a:lnTo>
                      <a:pt x="231" y="233"/>
                    </a:lnTo>
                    <a:lnTo>
                      <a:pt x="232" y="231"/>
                    </a:lnTo>
                    <a:lnTo>
                      <a:pt x="232" y="229"/>
                    </a:lnTo>
                    <a:lnTo>
                      <a:pt x="234" y="229"/>
                    </a:lnTo>
                    <a:lnTo>
                      <a:pt x="232" y="229"/>
                    </a:lnTo>
                    <a:lnTo>
                      <a:pt x="234" y="229"/>
                    </a:lnTo>
                    <a:lnTo>
                      <a:pt x="234" y="227"/>
                    </a:lnTo>
                    <a:lnTo>
                      <a:pt x="236" y="227"/>
                    </a:lnTo>
                    <a:lnTo>
                      <a:pt x="236" y="225"/>
                    </a:lnTo>
                    <a:lnTo>
                      <a:pt x="238" y="225"/>
                    </a:lnTo>
                    <a:lnTo>
                      <a:pt x="236" y="225"/>
                    </a:lnTo>
                    <a:lnTo>
                      <a:pt x="238" y="225"/>
                    </a:lnTo>
                    <a:lnTo>
                      <a:pt x="238" y="223"/>
                    </a:lnTo>
                    <a:lnTo>
                      <a:pt x="238" y="225"/>
                    </a:lnTo>
                    <a:lnTo>
                      <a:pt x="240" y="225"/>
                    </a:lnTo>
                    <a:lnTo>
                      <a:pt x="242" y="225"/>
                    </a:lnTo>
                    <a:lnTo>
                      <a:pt x="242" y="227"/>
                    </a:lnTo>
                    <a:lnTo>
                      <a:pt x="242" y="225"/>
                    </a:lnTo>
                    <a:lnTo>
                      <a:pt x="242" y="227"/>
                    </a:lnTo>
                    <a:lnTo>
                      <a:pt x="244" y="227"/>
                    </a:lnTo>
                    <a:lnTo>
                      <a:pt x="246" y="227"/>
                    </a:lnTo>
                    <a:lnTo>
                      <a:pt x="246" y="229"/>
                    </a:lnTo>
                    <a:lnTo>
                      <a:pt x="246" y="227"/>
                    </a:lnTo>
                    <a:lnTo>
                      <a:pt x="244" y="227"/>
                    </a:lnTo>
                    <a:lnTo>
                      <a:pt x="242" y="227"/>
                    </a:lnTo>
                    <a:lnTo>
                      <a:pt x="242" y="225"/>
                    </a:lnTo>
                    <a:lnTo>
                      <a:pt x="240" y="225"/>
                    </a:lnTo>
                    <a:lnTo>
                      <a:pt x="240" y="223"/>
                    </a:lnTo>
                    <a:lnTo>
                      <a:pt x="238" y="223"/>
                    </a:lnTo>
                    <a:lnTo>
                      <a:pt x="238" y="221"/>
                    </a:lnTo>
                    <a:lnTo>
                      <a:pt x="238" y="223"/>
                    </a:lnTo>
                    <a:lnTo>
                      <a:pt x="236" y="221"/>
                    </a:lnTo>
                    <a:lnTo>
                      <a:pt x="234" y="221"/>
                    </a:lnTo>
                    <a:lnTo>
                      <a:pt x="234" y="219"/>
                    </a:lnTo>
                    <a:lnTo>
                      <a:pt x="236" y="219"/>
                    </a:lnTo>
                    <a:lnTo>
                      <a:pt x="238" y="219"/>
                    </a:lnTo>
                    <a:lnTo>
                      <a:pt x="238" y="221"/>
                    </a:lnTo>
                    <a:lnTo>
                      <a:pt x="238" y="219"/>
                    </a:lnTo>
                    <a:lnTo>
                      <a:pt x="240" y="219"/>
                    </a:lnTo>
                    <a:lnTo>
                      <a:pt x="242" y="221"/>
                    </a:lnTo>
                    <a:lnTo>
                      <a:pt x="244" y="221"/>
                    </a:lnTo>
                    <a:lnTo>
                      <a:pt x="246" y="223"/>
                    </a:lnTo>
                    <a:lnTo>
                      <a:pt x="246" y="221"/>
                    </a:lnTo>
                    <a:lnTo>
                      <a:pt x="248" y="221"/>
                    </a:lnTo>
                    <a:lnTo>
                      <a:pt x="248" y="223"/>
                    </a:lnTo>
                    <a:lnTo>
                      <a:pt x="248" y="221"/>
                    </a:lnTo>
                    <a:lnTo>
                      <a:pt x="250" y="221"/>
                    </a:lnTo>
                    <a:lnTo>
                      <a:pt x="250" y="223"/>
                    </a:lnTo>
                    <a:lnTo>
                      <a:pt x="250" y="221"/>
                    </a:lnTo>
                    <a:lnTo>
                      <a:pt x="252" y="223"/>
                    </a:lnTo>
                    <a:lnTo>
                      <a:pt x="254" y="223"/>
                    </a:lnTo>
                    <a:lnTo>
                      <a:pt x="254" y="221"/>
                    </a:lnTo>
                    <a:lnTo>
                      <a:pt x="255" y="221"/>
                    </a:lnTo>
                    <a:lnTo>
                      <a:pt x="255" y="223"/>
                    </a:lnTo>
                    <a:lnTo>
                      <a:pt x="257" y="223"/>
                    </a:lnTo>
                    <a:lnTo>
                      <a:pt x="257" y="221"/>
                    </a:lnTo>
                    <a:lnTo>
                      <a:pt x="257" y="223"/>
                    </a:lnTo>
                    <a:lnTo>
                      <a:pt x="259" y="223"/>
                    </a:lnTo>
                    <a:lnTo>
                      <a:pt x="259" y="221"/>
                    </a:lnTo>
                    <a:lnTo>
                      <a:pt x="259" y="223"/>
                    </a:lnTo>
                    <a:lnTo>
                      <a:pt x="259" y="221"/>
                    </a:lnTo>
                    <a:lnTo>
                      <a:pt x="261" y="221"/>
                    </a:lnTo>
                    <a:lnTo>
                      <a:pt x="259" y="221"/>
                    </a:lnTo>
                    <a:lnTo>
                      <a:pt x="261" y="221"/>
                    </a:lnTo>
                    <a:lnTo>
                      <a:pt x="261" y="223"/>
                    </a:lnTo>
                    <a:lnTo>
                      <a:pt x="263" y="221"/>
                    </a:lnTo>
                    <a:lnTo>
                      <a:pt x="263" y="223"/>
                    </a:lnTo>
                    <a:lnTo>
                      <a:pt x="261" y="223"/>
                    </a:lnTo>
                    <a:lnTo>
                      <a:pt x="261" y="225"/>
                    </a:lnTo>
                    <a:lnTo>
                      <a:pt x="263" y="225"/>
                    </a:lnTo>
                    <a:lnTo>
                      <a:pt x="263" y="223"/>
                    </a:lnTo>
                    <a:lnTo>
                      <a:pt x="263" y="225"/>
                    </a:lnTo>
                    <a:lnTo>
                      <a:pt x="265" y="225"/>
                    </a:lnTo>
                    <a:lnTo>
                      <a:pt x="263" y="225"/>
                    </a:lnTo>
                    <a:lnTo>
                      <a:pt x="263" y="227"/>
                    </a:lnTo>
                    <a:lnTo>
                      <a:pt x="265" y="227"/>
                    </a:lnTo>
                    <a:lnTo>
                      <a:pt x="265" y="225"/>
                    </a:lnTo>
                    <a:lnTo>
                      <a:pt x="267" y="225"/>
                    </a:lnTo>
                    <a:lnTo>
                      <a:pt x="269" y="225"/>
                    </a:lnTo>
                    <a:lnTo>
                      <a:pt x="271" y="225"/>
                    </a:lnTo>
                    <a:lnTo>
                      <a:pt x="269" y="227"/>
                    </a:lnTo>
                    <a:lnTo>
                      <a:pt x="271" y="227"/>
                    </a:lnTo>
                    <a:lnTo>
                      <a:pt x="271" y="229"/>
                    </a:lnTo>
                    <a:lnTo>
                      <a:pt x="273" y="229"/>
                    </a:lnTo>
                    <a:lnTo>
                      <a:pt x="273" y="231"/>
                    </a:lnTo>
                    <a:lnTo>
                      <a:pt x="273" y="229"/>
                    </a:lnTo>
                    <a:lnTo>
                      <a:pt x="273" y="231"/>
                    </a:lnTo>
                    <a:lnTo>
                      <a:pt x="275" y="231"/>
                    </a:lnTo>
                    <a:lnTo>
                      <a:pt x="275" y="229"/>
                    </a:lnTo>
                    <a:lnTo>
                      <a:pt x="275" y="231"/>
                    </a:lnTo>
                    <a:lnTo>
                      <a:pt x="277" y="231"/>
                    </a:lnTo>
                    <a:lnTo>
                      <a:pt x="275" y="231"/>
                    </a:lnTo>
                    <a:lnTo>
                      <a:pt x="275" y="233"/>
                    </a:lnTo>
                    <a:lnTo>
                      <a:pt x="275" y="231"/>
                    </a:lnTo>
                    <a:lnTo>
                      <a:pt x="275" y="233"/>
                    </a:lnTo>
                    <a:lnTo>
                      <a:pt x="275" y="231"/>
                    </a:lnTo>
                    <a:lnTo>
                      <a:pt x="277" y="231"/>
                    </a:lnTo>
                    <a:lnTo>
                      <a:pt x="275" y="231"/>
                    </a:lnTo>
                    <a:lnTo>
                      <a:pt x="275" y="229"/>
                    </a:lnTo>
                    <a:lnTo>
                      <a:pt x="275" y="231"/>
                    </a:lnTo>
                    <a:lnTo>
                      <a:pt x="273" y="231"/>
                    </a:lnTo>
                    <a:lnTo>
                      <a:pt x="273" y="229"/>
                    </a:lnTo>
                    <a:lnTo>
                      <a:pt x="273" y="231"/>
                    </a:lnTo>
                    <a:lnTo>
                      <a:pt x="273" y="229"/>
                    </a:lnTo>
                    <a:lnTo>
                      <a:pt x="271" y="229"/>
                    </a:lnTo>
                    <a:lnTo>
                      <a:pt x="271" y="227"/>
                    </a:lnTo>
                    <a:lnTo>
                      <a:pt x="269" y="227"/>
                    </a:lnTo>
                    <a:lnTo>
                      <a:pt x="271" y="225"/>
                    </a:lnTo>
                    <a:lnTo>
                      <a:pt x="269" y="225"/>
                    </a:lnTo>
                    <a:lnTo>
                      <a:pt x="267" y="225"/>
                    </a:lnTo>
                    <a:lnTo>
                      <a:pt x="265" y="225"/>
                    </a:lnTo>
                    <a:lnTo>
                      <a:pt x="265" y="227"/>
                    </a:lnTo>
                    <a:lnTo>
                      <a:pt x="263" y="227"/>
                    </a:lnTo>
                    <a:lnTo>
                      <a:pt x="263" y="225"/>
                    </a:lnTo>
                    <a:lnTo>
                      <a:pt x="265" y="225"/>
                    </a:lnTo>
                    <a:lnTo>
                      <a:pt x="263" y="225"/>
                    </a:lnTo>
                    <a:lnTo>
                      <a:pt x="263" y="223"/>
                    </a:lnTo>
                    <a:lnTo>
                      <a:pt x="263" y="225"/>
                    </a:lnTo>
                    <a:lnTo>
                      <a:pt x="261" y="225"/>
                    </a:lnTo>
                    <a:lnTo>
                      <a:pt x="261" y="223"/>
                    </a:lnTo>
                    <a:lnTo>
                      <a:pt x="263" y="223"/>
                    </a:lnTo>
                    <a:lnTo>
                      <a:pt x="263" y="221"/>
                    </a:lnTo>
                    <a:lnTo>
                      <a:pt x="263" y="223"/>
                    </a:lnTo>
                    <a:lnTo>
                      <a:pt x="261" y="223"/>
                    </a:lnTo>
                    <a:lnTo>
                      <a:pt x="261" y="221"/>
                    </a:lnTo>
                    <a:lnTo>
                      <a:pt x="259" y="221"/>
                    </a:lnTo>
                    <a:lnTo>
                      <a:pt x="261" y="221"/>
                    </a:lnTo>
                    <a:lnTo>
                      <a:pt x="259" y="221"/>
                    </a:lnTo>
                    <a:lnTo>
                      <a:pt x="259" y="223"/>
                    </a:lnTo>
                    <a:lnTo>
                      <a:pt x="257" y="223"/>
                    </a:lnTo>
                    <a:lnTo>
                      <a:pt x="257" y="221"/>
                    </a:lnTo>
                    <a:lnTo>
                      <a:pt x="257" y="223"/>
                    </a:lnTo>
                    <a:lnTo>
                      <a:pt x="255" y="223"/>
                    </a:lnTo>
                    <a:lnTo>
                      <a:pt x="257" y="221"/>
                    </a:lnTo>
                    <a:lnTo>
                      <a:pt x="255" y="221"/>
                    </a:lnTo>
                    <a:lnTo>
                      <a:pt x="254" y="221"/>
                    </a:lnTo>
                    <a:lnTo>
                      <a:pt x="254" y="223"/>
                    </a:lnTo>
                    <a:lnTo>
                      <a:pt x="252" y="223"/>
                    </a:lnTo>
                    <a:lnTo>
                      <a:pt x="252" y="221"/>
                    </a:lnTo>
                    <a:lnTo>
                      <a:pt x="250" y="221"/>
                    </a:lnTo>
                    <a:lnTo>
                      <a:pt x="250" y="223"/>
                    </a:lnTo>
                    <a:lnTo>
                      <a:pt x="250" y="221"/>
                    </a:lnTo>
                    <a:lnTo>
                      <a:pt x="248" y="219"/>
                    </a:lnTo>
                    <a:lnTo>
                      <a:pt x="248" y="221"/>
                    </a:lnTo>
                    <a:lnTo>
                      <a:pt x="248" y="223"/>
                    </a:lnTo>
                    <a:lnTo>
                      <a:pt x="248" y="221"/>
                    </a:lnTo>
                    <a:lnTo>
                      <a:pt x="246" y="221"/>
                    </a:lnTo>
                    <a:lnTo>
                      <a:pt x="248" y="221"/>
                    </a:lnTo>
                    <a:lnTo>
                      <a:pt x="246" y="221"/>
                    </a:lnTo>
                    <a:lnTo>
                      <a:pt x="246" y="223"/>
                    </a:lnTo>
                    <a:lnTo>
                      <a:pt x="244" y="221"/>
                    </a:lnTo>
                    <a:lnTo>
                      <a:pt x="242" y="221"/>
                    </a:lnTo>
                    <a:lnTo>
                      <a:pt x="244" y="221"/>
                    </a:lnTo>
                    <a:lnTo>
                      <a:pt x="242" y="221"/>
                    </a:lnTo>
                    <a:lnTo>
                      <a:pt x="244" y="221"/>
                    </a:lnTo>
                    <a:lnTo>
                      <a:pt x="244" y="219"/>
                    </a:lnTo>
                    <a:lnTo>
                      <a:pt x="242" y="219"/>
                    </a:lnTo>
                    <a:lnTo>
                      <a:pt x="244" y="219"/>
                    </a:lnTo>
                    <a:lnTo>
                      <a:pt x="246" y="219"/>
                    </a:lnTo>
                    <a:lnTo>
                      <a:pt x="244" y="219"/>
                    </a:lnTo>
                    <a:lnTo>
                      <a:pt x="242" y="219"/>
                    </a:lnTo>
                    <a:lnTo>
                      <a:pt x="244" y="219"/>
                    </a:lnTo>
                    <a:lnTo>
                      <a:pt x="244" y="217"/>
                    </a:lnTo>
                    <a:lnTo>
                      <a:pt x="244" y="219"/>
                    </a:lnTo>
                    <a:lnTo>
                      <a:pt x="246" y="219"/>
                    </a:lnTo>
                    <a:lnTo>
                      <a:pt x="246" y="217"/>
                    </a:lnTo>
                    <a:lnTo>
                      <a:pt x="248" y="217"/>
                    </a:lnTo>
                    <a:lnTo>
                      <a:pt x="246" y="217"/>
                    </a:lnTo>
                    <a:lnTo>
                      <a:pt x="246" y="219"/>
                    </a:lnTo>
                    <a:lnTo>
                      <a:pt x="244" y="219"/>
                    </a:lnTo>
                    <a:lnTo>
                      <a:pt x="244" y="217"/>
                    </a:lnTo>
                    <a:lnTo>
                      <a:pt x="242" y="219"/>
                    </a:lnTo>
                    <a:lnTo>
                      <a:pt x="242" y="217"/>
                    </a:lnTo>
                    <a:lnTo>
                      <a:pt x="244" y="215"/>
                    </a:lnTo>
                    <a:lnTo>
                      <a:pt x="244" y="217"/>
                    </a:lnTo>
                    <a:lnTo>
                      <a:pt x="246" y="217"/>
                    </a:lnTo>
                    <a:lnTo>
                      <a:pt x="244" y="217"/>
                    </a:lnTo>
                    <a:lnTo>
                      <a:pt x="244" y="215"/>
                    </a:lnTo>
                    <a:lnTo>
                      <a:pt x="244" y="217"/>
                    </a:lnTo>
                    <a:lnTo>
                      <a:pt x="246" y="217"/>
                    </a:lnTo>
                    <a:lnTo>
                      <a:pt x="246" y="215"/>
                    </a:lnTo>
                    <a:lnTo>
                      <a:pt x="244" y="215"/>
                    </a:lnTo>
                    <a:lnTo>
                      <a:pt x="246" y="214"/>
                    </a:lnTo>
                    <a:lnTo>
                      <a:pt x="246" y="212"/>
                    </a:lnTo>
                    <a:lnTo>
                      <a:pt x="246" y="214"/>
                    </a:lnTo>
                    <a:lnTo>
                      <a:pt x="248" y="214"/>
                    </a:lnTo>
                    <a:lnTo>
                      <a:pt x="248" y="212"/>
                    </a:lnTo>
                    <a:lnTo>
                      <a:pt x="248" y="214"/>
                    </a:lnTo>
                    <a:lnTo>
                      <a:pt x="246" y="214"/>
                    </a:lnTo>
                    <a:lnTo>
                      <a:pt x="246" y="212"/>
                    </a:lnTo>
                    <a:lnTo>
                      <a:pt x="246" y="214"/>
                    </a:lnTo>
                    <a:lnTo>
                      <a:pt x="244" y="214"/>
                    </a:lnTo>
                    <a:lnTo>
                      <a:pt x="244" y="215"/>
                    </a:lnTo>
                    <a:lnTo>
                      <a:pt x="246" y="215"/>
                    </a:lnTo>
                    <a:lnTo>
                      <a:pt x="244" y="217"/>
                    </a:lnTo>
                    <a:lnTo>
                      <a:pt x="244" y="215"/>
                    </a:lnTo>
                    <a:lnTo>
                      <a:pt x="242" y="215"/>
                    </a:lnTo>
                    <a:lnTo>
                      <a:pt x="242" y="217"/>
                    </a:lnTo>
                    <a:lnTo>
                      <a:pt x="242" y="219"/>
                    </a:lnTo>
                    <a:lnTo>
                      <a:pt x="242" y="217"/>
                    </a:lnTo>
                    <a:lnTo>
                      <a:pt x="240" y="217"/>
                    </a:lnTo>
                    <a:lnTo>
                      <a:pt x="242" y="217"/>
                    </a:lnTo>
                    <a:lnTo>
                      <a:pt x="240" y="217"/>
                    </a:lnTo>
                    <a:lnTo>
                      <a:pt x="238" y="217"/>
                    </a:lnTo>
                    <a:lnTo>
                      <a:pt x="236" y="217"/>
                    </a:lnTo>
                    <a:lnTo>
                      <a:pt x="236" y="215"/>
                    </a:lnTo>
                    <a:lnTo>
                      <a:pt x="236" y="217"/>
                    </a:lnTo>
                    <a:lnTo>
                      <a:pt x="234" y="217"/>
                    </a:lnTo>
                    <a:lnTo>
                      <a:pt x="232" y="217"/>
                    </a:lnTo>
                    <a:lnTo>
                      <a:pt x="231" y="217"/>
                    </a:lnTo>
                    <a:lnTo>
                      <a:pt x="229" y="217"/>
                    </a:lnTo>
                    <a:lnTo>
                      <a:pt x="229" y="215"/>
                    </a:lnTo>
                    <a:lnTo>
                      <a:pt x="227" y="215"/>
                    </a:lnTo>
                    <a:lnTo>
                      <a:pt x="227" y="214"/>
                    </a:lnTo>
                    <a:lnTo>
                      <a:pt x="229" y="214"/>
                    </a:lnTo>
                    <a:lnTo>
                      <a:pt x="227" y="214"/>
                    </a:lnTo>
                    <a:lnTo>
                      <a:pt x="227" y="215"/>
                    </a:lnTo>
                    <a:lnTo>
                      <a:pt x="229" y="215"/>
                    </a:lnTo>
                    <a:lnTo>
                      <a:pt x="227" y="215"/>
                    </a:lnTo>
                    <a:lnTo>
                      <a:pt x="225" y="214"/>
                    </a:lnTo>
                    <a:lnTo>
                      <a:pt x="225" y="212"/>
                    </a:lnTo>
                    <a:lnTo>
                      <a:pt x="225" y="210"/>
                    </a:lnTo>
                    <a:lnTo>
                      <a:pt x="227" y="210"/>
                    </a:lnTo>
                    <a:lnTo>
                      <a:pt x="225" y="210"/>
                    </a:lnTo>
                    <a:lnTo>
                      <a:pt x="225" y="208"/>
                    </a:lnTo>
                    <a:lnTo>
                      <a:pt x="225" y="206"/>
                    </a:lnTo>
                    <a:lnTo>
                      <a:pt x="223" y="204"/>
                    </a:lnTo>
                    <a:lnTo>
                      <a:pt x="223" y="200"/>
                    </a:lnTo>
                    <a:lnTo>
                      <a:pt x="221" y="196"/>
                    </a:lnTo>
                    <a:lnTo>
                      <a:pt x="221" y="194"/>
                    </a:lnTo>
                    <a:lnTo>
                      <a:pt x="221" y="192"/>
                    </a:lnTo>
                    <a:lnTo>
                      <a:pt x="223" y="192"/>
                    </a:lnTo>
                    <a:lnTo>
                      <a:pt x="221" y="192"/>
                    </a:lnTo>
                    <a:lnTo>
                      <a:pt x="221" y="190"/>
                    </a:lnTo>
                    <a:lnTo>
                      <a:pt x="221" y="192"/>
                    </a:lnTo>
                    <a:lnTo>
                      <a:pt x="221" y="190"/>
                    </a:lnTo>
                    <a:lnTo>
                      <a:pt x="221" y="189"/>
                    </a:lnTo>
                    <a:lnTo>
                      <a:pt x="221" y="187"/>
                    </a:lnTo>
                    <a:lnTo>
                      <a:pt x="223" y="187"/>
                    </a:lnTo>
                    <a:lnTo>
                      <a:pt x="223" y="185"/>
                    </a:lnTo>
                    <a:lnTo>
                      <a:pt x="225" y="185"/>
                    </a:lnTo>
                    <a:lnTo>
                      <a:pt x="223" y="185"/>
                    </a:lnTo>
                    <a:lnTo>
                      <a:pt x="225" y="185"/>
                    </a:lnTo>
                    <a:lnTo>
                      <a:pt x="225" y="183"/>
                    </a:lnTo>
                    <a:lnTo>
                      <a:pt x="225" y="185"/>
                    </a:lnTo>
                    <a:lnTo>
                      <a:pt x="225" y="183"/>
                    </a:lnTo>
                    <a:lnTo>
                      <a:pt x="225" y="185"/>
                    </a:lnTo>
                    <a:lnTo>
                      <a:pt x="225" y="183"/>
                    </a:lnTo>
                    <a:lnTo>
                      <a:pt x="225" y="185"/>
                    </a:lnTo>
                    <a:lnTo>
                      <a:pt x="225" y="183"/>
                    </a:lnTo>
                    <a:lnTo>
                      <a:pt x="227" y="183"/>
                    </a:lnTo>
                    <a:lnTo>
                      <a:pt x="225" y="183"/>
                    </a:lnTo>
                    <a:lnTo>
                      <a:pt x="225" y="181"/>
                    </a:lnTo>
                    <a:lnTo>
                      <a:pt x="225" y="179"/>
                    </a:lnTo>
                    <a:lnTo>
                      <a:pt x="225" y="177"/>
                    </a:lnTo>
                    <a:lnTo>
                      <a:pt x="223" y="177"/>
                    </a:lnTo>
                    <a:lnTo>
                      <a:pt x="223" y="179"/>
                    </a:lnTo>
                    <a:lnTo>
                      <a:pt x="223" y="181"/>
                    </a:lnTo>
                    <a:lnTo>
                      <a:pt x="223" y="179"/>
                    </a:lnTo>
                    <a:lnTo>
                      <a:pt x="223" y="181"/>
                    </a:lnTo>
                    <a:lnTo>
                      <a:pt x="221" y="181"/>
                    </a:lnTo>
                    <a:lnTo>
                      <a:pt x="221" y="179"/>
                    </a:lnTo>
                    <a:lnTo>
                      <a:pt x="219" y="179"/>
                    </a:lnTo>
                    <a:lnTo>
                      <a:pt x="219" y="177"/>
                    </a:lnTo>
                    <a:lnTo>
                      <a:pt x="217" y="177"/>
                    </a:lnTo>
                    <a:lnTo>
                      <a:pt x="217" y="175"/>
                    </a:lnTo>
                    <a:lnTo>
                      <a:pt x="215" y="173"/>
                    </a:lnTo>
                    <a:lnTo>
                      <a:pt x="215" y="171"/>
                    </a:lnTo>
                    <a:lnTo>
                      <a:pt x="213" y="171"/>
                    </a:lnTo>
                    <a:lnTo>
                      <a:pt x="213" y="169"/>
                    </a:lnTo>
                    <a:lnTo>
                      <a:pt x="211" y="169"/>
                    </a:lnTo>
                    <a:lnTo>
                      <a:pt x="209" y="169"/>
                    </a:lnTo>
                    <a:lnTo>
                      <a:pt x="209" y="167"/>
                    </a:lnTo>
                    <a:lnTo>
                      <a:pt x="207" y="167"/>
                    </a:lnTo>
                    <a:lnTo>
                      <a:pt x="207" y="166"/>
                    </a:lnTo>
                    <a:lnTo>
                      <a:pt x="206" y="166"/>
                    </a:lnTo>
                    <a:lnTo>
                      <a:pt x="206" y="164"/>
                    </a:lnTo>
                    <a:lnTo>
                      <a:pt x="204" y="164"/>
                    </a:lnTo>
                    <a:lnTo>
                      <a:pt x="204" y="162"/>
                    </a:lnTo>
                    <a:lnTo>
                      <a:pt x="202" y="162"/>
                    </a:lnTo>
                    <a:lnTo>
                      <a:pt x="202" y="164"/>
                    </a:lnTo>
                    <a:lnTo>
                      <a:pt x="202" y="166"/>
                    </a:lnTo>
                    <a:lnTo>
                      <a:pt x="200" y="166"/>
                    </a:lnTo>
                    <a:lnTo>
                      <a:pt x="198" y="166"/>
                    </a:lnTo>
                    <a:lnTo>
                      <a:pt x="200" y="164"/>
                    </a:lnTo>
                    <a:lnTo>
                      <a:pt x="198" y="164"/>
                    </a:lnTo>
                    <a:lnTo>
                      <a:pt x="198" y="166"/>
                    </a:lnTo>
                    <a:lnTo>
                      <a:pt x="198" y="167"/>
                    </a:lnTo>
                    <a:lnTo>
                      <a:pt x="198" y="169"/>
                    </a:lnTo>
                    <a:lnTo>
                      <a:pt x="198" y="171"/>
                    </a:lnTo>
                    <a:lnTo>
                      <a:pt x="200" y="171"/>
                    </a:lnTo>
                    <a:lnTo>
                      <a:pt x="198" y="171"/>
                    </a:lnTo>
                    <a:lnTo>
                      <a:pt x="198" y="173"/>
                    </a:lnTo>
                    <a:lnTo>
                      <a:pt x="198" y="171"/>
                    </a:lnTo>
                    <a:lnTo>
                      <a:pt x="198" y="173"/>
                    </a:lnTo>
                    <a:lnTo>
                      <a:pt x="196" y="173"/>
                    </a:lnTo>
                    <a:lnTo>
                      <a:pt x="196" y="171"/>
                    </a:lnTo>
                    <a:lnTo>
                      <a:pt x="196" y="169"/>
                    </a:lnTo>
                    <a:lnTo>
                      <a:pt x="196" y="167"/>
                    </a:lnTo>
                    <a:lnTo>
                      <a:pt x="198" y="164"/>
                    </a:lnTo>
                    <a:lnTo>
                      <a:pt x="198" y="162"/>
                    </a:lnTo>
                    <a:lnTo>
                      <a:pt x="198" y="160"/>
                    </a:lnTo>
                    <a:lnTo>
                      <a:pt x="198" y="158"/>
                    </a:lnTo>
                    <a:lnTo>
                      <a:pt x="200" y="156"/>
                    </a:lnTo>
                    <a:lnTo>
                      <a:pt x="200" y="154"/>
                    </a:lnTo>
                    <a:lnTo>
                      <a:pt x="202" y="150"/>
                    </a:lnTo>
                    <a:lnTo>
                      <a:pt x="202" y="148"/>
                    </a:lnTo>
                    <a:lnTo>
                      <a:pt x="204" y="146"/>
                    </a:lnTo>
                    <a:lnTo>
                      <a:pt x="206" y="144"/>
                    </a:lnTo>
                    <a:lnTo>
                      <a:pt x="207" y="142"/>
                    </a:lnTo>
                    <a:lnTo>
                      <a:pt x="209" y="141"/>
                    </a:lnTo>
                    <a:lnTo>
                      <a:pt x="209" y="142"/>
                    </a:lnTo>
                    <a:lnTo>
                      <a:pt x="207" y="142"/>
                    </a:lnTo>
                    <a:lnTo>
                      <a:pt x="207" y="144"/>
                    </a:lnTo>
                    <a:lnTo>
                      <a:pt x="206" y="144"/>
                    </a:lnTo>
                    <a:lnTo>
                      <a:pt x="206" y="146"/>
                    </a:lnTo>
                    <a:lnTo>
                      <a:pt x="207" y="146"/>
                    </a:lnTo>
                    <a:lnTo>
                      <a:pt x="207" y="148"/>
                    </a:lnTo>
                    <a:lnTo>
                      <a:pt x="207" y="146"/>
                    </a:lnTo>
                    <a:lnTo>
                      <a:pt x="207" y="148"/>
                    </a:lnTo>
                    <a:lnTo>
                      <a:pt x="207" y="146"/>
                    </a:lnTo>
                    <a:lnTo>
                      <a:pt x="209" y="146"/>
                    </a:lnTo>
                    <a:lnTo>
                      <a:pt x="211" y="146"/>
                    </a:lnTo>
                    <a:lnTo>
                      <a:pt x="213" y="146"/>
                    </a:lnTo>
                    <a:lnTo>
                      <a:pt x="213" y="144"/>
                    </a:lnTo>
                    <a:lnTo>
                      <a:pt x="213" y="146"/>
                    </a:lnTo>
                    <a:lnTo>
                      <a:pt x="215" y="146"/>
                    </a:lnTo>
                    <a:lnTo>
                      <a:pt x="213" y="144"/>
                    </a:lnTo>
                    <a:lnTo>
                      <a:pt x="215" y="144"/>
                    </a:lnTo>
                    <a:lnTo>
                      <a:pt x="213" y="144"/>
                    </a:lnTo>
                    <a:lnTo>
                      <a:pt x="215" y="144"/>
                    </a:lnTo>
                    <a:lnTo>
                      <a:pt x="213" y="144"/>
                    </a:lnTo>
                    <a:lnTo>
                      <a:pt x="215" y="144"/>
                    </a:lnTo>
                    <a:lnTo>
                      <a:pt x="217" y="144"/>
                    </a:lnTo>
                    <a:lnTo>
                      <a:pt x="217" y="142"/>
                    </a:lnTo>
                    <a:lnTo>
                      <a:pt x="217" y="141"/>
                    </a:lnTo>
                    <a:lnTo>
                      <a:pt x="215" y="141"/>
                    </a:lnTo>
                    <a:lnTo>
                      <a:pt x="215" y="142"/>
                    </a:lnTo>
                    <a:lnTo>
                      <a:pt x="215" y="141"/>
                    </a:lnTo>
                    <a:lnTo>
                      <a:pt x="217" y="139"/>
                    </a:lnTo>
                    <a:lnTo>
                      <a:pt x="217" y="137"/>
                    </a:lnTo>
                    <a:lnTo>
                      <a:pt x="215" y="137"/>
                    </a:lnTo>
                    <a:lnTo>
                      <a:pt x="217" y="137"/>
                    </a:lnTo>
                    <a:lnTo>
                      <a:pt x="215" y="137"/>
                    </a:lnTo>
                    <a:lnTo>
                      <a:pt x="215" y="139"/>
                    </a:lnTo>
                    <a:lnTo>
                      <a:pt x="215" y="137"/>
                    </a:lnTo>
                    <a:lnTo>
                      <a:pt x="213" y="137"/>
                    </a:lnTo>
                    <a:lnTo>
                      <a:pt x="215" y="137"/>
                    </a:lnTo>
                    <a:lnTo>
                      <a:pt x="213" y="137"/>
                    </a:lnTo>
                    <a:lnTo>
                      <a:pt x="213" y="135"/>
                    </a:lnTo>
                    <a:lnTo>
                      <a:pt x="213" y="133"/>
                    </a:lnTo>
                    <a:lnTo>
                      <a:pt x="215" y="133"/>
                    </a:lnTo>
                    <a:lnTo>
                      <a:pt x="215" y="131"/>
                    </a:lnTo>
                    <a:lnTo>
                      <a:pt x="215" y="129"/>
                    </a:lnTo>
                    <a:lnTo>
                      <a:pt x="215" y="131"/>
                    </a:lnTo>
                    <a:lnTo>
                      <a:pt x="215" y="129"/>
                    </a:lnTo>
                    <a:lnTo>
                      <a:pt x="217" y="129"/>
                    </a:lnTo>
                    <a:lnTo>
                      <a:pt x="215" y="129"/>
                    </a:lnTo>
                    <a:lnTo>
                      <a:pt x="217" y="129"/>
                    </a:lnTo>
                    <a:lnTo>
                      <a:pt x="217" y="127"/>
                    </a:lnTo>
                    <a:lnTo>
                      <a:pt x="217" y="125"/>
                    </a:lnTo>
                    <a:lnTo>
                      <a:pt x="219" y="125"/>
                    </a:lnTo>
                    <a:lnTo>
                      <a:pt x="221" y="125"/>
                    </a:lnTo>
                    <a:lnTo>
                      <a:pt x="221" y="127"/>
                    </a:lnTo>
                    <a:lnTo>
                      <a:pt x="223" y="127"/>
                    </a:lnTo>
                    <a:lnTo>
                      <a:pt x="223" y="129"/>
                    </a:lnTo>
                    <a:lnTo>
                      <a:pt x="223" y="131"/>
                    </a:lnTo>
                    <a:lnTo>
                      <a:pt x="225" y="131"/>
                    </a:lnTo>
                    <a:lnTo>
                      <a:pt x="225" y="133"/>
                    </a:lnTo>
                    <a:lnTo>
                      <a:pt x="227" y="133"/>
                    </a:lnTo>
                    <a:lnTo>
                      <a:pt x="225" y="133"/>
                    </a:lnTo>
                    <a:lnTo>
                      <a:pt x="227" y="133"/>
                    </a:lnTo>
                    <a:lnTo>
                      <a:pt x="229" y="133"/>
                    </a:lnTo>
                    <a:lnTo>
                      <a:pt x="229" y="135"/>
                    </a:lnTo>
                    <a:lnTo>
                      <a:pt x="231" y="133"/>
                    </a:lnTo>
                    <a:lnTo>
                      <a:pt x="231" y="135"/>
                    </a:lnTo>
                    <a:lnTo>
                      <a:pt x="232" y="135"/>
                    </a:lnTo>
                    <a:lnTo>
                      <a:pt x="232" y="133"/>
                    </a:lnTo>
                    <a:lnTo>
                      <a:pt x="234" y="133"/>
                    </a:lnTo>
                    <a:lnTo>
                      <a:pt x="234" y="135"/>
                    </a:lnTo>
                    <a:lnTo>
                      <a:pt x="236" y="135"/>
                    </a:lnTo>
                    <a:lnTo>
                      <a:pt x="238" y="135"/>
                    </a:lnTo>
                    <a:lnTo>
                      <a:pt x="238" y="133"/>
                    </a:lnTo>
                    <a:lnTo>
                      <a:pt x="240" y="135"/>
                    </a:lnTo>
                    <a:lnTo>
                      <a:pt x="242" y="135"/>
                    </a:lnTo>
                    <a:lnTo>
                      <a:pt x="242" y="137"/>
                    </a:lnTo>
                    <a:lnTo>
                      <a:pt x="244" y="137"/>
                    </a:lnTo>
                    <a:lnTo>
                      <a:pt x="244" y="139"/>
                    </a:lnTo>
                    <a:lnTo>
                      <a:pt x="246" y="139"/>
                    </a:lnTo>
                    <a:lnTo>
                      <a:pt x="246" y="137"/>
                    </a:lnTo>
                    <a:lnTo>
                      <a:pt x="246" y="139"/>
                    </a:lnTo>
                    <a:lnTo>
                      <a:pt x="248" y="139"/>
                    </a:lnTo>
                    <a:lnTo>
                      <a:pt x="248" y="141"/>
                    </a:lnTo>
                    <a:lnTo>
                      <a:pt x="248" y="142"/>
                    </a:lnTo>
                    <a:lnTo>
                      <a:pt x="250" y="142"/>
                    </a:lnTo>
                    <a:lnTo>
                      <a:pt x="250" y="144"/>
                    </a:lnTo>
                    <a:lnTo>
                      <a:pt x="248" y="144"/>
                    </a:lnTo>
                    <a:lnTo>
                      <a:pt x="248" y="142"/>
                    </a:lnTo>
                    <a:lnTo>
                      <a:pt x="248" y="144"/>
                    </a:lnTo>
                    <a:lnTo>
                      <a:pt x="246" y="144"/>
                    </a:lnTo>
                    <a:lnTo>
                      <a:pt x="248" y="144"/>
                    </a:lnTo>
                    <a:lnTo>
                      <a:pt x="246" y="144"/>
                    </a:lnTo>
                    <a:lnTo>
                      <a:pt x="248" y="144"/>
                    </a:lnTo>
                    <a:lnTo>
                      <a:pt x="246" y="144"/>
                    </a:lnTo>
                    <a:lnTo>
                      <a:pt x="248" y="144"/>
                    </a:lnTo>
                    <a:lnTo>
                      <a:pt x="246" y="144"/>
                    </a:lnTo>
                    <a:lnTo>
                      <a:pt x="248" y="144"/>
                    </a:lnTo>
                    <a:lnTo>
                      <a:pt x="248" y="142"/>
                    </a:lnTo>
                    <a:lnTo>
                      <a:pt x="248" y="144"/>
                    </a:lnTo>
                    <a:lnTo>
                      <a:pt x="250" y="144"/>
                    </a:lnTo>
                    <a:lnTo>
                      <a:pt x="250" y="142"/>
                    </a:lnTo>
                    <a:lnTo>
                      <a:pt x="248" y="142"/>
                    </a:lnTo>
                    <a:lnTo>
                      <a:pt x="248" y="141"/>
                    </a:lnTo>
                    <a:lnTo>
                      <a:pt x="248" y="139"/>
                    </a:lnTo>
                    <a:lnTo>
                      <a:pt x="246" y="139"/>
                    </a:lnTo>
                    <a:lnTo>
                      <a:pt x="246" y="137"/>
                    </a:lnTo>
                    <a:lnTo>
                      <a:pt x="244" y="139"/>
                    </a:lnTo>
                    <a:lnTo>
                      <a:pt x="244" y="137"/>
                    </a:lnTo>
                    <a:lnTo>
                      <a:pt x="242" y="137"/>
                    </a:lnTo>
                    <a:lnTo>
                      <a:pt x="242" y="135"/>
                    </a:lnTo>
                    <a:lnTo>
                      <a:pt x="240" y="135"/>
                    </a:lnTo>
                    <a:lnTo>
                      <a:pt x="240" y="133"/>
                    </a:lnTo>
                    <a:lnTo>
                      <a:pt x="240" y="131"/>
                    </a:lnTo>
                    <a:lnTo>
                      <a:pt x="240" y="133"/>
                    </a:lnTo>
                    <a:lnTo>
                      <a:pt x="242" y="133"/>
                    </a:lnTo>
                    <a:lnTo>
                      <a:pt x="240" y="133"/>
                    </a:lnTo>
                    <a:lnTo>
                      <a:pt x="240" y="131"/>
                    </a:lnTo>
                    <a:lnTo>
                      <a:pt x="242" y="131"/>
                    </a:lnTo>
                    <a:lnTo>
                      <a:pt x="242" y="133"/>
                    </a:lnTo>
                    <a:lnTo>
                      <a:pt x="242" y="131"/>
                    </a:lnTo>
                    <a:lnTo>
                      <a:pt x="244" y="131"/>
                    </a:lnTo>
                    <a:lnTo>
                      <a:pt x="244" y="133"/>
                    </a:lnTo>
                    <a:lnTo>
                      <a:pt x="246" y="133"/>
                    </a:lnTo>
                    <a:lnTo>
                      <a:pt x="248" y="133"/>
                    </a:lnTo>
                    <a:lnTo>
                      <a:pt x="250" y="131"/>
                    </a:lnTo>
                    <a:lnTo>
                      <a:pt x="248" y="131"/>
                    </a:lnTo>
                    <a:lnTo>
                      <a:pt x="250" y="131"/>
                    </a:lnTo>
                    <a:lnTo>
                      <a:pt x="250" y="129"/>
                    </a:lnTo>
                    <a:lnTo>
                      <a:pt x="250" y="131"/>
                    </a:lnTo>
                    <a:lnTo>
                      <a:pt x="252" y="131"/>
                    </a:lnTo>
                    <a:lnTo>
                      <a:pt x="254" y="131"/>
                    </a:lnTo>
                    <a:lnTo>
                      <a:pt x="252" y="131"/>
                    </a:lnTo>
                    <a:lnTo>
                      <a:pt x="252" y="133"/>
                    </a:lnTo>
                    <a:lnTo>
                      <a:pt x="254" y="133"/>
                    </a:lnTo>
                    <a:lnTo>
                      <a:pt x="252" y="133"/>
                    </a:lnTo>
                    <a:lnTo>
                      <a:pt x="254" y="135"/>
                    </a:lnTo>
                    <a:lnTo>
                      <a:pt x="255" y="135"/>
                    </a:lnTo>
                    <a:lnTo>
                      <a:pt x="254" y="135"/>
                    </a:lnTo>
                    <a:lnTo>
                      <a:pt x="255" y="135"/>
                    </a:lnTo>
                    <a:lnTo>
                      <a:pt x="254" y="135"/>
                    </a:lnTo>
                    <a:lnTo>
                      <a:pt x="254" y="133"/>
                    </a:lnTo>
                    <a:lnTo>
                      <a:pt x="252" y="133"/>
                    </a:lnTo>
                    <a:lnTo>
                      <a:pt x="254" y="133"/>
                    </a:lnTo>
                    <a:lnTo>
                      <a:pt x="252" y="133"/>
                    </a:lnTo>
                    <a:lnTo>
                      <a:pt x="252" y="131"/>
                    </a:lnTo>
                    <a:lnTo>
                      <a:pt x="254" y="133"/>
                    </a:lnTo>
                    <a:lnTo>
                      <a:pt x="254" y="131"/>
                    </a:lnTo>
                    <a:lnTo>
                      <a:pt x="252" y="131"/>
                    </a:lnTo>
                    <a:lnTo>
                      <a:pt x="250" y="129"/>
                    </a:lnTo>
                    <a:lnTo>
                      <a:pt x="252" y="129"/>
                    </a:lnTo>
                    <a:lnTo>
                      <a:pt x="250" y="129"/>
                    </a:lnTo>
                    <a:lnTo>
                      <a:pt x="250" y="131"/>
                    </a:lnTo>
                    <a:lnTo>
                      <a:pt x="248" y="131"/>
                    </a:lnTo>
                    <a:lnTo>
                      <a:pt x="250" y="131"/>
                    </a:lnTo>
                    <a:lnTo>
                      <a:pt x="248" y="133"/>
                    </a:lnTo>
                    <a:lnTo>
                      <a:pt x="246" y="133"/>
                    </a:lnTo>
                    <a:lnTo>
                      <a:pt x="244" y="133"/>
                    </a:lnTo>
                    <a:lnTo>
                      <a:pt x="244" y="131"/>
                    </a:lnTo>
                    <a:lnTo>
                      <a:pt x="242" y="131"/>
                    </a:lnTo>
                    <a:lnTo>
                      <a:pt x="242" y="133"/>
                    </a:lnTo>
                    <a:lnTo>
                      <a:pt x="242" y="131"/>
                    </a:lnTo>
                    <a:lnTo>
                      <a:pt x="240" y="131"/>
                    </a:lnTo>
                    <a:lnTo>
                      <a:pt x="240" y="133"/>
                    </a:lnTo>
                    <a:lnTo>
                      <a:pt x="242" y="133"/>
                    </a:lnTo>
                    <a:lnTo>
                      <a:pt x="240" y="133"/>
                    </a:lnTo>
                    <a:lnTo>
                      <a:pt x="240" y="131"/>
                    </a:lnTo>
                    <a:lnTo>
                      <a:pt x="240" y="133"/>
                    </a:lnTo>
                    <a:lnTo>
                      <a:pt x="240" y="135"/>
                    </a:lnTo>
                    <a:lnTo>
                      <a:pt x="238" y="133"/>
                    </a:lnTo>
                    <a:lnTo>
                      <a:pt x="236" y="133"/>
                    </a:lnTo>
                    <a:lnTo>
                      <a:pt x="236" y="135"/>
                    </a:lnTo>
                    <a:lnTo>
                      <a:pt x="234" y="135"/>
                    </a:lnTo>
                    <a:lnTo>
                      <a:pt x="234" y="133"/>
                    </a:lnTo>
                    <a:lnTo>
                      <a:pt x="232" y="133"/>
                    </a:lnTo>
                    <a:lnTo>
                      <a:pt x="232" y="131"/>
                    </a:lnTo>
                    <a:lnTo>
                      <a:pt x="231" y="131"/>
                    </a:lnTo>
                    <a:lnTo>
                      <a:pt x="229" y="131"/>
                    </a:lnTo>
                    <a:lnTo>
                      <a:pt x="229" y="129"/>
                    </a:lnTo>
                    <a:lnTo>
                      <a:pt x="227" y="129"/>
                    </a:lnTo>
                    <a:lnTo>
                      <a:pt x="229" y="127"/>
                    </a:lnTo>
                    <a:lnTo>
                      <a:pt x="227" y="127"/>
                    </a:lnTo>
                    <a:lnTo>
                      <a:pt x="227" y="129"/>
                    </a:lnTo>
                    <a:lnTo>
                      <a:pt x="229" y="129"/>
                    </a:lnTo>
                    <a:lnTo>
                      <a:pt x="229" y="131"/>
                    </a:lnTo>
                    <a:lnTo>
                      <a:pt x="231" y="131"/>
                    </a:lnTo>
                    <a:lnTo>
                      <a:pt x="229" y="131"/>
                    </a:lnTo>
                    <a:lnTo>
                      <a:pt x="227" y="131"/>
                    </a:lnTo>
                    <a:lnTo>
                      <a:pt x="227" y="129"/>
                    </a:lnTo>
                    <a:lnTo>
                      <a:pt x="227" y="127"/>
                    </a:lnTo>
                    <a:lnTo>
                      <a:pt x="225" y="127"/>
                    </a:lnTo>
                    <a:lnTo>
                      <a:pt x="227" y="125"/>
                    </a:lnTo>
                    <a:lnTo>
                      <a:pt x="225" y="125"/>
                    </a:lnTo>
                    <a:lnTo>
                      <a:pt x="223" y="125"/>
                    </a:lnTo>
                    <a:lnTo>
                      <a:pt x="225" y="125"/>
                    </a:lnTo>
                    <a:lnTo>
                      <a:pt x="223" y="125"/>
                    </a:lnTo>
                    <a:lnTo>
                      <a:pt x="225" y="125"/>
                    </a:lnTo>
                    <a:lnTo>
                      <a:pt x="223" y="125"/>
                    </a:lnTo>
                    <a:lnTo>
                      <a:pt x="221" y="125"/>
                    </a:lnTo>
                    <a:lnTo>
                      <a:pt x="221" y="123"/>
                    </a:lnTo>
                    <a:lnTo>
                      <a:pt x="223" y="123"/>
                    </a:lnTo>
                    <a:lnTo>
                      <a:pt x="223" y="125"/>
                    </a:lnTo>
                    <a:lnTo>
                      <a:pt x="223" y="123"/>
                    </a:lnTo>
                    <a:lnTo>
                      <a:pt x="221" y="123"/>
                    </a:lnTo>
                    <a:lnTo>
                      <a:pt x="221" y="121"/>
                    </a:lnTo>
                    <a:lnTo>
                      <a:pt x="221" y="123"/>
                    </a:lnTo>
                    <a:lnTo>
                      <a:pt x="221" y="121"/>
                    </a:lnTo>
                    <a:lnTo>
                      <a:pt x="221" y="123"/>
                    </a:lnTo>
                    <a:lnTo>
                      <a:pt x="221" y="121"/>
                    </a:lnTo>
                    <a:lnTo>
                      <a:pt x="223" y="121"/>
                    </a:lnTo>
                    <a:lnTo>
                      <a:pt x="221" y="119"/>
                    </a:lnTo>
                    <a:lnTo>
                      <a:pt x="221" y="117"/>
                    </a:lnTo>
                    <a:lnTo>
                      <a:pt x="221" y="116"/>
                    </a:lnTo>
                    <a:lnTo>
                      <a:pt x="223" y="116"/>
                    </a:lnTo>
                    <a:lnTo>
                      <a:pt x="223" y="114"/>
                    </a:lnTo>
                    <a:lnTo>
                      <a:pt x="223" y="112"/>
                    </a:lnTo>
                    <a:lnTo>
                      <a:pt x="225" y="112"/>
                    </a:lnTo>
                    <a:lnTo>
                      <a:pt x="225" y="110"/>
                    </a:lnTo>
                    <a:lnTo>
                      <a:pt x="225" y="112"/>
                    </a:lnTo>
                    <a:lnTo>
                      <a:pt x="227" y="110"/>
                    </a:lnTo>
                    <a:lnTo>
                      <a:pt x="229" y="112"/>
                    </a:lnTo>
                    <a:lnTo>
                      <a:pt x="231" y="112"/>
                    </a:lnTo>
                    <a:lnTo>
                      <a:pt x="231" y="114"/>
                    </a:lnTo>
                    <a:lnTo>
                      <a:pt x="232" y="114"/>
                    </a:lnTo>
                    <a:lnTo>
                      <a:pt x="232" y="116"/>
                    </a:lnTo>
                    <a:lnTo>
                      <a:pt x="232" y="114"/>
                    </a:lnTo>
                    <a:lnTo>
                      <a:pt x="231" y="114"/>
                    </a:lnTo>
                    <a:lnTo>
                      <a:pt x="231" y="116"/>
                    </a:lnTo>
                    <a:lnTo>
                      <a:pt x="232" y="116"/>
                    </a:lnTo>
                    <a:lnTo>
                      <a:pt x="231" y="116"/>
                    </a:lnTo>
                    <a:lnTo>
                      <a:pt x="231" y="114"/>
                    </a:lnTo>
                    <a:lnTo>
                      <a:pt x="232" y="114"/>
                    </a:lnTo>
                    <a:lnTo>
                      <a:pt x="232" y="116"/>
                    </a:lnTo>
                    <a:lnTo>
                      <a:pt x="232" y="114"/>
                    </a:lnTo>
                    <a:lnTo>
                      <a:pt x="232" y="116"/>
                    </a:lnTo>
                    <a:lnTo>
                      <a:pt x="234" y="116"/>
                    </a:lnTo>
                    <a:lnTo>
                      <a:pt x="232" y="116"/>
                    </a:lnTo>
                    <a:lnTo>
                      <a:pt x="232" y="114"/>
                    </a:lnTo>
                    <a:lnTo>
                      <a:pt x="231" y="114"/>
                    </a:lnTo>
                    <a:lnTo>
                      <a:pt x="231" y="112"/>
                    </a:lnTo>
                    <a:lnTo>
                      <a:pt x="229" y="112"/>
                    </a:lnTo>
                    <a:lnTo>
                      <a:pt x="227" y="110"/>
                    </a:lnTo>
                    <a:lnTo>
                      <a:pt x="225" y="110"/>
                    </a:lnTo>
                    <a:lnTo>
                      <a:pt x="227" y="110"/>
                    </a:lnTo>
                    <a:lnTo>
                      <a:pt x="225" y="110"/>
                    </a:lnTo>
                    <a:lnTo>
                      <a:pt x="225" y="108"/>
                    </a:lnTo>
                    <a:lnTo>
                      <a:pt x="227" y="108"/>
                    </a:lnTo>
                    <a:lnTo>
                      <a:pt x="229" y="108"/>
                    </a:lnTo>
                    <a:lnTo>
                      <a:pt x="231" y="110"/>
                    </a:lnTo>
                    <a:lnTo>
                      <a:pt x="232" y="110"/>
                    </a:lnTo>
                    <a:lnTo>
                      <a:pt x="232" y="112"/>
                    </a:lnTo>
                    <a:lnTo>
                      <a:pt x="232" y="110"/>
                    </a:lnTo>
                    <a:lnTo>
                      <a:pt x="234" y="110"/>
                    </a:lnTo>
                    <a:lnTo>
                      <a:pt x="234" y="112"/>
                    </a:lnTo>
                    <a:lnTo>
                      <a:pt x="236" y="112"/>
                    </a:lnTo>
                    <a:lnTo>
                      <a:pt x="234" y="112"/>
                    </a:lnTo>
                    <a:lnTo>
                      <a:pt x="236" y="112"/>
                    </a:lnTo>
                    <a:lnTo>
                      <a:pt x="234" y="112"/>
                    </a:lnTo>
                    <a:lnTo>
                      <a:pt x="234" y="110"/>
                    </a:lnTo>
                    <a:lnTo>
                      <a:pt x="232" y="110"/>
                    </a:lnTo>
                    <a:lnTo>
                      <a:pt x="231" y="110"/>
                    </a:lnTo>
                    <a:lnTo>
                      <a:pt x="231" y="108"/>
                    </a:lnTo>
                    <a:lnTo>
                      <a:pt x="229" y="108"/>
                    </a:lnTo>
                    <a:lnTo>
                      <a:pt x="231" y="108"/>
                    </a:lnTo>
                    <a:lnTo>
                      <a:pt x="231" y="110"/>
                    </a:lnTo>
                    <a:lnTo>
                      <a:pt x="229" y="108"/>
                    </a:lnTo>
                    <a:lnTo>
                      <a:pt x="227" y="108"/>
                    </a:lnTo>
                    <a:lnTo>
                      <a:pt x="227" y="106"/>
                    </a:lnTo>
                    <a:lnTo>
                      <a:pt x="229" y="106"/>
                    </a:lnTo>
                    <a:lnTo>
                      <a:pt x="229" y="108"/>
                    </a:lnTo>
                    <a:lnTo>
                      <a:pt x="227" y="106"/>
                    </a:lnTo>
                    <a:lnTo>
                      <a:pt x="227" y="104"/>
                    </a:lnTo>
                    <a:lnTo>
                      <a:pt x="227" y="102"/>
                    </a:lnTo>
                    <a:lnTo>
                      <a:pt x="229" y="102"/>
                    </a:lnTo>
                    <a:lnTo>
                      <a:pt x="229" y="104"/>
                    </a:lnTo>
                    <a:lnTo>
                      <a:pt x="227" y="102"/>
                    </a:lnTo>
                    <a:lnTo>
                      <a:pt x="227" y="104"/>
                    </a:lnTo>
                    <a:lnTo>
                      <a:pt x="227" y="102"/>
                    </a:lnTo>
                    <a:lnTo>
                      <a:pt x="227" y="100"/>
                    </a:lnTo>
                    <a:lnTo>
                      <a:pt x="225" y="100"/>
                    </a:lnTo>
                    <a:lnTo>
                      <a:pt x="223" y="100"/>
                    </a:lnTo>
                    <a:lnTo>
                      <a:pt x="223" y="98"/>
                    </a:lnTo>
                    <a:lnTo>
                      <a:pt x="223" y="100"/>
                    </a:lnTo>
                    <a:lnTo>
                      <a:pt x="221" y="100"/>
                    </a:lnTo>
                    <a:lnTo>
                      <a:pt x="219" y="100"/>
                    </a:lnTo>
                    <a:lnTo>
                      <a:pt x="217" y="100"/>
                    </a:lnTo>
                    <a:lnTo>
                      <a:pt x="215" y="100"/>
                    </a:lnTo>
                    <a:lnTo>
                      <a:pt x="213" y="100"/>
                    </a:lnTo>
                    <a:lnTo>
                      <a:pt x="213" y="102"/>
                    </a:lnTo>
                    <a:lnTo>
                      <a:pt x="213" y="100"/>
                    </a:lnTo>
                    <a:lnTo>
                      <a:pt x="213" y="98"/>
                    </a:lnTo>
                    <a:lnTo>
                      <a:pt x="213" y="96"/>
                    </a:lnTo>
                    <a:lnTo>
                      <a:pt x="213" y="94"/>
                    </a:lnTo>
                    <a:lnTo>
                      <a:pt x="213" y="92"/>
                    </a:lnTo>
                    <a:lnTo>
                      <a:pt x="215" y="92"/>
                    </a:lnTo>
                    <a:lnTo>
                      <a:pt x="217" y="92"/>
                    </a:lnTo>
                    <a:lnTo>
                      <a:pt x="217" y="91"/>
                    </a:lnTo>
                    <a:lnTo>
                      <a:pt x="219" y="91"/>
                    </a:lnTo>
                    <a:lnTo>
                      <a:pt x="219" y="89"/>
                    </a:lnTo>
                    <a:lnTo>
                      <a:pt x="221" y="89"/>
                    </a:lnTo>
                    <a:lnTo>
                      <a:pt x="223" y="89"/>
                    </a:lnTo>
                    <a:lnTo>
                      <a:pt x="223" y="91"/>
                    </a:lnTo>
                    <a:lnTo>
                      <a:pt x="225" y="91"/>
                    </a:lnTo>
                    <a:lnTo>
                      <a:pt x="223" y="91"/>
                    </a:lnTo>
                    <a:lnTo>
                      <a:pt x="223" y="89"/>
                    </a:lnTo>
                    <a:lnTo>
                      <a:pt x="221" y="89"/>
                    </a:lnTo>
                    <a:lnTo>
                      <a:pt x="221" y="87"/>
                    </a:lnTo>
                    <a:lnTo>
                      <a:pt x="221" y="85"/>
                    </a:lnTo>
                    <a:lnTo>
                      <a:pt x="223" y="85"/>
                    </a:lnTo>
                    <a:lnTo>
                      <a:pt x="225" y="87"/>
                    </a:lnTo>
                    <a:lnTo>
                      <a:pt x="223" y="87"/>
                    </a:lnTo>
                    <a:lnTo>
                      <a:pt x="225" y="87"/>
                    </a:lnTo>
                    <a:lnTo>
                      <a:pt x="223" y="89"/>
                    </a:lnTo>
                    <a:lnTo>
                      <a:pt x="225" y="89"/>
                    </a:lnTo>
                    <a:lnTo>
                      <a:pt x="227" y="89"/>
                    </a:lnTo>
                    <a:lnTo>
                      <a:pt x="227" y="91"/>
                    </a:lnTo>
                    <a:lnTo>
                      <a:pt x="229" y="91"/>
                    </a:lnTo>
                    <a:lnTo>
                      <a:pt x="227" y="91"/>
                    </a:lnTo>
                    <a:lnTo>
                      <a:pt x="227" y="92"/>
                    </a:lnTo>
                    <a:lnTo>
                      <a:pt x="229" y="91"/>
                    </a:lnTo>
                    <a:lnTo>
                      <a:pt x="229" y="92"/>
                    </a:lnTo>
                    <a:lnTo>
                      <a:pt x="227" y="92"/>
                    </a:lnTo>
                    <a:lnTo>
                      <a:pt x="229" y="92"/>
                    </a:lnTo>
                    <a:lnTo>
                      <a:pt x="231" y="92"/>
                    </a:lnTo>
                    <a:lnTo>
                      <a:pt x="232" y="92"/>
                    </a:lnTo>
                    <a:lnTo>
                      <a:pt x="232" y="94"/>
                    </a:lnTo>
                    <a:lnTo>
                      <a:pt x="234" y="94"/>
                    </a:lnTo>
                    <a:lnTo>
                      <a:pt x="234" y="96"/>
                    </a:lnTo>
                    <a:lnTo>
                      <a:pt x="236" y="96"/>
                    </a:lnTo>
                    <a:lnTo>
                      <a:pt x="236" y="94"/>
                    </a:lnTo>
                    <a:lnTo>
                      <a:pt x="236" y="96"/>
                    </a:lnTo>
                    <a:lnTo>
                      <a:pt x="238" y="96"/>
                    </a:lnTo>
                    <a:lnTo>
                      <a:pt x="238" y="94"/>
                    </a:lnTo>
                    <a:lnTo>
                      <a:pt x="238" y="96"/>
                    </a:lnTo>
                    <a:lnTo>
                      <a:pt x="236" y="96"/>
                    </a:lnTo>
                    <a:lnTo>
                      <a:pt x="236" y="94"/>
                    </a:lnTo>
                    <a:lnTo>
                      <a:pt x="234" y="96"/>
                    </a:lnTo>
                    <a:lnTo>
                      <a:pt x="234" y="94"/>
                    </a:lnTo>
                    <a:lnTo>
                      <a:pt x="232" y="94"/>
                    </a:lnTo>
                    <a:lnTo>
                      <a:pt x="232" y="92"/>
                    </a:lnTo>
                    <a:lnTo>
                      <a:pt x="231" y="92"/>
                    </a:lnTo>
                    <a:lnTo>
                      <a:pt x="229" y="92"/>
                    </a:lnTo>
                    <a:lnTo>
                      <a:pt x="229" y="91"/>
                    </a:lnTo>
                    <a:lnTo>
                      <a:pt x="227" y="91"/>
                    </a:lnTo>
                    <a:lnTo>
                      <a:pt x="229" y="91"/>
                    </a:lnTo>
                    <a:lnTo>
                      <a:pt x="229" y="89"/>
                    </a:lnTo>
                    <a:lnTo>
                      <a:pt x="229" y="91"/>
                    </a:lnTo>
                    <a:lnTo>
                      <a:pt x="227" y="91"/>
                    </a:lnTo>
                    <a:lnTo>
                      <a:pt x="227" y="89"/>
                    </a:lnTo>
                    <a:lnTo>
                      <a:pt x="225" y="89"/>
                    </a:lnTo>
                    <a:lnTo>
                      <a:pt x="223" y="89"/>
                    </a:lnTo>
                    <a:lnTo>
                      <a:pt x="225" y="89"/>
                    </a:lnTo>
                    <a:lnTo>
                      <a:pt x="225" y="87"/>
                    </a:lnTo>
                    <a:lnTo>
                      <a:pt x="223" y="87"/>
                    </a:lnTo>
                    <a:lnTo>
                      <a:pt x="225" y="87"/>
                    </a:lnTo>
                    <a:lnTo>
                      <a:pt x="223" y="85"/>
                    </a:lnTo>
                    <a:lnTo>
                      <a:pt x="221" y="85"/>
                    </a:lnTo>
                    <a:lnTo>
                      <a:pt x="221" y="83"/>
                    </a:lnTo>
                    <a:lnTo>
                      <a:pt x="219" y="83"/>
                    </a:lnTo>
                    <a:lnTo>
                      <a:pt x="219" y="81"/>
                    </a:lnTo>
                    <a:lnTo>
                      <a:pt x="221" y="81"/>
                    </a:lnTo>
                    <a:lnTo>
                      <a:pt x="221" y="79"/>
                    </a:lnTo>
                    <a:lnTo>
                      <a:pt x="223" y="79"/>
                    </a:lnTo>
                    <a:lnTo>
                      <a:pt x="225" y="77"/>
                    </a:lnTo>
                    <a:lnTo>
                      <a:pt x="227" y="75"/>
                    </a:lnTo>
                    <a:lnTo>
                      <a:pt x="227" y="73"/>
                    </a:lnTo>
                    <a:lnTo>
                      <a:pt x="229" y="73"/>
                    </a:lnTo>
                    <a:lnTo>
                      <a:pt x="231" y="73"/>
                    </a:lnTo>
                    <a:lnTo>
                      <a:pt x="232" y="73"/>
                    </a:lnTo>
                    <a:lnTo>
                      <a:pt x="234" y="73"/>
                    </a:lnTo>
                    <a:lnTo>
                      <a:pt x="236" y="73"/>
                    </a:lnTo>
                    <a:lnTo>
                      <a:pt x="238" y="73"/>
                    </a:lnTo>
                    <a:lnTo>
                      <a:pt x="238" y="71"/>
                    </a:lnTo>
                    <a:lnTo>
                      <a:pt x="240" y="71"/>
                    </a:lnTo>
                    <a:lnTo>
                      <a:pt x="242" y="71"/>
                    </a:lnTo>
                    <a:lnTo>
                      <a:pt x="242" y="69"/>
                    </a:lnTo>
                    <a:lnTo>
                      <a:pt x="242" y="71"/>
                    </a:lnTo>
                    <a:lnTo>
                      <a:pt x="242" y="73"/>
                    </a:lnTo>
                    <a:lnTo>
                      <a:pt x="244" y="73"/>
                    </a:lnTo>
                    <a:lnTo>
                      <a:pt x="244" y="75"/>
                    </a:lnTo>
                    <a:lnTo>
                      <a:pt x="244" y="73"/>
                    </a:lnTo>
                    <a:lnTo>
                      <a:pt x="244" y="75"/>
                    </a:lnTo>
                    <a:lnTo>
                      <a:pt x="242" y="75"/>
                    </a:lnTo>
                    <a:lnTo>
                      <a:pt x="244" y="75"/>
                    </a:lnTo>
                    <a:lnTo>
                      <a:pt x="242" y="75"/>
                    </a:lnTo>
                    <a:lnTo>
                      <a:pt x="244" y="75"/>
                    </a:lnTo>
                    <a:lnTo>
                      <a:pt x="242" y="73"/>
                    </a:lnTo>
                    <a:lnTo>
                      <a:pt x="242" y="71"/>
                    </a:lnTo>
                    <a:lnTo>
                      <a:pt x="244" y="71"/>
                    </a:lnTo>
                    <a:lnTo>
                      <a:pt x="246" y="71"/>
                    </a:lnTo>
                    <a:lnTo>
                      <a:pt x="246" y="73"/>
                    </a:lnTo>
                    <a:lnTo>
                      <a:pt x="248" y="75"/>
                    </a:lnTo>
                    <a:lnTo>
                      <a:pt x="246" y="75"/>
                    </a:lnTo>
                    <a:lnTo>
                      <a:pt x="246" y="73"/>
                    </a:lnTo>
                    <a:lnTo>
                      <a:pt x="244" y="73"/>
                    </a:lnTo>
                    <a:lnTo>
                      <a:pt x="246" y="73"/>
                    </a:lnTo>
                    <a:lnTo>
                      <a:pt x="244" y="75"/>
                    </a:lnTo>
                    <a:lnTo>
                      <a:pt x="246" y="75"/>
                    </a:lnTo>
                    <a:lnTo>
                      <a:pt x="246" y="77"/>
                    </a:lnTo>
                    <a:lnTo>
                      <a:pt x="244" y="79"/>
                    </a:lnTo>
                    <a:lnTo>
                      <a:pt x="246" y="79"/>
                    </a:lnTo>
                    <a:lnTo>
                      <a:pt x="248" y="79"/>
                    </a:lnTo>
                    <a:lnTo>
                      <a:pt x="246" y="79"/>
                    </a:lnTo>
                    <a:lnTo>
                      <a:pt x="246" y="81"/>
                    </a:lnTo>
                    <a:lnTo>
                      <a:pt x="244" y="81"/>
                    </a:lnTo>
                    <a:lnTo>
                      <a:pt x="246" y="81"/>
                    </a:lnTo>
                    <a:lnTo>
                      <a:pt x="246" y="79"/>
                    </a:lnTo>
                    <a:lnTo>
                      <a:pt x="248" y="79"/>
                    </a:lnTo>
                    <a:lnTo>
                      <a:pt x="246" y="79"/>
                    </a:lnTo>
                    <a:lnTo>
                      <a:pt x="244" y="79"/>
                    </a:lnTo>
                    <a:lnTo>
                      <a:pt x="246" y="77"/>
                    </a:lnTo>
                    <a:lnTo>
                      <a:pt x="246" y="75"/>
                    </a:lnTo>
                    <a:lnTo>
                      <a:pt x="244" y="75"/>
                    </a:lnTo>
                    <a:lnTo>
                      <a:pt x="246" y="73"/>
                    </a:lnTo>
                    <a:lnTo>
                      <a:pt x="244" y="73"/>
                    </a:lnTo>
                    <a:lnTo>
                      <a:pt x="246" y="73"/>
                    </a:lnTo>
                    <a:lnTo>
                      <a:pt x="246" y="75"/>
                    </a:lnTo>
                    <a:lnTo>
                      <a:pt x="248" y="75"/>
                    </a:lnTo>
                    <a:lnTo>
                      <a:pt x="248" y="73"/>
                    </a:lnTo>
                    <a:lnTo>
                      <a:pt x="246" y="73"/>
                    </a:lnTo>
                    <a:lnTo>
                      <a:pt x="246" y="71"/>
                    </a:lnTo>
                    <a:lnTo>
                      <a:pt x="244" y="71"/>
                    </a:lnTo>
                    <a:lnTo>
                      <a:pt x="242" y="71"/>
                    </a:lnTo>
                    <a:lnTo>
                      <a:pt x="242" y="69"/>
                    </a:lnTo>
                    <a:lnTo>
                      <a:pt x="244" y="69"/>
                    </a:lnTo>
                    <a:lnTo>
                      <a:pt x="246" y="69"/>
                    </a:lnTo>
                    <a:lnTo>
                      <a:pt x="248" y="69"/>
                    </a:lnTo>
                    <a:lnTo>
                      <a:pt x="250" y="67"/>
                    </a:lnTo>
                    <a:lnTo>
                      <a:pt x="250" y="69"/>
                    </a:lnTo>
                    <a:lnTo>
                      <a:pt x="252" y="69"/>
                    </a:lnTo>
                    <a:lnTo>
                      <a:pt x="250" y="71"/>
                    </a:lnTo>
                    <a:lnTo>
                      <a:pt x="252" y="71"/>
                    </a:lnTo>
                    <a:lnTo>
                      <a:pt x="250" y="71"/>
                    </a:lnTo>
                    <a:lnTo>
                      <a:pt x="252" y="71"/>
                    </a:lnTo>
                    <a:lnTo>
                      <a:pt x="252" y="69"/>
                    </a:lnTo>
                    <a:lnTo>
                      <a:pt x="250" y="69"/>
                    </a:lnTo>
                    <a:lnTo>
                      <a:pt x="252" y="69"/>
                    </a:lnTo>
                    <a:lnTo>
                      <a:pt x="250" y="69"/>
                    </a:lnTo>
                    <a:lnTo>
                      <a:pt x="252" y="69"/>
                    </a:lnTo>
                    <a:lnTo>
                      <a:pt x="250" y="69"/>
                    </a:lnTo>
                    <a:lnTo>
                      <a:pt x="250" y="67"/>
                    </a:lnTo>
                    <a:lnTo>
                      <a:pt x="252" y="67"/>
                    </a:lnTo>
                    <a:lnTo>
                      <a:pt x="254" y="67"/>
                    </a:lnTo>
                    <a:lnTo>
                      <a:pt x="252" y="67"/>
                    </a:lnTo>
                    <a:lnTo>
                      <a:pt x="254" y="67"/>
                    </a:lnTo>
                    <a:lnTo>
                      <a:pt x="255" y="66"/>
                    </a:lnTo>
                    <a:lnTo>
                      <a:pt x="255" y="67"/>
                    </a:lnTo>
                    <a:lnTo>
                      <a:pt x="254" y="67"/>
                    </a:lnTo>
                    <a:lnTo>
                      <a:pt x="255" y="67"/>
                    </a:lnTo>
                    <a:lnTo>
                      <a:pt x="254" y="67"/>
                    </a:lnTo>
                    <a:lnTo>
                      <a:pt x="255" y="67"/>
                    </a:lnTo>
                    <a:lnTo>
                      <a:pt x="255" y="69"/>
                    </a:lnTo>
                    <a:lnTo>
                      <a:pt x="257" y="69"/>
                    </a:lnTo>
                    <a:lnTo>
                      <a:pt x="257" y="71"/>
                    </a:lnTo>
                    <a:lnTo>
                      <a:pt x="257" y="69"/>
                    </a:lnTo>
                    <a:lnTo>
                      <a:pt x="257" y="71"/>
                    </a:lnTo>
                    <a:lnTo>
                      <a:pt x="257" y="69"/>
                    </a:lnTo>
                    <a:lnTo>
                      <a:pt x="255" y="69"/>
                    </a:lnTo>
                    <a:lnTo>
                      <a:pt x="255" y="67"/>
                    </a:lnTo>
                    <a:lnTo>
                      <a:pt x="255" y="66"/>
                    </a:lnTo>
                    <a:lnTo>
                      <a:pt x="257" y="66"/>
                    </a:lnTo>
                    <a:lnTo>
                      <a:pt x="259" y="66"/>
                    </a:lnTo>
                    <a:lnTo>
                      <a:pt x="259" y="67"/>
                    </a:lnTo>
                    <a:lnTo>
                      <a:pt x="261" y="67"/>
                    </a:lnTo>
                    <a:lnTo>
                      <a:pt x="259" y="67"/>
                    </a:lnTo>
                    <a:lnTo>
                      <a:pt x="259" y="66"/>
                    </a:lnTo>
                    <a:lnTo>
                      <a:pt x="257" y="66"/>
                    </a:lnTo>
                    <a:lnTo>
                      <a:pt x="257" y="64"/>
                    </a:lnTo>
                    <a:lnTo>
                      <a:pt x="259" y="64"/>
                    </a:lnTo>
                    <a:lnTo>
                      <a:pt x="261" y="64"/>
                    </a:lnTo>
                    <a:lnTo>
                      <a:pt x="261" y="66"/>
                    </a:lnTo>
                    <a:lnTo>
                      <a:pt x="261" y="67"/>
                    </a:lnTo>
                    <a:lnTo>
                      <a:pt x="263" y="66"/>
                    </a:lnTo>
                    <a:lnTo>
                      <a:pt x="263" y="67"/>
                    </a:lnTo>
                    <a:lnTo>
                      <a:pt x="261" y="67"/>
                    </a:lnTo>
                    <a:lnTo>
                      <a:pt x="263" y="67"/>
                    </a:lnTo>
                    <a:lnTo>
                      <a:pt x="263" y="69"/>
                    </a:lnTo>
                    <a:lnTo>
                      <a:pt x="265" y="69"/>
                    </a:lnTo>
                    <a:lnTo>
                      <a:pt x="265" y="67"/>
                    </a:lnTo>
                    <a:lnTo>
                      <a:pt x="263" y="67"/>
                    </a:lnTo>
                    <a:lnTo>
                      <a:pt x="265" y="67"/>
                    </a:lnTo>
                    <a:lnTo>
                      <a:pt x="267" y="67"/>
                    </a:lnTo>
                    <a:lnTo>
                      <a:pt x="265" y="67"/>
                    </a:lnTo>
                    <a:lnTo>
                      <a:pt x="267" y="67"/>
                    </a:lnTo>
                    <a:lnTo>
                      <a:pt x="265" y="67"/>
                    </a:lnTo>
                    <a:lnTo>
                      <a:pt x="263" y="67"/>
                    </a:lnTo>
                    <a:lnTo>
                      <a:pt x="265" y="67"/>
                    </a:lnTo>
                    <a:lnTo>
                      <a:pt x="263" y="67"/>
                    </a:lnTo>
                    <a:lnTo>
                      <a:pt x="261" y="67"/>
                    </a:lnTo>
                    <a:lnTo>
                      <a:pt x="263" y="67"/>
                    </a:lnTo>
                    <a:lnTo>
                      <a:pt x="263" y="66"/>
                    </a:lnTo>
                    <a:lnTo>
                      <a:pt x="261" y="66"/>
                    </a:lnTo>
                    <a:lnTo>
                      <a:pt x="261" y="64"/>
                    </a:lnTo>
                    <a:lnTo>
                      <a:pt x="259" y="64"/>
                    </a:lnTo>
                    <a:lnTo>
                      <a:pt x="259" y="62"/>
                    </a:lnTo>
                    <a:lnTo>
                      <a:pt x="261" y="62"/>
                    </a:lnTo>
                    <a:lnTo>
                      <a:pt x="263" y="62"/>
                    </a:lnTo>
                    <a:lnTo>
                      <a:pt x="263" y="60"/>
                    </a:lnTo>
                    <a:lnTo>
                      <a:pt x="265" y="60"/>
                    </a:lnTo>
                    <a:lnTo>
                      <a:pt x="263" y="60"/>
                    </a:lnTo>
                    <a:lnTo>
                      <a:pt x="263" y="62"/>
                    </a:lnTo>
                    <a:lnTo>
                      <a:pt x="265" y="62"/>
                    </a:lnTo>
                    <a:lnTo>
                      <a:pt x="265" y="64"/>
                    </a:lnTo>
                    <a:lnTo>
                      <a:pt x="267" y="64"/>
                    </a:lnTo>
                    <a:lnTo>
                      <a:pt x="267" y="62"/>
                    </a:lnTo>
                    <a:lnTo>
                      <a:pt x="267" y="64"/>
                    </a:lnTo>
                    <a:lnTo>
                      <a:pt x="265" y="64"/>
                    </a:lnTo>
                    <a:lnTo>
                      <a:pt x="265" y="62"/>
                    </a:lnTo>
                    <a:lnTo>
                      <a:pt x="265" y="60"/>
                    </a:lnTo>
                    <a:lnTo>
                      <a:pt x="263" y="60"/>
                    </a:lnTo>
                    <a:lnTo>
                      <a:pt x="265" y="58"/>
                    </a:lnTo>
                    <a:lnTo>
                      <a:pt x="267" y="56"/>
                    </a:lnTo>
                    <a:lnTo>
                      <a:pt x="269" y="54"/>
                    </a:lnTo>
                    <a:lnTo>
                      <a:pt x="271" y="52"/>
                    </a:lnTo>
                    <a:lnTo>
                      <a:pt x="271" y="50"/>
                    </a:lnTo>
                    <a:lnTo>
                      <a:pt x="273" y="50"/>
                    </a:lnTo>
                    <a:lnTo>
                      <a:pt x="275" y="44"/>
                    </a:lnTo>
                    <a:lnTo>
                      <a:pt x="275" y="46"/>
                    </a:lnTo>
                    <a:lnTo>
                      <a:pt x="275" y="44"/>
                    </a:lnTo>
                    <a:lnTo>
                      <a:pt x="277" y="42"/>
                    </a:lnTo>
                    <a:lnTo>
                      <a:pt x="277" y="41"/>
                    </a:lnTo>
                    <a:lnTo>
                      <a:pt x="279" y="41"/>
                    </a:lnTo>
                    <a:lnTo>
                      <a:pt x="280" y="41"/>
                    </a:lnTo>
                    <a:lnTo>
                      <a:pt x="280" y="42"/>
                    </a:lnTo>
                    <a:lnTo>
                      <a:pt x="280" y="41"/>
                    </a:lnTo>
                    <a:lnTo>
                      <a:pt x="279" y="41"/>
                    </a:lnTo>
                    <a:lnTo>
                      <a:pt x="277" y="41"/>
                    </a:lnTo>
                    <a:lnTo>
                      <a:pt x="279" y="39"/>
                    </a:lnTo>
                    <a:lnTo>
                      <a:pt x="279" y="37"/>
                    </a:lnTo>
                    <a:lnTo>
                      <a:pt x="282" y="31"/>
                    </a:lnTo>
                    <a:lnTo>
                      <a:pt x="284" y="31"/>
                    </a:lnTo>
                    <a:lnTo>
                      <a:pt x="284" y="33"/>
                    </a:lnTo>
                    <a:lnTo>
                      <a:pt x="284" y="31"/>
                    </a:lnTo>
                    <a:lnTo>
                      <a:pt x="282" y="31"/>
                    </a:lnTo>
                    <a:lnTo>
                      <a:pt x="282" y="29"/>
                    </a:lnTo>
                    <a:lnTo>
                      <a:pt x="284" y="27"/>
                    </a:lnTo>
                    <a:lnTo>
                      <a:pt x="284" y="25"/>
                    </a:lnTo>
                    <a:lnTo>
                      <a:pt x="286" y="23"/>
                    </a:lnTo>
                    <a:lnTo>
                      <a:pt x="288" y="23"/>
                    </a:lnTo>
                    <a:lnTo>
                      <a:pt x="286" y="23"/>
                    </a:lnTo>
                    <a:lnTo>
                      <a:pt x="288" y="19"/>
                    </a:lnTo>
                    <a:lnTo>
                      <a:pt x="290" y="17"/>
                    </a:lnTo>
                    <a:lnTo>
                      <a:pt x="290" y="16"/>
                    </a:lnTo>
                    <a:lnTo>
                      <a:pt x="292" y="14"/>
                    </a:lnTo>
                    <a:lnTo>
                      <a:pt x="292" y="16"/>
                    </a:lnTo>
                    <a:lnTo>
                      <a:pt x="294" y="16"/>
                    </a:lnTo>
                    <a:lnTo>
                      <a:pt x="292" y="16"/>
                    </a:lnTo>
                    <a:lnTo>
                      <a:pt x="292" y="14"/>
                    </a:lnTo>
                    <a:lnTo>
                      <a:pt x="294" y="16"/>
                    </a:lnTo>
                    <a:lnTo>
                      <a:pt x="292" y="14"/>
                    </a:lnTo>
                    <a:lnTo>
                      <a:pt x="292" y="16"/>
                    </a:lnTo>
                    <a:lnTo>
                      <a:pt x="292" y="14"/>
                    </a:lnTo>
                    <a:lnTo>
                      <a:pt x="292" y="12"/>
                    </a:lnTo>
                    <a:lnTo>
                      <a:pt x="294" y="12"/>
                    </a:lnTo>
                    <a:lnTo>
                      <a:pt x="298" y="10"/>
                    </a:lnTo>
                    <a:lnTo>
                      <a:pt x="298" y="8"/>
                    </a:lnTo>
                    <a:lnTo>
                      <a:pt x="300" y="8"/>
                    </a:lnTo>
                    <a:lnTo>
                      <a:pt x="302" y="4"/>
                    </a:lnTo>
                    <a:lnTo>
                      <a:pt x="304" y="2"/>
                    </a:lnTo>
                    <a:lnTo>
                      <a:pt x="304" y="0"/>
                    </a:lnTo>
                    <a:lnTo>
                      <a:pt x="305" y="0"/>
                    </a:lnTo>
                    <a:lnTo>
                      <a:pt x="307" y="0"/>
                    </a:lnTo>
                    <a:lnTo>
                      <a:pt x="309" y="2"/>
                    </a:lnTo>
                    <a:lnTo>
                      <a:pt x="313" y="2"/>
                    </a:lnTo>
                    <a:lnTo>
                      <a:pt x="313" y="4"/>
                    </a:lnTo>
                    <a:lnTo>
                      <a:pt x="311" y="4"/>
                    </a:lnTo>
                    <a:lnTo>
                      <a:pt x="309" y="4"/>
                    </a:lnTo>
                    <a:lnTo>
                      <a:pt x="307" y="4"/>
                    </a:lnTo>
                    <a:lnTo>
                      <a:pt x="307" y="6"/>
                    </a:lnTo>
                    <a:lnTo>
                      <a:pt x="309" y="6"/>
                    </a:lnTo>
                    <a:lnTo>
                      <a:pt x="309" y="8"/>
                    </a:lnTo>
                    <a:lnTo>
                      <a:pt x="311" y="8"/>
                    </a:lnTo>
                    <a:lnTo>
                      <a:pt x="313" y="8"/>
                    </a:lnTo>
                    <a:lnTo>
                      <a:pt x="315" y="8"/>
                    </a:lnTo>
                    <a:lnTo>
                      <a:pt x="315" y="6"/>
                    </a:lnTo>
                    <a:lnTo>
                      <a:pt x="315" y="8"/>
                    </a:lnTo>
                    <a:lnTo>
                      <a:pt x="317" y="8"/>
                    </a:lnTo>
                    <a:lnTo>
                      <a:pt x="319" y="8"/>
                    </a:lnTo>
                    <a:lnTo>
                      <a:pt x="321" y="8"/>
                    </a:lnTo>
                    <a:lnTo>
                      <a:pt x="323" y="8"/>
                    </a:lnTo>
                    <a:lnTo>
                      <a:pt x="323" y="10"/>
                    </a:lnTo>
                    <a:lnTo>
                      <a:pt x="325" y="10"/>
                    </a:lnTo>
                    <a:lnTo>
                      <a:pt x="327" y="10"/>
                    </a:lnTo>
                    <a:lnTo>
                      <a:pt x="328" y="10"/>
                    </a:lnTo>
                    <a:lnTo>
                      <a:pt x="330" y="12"/>
                    </a:lnTo>
                    <a:lnTo>
                      <a:pt x="332" y="12"/>
                    </a:lnTo>
                    <a:lnTo>
                      <a:pt x="334" y="12"/>
                    </a:lnTo>
                    <a:lnTo>
                      <a:pt x="336" y="12"/>
                    </a:lnTo>
                    <a:lnTo>
                      <a:pt x="336" y="14"/>
                    </a:lnTo>
                    <a:lnTo>
                      <a:pt x="336" y="16"/>
                    </a:lnTo>
                    <a:lnTo>
                      <a:pt x="338" y="16"/>
                    </a:lnTo>
                    <a:lnTo>
                      <a:pt x="336" y="16"/>
                    </a:lnTo>
                    <a:lnTo>
                      <a:pt x="334" y="16"/>
                    </a:lnTo>
                    <a:lnTo>
                      <a:pt x="334" y="17"/>
                    </a:lnTo>
                    <a:lnTo>
                      <a:pt x="332" y="17"/>
                    </a:lnTo>
                    <a:lnTo>
                      <a:pt x="334" y="17"/>
                    </a:lnTo>
                    <a:lnTo>
                      <a:pt x="334" y="16"/>
                    </a:lnTo>
                    <a:lnTo>
                      <a:pt x="336" y="16"/>
                    </a:lnTo>
                    <a:lnTo>
                      <a:pt x="338" y="16"/>
                    </a:lnTo>
                    <a:lnTo>
                      <a:pt x="336" y="16"/>
                    </a:lnTo>
                    <a:lnTo>
                      <a:pt x="336" y="14"/>
                    </a:lnTo>
                    <a:lnTo>
                      <a:pt x="338" y="14"/>
                    </a:lnTo>
                    <a:lnTo>
                      <a:pt x="336" y="14"/>
                    </a:lnTo>
                    <a:lnTo>
                      <a:pt x="336" y="12"/>
                    </a:lnTo>
                    <a:lnTo>
                      <a:pt x="338" y="12"/>
                    </a:lnTo>
                    <a:lnTo>
                      <a:pt x="338" y="14"/>
                    </a:lnTo>
                    <a:lnTo>
                      <a:pt x="338" y="12"/>
                    </a:lnTo>
                    <a:lnTo>
                      <a:pt x="340" y="14"/>
                    </a:lnTo>
                    <a:lnTo>
                      <a:pt x="340" y="12"/>
                    </a:lnTo>
                    <a:lnTo>
                      <a:pt x="340" y="14"/>
                    </a:lnTo>
                    <a:lnTo>
                      <a:pt x="340" y="16"/>
                    </a:lnTo>
                    <a:close/>
                    <a:moveTo>
                      <a:pt x="223" y="121"/>
                    </a:moveTo>
                    <a:lnTo>
                      <a:pt x="223" y="123"/>
                    </a:lnTo>
                    <a:lnTo>
                      <a:pt x="225" y="123"/>
                    </a:lnTo>
                    <a:lnTo>
                      <a:pt x="227" y="125"/>
                    </a:lnTo>
                    <a:lnTo>
                      <a:pt x="225" y="123"/>
                    </a:lnTo>
                    <a:lnTo>
                      <a:pt x="223" y="123"/>
                    </a:lnTo>
                    <a:lnTo>
                      <a:pt x="223" y="121"/>
                    </a:lnTo>
                    <a:close/>
                    <a:moveTo>
                      <a:pt x="246" y="144"/>
                    </a:moveTo>
                    <a:lnTo>
                      <a:pt x="246" y="146"/>
                    </a:lnTo>
                    <a:lnTo>
                      <a:pt x="246" y="144"/>
                    </a:lnTo>
                    <a:lnTo>
                      <a:pt x="246" y="146"/>
                    </a:lnTo>
                    <a:lnTo>
                      <a:pt x="248" y="146"/>
                    </a:lnTo>
                    <a:lnTo>
                      <a:pt x="246" y="146"/>
                    </a:lnTo>
                    <a:lnTo>
                      <a:pt x="246" y="144"/>
                    </a:lnTo>
                    <a:close/>
                    <a:moveTo>
                      <a:pt x="248" y="210"/>
                    </a:moveTo>
                    <a:lnTo>
                      <a:pt x="248" y="212"/>
                    </a:lnTo>
                    <a:lnTo>
                      <a:pt x="248" y="210"/>
                    </a:lnTo>
                    <a:close/>
                    <a:moveTo>
                      <a:pt x="248" y="229"/>
                    </a:moveTo>
                    <a:lnTo>
                      <a:pt x="246" y="229"/>
                    </a:lnTo>
                    <a:lnTo>
                      <a:pt x="248" y="229"/>
                    </a:lnTo>
                    <a:lnTo>
                      <a:pt x="246" y="229"/>
                    </a:lnTo>
                    <a:lnTo>
                      <a:pt x="248" y="229"/>
                    </a:lnTo>
                    <a:close/>
                    <a:moveTo>
                      <a:pt x="321" y="294"/>
                    </a:moveTo>
                    <a:lnTo>
                      <a:pt x="321" y="296"/>
                    </a:lnTo>
                    <a:lnTo>
                      <a:pt x="321" y="294"/>
                    </a:lnTo>
                    <a:close/>
                    <a:moveTo>
                      <a:pt x="206" y="335"/>
                    </a:moveTo>
                    <a:lnTo>
                      <a:pt x="204" y="335"/>
                    </a:lnTo>
                    <a:lnTo>
                      <a:pt x="206" y="335"/>
                    </a:lnTo>
                    <a:lnTo>
                      <a:pt x="206" y="337"/>
                    </a:lnTo>
                    <a:lnTo>
                      <a:pt x="207" y="337"/>
                    </a:lnTo>
                    <a:lnTo>
                      <a:pt x="206" y="337"/>
                    </a:lnTo>
                    <a:lnTo>
                      <a:pt x="207" y="335"/>
                    </a:lnTo>
                    <a:lnTo>
                      <a:pt x="206" y="335"/>
                    </a:lnTo>
                    <a:lnTo>
                      <a:pt x="207" y="335"/>
                    </a:lnTo>
                    <a:lnTo>
                      <a:pt x="206" y="335"/>
                    </a:lnTo>
                    <a:close/>
                    <a:moveTo>
                      <a:pt x="200" y="339"/>
                    </a:moveTo>
                    <a:lnTo>
                      <a:pt x="200" y="337"/>
                    </a:lnTo>
                    <a:lnTo>
                      <a:pt x="202" y="337"/>
                    </a:lnTo>
                    <a:lnTo>
                      <a:pt x="202" y="335"/>
                    </a:lnTo>
                    <a:lnTo>
                      <a:pt x="200" y="335"/>
                    </a:lnTo>
                    <a:lnTo>
                      <a:pt x="198" y="335"/>
                    </a:lnTo>
                    <a:lnTo>
                      <a:pt x="198" y="337"/>
                    </a:lnTo>
                    <a:lnTo>
                      <a:pt x="200" y="337"/>
                    </a:lnTo>
                    <a:lnTo>
                      <a:pt x="200" y="339"/>
                    </a:lnTo>
                    <a:close/>
                    <a:moveTo>
                      <a:pt x="194" y="337"/>
                    </a:moveTo>
                    <a:lnTo>
                      <a:pt x="192" y="337"/>
                    </a:lnTo>
                    <a:lnTo>
                      <a:pt x="192" y="335"/>
                    </a:lnTo>
                    <a:lnTo>
                      <a:pt x="192" y="337"/>
                    </a:lnTo>
                    <a:lnTo>
                      <a:pt x="194" y="337"/>
                    </a:lnTo>
                    <a:lnTo>
                      <a:pt x="192" y="337"/>
                    </a:lnTo>
                    <a:lnTo>
                      <a:pt x="194" y="337"/>
                    </a:lnTo>
                    <a:lnTo>
                      <a:pt x="192" y="337"/>
                    </a:lnTo>
                    <a:lnTo>
                      <a:pt x="194" y="337"/>
                    </a:lnTo>
                    <a:close/>
                    <a:moveTo>
                      <a:pt x="194" y="337"/>
                    </a:moveTo>
                    <a:lnTo>
                      <a:pt x="194" y="339"/>
                    </a:lnTo>
                    <a:lnTo>
                      <a:pt x="194" y="337"/>
                    </a:lnTo>
                    <a:close/>
                    <a:moveTo>
                      <a:pt x="200" y="340"/>
                    </a:moveTo>
                    <a:lnTo>
                      <a:pt x="200" y="339"/>
                    </a:lnTo>
                    <a:lnTo>
                      <a:pt x="200" y="340"/>
                    </a:lnTo>
                    <a:close/>
                    <a:moveTo>
                      <a:pt x="192" y="339"/>
                    </a:moveTo>
                    <a:lnTo>
                      <a:pt x="192" y="337"/>
                    </a:lnTo>
                    <a:lnTo>
                      <a:pt x="192" y="339"/>
                    </a:lnTo>
                    <a:lnTo>
                      <a:pt x="190" y="339"/>
                    </a:lnTo>
                    <a:lnTo>
                      <a:pt x="192" y="339"/>
                    </a:lnTo>
                    <a:lnTo>
                      <a:pt x="192" y="337"/>
                    </a:lnTo>
                    <a:lnTo>
                      <a:pt x="192" y="339"/>
                    </a:lnTo>
                    <a:lnTo>
                      <a:pt x="194" y="339"/>
                    </a:lnTo>
                    <a:lnTo>
                      <a:pt x="194" y="340"/>
                    </a:lnTo>
                    <a:lnTo>
                      <a:pt x="194" y="342"/>
                    </a:lnTo>
                    <a:lnTo>
                      <a:pt x="194" y="340"/>
                    </a:lnTo>
                    <a:lnTo>
                      <a:pt x="194" y="342"/>
                    </a:lnTo>
                    <a:lnTo>
                      <a:pt x="194" y="340"/>
                    </a:lnTo>
                    <a:lnTo>
                      <a:pt x="196" y="340"/>
                    </a:lnTo>
                    <a:lnTo>
                      <a:pt x="196" y="342"/>
                    </a:lnTo>
                    <a:lnTo>
                      <a:pt x="196" y="340"/>
                    </a:lnTo>
                    <a:lnTo>
                      <a:pt x="198" y="340"/>
                    </a:lnTo>
                    <a:lnTo>
                      <a:pt x="196" y="340"/>
                    </a:lnTo>
                    <a:lnTo>
                      <a:pt x="194" y="340"/>
                    </a:lnTo>
                    <a:lnTo>
                      <a:pt x="194" y="339"/>
                    </a:lnTo>
                    <a:lnTo>
                      <a:pt x="192" y="339"/>
                    </a:lnTo>
                    <a:close/>
                    <a:moveTo>
                      <a:pt x="113" y="342"/>
                    </a:moveTo>
                    <a:lnTo>
                      <a:pt x="115" y="342"/>
                    </a:lnTo>
                    <a:lnTo>
                      <a:pt x="113" y="342"/>
                    </a:lnTo>
                    <a:close/>
                    <a:moveTo>
                      <a:pt x="115" y="354"/>
                    </a:moveTo>
                    <a:lnTo>
                      <a:pt x="113" y="354"/>
                    </a:lnTo>
                    <a:lnTo>
                      <a:pt x="115" y="354"/>
                    </a:lnTo>
                    <a:lnTo>
                      <a:pt x="117" y="352"/>
                    </a:lnTo>
                    <a:lnTo>
                      <a:pt x="119" y="352"/>
                    </a:lnTo>
                    <a:lnTo>
                      <a:pt x="117" y="352"/>
                    </a:lnTo>
                    <a:lnTo>
                      <a:pt x="115" y="354"/>
                    </a:lnTo>
                    <a:close/>
                    <a:moveTo>
                      <a:pt x="36" y="404"/>
                    </a:moveTo>
                    <a:lnTo>
                      <a:pt x="36" y="406"/>
                    </a:lnTo>
                    <a:lnTo>
                      <a:pt x="36" y="404"/>
                    </a:lnTo>
                    <a:close/>
                    <a:moveTo>
                      <a:pt x="36" y="408"/>
                    </a:moveTo>
                    <a:lnTo>
                      <a:pt x="35" y="408"/>
                    </a:lnTo>
                    <a:lnTo>
                      <a:pt x="36" y="406"/>
                    </a:lnTo>
                    <a:lnTo>
                      <a:pt x="35" y="406"/>
                    </a:lnTo>
                    <a:lnTo>
                      <a:pt x="35" y="408"/>
                    </a:lnTo>
                    <a:lnTo>
                      <a:pt x="36" y="408"/>
                    </a:lnTo>
                    <a:close/>
                    <a:moveTo>
                      <a:pt x="50" y="427"/>
                    </a:moveTo>
                    <a:lnTo>
                      <a:pt x="52" y="427"/>
                    </a:lnTo>
                    <a:lnTo>
                      <a:pt x="50" y="427"/>
                    </a:lnTo>
                    <a:close/>
                    <a:moveTo>
                      <a:pt x="67" y="452"/>
                    </a:moveTo>
                    <a:lnTo>
                      <a:pt x="67" y="450"/>
                    </a:lnTo>
                    <a:lnTo>
                      <a:pt x="67" y="452"/>
                    </a:lnTo>
                    <a:close/>
                    <a:moveTo>
                      <a:pt x="73" y="431"/>
                    </a:moveTo>
                    <a:lnTo>
                      <a:pt x="73" y="429"/>
                    </a:lnTo>
                    <a:lnTo>
                      <a:pt x="73" y="431"/>
                    </a:lnTo>
                    <a:close/>
                    <a:moveTo>
                      <a:pt x="50" y="427"/>
                    </a:moveTo>
                    <a:lnTo>
                      <a:pt x="50" y="425"/>
                    </a:lnTo>
                    <a:lnTo>
                      <a:pt x="52" y="425"/>
                    </a:lnTo>
                    <a:lnTo>
                      <a:pt x="52" y="423"/>
                    </a:lnTo>
                    <a:lnTo>
                      <a:pt x="52" y="425"/>
                    </a:lnTo>
                    <a:lnTo>
                      <a:pt x="50" y="425"/>
                    </a:lnTo>
                    <a:lnTo>
                      <a:pt x="50" y="427"/>
                    </a:lnTo>
                    <a:lnTo>
                      <a:pt x="52" y="427"/>
                    </a:lnTo>
                    <a:lnTo>
                      <a:pt x="50" y="427"/>
                    </a:lnTo>
                    <a:close/>
                    <a:moveTo>
                      <a:pt x="52" y="417"/>
                    </a:moveTo>
                    <a:lnTo>
                      <a:pt x="52" y="419"/>
                    </a:lnTo>
                    <a:lnTo>
                      <a:pt x="52" y="417"/>
                    </a:lnTo>
                    <a:close/>
                    <a:moveTo>
                      <a:pt x="90" y="377"/>
                    </a:moveTo>
                    <a:lnTo>
                      <a:pt x="88" y="377"/>
                    </a:lnTo>
                    <a:lnTo>
                      <a:pt x="90" y="377"/>
                    </a:lnTo>
                    <a:close/>
                    <a:moveTo>
                      <a:pt x="359" y="23"/>
                    </a:moveTo>
                    <a:lnTo>
                      <a:pt x="357" y="23"/>
                    </a:lnTo>
                    <a:lnTo>
                      <a:pt x="357" y="25"/>
                    </a:lnTo>
                    <a:lnTo>
                      <a:pt x="359" y="23"/>
                    </a:lnTo>
                    <a:close/>
                    <a:moveTo>
                      <a:pt x="73" y="448"/>
                    </a:moveTo>
                    <a:lnTo>
                      <a:pt x="75" y="448"/>
                    </a:lnTo>
                    <a:lnTo>
                      <a:pt x="73" y="448"/>
                    </a:lnTo>
                    <a:close/>
                    <a:moveTo>
                      <a:pt x="75" y="444"/>
                    </a:moveTo>
                    <a:lnTo>
                      <a:pt x="73" y="444"/>
                    </a:lnTo>
                    <a:lnTo>
                      <a:pt x="75" y="444"/>
                    </a:lnTo>
                    <a:lnTo>
                      <a:pt x="73" y="444"/>
                    </a:lnTo>
                    <a:lnTo>
                      <a:pt x="75" y="444"/>
                    </a:lnTo>
                    <a:close/>
                    <a:moveTo>
                      <a:pt x="71" y="431"/>
                    </a:moveTo>
                    <a:lnTo>
                      <a:pt x="71" y="433"/>
                    </a:lnTo>
                    <a:lnTo>
                      <a:pt x="71" y="431"/>
                    </a:lnTo>
                    <a:lnTo>
                      <a:pt x="71" y="433"/>
                    </a:lnTo>
                    <a:lnTo>
                      <a:pt x="71" y="431"/>
                    </a:lnTo>
                    <a:close/>
                    <a:moveTo>
                      <a:pt x="77" y="417"/>
                    </a:moveTo>
                    <a:lnTo>
                      <a:pt x="75" y="417"/>
                    </a:lnTo>
                    <a:lnTo>
                      <a:pt x="77" y="415"/>
                    </a:lnTo>
                    <a:lnTo>
                      <a:pt x="77" y="417"/>
                    </a:lnTo>
                    <a:close/>
                    <a:moveTo>
                      <a:pt x="300" y="469"/>
                    </a:moveTo>
                    <a:lnTo>
                      <a:pt x="298" y="469"/>
                    </a:lnTo>
                    <a:lnTo>
                      <a:pt x="300" y="469"/>
                    </a:lnTo>
                    <a:close/>
                    <a:moveTo>
                      <a:pt x="73" y="410"/>
                    </a:moveTo>
                    <a:lnTo>
                      <a:pt x="73" y="408"/>
                    </a:lnTo>
                    <a:lnTo>
                      <a:pt x="73" y="410"/>
                    </a:lnTo>
                    <a:close/>
                    <a:moveTo>
                      <a:pt x="73" y="408"/>
                    </a:moveTo>
                    <a:lnTo>
                      <a:pt x="73" y="410"/>
                    </a:lnTo>
                    <a:lnTo>
                      <a:pt x="75" y="410"/>
                    </a:lnTo>
                    <a:lnTo>
                      <a:pt x="73" y="410"/>
                    </a:lnTo>
                    <a:lnTo>
                      <a:pt x="73" y="408"/>
                    </a:lnTo>
                    <a:close/>
                    <a:moveTo>
                      <a:pt x="300" y="469"/>
                    </a:moveTo>
                    <a:lnTo>
                      <a:pt x="298" y="469"/>
                    </a:lnTo>
                    <a:lnTo>
                      <a:pt x="298" y="467"/>
                    </a:lnTo>
                    <a:lnTo>
                      <a:pt x="296" y="467"/>
                    </a:lnTo>
                    <a:lnTo>
                      <a:pt x="298" y="467"/>
                    </a:lnTo>
                    <a:lnTo>
                      <a:pt x="296" y="467"/>
                    </a:lnTo>
                    <a:lnTo>
                      <a:pt x="298" y="467"/>
                    </a:lnTo>
                    <a:lnTo>
                      <a:pt x="298" y="469"/>
                    </a:lnTo>
                    <a:lnTo>
                      <a:pt x="298" y="467"/>
                    </a:lnTo>
                    <a:lnTo>
                      <a:pt x="298" y="469"/>
                    </a:lnTo>
                    <a:lnTo>
                      <a:pt x="300" y="469"/>
                    </a:lnTo>
                    <a:lnTo>
                      <a:pt x="300" y="471"/>
                    </a:lnTo>
                    <a:lnTo>
                      <a:pt x="300" y="469"/>
                    </a:lnTo>
                    <a:close/>
                    <a:moveTo>
                      <a:pt x="292" y="467"/>
                    </a:moveTo>
                    <a:lnTo>
                      <a:pt x="294" y="467"/>
                    </a:lnTo>
                    <a:lnTo>
                      <a:pt x="292" y="467"/>
                    </a:lnTo>
                    <a:close/>
                    <a:moveTo>
                      <a:pt x="73" y="408"/>
                    </a:moveTo>
                    <a:lnTo>
                      <a:pt x="73" y="406"/>
                    </a:lnTo>
                    <a:lnTo>
                      <a:pt x="73" y="408"/>
                    </a:lnTo>
                    <a:close/>
                    <a:moveTo>
                      <a:pt x="75" y="406"/>
                    </a:moveTo>
                    <a:lnTo>
                      <a:pt x="75" y="408"/>
                    </a:lnTo>
                    <a:lnTo>
                      <a:pt x="75" y="406"/>
                    </a:lnTo>
                    <a:close/>
                    <a:moveTo>
                      <a:pt x="77" y="406"/>
                    </a:moveTo>
                    <a:lnTo>
                      <a:pt x="75" y="406"/>
                    </a:lnTo>
                    <a:lnTo>
                      <a:pt x="77" y="406"/>
                    </a:lnTo>
                    <a:close/>
                    <a:moveTo>
                      <a:pt x="83" y="404"/>
                    </a:moveTo>
                    <a:lnTo>
                      <a:pt x="81" y="404"/>
                    </a:lnTo>
                    <a:lnTo>
                      <a:pt x="83" y="404"/>
                    </a:lnTo>
                    <a:close/>
                    <a:moveTo>
                      <a:pt x="83" y="400"/>
                    </a:moveTo>
                    <a:lnTo>
                      <a:pt x="83" y="402"/>
                    </a:lnTo>
                    <a:lnTo>
                      <a:pt x="83" y="400"/>
                    </a:lnTo>
                    <a:lnTo>
                      <a:pt x="83" y="402"/>
                    </a:lnTo>
                    <a:lnTo>
                      <a:pt x="81" y="402"/>
                    </a:lnTo>
                    <a:lnTo>
                      <a:pt x="83" y="402"/>
                    </a:lnTo>
                    <a:lnTo>
                      <a:pt x="81" y="402"/>
                    </a:lnTo>
                    <a:lnTo>
                      <a:pt x="83" y="402"/>
                    </a:lnTo>
                    <a:lnTo>
                      <a:pt x="83" y="400"/>
                    </a:lnTo>
                    <a:close/>
                    <a:moveTo>
                      <a:pt x="277" y="438"/>
                    </a:moveTo>
                    <a:lnTo>
                      <a:pt x="277" y="440"/>
                    </a:lnTo>
                    <a:lnTo>
                      <a:pt x="277" y="438"/>
                    </a:lnTo>
                    <a:close/>
                    <a:moveTo>
                      <a:pt x="85" y="381"/>
                    </a:moveTo>
                    <a:lnTo>
                      <a:pt x="86" y="381"/>
                    </a:lnTo>
                    <a:lnTo>
                      <a:pt x="85" y="381"/>
                    </a:lnTo>
                    <a:lnTo>
                      <a:pt x="85" y="383"/>
                    </a:lnTo>
                    <a:lnTo>
                      <a:pt x="85" y="381"/>
                    </a:lnTo>
                    <a:close/>
                    <a:moveTo>
                      <a:pt x="85" y="379"/>
                    </a:moveTo>
                    <a:lnTo>
                      <a:pt x="85" y="381"/>
                    </a:lnTo>
                    <a:lnTo>
                      <a:pt x="85" y="379"/>
                    </a:lnTo>
                    <a:close/>
                    <a:moveTo>
                      <a:pt x="85" y="379"/>
                    </a:moveTo>
                    <a:lnTo>
                      <a:pt x="86" y="379"/>
                    </a:lnTo>
                    <a:lnTo>
                      <a:pt x="85" y="379"/>
                    </a:lnTo>
                    <a:lnTo>
                      <a:pt x="85" y="381"/>
                    </a:lnTo>
                    <a:lnTo>
                      <a:pt x="86" y="381"/>
                    </a:lnTo>
                    <a:lnTo>
                      <a:pt x="86" y="379"/>
                    </a:lnTo>
                    <a:lnTo>
                      <a:pt x="86" y="381"/>
                    </a:lnTo>
                    <a:lnTo>
                      <a:pt x="85" y="379"/>
                    </a:lnTo>
                    <a:lnTo>
                      <a:pt x="85" y="381"/>
                    </a:lnTo>
                    <a:lnTo>
                      <a:pt x="85" y="379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" name="Freeform 145">
                <a:extLst>
                  <a:ext uri="{FF2B5EF4-FFF2-40B4-BE49-F238E27FC236}">
                    <a16:creationId xmlns="" xmlns:a16="http://schemas.microsoft.com/office/drawing/2014/main" id="{481F2CBE-9052-4274-9C5A-D3CE9C725FE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68700" y="2481263"/>
                <a:ext cx="765175" cy="820738"/>
              </a:xfrm>
              <a:custGeom>
                <a:avLst/>
                <a:gdLst>
                  <a:gd name="T0" fmla="*/ 40 w 482"/>
                  <a:gd name="T1" fmla="*/ 457 h 517"/>
                  <a:gd name="T2" fmla="*/ 31 w 482"/>
                  <a:gd name="T3" fmla="*/ 444 h 517"/>
                  <a:gd name="T4" fmla="*/ 353 w 482"/>
                  <a:gd name="T5" fmla="*/ 517 h 517"/>
                  <a:gd name="T6" fmla="*/ 252 w 482"/>
                  <a:gd name="T7" fmla="*/ 490 h 517"/>
                  <a:gd name="T8" fmla="*/ 244 w 482"/>
                  <a:gd name="T9" fmla="*/ 482 h 517"/>
                  <a:gd name="T10" fmla="*/ 232 w 482"/>
                  <a:gd name="T11" fmla="*/ 469 h 517"/>
                  <a:gd name="T12" fmla="*/ 21 w 482"/>
                  <a:gd name="T13" fmla="*/ 407 h 517"/>
                  <a:gd name="T14" fmla="*/ 38 w 482"/>
                  <a:gd name="T15" fmla="*/ 396 h 517"/>
                  <a:gd name="T16" fmla="*/ 42 w 482"/>
                  <a:gd name="T17" fmla="*/ 394 h 517"/>
                  <a:gd name="T18" fmla="*/ 46 w 482"/>
                  <a:gd name="T19" fmla="*/ 390 h 517"/>
                  <a:gd name="T20" fmla="*/ 38 w 482"/>
                  <a:gd name="T21" fmla="*/ 382 h 517"/>
                  <a:gd name="T22" fmla="*/ 52 w 482"/>
                  <a:gd name="T23" fmla="*/ 377 h 517"/>
                  <a:gd name="T24" fmla="*/ 71 w 482"/>
                  <a:gd name="T25" fmla="*/ 377 h 517"/>
                  <a:gd name="T26" fmla="*/ 373 w 482"/>
                  <a:gd name="T27" fmla="*/ 440 h 517"/>
                  <a:gd name="T28" fmla="*/ 75 w 482"/>
                  <a:gd name="T29" fmla="*/ 365 h 517"/>
                  <a:gd name="T30" fmla="*/ 225 w 482"/>
                  <a:gd name="T31" fmla="*/ 402 h 517"/>
                  <a:gd name="T32" fmla="*/ 188 w 482"/>
                  <a:gd name="T33" fmla="*/ 392 h 517"/>
                  <a:gd name="T34" fmla="*/ 482 w 482"/>
                  <a:gd name="T35" fmla="*/ 448 h 517"/>
                  <a:gd name="T36" fmla="*/ 188 w 482"/>
                  <a:gd name="T37" fmla="*/ 388 h 517"/>
                  <a:gd name="T38" fmla="*/ 192 w 482"/>
                  <a:gd name="T39" fmla="*/ 388 h 517"/>
                  <a:gd name="T40" fmla="*/ 205 w 482"/>
                  <a:gd name="T41" fmla="*/ 392 h 517"/>
                  <a:gd name="T42" fmla="*/ 82 w 482"/>
                  <a:gd name="T43" fmla="*/ 357 h 517"/>
                  <a:gd name="T44" fmla="*/ 198 w 482"/>
                  <a:gd name="T45" fmla="*/ 386 h 517"/>
                  <a:gd name="T46" fmla="*/ 84 w 482"/>
                  <a:gd name="T47" fmla="*/ 353 h 517"/>
                  <a:gd name="T48" fmla="*/ 202 w 482"/>
                  <a:gd name="T49" fmla="*/ 382 h 517"/>
                  <a:gd name="T50" fmla="*/ 205 w 482"/>
                  <a:gd name="T51" fmla="*/ 382 h 517"/>
                  <a:gd name="T52" fmla="*/ 175 w 482"/>
                  <a:gd name="T53" fmla="*/ 375 h 517"/>
                  <a:gd name="T54" fmla="*/ 180 w 482"/>
                  <a:gd name="T55" fmla="*/ 375 h 517"/>
                  <a:gd name="T56" fmla="*/ 182 w 482"/>
                  <a:gd name="T57" fmla="*/ 373 h 517"/>
                  <a:gd name="T58" fmla="*/ 179 w 482"/>
                  <a:gd name="T59" fmla="*/ 367 h 517"/>
                  <a:gd name="T60" fmla="*/ 198 w 482"/>
                  <a:gd name="T61" fmla="*/ 375 h 517"/>
                  <a:gd name="T62" fmla="*/ 182 w 482"/>
                  <a:gd name="T63" fmla="*/ 369 h 517"/>
                  <a:gd name="T64" fmla="*/ 173 w 482"/>
                  <a:gd name="T65" fmla="*/ 365 h 517"/>
                  <a:gd name="T66" fmla="*/ 157 w 482"/>
                  <a:gd name="T67" fmla="*/ 357 h 517"/>
                  <a:gd name="T68" fmla="*/ 154 w 482"/>
                  <a:gd name="T69" fmla="*/ 355 h 517"/>
                  <a:gd name="T70" fmla="*/ 159 w 482"/>
                  <a:gd name="T71" fmla="*/ 357 h 517"/>
                  <a:gd name="T72" fmla="*/ 219 w 482"/>
                  <a:gd name="T73" fmla="*/ 367 h 517"/>
                  <a:gd name="T74" fmla="*/ 376 w 482"/>
                  <a:gd name="T75" fmla="*/ 400 h 517"/>
                  <a:gd name="T76" fmla="*/ 382 w 482"/>
                  <a:gd name="T77" fmla="*/ 390 h 517"/>
                  <a:gd name="T78" fmla="*/ 382 w 482"/>
                  <a:gd name="T79" fmla="*/ 386 h 517"/>
                  <a:gd name="T80" fmla="*/ 442 w 482"/>
                  <a:gd name="T81" fmla="*/ 394 h 517"/>
                  <a:gd name="T82" fmla="*/ 374 w 482"/>
                  <a:gd name="T83" fmla="*/ 363 h 517"/>
                  <a:gd name="T84" fmla="*/ 411 w 482"/>
                  <a:gd name="T85" fmla="*/ 367 h 517"/>
                  <a:gd name="T86" fmla="*/ 376 w 482"/>
                  <a:gd name="T87" fmla="*/ 359 h 517"/>
                  <a:gd name="T88" fmla="*/ 380 w 482"/>
                  <a:gd name="T89" fmla="*/ 359 h 517"/>
                  <a:gd name="T90" fmla="*/ 403 w 482"/>
                  <a:gd name="T91" fmla="*/ 367 h 517"/>
                  <a:gd name="T92" fmla="*/ 413 w 482"/>
                  <a:gd name="T93" fmla="*/ 369 h 517"/>
                  <a:gd name="T94" fmla="*/ 161 w 482"/>
                  <a:gd name="T95" fmla="*/ 267 h 517"/>
                  <a:gd name="T96" fmla="*/ 190 w 482"/>
                  <a:gd name="T97" fmla="*/ 232 h 517"/>
                  <a:gd name="T98" fmla="*/ 121 w 482"/>
                  <a:gd name="T99" fmla="*/ 203 h 517"/>
                  <a:gd name="T100" fmla="*/ 113 w 482"/>
                  <a:gd name="T101" fmla="*/ 200 h 517"/>
                  <a:gd name="T102" fmla="*/ 271 w 482"/>
                  <a:gd name="T103" fmla="*/ 221 h 517"/>
                  <a:gd name="T104" fmla="*/ 150 w 482"/>
                  <a:gd name="T105" fmla="*/ 184 h 517"/>
                  <a:gd name="T106" fmla="*/ 161 w 482"/>
                  <a:gd name="T107" fmla="*/ 132 h 517"/>
                  <a:gd name="T108" fmla="*/ 154 w 482"/>
                  <a:gd name="T109" fmla="*/ 115 h 517"/>
                  <a:gd name="T110" fmla="*/ 432 w 482"/>
                  <a:gd name="T111" fmla="*/ 167 h 517"/>
                  <a:gd name="T112" fmla="*/ 430 w 482"/>
                  <a:gd name="T113" fmla="*/ 157 h 517"/>
                  <a:gd name="T114" fmla="*/ 396 w 482"/>
                  <a:gd name="T115" fmla="*/ 144 h 517"/>
                  <a:gd name="T116" fmla="*/ 380 w 482"/>
                  <a:gd name="T117" fmla="*/ 82 h 517"/>
                  <a:gd name="T118" fmla="*/ 321 w 482"/>
                  <a:gd name="T119" fmla="*/ 50 h 517"/>
                  <a:gd name="T120" fmla="*/ 365 w 482"/>
                  <a:gd name="T121" fmla="*/ 40 h 517"/>
                  <a:gd name="T122" fmla="*/ 403 w 482"/>
                  <a:gd name="T123" fmla="*/ 38 h 517"/>
                  <a:gd name="T124" fmla="*/ 399 w 482"/>
                  <a:gd name="T125" fmla="*/ 17 h 5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82" h="517">
                    <a:moveTo>
                      <a:pt x="13" y="461"/>
                    </a:moveTo>
                    <a:lnTo>
                      <a:pt x="15" y="461"/>
                    </a:lnTo>
                    <a:lnTo>
                      <a:pt x="15" y="463"/>
                    </a:lnTo>
                    <a:lnTo>
                      <a:pt x="15" y="461"/>
                    </a:lnTo>
                    <a:lnTo>
                      <a:pt x="13" y="461"/>
                    </a:lnTo>
                    <a:lnTo>
                      <a:pt x="15" y="461"/>
                    </a:lnTo>
                    <a:lnTo>
                      <a:pt x="13" y="461"/>
                    </a:lnTo>
                    <a:close/>
                    <a:moveTo>
                      <a:pt x="34" y="465"/>
                    </a:moveTo>
                    <a:lnTo>
                      <a:pt x="36" y="465"/>
                    </a:lnTo>
                    <a:lnTo>
                      <a:pt x="34" y="465"/>
                    </a:lnTo>
                    <a:close/>
                    <a:moveTo>
                      <a:pt x="33" y="461"/>
                    </a:moveTo>
                    <a:lnTo>
                      <a:pt x="31" y="461"/>
                    </a:lnTo>
                    <a:lnTo>
                      <a:pt x="33" y="459"/>
                    </a:lnTo>
                    <a:lnTo>
                      <a:pt x="31" y="459"/>
                    </a:lnTo>
                    <a:lnTo>
                      <a:pt x="33" y="459"/>
                    </a:lnTo>
                    <a:lnTo>
                      <a:pt x="33" y="461"/>
                    </a:lnTo>
                    <a:close/>
                    <a:moveTo>
                      <a:pt x="21" y="455"/>
                    </a:moveTo>
                    <a:lnTo>
                      <a:pt x="19" y="457"/>
                    </a:lnTo>
                    <a:lnTo>
                      <a:pt x="19" y="455"/>
                    </a:lnTo>
                    <a:lnTo>
                      <a:pt x="21" y="455"/>
                    </a:lnTo>
                    <a:lnTo>
                      <a:pt x="19" y="455"/>
                    </a:lnTo>
                    <a:lnTo>
                      <a:pt x="21" y="455"/>
                    </a:lnTo>
                    <a:lnTo>
                      <a:pt x="19" y="455"/>
                    </a:lnTo>
                    <a:lnTo>
                      <a:pt x="21" y="455"/>
                    </a:lnTo>
                    <a:close/>
                    <a:moveTo>
                      <a:pt x="29" y="457"/>
                    </a:moveTo>
                    <a:lnTo>
                      <a:pt x="29" y="459"/>
                    </a:lnTo>
                    <a:lnTo>
                      <a:pt x="29" y="457"/>
                    </a:lnTo>
                    <a:close/>
                    <a:moveTo>
                      <a:pt x="34" y="459"/>
                    </a:moveTo>
                    <a:lnTo>
                      <a:pt x="36" y="459"/>
                    </a:lnTo>
                    <a:lnTo>
                      <a:pt x="34" y="459"/>
                    </a:lnTo>
                    <a:close/>
                    <a:moveTo>
                      <a:pt x="36" y="459"/>
                    </a:moveTo>
                    <a:lnTo>
                      <a:pt x="34" y="459"/>
                    </a:lnTo>
                    <a:lnTo>
                      <a:pt x="36" y="459"/>
                    </a:lnTo>
                    <a:close/>
                    <a:moveTo>
                      <a:pt x="19" y="451"/>
                    </a:moveTo>
                    <a:lnTo>
                      <a:pt x="19" y="453"/>
                    </a:lnTo>
                    <a:lnTo>
                      <a:pt x="19" y="451"/>
                    </a:lnTo>
                    <a:close/>
                    <a:moveTo>
                      <a:pt x="40" y="457"/>
                    </a:moveTo>
                    <a:lnTo>
                      <a:pt x="40" y="459"/>
                    </a:lnTo>
                    <a:lnTo>
                      <a:pt x="40" y="457"/>
                    </a:lnTo>
                    <a:close/>
                    <a:moveTo>
                      <a:pt x="42" y="459"/>
                    </a:moveTo>
                    <a:lnTo>
                      <a:pt x="42" y="457"/>
                    </a:lnTo>
                    <a:lnTo>
                      <a:pt x="42" y="459"/>
                    </a:lnTo>
                    <a:close/>
                    <a:moveTo>
                      <a:pt x="21" y="451"/>
                    </a:moveTo>
                    <a:lnTo>
                      <a:pt x="19" y="451"/>
                    </a:lnTo>
                    <a:lnTo>
                      <a:pt x="19" y="450"/>
                    </a:lnTo>
                    <a:lnTo>
                      <a:pt x="21" y="451"/>
                    </a:lnTo>
                    <a:close/>
                    <a:moveTo>
                      <a:pt x="21" y="450"/>
                    </a:moveTo>
                    <a:lnTo>
                      <a:pt x="19" y="450"/>
                    </a:lnTo>
                    <a:lnTo>
                      <a:pt x="21" y="450"/>
                    </a:lnTo>
                    <a:close/>
                    <a:moveTo>
                      <a:pt x="242" y="507"/>
                    </a:moveTo>
                    <a:lnTo>
                      <a:pt x="240" y="507"/>
                    </a:lnTo>
                    <a:lnTo>
                      <a:pt x="242" y="507"/>
                    </a:lnTo>
                    <a:close/>
                    <a:moveTo>
                      <a:pt x="29" y="451"/>
                    </a:moveTo>
                    <a:lnTo>
                      <a:pt x="29" y="450"/>
                    </a:lnTo>
                    <a:lnTo>
                      <a:pt x="29" y="451"/>
                    </a:lnTo>
                    <a:close/>
                    <a:moveTo>
                      <a:pt x="21" y="448"/>
                    </a:moveTo>
                    <a:lnTo>
                      <a:pt x="19" y="448"/>
                    </a:lnTo>
                    <a:lnTo>
                      <a:pt x="21" y="448"/>
                    </a:lnTo>
                    <a:lnTo>
                      <a:pt x="21" y="450"/>
                    </a:lnTo>
                    <a:lnTo>
                      <a:pt x="19" y="450"/>
                    </a:lnTo>
                    <a:lnTo>
                      <a:pt x="21" y="448"/>
                    </a:lnTo>
                    <a:lnTo>
                      <a:pt x="19" y="448"/>
                    </a:lnTo>
                    <a:lnTo>
                      <a:pt x="21" y="448"/>
                    </a:lnTo>
                    <a:close/>
                    <a:moveTo>
                      <a:pt x="23" y="448"/>
                    </a:moveTo>
                    <a:lnTo>
                      <a:pt x="25" y="448"/>
                    </a:lnTo>
                    <a:lnTo>
                      <a:pt x="23" y="448"/>
                    </a:lnTo>
                    <a:close/>
                    <a:moveTo>
                      <a:pt x="242" y="505"/>
                    </a:moveTo>
                    <a:lnTo>
                      <a:pt x="244" y="505"/>
                    </a:lnTo>
                    <a:lnTo>
                      <a:pt x="242" y="505"/>
                    </a:lnTo>
                    <a:close/>
                    <a:moveTo>
                      <a:pt x="31" y="444"/>
                    </a:moveTo>
                    <a:lnTo>
                      <a:pt x="29" y="444"/>
                    </a:lnTo>
                    <a:lnTo>
                      <a:pt x="31" y="444"/>
                    </a:lnTo>
                    <a:lnTo>
                      <a:pt x="29" y="444"/>
                    </a:lnTo>
                    <a:lnTo>
                      <a:pt x="31" y="444"/>
                    </a:lnTo>
                    <a:close/>
                    <a:moveTo>
                      <a:pt x="250" y="500"/>
                    </a:moveTo>
                    <a:lnTo>
                      <a:pt x="248" y="500"/>
                    </a:lnTo>
                    <a:lnTo>
                      <a:pt x="250" y="500"/>
                    </a:lnTo>
                    <a:lnTo>
                      <a:pt x="248" y="500"/>
                    </a:lnTo>
                    <a:lnTo>
                      <a:pt x="248" y="501"/>
                    </a:lnTo>
                    <a:lnTo>
                      <a:pt x="248" y="500"/>
                    </a:lnTo>
                    <a:lnTo>
                      <a:pt x="250" y="500"/>
                    </a:lnTo>
                    <a:close/>
                    <a:moveTo>
                      <a:pt x="2" y="432"/>
                    </a:moveTo>
                    <a:lnTo>
                      <a:pt x="2" y="434"/>
                    </a:lnTo>
                    <a:lnTo>
                      <a:pt x="2" y="432"/>
                    </a:lnTo>
                    <a:close/>
                    <a:moveTo>
                      <a:pt x="33" y="444"/>
                    </a:moveTo>
                    <a:lnTo>
                      <a:pt x="31" y="444"/>
                    </a:lnTo>
                    <a:lnTo>
                      <a:pt x="33" y="444"/>
                    </a:lnTo>
                    <a:lnTo>
                      <a:pt x="34" y="442"/>
                    </a:lnTo>
                    <a:lnTo>
                      <a:pt x="34" y="444"/>
                    </a:lnTo>
                    <a:lnTo>
                      <a:pt x="33" y="444"/>
                    </a:lnTo>
                    <a:close/>
                    <a:moveTo>
                      <a:pt x="2" y="432"/>
                    </a:moveTo>
                    <a:lnTo>
                      <a:pt x="0" y="432"/>
                    </a:lnTo>
                    <a:lnTo>
                      <a:pt x="2" y="432"/>
                    </a:lnTo>
                    <a:close/>
                    <a:moveTo>
                      <a:pt x="6" y="430"/>
                    </a:moveTo>
                    <a:lnTo>
                      <a:pt x="6" y="432"/>
                    </a:lnTo>
                    <a:lnTo>
                      <a:pt x="6" y="430"/>
                    </a:lnTo>
                    <a:lnTo>
                      <a:pt x="4" y="430"/>
                    </a:lnTo>
                    <a:lnTo>
                      <a:pt x="6" y="430"/>
                    </a:lnTo>
                    <a:lnTo>
                      <a:pt x="4" y="430"/>
                    </a:lnTo>
                    <a:lnTo>
                      <a:pt x="6" y="430"/>
                    </a:lnTo>
                    <a:close/>
                    <a:moveTo>
                      <a:pt x="33" y="438"/>
                    </a:moveTo>
                    <a:lnTo>
                      <a:pt x="31" y="438"/>
                    </a:lnTo>
                    <a:lnTo>
                      <a:pt x="29" y="438"/>
                    </a:lnTo>
                    <a:lnTo>
                      <a:pt x="31" y="438"/>
                    </a:lnTo>
                    <a:lnTo>
                      <a:pt x="33" y="438"/>
                    </a:lnTo>
                    <a:close/>
                    <a:moveTo>
                      <a:pt x="36" y="440"/>
                    </a:moveTo>
                    <a:lnTo>
                      <a:pt x="36" y="438"/>
                    </a:lnTo>
                    <a:lnTo>
                      <a:pt x="36" y="440"/>
                    </a:lnTo>
                    <a:close/>
                    <a:moveTo>
                      <a:pt x="353" y="517"/>
                    </a:moveTo>
                    <a:lnTo>
                      <a:pt x="353" y="515"/>
                    </a:lnTo>
                    <a:lnTo>
                      <a:pt x="353" y="517"/>
                    </a:lnTo>
                    <a:close/>
                    <a:moveTo>
                      <a:pt x="36" y="438"/>
                    </a:moveTo>
                    <a:lnTo>
                      <a:pt x="36" y="440"/>
                    </a:lnTo>
                    <a:lnTo>
                      <a:pt x="36" y="438"/>
                    </a:lnTo>
                    <a:lnTo>
                      <a:pt x="36" y="440"/>
                    </a:lnTo>
                    <a:lnTo>
                      <a:pt x="36" y="438"/>
                    </a:lnTo>
                    <a:close/>
                    <a:moveTo>
                      <a:pt x="252" y="492"/>
                    </a:moveTo>
                    <a:lnTo>
                      <a:pt x="252" y="494"/>
                    </a:lnTo>
                    <a:lnTo>
                      <a:pt x="252" y="492"/>
                    </a:lnTo>
                    <a:close/>
                    <a:moveTo>
                      <a:pt x="25" y="432"/>
                    </a:moveTo>
                    <a:lnTo>
                      <a:pt x="25" y="434"/>
                    </a:lnTo>
                    <a:lnTo>
                      <a:pt x="25" y="432"/>
                    </a:lnTo>
                    <a:lnTo>
                      <a:pt x="25" y="434"/>
                    </a:lnTo>
                    <a:lnTo>
                      <a:pt x="25" y="432"/>
                    </a:lnTo>
                    <a:close/>
                    <a:moveTo>
                      <a:pt x="252" y="492"/>
                    </a:moveTo>
                    <a:lnTo>
                      <a:pt x="252" y="490"/>
                    </a:lnTo>
                    <a:lnTo>
                      <a:pt x="252" y="492"/>
                    </a:lnTo>
                    <a:close/>
                    <a:moveTo>
                      <a:pt x="25" y="432"/>
                    </a:moveTo>
                    <a:lnTo>
                      <a:pt x="25" y="434"/>
                    </a:lnTo>
                    <a:lnTo>
                      <a:pt x="25" y="436"/>
                    </a:lnTo>
                    <a:lnTo>
                      <a:pt x="27" y="436"/>
                    </a:lnTo>
                    <a:lnTo>
                      <a:pt x="25" y="436"/>
                    </a:lnTo>
                    <a:lnTo>
                      <a:pt x="27" y="436"/>
                    </a:lnTo>
                    <a:lnTo>
                      <a:pt x="25" y="436"/>
                    </a:lnTo>
                    <a:lnTo>
                      <a:pt x="25" y="434"/>
                    </a:lnTo>
                    <a:lnTo>
                      <a:pt x="23" y="432"/>
                    </a:lnTo>
                    <a:lnTo>
                      <a:pt x="25" y="432"/>
                    </a:lnTo>
                    <a:lnTo>
                      <a:pt x="25" y="430"/>
                    </a:lnTo>
                    <a:lnTo>
                      <a:pt x="25" y="432"/>
                    </a:lnTo>
                    <a:lnTo>
                      <a:pt x="25" y="430"/>
                    </a:lnTo>
                    <a:lnTo>
                      <a:pt x="27" y="430"/>
                    </a:lnTo>
                    <a:lnTo>
                      <a:pt x="25" y="430"/>
                    </a:lnTo>
                    <a:lnTo>
                      <a:pt x="25" y="432"/>
                    </a:lnTo>
                    <a:close/>
                    <a:moveTo>
                      <a:pt x="355" y="509"/>
                    </a:moveTo>
                    <a:lnTo>
                      <a:pt x="355" y="511"/>
                    </a:lnTo>
                    <a:lnTo>
                      <a:pt x="355" y="509"/>
                    </a:lnTo>
                    <a:close/>
                    <a:moveTo>
                      <a:pt x="252" y="488"/>
                    </a:moveTo>
                    <a:lnTo>
                      <a:pt x="252" y="490"/>
                    </a:lnTo>
                    <a:lnTo>
                      <a:pt x="252" y="488"/>
                    </a:lnTo>
                    <a:close/>
                    <a:moveTo>
                      <a:pt x="13" y="423"/>
                    </a:moveTo>
                    <a:lnTo>
                      <a:pt x="13" y="425"/>
                    </a:lnTo>
                    <a:lnTo>
                      <a:pt x="13" y="423"/>
                    </a:lnTo>
                    <a:close/>
                    <a:moveTo>
                      <a:pt x="252" y="486"/>
                    </a:moveTo>
                    <a:lnTo>
                      <a:pt x="252" y="488"/>
                    </a:lnTo>
                    <a:lnTo>
                      <a:pt x="252" y="486"/>
                    </a:lnTo>
                    <a:close/>
                    <a:moveTo>
                      <a:pt x="250" y="486"/>
                    </a:moveTo>
                    <a:lnTo>
                      <a:pt x="252" y="486"/>
                    </a:lnTo>
                    <a:lnTo>
                      <a:pt x="250" y="486"/>
                    </a:lnTo>
                    <a:lnTo>
                      <a:pt x="250" y="484"/>
                    </a:lnTo>
                    <a:lnTo>
                      <a:pt x="250" y="486"/>
                    </a:lnTo>
                    <a:close/>
                    <a:moveTo>
                      <a:pt x="13" y="421"/>
                    </a:moveTo>
                    <a:lnTo>
                      <a:pt x="15" y="423"/>
                    </a:lnTo>
                    <a:lnTo>
                      <a:pt x="13" y="423"/>
                    </a:lnTo>
                    <a:lnTo>
                      <a:pt x="13" y="421"/>
                    </a:lnTo>
                    <a:lnTo>
                      <a:pt x="13" y="423"/>
                    </a:lnTo>
                    <a:lnTo>
                      <a:pt x="13" y="421"/>
                    </a:lnTo>
                    <a:close/>
                    <a:moveTo>
                      <a:pt x="250" y="486"/>
                    </a:moveTo>
                    <a:lnTo>
                      <a:pt x="250" y="484"/>
                    </a:lnTo>
                    <a:lnTo>
                      <a:pt x="250" y="486"/>
                    </a:lnTo>
                    <a:close/>
                    <a:moveTo>
                      <a:pt x="25" y="425"/>
                    </a:moveTo>
                    <a:lnTo>
                      <a:pt x="25" y="427"/>
                    </a:lnTo>
                    <a:lnTo>
                      <a:pt x="25" y="425"/>
                    </a:lnTo>
                    <a:lnTo>
                      <a:pt x="25" y="427"/>
                    </a:lnTo>
                    <a:lnTo>
                      <a:pt x="25" y="425"/>
                    </a:lnTo>
                    <a:close/>
                    <a:moveTo>
                      <a:pt x="250" y="484"/>
                    </a:moveTo>
                    <a:lnTo>
                      <a:pt x="248" y="484"/>
                    </a:lnTo>
                    <a:lnTo>
                      <a:pt x="250" y="484"/>
                    </a:lnTo>
                    <a:close/>
                    <a:moveTo>
                      <a:pt x="248" y="482"/>
                    </a:moveTo>
                    <a:lnTo>
                      <a:pt x="246" y="482"/>
                    </a:lnTo>
                    <a:lnTo>
                      <a:pt x="248" y="482"/>
                    </a:lnTo>
                    <a:close/>
                    <a:moveTo>
                      <a:pt x="244" y="482"/>
                    </a:moveTo>
                    <a:lnTo>
                      <a:pt x="246" y="482"/>
                    </a:lnTo>
                    <a:lnTo>
                      <a:pt x="248" y="482"/>
                    </a:lnTo>
                    <a:lnTo>
                      <a:pt x="246" y="482"/>
                    </a:lnTo>
                    <a:lnTo>
                      <a:pt x="244" y="482"/>
                    </a:lnTo>
                    <a:close/>
                    <a:moveTo>
                      <a:pt x="244" y="480"/>
                    </a:moveTo>
                    <a:lnTo>
                      <a:pt x="242" y="480"/>
                    </a:lnTo>
                    <a:lnTo>
                      <a:pt x="244" y="480"/>
                    </a:lnTo>
                    <a:close/>
                    <a:moveTo>
                      <a:pt x="242" y="480"/>
                    </a:moveTo>
                    <a:lnTo>
                      <a:pt x="240" y="480"/>
                    </a:lnTo>
                    <a:lnTo>
                      <a:pt x="242" y="480"/>
                    </a:lnTo>
                    <a:close/>
                    <a:moveTo>
                      <a:pt x="17" y="419"/>
                    </a:moveTo>
                    <a:lnTo>
                      <a:pt x="17" y="421"/>
                    </a:lnTo>
                    <a:lnTo>
                      <a:pt x="17" y="419"/>
                    </a:lnTo>
                    <a:close/>
                    <a:moveTo>
                      <a:pt x="242" y="480"/>
                    </a:moveTo>
                    <a:lnTo>
                      <a:pt x="240" y="480"/>
                    </a:lnTo>
                    <a:lnTo>
                      <a:pt x="240" y="478"/>
                    </a:lnTo>
                    <a:lnTo>
                      <a:pt x="240" y="480"/>
                    </a:lnTo>
                    <a:lnTo>
                      <a:pt x="240" y="478"/>
                    </a:lnTo>
                    <a:lnTo>
                      <a:pt x="242" y="480"/>
                    </a:lnTo>
                    <a:close/>
                    <a:moveTo>
                      <a:pt x="240" y="478"/>
                    </a:moveTo>
                    <a:lnTo>
                      <a:pt x="240" y="480"/>
                    </a:lnTo>
                    <a:lnTo>
                      <a:pt x="240" y="478"/>
                    </a:lnTo>
                    <a:lnTo>
                      <a:pt x="238" y="478"/>
                    </a:lnTo>
                    <a:lnTo>
                      <a:pt x="240" y="478"/>
                    </a:lnTo>
                    <a:close/>
                    <a:moveTo>
                      <a:pt x="17" y="419"/>
                    </a:moveTo>
                    <a:lnTo>
                      <a:pt x="19" y="419"/>
                    </a:lnTo>
                    <a:lnTo>
                      <a:pt x="17" y="419"/>
                    </a:lnTo>
                    <a:close/>
                    <a:moveTo>
                      <a:pt x="238" y="478"/>
                    </a:moveTo>
                    <a:lnTo>
                      <a:pt x="240" y="478"/>
                    </a:lnTo>
                    <a:lnTo>
                      <a:pt x="238" y="478"/>
                    </a:lnTo>
                    <a:close/>
                    <a:moveTo>
                      <a:pt x="236" y="475"/>
                    </a:moveTo>
                    <a:lnTo>
                      <a:pt x="238" y="475"/>
                    </a:lnTo>
                    <a:lnTo>
                      <a:pt x="236" y="476"/>
                    </a:lnTo>
                    <a:lnTo>
                      <a:pt x="236" y="475"/>
                    </a:lnTo>
                    <a:close/>
                    <a:moveTo>
                      <a:pt x="31" y="415"/>
                    </a:moveTo>
                    <a:lnTo>
                      <a:pt x="31" y="417"/>
                    </a:lnTo>
                    <a:lnTo>
                      <a:pt x="31" y="415"/>
                    </a:lnTo>
                    <a:close/>
                    <a:moveTo>
                      <a:pt x="38" y="417"/>
                    </a:moveTo>
                    <a:lnTo>
                      <a:pt x="36" y="417"/>
                    </a:lnTo>
                    <a:lnTo>
                      <a:pt x="38" y="417"/>
                    </a:lnTo>
                    <a:close/>
                    <a:moveTo>
                      <a:pt x="232" y="469"/>
                    </a:moveTo>
                    <a:lnTo>
                      <a:pt x="232" y="467"/>
                    </a:lnTo>
                    <a:lnTo>
                      <a:pt x="232" y="469"/>
                    </a:lnTo>
                    <a:close/>
                    <a:moveTo>
                      <a:pt x="232" y="467"/>
                    </a:moveTo>
                    <a:lnTo>
                      <a:pt x="232" y="469"/>
                    </a:lnTo>
                    <a:lnTo>
                      <a:pt x="232" y="467"/>
                    </a:lnTo>
                    <a:lnTo>
                      <a:pt x="230" y="467"/>
                    </a:lnTo>
                    <a:lnTo>
                      <a:pt x="232" y="467"/>
                    </a:lnTo>
                    <a:close/>
                    <a:moveTo>
                      <a:pt x="357" y="492"/>
                    </a:moveTo>
                    <a:lnTo>
                      <a:pt x="357" y="494"/>
                    </a:lnTo>
                    <a:lnTo>
                      <a:pt x="357" y="492"/>
                    </a:lnTo>
                    <a:lnTo>
                      <a:pt x="359" y="494"/>
                    </a:lnTo>
                    <a:lnTo>
                      <a:pt x="357" y="494"/>
                    </a:lnTo>
                    <a:lnTo>
                      <a:pt x="357" y="492"/>
                    </a:lnTo>
                    <a:close/>
                    <a:moveTo>
                      <a:pt x="230" y="467"/>
                    </a:moveTo>
                    <a:lnTo>
                      <a:pt x="230" y="465"/>
                    </a:lnTo>
                    <a:lnTo>
                      <a:pt x="230" y="467"/>
                    </a:lnTo>
                    <a:close/>
                    <a:moveTo>
                      <a:pt x="357" y="492"/>
                    </a:moveTo>
                    <a:lnTo>
                      <a:pt x="359" y="492"/>
                    </a:lnTo>
                    <a:lnTo>
                      <a:pt x="357" y="492"/>
                    </a:lnTo>
                    <a:close/>
                    <a:moveTo>
                      <a:pt x="230" y="465"/>
                    </a:moveTo>
                    <a:lnTo>
                      <a:pt x="230" y="467"/>
                    </a:lnTo>
                    <a:lnTo>
                      <a:pt x="230" y="465"/>
                    </a:lnTo>
                    <a:close/>
                    <a:moveTo>
                      <a:pt x="228" y="465"/>
                    </a:moveTo>
                    <a:lnTo>
                      <a:pt x="228" y="463"/>
                    </a:lnTo>
                    <a:lnTo>
                      <a:pt x="228" y="465"/>
                    </a:lnTo>
                    <a:close/>
                    <a:moveTo>
                      <a:pt x="19" y="407"/>
                    </a:moveTo>
                    <a:lnTo>
                      <a:pt x="19" y="405"/>
                    </a:lnTo>
                    <a:lnTo>
                      <a:pt x="21" y="405"/>
                    </a:lnTo>
                    <a:lnTo>
                      <a:pt x="19" y="405"/>
                    </a:lnTo>
                    <a:lnTo>
                      <a:pt x="19" y="407"/>
                    </a:lnTo>
                    <a:close/>
                    <a:moveTo>
                      <a:pt x="228" y="461"/>
                    </a:moveTo>
                    <a:lnTo>
                      <a:pt x="228" y="463"/>
                    </a:lnTo>
                    <a:lnTo>
                      <a:pt x="227" y="461"/>
                    </a:lnTo>
                    <a:lnTo>
                      <a:pt x="228" y="461"/>
                    </a:lnTo>
                    <a:close/>
                    <a:moveTo>
                      <a:pt x="23" y="403"/>
                    </a:moveTo>
                    <a:lnTo>
                      <a:pt x="21" y="405"/>
                    </a:lnTo>
                    <a:lnTo>
                      <a:pt x="21" y="407"/>
                    </a:lnTo>
                    <a:lnTo>
                      <a:pt x="21" y="405"/>
                    </a:lnTo>
                    <a:lnTo>
                      <a:pt x="21" y="403"/>
                    </a:lnTo>
                    <a:lnTo>
                      <a:pt x="23" y="403"/>
                    </a:lnTo>
                    <a:close/>
                    <a:moveTo>
                      <a:pt x="227" y="461"/>
                    </a:moveTo>
                    <a:lnTo>
                      <a:pt x="227" y="459"/>
                    </a:lnTo>
                    <a:lnTo>
                      <a:pt x="227" y="461"/>
                    </a:lnTo>
                    <a:close/>
                    <a:moveTo>
                      <a:pt x="44" y="409"/>
                    </a:moveTo>
                    <a:lnTo>
                      <a:pt x="44" y="411"/>
                    </a:lnTo>
                    <a:lnTo>
                      <a:pt x="44" y="409"/>
                    </a:lnTo>
                    <a:close/>
                    <a:moveTo>
                      <a:pt x="227" y="457"/>
                    </a:moveTo>
                    <a:lnTo>
                      <a:pt x="227" y="459"/>
                    </a:lnTo>
                    <a:lnTo>
                      <a:pt x="227" y="457"/>
                    </a:lnTo>
                    <a:close/>
                    <a:moveTo>
                      <a:pt x="227" y="457"/>
                    </a:moveTo>
                    <a:lnTo>
                      <a:pt x="227" y="455"/>
                    </a:lnTo>
                    <a:lnTo>
                      <a:pt x="227" y="457"/>
                    </a:lnTo>
                    <a:close/>
                    <a:moveTo>
                      <a:pt x="34" y="403"/>
                    </a:moveTo>
                    <a:lnTo>
                      <a:pt x="34" y="405"/>
                    </a:lnTo>
                    <a:lnTo>
                      <a:pt x="34" y="403"/>
                    </a:lnTo>
                    <a:lnTo>
                      <a:pt x="34" y="405"/>
                    </a:lnTo>
                    <a:lnTo>
                      <a:pt x="34" y="403"/>
                    </a:lnTo>
                    <a:lnTo>
                      <a:pt x="34" y="405"/>
                    </a:lnTo>
                    <a:lnTo>
                      <a:pt x="34" y="403"/>
                    </a:lnTo>
                    <a:close/>
                    <a:moveTo>
                      <a:pt x="227" y="455"/>
                    </a:moveTo>
                    <a:lnTo>
                      <a:pt x="227" y="453"/>
                    </a:lnTo>
                    <a:lnTo>
                      <a:pt x="227" y="455"/>
                    </a:lnTo>
                    <a:lnTo>
                      <a:pt x="227" y="453"/>
                    </a:lnTo>
                    <a:lnTo>
                      <a:pt x="227" y="455"/>
                    </a:lnTo>
                    <a:close/>
                    <a:moveTo>
                      <a:pt x="225" y="453"/>
                    </a:moveTo>
                    <a:lnTo>
                      <a:pt x="225" y="451"/>
                    </a:lnTo>
                    <a:lnTo>
                      <a:pt x="225" y="453"/>
                    </a:lnTo>
                    <a:close/>
                    <a:moveTo>
                      <a:pt x="38" y="396"/>
                    </a:moveTo>
                    <a:lnTo>
                      <a:pt x="38" y="398"/>
                    </a:lnTo>
                    <a:lnTo>
                      <a:pt x="36" y="398"/>
                    </a:lnTo>
                    <a:lnTo>
                      <a:pt x="38" y="398"/>
                    </a:lnTo>
                    <a:lnTo>
                      <a:pt x="36" y="398"/>
                    </a:lnTo>
                    <a:lnTo>
                      <a:pt x="36" y="396"/>
                    </a:lnTo>
                    <a:lnTo>
                      <a:pt x="38" y="396"/>
                    </a:lnTo>
                    <a:close/>
                    <a:moveTo>
                      <a:pt x="369" y="475"/>
                    </a:moveTo>
                    <a:lnTo>
                      <a:pt x="369" y="476"/>
                    </a:lnTo>
                    <a:lnTo>
                      <a:pt x="371" y="476"/>
                    </a:lnTo>
                    <a:lnTo>
                      <a:pt x="369" y="476"/>
                    </a:lnTo>
                    <a:lnTo>
                      <a:pt x="369" y="478"/>
                    </a:lnTo>
                    <a:lnTo>
                      <a:pt x="369" y="480"/>
                    </a:lnTo>
                    <a:lnTo>
                      <a:pt x="367" y="480"/>
                    </a:lnTo>
                    <a:lnTo>
                      <a:pt x="365" y="480"/>
                    </a:lnTo>
                    <a:lnTo>
                      <a:pt x="365" y="478"/>
                    </a:lnTo>
                    <a:lnTo>
                      <a:pt x="367" y="478"/>
                    </a:lnTo>
                    <a:lnTo>
                      <a:pt x="367" y="480"/>
                    </a:lnTo>
                    <a:lnTo>
                      <a:pt x="367" y="478"/>
                    </a:lnTo>
                    <a:lnTo>
                      <a:pt x="367" y="476"/>
                    </a:lnTo>
                    <a:lnTo>
                      <a:pt x="369" y="476"/>
                    </a:lnTo>
                    <a:lnTo>
                      <a:pt x="367" y="476"/>
                    </a:lnTo>
                    <a:lnTo>
                      <a:pt x="369" y="476"/>
                    </a:lnTo>
                    <a:lnTo>
                      <a:pt x="369" y="475"/>
                    </a:lnTo>
                    <a:close/>
                    <a:moveTo>
                      <a:pt x="223" y="446"/>
                    </a:moveTo>
                    <a:lnTo>
                      <a:pt x="225" y="448"/>
                    </a:lnTo>
                    <a:lnTo>
                      <a:pt x="225" y="450"/>
                    </a:lnTo>
                    <a:lnTo>
                      <a:pt x="225" y="451"/>
                    </a:lnTo>
                    <a:lnTo>
                      <a:pt x="225" y="450"/>
                    </a:lnTo>
                    <a:lnTo>
                      <a:pt x="223" y="450"/>
                    </a:lnTo>
                    <a:lnTo>
                      <a:pt x="223" y="448"/>
                    </a:lnTo>
                    <a:lnTo>
                      <a:pt x="223" y="446"/>
                    </a:lnTo>
                    <a:close/>
                    <a:moveTo>
                      <a:pt x="48" y="400"/>
                    </a:moveTo>
                    <a:lnTo>
                      <a:pt x="48" y="398"/>
                    </a:lnTo>
                    <a:lnTo>
                      <a:pt x="50" y="398"/>
                    </a:lnTo>
                    <a:lnTo>
                      <a:pt x="48" y="400"/>
                    </a:lnTo>
                    <a:close/>
                    <a:moveTo>
                      <a:pt x="371" y="475"/>
                    </a:moveTo>
                    <a:lnTo>
                      <a:pt x="373" y="475"/>
                    </a:lnTo>
                    <a:lnTo>
                      <a:pt x="371" y="475"/>
                    </a:lnTo>
                    <a:close/>
                    <a:moveTo>
                      <a:pt x="42" y="394"/>
                    </a:moveTo>
                    <a:lnTo>
                      <a:pt x="42" y="396"/>
                    </a:lnTo>
                    <a:lnTo>
                      <a:pt x="42" y="394"/>
                    </a:lnTo>
                    <a:lnTo>
                      <a:pt x="42" y="396"/>
                    </a:lnTo>
                    <a:lnTo>
                      <a:pt x="42" y="394"/>
                    </a:lnTo>
                    <a:close/>
                    <a:moveTo>
                      <a:pt x="223" y="444"/>
                    </a:moveTo>
                    <a:lnTo>
                      <a:pt x="223" y="446"/>
                    </a:lnTo>
                    <a:lnTo>
                      <a:pt x="223" y="444"/>
                    </a:lnTo>
                    <a:lnTo>
                      <a:pt x="223" y="446"/>
                    </a:lnTo>
                    <a:lnTo>
                      <a:pt x="225" y="446"/>
                    </a:lnTo>
                    <a:lnTo>
                      <a:pt x="223" y="446"/>
                    </a:lnTo>
                    <a:lnTo>
                      <a:pt x="223" y="444"/>
                    </a:lnTo>
                    <a:close/>
                    <a:moveTo>
                      <a:pt x="373" y="475"/>
                    </a:moveTo>
                    <a:lnTo>
                      <a:pt x="371" y="475"/>
                    </a:lnTo>
                    <a:lnTo>
                      <a:pt x="371" y="473"/>
                    </a:lnTo>
                    <a:lnTo>
                      <a:pt x="373" y="473"/>
                    </a:lnTo>
                    <a:lnTo>
                      <a:pt x="373" y="475"/>
                    </a:lnTo>
                    <a:close/>
                    <a:moveTo>
                      <a:pt x="373" y="473"/>
                    </a:moveTo>
                    <a:lnTo>
                      <a:pt x="371" y="473"/>
                    </a:lnTo>
                    <a:lnTo>
                      <a:pt x="373" y="473"/>
                    </a:lnTo>
                    <a:close/>
                    <a:moveTo>
                      <a:pt x="40" y="390"/>
                    </a:moveTo>
                    <a:lnTo>
                      <a:pt x="40" y="392"/>
                    </a:lnTo>
                    <a:lnTo>
                      <a:pt x="40" y="390"/>
                    </a:lnTo>
                    <a:close/>
                    <a:moveTo>
                      <a:pt x="223" y="440"/>
                    </a:moveTo>
                    <a:lnTo>
                      <a:pt x="223" y="442"/>
                    </a:lnTo>
                    <a:lnTo>
                      <a:pt x="223" y="440"/>
                    </a:lnTo>
                    <a:lnTo>
                      <a:pt x="223" y="442"/>
                    </a:lnTo>
                    <a:lnTo>
                      <a:pt x="223" y="444"/>
                    </a:lnTo>
                    <a:lnTo>
                      <a:pt x="223" y="442"/>
                    </a:lnTo>
                    <a:lnTo>
                      <a:pt x="223" y="440"/>
                    </a:lnTo>
                    <a:close/>
                    <a:moveTo>
                      <a:pt x="56" y="394"/>
                    </a:moveTo>
                    <a:lnTo>
                      <a:pt x="56" y="396"/>
                    </a:lnTo>
                    <a:lnTo>
                      <a:pt x="56" y="394"/>
                    </a:lnTo>
                    <a:close/>
                    <a:moveTo>
                      <a:pt x="223" y="438"/>
                    </a:moveTo>
                    <a:lnTo>
                      <a:pt x="223" y="440"/>
                    </a:lnTo>
                    <a:lnTo>
                      <a:pt x="223" y="438"/>
                    </a:lnTo>
                    <a:close/>
                    <a:moveTo>
                      <a:pt x="476" y="486"/>
                    </a:moveTo>
                    <a:lnTo>
                      <a:pt x="476" y="484"/>
                    </a:lnTo>
                    <a:lnTo>
                      <a:pt x="476" y="486"/>
                    </a:lnTo>
                    <a:close/>
                    <a:moveTo>
                      <a:pt x="46" y="390"/>
                    </a:moveTo>
                    <a:lnTo>
                      <a:pt x="44" y="390"/>
                    </a:lnTo>
                    <a:lnTo>
                      <a:pt x="46" y="390"/>
                    </a:lnTo>
                    <a:lnTo>
                      <a:pt x="44" y="390"/>
                    </a:lnTo>
                    <a:lnTo>
                      <a:pt x="46" y="390"/>
                    </a:lnTo>
                    <a:close/>
                    <a:moveTo>
                      <a:pt x="46" y="390"/>
                    </a:moveTo>
                    <a:lnTo>
                      <a:pt x="46" y="392"/>
                    </a:lnTo>
                    <a:lnTo>
                      <a:pt x="46" y="390"/>
                    </a:lnTo>
                    <a:close/>
                    <a:moveTo>
                      <a:pt x="46" y="388"/>
                    </a:moveTo>
                    <a:lnTo>
                      <a:pt x="44" y="388"/>
                    </a:lnTo>
                    <a:lnTo>
                      <a:pt x="44" y="390"/>
                    </a:lnTo>
                    <a:lnTo>
                      <a:pt x="42" y="390"/>
                    </a:lnTo>
                    <a:lnTo>
                      <a:pt x="44" y="390"/>
                    </a:lnTo>
                    <a:lnTo>
                      <a:pt x="44" y="388"/>
                    </a:lnTo>
                    <a:lnTo>
                      <a:pt x="46" y="388"/>
                    </a:lnTo>
                    <a:close/>
                    <a:moveTo>
                      <a:pt x="56" y="390"/>
                    </a:moveTo>
                    <a:lnTo>
                      <a:pt x="56" y="392"/>
                    </a:lnTo>
                    <a:lnTo>
                      <a:pt x="54" y="392"/>
                    </a:lnTo>
                    <a:lnTo>
                      <a:pt x="56" y="392"/>
                    </a:lnTo>
                    <a:lnTo>
                      <a:pt x="54" y="392"/>
                    </a:lnTo>
                    <a:lnTo>
                      <a:pt x="56" y="390"/>
                    </a:lnTo>
                    <a:close/>
                    <a:moveTo>
                      <a:pt x="40" y="384"/>
                    </a:moveTo>
                    <a:lnTo>
                      <a:pt x="38" y="384"/>
                    </a:lnTo>
                    <a:lnTo>
                      <a:pt x="40" y="384"/>
                    </a:lnTo>
                    <a:close/>
                    <a:moveTo>
                      <a:pt x="44" y="386"/>
                    </a:moveTo>
                    <a:lnTo>
                      <a:pt x="42" y="386"/>
                    </a:lnTo>
                    <a:lnTo>
                      <a:pt x="44" y="386"/>
                    </a:lnTo>
                    <a:lnTo>
                      <a:pt x="42" y="386"/>
                    </a:lnTo>
                    <a:lnTo>
                      <a:pt x="44" y="386"/>
                    </a:lnTo>
                    <a:close/>
                    <a:moveTo>
                      <a:pt x="373" y="465"/>
                    </a:moveTo>
                    <a:lnTo>
                      <a:pt x="373" y="463"/>
                    </a:lnTo>
                    <a:lnTo>
                      <a:pt x="373" y="465"/>
                    </a:lnTo>
                    <a:close/>
                    <a:moveTo>
                      <a:pt x="38" y="382"/>
                    </a:moveTo>
                    <a:lnTo>
                      <a:pt x="40" y="382"/>
                    </a:lnTo>
                    <a:lnTo>
                      <a:pt x="38" y="384"/>
                    </a:lnTo>
                    <a:lnTo>
                      <a:pt x="40" y="382"/>
                    </a:lnTo>
                    <a:lnTo>
                      <a:pt x="38" y="384"/>
                    </a:lnTo>
                    <a:lnTo>
                      <a:pt x="38" y="382"/>
                    </a:lnTo>
                    <a:lnTo>
                      <a:pt x="40" y="382"/>
                    </a:lnTo>
                    <a:lnTo>
                      <a:pt x="38" y="382"/>
                    </a:lnTo>
                    <a:close/>
                    <a:moveTo>
                      <a:pt x="373" y="461"/>
                    </a:moveTo>
                    <a:lnTo>
                      <a:pt x="373" y="463"/>
                    </a:lnTo>
                    <a:lnTo>
                      <a:pt x="373" y="461"/>
                    </a:lnTo>
                    <a:lnTo>
                      <a:pt x="373" y="463"/>
                    </a:lnTo>
                    <a:lnTo>
                      <a:pt x="373" y="461"/>
                    </a:lnTo>
                    <a:close/>
                    <a:moveTo>
                      <a:pt x="50" y="384"/>
                    </a:moveTo>
                    <a:lnTo>
                      <a:pt x="50" y="382"/>
                    </a:lnTo>
                    <a:lnTo>
                      <a:pt x="50" y="384"/>
                    </a:lnTo>
                    <a:close/>
                    <a:moveTo>
                      <a:pt x="52" y="384"/>
                    </a:moveTo>
                    <a:lnTo>
                      <a:pt x="50" y="384"/>
                    </a:lnTo>
                    <a:lnTo>
                      <a:pt x="52" y="384"/>
                    </a:lnTo>
                    <a:close/>
                    <a:moveTo>
                      <a:pt x="376" y="457"/>
                    </a:moveTo>
                    <a:lnTo>
                      <a:pt x="376" y="459"/>
                    </a:lnTo>
                    <a:lnTo>
                      <a:pt x="376" y="457"/>
                    </a:lnTo>
                    <a:close/>
                    <a:moveTo>
                      <a:pt x="476" y="471"/>
                    </a:moveTo>
                    <a:lnTo>
                      <a:pt x="474" y="471"/>
                    </a:lnTo>
                    <a:lnTo>
                      <a:pt x="476" y="471"/>
                    </a:lnTo>
                    <a:close/>
                    <a:moveTo>
                      <a:pt x="54" y="378"/>
                    </a:moveTo>
                    <a:lnTo>
                      <a:pt x="54" y="380"/>
                    </a:lnTo>
                    <a:lnTo>
                      <a:pt x="54" y="378"/>
                    </a:lnTo>
                    <a:lnTo>
                      <a:pt x="54" y="380"/>
                    </a:lnTo>
                    <a:lnTo>
                      <a:pt x="52" y="380"/>
                    </a:lnTo>
                    <a:lnTo>
                      <a:pt x="52" y="378"/>
                    </a:lnTo>
                    <a:lnTo>
                      <a:pt x="52" y="380"/>
                    </a:lnTo>
                    <a:lnTo>
                      <a:pt x="54" y="378"/>
                    </a:lnTo>
                    <a:lnTo>
                      <a:pt x="52" y="378"/>
                    </a:lnTo>
                    <a:lnTo>
                      <a:pt x="54" y="378"/>
                    </a:lnTo>
                    <a:close/>
                    <a:moveTo>
                      <a:pt x="56" y="378"/>
                    </a:moveTo>
                    <a:lnTo>
                      <a:pt x="54" y="380"/>
                    </a:lnTo>
                    <a:lnTo>
                      <a:pt x="54" y="378"/>
                    </a:lnTo>
                    <a:lnTo>
                      <a:pt x="56" y="378"/>
                    </a:lnTo>
                    <a:close/>
                    <a:moveTo>
                      <a:pt x="54" y="378"/>
                    </a:moveTo>
                    <a:lnTo>
                      <a:pt x="52" y="378"/>
                    </a:lnTo>
                    <a:lnTo>
                      <a:pt x="54" y="378"/>
                    </a:lnTo>
                    <a:close/>
                    <a:moveTo>
                      <a:pt x="52" y="377"/>
                    </a:moveTo>
                    <a:lnTo>
                      <a:pt x="50" y="377"/>
                    </a:lnTo>
                    <a:lnTo>
                      <a:pt x="52" y="377"/>
                    </a:lnTo>
                    <a:close/>
                    <a:moveTo>
                      <a:pt x="374" y="453"/>
                    </a:moveTo>
                    <a:lnTo>
                      <a:pt x="374" y="455"/>
                    </a:lnTo>
                    <a:lnTo>
                      <a:pt x="374" y="453"/>
                    </a:lnTo>
                    <a:close/>
                    <a:moveTo>
                      <a:pt x="61" y="378"/>
                    </a:moveTo>
                    <a:lnTo>
                      <a:pt x="61" y="380"/>
                    </a:lnTo>
                    <a:lnTo>
                      <a:pt x="61" y="378"/>
                    </a:lnTo>
                    <a:lnTo>
                      <a:pt x="61" y="380"/>
                    </a:lnTo>
                    <a:lnTo>
                      <a:pt x="61" y="378"/>
                    </a:lnTo>
                    <a:lnTo>
                      <a:pt x="61" y="380"/>
                    </a:lnTo>
                    <a:lnTo>
                      <a:pt x="61" y="378"/>
                    </a:lnTo>
                    <a:close/>
                    <a:moveTo>
                      <a:pt x="61" y="377"/>
                    </a:moveTo>
                    <a:lnTo>
                      <a:pt x="61" y="378"/>
                    </a:lnTo>
                    <a:lnTo>
                      <a:pt x="61" y="377"/>
                    </a:lnTo>
                    <a:lnTo>
                      <a:pt x="61" y="378"/>
                    </a:lnTo>
                    <a:lnTo>
                      <a:pt x="61" y="377"/>
                    </a:lnTo>
                    <a:close/>
                    <a:moveTo>
                      <a:pt x="54" y="375"/>
                    </a:moveTo>
                    <a:lnTo>
                      <a:pt x="56" y="375"/>
                    </a:lnTo>
                    <a:lnTo>
                      <a:pt x="54" y="375"/>
                    </a:lnTo>
                    <a:lnTo>
                      <a:pt x="56" y="375"/>
                    </a:lnTo>
                    <a:lnTo>
                      <a:pt x="54" y="375"/>
                    </a:lnTo>
                    <a:lnTo>
                      <a:pt x="56" y="375"/>
                    </a:lnTo>
                    <a:lnTo>
                      <a:pt x="54" y="375"/>
                    </a:lnTo>
                    <a:lnTo>
                      <a:pt x="56" y="375"/>
                    </a:lnTo>
                    <a:lnTo>
                      <a:pt x="56" y="373"/>
                    </a:lnTo>
                    <a:lnTo>
                      <a:pt x="54" y="375"/>
                    </a:lnTo>
                    <a:close/>
                    <a:moveTo>
                      <a:pt x="61" y="375"/>
                    </a:moveTo>
                    <a:lnTo>
                      <a:pt x="61" y="377"/>
                    </a:lnTo>
                    <a:lnTo>
                      <a:pt x="61" y="375"/>
                    </a:lnTo>
                    <a:lnTo>
                      <a:pt x="61" y="377"/>
                    </a:lnTo>
                    <a:lnTo>
                      <a:pt x="61" y="375"/>
                    </a:lnTo>
                    <a:lnTo>
                      <a:pt x="61" y="377"/>
                    </a:lnTo>
                    <a:lnTo>
                      <a:pt x="61" y="375"/>
                    </a:lnTo>
                    <a:close/>
                    <a:moveTo>
                      <a:pt x="71" y="377"/>
                    </a:moveTo>
                    <a:lnTo>
                      <a:pt x="71" y="378"/>
                    </a:lnTo>
                    <a:lnTo>
                      <a:pt x="69" y="378"/>
                    </a:lnTo>
                    <a:lnTo>
                      <a:pt x="69" y="377"/>
                    </a:lnTo>
                    <a:lnTo>
                      <a:pt x="71" y="377"/>
                    </a:lnTo>
                    <a:close/>
                    <a:moveTo>
                      <a:pt x="476" y="463"/>
                    </a:moveTo>
                    <a:lnTo>
                      <a:pt x="476" y="465"/>
                    </a:lnTo>
                    <a:lnTo>
                      <a:pt x="474" y="465"/>
                    </a:lnTo>
                    <a:lnTo>
                      <a:pt x="476" y="463"/>
                    </a:lnTo>
                    <a:close/>
                    <a:moveTo>
                      <a:pt x="61" y="373"/>
                    </a:moveTo>
                    <a:lnTo>
                      <a:pt x="61" y="375"/>
                    </a:lnTo>
                    <a:lnTo>
                      <a:pt x="61" y="373"/>
                    </a:lnTo>
                    <a:lnTo>
                      <a:pt x="59" y="373"/>
                    </a:lnTo>
                    <a:lnTo>
                      <a:pt x="61" y="373"/>
                    </a:lnTo>
                    <a:close/>
                    <a:moveTo>
                      <a:pt x="57" y="373"/>
                    </a:moveTo>
                    <a:lnTo>
                      <a:pt x="56" y="373"/>
                    </a:lnTo>
                    <a:lnTo>
                      <a:pt x="57" y="373"/>
                    </a:lnTo>
                    <a:lnTo>
                      <a:pt x="57" y="371"/>
                    </a:lnTo>
                    <a:lnTo>
                      <a:pt x="57" y="373"/>
                    </a:lnTo>
                    <a:close/>
                    <a:moveTo>
                      <a:pt x="71" y="375"/>
                    </a:moveTo>
                    <a:lnTo>
                      <a:pt x="73" y="375"/>
                    </a:lnTo>
                    <a:lnTo>
                      <a:pt x="73" y="377"/>
                    </a:lnTo>
                    <a:lnTo>
                      <a:pt x="73" y="378"/>
                    </a:lnTo>
                    <a:lnTo>
                      <a:pt x="71" y="378"/>
                    </a:lnTo>
                    <a:lnTo>
                      <a:pt x="71" y="377"/>
                    </a:lnTo>
                    <a:lnTo>
                      <a:pt x="69" y="377"/>
                    </a:lnTo>
                    <a:lnTo>
                      <a:pt x="69" y="375"/>
                    </a:lnTo>
                    <a:lnTo>
                      <a:pt x="71" y="375"/>
                    </a:lnTo>
                    <a:close/>
                    <a:moveTo>
                      <a:pt x="215" y="413"/>
                    </a:moveTo>
                    <a:lnTo>
                      <a:pt x="217" y="413"/>
                    </a:lnTo>
                    <a:lnTo>
                      <a:pt x="215" y="413"/>
                    </a:lnTo>
                    <a:close/>
                    <a:moveTo>
                      <a:pt x="478" y="461"/>
                    </a:moveTo>
                    <a:lnTo>
                      <a:pt x="476" y="463"/>
                    </a:lnTo>
                    <a:lnTo>
                      <a:pt x="476" y="461"/>
                    </a:lnTo>
                    <a:lnTo>
                      <a:pt x="478" y="461"/>
                    </a:lnTo>
                    <a:close/>
                    <a:moveTo>
                      <a:pt x="61" y="371"/>
                    </a:moveTo>
                    <a:lnTo>
                      <a:pt x="59" y="371"/>
                    </a:lnTo>
                    <a:lnTo>
                      <a:pt x="61" y="371"/>
                    </a:lnTo>
                    <a:close/>
                    <a:moveTo>
                      <a:pt x="374" y="440"/>
                    </a:moveTo>
                    <a:lnTo>
                      <a:pt x="374" y="442"/>
                    </a:lnTo>
                    <a:lnTo>
                      <a:pt x="374" y="440"/>
                    </a:lnTo>
                    <a:lnTo>
                      <a:pt x="373" y="440"/>
                    </a:lnTo>
                    <a:lnTo>
                      <a:pt x="374" y="440"/>
                    </a:lnTo>
                    <a:close/>
                    <a:moveTo>
                      <a:pt x="221" y="409"/>
                    </a:moveTo>
                    <a:lnTo>
                      <a:pt x="219" y="409"/>
                    </a:lnTo>
                    <a:lnTo>
                      <a:pt x="219" y="411"/>
                    </a:lnTo>
                    <a:lnTo>
                      <a:pt x="219" y="409"/>
                    </a:lnTo>
                    <a:lnTo>
                      <a:pt x="221" y="409"/>
                    </a:lnTo>
                    <a:close/>
                    <a:moveTo>
                      <a:pt x="373" y="438"/>
                    </a:moveTo>
                    <a:lnTo>
                      <a:pt x="373" y="440"/>
                    </a:lnTo>
                    <a:lnTo>
                      <a:pt x="373" y="438"/>
                    </a:lnTo>
                    <a:lnTo>
                      <a:pt x="373" y="440"/>
                    </a:lnTo>
                    <a:lnTo>
                      <a:pt x="373" y="438"/>
                    </a:lnTo>
                    <a:close/>
                    <a:moveTo>
                      <a:pt x="81" y="371"/>
                    </a:moveTo>
                    <a:lnTo>
                      <a:pt x="81" y="369"/>
                    </a:lnTo>
                    <a:lnTo>
                      <a:pt x="81" y="371"/>
                    </a:lnTo>
                    <a:close/>
                    <a:moveTo>
                      <a:pt x="81" y="371"/>
                    </a:moveTo>
                    <a:lnTo>
                      <a:pt x="81" y="369"/>
                    </a:lnTo>
                    <a:lnTo>
                      <a:pt x="81" y="371"/>
                    </a:lnTo>
                    <a:close/>
                    <a:moveTo>
                      <a:pt x="474" y="455"/>
                    </a:moveTo>
                    <a:lnTo>
                      <a:pt x="474" y="453"/>
                    </a:lnTo>
                    <a:lnTo>
                      <a:pt x="476" y="453"/>
                    </a:lnTo>
                    <a:lnTo>
                      <a:pt x="476" y="455"/>
                    </a:lnTo>
                    <a:lnTo>
                      <a:pt x="474" y="455"/>
                    </a:lnTo>
                    <a:close/>
                    <a:moveTo>
                      <a:pt x="225" y="407"/>
                    </a:moveTo>
                    <a:lnTo>
                      <a:pt x="223" y="407"/>
                    </a:lnTo>
                    <a:lnTo>
                      <a:pt x="225" y="407"/>
                    </a:lnTo>
                    <a:lnTo>
                      <a:pt x="223" y="407"/>
                    </a:lnTo>
                    <a:lnTo>
                      <a:pt x="223" y="409"/>
                    </a:lnTo>
                    <a:lnTo>
                      <a:pt x="223" y="407"/>
                    </a:lnTo>
                    <a:lnTo>
                      <a:pt x="225" y="407"/>
                    </a:lnTo>
                    <a:close/>
                    <a:moveTo>
                      <a:pt x="373" y="438"/>
                    </a:moveTo>
                    <a:lnTo>
                      <a:pt x="373" y="436"/>
                    </a:lnTo>
                    <a:lnTo>
                      <a:pt x="373" y="438"/>
                    </a:lnTo>
                    <a:close/>
                    <a:moveTo>
                      <a:pt x="474" y="451"/>
                    </a:moveTo>
                    <a:lnTo>
                      <a:pt x="474" y="450"/>
                    </a:lnTo>
                    <a:lnTo>
                      <a:pt x="474" y="451"/>
                    </a:lnTo>
                    <a:close/>
                    <a:moveTo>
                      <a:pt x="75" y="363"/>
                    </a:moveTo>
                    <a:lnTo>
                      <a:pt x="75" y="365"/>
                    </a:lnTo>
                    <a:lnTo>
                      <a:pt x="73" y="365"/>
                    </a:lnTo>
                    <a:lnTo>
                      <a:pt x="73" y="363"/>
                    </a:lnTo>
                    <a:lnTo>
                      <a:pt x="75" y="363"/>
                    </a:lnTo>
                    <a:close/>
                    <a:moveTo>
                      <a:pt x="182" y="392"/>
                    </a:moveTo>
                    <a:lnTo>
                      <a:pt x="180" y="392"/>
                    </a:lnTo>
                    <a:lnTo>
                      <a:pt x="182" y="392"/>
                    </a:lnTo>
                    <a:lnTo>
                      <a:pt x="180" y="392"/>
                    </a:lnTo>
                    <a:lnTo>
                      <a:pt x="182" y="392"/>
                    </a:lnTo>
                    <a:close/>
                    <a:moveTo>
                      <a:pt x="202" y="398"/>
                    </a:moveTo>
                    <a:lnTo>
                      <a:pt x="202" y="396"/>
                    </a:lnTo>
                    <a:lnTo>
                      <a:pt x="202" y="398"/>
                    </a:lnTo>
                    <a:close/>
                    <a:moveTo>
                      <a:pt x="202" y="396"/>
                    </a:moveTo>
                    <a:lnTo>
                      <a:pt x="202" y="398"/>
                    </a:lnTo>
                    <a:lnTo>
                      <a:pt x="202" y="396"/>
                    </a:lnTo>
                    <a:lnTo>
                      <a:pt x="200" y="396"/>
                    </a:lnTo>
                    <a:lnTo>
                      <a:pt x="202" y="396"/>
                    </a:lnTo>
                    <a:close/>
                    <a:moveTo>
                      <a:pt x="75" y="365"/>
                    </a:moveTo>
                    <a:lnTo>
                      <a:pt x="75" y="363"/>
                    </a:lnTo>
                    <a:lnTo>
                      <a:pt x="77" y="363"/>
                    </a:lnTo>
                    <a:lnTo>
                      <a:pt x="75" y="365"/>
                    </a:lnTo>
                    <a:close/>
                    <a:moveTo>
                      <a:pt x="177" y="390"/>
                    </a:moveTo>
                    <a:lnTo>
                      <a:pt x="175" y="390"/>
                    </a:lnTo>
                    <a:lnTo>
                      <a:pt x="177" y="390"/>
                    </a:lnTo>
                    <a:close/>
                    <a:moveTo>
                      <a:pt x="81" y="365"/>
                    </a:moveTo>
                    <a:lnTo>
                      <a:pt x="81" y="363"/>
                    </a:lnTo>
                    <a:lnTo>
                      <a:pt x="81" y="365"/>
                    </a:lnTo>
                    <a:close/>
                    <a:moveTo>
                      <a:pt x="225" y="402"/>
                    </a:moveTo>
                    <a:lnTo>
                      <a:pt x="225" y="403"/>
                    </a:lnTo>
                    <a:lnTo>
                      <a:pt x="225" y="402"/>
                    </a:lnTo>
                    <a:lnTo>
                      <a:pt x="225" y="403"/>
                    </a:lnTo>
                    <a:lnTo>
                      <a:pt x="227" y="403"/>
                    </a:lnTo>
                    <a:lnTo>
                      <a:pt x="225" y="403"/>
                    </a:lnTo>
                    <a:lnTo>
                      <a:pt x="225" y="402"/>
                    </a:lnTo>
                    <a:lnTo>
                      <a:pt x="225" y="403"/>
                    </a:lnTo>
                    <a:lnTo>
                      <a:pt x="223" y="403"/>
                    </a:lnTo>
                    <a:lnTo>
                      <a:pt x="223" y="402"/>
                    </a:lnTo>
                    <a:lnTo>
                      <a:pt x="225" y="402"/>
                    </a:lnTo>
                    <a:close/>
                    <a:moveTo>
                      <a:pt x="182" y="392"/>
                    </a:moveTo>
                    <a:lnTo>
                      <a:pt x="180" y="392"/>
                    </a:lnTo>
                    <a:lnTo>
                      <a:pt x="182" y="392"/>
                    </a:lnTo>
                    <a:close/>
                    <a:moveTo>
                      <a:pt x="371" y="436"/>
                    </a:moveTo>
                    <a:lnTo>
                      <a:pt x="373" y="436"/>
                    </a:lnTo>
                    <a:lnTo>
                      <a:pt x="371" y="436"/>
                    </a:lnTo>
                    <a:lnTo>
                      <a:pt x="371" y="434"/>
                    </a:lnTo>
                    <a:lnTo>
                      <a:pt x="371" y="432"/>
                    </a:lnTo>
                    <a:lnTo>
                      <a:pt x="373" y="432"/>
                    </a:lnTo>
                    <a:lnTo>
                      <a:pt x="373" y="434"/>
                    </a:lnTo>
                    <a:lnTo>
                      <a:pt x="371" y="434"/>
                    </a:lnTo>
                    <a:lnTo>
                      <a:pt x="373" y="434"/>
                    </a:lnTo>
                    <a:lnTo>
                      <a:pt x="371" y="436"/>
                    </a:lnTo>
                    <a:close/>
                    <a:moveTo>
                      <a:pt x="227" y="402"/>
                    </a:moveTo>
                    <a:lnTo>
                      <a:pt x="225" y="402"/>
                    </a:lnTo>
                    <a:lnTo>
                      <a:pt x="227" y="402"/>
                    </a:lnTo>
                    <a:close/>
                    <a:moveTo>
                      <a:pt x="196" y="394"/>
                    </a:moveTo>
                    <a:lnTo>
                      <a:pt x="198" y="394"/>
                    </a:lnTo>
                    <a:lnTo>
                      <a:pt x="198" y="396"/>
                    </a:lnTo>
                    <a:lnTo>
                      <a:pt x="198" y="394"/>
                    </a:lnTo>
                    <a:lnTo>
                      <a:pt x="198" y="396"/>
                    </a:lnTo>
                    <a:lnTo>
                      <a:pt x="198" y="394"/>
                    </a:lnTo>
                    <a:lnTo>
                      <a:pt x="198" y="396"/>
                    </a:lnTo>
                    <a:lnTo>
                      <a:pt x="196" y="394"/>
                    </a:lnTo>
                    <a:close/>
                    <a:moveTo>
                      <a:pt x="173" y="388"/>
                    </a:moveTo>
                    <a:lnTo>
                      <a:pt x="175" y="388"/>
                    </a:lnTo>
                    <a:lnTo>
                      <a:pt x="175" y="390"/>
                    </a:lnTo>
                    <a:lnTo>
                      <a:pt x="175" y="388"/>
                    </a:lnTo>
                    <a:lnTo>
                      <a:pt x="173" y="388"/>
                    </a:lnTo>
                    <a:close/>
                    <a:moveTo>
                      <a:pt x="180" y="390"/>
                    </a:moveTo>
                    <a:lnTo>
                      <a:pt x="179" y="390"/>
                    </a:lnTo>
                    <a:lnTo>
                      <a:pt x="180" y="390"/>
                    </a:lnTo>
                    <a:lnTo>
                      <a:pt x="179" y="390"/>
                    </a:lnTo>
                    <a:lnTo>
                      <a:pt x="180" y="390"/>
                    </a:lnTo>
                    <a:close/>
                    <a:moveTo>
                      <a:pt x="192" y="392"/>
                    </a:moveTo>
                    <a:lnTo>
                      <a:pt x="190" y="392"/>
                    </a:lnTo>
                    <a:lnTo>
                      <a:pt x="188" y="392"/>
                    </a:lnTo>
                    <a:lnTo>
                      <a:pt x="188" y="394"/>
                    </a:lnTo>
                    <a:lnTo>
                      <a:pt x="188" y="392"/>
                    </a:lnTo>
                    <a:lnTo>
                      <a:pt x="186" y="392"/>
                    </a:lnTo>
                    <a:lnTo>
                      <a:pt x="188" y="392"/>
                    </a:lnTo>
                    <a:lnTo>
                      <a:pt x="190" y="392"/>
                    </a:lnTo>
                    <a:lnTo>
                      <a:pt x="192" y="392"/>
                    </a:lnTo>
                    <a:close/>
                    <a:moveTo>
                      <a:pt x="186" y="390"/>
                    </a:moveTo>
                    <a:lnTo>
                      <a:pt x="186" y="392"/>
                    </a:lnTo>
                    <a:lnTo>
                      <a:pt x="184" y="392"/>
                    </a:lnTo>
                    <a:lnTo>
                      <a:pt x="184" y="390"/>
                    </a:lnTo>
                    <a:lnTo>
                      <a:pt x="186" y="390"/>
                    </a:lnTo>
                    <a:close/>
                    <a:moveTo>
                      <a:pt x="186" y="390"/>
                    </a:moveTo>
                    <a:lnTo>
                      <a:pt x="186" y="392"/>
                    </a:lnTo>
                    <a:lnTo>
                      <a:pt x="186" y="390"/>
                    </a:lnTo>
                    <a:close/>
                    <a:moveTo>
                      <a:pt x="190" y="392"/>
                    </a:moveTo>
                    <a:lnTo>
                      <a:pt x="188" y="392"/>
                    </a:lnTo>
                    <a:lnTo>
                      <a:pt x="188" y="390"/>
                    </a:lnTo>
                    <a:lnTo>
                      <a:pt x="186" y="390"/>
                    </a:lnTo>
                    <a:lnTo>
                      <a:pt x="188" y="392"/>
                    </a:lnTo>
                    <a:lnTo>
                      <a:pt x="190" y="392"/>
                    </a:lnTo>
                    <a:close/>
                    <a:moveTo>
                      <a:pt x="77" y="359"/>
                    </a:moveTo>
                    <a:lnTo>
                      <a:pt x="75" y="359"/>
                    </a:lnTo>
                    <a:lnTo>
                      <a:pt x="77" y="359"/>
                    </a:lnTo>
                    <a:lnTo>
                      <a:pt x="77" y="361"/>
                    </a:lnTo>
                    <a:lnTo>
                      <a:pt x="75" y="361"/>
                    </a:lnTo>
                    <a:lnTo>
                      <a:pt x="75" y="363"/>
                    </a:lnTo>
                    <a:lnTo>
                      <a:pt x="73" y="363"/>
                    </a:lnTo>
                    <a:lnTo>
                      <a:pt x="75" y="363"/>
                    </a:lnTo>
                    <a:lnTo>
                      <a:pt x="75" y="361"/>
                    </a:lnTo>
                    <a:lnTo>
                      <a:pt x="75" y="359"/>
                    </a:lnTo>
                    <a:lnTo>
                      <a:pt x="77" y="359"/>
                    </a:lnTo>
                    <a:close/>
                    <a:moveTo>
                      <a:pt x="179" y="388"/>
                    </a:moveTo>
                    <a:lnTo>
                      <a:pt x="177" y="388"/>
                    </a:lnTo>
                    <a:lnTo>
                      <a:pt x="179" y="388"/>
                    </a:lnTo>
                    <a:close/>
                    <a:moveTo>
                      <a:pt x="482" y="448"/>
                    </a:moveTo>
                    <a:lnTo>
                      <a:pt x="482" y="446"/>
                    </a:lnTo>
                    <a:lnTo>
                      <a:pt x="482" y="448"/>
                    </a:lnTo>
                    <a:close/>
                    <a:moveTo>
                      <a:pt x="202" y="394"/>
                    </a:moveTo>
                    <a:lnTo>
                      <a:pt x="200" y="394"/>
                    </a:lnTo>
                    <a:lnTo>
                      <a:pt x="202" y="394"/>
                    </a:lnTo>
                    <a:close/>
                    <a:moveTo>
                      <a:pt x="175" y="386"/>
                    </a:moveTo>
                    <a:lnTo>
                      <a:pt x="175" y="388"/>
                    </a:lnTo>
                    <a:lnTo>
                      <a:pt x="175" y="386"/>
                    </a:lnTo>
                    <a:lnTo>
                      <a:pt x="175" y="388"/>
                    </a:lnTo>
                    <a:lnTo>
                      <a:pt x="175" y="386"/>
                    </a:lnTo>
                    <a:close/>
                    <a:moveTo>
                      <a:pt x="182" y="388"/>
                    </a:moveTo>
                    <a:lnTo>
                      <a:pt x="182" y="390"/>
                    </a:lnTo>
                    <a:lnTo>
                      <a:pt x="182" y="388"/>
                    </a:lnTo>
                    <a:lnTo>
                      <a:pt x="182" y="390"/>
                    </a:lnTo>
                    <a:lnTo>
                      <a:pt x="182" y="388"/>
                    </a:lnTo>
                    <a:lnTo>
                      <a:pt x="182" y="390"/>
                    </a:lnTo>
                    <a:lnTo>
                      <a:pt x="182" y="388"/>
                    </a:lnTo>
                    <a:close/>
                    <a:moveTo>
                      <a:pt x="198" y="392"/>
                    </a:moveTo>
                    <a:lnTo>
                      <a:pt x="198" y="394"/>
                    </a:lnTo>
                    <a:lnTo>
                      <a:pt x="198" y="392"/>
                    </a:lnTo>
                    <a:close/>
                    <a:moveTo>
                      <a:pt x="77" y="361"/>
                    </a:moveTo>
                    <a:lnTo>
                      <a:pt x="77" y="359"/>
                    </a:lnTo>
                    <a:lnTo>
                      <a:pt x="79" y="359"/>
                    </a:lnTo>
                    <a:lnTo>
                      <a:pt x="77" y="361"/>
                    </a:lnTo>
                    <a:close/>
                    <a:moveTo>
                      <a:pt x="196" y="392"/>
                    </a:moveTo>
                    <a:lnTo>
                      <a:pt x="194" y="392"/>
                    </a:lnTo>
                    <a:lnTo>
                      <a:pt x="196" y="392"/>
                    </a:lnTo>
                    <a:lnTo>
                      <a:pt x="194" y="392"/>
                    </a:lnTo>
                    <a:lnTo>
                      <a:pt x="196" y="392"/>
                    </a:lnTo>
                    <a:close/>
                    <a:moveTo>
                      <a:pt x="198" y="392"/>
                    </a:moveTo>
                    <a:lnTo>
                      <a:pt x="196" y="392"/>
                    </a:lnTo>
                    <a:lnTo>
                      <a:pt x="198" y="392"/>
                    </a:lnTo>
                    <a:close/>
                    <a:moveTo>
                      <a:pt x="203" y="392"/>
                    </a:moveTo>
                    <a:lnTo>
                      <a:pt x="203" y="394"/>
                    </a:lnTo>
                    <a:lnTo>
                      <a:pt x="202" y="394"/>
                    </a:lnTo>
                    <a:lnTo>
                      <a:pt x="202" y="392"/>
                    </a:lnTo>
                    <a:lnTo>
                      <a:pt x="203" y="392"/>
                    </a:lnTo>
                    <a:close/>
                    <a:moveTo>
                      <a:pt x="186" y="388"/>
                    </a:moveTo>
                    <a:lnTo>
                      <a:pt x="188" y="388"/>
                    </a:lnTo>
                    <a:lnTo>
                      <a:pt x="186" y="388"/>
                    </a:lnTo>
                    <a:lnTo>
                      <a:pt x="188" y="388"/>
                    </a:lnTo>
                    <a:lnTo>
                      <a:pt x="186" y="388"/>
                    </a:lnTo>
                    <a:close/>
                    <a:moveTo>
                      <a:pt x="203" y="392"/>
                    </a:moveTo>
                    <a:lnTo>
                      <a:pt x="203" y="394"/>
                    </a:lnTo>
                    <a:lnTo>
                      <a:pt x="203" y="392"/>
                    </a:lnTo>
                    <a:lnTo>
                      <a:pt x="203" y="394"/>
                    </a:lnTo>
                    <a:lnTo>
                      <a:pt x="203" y="392"/>
                    </a:lnTo>
                    <a:close/>
                    <a:moveTo>
                      <a:pt x="179" y="386"/>
                    </a:moveTo>
                    <a:lnTo>
                      <a:pt x="179" y="388"/>
                    </a:lnTo>
                    <a:lnTo>
                      <a:pt x="177" y="388"/>
                    </a:lnTo>
                    <a:lnTo>
                      <a:pt x="179" y="388"/>
                    </a:lnTo>
                    <a:lnTo>
                      <a:pt x="179" y="386"/>
                    </a:lnTo>
                    <a:close/>
                    <a:moveTo>
                      <a:pt x="179" y="386"/>
                    </a:moveTo>
                    <a:lnTo>
                      <a:pt x="180" y="386"/>
                    </a:lnTo>
                    <a:lnTo>
                      <a:pt x="179" y="386"/>
                    </a:lnTo>
                    <a:close/>
                    <a:moveTo>
                      <a:pt x="182" y="386"/>
                    </a:moveTo>
                    <a:lnTo>
                      <a:pt x="182" y="388"/>
                    </a:lnTo>
                    <a:lnTo>
                      <a:pt x="182" y="386"/>
                    </a:lnTo>
                    <a:close/>
                    <a:moveTo>
                      <a:pt x="374" y="427"/>
                    </a:moveTo>
                    <a:lnTo>
                      <a:pt x="374" y="428"/>
                    </a:lnTo>
                    <a:lnTo>
                      <a:pt x="374" y="427"/>
                    </a:lnTo>
                    <a:close/>
                    <a:moveTo>
                      <a:pt x="188" y="388"/>
                    </a:moveTo>
                    <a:lnTo>
                      <a:pt x="186" y="388"/>
                    </a:lnTo>
                    <a:lnTo>
                      <a:pt x="188" y="388"/>
                    </a:lnTo>
                    <a:close/>
                    <a:moveTo>
                      <a:pt x="200" y="390"/>
                    </a:moveTo>
                    <a:lnTo>
                      <a:pt x="198" y="390"/>
                    </a:lnTo>
                    <a:lnTo>
                      <a:pt x="198" y="392"/>
                    </a:lnTo>
                    <a:lnTo>
                      <a:pt x="198" y="390"/>
                    </a:lnTo>
                    <a:lnTo>
                      <a:pt x="198" y="392"/>
                    </a:lnTo>
                    <a:lnTo>
                      <a:pt x="198" y="390"/>
                    </a:lnTo>
                    <a:lnTo>
                      <a:pt x="198" y="392"/>
                    </a:lnTo>
                    <a:lnTo>
                      <a:pt x="198" y="390"/>
                    </a:lnTo>
                    <a:lnTo>
                      <a:pt x="200" y="390"/>
                    </a:lnTo>
                    <a:close/>
                    <a:moveTo>
                      <a:pt x="194" y="388"/>
                    </a:moveTo>
                    <a:lnTo>
                      <a:pt x="194" y="390"/>
                    </a:lnTo>
                    <a:lnTo>
                      <a:pt x="192" y="388"/>
                    </a:lnTo>
                    <a:lnTo>
                      <a:pt x="192" y="390"/>
                    </a:lnTo>
                    <a:lnTo>
                      <a:pt x="194" y="390"/>
                    </a:lnTo>
                    <a:lnTo>
                      <a:pt x="192" y="390"/>
                    </a:lnTo>
                    <a:lnTo>
                      <a:pt x="192" y="388"/>
                    </a:lnTo>
                    <a:lnTo>
                      <a:pt x="194" y="388"/>
                    </a:lnTo>
                    <a:close/>
                    <a:moveTo>
                      <a:pt x="200" y="390"/>
                    </a:moveTo>
                    <a:lnTo>
                      <a:pt x="200" y="392"/>
                    </a:lnTo>
                    <a:lnTo>
                      <a:pt x="200" y="390"/>
                    </a:lnTo>
                    <a:close/>
                    <a:moveTo>
                      <a:pt x="203" y="392"/>
                    </a:moveTo>
                    <a:lnTo>
                      <a:pt x="205" y="392"/>
                    </a:lnTo>
                    <a:lnTo>
                      <a:pt x="203" y="392"/>
                    </a:lnTo>
                    <a:close/>
                    <a:moveTo>
                      <a:pt x="202" y="390"/>
                    </a:moveTo>
                    <a:lnTo>
                      <a:pt x="202" y="392"/>
                    </a:lnTo>
                    <a:lnTo>
                      <a:pt x="202" y="390"/>
                    </a:lnTo>
                    <a:lnTo>
                      <a:pt x="202" y="392"/>
                    </a:lnTo>
                    <a:lnTo>
                      <a:pt x="202" y="390"/>
                    </a:lnTo>
                    <a:lnTo>
                      <a:pt x="202" y="392"/>
                    </a:lnTo>
                    <a:lnTo>
                      <a:pt x="202" y="390"/>
                    </a:lnTo>
                    <a:close/>
                    <a:moveTo>
                      <a:pt x="194" y="388"/>
                    </a:moveTo>
                    <a:lnTo>
                      <a:pt x="194" y="390"/>
                    </a:lnTo>
                    <a:lnTo>
                      <a:pt x="194" y="388"/>
                    </a:lnTo>
                    <a:lnTo>
                      <a:pt x="194" y="390"/>
                    </a:lnTo>
                    <a:lnTo>
                      <a:pt x="194" y="388"/>
                    </a:lnTo>
                    <a:close/>
                    <a:moveTo>
                      <a:pt x="184" y="386"/>
                    </a:moveTo>
                    <a:lnTo>
                      <a:pt x="184" y="388"/>
                    </a:lnTo>
                    <a:lnTo>
                      <a:pt x="184" y="386"/>
                    </a:lnTo>
                    <a:lnTo>
                      <a:pt x="184" y="388"/>
                    </a:lnTo>
                    <a:lnTo>
                      <a:pt x="184" y="386"/>
                    </a:lnTo>
                    <a:close/>
                    <a:moveTo>
                      <a:pt x="480" y="444"/>
                    </a:moveTo>
                    <a:lnTo>
                      <a:pt x="480" y="442"/>
                    </a:lnTo>
                    <a:lnTo>
                      <a:pt x="480" y="444"/>
                    </a:lnTo>
                    <a:close/>
                    <a:moveTo>
                      <a:pt x="200" y="390"/>
                    </a:moveTo>
                    <a:lnTo>
                      <a:pt x="202" y="390"/>
                    </a:lnTo>
                    <a:lnTo>
                      <a:pt x="200" y="390"/>
                    </a:lnTo>
                    <a:close/>
                    <a:moveTo>
                      <a:pt x="203" y="390"/>
                    </a:moveTo>
                    <a:lnTo>
                      <a:pt x="203" y="392"/>
                    </a:lnTo>
                    <a:lnTo>
                      <a:pt x="205" y="392"/>
                    </a:lnTo>
                    <a:lnTo>
                      <a:pt x="203" y="392"/>
                    </a:lnTo>
                    <a:lnTo>
                      <a:pt x="205" y="392"/>
                    </a:lnTo>
                    <a:lnTo>
                      <a:pt x="203" y="392"/>
                    </a:lnTo>
                    <a:lnTo>
                      <a:pt x="202" y="392"/>
                    </a:lnTo>
                    <a:lnTo>
                      <a:pt x="202" y="390"/>
                    </a:lnTo>
                    <a:lnTo>
                      <a:pt x="203" y="392"/>
                    </a:lnTo>
                    <a:lnTo>
                      <a:pt x="203" y="390"/>
                    </a:lnTo>
                    <a:lnTo>
                      <a:pt x="203" y="392"/>
                    </a:lnTo>
                    <a:lnTo>
                      <a:pt x="203" y="390"/>
                    </a:lnTo>
                    <a:lnTo>
                      <a:pt x="202" y="390"/>
                    </a:lnTo>
                    <a:lnTo>
                      <a:pt x="203" y="390"/>
                    </a:lnTo>
                    <a:lnTo>
                      <a:pt x="202" y="390"/>
                    </a:lnTo>
                    <a:lnTo>
                      <a:pt x="202" y="392"/>
                    </a:lnTo>
                    <a:lnTo>
                      <a:pt x="203" y="392"/>
                    </a:lnTo>
                    <a:lnTo>
                      <a:pt x="202" y="392"/>
                    </a:lnTo>
                    <a:lnTo>
                      <a:pt x="202" y="390"/>
                    </a:lnTo>
                    <a:lnTo>
                      <a:pt x="202" y="392"/>
                    </a:lnTo>
                    <a:lnTo>
                      <a:pt x="202" y="390"/>
                    </a:lnTo>
                    <a:lnTo>
                      <a:pt x="203" y="390"/>
                    </a:lnTo>
                    <a:close/>
                    <a:moveTo>
                      <a:pt x="200" y="390"/>
                    </a:moveTo>
                    <a:lnTo>
                      <a:pt x="200" y="388"/>
                    </a:lnTo>
                    <a:lnTo>
                      <a:pt x="200" y="390"/>
                    </a:lnTo>
                    <a:lnTo>
                      <a:pt x="200" y="388"/>
                    </a:lnTo>
                    <a:lnTo>
                      <a:pt x="200" y="390"/>
                    </a:lnTo>
                    <a:close/>
                    <a:moveTo>
                      <a:pt x="374" y="425"/>
                    </a:moveTo>
                    <a:lnTo>
                      <a:pt x="374" y="427"/>
                    </a:lnTo>
                    <a:lnTo>
                      <a:pt x="374" y="425"/>
                    </a:lnTo>
                    <a:close/>
                    <a:moveTo>
                      <a:pt x="171" y="380"/>
                    </a:moveTo>
                    <a:lnTo>
                      <a:pt x="171" y="382"/>
                    </a:lnTo>
                    <a:lnTo>
                      <a:pt x="171" y="380"/>
                    </a:lnTo>
                    <a:lnTo>
                      <a:pt x="171" y="382"/>
                    </a:lnTo>
                    <a:lnTo>
                      <a:pt x="171" y="380"/>
                    </a:lnTo>
                    <a:close/>
                    <a:moveTo>
                      <a:pt x="163" y="378"/>
                    </a:moveTo>
                    <a:lnTo>
                      <a:pt x="165" y="378"/>
                    </a:lnTo>
                    <a:lnTo>
                      <a:pt x="163" y="378"/>
                    </a:lnTo>
                    <a:close/>
                    <a:moveTo>
                      <a:pt x="82" y="355"/>
                    </a:moveTo>
                    <a:lnTo>
                      <a:pt x="82" y="357"/>
                    </a:lnTo>
                    <a:lnTo>
                      <a:pt x="81" y="357"/>
                    </a:lnTo>
                    <a:lnTo>
                      <a:pt x="81" y="359"/>
                    </a:lnTo>
                    <a:lnTo>
                      <a:pt x="81" y="361"/>
                    </a:lnTo>
                    <a:lnTo>
                      <a:pt x="79" y="361"/>
                    </a:lnTo>
                    <a:lnTo>
                      <a:pt x="79" y="359"/>
                    </a:lnTo>
                    <a:lnTo>
                      <a:pt x="81" y="359"/>
                    </a:lnTo>
                    <a:lnTo>
                      <a:pt x="81" y="357"/>
                    </a:lnTo>
                    <a:lnTo>
                      <a:pt x="82" y="355"/>
                    </a:lnTo>
                    <a:close/>
                    <a:moveTo>
                      <a:pt x="173" y="380"/>
                    </a:moveTo>
                    <a:lnTo>
                      <a:pt x="173" y="382"/>
                    </a:lnTo>
                    <a:lnTo>
                      <a:pt x="173" y="380"/>
                    </a:lnTo>
                    <a:lnTo>
                      <a:pt x="171" y="380"/>
                    </a:lnTo>
                    <a:lnTo>
                      <a:pt x="173" y="380"/>
                    </a:lnTo>
                    <a:close/>
                    <a:moveTo>
                      <a:pt x="207" y="390"/>
                    </a:moveTo>
                    <a:lnTo>
                      <a:pt x="207" y="388"/>
                    </a:lnTo>
                    <a:lnTo>
                      <a:pt x="207" y="390"/>
                    </a:lnTo>
                    <a:close/>
                    <a:moveTo>
                      <a:pt x="482" y="442"/>
                    </a:moveTo>
                    <a:lnTo>
                      <a:pt x="482" y="440"/>
                    </a:lnTo>
                    <a:lnTo>
                      <a:pt x="482" y="442"/>
                    </a:lnTo>
                    <a:close/>
                    <a:moveTo>
                      <a:pt x="175" y="380"/>
                    </a:moveTo>
                    <a:lnTo>
                      <a:pt x="177" y="380"/>
                    </a:lnTo>
                    <a:lnTo>
                      <a:pt x="177" y="382"/>
                    </a:lnTo>
                    <a:lnTo>
                      <a:pt x="175" y="380"/>
                    </a:lnTo>
                    <a:close/>
                    <a:moveTo>
                      <a:pt x="163" y="377"/>
                    </a:moveTo>
                    <a:lnTo>
                      <a:pt x="163" y="378"/>
                    </a:lnTo>
                    <a:lnTo>
                      <a:pt x="163" y="377"/>
                    </a:lnTo>
                    <a:close/>
                    <a:moveTo>
                      <a:pt x="374" y="425"/>
                    </a:moveTo>
                    <a:lnTo>
                      <a:pt x="374" y="423"/>
                    </a:lnTo>
                    <a:lnTo>
                      <a:pt x="374" y="425"/>
                    </a:lnTo>
                    <a:close/>
                    <a:moveTo>
                      <a:pt x="171" y="380"/>
                    </a:moveTo>
                    <a:lnTo>
                      <a:pt x="171" y="378"/>
                    </a:lnTo>
                    <a:lnTo>
                      <a:pt x="171" y="380"/>
                    </a:lnTo>
                    <a:close/>
                    <a:moveTo>
                      <a:pt x="186" y="382"/>
                    </a:moveTo>
                    <a:lnTo>
                      <a:pt x="184" y="382"/>
                    </a:lnTo>
                    <a:lnTo>
                      <a:pt x="186" y="382"/>
                    </a:lnTo>
                    <a:close/>
                    <a:moveTo>
                      <a:pt x="198" y="384"/>
                    </a:moveTo>
                    <a:lnTo>
                      <a:pt x="198" y="386"/>
                    </a:lnTo>
                    <a:lnTo>
                      <a:pt x="198" y="384"/>
                    </a:lnTo>
                    <a:lnTo>
                      <a:pt x="198" y="386"/>
                    </a:lnTo>
                    <a:lnTo>
                      <a:pt x="198" y="384"/>
                    </a:lnTo>
                    <a:close/>
                    <a:moveTo>
                      <a:pt x="184" y="380"/>
                    </a:moveTo>
                    <a:lnTo>
                      <a:pt x="184" y="382"/>
                    </a:lnTo>
                    <a:lnTo>
                      <a:pt x="184" y="380"/>
                    </a:lnTo>
                    <a:close/>
                    <a:moveTo>
                      <a:pt x="127" y="365"/>
                    </a:moveTo>
                    <a:lnTo>
                      <a:pt x="127" y="367"/>
                    </a:lnTo>
                    <a:lnTo>
                      <a:pt x="127" y="365"/>
                    </a:lnTo>
                    <a:lnTo>
                      <a:pt x="127" y="367"/>
                    </a:lnTo>
                    <a:lnTo>
                      <a:pt x="125" y="367"/>
                    </a:lnTo>
                    <a:lnTo>
                      <a:pt x="125" y="365"/>
                    </a:lnTo>
                    <a:lnTo>
                      <a:pt x="127" y="365"/>
                    </a:lnTo>
                    <a:close/>
                    <a:moveTo>
                      <a:pt x="374" y="423"/>
                    </a:moveTo>
                    <a:lnTo>
                      <a:pt x="374" y="425"/>
                    </a:lnTo>
                    <a:lnTo>
                      <a:pt x="374" y="423"/>
                    </a:lnTo>
                    <a:lnTo>
                      <a:pt x="374" y="421"/>
                    </a:lnTo>
                    <a:lnTo>
                      <a:pt x="374" y="423"/>
                    </a:lnTo>
                    <a:close/>
                    <a:moveTo>
                      <a:pt x="202" y="384"/>
                    </a:moveTo>
                    <a:lnTo>
                      <a:pt x="202" y="386"/>
                    </a:lnTo>
                    <a:lnTo>
                      <a:pt x="200" y="386"/>
                    </a:lnTo>
                    <a:lnTo>
                      <a:pt x="200" y="384"/>
                    </a:lnTo>
                    <a:lnTo>
                      <a:pt x="200" y="386"/>
                    </a:lnTo>
                    <a:lnTo>
                      <a:pt x="200" y="384"/>
                    </a:lnTo>
                    <a:lnTo>
                      <a:pt x="202" y="384"/>
                    </a:lnTo>
                    <a:close/>
                    <a:moveTo>
                      <a:pt x="203" y="386"/>
                    </a:moveTo>
                    <a:lnTo>
                      <a:pt x="202" y="386"/>
                    </a:lnTo>
                    <a:lnTo>
                      <a:pt x="203" y="386"/>
                    </a:lnTo>
                    <a:lnTo>
                      <a:pt x="203" y="384"/>
                    </a:lnTo>
                    <a:lnTo>
                      <a:pt x="203" y="386"/>
                    </a:lnTo>
                    <a:close/>
                    <a:moveTo>
                      <a:pt x="84" y="353"/>
                    </a:moveTo>
                    <a:lnTo>
                      <a:pt x="84" y="352"/>
                    </a:lnTo>
                    <a:lnTo>
                      <a:pt x="84" y="353"/>
                    </a:lnTo>
                    <a:close/>
                    <a:moveTo>
                      <a:pt x="84" y="353"/>
                    </a:moveTo>
                    <a:lnTo>
                      <a:pt x="86" y="352"/>
                    </a:lnTo>
                    <a:lnTo>
                      <a:pt x="86" y="353"/>
                    </a:lnTo>
                    <a:lnTo>
                      <a:pt x="84" y="353"/>
                    </a:lnTo>
                    <a:close/>
                    <a:moveTo>
                      <a:pt x="86" y="353"/>
                    </a:moveTo>
                    <a:lnTo>
                      <a:pt x="86" y="352"/>
                    </a:lnTo>
                    <a:lnTo>
                      <a:pt x="86" y="353"/>
                    </a:lnTo>
                    <a:close/>
                    <a:moveTo>
                      <a:pt x="157" y="373"/>
                    </a:moveTo>
                    <a:lnTo>
                      <a:pt x="155" y="373"/>
                    </a:lnTo>
                    <a:lnTo>
                      <a:pt x="157" y="373"/>
                    </a:lnTo>
                    <a:close/>
                    <a:moveTo>
                      <a:pt x="155" y="373"/>
                    </a:moveTo>
                    <a:lnTo>
                      <a:pt x="154" y="373"/>
                    </a:lnTo>
                    <a:lnTo>
                      <a:pt x="154" y="371"/>
                    </a:lnTo>
                    <a:lnTo>
                      <a:pt x="154" y="373"/>
                    </a:lnTo>
                    <a:lnTo>
                      <a:pt x="154" y="371"/>
                    </a:lnTo>
                    <a:lnTo>
                      <a:pt x="154" y="373"/>
                    </a:lnTo>
                    <a:lnTo>
                      <a:pt x="155" y="371"/>
                    </a:lnTo>
                    <a:lnTo>
                      <a:pt x="155" y="373"/>
                    </a:lnTo>
                    <a:close/>
                    <a:moveTo>
                      <a:pt x="121" y="363"/>
                    </a:moveTo>
                    <a:lnTo>
                      <a:pt x="121" y="361"/>
                    </a:lnTo>
                    <a:lnTo>
                      <a:pt x="121" y="363"/>
                    </a:lnTo>
                    <a:close/>
                    <a:moveTo>
                      <a:pt x="200" y="382"/>
                    </a:moveTo>
                    <a:lnTo>
                      <a:pt x="200" y="384"/>
                    </a:lnTo>
                    <a:lnTo>
                      <a:pt x="200" y="382"/>
                    </a:lnTo>
                    <a:lnTo>
                      <a:pt x="200" y="384"/>
                    </a:lnTo>
                    <a:lnTo>
                      <a:pt x="198" y="384"/>
                    </a:lnTo>
                    <a:lnTo>
                      <a:pt x="200" y="384"/>
                    </a:lnTo>
                    <a:lnTo>
                      <a:pt x="198" y="384"/>
                    </a:lnTo>
                    <a:lnTo>
                      <a:pt x="200" y="384"/>
                    </a:lnTo>
                    <a:lnTo>
                      <a:pt x="198" y="384"/>
                    </a:lnTo>
                    <a:lnTo>
                      <a:pt x="198" y="382"/>
                    </a:lnTo>
                    <a:lnTo>
                      <a:pt x="200" y="382"/>
                    </a:lnTo>
                    <a:close/>
                    <a:moveTo>
                      <a:pt x="100" y="355"/>
                    </a:moveTo>
                    <a:lnTo>
                      <a:pt x="102" y="357"/>
                    </a:lnTo>
                    <a:lnTo>
                      <a:pt x="100" y="357"/>
                    </a:lnTo>
                    <a:lnTo>
                      <a:pt x="98" y="355"/>
                    </a:lnTo>
                    <a:lnTo>
                      <a:pt x="100" y="355"/>
                    </a:lnTo>
                    <a:close/>
                    <a:moveTo>
                      <a:pt x="202" y="382"/>
                    </a:moveTo>
                    <a:lnTo>
                      <a:pt x="202" y="384"/>
                    </a:lnTo>
                    <a:lnTo>
                      <a:pt x="200" y="382"/>
                    </a:lnTo>
                    <a:lnTo>
                      <a:pt x="202" y="382"/>
                    </a:lnTo>
                    <a:lnTo>
                      <a:pt x="202" y="384"/>
                    </a:lnTo>
                    <a:lnTo>
                      <a:pt x="202" y="382"/>
                    </a:lnTo>
                    <a:close/>
                    <a:moveTo>
                      <a:pt x="202" y="384"/>
                    </a:moveTo>
                    <a:lnTo>
                      <a:pt x="203" y="384"/>
                    </a:lnTo>
                    <a:lnTo>
                      <a:pt x="202" y="384"/>
                    </a:lnTo>
                    <a:lnTo>
                      <a:pt x="202" y="382"/>
                    </a:lnTo>
                    <a:lnTo>
                      <a:pt x="202" y="384"/>
                    </a:lnTo>
                    <a:close/>
                    <a:moveTo>
                      <a:pt x="121" y="363"/>
                    </a:moveTo>
                    <a:lnTo>
                      <a:pt x="121" y="365"/>
                    </a:lnTo>
                    <a:lnTo>
                      <a:pt x="119" y="363"/>
                    </a:lnTo>
                    <a:lnTo>
                      <a:pt x="119" y="361"/>
                    </a:lnTo>
                    <a:lnTo>
                      <a:pt x="121" y="361"/>
                    </a:lnTo>
                    <a:lnTo>
                      <a:pt x="121" y="363"/>
                    </a:lnTo>
                    <a:close/>
                    <a:moveTo>
                      <a:pt x="86" y="352"/>
                    </a:moveTo>
                    <a:lnTo>
                      <a:pt x="86" y="353"/>
                    </a:lnTo>
                    <a:lnTo>
                      <a:pt x="86" y="352"/>
                    </a:lnTo>
                    <a:close/>
                    <a:moveTo>
                      <a:pt x="84" y="352"/>
                    </a:moveTo>
                    <a:lnTo>
                      <a:pt x="86" y="352"/>
                    </a:lnTo>
                    <a:lnTo>
                      <a:pt x="84" y="352"/>
                    </a:lnTo>
                    <a:close/>
                    <a:moveTo>
                      <a:pt x="165" y="373"/>
                    </a:moveTo>
                    <a:lnTo>
                      <a:pt x="165" y="375"/>
                    </a:lnTo>
                    <a:lnTo>
                      <a:pt x="165" y="373"/>
                    </a:lnTo>
                    <a:lnTo>
                      <a:pt x="163" y="373"/>
                    </a:lnTo>
                    <a:lnTo>
                      <a:pt x="165" y="373"/>
                    </a:lnTo>
                    <a:close/>
                    <a:moveTo>
                      <a:pt x="203" y="382"/>
                    </a:moveTo>
                    <a:lnTo>
                      <a:pt x="205" y="382"/>
                    </a:lnTo>
                    <a:lnTo>
                      <a:pt x="205" y="384"/>
                    </a:lnTo>
                    <a:lnTo>
                      <a:pt x="203" y="384"/>
                    </a:lnTo>
                    <a:lnTo>
                      <a:pt x="205" y="384"/>
                    </a:lnTo>
                    <a:lnTo>
                      <a:pt x="203" y="384"/>
                    </a:lnTo>
                    <a:lnTo>
                      <a:pt x="203" y="382"/>
                    </a:lnTo>
                    <a:close/>
                    <a:moveTo>
                      <a:pt x="202" y="382"/>
                    </a:moveTo>
                    <a:lnTo>
                      <a:pt x="200" y="382"/>
                    </a:lnTo>
                    <a:lnTo>
                      <a:pt x="202" y="382"/>
                    </a:lnTo>
                    <a:close/>
                    <a:moveTo>
                      <a:pt x="205" y="382"/>
                    </a:moveTo>
                    <a:lnTo>
                      <a:pt x="203" y="382"/>
                    </a:lnTo>
                    <a:lnTo>
                      <a:pt x="205" y="382"/>
                    </a:lnTo>
                    <a:close/>
                    <a:moveTo>
                      <a:pt x="200" y="380"/>
                    </a:moveTo>
                    <a:lnTo>
                      <a:pt x="200" y="382"/>
                    </a:lnTo>
                    <a:lnTo>
                      <a:pt x="202" y="382"/>
                    </a:lnTo>
                    <a:lnTo>
                      <a:pt x="200" y="382"/>
                    </a:lnTo>
                    <a:lnTo>
                      <a:pt x="198" y="382"/>
                    </a:lnTo>
                    <a:lnTo>
                      <a:pt x="198" y="380"/>
                    </a:lnTo>
                    <a:lnTo>
                      <a:pt x="200" y="380"/>
                    </a:lnTo>
                    <a:close/>
                    <a:moveTo>
                      <a:pt x="207" y="382"/>
                    </a:moveTo>
                    <a:lnTo>
                      <a:pt x="207" y="384"/>
                    </a:lnTo>
                    <a:lnTo>
                      <a:pt x="207" y="382"/>
                    </a:lnTo>
                    <a:lnTo>
                      <a:pt x="207" y="384"/>
                    </a:lnTo>
                    <a:lnTo>
                      <a:pt x="207" y="382"/>
                    </a:lnTo>
                    <a:lnTo>
                      <a:pt x="207" y="384"/>
                    </a:lnTo>
                    <a:lnTo>
                      <a:pt x="205" y="384"/>
                    </a:lnTo>
                    <a:lnTo>
                      <a:pt x="205" y="382"/>
                    </a:lnTo>
                    <a:lnTo>
                      <a:pt x="205" y="384"/>
                    </a:lnTo>
                    <a:lnTo>
                      <a:pt x="205" y="382"/>
                    </a:lnTo>
                    <a:lnTo>
                      <a:pt x="205" y="384"/>
                    </a:lnTo>
                    <a:lnTo>
                      <a:pt x="205" y="382"/>
                    </a:lnTo>
                    <a:lnTo>
                      <a:pt x="207" y="382"/>
                    </a:lnTo>
                    <a:close/>
                    <a:moveTo>
                      <a:pt x="159" y="369"/>
                    </a:moveTo>
                    <a:lnTo>
                      <a:pt x="157" y="371"/>
                    </a:lnTo>
                    <a:lnTo>
                      <a:pt x="159" y="371"/>
                    </a:lnTo>
                    <a:lnTo>
                      <a:pt x="157" y="371"/>
                    </a:lnTo>
                    <a:lnTo>
                      <a:pt x="159" y="371"/>
                    </a:lnTo>
                    <a:lnTo>
                      <a:pt x="157" y="369"/>
                    </a:lnTo>
                    <a:lnTo>
                      <a:pt x="159" y="369"/>
                    </a:lnTo>
                    <a:close/>
                    <a:moveTo>
                      <a:pt x="205" y="380"/>
                    </a:moveTo>
                    <a:lnTo>
                      <a:pt x="205" y="382"/>
                    </a:lnTo>
                    <a:lnTo>
                      <a:pt x="203" y="382"/>
                    </a:lnTo>
                    <a:lnTo>
                      <a:pt x="205" y="382"/>
                    </a:lnTo>
                    <a:lnTo>
                      <a:pt x="203" y="382"/>
                    </a:lnTo>
                    <a:lnTo>
                      <a:pt x="203" y="380"/>
                    </a:lnTo>
                    <a:lnTo>
                      <a:pt x="205" y="380"/>
                    </a:lnTo>
                    <a:close/>
                    <a:moveTo>
                      <a:pt x="175" y="375"/>
                    </a:moveTo>
                    <a:lnTo>
                      <a:pt x="177" y="375"/>
                    </a:lnTo>
                    <a:lnTo>
                      <a:pt x="175" y="375"/>
                    </a:lnTo>
                    <a:close/>
                    <a:moveTo>
                      <a:pt x="180" y="375"/>
                    </a:moveTo>
                    <a:lnTo>
                      <a:pt x="179" y="375"/>
                    </a:lnTo>
                    <a:lnTo>
                      <a:pt x="180" y="377"/>
                    </a:lnTo>
                    <a:lnTo>
                      <a:pt x="180" y="378"/>
                    </a:lnTo>
                    <a:lnTo>
                      <a:pt x="180" y="377"/>
                    </a:lnTo>
                    <a:lnTo>
                      <a:pt x="180" y="378"/>
                    </a:lnTo>
                    <a:lnTo>
                      <a:pt x="179" y="377"/>
                    </a:lnTo>
                    <a:lnTo>
                      <a:pt x="179" y="375"/>
                    </a:lnTo>
                    <a:lnTo>
                      <a:pt x="180" y="375"/>
                    </a:lnTo>
                    <a:close/>
                    <a:moveTo>
                      <a:pt x="373" y="417"/>
                    </a:moveTo>
                    <a:lnTo>
                      <a:pt x="371" y="417"/>
                    </a:lnTo>
                    <a:lnTo>
                      <a:pt x="371" y="415"/>
                    </a:lnTo>
                    <a:lnTo>
                      <a:pt x="373" y="415"/>
                    </a:lnTo>
                    <a:lnTo>
                      <a:pt x="373" y="417"/>
                    </a:lnTo>
                    <a:close/>
                    <a:moveTo>
                      <a:pt x="373" y="417"/>
                    </a:moveTo>
                    <a:lnTo>
                      <a:pt x="373" y="415"/>
                    </a:lnTo>
                    <a:lnTo>
                      <a:pt x="373" y="417"/>
                    </a:lnTo>
                    <a:close/>
                    <a:moveTo>
                      <a:pt x="161" y="369"/>
                    </a:moveTo>
                    <a:lnTo>
                      <a:pt x="161" y="371"/>
                    </a:lnTo>
                    <a:lnTo>
                      <a:pt x="161" y="369"/>
                    </a:lnTo>
                    <a:close/>
                    <a:moveTo>
                      <a:pt x="163" y="369"/>
                    </a:moveTo>
                    <a:lnTo>
                      <a:pt x="163" y="371"/>
                    </a:lnTo>
                    <a:lnTo>
                      <a:pt x="161" y="369"/>
                    </a:lnTo>
                    <a:lnTo>
                      <a:pt x="163" y="369"/>
                    </a:lnTo>
                    <a:close/>
                    <a:moveTo>
                      <a:pt x="94" y="352"/>
                    </a:moveTo>
                    <a:lnTo>
                      <a:pt x="94" y="350"/>
                    </a:lnTo>
                    <a:lnTo>
                      <a:pt x="92" y="350"/>
                    </a:lnTo>
                    <a:lnTo>
                      <a:pt x="94" y="350"/>
                    </a:lnTo>
                    <a:lnTo>
                      <a:pt x="94" y="352"/>
                    </a:lnTo>
                    <a:close/>
                    <a:moveTo>
                      <a:pt x="161" y="369"/>
                    </a:moveTo>
                    <a:lnTo>
                      <a:pt x="159" y="369"/>
                    </a:lnTo>
                    <a:lnTo>
                      <a:pt x="161" y="369"/>
                    </a:lnTo>
                    <a:close/>
                    <a:moveTo>
                      <a:pt x="173" y="371"/>
                    </a:moveTo>
                    <a:lnTo>
                      <a:pt x="173" y="373"/>
                    </a:lnTo>
                    <a:lnTo>
                      <a:pt x="173" y="371"/>
                    </a:lnTo>
                    <a:close/>
                    <a:moveTo>
                      <a:pt x="180" y="373"/>
                    </a:moveTo>
                    <a:lnTo>
                      <a:pt x="180" y="375"/>
                    </a:lnTo>
                    <a:lnTo>
                      <a:pt x="179" y="375"/>
                    </a:lnTo>
                    <a:lnTo>
                      <a:pt x="179" y="373"/>
                    </a:lnTo>
                    <a:lnTo>
                      <a:pt x="179" y="375"/>
                    </a:lnTo>
                    <a:lnTo>
                      <a:pt x="179" y="373"/>
                    </a:lnTo>
                    <a:lnTo>
                      <a:pt x="179" y="375"/>
                    </a:lnTo>
                    <a:lnTo>
                      <a:pt x="179" y="373"/>
                    </a:lnTo>
                    <a:lnTo>
                      <a:pt x="179" y="375"/>
                    </a:lnTo>
                    <a:lnTo>
                      <a:pt x="179" y="373"/>
                    </a:lnTo>
                    <a:lnTo>
                      <a:pt x="180" y="373"/>
                    </a:lnTo>
                    <a:close/>
                    <a:moveTo>
                      <a:pt x="159" y="367"/>
                    </a:moveTo>
                    <a:lnTo>
                      <a:pt x="159" y="369"/>
                    </a:lnTo>
                    <a:lnTo>
                      <a:pt x="159" y="367"/>
                    </a:lnTo>
                    <a:close/>
                    <a:moveTo>
                      <a:pt x="161" y="367"/>
                    </a:moveTo>
                    <a:lnTo>
                      <a:pt x="161" y="369"/>
                    </a:lnTo>
                    <a:lnTo>
                      <a:pt x="161" y="367"/>
                    </a:lnTo>
                    <a:close/>
                    <a:moveTo>
                      <a:pt x="182" y="373"/>
                    </a:moveTo>
                    <a:lnTo>
                      <a:pt x="180" y="373"/>
                    </a:lnTo>
                    <a:lnTo>
                      <a:pt x="182" y="373"/>
                    </a:lnTo>
                    <a:close/>
                    <a:moveTo>
                      <a:pt x="159" y="367"/>
                    </a:moveTo>
                    <a:lnTo>
                      <a:pt x="161" y="367"/>
                    </a:lnTo>
                    <a:lnTo>
                      <a:pt x="159" y="367"/>
                    </a:lnTo>
                    <a:close/>
                    <a:moveTo>
                      <a:pt x="371" y="413"/>
                    </a:moveTo>
                    <a:lnTo>
                      <a:pt x="373" y="413"/>
                    </a:lnTo>
                    <a:lnTo>
                      <a:pt x="371" y="413"/>
                    </a:lnTo>
                    <a:close/>
                    <a:moveTo>
                      <a:pt x="92" y="348"/>
                    </a:moveTo>
                    <a:lnTo>
                      <a:pt x="90" y="348"/>
                    </a:lnTo>
                    <a:lnTo>
                      <a:pt x="88" y="348"/>
                    </a:lnTo>
                    <a:lnTo>
                      <a:pt x="88" y="346"/>
                    </a:lnTo>
                    <a:lnTo>
                      <a:pt x="90" y="346"/>
                    </a:lnTo>
                    <a:lnTo>
                      <a:pt x="90" y="348"/>
                    </a:lnTo>
                    <a:lnTo>
                      <a:pt x="92" y="348"/>
                    </a:lnTo>
                    <a:close/>
                    <a:moveTo>
                      <a:pt x="198" y="377"/>
                    </a:moveTo>
                    <a:lnTo>
                      <a:pt x="196" y="375"/>
                    </a:lnTo>
                    <a:lnTo>
                      <a:pt x="198" y="375"/>
                    </a:lnTo>
                    <a:lnTo>
                      <a:pt x="198" y="377"/>
                    </a:lnTo>
                    <a:close/>
                    <a:moveTo>
                      <a:pt x="184" y="373"/>
                    </a:moveTo>
                    <a:lnTo>
                      <a:pt x="182" y="373"/>
                    </a:lnTo>
                    <a:lnTo>
                      <a:pt x="184" y="373"/>
                    </a:lnTo>
                    <a:close/>
                    <a:moveTo>
                      <a:pt x="111" y="353"/>
                    </a:moveTo>
                    <a:lnTo>
                      <a:pt x="109" y="352"/>
                    </a:lnTo>
                    <a:lnTo>
                      <a:pt x="111" y="352"/>
                    </a:lnTo>
                    <a:lnTo>
                      <a:pt x="111" y="353"/>
                    </a:lnTo>
                    <a:close/>
                    <a:moveTo>
                      <a:pt x="177" y="371"/>
                    </a:moveTo>
                    <a:lnTo>
                      <a:pt x="177" y="369"/>
                    </a:lnTo>
                    <a:lnTo>
                      <a:pt x="177" y="371"/>
                    </a:lnTo>
                    <a:close/>
                    <a:moveTo>
                      <a:pt x="194" y="375"/>
                    </a:moveTo>
                    <a:lnTo>
                      <a:pt x="194" y="373"/>
                    </a:lnTo>
                    <a:lnTo>
                      <a:pt x="194" y="375"/>
                    </a:lnTo>
                    <a:close/>
                    <a:moveTo>
                      <a:pt x="482" y="428"/>
                    </a:moveTo>
                    <a:lnTo>
                      <a:pt x="482" y="427"/>
                    </a:lnTo>
                    <a:lnTo>
                      <a:pt x="480" y="427"/>
                    </a:lnTo>
                    <a:lnTo>
                      <a:pt x="482" y="427"/>
                    </a:lnTo>
                    <a:lnTo>
                      <a:pt x="482" y="428"/>
                    </a:lnTo>
                    <a:close/>
                    <a:moveTo>
                      <a:pt x="154" y="363"/>
                    </a:moveTo>
                    <a:lnTo>
                      <a:pt x="154" y="361"/>
                    </a:lnTo>
                    <a:lnTo>
                      <a:pt x="154" y="363"/>
                    </a:lnTo>
                    <a:lnTo>
                      <a:pt x="154" y="361"/>
                    </a:lnTo>
                    <a:lnTo>
                      <a:pt x="154" y="363"/>
                    </a:lnTo>
                    <a:close/>
                    <a:moveTo>
                      <a:pt x="159" y="365"/>
                    </a:moveTo>
                    <a:lnTo>
                      <a:pt x="159" y="367"/>
                    </a:lnTo>
                    <a:lnTo>
                      <a:pt x="159" y="365"/>
                    </a:lnTo>
                    <a:lnTo>
                      <a:pt x="159" y="367"/>
                    </a:lnTo>
                    <a:lnTo>
                      <a:pt x="159" y="365"/>
                    </a:lnTo>
                    <a:lnTo>
                      <a:pt x="159" y="363"/>
                    </a:lnTo>
                    <a:lnTo>
                      <a:pt x="159" y="365"/>
                    </a:lnTo>
                    <a:close/>
                    <a:moveTo>
                      <a:pt x="211" y="377"/>
                    </a:moveTo>
                    <a:lnTo>
                      <a:pt x="209" y="377"/>
                    </a:lnTo>
                    <a:lnTo>
                      <a:pt x="211" y="377"/>
                    </a:lnTo>
                    <a:close/>
                    <a:moveTo>
                      <a:pt x="157" y="363"/>
                    </a:moveTo>
                    <a:lnTo>
                      <a:pt x="157" y="361"/>
                    </a:lnTo>
                    <a:lnTo>
                      <a:pt x="157" y="363"/>
                    </a:lnTo>
                    <a:close/>
                    <a:moveTo>
                      <a:pt x="179" y="367"/>
                    </a:moveTo>
                    <a:lnTo>
                      <a:pt x="177" y="367"/>
                    </a:lnTo>
                    <a:lnTo>
                      <a:pt x="179" y="367"/>
                    </a:lnTo>
                    <a:close/>
                    <a:moveTo>
                      <a:pt x="478" y="427"/>
                    </a:moveTo>
                    <a:lnTo>
                      <a:pt x="478" y="425"/>
                    </a:lnTo>
                    <a:lnTo>
                      <a:pt x="478" y="427"/>
                    </a:lnTo>
                    <a:close/>
                    <a:moveTo>
                      <a:pt x="196" y="371"/>
                    </a:moveTo>
                    <a:lnTo>
                      <a:pt x="198" y="373"/>
                    </a:lnTo>
                    <a:lnTo>
                      <a:pt x="200" y="373"/>
                    </a:lnTo>
                    <a:lnTo>
                      <a:pt x="200" y="375"/>
                    </a:lnTo>
                    <a:lnTo>
                      <a:pt x="202" y="375"/>
                    </a:lnTo>
                    <a:lnTo>
                      <a:pt x="202" y="377"/>
                    </a:lnTo>
                    <a:lnTo>
                      <a:pt x="203" y="377"/>
                    </a:lnTo>
                    <a:lnTo>
                      <a:pt x="203" y="378"/>
                    </a:lnTo>
                    <a:lnTo>
                      <a:pt x="205" y="378"/>
                    </a:lnTo>
                    <a:lnTo>
                      <a:pt x="205" y="380"/>
                    </a:lnTo>
                    <a:lnTo>
                      <a:pt x="205" y="378"/>
                    </a:lnTo>
                    <a:lnTo>
                      <a:pt x="205" y="380"/>
                    </a:lnTo>
                    <a:lnTo>
                      <a:pt x="205" y="378"/>
                    </a:lnTo>
                    <a:lnTo>
                      <a:pt x="205" y="380"/>
                    </a:lnTo>
                    <a:lnTo>
                      <a:pt x="203" y="380"/>
                    </a:lnTo>
                    <a:lnTo>
                      <a:pt x="205" y="380"/>
                    </a:lnTo>
                    <a:lnTo>
                      <a:pt x="203" y="380"/>
                    </a:lnTo>
                    <a:lnTo>
                      <a:pt x="205" y="380"/>
                    </a:lnTo>
                    <a:lnTo>
                      <a:pt x="205" y="382"/>
                    </a:lnTo>
                    <a:lnTo>
                      <a:pt x="205" y="380"/>
                    </a:lnTo>
                    <a:lnTo>
                      <a:pt x="203" y="380"/>
                    </a:lnTo>
                    <a:lnTo>
                      <a:pt x="203" y="382"/>
                    </a:lnTo>
                    <a:lnTo>
                      <a:pt x="203" y="380"/>
                    </a:lnTo>
                    <a:lnTo>
                      <a:pt x="203" y="382"/>
                    </a:lnTo>
                    <a:lnTo>
                      <a:pt x="203" y="380"/>
                    </a:lnTo>
                    <a:lnTo>
                      <a:pt x="203" y="382"/>
                    </a:lnTo>
                    <a:lnTo>
                      <a:pt x="202" y="380"/>
                    </a:lnTo>
                    <a:lnTo>
                      <a:pt x="200" y="380"/>
                    </a:lnTo>
                    <a:lnTo>
                      <a:pt x="200" y="378"/>
                    </a:lnTo>
                    <a:lnTo>
                      <a:pt x="200" y="380"/>
                    </a:lnTo>
                    <a:lnTo>
                      <a:pt x="200" y="378"/>
                    </a:lnTo>
                    <a:lnTo>
                      <a:pt x="200" y="377"/>
                    </a:lnTo>
                    <a:lnTo>
                      <a:pt x="198" y="377"/>
                    </a:lnTo>
                    <a:lnTo>
                      <a:pt x="198" y="375"/>
                    </a:lnTo>
                    <a:lnTo>
                      <a:pt x="196" y="375"/>
                    </a:lnTo>
                    <a:lnTo>
                      <a:pt x="194" y="375"/>
                    </a:lnTo>
                    <a:lnTo>
                      <a:pt x="194" y="373"/>
                    </a:lnTo>
                    <a:lnTo>
                      <a:pt x="192" y="373"/>
                    </a:lnTo>
                    <a:lnTo>
                      <a:pt x="192" y="371"/>
                    </a:lnTo>
                    <a:lnTo>
                      <a:pt x="194" y="371"/>
                    </a:lnTo>
                    <a:lnTo>
                      <a:pt x="196" y="371"/>
                    </a:lnTo>
                    <a:close/>
                    <a:moveTo>
                      <a:pt x="192" y="371"/>
                    </a:moveTo>
                    <a:lnTo>
                      <a:pt x="190" y="371"/>
                    </a:lnTo>
                    <a:lnTo>
                      <a:pt x="192" y="371"/>
                    </a:lnTo>
                    <a:lnTo>
                      <a:pt x="192" y="369"/>
                    </a:lnTo>
                    <a:lnTo>
                      <a:pt x="192" y="371"/>
                    </a:lnTo>
                    <a:lnTo>
                      <a:pt x="190" y="371"/>
                    </a:lnTo>
                    <a:lnTo>
                      <a:pt x="188" y="371"/>
                    </a:lnTo>
                    <a:lnTo>
                      <a:pt x="190" y="371"/>
                    </a:lnTo>
                    <a:lnTo>
                      <a:pt x="190" y="369"/>
                    </a:lnTo>
                    <a:lnTo>
                      <a:pt x="190" y="371"/>
                    </a:lnTo>
                    <a:lnTo>
                      <a:pt x="190" y="369"/>
                    </a:lnTo>
                    <a:lnTo>
                      <a:pt x="192" y="369"/>
                    </a:lnTo>
                    <a:lnTo>
                      <a:pt x="192" y="371"/>
                    </a:lnTo>
                    <a:close/>
                    <a:moveTo>
                      <a:pt x="190" y="369"/>
                    </a:moveTo>
                    <a:lnTo>
                      <a:pt x="188" y="371"/>
                    </a:lnTo>
                    <a:lnTo>
                      <a:pt x="188" y="369"/>
                    </a:lnTo>
                    <a:lnTo>
                      <a:pt x="190" y="369"/>
                    </a:lnTo>
                    <a:close/>
                    <a:moveTo>
                      <a:pt x="163" y="361"/>
                    </a:moveTo>
                    <a:lnTo>
                      <a:pt x="163" y="363"/>
                    </a:lnTo>
                    <a:lnTo>
                      <a:pt x="163" y="361"/>
                    </a:lnTo>
                    <a:lnTo>
                      <a:pt x="165" y="361"/>
                    </a:lnTo>
                    <a:lnTo>
                      <a:pt x="163" y="361"/>
                    </a:lnTo>
                    <a:close/>
                    <a:moveTo>
                      <a:pt x="159" y="361"/>
                    </a:moveTo>
                    <a:lnTo>
                      <a:pt x="161" y="361"/>
                    </a:lnTo>
                    <a:lnTo>
                      <a:pt x="159" y="361"/>
                    </a:lnTo>
                    <a:close/>
                    <a:moveTo>
                      <a:pt x="184" y="367"/>
                    </a:moveTo>
                    <a:lnTo>
                      <a:pt x="184" y="369"/>
                    </a:lnTo>
                    <a:lnTo>
                      <a:pt x="184" y="367"/>
                    </a:lnTo>
                    <a:lnTo>
                      <a:pt x="184" y="369"/>
                    </a:lnTo>
                    <a:lnTo>
                      <a:pt x="182" y="369"/>
                    </a:lnTo>
                    <a:lnTo>
                      <a:pt x="182" y="367"/>
                    </a:lnTo>
                    <a:lnTo>
                      <a:pt x="180" y="367"/>
                    </a:lnTo>
                    <a:lnTo>
                      <a:pt x="182" y="367"/>
                    </a:lnTo>
                    <a:lnTo>
                      <a:pt x="184" y="367"/>
                    </a:lnTo>
                    <a:close/>
                    <a:moveTo>
                      <a:pt x="186" y="367"/>
                    </a:moveTo>
                    <a:lnTo>
                      <a:pt x="188" y="367"/>
                    </a:lnTo>
                    <a:lnTo>
                      <a:pt x="188" y="369"/>
                    </a:lnTo>
                    <a:lnTo>
                      <a:pt x="186" y="369"/>
                    </a:lnTo>
                    <a:lnTo>
                      <a:pt x="188" y="369"/>
                    </a:lnTo>
                    <a:lnTo>
                      <a:pt x="186" y="369"/>
                    </a:lnTo>
                    <a:lnTo>
                      <a:pt x="184" y="367"/>
                    </a:lnTo>
                    <a:lnTo>
                      <a:pt x="186" y="367"/>
                    </a:lnTo>
                    <a:lnTo>
                      <a:pt x="184" y="367"/>
                    </a:lnTo>
                    <a:lnTo>
                      <a:pt x="186" y="367"/>
                    </a:lnTo>
                    <a:close/>
                    <a:moveTo>
                      <a:pt x="125" y="352"/>
                    </a:moveTo>
                    <a:lnTo>
                      <a:pt x="125" y="350"/>
                    </a:lnTo>
                    <a:lnTo>
                      <a:pt x="127" y="350"/>
                    </a:lnTo>
                    <a:lnTo>
                      <a:pt x="125" y="350"/>
                    </a:lnTo>
                    <a:lnTo>
                      <a:pt x="125" y="352"/>
                    </a:lnTo>
                    <a:close/>
                    <a:moveTo>
                      <a:pt x="177" y="365"/>
                    </a:moveTo>
                    <a:lnTo>
                      <a:pt x="175" y="363"/>
                    </a:lnTo>
                    <a:lnTo>
                      <a:pt x="177" y="365"/>
                    </a:lnTo>
                    <a:close/>
                    <a:moveTo>
                      <a:pt x="169" y="363"/>
                    </a:moveTo>
                    <a:lnTo>
                      <a:pt x="169" y="361"/>
                    </a:lnTo>
                    <a:lnTo>
                      <a:pt x="169" y="363"/>
                    </a:lnTo>
                    <a:close/>
                    <a:moveTo>
                      <a:pt x="215" y="373"/>
                    </a:moveTo>
                    <a:lnTo>
                      <a:pt x="215" y="375"/>
                    </a:lnTo>
                    <a:lnTo>
                      <a:pt x="213" y="375"/>
                    </a:lnTo>
                    <a:lnTo>
                      <a:pt x="213" y="373"/>
                    </a:lnTo>
                    <a:lnTo>
                      <a:pt x="215" y="373"/>
                    </a:lnTo>
                    <a:close/>
                    <a:moveTo>
                      <a:pt x="215" y="373"/>
                    </a:moveTo>
                    <a:lnTo>
                      <a:pt x="215" y="375"/>
                    </a:lnTo>
                    <a:lnTo>
                      <a:pt x="215" y="373"/>
                    </a:lnTo>
                    <a:close/>
                    <a:moveTo>
                      <a:pt x="171" y="363"/>
                    </a:moveTo>
                    <a:lnTo>
                      <a:pt x="173" y="363"/>
                    </a:lnTo>
                    <a:lnTo>
                      <a:pt x="175" y="365"/>
                    </a:lnTo>
                    <a:lnTo>
                      <a:pt x="173" y="365"/>
                    </a:lnTo>
                    <a:lnTo>
                      <a:pt x="175" y="365"/>
                    </a:lnTo>
                    <a:lnTo>
                      <a:pt x="175" y="367"/>
                    </a:lnTo>
                    <a:lnTo>
                      <a:pt x="177" y="367"/>
                    </a:lnTo>
                    <a:lnTo>
                      <a:pt x="175" y="367"/>
                    </a:lnTo>
                    <a:lnTo>
                      <a:pt x="177" y="367"/>
                    </a:lnTo>
                    <a:lnTo>
                      <a:pt x="177" y="369"/>
                    </a:lnTo>
                    <a:lnTo>
                      <a:pt x="175" y="369"/>
                    </a:lnTo>
                    <a:lnTo>
                      <a:pt x="175" y="367"/>
                    </a:lnTo>
                    <a:lnTo>
                      <a:pt x="177" y="367"/>
                    </a:lnTo>
                    <a:lnTo>
                      <a:pt x="175" y="367"/>
                    </a:lnTo>
                    <a:lnTo>
                      <a:pt x="173" y="367"/>
                    </a:lnTo>
                    <a:lnTo>
                      <a:pt x="171" y="365"/>
                    </a:lnTo>
                    <a:lnTo>
                      <a:pt x="171" y="363"/>
                    </a:lnTo>
                    <a:lnTo>
                      <a:pt x="169" y="363"/>
                    </a:lnTo>
                    <a:lnTo>
                      <a:pt x="171" y="363"/>
                    </a:lnTo>
                    <a:lnTo>
                      <a:pt x="171" y="361"/>
                    </a:lnTo>
                    <a:lnTo>
                      <a:pt x="171" y="363"/>
                    </a:lnTo>
                    <a:close/>
                    <a:moveTo>
                      <a:pt x="154" y="357"/>
                    </a:moveTo>
                    <a:lnTo>
                      <a:pt x="152" y="357"/>
                    </a:lnTo>
                    <a:lnTo>
                      <a:pt x="154" y="357"/>
                    </a:lnTo>
                    <a:close/>
                    <a:moveTo>
                      <a:pt x="213" y="373"/>
                    </a:moveTo>
                    <a:lnTo>
                      <a:pt x="215" y="373"/>
                    </a:lnTo>
                    <a:lnTo>
                      <a:pt x="213" y="373"/>
                    </a:lnTo>
                    <a:close/>
                    <a:moveTo>
                      <a:pt x="148" y="355"/>
                    </a:moveTo>
                    <a:lnTo>
                      <a:pt x="146" y="355"/>
                    </a:lnTo>
                    <a:lnTo>
                      <a:pt x="148" y="355"/>
                    </a:lnTo>
                    <a:close/>
                    <a:moveTo>
                      <a:pt x="134" y="352"/>
                    </a:moveTo>
                    <a:lnTo>
                      <a:pt x="132" y="352"/>
                    </a:lnTo>
                    <a:lnTo>
                      <a:pt x="134" y="352"/>
                    </a:lnTo>
                    <a:close/>
                    <a:moveTo>
                      <a:pt x="136" y="352"/>
                    </a:moveTo>
                    <a:lnTo>
                      <a:pt x="136" y="353"/>
                    </a:lnTo>
                    <a:lnTo>
                      <a:pt x="134" y="352"/>
                    </a:lnTo>
                    <a:lnTo>
                      <a:pt x="136" y="352"/>
                    </a:lnTo>
                    <a:close/>
                    <a:moveTo>
                      <a:pt x="175" y="361"/>
                    </a:moveTo>
                    <a:lnTo>
                      <a:pt x="173" y="361"/>
                    </a:lnTo>
                    <a:lnTo>
                      <a:pt x="175" y="361"/>
                    </a:lnTo>
                    <a:close/>
                    <a:moveTo>
                      <a:pt x="157" y="357"/>
                    </a:moveTo>
                    <a:lnTo>
                      <a:pt x="159" y="357"/>
                    </a:lnTo>
                    <a:lnTo>
                      <a:pt x="157" y="359"/>
                    </a:lnTo>
                    <a:lnTo>
                      <a:pt x="157" y="357"/>
                    </a:lnTo>
                    <a:lnTo>
                      <a:pt x="157" y="359"/>
                    </a:lnTo>
                    <a:lnTo>
                      <a:pt x="159" y="359"/>
                    </a:lnTo>
                    <a:lnTo>
                      <a:pt x="159" y="361"/>
                    </a:lnTo>
                    <a:lnTo>
                      <a:pt x="157" y="361"/>
                    </a:lnTo>
                    <a:lnTo>
                      <a:pt x="159" y="361"/>
                    </a:lnTo>
                    <a:lnTo>
                      <a:pt x="157" y="361"/>
                    </a:lnTo>
                    <a:lnTo>
                      <a:pt x="159" y="361"/>
                    </a:lnTo>
                    <a:lnTo>
                      <a:pt x="157" y="361"/>
                    </a:lnTo>
                    <a:lnTo>
                      <a:pt x="159" y="361"/>
                    </a:lnTo>
                    <a:lnTo>
                      <a:pt x="157" y="361"/>
                    </a:lnTo>
                    <a:lnTo>
                      <a:pt x="155" y="361"/>
                    </a:lnTo>
                    <a:lnTo>
                      <a:pt x="155" y="359"/>
                    </a:lnTo>
                    <a:lnTo>
                      <a:pt x="155" y="357"/>
                    </a:lnTo>
                    <a:lnTo>
                      <a:pt x="157" y="357"/>
                    </a:lnTo>
                    <a:close/>
                    <a:moveTo>
                      <a:pt x="165" y="359"/>
                    </a:moveTo>
                    <a:lnTo>
                      <a:pt x="167" y="359"/>
                    </a:lnTo>
                    <a:lnTo>
                      <a:pt x="167" y="361"/>
                    </a:lnTo>
                    <a:lnTo>
                      <a:pt x="165" y="359"/>
                    </a:lnTo>
                    <a:lnTo>
                      <a:pt x="163" y="359"/>
                    </a:lnTo>
                    <a:lnTo>
                      <a:pt x="165" y="359"/>
                    </a:lnTo>
                    <a:close/>
                    <a:moveTo>
                      <a:pt x="198" y="367"/>
                    </a:moveTo>
                    <a:lnTo>
                      <a:pt x="200" y="367"/>
                    </a:lnTo>
                    <a:lnTo>
                      <a:pt x="198" y="367"/>
                    </a:lnTo>
                    <a:lnTo>
                      <a:pt x="198" y="369"/>
                    </a:lnTo>
                    <a:lnTo>
                      <a:pt x="196" y="369"/>
                    </a:lnTo>
                    <a:lnTo>
                      <a:pt x="196" y="367"/>
                    </a:lnTo>
                    <a:lnTo>
                      <a:pt x="198" y="367"/>
                    </a:lnTo>
                    <a:close/>
                    <a:moveTo>
                      <a:pt x="169" y="361"/>
                    </a:moveTo>
                    <a:lnTo>
                      <a:pt x="167" y="361"/>
                    </a:lnTo>
                    <a:lnTo>
                      <a:pt x="167" y="359"/>
                    </a:lnTo>
                    <a:lnTo>
                      <a:pt x="169" y="359"/>
                    </a:lnTo>
                    <a:lnTo>
                      <a:pt x="169" y="361"/>
                    </a:lnTo>
                    <a:close/>
                    <a:moveTo>
                      <a:pt x="155" y="355"/>
                    </a:moveTo>
                    <a:lnTo>
                      <a:pt x="154" y="355"/>
                    </a:lnTo>
                    <a:lnTo>
                      <a:pt x="155" y="355"/>
                    </a:lnTo>
                    <a:close/>
                    <a:moveTo>
                      <a:pt x="152" y="355"/>
                    </a:moveTo>
                    <a:lnTo>
                      <a:pt x="154" y="355"/>
                    </a:lnTo>
                    <a:lnTo>
                      <a:pt x="152" y="355"/>
                    </a:lnTo>
                    <a:close/>
                    <a:moveTo>
                      <a:pt x="129" y="348"/>
                    </a:moveTo>
                    <a:lnTo>
                      <a:pt x="130" y="348"/>
                    </a:lnTo>
                    <a:lnTo>
                      <a:pt x="129" y="348"/>
                    </a:lnTo>
                    <a:close/>
                    <a:moveTo>
                      <a:pt x="213" y="371"/>
                    </a:moveTo>
                    <a:lnTo>
                      <a:pt x="215" y="371"/>
                    </a:lnTo>
                    <a:lnTo>
                      <a:pt x="213" y="371"/>
                    </a:lnTo>
                    <a:lnTo>
                      <a:pt x="213" y="373"/>
                    </a:lnTo>
                    <a:lnTo>
                      <a:pt x="213" y="371"/>
                    </a:lnTo>
                    <a:close/>
                    <a:moveTo>
                      <a:pt x="213" y="369"/>
                    </a:moveTo>
                    <a:lnTo>
                      <a:pt x="215" y="369"/>
                    </a:lnTo>
                    <a:lnTo>
                      <a:pt x="213" y="369"/>
                    </a:lnTo>
                    <a:close/>
                    <a:moveTo>
                      <a:pt x="213" y="369"/>
                    </a:moveTo>
                    <a:lnTo>
                      <a:pt x="215" y="369"/>
                    </a:lnTo>
                    <a:lnTo>
                      <a:pt x="213" y="369"/>
                    </a:lnTo>
                    <a:lnTo>
                      <a:pt x="213" y="367"/>
                    </a:lnTo>
                    <a:lnTo>
                      <a:pt x="213" y="369"/>
                    </a:lnTo>
                    <a:close/>
                    <a:moveTo>
                      <a:pt x="474" y="417"/>
                    </a:moveTo>
                    <a:lnTo>
                      <a:pt x="476" y="419"/>
                    </a:lnTo>
                    <a:lnTo>
                      <a:pt x="474" y="419"/>
                    </a:lnTo>
                    <a:lnTo>
                      <a:pt x="474" y="417"/>
                    </a:lnTo>
                    <a:close/>
                    <a:moveTo>
                      <a:pt x="155" y="353"/>
                    </a:moveTo>
                    <a:lnTo>
                      <a:pt x="157" y="355"/>
                    </a:lnTo>
                    <a:lnTo>
                      <a:pt x="159" y="355"/>
                    </a:lnTo>
                    <a:lnTo>
                      <a:pt x="161" y="355"/>
                    </a:lnTo>
                    <a:lnTo>
                      <a:pt x="163" y="355"/>
                    </a:lnTo>
                    <a:lnTo>
                      <a:pt x="163" y="357"/>
                    </a:lnTo>
                    <a:lnTo>
                      <a:pt x="163" y="355"/>
                    </a:lnTo>
                    <a:lnTo>
                      <a:pt x="165" y="357"/>
                    </a:lnTo>
                    <a:lnTo>
                      <a:pt x="167" y="359"/>
                    </a:lnTo>
                    <a:lnTo>
                      <a:pt x="165" y="359"/>
                    </a:lnTo>
                    <a:lnTo>
                      <a:pt x="163" y="357"/>
                    </a:lnTo>
                    <a:lnTo>
                      <a:pt x="161" y="357"/>
                    </a:lnTo>
                    <a:lnTo>
                      <a:pt x="159" y="357"/>
                    </a:lnTo>
                    <a:lnTo>
                      <a:pt x="157" y="357"/>
                    </a:lnTo>
                    <a:lnTo>
                      <a:pt x="157" y="355"/>
                    </a:lnTo>
                    <a:lnTo>
                      <a:pt x="155" y="355"/>
                    </a:lnTo>
                    <a:lnTo>
                      <a:pt x="154" y="355"/>
                    </a:lnTo>
                    <a:lnTo>
                      <a:pt x="152" y="355"/>
                    </a:lnTo>
                    <a:lnTo>
                      <a:pt x="154" y="355"/>
                    </a:lnTo>
                    <a:lnTo>
                      <a:pt x="154" y="353"/>
                    </a:lnTo>
                    <a:lnTo>
                      <a:pt x="152" y="353"/>
                    </a:lnTo>
                    <a:lnTo>
                      <a:pt x="154" y="353"/>
                    </a:lnTo>
                    <a:lnTo>
                      <a:pt x="154" y="352"/>
                    </a:lnTo>
                    <a:lnTo>
                      <a:pt x="155" y="353"/>
                    </a:lnTo>
                    <a:close/>
                    <a:moveTo>
                      <a:pt x="215" y="369"/>
                    </a:moveTo>
                    <a:lnTo>
                      <a:pt x="217" y="369"/>
                    </a:lnTo>
                    <a:lnTo>
                      <a:pt x="215" y="369"/>
                    </a:lnTo>
                    <a:close/>
                    <a:moveTo>
                      <a:pt x="215" y="369"/>
                    </a:moveTo>
                    <a:lnTo>
                      <a:pt x="215" y="367"/>
                    </a:lnTo>
                    <a:lnTo>
                      <a:pt x="215" y="369"/>
                    </a:lnTo>
                    <a:close/>
                    <a:moveTo>
                      <a:pt x="213" y="367"/>
                    </a:moveTo>
                    <a:lnTo>
                      <a:pt x="211" y="367"/>
                    </a:lnTo>
                    <a:lnTo>
                      <a:pt x="213" y="367"/>
                    </a:lnTo>
                    <a:close/>
                    <a:moveTo>
                      <a:pt x="215" y="367"/>
                    </a:moveTo>
                    <a:lnTo>
                      <a:pt x="213" y="367"/>
                    </a:lnTo>
                    <a:lnTo>
                      <a:pt x="215" y="367"/>
                    </a:lnTo>
                    <a:close/>
                    <a:moveTo>
                      <a:pt x="213" y="367"/>
                    </a:moveTo>
                    <a:lnTo>
                      <a:pt x="215" y="367"/>
                    </a:lnTo>
                    <a:lnTo>
                      <a:pt x="215" y="369"/>
                    </a:lnTo>
                    <a:lnTo>
                      <a:pt x="215" y="367"/>
                    </a:lnTo>
                    <a:lnTo>
                      <a:pt x="215" y="369"/>
                    </a:lnTo>
                    <a:lnTo>
                      <a:pt x="213" y="367"/>
                    </a:lnTo>
                    <a:lnTo>
                      <a:pt x="213" y="365"/>
                    </a:lnTo>
                    <a:lnTo>
                      <a:pt x="213" y="367"/>
                    </a:lnTo>
                    <a:close/>
                    <a:moveTo>
                      <a:pt x="374" y="400"/>
                    </a:moveTo>
                    <a:lnTo>
                      <a:pt x="373" y="400"/>
                    </a:lnTo>
                    <a:lnTo>
                      <a:pt x="374" y="400"/>
                    </a:lnTo>
                    <a:close/>
                    <a:moveTo>
                      <a:pt x="219" y="367"/>
                    </a:moveTo>
                    <a:lnTo>
                      <a:pt x="221" y="367"/>
                    </a:lnTo>
                    <a:lnTo>
                      <a:pt x="219" y="367"/>
                    </a:lnTo>
                    <a:lnTo>
                      <a:pt x="221" y="367"/>
                    </a:lnTo>
                    <a:lnTo>
                      <a:pt x="219" y="369"/>
                    </a:lnTo>
                    <a:lnTo>
                      <a:pt x="219" y="367"/>
                    </a:lnTo>
                    <a:close/>
                    <a:moveTo>
                      <a:pt x="474" y="415"/>
                    </a:moveTo>
                    <a:lnTo>
                      <a:pt x="474" y="417"/>
                    </a:lnTo>
                    <a:lnTo>
                      <a:pt x="474" y="415"/>
                    </a:lnTo>
                    <a:lnTo>
                      <a:pt x="474" y="417"/>
                    </a:lnTo>
                    <a:lnTo>
                      <a:pt x="474" y="415"/>
                    </a:lnTo>
                    <a:lnTo>
                      <a:pt x="472" y="415"/>
                    </a:lnTo>
                    <a:lnTo>
                      <a:pt x="474" y="415"/>
                    </a:lnTo>
                    <a:close/>
                    <a:moveTo>
                      <a:pt x="211" y="365"/>
                    </a:moveTo>
                    <a:lnTo>
                      <a:pt x="213" y="365"/>
                    </a:lnTo>
                    <a:lnTo>
                      <a:pt x="211" y="365"/>
                    </a:lnTo>
                    <a:lnTo>
                      <a:pt x="213" y="365"/>
                    </a:lnTo>
                    <a:lnTo>
                      <a:pt x="213" y="367"/>
                    </a:lnTo>
                    <a:lnTo>
                      <a:pt x="211" y="367"/>
                    </a:lnTo>
                    <a:lnTo>
                      <a:pt x="209" y="367"/>
                    </a:lnTo>
                    <a:lnTo>
                      <a:pt x="209" y="365"/>
                    </a:lnTo>
                    <a:lnTo>
                      <a:pt x="211" y="365"/>
                    </a:lnTo>
                    <a:close/>
                    <a:moveTo>
                      <a:pt x="376" y="400"/>
                    </a:moveTo>
                    <a:lnTo>
                      <a:pt x="374" y="400"/>
                    </a:lnTo>
                    <a:lnTo>
                      <a:pt x="376" y="400"/>
                    </a:lnTo>
                    <a:lnTo>
                      <a:pt x="374" y="400"/>
                    </a:lnTo>
                    <a:lnTo>
                      <a:pt x="376" y="400"/>
                    </a:lnTo>
                    <a:close/>
                    <a:moveTo>
                      <a:pt x="155" y="350"/>
                    </a:moveTo>
                    <a:lnTo>
                      <a:pt x="157" y="350"/>
                    </a:lnTo>
                    <a:lnTo>
                      <a:pt x="155" y="350"/>
                    </a:lnTo>
                    <a:close/>
                    <a:moveTo>
                      <a:pt x="219" y="365"/>
                    </a:moveTo>
                    <a:lnTo>
                      <a:pt x="219" y="367"/>
                    </a:lnTo>
                    <a:lnTo>
                      <a:pt x="217" y="367"/>
                    </a:lnTo>
                    <a:lnTo>
                      <a:pt x="217" y="365"/>
                    </a:lnTo>
                    <a:lnTo>
                      <a:pt x="217" y="367"/>
                    </a:lnTo>
                    <a:lnTo>
                      <a:pt x="217" y="365"/>
                    </a:lnTo>
                    <a:lnTo>
                      <a:pt x="219" y="365"/>
                    </a:lnTo>
                    <a:close/>
                    <a:moveTo>
                      <a:pt x="376" y="400"/>
                    </a:moveTo>
                    <a:lnTo>
                      <a:pt x="376" y="398"/>
                    </a:lnTo>
                    <a:lnTo>
                      <a:pt x="376" y="400"/>
                    </a:lnTo>
                    <a:close/>
                    <a:moveTo>
                      <a:pt x="457" y="409"/>
                    </a:moveTo>
                    <a:lnTo>
                      <a:pt x="457" y="411"/>
                    </a:lnTo>
                    <a:lnTo>
                      <a:pt x="457" y="409"/>
                    </a:lnTo>
                    <a:close/>
                    <a:moveTo>
                      <a:pt x="465" y="407"/>
                    </a:moveTo>
                    <a:lnTo>
                      <a:pt x="463" y="407"/>
                    </a:lnTo>
                    <a:lnTo>
                      <a:pt x="465" y="407"/>
                    </a:lnTo>
                    <a:lnTo>
                      <a:pt x="463" y="407"/>
                    </a:lnTo>
                    <a:lnTo>
                      <a:pt x="465" y="407"/>
                    </a:lnTo>
                    <a:close/>
                    <a:moveTo>
                      <a:pt x="382" y="396"/>
                    </a:moveTo>
                    <a:lnTo>
                      <a:pt x="380" y="396"/>
                    </a:lnTo>
                    <a:lnTo>
                      <a:pt x="382" y="396"/>
                    </a:lnTo>
                    <a:lnTo>
                      <a:pt x="382" y="394"/>
                    </a:lnTo>
                    <a:lnTo>
                      <a:pt x="382" y="396"/>
                    </a:lnTo>
                    <a:close/>
                    <a:moveTo>
                      <a:pt x="465" y="407"/>
                    </a:moveTo>
                    <a:lnTo>
                      <a:pt x="463" y="407"/>
                    </a:lnTo>
                    <a:lnTo>
                      <a:pt x="465" y="407"/>
                    </a:lnTo>
                    <a:close/>
                    <a:moveTo>
                      <a:pt x="451" y="405"/>
                    </a:moveTo>
                    <a:lnTo>
                      <a:pt x="451" y="403"/>
                    </a:lnTo>
                    <a:lnTo>
                      <a:pt x="451" y="405"/>
                    </a:lnTo>
                    <a:close/>
                    <a:moveTo>
                      <a:pt x="451" y="405"/>
                    </a:moveTo>
                    <a:lnTo>
                      <a:pt x="451" y="403"/>
                    </a:lnTo>
                    <a:lnTo>
                      <a:pt x="451" y="405"/>
                    </a:lnTo>
                    <a:close/>
                    <a:moveTo>
                      <a:pt x="438" y="402"/>
                    </a:moveTo>
                    <a:lnTo>
                      <a:pt x="440" y="402"/>
                    </a:lnTo>
                    <a:lnTo>
                      <a:pt x="438" y="402"/>
                    </a:lnTo>
                    <a:lnTo>
                      <a:pt x="438" y="403"/>
                    </a:lnTo>
                    <a:lnTo>
                      <a:pt x="438" y="402"/>
                    </a:lnTo>
                    <a:lnTo>
                      <a:pt x="438" y="403"/>
                    </a:lnTo>
                    <a:lnTo>
                      <a:pt x="438" y="402"/>
                    </a:lnTo>
                    <a:lnTo>
                      <a:pt x="438" y="403"/>
                    </a:lnTo>
                    <a:lnTo>
                      <a:pt x="438" y="402"/>
                    </a:lnTo>
                    <a:close/>
                    <a:moveTo>
                      <a:pt x="230" y="359"/>
                    </a:moveTo>
                    <a:lnTo>
                      <a:pt x="228" y="359"/>
                    </a:lnTo>
                    <a:lnTo>
                      <a:pt x="230" y="359"/>
                    </a:lnTo>
                    <a:close/>
                    <a:moveTo>
                      <a:pt x="380" y="388"/>
                    </a:moveTo>
                    <a:lnTo>
                      <a:pt x="380" y="390"/>
                    </a:lnTo>
                    <a:lnTo>
                      <a:pt x="382" y="390"/>
                    </a:lnTo>
                    <a:lnTo>
                      <a:pt x="380" y="390"/>
                    </a:lnTo>
                    <a:lnTo>
                      <a:pt x="380" y="388"/>
                    </a:lnTo>
                    <a:close/>
                    <a:moveTo>
                      <a:pt x="432" y="398"/>
                    </a:moveTo>
                    <a:lnTo>
                      <a:pt x="434" y="398"/>
                    </a:lnTo>
                    <a:lnTo>
                      <a:pt x="432" y="398"/>
                    </a:lnTo>
                    <a:lnTo>
                      <a:pt x="434" y="398"/>
                    </a:lnTo>
                    <a:lnTo>
                      <a:pt x="432" y="398"/>
                    </a:lnTo>
                    <a:lnTo>
                      <a:pt x="434" y="398"/>
                    </a:lnTo>
                    <a:lnTo>
                      <a:pt x="432" y="398"/>
                    </a:lnTo>
                    <a:close/>
                    <a:moveTo>
                      <a:pt x="382" y="390"/>
                    </a:moveTo>
                    <a:lnTo>
                      <a:pt x="380" y="390"/>
                    </a:lnTo>
                    <a:lnTo>
                      <a:pt x="380" y="388"/>
                    </a:lnTo>
                    <a:lnTo>
                      <a:pt x="382" y="388"/>
                    </a:lnTo>
                    <a:lnTo>
                      <a:pt x="382" y="390"/>
                    </a:lnTo>
                    <a:close/>
                    <a:moveTo>
                      <a:pt x="230" y="357"/>
                    </a:moveTo>
                    <a:lnTo>
                      <a:pt x="228" y="355"/>
                    </a:lnTo>
                    <a:lnTo>
                      <a:pt x="228" y="357"/>
                    </a:lnTo>
                    <a:lnTo>
                      <a:pt x="230" y="357"/>
                    </a:lnTo>
                    <a:close/>
                    <a:moveTo>
                      <a:pt x="228" y="357"/>
                    </a:moveTo>
                    <a:lnTo>
                      <a:pt x="230" y="357"/>
                    </a:lnTo>
                    <a:lnTo>
                      <a:pt x="228" y="357"/>
                    </a:lnTo>
                    <a:lnTo>
                      <a:pt x="228" y="355"/>
                    </a:lnTo>
                    <a:lnTo>
                      <a:pt x="227" y="357"/>
                    </a:lnTo>
                    <a:lnTo>
                      <a:pt x="227" y="355"/>
                    </a:lnTo>
                    <a:lnTo>
                      <a:pt x="228" y="355"/>
                    </a:lnTo>
                    <a:lnTo>
                      <a:pt x="228" y="357"/>
                    </a:lnTo>
                    <a:close/>
                    <a:moveTo>
                      <a:pt x="449" y="398"/>
                    </a:moveTo>
                    <a:lnTo>
                      <a:pt x="449" y="400"/>
                    </a:lnTo>
                    <a:lnTo>
                      <a:pt x="451" y="400"/>
                    </a:lnTo>
                    <a:lnTo>
                      <a:pt x="449" y="402"/>
                    </a:lnTo>
                    <a:lnTo>
                      <a:pt x="449" y="400"/>
                    </a:lnTo>
                    <a:lnTo>
                      <a:pt x="449" y="398"/>
                    </a:lnTo>
                    <a:close/>
                    <a:moveTo>
                      <a:pt x="382" y="386"/>
                    </a:moveTo>
                    <a:lnTo>
                      <a:pt x="382" y="388"/>
                    </a:lnTo>
                    <a:lnTo>
                      <a:pt x="380" y="388"/>
                    </a:lnTo>
                    <a:lnTo>
                      <a:pt x="380" y="386"/>
                    </a:lnTo>
                    <a:lnTo>
                      <a:pt x="382" y="386"/>
                    </a:lnTo>
                    <a:close/>
                    <a:moveTo>
                      <a:pt x="428" y="394"/>
                    </a:moveTo>
                    <a:lnTo>
                      <a:pt x="430" y="394"/>
                    </a:lnTo>
                    <a:lnTo>
                      <a:pt x="430" y="396"/>
                    </a:lnTo>
                    <a:lnTo>
                      <a:pt x="430" y="398"/>
                    </a:lnTo>
                    <a:lnTo>
                      <a:pt x="430" y="396"/>
                    </a:lnTo>
                    <a:lnTo>
                      <a:pt x="432" y="396"/>
                    </a:lnTo>
                    <a:lnTo>
                      <a:pt x="432" y="398"/>
                    </a:lnTo>
                    <a:lnTo>
                      <a:pt x="430" y="398"/>
                    </a:lnTo>
                    <a:lnTo>
                      <a:pt x="430" y="396"/>
                    </a:lnTo>
                    <a:lnTo>
                      <a:pt x="430" y="398"/>
                    </a:lnTo>
                    <a:lnTo>
                      <a:pt x="430" y="396"/>
                    </a:lnTo>
                    <a:lnTo>
                      <a:pt x="430" y="398"/>
                    </a:lnTo>
                    <a:lnTo>
                      <a:pt x="428" y="396"/>
                    </a:lnTo>
                    <a:lnTo>
                      <a:pt x="428" y="394"/>
                    </a:lnTo>
                    <a:lnTo>
                      <a:pt x="426" y="394"/>
                    </a:lnTo>
                    <a:lnTo>
                      <a:pt x="428" y="394"/>
                    </a:lnTo>
                    <a:lnTo>
                      <a:pt x="426" y="394"/>
                    </a:lnTo>
                    <a:lnTo>
                      <a:pt x="428" y="394"/>
                    </a:lnTo>
                    <a:close/>
                    <a:moveTo>
                      <a:pt x="428" y="394"/>
                    </a:moveTo>
                    <a:lnTo>
                      <a:pt x="430" y="394"/>
                    </a:lnTo>
                    <a:lnTo>
                      <a:pt x="428" y="394"/>
                    </a:lnTo>
                    <a:close/>
                    <a:moveTo>
                      <a:pt x="421" y="390"/>
                    </a:moveTo>
                    <a:lnTo>
                      <a:pt x="423" y="390"/>
                    </a:lnTo>
                    <a:lnTo>
                      <a:pt x="421" y="390"/>
                    </a:lnTo>
                    <a:close/>
                    <a:moveTo>
                      <a:pt x="426" y="392"/>
                    </a:moveTo>
                    <a:lnTo>
                      <a:pt x="424" y="390"/>
                    </a:lnTo>
                    <a:lnTo>
                      <a:pt x="426" y="390"/>
                    </a:lnTo>
                    <a:lnTo>
                      <a:pt x="426" y="392"/>
                    </a:lnTo>
                    <a:close/>
                    <a:moveTo>
                      <a:pt x="428" y="390"/>
                    </a:moveTo>
                    <a:lnTo>
                      <a:pt x="428" y="392"/>
                    </a:lnTo>
                    <a:lnTo>
                      <a:pt x="428" y="394"/>
                    </a:lnTo>
                    <a:lnTo>
                      <a:pt x="428" y="392"/>
                    </a:lnTo>
                    <a:lnTo>
                      <a:pt x="426" y="392"/>
                    </a:lnTo>
                    <a:lnTo>
                      <a:pt x="426" y="390"/>
                    </a:lnTo>
                    <a:lnTo>
                      <a:pt x="428" y="390"/>
                    </a:lnTo>
                    <a:close/>
                    <a:moveTo>
                      <a:pt x="442" y="392"/>
                    </a:moveTo>
                    <a:lnTo>
                      <a:pt x="442" y="394"/>
                    </a:lnTo>
                    <a:lnTo>
                      <a:pt x="440" y="394"/>
                    </a:lnTo>
                    <a:lnTo>
                      <a:pt x="440" y="392"/>
                    </a:lnTo>
                    <a:lnTo>
                      <a:pt x="440" y="394"/>
                    </a:lnTo>
                    <a:lnTo>
                      <a:pt x="440" y="392"/>
                    </a:lnTo>
                    <a:lnTo>
                      <a:pt x="442" y="392"/>
                    </a:lnTo>
                    <a:close/>
                    <a:moveTo>
                      <a:pt x="419" y="388"/>
                    </a:moveTo>
                    <a:lnTo>
                      <a:pt x="419" y="390"/>
                    </a:lnTo>
                    <a:lnTo>
                      <a:pt x="421" y="390"/>
                    </a:lnTo>
                    <a:lnTo>
                      <a:pt x="419" y="390"/>
                    </a:lnTo>
                    <a:lnTo>
                      <a:pt x="419" y="388"/>
                    </a:lnTo>
                    <a:lnTo>
                      <a:pt x="417" y="388"/>
                    </a:lnTo>
                    <a:lnTo>
                      <a:pt x="417" y="386"/>
                    </a:lnTo>
                    <a:lnTo>
                      <a:pt x="419" y="388"/>
                    </a:lnTo>
                    <a:lnTo>
                      <a:pt x="417" y="386"/>
                    </a:lnTo>
                    <a:lnTo>
                      <a:pt x="419" y="386"/>
                    </a:lnTo>
                    <a:lnTo>
                      <a:pt x="419" y="388"/>
                    </a:lnTo>
                    <a:close/>
                    <a:moveTo>
                      <a:pt x="413" y="378"/>
                    </a:moveTo>
                    <a:lnTo>
                      <a:pt x="413" y="380"/>
                    </a:lnTo>
                    <a:lnTo>
                      <a:pt x="413" y="382"/>
                    </a:lnTo>
                    <a:lnTo>
                      <a:pt x="413" y="380"/>
                    </a:lnTo>
                    <a:lnTo>
                      <a:pt x="411" y="380"/>
                    </a:lnTo>
                    <a:lnTo>
                      <a:pt x="411" y="378"/>
                    </a:lnTo>
                    <a:lnTo>
                      <a:pt x="413" y="378"/>
                    </a:lnTo>
                    <a:close/>
                    <a:moveTo>
                      <a:pt x="371" y="371"/>
                    </a:moveTo>
                    <a:lnTo>
                      <a:pt x="371" y="373"/>
                    </a:lnTo>
                    <a:lnTo>
                      <a:pt x="371" y="371"/>
                    </a:lnTo>
                    <a:close/>
                    <a:moveTo>
                      <a:pt x="413" y="373"/>
                    </a:moveTo>
                    <a:lnTo>
                      <a:pt x="415" y="373"/>
                    </a:lnTo>
                    <a:lnTo>
                      <a:pt x="413" y="373"/>
                    </a:lnTo>
                    <a:lnTo>
                      <a:pt x="413" y="375"/>
                    </a:lnTo>
                    <a:lnTo>
                      <a:pt x="413" y="373"/>
                    </a:lnTo>
                    <a:close/>
                    <a:moveTo>
                      <a:pt x="378" y="363"/>
                    </a:moveTo>
                    <a:lnTo>
                      <a:pt x="378" y="365"/>
                    </a:lnTo>
                    <a:lnTo>
                      <a:pt x="378" y="363"/>
                    </a:lnTo>
                    <a:close/>
                    <a:moveTo>
                      <a:pt x="374" y="363"/>
                    </a:moveTo>
                    <a:lnTo>
                      <a:pt x="374" y="365"/>
                    </a:lnTo>
                    <a:lnTo>
                      <a:pt x="374" y="363"/>
                    </a:lnTo>
                    <a:close/>
                    <a:moveTo>
                      <a:pt x="405" y="371"/>
                    </a:moveTo>
                    <a:lnTo>
                      <a:pt x="405" y="373"/>
                    </a:lnTo>
                    <a:lnTo>
                      <a:pt x="407" y="373"/>
                    </a:lnTo>
                    <a:lnTo>
                      <a:pt x="407" y="375"/>
                    </a:lnTo>
                    <a:lnTo>
                      <a:pt x="409" y="375"/>
                    </a:lnTo>
                    <a:lnTo>
                      <a:pt x="407" y="375"/>
                    </a:lnTo>
                    <a:lnTo>
                      <a:pt x="405" y="373"/>
                    </a:lnTo>
                    <a:lnTo>
                      <a:pt x="403" y="373"/>
                    </a:lnTo>
                    <a:lnTo>
                      <a:pt x="405" y="373"/>
                    </a:lnTo>
                    <a:lnTo>
                      <a:pt x="403" y="371"/>
                    </a:lnTo>
                    <a:lnTo>
                      <a:pt x="403" y="369"/>
                    </a:lnTo>
                    <a:lnTo>
                      <a:pt x="401" y="369"/>
                    </a:lnTo>
                    <a:lnTo>
                      <a:pt x="401" y="367"/>
                    </a:lnTo>
                    <a:lnTo>
                      <a:pt x="403" y="367"/>
                    </a:lnTo>
                    <a:lnTo>
                      <a:pt x="403" y="369"/>
                    </a:lnTo>
                    <a:lnTo>
                      <a:pt x="405" y="369"/>
                    </a:lnTo>
                    <a:lnTo>
                      <a:pt x="405" y="371"/>
                    </a:lnTo>
                    <a:close/>
                    <a:moveTo>
                      <a:pt x="415" y="369"/>
                    </a:moveTo>
                    <a:lnTo>
                      <a:pt x="415" y="371"/>
                    </a:lnTo>
                    <a:lnTo>
                      <a:pt x="413" y="369"/>
                    </a:lnTo>
                    <a:lnTo>
                      <a:pt x="415" y="369"/>
                    </a:lnTo>
                    <a:close/>
                    <a:moveTo>
                      <a:pt x="376" y="365"/>
                    </a:moveTo>
                    <a:lnTo>
                      <a:pt x="376" y="363"/>
                    </a:lnTo>
                    <a:lnTo>
                      <a:pt x="378" y="363"/>
                    </a:lnTo>
                    <a:lnTo>
                      <a:pt x="376" y="363"/>
                    </a:lnTo>
                    <a:lnTo>
                      <a:pt x="376" y="365"/>
                    </a:lnTo>
                    <a:close/>
                    <a:moveTo>
                      <a:pt x="378" y="363"/>
                    </a:moveTo>
                    <a:lnTo>
                      <a:pt x="378" y="365"/>
                    </a:lnTo>
                    <a:lnTo>
                      <a:pt x="378" y="367"/>
                    </a:lnTo>
                    <a:lnTo>
                      <a:pt x="378" y="365"/>
                    </a:lnTo>
                    <a:lnTo>
                      <a:pt x="378" y="367"/>
                    </a:lnTo>
                    <a:lnTo>
                      <a:pt x="376" y="367"/>
                    </a:lnTo>
                    <a:lnTo>
                      <a:pt x="376" y="365"/>
                    </a:lnTo>
                    <a:lnTo>
                      <a:pt x="378" y="363"/>
                    </a:lnTo>
                    <a:close/>
                    <a:moveTo>
                      <a:pt x="411" y="367"/>
                    </a:moveTo>
                    <a:lnTo>
                      <a:pt x="413" y="367"/>
                    </a:lnTo>
                    <a:lnTo>
                      <a:pt x="411" y="367"/>
                    </a:lnTo>
                    <a:lnTo>
                      <a:pt x="411" y="365"/>
                    </a:lnTo>
                    <a:lnTo>
                      <a:pt x="411" y="367"/>
                    </a:lnTo>
                    <a:close/>
                    <a:moveTo>
                      <a:pt x="401" y="365"/>
                    </a:moveTo>
                    <a:lnTo>
                      <a:pt x="399" y="365"/>
                    </a:lnTo>
                    <a:lnTo>
                      <a:pt x="399" y="363"/>
                    </a:lnTo>
                    <a:lnTo>
                      <a:pt x="399" y="365"/>
                    </a:lnTo>
                    <a:lnTo>
                      <a:pt x="401" y="365"/>
                    </a:lnTo>
                    <a:close/>
                    <a:moveTo>
                      <a:pt x="382" y="359"/>
                    </a:moveTo>
                    <a:lnTo>
                      <a:pt x="382" y="361"/>
                    </a:lnTo>
                    <a:lnTo>
                      <a:pt x="384" y="361"/>
                    </a:lnTo>
                    <a:lnTo>
                      <a:pt x="382" y="361"/>
                    </a:lnTo>
                    <a:lnTo>
                      <a:pt x="380" y="361"/>
                    </a:lnTo>
                    <a:lnTo>
                      <a:pt x="380" y="363"/>
                    </a:lnTo>
                    <a:lnTo>
                      <a:pt x="378" y="363"/>
                    </a:lnTo>
                    <a:lnTo>
                      <a:pt x="380" y="363"/>
                    </a:lnTo>
                    <a:lnTo>
                      <a:pt x="378" y="361"/>
                    </a:lnTo>
                    <a:lnTo>
                      <a:pt x="380" y="361"/>
                    </a:lnTo>
                    <a:lnTo>
                      <a:pt x="380" y="359"/>
                    </a:lnTo>
                    <a:lnTo>
                      <a:pt x="382" y="359"/>
                    </a:lnTo>
                    <a:close/>
                    <a:moveTo>
                      <a:pt x="409" y="363"/>
                    </a:moveTo>
                    <a:lnTo>
                      <a:pt x="409" y="365"/>
                    </a:lnTo>
                    <a:lnTo>
                      <a:pt x="407" y="365"/>
                    </a:lnTo>
                    <a:lnTo>
                      <a:pt x="407" y="363"/>
                    </a:lnTo>
                    <a:lnTo>
                      <a:pt x="409" y="363"/>
                    </a:lnTo>
                    <a:close/>
                    <a:moveTo>
                      <a:pt x="398" y="361"/>
                    </a:moveTo>
                    <a:lnTo>
                      <a:pt x="396" y="361"/>
                    </a:lnTo>
                    <a:lnTo>
                      <a:pt x="398" y="361"/>
                    </a:lnTo>
                    <a:close/>
                    <a:moveTo>
                      <a:pt x="409" y="363"/>
                    </a:moveTo>
                    <a:lnTo>
                      <a:pt x="409" y="365"/>
                    </a:lnTo>
                    <a:lnTo>
                      <a:pt x="411" y="365"/>
                    </a:lnTo>
                    <a:lnTo>
                      <a:pt x="411" y="367"/>
                    </a:lnTo>
                    <a:lnTo>
                      <a:pt x="409" y="365"/>
                    </a:lnTo>
                    <a:lnTo>
                      <a:pt x="409" y="363"/>
                    </a:lnTo>
                    <a:close/>
                    <a:moveTo>
                      <a:pt x="407" y="363"/>
                    </a:moveTo>
                    <a:lnTo>
                      <a:pt x="405" y="363"/>
                    </a:lnTo>
                    <a:lnTo>
                      <a:pt x="407" y="363"/>
                    </a:lnTo>
                    <a:close/>
                    <a:moveTo>
                      <a:pt x="376" y="359"/>
                    </a:moveTo>
                    <a:lnTo>
                      <a:pt x="376" y="361"/>
                    </a:lnTo>
                    <a:lnTo>
                      <a:pt x="376" y="359"/>
                    </a:lnTo>
                    <a:lnTo>
                      <a:pt x="376" y="357"/>
                    </a:lnTo>
                    <a:lnTo>
                      <a:pt x="376" y="359"/>
                    </a:lnTo>
                    <a:close/>
                    <a:moveTo>
                      <a:pt x="382" y="359"/>
                    </a:moveTo>
                    <a:lnTo>
                      <a:pt x="380" y="359"/>
                    </a:lnTo>
                    <a:lnTo>
                      <a:pt x="382" y="359"/>
                    </a:lnTo>
                    <a:close/>
                    <a:moveTo>
                      <a:pt x="378" y="359"/>
                    </a:moveTo>
                    <a:lnTo>
                      <a:pt x="376" y="361"/>
                    </a:lnTo>
                    <a:lnTo>
                      <a:pt x="376" y="359"/>
                    </a:lnTo>
                    <a:lnTo>
                      <a:pt x="378" y="359"/>
                    </a:lnTo>
                    <a:lnTo>
                      <a:pt x="378" y="357"/>
                    </a:lnTo>
                    <a:lnTo>
                      <a:pt x="378" y="359"/>
                    </a:lnTo>
                    <a:close/>
                    <a:moveTo>
                      <a:pt x="398" y="361"/>
                    </a:moveTo>
                    <a:lnTo>
                      <a:pt x="399" y="361"/>
                    </a:lnTo>
                    <a:lnTo>
                      <a:pt x="399" y="363"/>
                    </a:lnTo>
                    <a:lnTo>
                      <a:pt x="398" y="363"/>
                    </a:lnTo>
                    <a:lnTo>
                      <a:pt x="398" y="361"/>
                    </a:lnTo>
                    <a:lnTo>
                      <a:pt x="396" y="361"/>
                    </a:lnTo>
                    <a:lnTo>
                      <a:pt x="398" y="361"/>
                    </a:lnTo>
                    <a:close/>
                    <a:moveTo>
                      <a:pt x="380" y="359"/>
                    </a:moveTo>
                    <a:lnTo>
                      <a:pt x="380" y="361"/>
                    </a:lnTo>
                    <a:lnTo>
                      <a:pt x="378" y="361"/>
                    </a:lnTo>
                    <a:lnTo>
                      <a:pt x="378" y="363"/>
                    </a:lnTo>
                    <a:lnTo>
                      <a:pt x="378" y="361"/>
                    </a:lnTo>
                    <a:lnTo>
                      <a:pt x="376" y="361"/>
                    </a:lnTo>
                    <a:lnTo>
                      <a:pt x="378" y="361"/>
                    </a:lnTo>
                    <a:lnTo>
                      <a:pt x="378" y="363"/>
                    </a:lnTo>
                    <a:lnTo>
                      <a:pt x="376" y="363"/>
                    </a:lnTo>
                    <a:lnTo>
                      <a:pt x="376" y="361"/>
                    </a:lnTo>
                    <a:lnTo>
                      <a:pt x="378" y="361"/>
                    </a:lnTo>
                    <a:lnTo>
                      <a:pt x="376" y="361"/>
                    </a:lnTo>
                    <a:lnTo>
                      <a:pt x="378" y="359"/>
                    </a:lnTo>
                    <a:lnTo>
                      <a:pt x="378" y="361"/>
                    </a:lnTo>
                    <a:lnTo>
                      <a:pt x="378" y="359"/>
                    </a:lnTo>
                    <a:lnTo>
                      <a:pt x="380" y="357"/>
                    </a:lnTo>
                    <a:lnTo>
                      <a:pt x="380" y="359"/>
                    </a:lnTo>
                    <a:lnTo>
                      <a:pt x="380" y="357"/>
                    </a:lnTo>
                    <a:lnTo>
                      <a:pt x="380" y="359"/>
                    </a:lnTo>
                    <a:lnTo>
                      <a:pt x="378" y="359"/>
                    </a:lnTo>
                    <a:lnTo>
                      <a:pt x="380" y="359"/>
                    </a:lnTo>
                    <a:lnTo>
                      <a:pt x="380" y="357"/>
                    </a:lnTo>
                    <a:lnTo>
                      <a:pt x="380" y="359"/>
                    </a:lnTo>
                    <a:close/>
                    <a:moveTo>
                      <a:pt x="401" y="361"/>
                    </a:moveTo>
                    <a:lnTo>
                      <a:pt x="403" y="363"/>
                    </a:lnTo>
                    <a:lnTo>
                      <a:pt x="401" y="363"/>
                    </a:lnTo>
                    <a:lnTo>
                      <a:pt x="399" y="361"/>
                    </a:lnTo>
                    <a:lnTo>
                      <a:pt x="401" y="363"/>
                    </a:lnTo>
                    <a:lnTo>
                      <a:pt x="401" y="361"/>
                    </a:lnTo>
                    <a:close/>
                    <a:moveTo>
                      <a:pt x="378" y="357"/>
                    </a:moveTo>
                    <a:lnTo>
                      <a:pt x="376" y="357"/>
                    </a:lnTo>
                    <a:lnTo>
                      <a:pt x="378" y="357"/>
                    </a:lnTo>
                    <a:close/>
                    <a:moveTo>
                      <a:pt x="405" y="363"/>
                    </a:moveTo>
                    <a:lnTo>
                      <a:pt x="405" y="361"/>
                    </a:lnTo>
                    <a:lnTo>
                      <a:pt x="405" y="363"/>
                    </a:lnTo>
                    <a:close/>
                    <a:moveTo>
                      <a:pt x="405" y="371"/>
                    </a:moveTo>
                    <a:lnTo>
                      <a:pt x="405" y="369"/>
                    </a:lnTo>
                    <a:lnTo>
                      <a:pt x="407" y="369"/>
                    </a:lnTo>
                    <a:lnTo>
                      <a:pt x="405" y="369"/>
                    </a:lnTo>
                    <a:lnTo>
                      <a:pt x="403" y="367"/>
                    </a:lnTo>
                    <a:lnTo>
                      <a:pt x="403" y="369"/>
                    </a:lnTo>
                    <a:lnTo>
                      <a:pt x="403" y="367"/>
                    </a:lnTo>
                    <a:lnTo>
                      <a:pt x="401" y="367"/>
                    </a:lnTo>
                    <a:lnTo>
                      <a:pt x="401" y="365"/>
                    </a:lnTo>
                    <a:lnTo>
                      <a:pt x="399" y="365"/>
                    </a:lnTo>
                    <a:lnTo>
                      <a:pt x="399" y="363"/>
                    </a:lnTo>
                    <a:lnTo>
                      <a:pt x="399" y="361"/>
                    </a:lnTo>
                    <a:lnTo>
                      <a:pt x="399" y="363"/>
                    </a:lnTo>
                    <a:lnTo>
                      <a:pt x="399" y="361"/>
                    </a:lnTo>
                    <a:lnTo>
                      <a:pt x="401" y="363"/>
                    </a:lnTo>
                    <a:lnTo>
                      <a:pt x="401" y="365"/>
                    </a:lnTo>
                    <a:lnTo>
                      <a:pt x="403" y="365"/>
                    </a:lnTo>
                    <a:lnTo>
                      <a:pt x="405" y="367"/>
                    </a:lnTo>
                    <a:lnTo>
                      <a:pt x="403" y="367"/>
                    </a:lnTo>
                    <a:lnTo>
                      <a:pt x="405" y="367"/>
                    </a:lnTo>
                    <a:lnTo>
                      <a:pt x="403" y="365"/>
                    </a:lnTo>
                    <a:lnTo>
                      <a:pt x="401" y="365"/>
                    </a:lnTo>
                    <a:lnTo>
                      <a:pt x="403" y="365"/>
                    </a:lnTo>
                    <a:lnTo>
                      <a:pt x="401" y="365"/>
                    </a:lnTo>
                    <a:lnTo>
                      <a:pt x="403" y="363"/>
                    </a:lnTo>
                    <a:lnTo>
                      <a:pt x="401" y="363"/>
                    </a:lnTo>
                    <a:lnTo>
                      <a:pt x="403" y="363"/>
                    </a:lnTo>
                    <a:lnTo>
                      <a:pt x="403" y="361"/>
                    </a:lnTo>
                    <a:lnTo>
                      <a:pt x="403" y="363"/>
                    </a:lnTo>
                    <a:lnTo>
                      <a:pt x="405" y="363"/>
                    </a:lnTo>
                    <a:lnTo>
                      <a:pt x="405" y="365"/>
                    </a:lnTo>
                    <a:lnTo>
                      <a:pt x="407" y="367"/>
                    </a:lnTo>
                    <a:lnTo>
                      <a:pt x="407" y="369"/>
                    </a:lnTo>
                    <a:lnTo>
                      <a:pt x="409" y="369"/>
                    </a:lnTo>
                    <a:lnTo>
                      <a:pt x="407" y="369"/>
                    </a:lnTo>
                    <a:lnTo>
                      <a:pt x="407" y="367"/>
                    </a:lnTo>
                    <a:lnTo>
                      <a:pt x="409" y="367"/>
                    </a:lnTo>
                    <a:lnTo>
                      <a:pt x="409" y="369"/>
                    </a:lnTo>
                    <a:lnTo>
                      <a:pt x="409" y="367"/>
                    </a:lnTo>
                    <a:lnTo>
                      <a:pt x="407" y="367"/>
                    </a:lnTo>
                    <a:lnTo>
                      <a:pt x="407" y="365"/>
                    </a:lnTo>
                    <a:lnTo>
                      <a:pt x="405" y="365"/>
                    </a:lnTo>
                    <a:lnTo>
                      <a:pt x="405" y="363"/>
                    </a:lnTo>
                    <a:lnTo>
                      <a:pt x="407" y="363"/>
                    </a:lnTo>
                    <a:lnTo>
                      <a:pt x="407" y="365"/>
                    </a:lnTo>
                    <a:lnTo>
                      <a:pt x="409" y="365"/>
                    </a:lnTo>
                    <a:lnTo>
                      <a:pt x="409" y="367"/>
                    </a:lnTo>
                    <a:lnTo>
                      <a:pt x="411" y="367"/>
                    </a:lnTo>
                    <a:lnTo>
                      <a:pt x="409" y="367"/>
                    </a:lnTo>
                    <a:lnTo>
                      <a:pt x="411" y="367"/>
                    </a:lnTo>
                    <a:lnTo>
                      <a:pt x="409" y="367"/>
                    </a:lnTo>
                    <a:lnTo>
                      <a:pt x="411" y="367"/>
                    </a:lnTo>
                    <a:lnTo>
                      <a:pt x="411" y="369"/>
                    </a:lnTo>
                    <a:lnTo>
                      <a:pt x="413" y="369"/>
                    </a:lnTo>
                    <a:lnTo>
                      <a:pt x="413" y="371"/>
                    </a:lnTo>
                    <a:lnTo>
                      <a:pt x="413" y="369"/>
                    </a:lnTo>
                    <a:lnTo>
                      <a:pt x="411" y="369"/>
                    </a:lnTo>
                    <a:lnTo>
                      <a:pt x="413" y="369"/>
                    </a:lnTo>
                    <a:lnTo>
                      <a:pt x="413" y="371"/>
                    </a:lnTo>
                    <a:lnTo>
                      <a:pt x="411" y="371"/>
                    </a:lnTo>
                    <a:lnTo>
                      <a:pt x="411" y="373"/>
                    </a:lnTo>
                    <a:lnTo>
                      <a:pt x="409" y="373"/>
                    </a:lnTo>
                    <a:lnTo>
                      <a:pt x="409" y="375"/>
                    </a:lnTo>
                    <a:lnTo>
                      <a:pt x="407" y="373"/>
                    </a:lnTo>
                    <a:lnTo>
                      <a:pt x="405" y="373"/>
                    </a:lnTo>
                    <a:lnTo>
                      <a:pt x="407" y="371"/>
                    </a:lnTo>
                    <a:lnTo>
                      <a:pt x="405" y="371"/>
                    </a:lnTo>
                    <a:close/>
                    <a:moveTo>
                      <a:pt x="378" y="357"/>
                    </a:moveTo>
                    <a:lnTo>
                      <a:pt x="376" y="357"/>
                    </a:lnTo>
                    <a:lnTo>
                      <a:pt x="378" y="357"/>
                    </a:lnTo>
                    <a:close/>
                    <a:moveTo>
                      <a:pt x="405" y="361"/>
                    </a:moveTo>
                    <a:lnTo>
                      <a:pt x="405" y="363"/>
                    </a:lnTo>
                    <a:lnTo>
                      <a:pt x="405" y="361"/>
                    </a:lnTo>
                    <a:close/>
                    <a:moveTo>
                      <a:pt x="407" y="363"/>
                    </a:moveTo>
                    <a:lnTo>
                      <a:pt x="405" y="363"/>
                    </a:lnTo>
                    <a:lnTo>
                      <a:pt x="405" y="361"/>
                    </a:lnTo>
                    <a:lnTo>
                      <a:pt x="407" y="361"/>
                    </a:lnTo>
                    <a:lnTo>
                      <a:pt x="409" y="363"/>
                    </a:lnTo>
                    <a:lnTo>
                      <a:pt x="407" y="363"/>
                    </a:lnTo>
                    <a:close/>
                    <a:moveTo>
                      <a:pt x="376" y="357"/>
                    </a:moveTo>
                    <a:lnTo>
                      <a:pt x="376" y="355"/>
                    </a:lnTo>
                    <a:lnTo>
                      <a:pt x="376" y="357"/>
                    </a:lnTo>
                    <a:close/>
                    <a:moveTo>
                      <a:pt x="403" y="361"/>
                    </a:moveTo>
                    <a:lnTo>
                      <a:pt x="405" y="361"/>
                    </a:lnTo>
                    <a:lnTo>
                      <a:pt x="403" y="361"/>
                    </a:lnTo>
                    <a:close/>
                    <a:moveTo>
                      <a:pt x="371" y="336"/>
                    </a:moveTo>
                    <a:lnTo>
                      <a:pt x="369" y="336"/>
                    </a:lnTo>
                    <a:lnTo>
                      <a:pt x="371" y="336"/>
                    </a:lnTo>
                    <a:close/>
                    <a:moveTo>
                      <a:pt x="155" y="271"/>
                    </a:moveTo>
                    <a:lnTo>
                      <a:pt x="155" y="269"/>
                    </a:lnTo>
                    <a:lnTo>
                      <a:pt x="155" y="271"/>
                    </a:lnTo>
                    <a:close/>
                    <a:moveTo>
                      <a:pt x="161" y="265"/>
                    </a:moveTo>
                    <a:lnTo>
                      <a:pt x="161" y="267"/>
                    </a:lnTo>
                    <a:lnTo>
                      <a:pt x="163" y="267"/>
                    </a:lnTo>
                    <a:lnTo>
                      <a:pt x="161" y="267"/>
                    </a:lnTo>
                    <a:lnTo>
                      <a:pt x="161" y="265"/>
                    </a:lnTo>
                    <a:lnTo>
                      <a:pt x="161" y="267"/>
                    </a:lnTo>
                    <a:lnTo>
                      <a:pt x="161" y="265"/>
                    </a:lnTo>
                    <a:lnTo>
                      <a:pt x="161" y="267"/>
                    </a:lnTo>
                    <a:lnTo>
                      <a:pt x="161" y="265"/>
                    </a:lnTo>
                    <a:close/>
                    <a:moveTo>
                      <a:pt x="163" y="267"/>
                    </a:moveTo>
                    <a:lnTo>
                      <a:pt x="163" y="265"/>
                    </a:lnTo>
                    <a:lnTo>
                      <a:pt x="163" y="267"/>
                    </a:lnTo>
                    <a:close/>
                    <a:moveTo>
                      <a:pt x="163" y="267"/>
                    </a:moveTo>
                    <a:lnTo>
                      <a:pt x="163" y="265"/>
                    </a:lnTo>
                    <a:lnTo>
                      <a:pt x="163" y="267"/>
                    </a:lnTo>
                    <a:close/>
                    <a:moveTo>
                      <a:pt x="140" y="225"/>
                    </a:moveTo>
                    <a:lnTo>
                      <a:pt x="142" y="225"/>
                    </a:lnTo>
                    <a:lnTo>
                      <a:pt x="142" y="227"/>
                    </a:lnTo>
                    <a:lnTo>
                      <a:pt x="144" y="227"/>
                    </a:lnTo>
                    <a:lnTo>
                      <a:pt x="144" y="228"/>
                    </a:lnTo>
                    <a:lnTo>
                      <a:pt x="144" y="230"/>
                    </a:lnTo>
                    <a:lnTo>
                      <a:pt x="144" y="228"/>
                    </a:lnTo>
                    <a:lnTo>
                      <a:pt x="142" y="228"/>
                    </a:lnTo>
                    <a:lnTo>
                      <a:pt x="142" y="230"/>
                    </a:lnTo>
                    <a:lnTo>
                      <a:pt x="142" y="228"/>
                    </a:lnTo>
                    <a:lnTo>
                      <a:pt x="142" y="230"/>
                    </a:lnTo>
                    <a:lnTo>
                      <a:pt x="142" y="228"/>
                    </a:lnTo>
                    <a:lnTo>
                      <a:pt x="142" y="227"/>
                    </a:lnTo>
                    <a:lnTo>
                      <a:pt x="140" y="227"/>
                    </a:lnTo>
                    <a:lnTo>
                      <a:pt x="138" y="227"/>
                    </a:lnTo>
                    <a:lnTo>
                      <a:pt x="140" y="227"/>
                    </a:lnTo>
                    <a:lnTo>
                      <a:pt x="138" y="227"/>
                    </a:lnTo>
                    <a:lnTo>
                      <a:pt x="140" y="225"/>
                    </a:lnTo>
                    <a:close/>
                    <a:moveTo>
                      <a:pt x="180" y="230"/>
                    </a:moveTo>
                    <a:lnTo>
                      <a:pt x="182" y="230"/>
                    </a:lnTo>
                    <a:lnTo>
                      <a:pt x="180" y="230"/>
                    </a:lnTo>
                    <a:close/>
                    <a:moveTo>
                      <a:pt x="190" y="232"/>
                    </a:moveTo>
                    <a:lnTo>
                      <a:pt x="190" y="230"/>
                    </a:lnTo>
                    <a:lnTo>
                      <a:pt x="190" y="232"/>
                    </a:lnTo>
                    <a:close/>
                    <a:moveTo>
                      <a:pt x="188" y="230"/>
                    </a:moveTo>
                    <a:lnTo>
                      <a:pt x="190" y="230"/>
                    </a:lnTo>
                    <a:lnTo>
                      <a:pt x="190" y="232"/>
                    </a:lnTo>
                    <a:lnTo>
                      <a:pt x="188" y="232"/>
                    </a:lnTo>
                    <a:lnTo>
                      <a:pt x="188" y="230"/>
                    </a:lnTo>
                    <a:close/>
                    <a:moveTo>
                      <a:pt x="188" y="230"/>
                    </a:moveTo>
                    <a:lnTo>
                      <a:pt x="186" y="230"/>
                    </a:lnTo>
                    <a:lnTo>
                      <a:pt x="186" y="232"/>
                    </a:lnTo>
                    <a:lnTo>
                      <a:pt x="186" y="230"/>
                    </a:lnTo>
                    <a:lnTo>
                      <a:pt x="188" y="230"/>
                    </a:lnTo>
                    <a:close/>
                    <a:moveTo>
                      <a:pt x="380" y="273"/>
                    </a:moveTo>
                    <a:lnTo>
                      <a:pt x="378" y="271"/>
                    </a:lnTo>
                    <a:lnTo>
                      <a:pt x="380" y="273"/>
                    </a:lnTo>
                    <a:close/>
                    <a:moveTo>
                      <a:pt x="371" y="267"/>
                    </a:moveTo>
                    <a:lnTo>
                      <a:pt x="371" y="265"/>
                    </a:lnTo>
                    <a:lnTo>
                      <a:pt x="371" y="267"/>
                    </a:lnTo>
                    <a:close/>
                    <a:moveTo>
                      <a:pt x="117" y="202"/>
                    </a:moveTo>
                    <a:lnTo>
                      <a:pt x="117" y="203"/>
                    </a:lnTo>
                    <a:lnTo>
                      <a:pt x="117" y="202"/>
                    </a:lnTo>
                    <a:lnTo>
                      <a:pt x="115" y="203"/>
                    </a:lnTo>
                    <a:lnTo>
                      <a:pt x="115" y="202"/>
                    </a:lnTo>
                    <a:lnTo>
                      <a:pt x="115" y="203"/>
                    </a:lnTo>
                    <a:lnTo>
                      <a:pt x="115" y="202"/>
                    </a:lnTo>
                    <a:lnTo>
                      <a:pt x="115" y="203"/>
                    </a:lnTo>
                    <a:lnTo>
                      <a:pt x="115" y="202"/>
                    </a:lnTo>
                    <a:lnTo>
                      <a:pt x="117" y="202"/>
                    </a:lnTo>
                    <a:close/>
                    <a:moveTo>
                      <a:pt x="115" y="202"/>
                    </a:moveTo>
                    <a:lnTo>
                      <a:pt x="113" y="202"/>
                    </a:lnTo>
                    <a:lnTo>
                      <a:pt x="113" y="200"/>
                    </a:lnTo>
                    <a:lnTo>
                      <a:pt x="115" y="202"/>
                    </a:lnTo>
                    <a:close/>
                    <a:moveTo>
                      <a:pt x="113" y="200"/>
                    </a:moveTo>
                    <a:lnTo>
                      <a:pt x="113" y="202"/>
                    </a:lnTo>
                    <a:lnTo>
                      <a:pt x="113" y="200"/>
                    </a:lnTo>
                    <a:close/>
                    <a:moveTo>
                      <a:pt x="117" y="202"/>
                    </a:moveTo>
                    <a:lnTo>
                      <a:pt x="119" y="202"/>
                    </a:lnTo>
                    <a:lnTo>
                      <a:pt x="119" y="203"/>
                    </a:lnTo>
                    <a:lnTo>
                      <a:pt x="121" y="203"/>
                    </a:lnTo>
                    <a:lnTo>
                      <a:pt x="123" y="205"/>
                    </a:lnTo>
                    <a:lnTo>
                      <a:pt x="123" y="207"/>
                    </a:lnTo>
                    <a:lnTo>
                      <a:pt x="125" y="207"/>
                    </a:lnTo>
                    <a:lnTo>
                      <a:pt x="125" y="209"/>
                    </a:lnTo>
                    <a:lnTo>
                      <a:pt x="125" y="211"/>
                    </a:lnTo>
                    <a:lnTo>
                      <a:pt x="127" y="213"/>
                    </a:lnTo>
                    <a:lnTo>
                      <a:pt x="127" y="215"/>
                    </a:lnTo>
                    <a:lnTo>
                      <a:pt x="127" y="213"/>
                    </a:lnTo>
                    <a:lnTo>
                      <a:pt x="125" y="211"/>
                    </a:lnTo>
                    <a:lnTo>
                      <a:pt x="125" y="209"/>
                    </a:lnTo>
                    <a:lnTo>
                      <a:pt x="123" y="209"/>
                    </a:lnTo>
                    <a:lnTo>
                      <a:pt x="123" y="207"/>
                    </a:lnTo>
                    <a:lnTo>
                      <a:pt x="123" y="205"/>
                    </a:lnTo>
                    <a:lnTo>
                      <a:pt x="121" y="205"/>
                    </a:lnTo>
                    <a:lnTo>
                      <a:pt x="121" y="203"/>
                    </a:lnTo>
                    <a:lnTo>
                      <a:pt x="119" y="203"/>
                    </a:lnTo>
                    <a:lnTo>
                      <a:pt x="117" y="203"/>
                    </a:lnTo>
                    <a:lnTo>
                      <a:pt x="117" y="202"/>
                    </a:lnTo>
                    <a:lnTo>
                      <a:pt x="117" y="203"/>
                    </a:lnTo>
                    <a:lnTo>
                      <a:pt x="119" y="203"/>
                    </a:lnTo>
                    <a:lnTo>
                      <a:pt x="117" y="203"/>
                    </a:lnTo>
                    <a:lnTo>
                      <a:pt x="117" y="202"/>
                    </a:lnTo>
                    <a:lnTo>
                      <a:pt x="117" y="203"/>
                    </a:lnTo>
                    <a:lnTo>
                      <a:pt x="117" y="202"/>
                    </a:lnTo>
                    <a:lnTo>
                      <a:pt x="117" y="203"/>
                    </a:lnTo>
                    <a:lnTo>
                      <a:pt x="117" y="202"/>
                    </a:lnTo>
                    <a:lnTo>
                      <a:pt x="117" y="203"/>
                    </a:lnTo>
                    <a:lnTo>
                      <a:pt x="117" y="202"/>
                    </a:lnTo>
                    <a:lnTo>
                      <a:pt x="115" y="202"/>
                    </a:lnTo>
                    <a:lnTo>
                      <a:pt x="117" y="202"/>
                    </a:lnTo>
                    <a:close/>
                    <a:moveTo>
                      <a:pt x="115" y="200"/>
                    </a:moveTo>
                    <a:lnTo>
                      <a:pt x="115" y="202"/>
                    </a:lnTo>
                    <a:lnTo>
                      <a:pt x="115" y="200"/>
                    </a:lnTo>
                    <a:lnTo>
                      <a:pt x="113" y="200"/>
                    </a:lnTo>
                    <a:lnTo>
                      <a:pt x="115" y="200"/>
                    </a:lnTo>
                    <a:close/>
                    <a:moveTo>
                      <a:pt x="115" y="200"/>
                    </a:moveTo>
                    <a:lnTo>
                      <a:pt x="113" y="200"/>
                    </a:lnTo>
                    <a:lnTo>
                      <a:pt x="115" y="200"/>
                    </a:lnTo>
                    <a:lnTo>
                      <a:pt x="113" y="200"/>
                    </a:lnTo>
                    <a:lnTo>
                      <a:pt x="113" y="202"/>
                    </a:lnTo>
                    <a:lnTo>
                      <a:pt x="113" y="200"/>
                    </a:lnTo>
                    <a:lnTo>
                      <a:pt x="115" y="200"/>
                    </a:lnTo>
                    <a:close/>
                    <a:moveTo>
                      <a:pt x="111" y="200"/>
                    </a:moveTo>
                    <a:lnTo>
                      <a:pt x="109" y="200"/>
                    </a:lnTo>
                    <a:lnTo>
                      <a:pt x="109" y="198"/>
                    </a:lnTo>
                    <a:lnTo>
                      <a:pt x="111" y="198"/>
                    </a:lnTo>
                    <a:lnTo>
                      <a:pt x="111" y="200"/>
                    </a:lnTo>
                    <a:close/>
                    <a:moveTo>
                      <a:pt x="100" y="188"/>
                    </a:moveTo>
                    <a:lnTo>
                      <a:pt x="102" y="190"/>
                    </a:lnTo>
                    <a:lnTo>
                      <a:pt x="102" y="188"/>
                    </a:lnTo>
                    <a:lnTo>
                      <a:pt x="100" y="188"/>
                    </a:lnTo>
                    <a:close/>
                    <a:moveTo>
                      <a:pt x="102" y="188"/>
                    </a:moveTo>
                    <a:lnTo>
                      <a:pt x="100" y="188"/>
                    </a:lnTo>
                    <a:lnTo>
                      <a:pt x="100" y="186"/>
                    </a:lnTo>
                    <a:lnTo>
                      <a:pt x="102" y="188"/>
                    </a:lnTo>
                    <a:close/>
                    <a:moveTo>
                      <a:pt x="100" y="186"/>
                    </a:moveTo>
                    <a:lnTo>
                      <a:pt x="100" y="184"/>
                    </a:lnTo>
                    <a:lnTo>
                      <a:pt x="98" y="184"/>
                    </a:lnTo>
                    <a:lnTo>
                      <a:pt x="100" y="184"/>
                    </a:lnTo>
                    <a:lnTo>
                      <a:pt x="100" y="186"/>
                    </a:lnTo>
                    <a:close/>
                    <a:moveTo>
                      <a:pt x="152" y="192"/>
                    </a:moveTo>
                    <a:lnTo>
                      <a:pt x="154" y="192"/>
                    </a:lnTo>
                    <a:lnTo>
                      <a:pt x="152" y="192"/>
                    </a:lnTo>
                    <a:close/>
                    <a:moveTo>
                      <a:pt x="271" y="221"/>
                    </a:moveTo>
                    <a:lnTo>
                      <a:pt x="273" y="221"/>
                    </a:lnTo>
                    <a:lnTo>
                      <a:pt x="273" y="223"/>
                    </a:lnTo>
                    <a:lnTo>
                      <a:pt x="271" y="223"/>
                    </a:lnTo>
                    <a:lnTo>
                      <a:pt x="269" y="223"/>
                    </a:lnTo>
                    <a:lnTo>
                      <a:pt x="267" y="223"/>
                    </a:lnTo>
                    <a:lnTo>
                      <a:pt x="267" y="221"/>
                    </a:lnTo>
                    <a:lnTo>
                      <a:pt x="269" y="221"/>
                    </a:lnTo>
                    <a:lnTo>
                      <a:pt x="269" y="219"/>
                    </a:lnTo>
                    <a:lnTo>
                      <a:pt x="269" y="221"/>
                    </a:lnTo>
                    <a:lnTo>
                      <a:pt x="271" y="221"/>
                    </a:lnTo>
                    <a:close/>
                    <a:moveTo>
                      <a:pt x="146" y="188"/>
                    </a:moveTo>
                    <a:lnTo>
                      <a:pt x="148" y="188"/>
                    </a:lnTo>
                    <a:lnTo>
                      <a:pt x="148" y="190"/>
                    </a:lnTo>
                    <a:lnTo>
                      <a:pt x="150" y="190"/>
                    </a:lnTo>
                    <a:lnTo>
                      <a:pt x="150" y="192"/>
                    </a:lnTo>
                    <a:lnTo>
                      <a:pt x="152" y="192"/>
                    </a:lnTo>
                    <a:lnTo>
                      <a:pt x="150" y="192"/>
                    </a:lnTo>
                    <a:lnTo>
                      <a:pt x="150" y="194"/>
                    </a:lnTo>
                    <a:lnTo>
                      <a:pt x="148" y="194"/>
                    </a:lnTo>
                    <a:lnTo>
                      <a:pt x="146" y="194"/>
                    </a:lnTo>
                    <a:lnTo>
                      <a:pt x="146" y="192"/>
                    </a:lnTo>
                    <a:lnTo>
                      <a:pt x="146" y="190"/>
                    </a:lnTo>
                    <a:lnTo>
                      <a:pt x="144" y="188"/>
                    </a:lnTo>
                    <a:lnTo>
                      <a:pt x="144" y="186"/>
                    </a:lnTo>
                    <a:lnTo>
                      <a:pt x="146" y="186"/>
                    </a:lnTo>
                    <a:lnTo>
                      <a:pt x="146" y="188"/>
                    </a:lnTo>
                    <a:close/>
                    <a:moveTo>
                      <a:pt x="161" y="192"/>
                    </a:moveTo>
                    <a:lnTo>
                      <a:pt x="161" y="190"/>
                    </a:lnTo>
                    <a:lnTo>
                      <a:pt x="161" y="192"/>
                    </a:lnTo>
                    <a:lnTo>
                      <a:pt x="159" y="190"/>
                    </a:lnTo>
                    <a:lnTo>
                      <a:pt x="161" y="190"/>
                    </a:lnTo>
                    <a:lnTo>
                      <a:pt x="159" y="190"/>
                    </a:lnTo>
                    <a:lnTo>
                      <a:pt x="161" y="190"/>
                    </a:lnTo>
                    <a:lnTo>
                      <a:pt x="161" y="192"/>
                    </a:lnTo>
                    <a:close/>
                    <a:moveTo>
                      <a:pt x="148" y="186"/>
                    </a:moveTo>
                    <a:lnTo>
                      <a:pt x="146" y="186"/>
                    </a:lnTo>
                    <a:lnTo>
                      <a:pt x="148" y="186"/>
                    </a:lnTo>
                    <a:close/>
                    <a:moveTo>
                      <a:pt x="155" y="186"/>
                    </a:moveTo>
                    <a:lnTo>
                      <a:pt x="155" y="188"/>
                    </a:lnTo>
                    <a:lnTo>
                      <a:pt x="154" y="188"/>
                    </a:lnTo>
                    <a:lnTo>
                      <a:pt x="154" y="190"/>
                    </a:lnTo>
                    <a:lnTo>
                      <a:pt x="152" y="190"/>
                    </a:lnTo>
                    <a:lnTo>
                      <a:pt x="150" y="190"/>
                    </a:lnTo>
                    <a:lnTo>
                      <a:pt x="148" y="190"/>
                    </a:lnTo>
                    <a:lnTo>
                      <a:pt x="148" y="188"/>
                    </a:lnTo>
                    <a:lnTo>
                      <a:pt x="148" y="186"/>
                    </a:lnTo>
                    <a:lnTo>
                      <a:pt x="150" y="184"/>
                    </a:lnTo>
                    <a:lnTo>
                      <a:pt x="152" y="182"/>
                    </a:lnTo>
                    <a:lnTo>
                      <a:pt x="154" y="182"/>
                    </a:lnTo>
                    <a:lnTo>
                      <a:pt x="155" y="182"/>
                    </a:lnTo>
                    <a:lnTo>
                      <a:pt x="157" y="182"/>
                    </a:lnTo>
                    <a:lnTo>
                      <a:pt x="155" y="184"/>
                    </a:lnTo>
                    <a:lnTo>
                      <a:pt x="155" y="186"/>
                    </a:lnTo>
                    <a:close/>
                    <a:moveTo>
                      <a:pt x="161" y="152"/>
                    </a:moveTo>
                    <a:lnTo>
                      <a:pt x="161" y="154"/>
                    </a:lnTo>
                    <a:lnTo>
                      <a:pt x="159" y="154"/>
                    </a:lnTo>
                    <a:lnTo>
                      <a:pt x="159" y="152"/>
                    </a:lnTo>
                    <a:lnTo>
                      <a:pt x="161" y="152"/>
                    </a:lnTo>
                    <a:close/>
                    <a:moveTo>
                      <a:pt x="280" y="182"/>
                    </a:moveTo>
                    <a:lnTo>
                      <a:pt x="280" y="180"/>
                    </a:lnTo>
                    <a:lnTo>
                      <a:pt x="280" y="182"/>
                    </a:lnTo>
                    <a:close/>
                    <a:moveTo>
                      <a:pt x="161" y="148"/>
                    </a:moveTo>
                    <a:lnTo>
                      <a:pt x="161" y="150"/>
                    </a:lnTo>
                    <a:lnTo>
                      <a:pt x="161" y="148"/>
                    </a:lnTo>
                    <a:close/>
                    <a:moveTo>
                      <a:pt x="161" y="146"/>
                    </a:moveTo>
                    <a:lnTo>
                      <a:pt x="161" y="144"/>
                    </a:lnTo>
                    <a:lnTo>
                      <a:pt x="161" y="146"/>
                    </a:lnTo>
                    <a:close/>
                    <a:moveTo>
                      <a:pt x="184" y="148"/>
                    </a:moveTo>
                    <a:lnTo>
                      <a:pt x="186" y="148"/>
                    </a:lnTo>
                    <a:lnTo>
                      <a:pt x="184" y="148"/>
                    </a:lnTo>
                    <a:close/>
                    <a:moveTo>
                      <a:pt x="282" y="171"/>
                    </a:moveTo>
                    <a:lnTo>
                      <a:pt x="282" y="173"/>
                    </a:lnTo>
                    <a:lnTo>
                      <a:pt x="280" y="173"/>
                    </a:lnTo>
                    <a:lnTo>
                      <a:pt x="280" y="171"/>
                    </a:lnTo>
                    <a:lnTo>
                      <a:pt x="282" y="171"/>
                    </a:lnTo>
                    <a:close/>
                    <a:moveTo>
                      <a:pt x="161" y="136"/>
                    </a:moveTo>
                    <a:lnTo>
                      <a:pt x="159" y="134"/>
                    </a:lnTo>
                    <a:lnTo>
                      <a:pt x="161" y="136"/>
                    </a:lnTo>
                    <a:lnTo>
                      <a:pt x="159" y="136"/>
                    </a:lnTo>
                    <a:lnTo>
                      <a:pt x="159" y="134"/>
                    </a:lnTo>
                    <a:lnTo>
                      <a:pt x="159" y="132"/>
                    </a:lnTo>
                    <a:lnTo>
                      <a:pt x="159" y="130"/>
                    </a:lnTo>
                    <a:lnTo>
                      <a:pt x="161" y="130"/>
                    </a:lnTo>
                    <a:lnTo>
                      <a:pt x="161" y="132"/>
                    </a:lnTo>
                    <a:lnTo>
                      <a:pt x="161" y="134"/>
                    </a:lnTo>
                    <a:lnTo>
                      <a:pt x="161" y="136"/>
                    </a:lnTo>
                    <a:close/>
                    <a:moveTo>
                      <a:pt x="159" y="129"/>
                    </a:moveTo>
                    <a:lnTo>
                      <a:pt x="159" y="130"/>
                    </a:lnTo>
                    <a:lnTo>
                      <a:pt x="159" y="132"/>
                    </a:lnTo>
                    <a:lnTo>
                      <a:pt x="159" y="134"/>
                    </a:lnTo>
                    <a:lnTo>
                      <a:pt x="159" y="136"/>
                    </a:lnTo>
                    <a:lnTo>
                      <a:pt x="159" y="134"/>
                    </a:lnTo>
                    <a:lnTo>
                      <a:pt x="157" y="134"/>
                    </a:lnTo>
                    <a:lnTo>
                      <a:pt x="157" y="132"/>
                    </a:lnTo>
                    <a:lnTo>
                      <a:pt x="155" y="130"/>
                    </a:lnTo>
                    <a:lnTo>
                      <a:pt x="155" y="129"/>
                    </a:lnTo>
                    <a:lnTo>
                      <a:pt x="154" y="129"/>
                    </a:lnTo>
                    <a:lnTo>
                      <a:pt x="155" y="129"/>
                    </a:lnTo>
                    <a:lnTo>
                      <a:pt x="155" y="127"/>
                    </a:lnTo>
                    <a:lnTo>
                      <a:pt x="155" y="125"/>
                    </a:lnTo>
                    <a:lnTo>
                      <a:pt x="157" y="125"/>
                    </a:lnTo>
                    <a:lnTo>
                      <a:pt x="159" y="127"/>
                    </a:lnTo>
                    <a:lnTo>
                      <a:pt x="159" y="129"/>
                    </a:lnTo>
                    <a:close/>
                    <a:moveTo>
                      <a:pt x="175" y="123"/>
                    </a:moveTo>
                    <a:lnTo>
                      <a:pt x="173" y="125"/>
                    </a:lnTo>
                    <a:lnTo>
                      <a:pt x="173" y="123"/>
                    </a:lnTo>
                    <a:lnTo>
                      <a:pt x="175" y="123"/>
                    </a:lnTo>
                    <a:close/>
                    <a:moveTo>
                      <a:pt x="155" y="115"/>
                    </a:moveTo>
                    <a:lnTo>
                      <a:pt x="155" y="117"/>
                    </a:lnTo>
                    <a:lnTo>
                      <a:pt x="155" y="119"/>
                    </a:lnTo>
                    <a:lnTo>
                      <a:pt x="155" y="121"/>
                    </a:lnTo>
                    <a:lnTo>
                      <a:pt x="155" y="123"/>
                    </a:lnTo>
                    <a:lnTo>
                      <a:pt x="155" y="125"/>
                    </a:lnTo>
                    <a:lnTo>
                      <a:pt x="155" y="127"/>
                    </a:lnTo>
                    <a:lnTo>
                      <a:pt x="154" y="127"/>
                    </a:lnTo>
                    <a:lnTo>
                      <a:pt x="154" y="125"/>
                    </a:lnTo>
                    <a:lnTo>
                      <a:pt x="154" y="123"/>
                    </a:lnTo>
                    <a:lnTo>
                      <a:pt x="154" y="121"/>
                    </a:lnTo>
                    <a:lnTo>
                      <a:pt x="154" y="119"/>
                    </a:lnTo>
                    <a:lnTo>
                      <a:pt x="154" y="117"/>
                    </a:lnTo>
                    <a:lnTo>
                      <a:pt x="154" y="115"/>
                    </a:lnTo>
                    <a:lnTo>
                      <a:pt x="155" y="115"/>
                    </a:lnTo>
                    <a:lnTo>
                      <a:pt x="154" y="115"/>
                    </a:lnTo>
                    <a:lnTo>
                      <a:pt x="154" y="113"/>
                    </a:lnTo>
                    <a:lnTo>
                      <a:pt x="155" y="111"/>
                    </a:lnTo>
                    <a:lnTo>
                      <a:pt x="155" y="109"/>
                    </a:lnTo>
                    <a:lnTo>
                      <a:pt x="157" y="109"/>
                    </a:lnTo>
                    <a:lnTo>
                      <a:pt x="157" y="111"/>
                    </a:lnTo>
                    <a:lnTo>
                      <a:pt x="157" y="113"/>
                    </a:lnTo>
                    <a:lnTo>
                      <a:pt x="155" y="113"/>
                    </a:lnTo>
                    <a:lnTo>
                      <a:pt x="155" y="115"/>
                    </a:lnTo>
                    <a:close/>
                    <a:moveTo>
                      <a:pt x="159" y="109"/>
                    </a:moveTo>
                    <a:lnTo>
                      <a:pt x="159" y="111"/>
                    </a:lnTo>
                    <a:lnTo>
                      <a:pt x="161" y="111"/>
                    </a:lnTo>
                    <a:lnTo>
                      <a:pt x="159" y="111"/>
                    </a:lnTo>
                    <a:lnTo>
                      <a:pt x="159" y="109"/>
                    </a:lnTo>
                    <a:lnTo>
                      <a:pt x="157" y="109"/>
                    </a:lnTo>
                    <a:lnTo>
                      <a:pt x="159" y="109"/>
                    </a:lnTo>
                    <a:close/>
                    <a:moveTo>
                      <a:pt x="161" y="105"/>
                    </a:moveTo>
                    <a:lnTo>
                      <a:pt x="161" y="104"/>
                    </a:lnTo>
                    <a:lnTo>
                      <a:pt x="161" y="105"/>
                    </a:lnTo>
                    <a:close/>
                    <a:moveTo>
                      <a:pt x="428" y="167"/>
                    </a:moveTo>
                    <a:lnTo>
                      <a:pt x="430" y="167"/>
                    </a:lnTo>
                    <a:lnTo>
                      <a:pt x="428" y="167"/>
                    </a:lnTo>
                    <a:close/>
                    <a:moveTo>
                      <a:pt x="396" y="161"/>
                    </a:moveTo>
                    <a:lnTo>
                      <a:pt x="396" y="159"/>
                    </a:lnTo>
                    <a:lnTo>
                      <a:pt x="396" y="161"/>
                    </a:lnTo>
                    <a:close/>
                    <a:moveTo>
                      <a:pt x="161" y="104"/>
                    </a:moveTo>
                    <a:lnTo>
                      <a:pt x="163" y="104"/>
                    </a:lnTo>
                    <a:lnTo>
                      <a:pt x="163" y="105"/>
                    </a:lnTo>
                    <a:lnTo>
                      <a:pt x="161" y="104"/>
                    </a:lnTo>
                    <a:close/>
                    <a:moveTo>
                      <a:pt x="430" y="167"/>
                    </a:moveTo>
                    <a:lnTo>
                      <a:pt x="428" y="167"/>
                    </a:lnTo>
                    <a:lnTo>
                      <a:pt x="430" y="167"/>
                    </a:lnTo>
                    <a:lnTo>
                      <a:pt x="430" y="165"/>
                    </a:lnTo>
                    <a:lnTo>
                      <a:pt x="430" y="167"/>
                    </a:lnTo>
                    <a:close/>
                    <a:moveTo>
                      <a:pt x="430" y="167"/>
                    </a:moveTo>
                    <a:lnTo>
                      <a:pt x="432" y="167"/>
                    </a:lnTo>
                    <a:lnTo>
                      <a:pt x="430" y="167"/>
                    </a:lnTo>
                    <a:close/>
                    <a:moveTo>
                      <a:pt x="161" y="104"/>
                    </a:moveTo>
                    <a:lnTo>
                      <a:pt x="161" y="105"/>
                    </a:lnTo>
                    <a:lnTo>
                      <a:pt x="159" y="105"/>
                    </a:lnTo>
                    <a:lnTo>
                      <a:pt x="159" y="107"/>
                    </a:lnTo>
                    <a:lnTo>
                      <a:pt x="159" y="109"/>
                    </a:lnTo>
                    <a:lnTo>
                      <a:pt x="157" y="109"/>
                    </a:lnTo>
                    <a:lnTo>
                      <a:pt x="157" y="107"/>
                    </a:lnTo>
                    <a:lnTo>
                      <a:pt x="159" y="104"/>
                    </a:lnTo>
                    <a:lnTo>
                      <a:pt x="161" y="104"/>
                    </a:lnTo>
                    <a:close/>
                    <a:moveTo>
                      <a:pt x="432" y="165"/>
                    </a:moveTo>
                    <a:lnTo>
                      <a:pt x="430" y="165"/>
                    </a:lnTo>
                    <a:lnTo>
                      <a:pt x="432" y="165"/>
                    </a:lnTo>
                    <a:close/>
                    <a:moveTo>
                      <a:pt x="165" y="104"/>
                    </a:moveTo>
                    <a:lnTo>
                      <a:pt x="163" y="104"/>
                    </a:lnTo>
                    <a:lnTo>
                      <a:pt x="165" y="104"/>
                    </a:lnTo>
                    <a:close/>
                    <a:moveTo>
                      <a:pt x="442" y="165"/>
                    </a:moveTo>
                    <a:lnTo>
                      <a:pt x="440" y="167"/>
                    </a:lnTo>
                    <a:lnTo>
                      <a:pt x="440" y="165"/>
                    </a:lnTo>
                    <a:lnTo>
                      <a:pt x="442" y="165"/>
                    </a:lnTo>
                    <a:close/>
                    <a:moveTo>
                      <a:pt x="177" y="105"/>
                    </a:moveTo>
                    <a:lnTo>
                      <a:pt x="175" y="105"/>
                    </a:lnTo>
                    <a:lnTo>
                      <a:pt x="177" y="105"/>
                    </a:lnTo>
                    <a:close/>
                    <a:moveTo>
                      <a:pt x="165" y="102"/>
                    </a:moveTo>
                    <a:lnTo>
                      <a:pt x="163" y="102"/>
                    </a:lnTo>
                    <a:lnTo>
                      <a:pt x="163" y="104"/>
                    </a:lnTo>
                    <a:lnTo>
                      <a:pt x="161" y="104"/>
                    </a:lnTo>
                    <a:lnTo>
                      <a:pt x="163" y="104"/>
                    </a:lnTo>
                    <a:lnTo>
                      <a:pt x="161" y="104"/>
                    </a:lnTo>
                    <a:lnTo>
                      <a:pt x="161" y="102"/>
                    </a:lnTo>
                    <a:lnTo>
                      <a:pt x="163" y="100"/>
                    </a:lnTo>
                    <a:lnTo>
                      <a:pt x="163" y="102"/>
                    </a:lnTo>
                    <a:lnTo>
                      <a:pt x="165" y="102"/>
                    </a:lnTo>
                    <a:close/>
                    <a:moveTo>
                      <a:pt x="169" y="98"/>
                    </a:moveTo>
                    <a:lnTo>
                      <a:pt x="169" y="96"/>
                    </a:lnTo>
                    <a:lnTo>
                      <a:pt x="169" y="98"/>
                    </a:lnTo>
                    <a:close/>
                    <a:moveTo>
                      <a:pt x="430" y="157"/>
                    </a:moveTo>
                    <a:lnTo>
                      <a:pt x="428" y="157"/>
                    </a:lnTo>
                    <a:lnTo>
                      <a:pt x="430" y="157"/>
                    </a:lnTo>
                    <a:lnTo>
                      <a:pt x="430" y="155"/>
                    </a:lnTo>
                    <a:lnTo>
                      <a:pt x="430" y="157"/>
                    </a:lnTo>
                    <a:close/>
                    <a:moveTo>
                      <a:pt x="167" y="100"/>
                    </a:moveTo>
                    <a:lnTo>
                      <a:pt x="167" y="102"/>
                    </a:lnTo>
                    <a:lnTo>
                      <a:pt x="165" y="102"/>
                    </a:lnTo>
                    <a:lnTo>
                      <a:pt x="163" y="100"/>
                    </a:lnTo>
                    <a:lnTo>
                      <a:pt x="165" y="98"/>
                    </a:lnTo>
                    <a:lnTo>
                      <a:pt x="165" y="100"/>
                    </a:lnTo>
                    <a:lnTo>
                      <a:pt x="165" y="98"/>
                    </a:lnTo>
                    <a:lnTo>
                      <a:pt x="165" y="96"/>
                    </a:lnTo>
                    <a:lnTo>
                      <a:pt x="167" y="96"/>
                    </a:lnTo>
                    <a:lnTo>
                      <a:pt x="169" y="96"/>
                    </a:lnTo>
                    <a:lnTo>
                      <a:pt x="169" y="98"/>
                    </a:lnTo>
                    <a:lnTo>
                      <a:pt x="167" y="98"/>
                    </a:lnTo>
                    <a:lnTo>
                      <a:pt x="167" y="100"/>
                    </a:lnTo>
                    <a:close/>
                    <a:moveTo>
                      <a:pt x="396" y="150"/>
                    </a:moveTo>
                    <a:lnTo>
                      <a:pt x="396" y="152"/>
                    </a:lnTo>
                    <a:lnTo>
                      <a:pt x="396" y="150"/>
                    </a:lnTo>
                    <a:close/>
                    <a:moveTo>
                      <a:pt x="298" y="129"/>
                    </a:moveTo>
                    <a:lnTo>
                      <a:pt x="298" y="130"/>
                    </a:lnTo>
                    <a:lnTo>
                      <a:pt x="298" y="129"/>
                    </a:lnTo>
                    <a:close/>
                    <a:moveTo>
                      <a:pt x="396" y="150"/>
                    </a:moveTo>
                    <a:lnTo>
                      <a:pt x="394" y="152"/>
                    </a:lnTo>
                    <a:lnTo>
                      <a:pt x="394" y="154"/>
                    </a:lnTo>
                    <a:lnTo>
                      <a:pt x="394" y="152"/>
                    </a:lnTo>
                    <a:lnTo>
                      <a:pt x="394" y="150"/>
                    </a:lnTo>
                    <a:lnTo>
                      <a:pt x="396" y="148"/>
                    </a:lnTo>
                    <a:lnTo>
                      <a:pt x="396" y="150"/>
                    </a:lnTo>
                    <a:close/>
                    <a:moveTo>
                      <a:pt x="396" y="150"/>
                    </a:moveTo>
                    <a:lnTo>
                      <a:pt x="396" y="148"/>
                    </a:lnTo>
                    <a:lnTo>
                      <a:pt x="396" y="150"/>
                    </a:lnTo>
                    <a:close/>
                    <a:moveTo>
                      <a:pt x="396" y="146"/>
                    </a:moveTo>
                    <a:lnTo>
                      <a:pt x="394" y="146"/>
                    </a:lnTo>
                    <a:lnTo>
                      <a:pt x="394" y="144"/>
                    </a:lnTo>
                    <a:lnTo>
                      <a:pt x="396" y="144"/>
                    </a:lnTo>
                    <a:lnTo>
                      <a:pt x="394" y="144"/>
                    </a:lnTo>
                    <a:lnTo>
                      <a:pt x="396" y="144"/>
                    </a:lnTo>
                    <a:lnTo>
                      <a:pt x="396" y="146"/>
                    </a:lnTo>
                    <a:close/>
                    <a:moveTo>
                      <a:pt x="373" y="138"/>
                    </a:moveTo>
                    <a:lnTo>
                      <a:pt x="371" y="138"/>
                    </a:lnTo>
                    <a:lnTo>
                      <a:pt x="373" y="138"/>
                    </a:lnTo>
                    <a:close/>
                    <a:moveTo>
                      <a:pt x="286" y="113"/>
                    </a:moveTo>
                    <a:lnTo>
                      <a:pt x="284" y="113"/>
                    </a:lnTo>
                    <a:lnTo>
                      <a:pt x="286" y="113"/>
                    </a:lnTo>
                    <a:close/>
                    <a:moveTo>
                      <a:pt x="200" y="80"/>
                    </a:moveTo>
                    <a:lnTo>
                      <a:pt x="200" y="79"/>
                    </a:lnTo>
                    <a:lnTo>
                      <a:pt x="200" y="80"/>
                    </a:lnTo>
                    <a:close/>
                    <a:moveTo>
                      <a:pt x="290" y="100"/>
                    </a:moveTo>
                    <a:lnTo>
                      <a:pt x="290" y="102"/>
                    </a:lnTo>
                    <a:lnTo>
                      <a:pt x="290" y="100"/>
                    </a:lnTo>
                    <a:close/>
                    <a:moveTo>
                      <a:pt x="407" y="92"/>
                    </a:moveTo>
                    <a:lnTo>
                      <a:pt x="405" y="92"/>
                    </a:lnTo>
                    <a:lnTo>
                      <a:pt x="405" y="90"/>
                    </a:lnTo>
                    <a:lnTo>
                      <a:pt x="407" y="90"/>
                    </a:lnTo>
                    <a:lnTo>
                      <a:pt x="407" y="92"/>
                    </a:lnTo>
                    <a:lnTo>
                      <a:pt x="405" y="92"/>
                    </a:lnTo>
                    <a:lnTo>
                      <a:pt x="407" y="92"/>
                    </a:lnTo>
                    <a:close/>
                    <a:moveTo>
                      <a:pt x="407" y="90"/>
                    </a:moveTo>
                    <a:lnTo>
                      <a:pt x="405" y="90"/>
                    </a:lnTo>
                    <a:lnTo>
                      <a:pt x="407" y="90"/>
                    </a:lnTo>
                    <a:close/>
                    <a:moveTo>
                      <a:pt x="405" y="88"/>
                    </a:moveTo>
                    <a:lnTo>
                      <a:pt x="407" y="90"/>
                    </a:lnTo>
                    <a:lnTo>
                      <a:pt x="405" y="90"/>
                    </a:lnTo>
                    <a:lnTo>
                      <a:pt x="407" y="90"/>
                    </a:lnTo>
                    <a:lnTo>
                      <a:pt x="405" y="90"/>
                    </a:lnTo>
                    <a:lnTo>
                      <a:pt x="405" y="88"/>
                    </a:lnTo>
                    <a:close/>
                    <a:moveTo>
                      <a:pt x="380" y="84"/>
                    </a:moveTo>
                    <a:lnTo>
                      <a:pt x="378" y="84"/>
                    </a:lnTo>
                    <a:lnTo>
                      <a:pt x="380" y="84"/>
                    </a:lnTo>
                    <a:lnTo>
                      <a:pt x="380" y="82"/>
                    </a:lnTo>
                    <a:lnTo>
                      <a:pt x="380" y="84"/>
                    </a:lnTo>
                    <a:close/>
                    <a:moveTo>
                      <a:pt x="380" y="82"/>
                    </a:moveTo>
                    <a:lnTo>
                      <a:pt x="380" y="84"/>
                    </a:lnTo>
                    <a:lnTo>
                      <a:pt x="378" y="84"/>
                    </a:lnTo>
                    <a:lnTo>
                      <a:pt x="378" y="82"/>
                    </a:lnTo>
                    <a:lnTo>
                      <a:pt x="380" y="82"/>
                    </a:lnTo>
                    <a:close/>
                    <a:moveTo>
                      <a:pt x="415" y="90"/>
                    </a:moveTo>
                    <a:lnTo>
                      <a:pt x="413" y="90"/>
                    </a:lnTo>
                    <a:lnTo>
                      <a:pt x="415" y="90"/>
                    </a:lnTo>
                    <a:close/>
                    <a:moveTo>
                      <a:pt x="407" y="88"/>
                    </a:moveTo>
                    <a:lnTo>
                      <a:pt x="405" y="88"/>
                    </a:lnTo>
                    <a:lnTo>
                      <a:pt x="407" y="88"/>
                    </a:lnTo>
                    <a:close/>
                    <a:moveTo>
                      <a:pt x="409" y="90"/>
                    </a:moveTo>
                    <a:lnTo>
                      <a:pt x="409" y="88"/>
                    </a:lnTo>
                    <a:lnTo>
                      <a:pt x="407" y="88"/>
                    </a:lnTo>
                    <a:lnTo>
                      <a:pt x="409" y="88"/>
                    </a:lnTo>
                    <a:lnTo>
                      <a:pt x="409" y="90"/>
                    </a:lnTo>
                    <a:close/>
                    <a:moveTo>
                      <a:pt x="409" y="86"/>
                    </a:moveTo>
                    <a:lnTo>
                      <a:pt x="407" y="86"/>
                    </a:lnTo>
                    <a:lnTo>
                      <a:pt x="409" y="86"/>
                    </a:lnTo>
                    <a:close/>
                    <a:moveTo>
                      <a:pt x="407" y="82"/>
                    </a:moveTo>
                    <a:lnTo>
                      <a:pt x="407" y="80"/>
                    </a:lnTo>
                    <a:lnTo>
                      <a:pt x="409" y="80"/>
                    </a:lnTo>
                    <a:lnTo>
                      <a:pt x="407" y="82"/>
                    </a:lnTo>
                    <a:close/>
                    <a:moveTo>
                      <a:pt x="321" y="50"/>
                    </a:moveTo>
                    <a:lnTo>
                      <a:pt x="321" y="52"/>
                    </a:lnTo>
                    <a:lnTo>
                      <a:pt x="321" y="50"/>
                    </a:lnTo>
                    <a:close/>
                    <a:moveTo>
                      <a:pt x="424" y="71"/>
                    </a:moveTo>
                    <a:lnTo>
                      <a:pt x="423" y="71"/>
                    </a:lnTo>
                    <a:lnTo>
                      <a:pt x="424" y="71"/>
                    </a:lnTo>
                    <a:close/>
                    <a:moveTo>
                      <a:pt x="323" y="50"/>
                    </a:moveTo>
                    <a:lnTo>
                      <a:pt x="323" y="52"/>
                    </a:lnTo>
                    <a:lnTo>
                      <a:pt x="323" y="50"/>
                    </a:lnTo>
                    <a:lnTo>
                      <a:pt x="321" y="50"/>
                    </a:lnTo>
                    <a:lnTo>
                      <a:pt x="323" y="50"/>
                    </a:lnTo>
                    <a:close/>
                    <a:moveTo>
                      <a:pt x="321" y="50"/>
                    </a:moveTo>
                    <a:lnTo>
                      <a:pt x="323" y="48"/>
                    </a:lnTo>
                    <a:lnTo>
                      <a:pt x="323" y="50"/>
                    </a:lnTo>
                    <a:lnTo>
                      <a:pt x="321" y="50"/>
                    </a:lnTo>
                    <a:close/>
                    <a:moveTo>
                      <a:pt x="321" y="46"/>
                    </a:moveTo>
                    <a:lnTo>
                      <a:pt x="323" y="46"/>
                    </a:lnTo>
                    <a:lnTo>
                      <a:pt x="321" y="46"/>
                    </a:lnTo>
                    <a:close/>
                    <a:moveTo>
                      <a:pt x="325" y="46"/>
                    </a:moveTo>
                    <a:lnTo>
                      <a:pt x="325" y="48"/>
                    </a:lnTo>
                    <a:lnTo>
                      <a:pt x="323" y="48"/>
                    </a:lnTo>
                    <a:lnTo>
                      <a:pt x="323" y="50"/>
                    </a:lnTo>
                    <a:lnTo>
                      <a:pt x="323" y="52"/>
                    </a:lnTo>
                    <a:lnTo>
                      <a:pt x="325" y="52"/>
                    </a:lnTo>
                    <a:lnTo>
                      <a:pt x="325" y="54"/>
                    </a:lnTo>
                    <a:lnTo>
                      <a:pt x="323" y="52"/>
                    </a:lnTo>
                    <a:lnTo>
                      <a:pt x="323" y="50"/>
                    </a:lnTo>
                    <a:lnTo>
                      <a:pt x="323" y="48"/>
                    </a:lnTo>
                    <a:lnTo>
                      <a:pt x="323" y="46"/>
                    </a:lnTo>
                    <a:lnTo>
                      <a:pt x="325" y="46"/>
                    </a:lnTo>
                    <a:close/>
                    <a:moveTo>
                      <a:pt x="367" y="48"/>
                    </a:moveTo>
                    <a:lnTo>
                      <a:pt x="365" y="48"/>
                    </a:lnTo>
                    <a:lnTo>
                      <a:pt x="367" y="48"/>
                    </a:lnTo>
                    <a:close/>
                    <a:moveTo>
                      <a:pt x="365" y="46"/>
                    </a:moveTo>
                    <a:lnTo>
                      <a:pt x="363" y="46"/>
                    </a:lnTo>
                    <a:lnTo>
                      <a:pt x="365" y="46"/>
                    </a:lnTo>
                    <a:close/>
                    <a:moveTo>
                      <a:pt x="367" y="44"/>
                    </a:moveTo>
                    <a:lnTo>
                      <a:pt x="367" y="46"/>
                    </a:lnTo>
                    <a:lnTo>
                      <a:pt x="367" y="44"/>
                    </a:lnTo>
                    <a:close/>
                    <a:moveTo>
                      <a:pt x="365" y="44"/>
                    </a:moveTo>
                    <a:lnTo>
                      <a:pt x="365" y="46"/>
                    </a:lnTo>
                    <a:lnTo>
                      <a:pt x="365" y="44"/>
                    </a:lnTo>
                    <a:close/>
                    <a:moveTo>
                      <a:pt x="369" y="46"/>
                    </a:moveTo>
                    <a:lnTo>
                      <a:pt x="369" y="44"/>
                    </a:lnTo>
                    <a:lnTo>
                      <a:pt x="369" y="46"/>
                    </a:lnTo>
                    <a:close/>
                    <a:moveTo>
                      <a:pt x="261" y="19"/>
                    </a:moveTo>
                    <a:lnTo>
                      <a:pt x="261" y="17"/>
                    </a:lnTo>
                    <a:lnTo>
                      <a:pt x="261" y="19"/>
                    </a:lnTo>
                    <a:close/>
                    <a:moveTo>
                      <a:pt x="367" y="40"/>
                    </a:moveTo>
                    <a:lnTo>
                      <a:pt x="365" y="40"/>
                    </a:lnTo>
                    <a:lnTo>
                      <a:pt x="365" y="42"/>
                    </a:lnTo>
                    <a:lnTo>
                      <a:pt x="365" y="40"/>
                    </a:lnTo>
                    <a:lnTo>
                      <a:pt x="367" y="40"/>
                    </a:lnTo>
                    <a:lnTo>
                      <a:pt x="367" y="42"/>
                    </a:lnTo>
                    <a:lnTo>
                      <a:pt x="365" y="42"/>
                    </a:lnTo>
                    <a:lnTo>
                      <a:pt x="365" y="40"/>
                    </a:lnTo>
                    <a:lnTo>
                      <a:pt x="367" y="40"/>
                    </a:lnTo>
                    <a:close/>
                    <a:moveTo>
                      <a:pt x="365" y="40"/>
                    </a:moveTo>
                    <a:lnTo>
                      <a:pt x="367" y="40"/>
                    </a:lnTo>
                    <a:lnTo>
                      <a:pt x="365" y="40"/>
                    </a:lnTo>
                    <a:close/>
                    <a:moveTo>
                      <a:pt x="303" y="19"/>
                    </a:moveTo>
                    <a:lnTo>
                      <a:pt x="303" y="21"/>
                    </a:lnTo>
                    <a:lnTo>
                      <a:pt x="301" y="21"/>
                    </a:lnTo>
                    <a:lnTo>
                      <a:pt x="301" y="19"/>
                    </a:lnTo>
                    <a:lnTo>
                      <a:pt x="303" y="19"/>
                    </a:lnTo>
                    <a:close/>
                    <a:moveTo>
                      <a:pt x="301" y="17"/>
                    </a:moveTo>
                    <a:lnTo>
                      <a:pt x="300" y="17"/>
                    </a:lnTo>
                    <a:lnTo>
                      <a:pt x="301" y="17"/>
                    </a:lnTo>
                    <a:close/>
                    <a:moveTo>
                      <a:pt x="303" y="15"/>
                    </a:moveTo>
                    <a:lnTo>
                      <a:pt x="303" y="17"/>
                    </a:lnTo>
                    <a:lnTo>
                      <a:pt x="303" y="15"/>
                    </a:lnTo>
                    <a:lnTo>
                      <a:pt x="301" y="15"/>
                    </a:lnTo>
                    <a:lnTo>
                      <a:pt x="303" y="15"/>
                    </a:lnTo>
                    <a:close/>
                    <a:moveTo>
                      <a:pt x="396" y="32"/>
                    </a:moveTo>
                    <a:lnTo>
                      <a:pt x="396" y="34"/>
                    </a:lnTo>
                    <a:lnTo>
                      <a:pt x="396" y="36"/>
                    </a:lnTo>
                    <a:lnTo>
                      <a:pt x="396" y="34"/>
                    </a:lnTo>
                    <a:lnTo>
                      <a:pt x="396" y="32"/>
                    </a:lnTo>
                    <a:close/>
                    <a:moveTo>
                      <a:pt x="407" y="36"/>
                    </a:moveTo>
                    <a:lnTo>
                      <a:pt x="409" y="36"/>
                    </a:lnTo>
                    <a:lnTo>
                      <a:pt x="407" y="36"/>
                    </a:lnTo>
                    <a:lnTo>
                      <a:pt x="409" y="36"/>
                    </a:lnTo>
                    <a:lnTo>
                      <a:pt x="409" y="38"/>
                    </a:lnTo>
                    <a:lnTo>
                      <a:pt x="411" y="38"/>
                    </a:lnTo>
                    <a:lnTo>
                      <a:pt x="411" y="40"/>
                    </a:lnTo>
                    <a:lnTo>
                      <a:pt x="409" y="40"/>
                    </a:lnTo>
                    <a:lnTo>
                      <a:pt x="407" y="40"/>
                    </a:lnTo>
                    <a:lnTo>
                      <a:pt x="405" y="38"/>
                    </a:lnTo>
                    <a:lnTo>
                      <a:pt x="403" y="38"/>
                    </a:lnTo>
                    <a:lnTo>
                      <a:pt x="401" y="38"/>
                    </a:lnTo>
                    <a:lnTo>
                      <a:pt x="399" y="36"/>
                    </a:lnTo>
                    <a:lnTo>
                      <a:pt x="399" y="34"/>
                    </a:lnTo>
                    <a:lnTo>
                      <a:pt x="401" y="34"/>
                    </a:lnTo>
                    <a:lnTo>
                      <a:pt x="403" y="34"/>
                    </a:lnTo>
                    <a:lnTo>
                      <a:pt x="405" y="34"/>
                    </a:lnTo>
                    <a:lnTo>
                      <a:pt x="405" y="36"/>
                    </a:lnTo>
                    <a:lnTo>
                      <a:pt x="407" y="36"/>
                    </a:lnTo>
                    <a:close/>
                    <a:moveTo>
                      <a:pt x="298" y="0"/>
                    </a:moveTo>
                    <a:lnTo>
                      <a:pt x="298" y="2"/>
                    </a:lnTo>
                    <a:lnTo>
                      <a:pt x="300" y="2"/>
                    </a:lnTo>
                    <a:lnTo>
                      <a:pt x="298" y="2"/>
                    </a:lnTo>
                    <a:lnTo>
                      <a:pt x="298" y="0"/>
                    </a:lnTo>
                    <a:close/>
                    <a:moveTo>
                      <a:pt x="403" y="17"/>
                    </a:moveTo>
                    <a:lnTo>
                      <a:pt x="405" y="19"/>
                    </a:lnTo>
                    <a:lnTo>
                      <a:pt x="407" y="19"/>
                    </a:lnTo>
                    <a:lnTo>
                      <a:pt x="411" y="21"/>
                    </a:lnTo>
                    <a:lnTo>
                      <a:pt x="413" y="23"/>
                    </a:lnTo>
                    <a:lnTo>
                      <a:pt x="415" y="25"/>
                    </a:lnTo>
                    <a:lnTo>
                      <a:pt x="415" y="27"/>
                    </a:lnTo>
                    <a:lnTo>
                      <a:pt x="415" y="25"/>
                    </a:lnTo>
                    <a:lnTo>
                      <a:pt x="413" y="25"/>
                    </a:lnTo>
                    <a:lnTo>
                      <a:pt x="413" y="23"/>
                    </a:lnTo>
                    <a:lnTo>
                      <a:pt x="411" y="23"/>
                    </a:lnTo>
                    <a:lnTo>
                      <a:pt x="413" y="23"/>
                    </a:lnTo>
                    <a:lnTo>
                      <a:pt x="411" y="23"/>
                    </a:lnTo>
                    <a:lnTo>
                      <a:pt x="411" y="21"/>
                    </a:lnTo>
                    <a:lnTo>
                      <a:pt x="409" y="21"/>
                    </a:lnTo>
                    <a:lnTo>
                      <a:pt x="407" y="21"/>
                    </a:lnTo>
                    <a:lnTo>
                      <a:pt x="407" y="19"/>
                    </a:lnTo>
                    <a:lnTo>
                      <a:pt x="405" y="19"/>
                    </a:lnTo>
                    <a:lnTo>
                      <a:pt x="403" y="19"/>
                    </a:lnTo>
                    <a:lnTo>
                      <a:pt x="401" y="19"/>
                    </a:lnTo>
                    <a:lnTo>
                      <a:pt x="401" y="17"/>
                    </a:lnTo>
                    <a:lnTo>
                      <a:pt x="403" y="17"/>
                    </a:lnTo>
                    <a:close/>
                    <a:moveTo>
                      <a:pt x="401" y="17"/>
                    </a:moveTo>
                    <a:lnTo>
                      <a:pt x="399" y="17"/>
                    </a:lnTo>
                    <a:lnTo>
                      <a:pt x="398" y="17"/>
                    </a:lnTo>
                    <a:lnTo>
                      <a:pt x="396" y="19"/>
                    </a:lnTo>
                    <a:lnTo>
                      <a:pt x="398" y="19"/>
                    </a:lnTo>
                    <a:lnTo>
                      <a:pt x="398" y="21"/>
                    </a:lnTo>
                    <a:lnTo>
                      <a:pt x="396" y="21"/>
                    </a:lnTo>
                    <a:lnTo>
                      <a:pt x="394" y="21"/>
                    </a:lnTo>
                    <a:lnTo>
                      <a:pt x="390" y="19"/>
                    </a:lnTo>
                    <a:lnTo>
                      <a:pt x="390" y="17"/>
                    </a:lnTo>
                    <a:lnTo>
                      <a:pt x="388" y="19"/>
                    </a:lnTo>
                    <a:lnTo>
                      <a:pt x="386" y="19"/>
                    </a:lnTo>
                    <a:lnTo>
                      <a:pt x="386" y="21"/>
                    </a:lnTo>
                    <a:lnTo>
                      <a:pt x="384" y="21"/>
                    </a:lnTo>
                    <a:lnTo>
                      <a:pt x="386" y="19"/>
                    </a:lnTo>
                    <a:lnTo>
                      <a:pt x="386" y="17"/>
                    </a:lnTo>
                    <a:lnTo>
                      <a:pt x="388" y="17"/>
                    </a:lnTo>
                    <a:lnTo>
                      <a:pt x="390" y="17"/>
                    </a:lnTo>
                    <a:lnTo>
                      <a:pt x="390" y="15"/>
                    </a:lnTo>
                    <a:lnTo>
                      <a:pt x="392" y="15"/>
                    </a:lnTo>
                    <a:lnTo>
                      <a:pt x="396" y="15"/>
                    </a:lnTo>
                    <a:lnTo>
                      <a:pt x="398" y="15"/>
                    </a:lnTo>
                    <a:lnTo>
                      <a:pt x="399" y="17"/>
                    </a:lnTo>
                    <a:lnTo>
                      <a:pt x="401" y="1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" name="Freeform 146">
                <a:extLst>
                  <a:ext uri="{FF2B5EF4-FFF2-40B4-BE49-F238E27FC236}">
                    <a16:creationId xmlns="" xmlns:a16="http://schemas.microsoft.com/office/drawing/2014/main" id="{8F407AFB-51E9-429C-B7BE-BC17DC6955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68700" y="2471738"/>
                <a:ext cx="768350" cy="857250"/>
              </a:xfrm>
              <a:custGeom>
                <a:avLst/>
                <a:gdLst>
                  <a:gd name="T0" fmla="*/ 27 w 484"/>
                  <a:gd name="T1" fmla="*/ 471 h 540"/>
                  <a:gd name="T2" fmla="*/ 21 w 484"/>
                  <a:gd name="T3" fmla="*/ 467 h 540"/>
                  <a:gd name="T4" fmla="*/ 21 w 484"/>
                  <a:gd name="T5" fmla="*/ 465 h 540"/>
                  <a:gd name="T6" fmla="*/ 25 w 484"/>
                  <a:gd name="T7" fmla="*/ 463 h 540"/>
                  <a:gd name="T8" fmla="*/ 25 w 484"/>
                  <a:gd name="T9" fmla="*/ 459 h 540"/>
                  <a:gd name="T10" fmla="*/ 21 w 484"/>
                  <a:gd name="T11" fmla="*/ 456 h 540"/>
                  <a:gd name="T12" fmla="*/ 353 w 484"/>
                  <a:gd name="T13" fmla="*/ 532 h 540"/>
                  <a:gd name="T14" fmla="*/ 21 w 484"/>
                  <a:gd name="T15" fmla="*/ 448 h 540"/>
                  <a:gd name="T16" fmla="*/ 25 w 484"/>
                  <a:gd name="T17" fmla="*/ 448 h 540"/>
                  <a:gd name="T18" fmla="*/ 2 w 484"/>
                  <a:gd name="T19" fmla="*/ 440 h 540"/>
                  <a:gd name="T20" fmla="*/ 11 w 484"/>
                  <a:gd name="T21" fmla="*/ 440 h 540"/>
                  <a:gd name="T22" fmla="*/ 13 w 484"/>
                  <a:gd name="T23" fmla="*/ 440 h 540"/>
                  <a:gd name="T24" fmla="*/ 11 w 484"/>
                  <a:gd name="T25" fmla="*/ 438 h 540"/>
                  <a:gd name="T26" fmla="*/ 29 w 484"/>
                  <a:gd name="T27" fmla="*/ 442 h 540"/>
                  <a:gd name="T28" fmla="*/ 25 w 484"/>
                  <a:gd name="T29" fmla="*/ 436 h 540"/>
                  <a:gd name="T30" fmla="*/ 357 w 484"/>
                  <a:gd name="T31" fmla="*/ 515 h 540"/>
                  <a:gd name="T32" fmla="*/ 15 w 484"/>
                  <a:gd name="T33" fmla="*/ 427 h 540"/>
                  <a:gd name="T34" fmla="*/ 15 w 484"/>
                  <a:gd name="T35" fmla="*/ 423 h 540"/>
                  <a:gd name="T36" fmla="*/ 31 w 484"/>
                  <a:gd name="T37" fmla="*/ 421 h 540"/>
                  <a:gd name="T38" fmla="*/ 25 w 484"/>
                  <a:gd name="T39" fmla="*/ 415 h 540"/>
                  <a:gd name="T40" fmla="*/ 34 w 484"/>
                  <a:gd name="T41" fmla="*/ 409 h 540"/>
                  <a:gd name="T42" fmla="*/ 33 w 484"/>
                  <a:gd name="T43" fmla="*/ 400 h 540"/>
                  <a:gd name="T44" fmla="*/ 223 w 484"/>
                  <a:gd name="T45" fmla="*/ 450 h 540"/>
                  <a:gd name="T46" fmla="*/ 56 w 484"/>
                  <a:gd name="T47" fmla="*/ 400 h 540"/>
                  <a:gd name="T48" fmla="*/ 48 w 484"/>
                  <a:gd name="T49" fmla="*/ 398 h 540"/>
                  <a:gd name="T50" fmla="*/ 42 w 484"/>
                  <a:gd name="T51" fmla="*/ 394 h 540"/>
                  <a:gd name="T52" fmla="*/ 40 w 484"/>
                  <a:gd name="T53" fmla="*/ 392 h 540"/>
                  <a:gd name="T54" fmla="*/ 50 w 484"/>
                  <a:gd name="T55" fmla="*/ 392 h 540"/>
                  <a:gd name="T56" fmla="*/ 57 w 484"/>
                  <a:gd name="T57" fmla="*/ 388 h 540"/>
                  <a:gd name="T58" fmla="*/ 56 w 484"/>
                  <a:gd name="T59" fmla="*/ 386 h 540"/>
                  <a:gd name="T60" fmla="*/ 57 w 484"/>
                  <a:gd name="T61" fmla="*/ 383 h 540"/>
                  <a:gd name="T62" fmla="*/ 79 w 484"/>
                  <a:gd name="T63" fmla="*/ 384 h 540"/>
                  <a:gd name="T64" fmla="*/ 227 w 484"/>
                  <a:gd name="T65" fmla="*/ 411 h 540"/>
                  <a:gd name="T66" fmla="*/ 227 w 484"/>
                  <a:gd name="T67" fmla="*/ 409 h 540"/>
                  <a:gd name="T68" fmla="*/ 373 w 484"/>
                  <a:gd name="T69" fmla="*/ 438 h 540"/>
                  <a:gd name="T70" fmla="*/ 180 w 484"/>
                  <a:gd name="T71" fmla="*/ 394 h 540"/>
                  <a:gd name="T72" fmla="*/ 230 w 484"/>
                  <a:gd name="T73" fmla="*/ 406 h 540"/>
                  <a:gd name="T74" fmla="*/ 203 w 484"/>
                  <a:gd name="T75" fmla="*/ 400 h 540"/>
                  <a:gd name="T76" fmla="*/ 194 w 484"/>
                  <a:gd name="T77" fmla="*/ 396 h 540"/>
                  <a:gd name="T78" fmla="*/ 165 w 484"/>
                  <a:gd name="T79" fmla="*/ 383 h 540"/>
                  <a:gd name="T80" fmla="*/ 180 w 484"/>
                  <a:gd name="T81" fmla="*/ 384 h 540"/>
                  <a:gd name="T82" fmla="*/ 203 w 484"/>
                  <a:gd name="T83" fmla="*/ 388 h 540"/>
                  <a:gd name="T84" fmla="*/ 238 w 484"/>
                  <a:gd name="T85" fmla="*/ 396 h 540"/>
                  <a:gd name="T86" fmla="*/ 179 w 484"/>
                  <a:gd name="T87" fmla="*/ 379 h 540"/>
                  <a:gd name="T88" fmla="*/ 129 w 484"/>
                  <a:gd name="T89" fmla="*/ 363 h 540"/>
                  <a:gd name="T90" fmla="*/ 211 w 484"/>
                  <a:gd name="T91" fmla="*/ 383 h 540"/>
                  <a:gd name="T92" fmla="*/ 179 w 484"/>
                  <a:gd name="T93" fmla="*/ 373 h 540"/>
                  <a:gd name="T94" fmla="*/ 148 w 484"/>
                  <a:gd name="T95" fmla="*/ 361 h 540"/>
                  <a:gd name="T96" fmla="*/ 215 w 484"/>
                  <a:gd name="T97" fmla="*/ 375 h 540"/>
                  <a:gd name="T98" fmla="*/ 217 w 484"/>
                  <a:gd name="T99" fmla="*/ 371 h 540"/>
                  <a:gd name="T100" fmla="*/ 432 w 484"/>
                  <a:gd name="T101" fmla="*/ 404 h 540"/>
                  <a:gd name="T102" fmla="*/ 426 w 484"/>
                  <a:gd name="T103" fmla="*/ 398 h 540"/>
                  <a:gd name="T104" fmla="*/ 415 w 484"/>
                  <a:gd name="T105" fmla="*/ 386 h 540"/>
                  <a:gd name="T106" fmla="*/ 378 w 484"/>
                  <a:gd name="T107" fmla="*/ 356 h 540"/>
                  <a:gd name="T108" fmla="*/ 186 w 484"/>
                  <a:gd name="T109" fmla="*/ 242 h 540"/>
                  <a:gd name="T110" fmla="*/ 367 w 484"/>
                  <a:gd name="T111" fmla="*/ 265 h 540"/>
                  <a:gd name="T112" fmla="*/ 154 w 484"/>
                  <a:gd name="T113" fmla="*/ 196 h 540"/>
                  <a:gd name="T114" fmla="*/ 157 w 484"/>
                  <a:gd name="T115" fmla="*/ 115 h 540"/>
                  <a:gd name="T116" fmla="*/ 426 w 484"/>
                  <a:gd name="T117" fmla="*/ 154 h 540"/>
                  <a:gd name="T118" fmla="*/ 407 w 484"/>
                  <a:gd name="T119" fmla="*/ 94 h 540"/>
                  <a:gd name="T120" fmla="*/ 367 w 484"/>
                  <a:gd name="T121" fmla="*/ 46 h 540"/>
                  <a:gd name="T122" fmla="*/ 296 w 484"/>
                  <a:gd name="T123" fmla="*/ 6 h 5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84" h="540">
                    <a:moveTo>
                      <a:pt x="228" y="531"/>
                    </a:moveTo>
                    <a:lnTo>
                      <a:pt x="228" y="532"/>
                    </a:lnTo>
                    <a:lnTo>
                      <a:pt x="228" y="531"/>
                    </a:lnTo>
                    <a:close/>
                    <a:moveTo>
                      <a:pt x="230" y="531"/>
                    </a:moveTo>
                    <a:lnTo>
                      <a:pt x="228" y="531"/>
                    </a:lnTo>
                    <a:lnTo>
                      <a:pt x="230" y="531"/>
                    </a:lnTo>
                    <a:close/>
                    <a:moveTo>
                      <a:pt x="15" y="471"/>
                    </a:moveTo>
                    <a:lnTo>
                      <a:pt x="15" y="473"/>
                    </a:lnTo>
                    <a:lnTo>
                      <a:pt x="15" y="471"/>
                    </a:lnTo>
                    <a:close/>
                    <a:moveTo>
                      <a:pt x="15" y="471"/>
                    </a:moveTo>
                    <a:lnTo>
                      <a:pt x="15" y="469"/>
                    </a:lnTo>
                    <a:lnTo>
                      <a:pt x="15" y="471"/>
                    </a:lnTo>
                    <a:close/>
                    <a:moveTo>
                      <a:pt x="15" y="469"/>
                    </a:moveTo>
                    <a:lnTo>
                      <a:pt x="13" y="469"/>
                    </a:lnTo>
                    <a:lnTo>
                      <a:pt x="15" y="469"/>
                    </a:lnTo>
                    <a:close/>
                    <a:moveTo>
                      <a:pt x="17" y="471"/>
                    </a:moveTo>
                    <a:lnTo>
                      <a:pt x="17" y="469"/>
                    </a:lnTo>
                    <a:lnTo>
                      <a:pt x="17" y="471"/>
                    </a:lnTo>
                    <a:close/>
                    <a:moveTo>
                      <a:pt x="23" y="471"/>
                    </a:moveTo>
                    <a:lnTo>
                      <a:pt x="23" y="469"/>
                    </a:lnTo>
                    <a:lnTo>
                      <a:pt x="23" y="471"/>
                    </a:lnTo>
                    <a:close/>
                    <a:moveTo>
                      <a:pt x="25" y="469"/>
                    </a:moveTo>
                    <a:lnTo>
                      <a:pt x="25" y="471"/>
                    </a:lnTo>
                    <a:lnTo>
                      <a:pt x="25" y="469"/>
                    </a:lnTo>
                    <a:close/>
                    <a:moveTo>
                      <a:pt x="27" y="471"/>
                    </a:moveTo>
                    <a:lnTo>
                      <a:pt x="27" y="469"/>
                    </a:lnTo>
                    <a:lnTo>
                      <a:pt x="27" y="471"/>
                    </a:lnTo>
                    <a:close/>
                    <a:moveTo>
                      <a:pt x="27" y="469"/>
                    </a:moveTo>
                    <a:lnTo>
                      <a:pt x="27" y="471"/>
                    </a:lnTo>
                    <a:lnTo>
                      <a:pt x="27" y="469"/>
                    </a:lnTo>
                    <a:close/>
                    <a:moveTo>
                      <a:pt x="34" y="473"/>
                    </a:moveTo>
                    <a:lnTo>
                      <a:pt x="34" y="471"/>
                    </a:lnTo>
                    <a:lnTo>
                      <a:pt x="34" y="473"/>
                    </a:lnTo>
                    <a:close/>
                    <a:moveTo>
                      <a:pt x="232" y="525"/>
                    </a:moveTo>
                    <a:lnTo>
                      <a:pt x="232" y="523"/>
                    </a:lnTo>
                    <a:lnTo>
                      <a:pt x="232" y="525"/>
                    </a:lnTo>
                    <a:close/>
                    <a:moveTo>
                      <a:pt x="27" y="469"/>
                    </a:moveTo>
                    <a:lnTo>
                      <a:pt x="25" y="469"/>
                    </a:lnTo>
                    <a:lnTo>
                      <a:pt x="27" y="469"/>
                    </a:lnTo>
                    <a:close/>
                    <a:moveTo>
                      <a:pt x="25" y="469"/>
                    </a:moveTo>
                    <a:lnTo>
                      <a:pt x="25" y="467"/>
                    </a:lnTo>
                    <a:lnTo>
                      <a:pt x="25" y="469"/>
                    </a:lnTo>
                    <a:close/>
                    <a:moveTo>
                      <a:pt x="33" y="471"/>
                    </a:moveTo>
                    <a:lnTo>
                      <a:pt x="31" y="471"/>
                    </a:lnTo>
                    <a:lnTo>
                      <a:pt x="33" y="471"/>
                    </a:lnTo>
                    <a:close/>
                    <a:moveTo>
                      <a:pt x="19" y="465"/>
                    </a:moveTo>
                    <a:lnTo>
                      <a:pt x="19" y="467"/>
                    </a:lnTo>
                    <a:lnTo>
                      <a:pt x="19" y="465"/>
                    </a:lnTo>
                    <a:close/>
                    <a:moveTo>
                      <a:pt x="23" y="467"/>
                    </a:moveTo>
                    <a:lnTo>
                      <a:pt x="21" y="467"/>
                    </a:lnTo>
                    <a:lnTo>
                      <a:pt x="23" y="467"/>
                    </a:lnTo>
                    <a:close/>
                    <a:moveTo>
                      <a:pt x="17" y="465"/>
                    </a:moveTo>
                    <a:lnTo>
                      <a:pt x="17" y="463"/>
                    </a:lnTo>
                    <a:lnTo>
                      <a:pt x="17" y="465"/>
                    </a:lnTo>
                    <a:close/>
                    <a:moveTo>
                      <a:pt x="36" y="469"/>
                    </a:moveTo>
                    <a:lnTo>
                      <a:pt x="36" y="471"/>
                    </a:lnTo>
                    <a:lnTo>
                      <a:pt x="36" y="469"/>
                    </a:lnTo>
                    <a:close/>
                    <a:moveTo>
                      <a:pt x="234" y="523"/>
                    </a:moveTo>
                    <a:lnTo>
                      <a:pt x="232" y="523"/>
                    </a:lnTo>
                    <a:lnTo>
                      <a:pt x="234" y="523"/>
                    </a:lnTo>
                    <a:close/>
                    <a:moveTo>
                      <a:pt x="36" y="471"/>
                    </a:moveTo>
                    <a:lnTo>
                      <a:pt x="36" y="469"/>
                    </a:lnTo>
                    <a:lnTo>
                      <a:pt x="36" y="471"/>
                    </a:lnTo>
                    <a:close/>
                    <a:moveTo>
                      <a:pt x="234" y="523"/>
                    </a:moveTo>
                    <a:lnTo>
                      <a:pt x="234" y="521"/>
                    </a:lnTo>
                    <a:lnTo>
                      <a:pt x="234" y="523"/>
                    </a:lnTo>
                    <a:close/>
                    <a:moveTo>
                      <a:pt x="31" y="469"/>
                    </a:moveTo>
                    <a:lnTo>
                      <a:pt x="31" y="467"/>
                    </a:lnTo>
                    <a:lnTo>
                      <a:pt x="31" y="469"/>
                    </a:lnTo>
                    <a:close/>
                    <a:moveTo>
                      <a:pt x="25" y="465"/>
                    </a:moveTo>
                    <a:lnTo>
                      <a:pt x="23" y="465"/>
                    </a:lnTo>
                    <a:lnTo>
                      <a:pt x="25" y="465"/>
                    </a:lnTo>
                    <a:close/>
                    <a:moveTo>
                      <a:pt x="21" y="465"/>
                    </a:moveTo>
                    <a:lnTo>
                      <a:pt x="21" y="463"/>
                    </a:lnTo>
                    <a:lnTo>
                      <a:pt x="21" y="465"/>
                    </a:lnTo>
                    <a:close/>
                    <a:moveTo>
                      <a:pt x="33" y="467"/>
                    </a:moveTo>
                    <a:lnTo>
                      <a:pt x="31" y="467"/>
                    </a:lnTo>
                    <a:lnTo>
                      <a:pt x="33" y="467"/>
                    </a:lnTo>
                    <a:close/>
                    <a:moveTo>
                      <a:pt x="29" y="467"/>
                    </a:moveTo>
                    <a:lnTo>
                      <a:pt x="27" y="465"/>
                    </a:lnTo>
                    <a:lnTo>
                      <a:pt x="29" y="465"/>
                    </a:lnTo>
                    <a:lnTo>
                      <a:pt x="29" y="467"/>
                    </a:lnTo>
                    <a:close/>
                    <a:moveTo>
                      <a:pt x="31" y="467"/>
                    </a:moveTo>
                    <a:lnTo>
                      <a:pt x="31" y="465"/>
                    </a:lnTo>
                    <a:lnTo>
                      <a:pt x="31" y="467"/>
                    </a:lnTo>
                    <a:close/>
                    <a:moveTo>
                      <a:pt x="31" y="465"/>
                    </a:moveTo>
                    <a:lnTo>
                      <a:pt x="29" y="465"/>
                    </a:lnTo>
                    <a:lnTo>
                      <a:pt x="31" y="465"/>
                    </a:lnTo>
                    <a:close/>
                    <a:moveTo>
                      <a:pt x="27" y="465"/>
                    </a:moveTo>
                    <a:lnTo>
                      <a:pt x="27" y="463"/>
                    </a:lnTo>
                    <a:lnTo>
                      <a:pt x="27" y="465"/>
                    </a:lnTo>
                    <a:close/>
                    <a:moveTo>
                      <a:pt x="236" y="519"/>
                    </a:moveTo>
                    <a:lnTo>
                      <a:pt x="234" y="519"/>
                    </a:lnTo>
                    <a:lnTo>
                      <a:pt x="236" y="519"/>
                    </a:lnTo>
                    <a:close/>
                    <a:moveTo>
                      <a:pt x="17" y="459"/>
                    </a:moveTo>
                    <a:lnTo>
                      <a:pt x="15" y="459"/>
                    </a:lnTo>
                    <a:lnTo>
                      <a:pt x="17" y="459"/>
                    </a:lnTo>
                    <a:close/>
                    <a:moveTo>
                      <a:pt x="25" y="463"/>
                    </a:moveTo>
                    <a:lnTo>
                      <a:pt x="27" y="463"/>
                    </a:lnTo>
                    <a:lnTo>
                      <a:pt x="25" y="463"/>
                    </a:lnTo>
                    <a:close/>
                    <a:moveTo>
                      <a:pt x="25" y="463"/>
                    </a:moveTo>
                    <a:lnTo>
                      <a:pt x="27" y="463"/>
                    </a:lnTo>
                    <a:lnTo>
                      <a:pt x="25" y="463"/>
                    </a:lnTo>
                    <a:close/>
                    <a:moveTo>
                      <a:pt x="25" y="461"/>
                    </a:moveTo>
                    <a:lnTo>
                      <a:pt x="25" y="463"/>
                    </a:lnTo>
                    <a:lnTo>
                      <a:pt x="25" y="461"/>
                    </a:lnTo>
                    <a:close/>
                    <a:moveTo>
                      <a:pt x="236" y="519"/>
                    </a:moveTo>
                    <a:lnTo>
                      <a:pt x="236" y="517"/>
                    </a:lnTo>
                    <a:lnTo>
                      <a:pt x="236" y="519"/>
                    </a:lnTo>
                    <a:close/>
                    <a:moveTo>
                      <a:pt x="17" y="459"/>
                    </a:moveTo>
                    <a:lnTo>
                      <a:pt x="17" y="457"/>
                    </a:lnTo>
                    <a:lnTo>
                      <a:pt x="17" y="459"/>
                    </a:lnTo>
                    <a:close/>
                    <a:moveTo>
                      <a:pt x="27" y="461"/>
                    </a:moveTo>
                    <a:lnTo>
                      <a:pt x="25" y="461"/>
                    </a:lnTo>
                    <a:lnTo>
                      <a:pt x="27" y="461"/>
                    </a:lnTo>
                    <a:close/>
                    <a:moveTo>
                      <a:pt x="27" y="461"/>
                    </a:moveTo>
                    <a:lnTo>
                      <a:pt x="27" y="459"/>
                    </a:lnTo>
                    <a:lnTo>
                      <a:pt x="27" y="461"/>
                    </a:lnTo>
                    <a:close/>
                    <a:moveTo>
                      <a:pt x="353" y="540"/>
                    </a:moveTo>
                    <a:lnTo>
                      <a:pt x="353" y="538"/>
                    </a:lnTo>
                    <a:lnTo>
                      <a:pt x="353" y="540"/>
                    </a:lnTo>
                    <a:close/>
                    <a:moveTo>
                      <a:pt x="21" y="459"/>
                    </a:moveTo>
                    <a:lnTo>
                      <a:pt x="21" y="457"/>
                    </a:lnTo>
                    <a:lnTo>
                      <a:pt x="21" y="459"/>
                    </a:lnTo>
                    <a:close/>
                    <a:moveTo>
                      <a:pt x="25" y="459"/>
                    </a:moveTo>
                    <a:lnTo>
                      <a:pt x="23" y="459"/>
                    </a:lnTo>
                    <a:lnTo>
                      <a:pt x="25" y="459"/>
                    </a:lnTo>
                    <a:close/>
                    <a:moveTo>
                      <a:pt x="17" y="456"/>
                    </a:moveTo>
                    <a:lnTo>
                      <a:pt x="17" y="457"/>
                    </a:lnTo>
                    <a:lnTo>
                      <a:pt x="17" y="456"/>
                    </a:lnTo>
                    <a:close/>
                    <a:moveTo>
                      <a:pt x="44" y="465"/>
                    </a:moveTo>
                    <a:lnTo>
                      <a:pt x="42" y="465"/>
                    </a:lnTo>
                    <a:lnTo>
                      <a:pt x="42" y="463"/>
                    </a:lnTo>
                    <a:lnTo>
                      <a:pt x="44" y="463"/>
                    </a:lnTo>
                    <a:lnTo>
                      <a:pt x="44" y="465"/>
                    </a:lnTo>
                    <a:close/>
                    <a:moveTo>
                      <a:pt x="27" y="457"/>
                    </a:moveTo>
                    <a:lnTo>
                      <a:pt x="25" y="459"/>
                    </a:lnTo>
                    <a:lnTo>
                      <a:pt x="25" y="457"/>
                    </a:lnTo>
                    <a:lnTo>
                      <a:pt x="27" y="457"/>
                    </a:lnTo>
                    <a:close/>
                    <a:moveTo>
                      <a:pt x="44" y="463"/>
                    </a:moveTo>
                    <a:lnTo>
                      <a:pt x="44" y="465"/>
                    </a:lnTo>
                    <a:lnTo>
                      <a:pt x="44" y="463"/>
                    </a:lnTo>
                    <a:close/>
                    <a:moveTo>
                      <a:pt x="46" y="463"/>
                    </a:moveTo>
                    <a:lnTo>
                      <a:pt x="46" y="465"/>
                    </a:lnTo>
                    <a:lnTo>
                      <a:pt x="46" y="463"/>
                    </a:lnTo>
                    <a:close/>
                    <a:moveTo>
                      <a:pt x="25" y="457"/>
                    </a:moveTo>
                    <a:lnTo>
                      <a:pt x="27" y="457"/>
                    </a:lnTo>
                    <a:lnTo>
                      <a:pt x="25" y="457"/>
                    </a:lnTo>
                    <a:close/>
                    <a:moveTo>
                      <a:pt x="23" y="456"/>
                    </a:moveTo>
                    <a:lnTo>
                      <a:pt x="21" y="456"/>
                    </a:lnTo>
                    <a:lnTo>
                      <a:pt x="23" y="456"/>
                    </a:lnTo>
                    <a:close/>
                    <a:moveTo>
                      <a:pt x="19" y="456"/>
                    </a:moveTo>
                    <a:lnTo>
                      <a:pt x="17" y="456"/>
                    </a:lnTo>
                    <a:lnTo>
                      <a:pt x="19" y="454"/>
                    </a:lnTo>
                    <a:lnTo>
                      <a:pt x="19" y="456"/>
                    </a:lnTo>
                    <a:close/>
                    <a:moveTo>
                      <a:pt x="21" y="454"/>
                    </a:moveTo>
                    <a:lnTo>
                      <a:pt x="21" y="456"/>
                    </a:lnTo>
                    <a:lnTo>
                      <a:pt x="21" y="454"/>
                    </a:lnTo>
                    <a:close/>
                    <a:moveTo>
                      <a:pt x="23" y="454"/>
                    </a:moveTo>
                    <a:lnTo>
                      <a:pt x="21" y="454"/>
                    </a:lnTo>
                    <a:lnTo>
                      <a:pt x="23" y="454"/>
                    </a:lnTo>
                    <a:close/>
                    <a:moveTo>
                      <a:pt x="242" y="511"/>
                    </a:moveTo>
                    <a:lnTo>
                      <a:pt x="242" y="513"/>
                    </a:lnTo>
                    <a:lnTo>
                      <a:pt x="242" y="511"/>
                    </a:lnTo>
                    <a:close/>
                    <a:moveTo>
                      <a:pt x="242" y="511"/>
                    </a:moveTo>
                    <a:lnTo>
                      <a:pt x="242" y="513"/>
                    </a:lnTo>
                    <a:lnTo>
                      <a:pt x="242" y="511"/>
                    </a:lnTo>
                    <a:close/>
                    <a:moveTo>
                      <a:pt x="242" y="513"/>
                    </a:moveTo>
                    <a:lnTo>
                      <a:pt x="242" y="511"/>
                    </a:lnTo>
                    <a:lnTo>
                      <a:pt x="242" y="513"/>
                    </a:lnTo>
                    <a:close/>
                    <a:moveTo>
                      <a:pt x="19" y="454"/>
                    </a:moveTo>
                    <a:lnTo>
                      <a:pt x="19" y="452"/>
                    </a:lnTo>
                    <a:lnTo>
                      <a:pt x="19" y="454"/>
                    </a:lnTo>
                    <a:close/>
                    <a:moveTo>
                      <a:pt x="353" y="534"/>
                    </a:moveTo>
                    <a:lnTo>
                      <a:pt x="353" y="532"/>
                    </a:lnTo>
                    <a:lnTo>
                      <a:pt x="353" y="534"/>
                    </a:lnTo>
                    <a:close/>
                    <a:moveTo>
                      <a:pt x="27" y="454"/>
                    </a:moveTo>
                    <a:lnTo>
                      <a:pt x="25" y="454"/>
                    </a:lnTo>
                    <a:lnTo>
                      <a:pt x="27" y="454"/>
                    </a:lnTo>
                    <a:close/>
                    <a:moveTo>
                      <a:pt x="17" y="450"/>
                    </a:moveTo>
                    <a:lnTo>
                      <a:pt x="17" y="452"/>
                    </a:lnTo>
                    <a:lnTo>
                      <a:pt x="17" y="450"/>
                    </a:lnTo>
                    <a:close/>
                    <a:moveTo>
                      <a:pt x="244" y="509"/>
                    </a:moveTo>
                    <a:lnTo>
                      <a:pt x="244" y="511"/>
                    </a:lnTo>
                    <a:lnTo>
                      <a:pt x="242" y="509"/>
                    </a:lnTo>
                    <a:lnTo>
                      <a:pt x="244" y="509"/>
                    </a:lnTo>
                    <a:close/>
                    <a:moveTo>
                      <a:pt x="23" y="452"/>
                    </a:moveTo>
                    <a:lnTo>
                      <a:pt x="21" y="452"/>
                    </a:lnTo>
                    <a:lnTo>
                      <a:pt x="23" y="452"/>
                    </a:lnTo>
                    <a:close/>
                    <a:moveTo>
                      <a:pt x="23" y="452"/>
                    </a:moveTo>
                    <a:lnTo>
                      <a:pt x="23" y="450"/>
                    </a:lnTo>
                    <a:lnTo>
                      <a:pt x="23" y="452"/>
                    </a:lnTo>
                    <a:close/>
                    <a:moveTo>
                      <a:pt x="29" y="454"/>
                    </a:moveTo>
                    <a:lnTo>
                      <a:pt x="29" y="452"/>
                    </a:lnTo>
                    <a:lnTo>
                      <a:pt x="29" y="454"/>
                    </a:lnTo>
                    <a:close/>
                    <a:moveTo>
                      <a:pt x="27" y="450"/>
                    </a:moveTo>
                    <a:lnTo>
                      <a:pt x="25" y="452"/>
                    </a:lnTo>
                    <a:lnTo>
                      <a:pt x="25" y="450"/>
                    </a:lnTo>
                    <a:lnTo>
                      <a:pt x="27" y="450"/>
                    </a:lnTo>
                    <a:close/>
                    <a:moveTo>
                      <a:pt x="21" y="448"/>
                    </a:moveTo>
                    <a:lnTo>
                      <a:pt x="21" y="450"/>
                    </a:lnTo>
                    <a:lnTo>
                      <a:pt x="21" y="448"/>
                    </a:lnTo>
                    <a:close/>
                    <a:moveTo>
                      <a:pt x="25" y="452"/>
                    </a:moveTo>
                    <a:lnTo>
                      <a:pt x="25" y="450"/>
                    </a:lnTo>
                    <a:lnTo>
                      <a:pt x="25" y="452"/>
                    </a:lnTo>
                    <a:close/>
                    <a:moveTo>
                      <a:pt x="21" y="448"/>
                    </a:moveTo>
                    <a:lnTo>
                      <a:pt x="21" y="450"/>
                    </a:lnTo>
                    <a:lnTo>
                      <a:pt x="19" y="448"/>
                    </a:lnTo>
                    <a:lnTo>
                      <a:pt x="21" y="448"/>
                    </a:lnTo>
                    <a:close/>
                    <a:moveTo>
                      <a:pt x="23" y="450"/>
                    </a:moveTo>
                    <a:lnTo>
                      <a:pt x="25" y="448"/>
                    </a:lnTo>
                    <a:lnTo>
                      <a:pt x="25" y="450"/>
                    </a:lnTo>
                    <a:lnTo>
                      <a:pt x="23" y="450"/>
                    </a:lnTo>
                    <a:close/>
                    <a:moveTo>
                      <a:pt x="17" y="446"/>
                    </a:moveTo>
                    <a:lnTo>
                      <a:pt x="17" y="448"/>
                    </a:lnTo>
                    <a:lnTo>
                      <a:pt x="17" y="446"/>
                    </a:lnTo>
                    <a:close/>
                    <a:moveTo>
                      <a:pt x="21" y="446"/>
                    </a:moveTo>
                    <a:lnTo>
                      <a:pt x="21" y="448"/>
                    </a:lnTo>
                    <a:lnTo>
                      <a:pt x="21" y="446"/>
                    </a:lnTo>
                    <a:close/>
                    <a:moveTo>
                      <a:pt x="23" y="448"/>
                    </a:moveTo>
                    <a:lnTo>
                      <a:pt x="25" y="448"/>
                    </a:lnTo>
                    <a:lnTo>
                      <a:pt x="23" y="448"/>
                    </a:lnTo>
                    <a:close/>
                    <a:moveTo>
                      <a:pt x="25" y="448"/>
                    </a:moveTo>
                    <a:lnTo>
                      <a:pt x="23" y="448"/>
                    </a:lnTo>
                    <a:lnTo>
                      <a:pt x="25" y="448"/>
                    </a:lnTo>
                    <a:close/>
                    <a:moveTo>
                      <a:pt x="248" y="506"/>
                    </a:moveTo>
                    <a:lnTo>
                      <a:pt x="248" y="507"/>
                    </a:lnTo>
                    <a:lnTo>
                      <a:pt x="248" y="506"/>
                    </a:lnTo>
                    <a:close/>
                    <a:moveTo>
                      <a:pt x="23" y="446"/>
                    </a:moveTo>
                    <a:lnTo>
                      <a:pt x="23" y="448"/>
                    </a:lnTo>
                    <a:lnTo>
                      <a:pt x="23" y="446"/>
                    </a:lnTo>
                    <a:close/>
                    <a:moveTo>
                      <a:pt x="0" y="440"/>
                    </a:moveTo>
                    <a:lnTo>
                      <a:pt x="0" y="438"/>
                    </a:lnTo>
                    <a:lnTo>
                      <a:pt x="0" y="440"/>
                    </a:lnTo>
                    <a:close/>
                    <a:moveTo>
                      <a:pt x="19" y="446"/>
                    </a:moveTo>
                    <a:lnTo>
                      <a:pt x="17" y="446"/>
                    </a:lnTo>
                    <a:lnTo>
                      <a:pt x="19" y="446"/>
                    </a:lnTo>
                    <a:lnTo>
                      <a:pt x="19" y="444"/>
                    </a:lnTo>
                    <a:lnTo>
                      <a:pt x="19" y="446"/>
                    </a:lnTo>
                    <a:close/>
                    <a:moveTo>
                      <a:pt x="11" y="442"/>
                    </a:moveTo>
                    <a:lnTo>
                      <a:pt x="13" y="442"/>
                    </a:lnTo>
                    <a:lnTo>
                      <a:pt x="13" y="444"/>
                    </a:lnTo>
                    <a:lnTo>
                      <a:pt x="13" y="442"/>
                    </a:lnTo>
                    <a:lnTo>
                      <a:pt x="11" y="442"/>
                    </a:lnTo>
                    <a:close/>
                    <a:moveTo>
                      <a:pt x="17" y="444"/>
                    </a:moveTo>
                    <a:lnTo>
                      <a:pt x="15" y="444"/>
                    </a:lnTo>
                    <a:lnTo>
                      <a:pt x="17" y="444"/>
                    </a:lnTo>
                    <a:close/>
                    <a:moveTo>
                      <a:pt x="2" y="440"/>
                    </a:moveTo>
                    <a:lnTo>
                      <a:pt x="2" y="438"/>
                    </a:lnTo>
                    <a:lnTo>
                      <a:pt x="2" y="440"/>
                    </a:lnTo>
                    <a:close/>
                    <a:moveTo>
                      <a:pt x="27" y="446"/>
                    </a:moveTo>
                    <a:lnTo>
                      <a:pt x="27" y="448"/>
                    </a:lnTo>
                    <a:lnTo>
                      <a:pt x="27" y="446"/>
                    </a:lnTo>
                    <a:close/>
                    <a:moveTo>
                      <a:pt x="40" y="452"/>
                    </a:moveTo>
                    <a:lnTo>
                      <a:pt x="40" y="450"/>
                    </a:lnTo>
                    <a:lnTo>
                      <a:pt x="40" y="452"/>
                    </a:lnTo>
                    <a:close/>
                    <a:moveTo>
                      <a:pt x="38" y="450"/>
                    </a:moveTo>
                    <a:lnTo>
                      <a:pt x="36" y="450"/>
                    </a:lnTo>
                    <a:lnTo>
                      <a:pt x="36" y="448"/>
                    </a:lnTo>
                    <a:lnTo>
                      <a:pt x="38" y="450"/>
                    </a:lnTo>
                    <a:close/>
                    <a:moveTo>
                      <a:pt x="348" y="523"/>
                    </a:moveTo>
                    <a:lnTo>
                      <a:pt x="348" y="525"/>
                    </a:lnTo>
                    <a:lnTo>
                      <a:pt x="348" y="523"/>
                    </a:lnTo>
                    <a:close/>
                    <a:moveTo>
                      <a:pt x="19" y="444"/>
                    </a:moveTo>
                    <a:lnTo>
                      <a:pt x="19" y="442"/>
                    </a:lnTo>
                    <a:lnTo>
                      <a:pt x="19" y="444"/>
                    </a:lnTo>
                    <a:close/>
                    <a:moveTo>
                      <a:pt x="9" y="440"/>
                    </a:moveTo>
                    <a:lnTo>
                      <a:pt x="8" y="440"/>
                    </a:lnTo>
                    <a:lnTo>
                      <a:pt x="8" y="438"/>
                    </a:lnTo>
                    <a:lnTo>
                      <a:pt x="8" y="440"/>
                    </a:lnTo>
                    <a:lnTo>
                      <a:pt x="9" y="440"/>
                    </a:lnTo>
                    <a:close/>
                    <a:moveTo>
                      <a:pt x="2" y="436"/>
                    </a:moveTo>
                    <a:lnTo>
                      <a:pt x="2" y="438"/>
                    </a:lnTo>
                    <a:lnTo>
                      <a:pt x="2" y="436"/>
                    </a:lnTo>
                    <a:close/>
                    <a:moveTo>
                      <a:pt x="11" y="440"/>
                    </a:moveTo>
                    <a:lnTo>
                      <a:pt x="9" y="440"/>
                    </a:lnTo>
                    <a:lnTo>
                      <a:pt x="11" y="440"/>
                    </a:lnTo>
                    <a:close/>
                    <a:moveTo>
                      <a:pt x="8" y="438"/>
                    </a:moveTo>
                    <a:lnTo>
                      <a:pt x="9" y="438"/>
                    </a:lnTo>
                    <a:lnTo>
                      <a:pt x="8" y="438"/>
                    </a:lnTo>
                    <a:close/>
                    <a:moveTo>
                      <a:pt x="11" y="440"/>
                    </a:moveTo>
                    <a:lnTo>
                      <a:pt x="9" y="440"/>
                    </a:lnTo>
                    <a:lnTo>
                      <a:pt x="11" y="440"/>
                    </a:lnTo>
                    <a:close/>
                    <a:moveTo>
                      <a:pt x="29" y="446"/>
                    </a:moveTo>
                    <a:lnTo>
                      <a:pt x="29" y="444"/>
                    </a:lnTo>
                    <a:lnTo>
                      <a:pt x="29" y="446"/>
                    </a:lnTo>
                    <a:close/>
                    <a:moveTo>
                      <a:pt x="21" y="442"/>
                    </a:moveTo>
                    <a:lnTo>
                      <a:pt x="19" y="442"/>
                    </a:lnTo>
                    <a:lnTo>
                      <a:pt x="21" y="442"/>
                    </a:lnTo>
                    <a:close/>
                    <a:moveTo>
                      <a:pt x="4" y="436"/>
                    </a:moveTo>
                    <a:lnTo>
                      <a:pt x="2" y="436"/>
                    </a:lnTo>
                    <a:lnTo>
                      <a:pt x="4" y="436"/>
                    </a:lnTo>
                    <a:close/>
                    <a:moveTo>
                      <a:pt x="6" y="438"/>
                    </a:moveTo>
                    <a:lnTo>
                      <a:pt x="6" y="436"/>
                    </a:lnTo>
                    <a:lnTo>
                      <a:pt x="6" y="438"/>
                    </a:lnTo>
                    <a:close/>
                    <a:moveTo>
                      <a:pt x="19" y="442"/>
                    </a:moveTo>
                    <a:lnTo>
                      <a:pt x="19" y="440"/>
                    </a:lnTo>
                    <a:lnTo>
                      <a:pt x="19" y="442"/>
                    </a:lnTo>
                    <a:close/>
                    <a:moveTo>
                      <a:pt x="13" y="438"/>
                    </a:moveTo>
                    <a:lnTo>
                      <a:pt x="13" y="440"/>
                    </a:lnTo>
                    <a:lnTo>
                      <a:pt x="13" y="438"/>
                    </a:lnTo>
                    <a:close/>
                    <a:moveTo>
                      <a:pt x="27" y="442"/>
                    </a:moveTo>
                    <a:lnTo>
                      <a:pt x="27" y="444"/>
                    </a:lnTo>
                    <a:lnTo>
                      <a:pt x="27" y="442"/>
                    </a:lnTo>
                    <a:close/>
                    <a:moveTo>
                      <a:pt x="17" y="440"/>
                    </a:moveTo>
                    <a:lnTo>
                      <a:pt x="15" y="440"/>
                    </a:lnTo>
                    <a:lnTo>
                      <a:pt x="17" y="440"/>
                    </a:lnTo>
                    <a:close/>
                    <a:moveTo>
                      <a:pt x="33" y="444"/>
                    </a:moveTo>
                    <a:lnTo>
                      <a:pt x="31" y="444"/>
                    </a:lnTo>
                    <a:lnTo>
                      <a:pt x="33" y="444"/>
                    </a:lnTo>
                    <a:close/>
                    <a:moveTo>
                      <a:pt x="34" y="446"/>
                    </a:moveTo>
                    <a:lnTo>
                      <a:pt x="34" y="444"/>
                    </a:lnTo>
                    <a:lnTo>
                      <a:pt x="34" y="446"/>
                    </a:lnTo>
                    <a:close/>
                    <a:moveTo>
                      <a:pt x="34" y="444"/>
                    </a:moveTo>
                    <a:lnTo>
                      <a:pt x="34" y="446"/>
                    </a:lnTo>
                    <a:lnTo>
                      <a:pt x="34" y="444"/>
                    </a:lnTo>
                    <a:close/>
                    <a:moveTo>
                      <a:pt x="38" y="446"/>
                    </a:moveTo>
                    <a:lnTo>
                      <a:pt x="36" y="446"/>
                    </a:lnTo>
                    <a:lnTo>
                      <a:pt x="38" y="446"/>
                    </a:lnTo>
                    <a:close/>
                    <a:moveTo>
                      <a:pt x="19" y="440"/>
                    </a:moveTo>
                    <a:lnTo>
                      <a:pt x="17" y="440"/>
                    </a:lnTo>
                    <a:lnTo>
                      <a:pt x="19" y="440"/>
                    </a:lnTo>
                    <a:close/>
                    <a:moveTo>
                      <a:pt x="11" y="438"/>
                    </a:moveTo>
                    <a:lnTo>
                      <a:pt x="9" y="438"/>
                    </a:lnTo>
                    <a:lnTo>
                      <a:pt x="11" y="438"/>
                    </a:lnTo>
                    <a:close/>
                    <a:moveTo>
                      <a:pt x="9" y="438"/>
                    </a:moveTo>
                    <a:lnTo>
                      <a:pt x="9" y="436"/>
                    </a:lnTo>
                    <a:lnTo>
                      <a:pt x="9" y="438"/>
                    </a:lnTo>
                    <a:close/>
                    <a:moveTo>
                      <a:pt x="33" y="444"/>
                    </a:moveTo>
                    <a:lnTo>
                      <a:pt x="31" y="444"/>
                    </a:lnTo>
                    <a:lnTo>
                      <a:pt x="33" y="444"/>
                    </a:lnTo>
                    <a:close/>
                    <a:moveTo>
                      <a:pt x="36" y="446"/>
                    </a:moveTo>
                    <a:lnTo>
                      <a:pt x="38" y="446"/>
                    </a:lnTo>
                    <a:lnTo>
                      <a:pt x="36" y="446"/>
                    </a:lnTo>
                    <a:close/>
                    <a:moveTo>
                      <a:pt x="13" y="438"/>
                    </a:moveTo>
                    <a:lnTo>
                      <a:pt x="11" y="438"/>
                    </a:lnTo>
                    <a:lnTo>
                      <a:pt x="13" y="438"/>
                    </a:lnTo>
                    <a:close/>
                    <a:moveTo>
                      <a:pt x="11" y="436"/>
                    </a:moveTo>
                    <a:lnTo>
                      <a:pt x="11" y="438"/>
                    </a:lnTo>
                    <a:lnTo>
                      <a:pt x="11" y="436"/>
                    </a:lnTo>
                    <a:close/>
                    <a:moveTo>
                      <a:pt x="252" y="500"/>
                    </a:moveTo>
                    <a:lnTo>
                      <a:pt x="252" y="502"/>
                    </a:lnTo>
                    <a:lnTo>
                      <a:pt x="252" y="500"/>
                    </a:lnTo>
                    <a:close/>
                    <a:moveTo>
                      <a:pt x="34" y="444"/>
                    </a:moveTo>
                    <a:lnTo>
                      <a:pt x="33" y="444"/>
                    </a:lnTo>
                    <a:lnTo>
                      <a:pt x="34" y="444"/>
                    </a:lnTo>
                    <a:close/>
                    <a:moveTo>
                      <a:pt x="29" y="442"/>
                    </a:moveTo>
                    <a:lnTo>
                      <a:pt x="29" y="440"/>
                    </a:lnTo>
                    <a:lnTo>
                      <a:pt x="29" y="442"/>
                    </a:lnTo>
                    <a:close/>
                    <a:moveTo>
                      <a:pt x="29" y="442"/>
                    </a:moveTo>
                    <a:lnTo>
                      <a:pt x="31" y="442"/>
                    </a:lnTo>
                    <a:lnTo>
                      <a:pt x="29" y="442"/>
                    </a:lnTo>
                    <a:close/>
                    <a:moveTo>
                      <a:pt x="19" y="438"/>
                    </a:moveTo>
                    <a:lnTo>
                      <a:pt x="21" y="438"/>
                    </a:lnTo>
                    <a:lnTo>
                      <a:pt x="19" y="438"/>
                    </a:lnTo>
                    <a:close/>
                    <a:moveTo>
                      <a:pt x="353" y="519"/>
                    </a:moveTo>
                    <a:lnTo>
                      <a:pt x="353" y="521"/>
                    </a:lnTo>
                    <a:lnTo>
                      <a:pt x="353" y="519"/>
                    </a:lnTo>
                    <a:close/>
                    <a:moveTo>
                      <a:pt x="19" y="438"/>
                    </a:moveTo>
                    <a:lnTo>
                      <a:pt x="19" y="436"/>
                    </a:lnTo>
                    <a:lnTo>
                      <a:pt x="19" y="438"/>
                    </a:lnTo>
                    <a:close/>
                    <a:moveTo>
                      <a:pt x="38" y="442"/>
                    </a:moveTo>
                    <a:lnTo>
                      <a:pt x="36" y="442"/>
                    </a:lnTo>
                    <a:lnTo>
                      <a:pt x="38" y="442"/>
                    </a:lnTo>
                    <a:close/>
                    <a:moveTo>
                      <a:pt x="33" y="440"/>
                    </a:moveTo>
                    <a:lnTo>
                      <a:pt x="33" y="442"/>
                    </a:lnTo>
                    <a:lnTo>
                      <a:pt x="33" y="440"/>
                    </a:lnTo>
                    <a:close/>
                    <a:moveTo>
                      <a:pt x="33" y="440"/>
                    </a:moveTo>
                    <a:lnTo>
                      <a:pt x="34" y="442"/>
                    </a:lnTo>
                    <a:lnTo>
                      <a:pt x="34" y="440"/>
                    </a:lnTo>
                    <a:lnTo>
                      <a:pt x="33" y="440"/>
                    </a:lnTo>
                    <a:close/>
                    <a:moveTo>
                      <a:pt x="25" y="438"/>
                    </a:moveTo>
                    <a:lnTo>
                      <a:pt x="23" y="438"/>
                    </a:lnTo>
                    <a:lnTo>
                      <a:pt x="25" y="438"/>
                    </a:lnTo>
                    <a:close/>
                    <a:moveTo>
                      <a:pt x="25" y="436"/>
                    </a:moveTo>
                    <a:lnTo>
                      <a:pt x="25" y="438"/>
                    </a:lnTo>
                    <a:lnTo>
                      <a:pt x="25" y="436"/>
                    </a:lnTo>
                    <a:close/>
                    <a:moveTo>
                      <a:pt x="33" y="438"/>
                    </a:moveTo>
                    <a:lnTo>
                      <a:pt x="31" y="438"/>
                    </a:lnTo>
                    <a:lnTo>
                      <a:pt x="33" y="438"/>
                    </a:lnTo>
                    <a:close/>
                    <a:moveTo>
                      <a:pt x="27" y="438"/>
                    </a:moveTo>
                    <a:lnTo>
                      <a:pt x="27" y="436"/>
                    </a:lnTo>
                    <a:lnTo>
                      <a:pt x="27" y="438"/>
                    </a:lnTo>
                    <a:close/>
                    <a:moveTo>
                      <a:pt x="25" y="434"/>
                    </a:moveTo>
                    <a:lnTo>
                      <a:pt x="23" y="434"/>
                    </a:lnTo>
                    <a:lnTo>
                      <a:pt x="25" y="434"/>
                    </a:lnTo>
                    <a:close/>
                    <a:moveTo>
                      <a:pt x="13" y="431"/>
                    </a:moveTo>
                    <a:lnTo>
                      <a:pt x="13" y="433"/>
                    </a:lnTo>
                    <a:lnTo>
                      <a:pt x="13" y="431"/>
                    </a:lnTo>
                    <a:close/>
                    <a:moveTo>
                      <a:pt x="252" y="496"/>
                    </a:moveTo>
                    <a:lnTo>
                      <a:pt x="252" y="494"/>
                    </a:lnTo>
                    <a:lnTo>
                      <a:pt x="252" y="496"/>
                    </a:lnTo>
                    <a:close/>
                    <a:moveTo>
                      <a:pt x="23" y="433"/>
                    </a:moveTo>
                    <a:lnTo>
                      <a:pt x="23" y="434"/>
                    </a:lnTo>
                    <a:lnTo>
                      <a:pt x="23" y="433"/>
                    </a:lnTo>
                    <a:lnTo>
                      <a:pt x="23" y="434"/>
                    </a:lnTo>
                    <a:lnTo>
                      <a:pt x="23" y="433"/>
                    </a:lnTo>
                    <a:close/>
                    <a:moveTo>
                      <a:pt x="357" y="515"/>
                    </a:moveTo>
                    <a:lnTo>
                      <a:pt x="355" y="515"/>
                    </a:lnTo>
                    <a:lnTo>
                      <a:pt x="357" y="515"/>
                    </a:lnTo>
                    <a:close/>
                    <a:moveTo>
                      <a:pt x="23" y="433"/>
                    </a:moveTo>
                    <a:lnTo>
                      <a:pt x="21" y="433"/>
                    </a:lnTo>
                    <a:lnTo>
                      <a:pt x="23" y="433"/>
                    </a:lnTo>
                    <a:close/>
                    <a:moveTo>
                      <a:pt x="252" y="492"/>
                    </a:moveTo>
                    <a:lnTo>
                      <a:pt x="252" y="494"/>
                    </a:lnTo>
                    <a:lnTo>
                      <a:pt x="252" y="492"/>
                    </a:lnTo>
                    <a:close/>
                    <a:moveTo>
                      <a:pt x="250" y="492"/>
                    </a:moveTo>
                    <a:lnTo>
                      <a:pt x="250" y="490"/>
                    </a:lnTo>
                    <a:lnTo>
                      <a:pt x="250" y="492"/>
                    </a:lnTo>
                    <a:close/>
                    <a:moveTo>
                      <a:pt x="25" y="431"/>
                    </a:moveTo>
                    <a:lnTo>
                      <a:pt x="23" y="431"/>
                    </a:lnTo>
                    <a:lnTo>
                      <a:pt x="25" y="431"/>
                    </a:lnTo>
                    <a:close/>
                    <a:moveTo>
                      <a:pt x="250" y="490"/>
                    </a:moveTo>
                    <a:lnTo>
                      <a:pt x="248" y="490"/>
                    </a:lnTo>
                    <a:lnTo>
                      <a:pt x="250" y="490"/>
                    </a:lnTo>
                    <a:close/>
                    <a:moveTo>
                      <a:pt x="17" y="427"/>
                    </a:moveTo>
                    <a:lnTo>
                      <a:pt x="17" y="429"/>
                    </a:lnTo>
                    <a:lnTo>
                      <a:pt x="17" y="427"/>
                    </a:lnTo>
                    <a:close/>
                    <a:moveTo>
                      <a:pt x="21" y="429"/>
                    </a:moveTo>
                    <a:lnTo>
                      <a:pt x="23" y="429"/>
                    </a:lnTo>
                    <a:lnTo>
                      <a:pt x="21" y="429"/>
                    </a:lnTo>
                    <a:close/>
                    <a:moveTo>
                      <a:pt x="25" y="431"/>
                    </a:moveTo>
                    <a:lnTo>
                      <a:pt x="25" y="429"/>
                    </a:lnTo>
                    <a:lnTo>
                      <a:pt x="25" y="431"/>
                    </a:lnTo>
                    <a:close/>
                    <a:moveTo>
                      <a:pt x="15" y="427"/>
                    </a:moveTo>
                    <a:lnTo>
                      <a:pt x="17" y="427"/>
                    </a:lnTo>
                    <a:lnTo>
                      <a:pt x="15" y="427"/>
                    </a:lnTo>
                    <a:close/>
                    <a:moveTo>
                      <a:pt x="246" y="488"/>
                    </a:moveTo>
                    <a:lnTo>
                      <a:pt x="244" y="486"/>
                    </a:lnTo>
                    <a:lnTo>
                      <a:pt x="246" y="488"/>
                    </a:lnTo>
                    <a:close/>
                    <a:moveTo>
                      <a:pt x="17" y="425"/>
                    </a:moveTo>
                    <a:lnTo>
                      <a:pt x="17" y="427"/>
                    </a:lnTo>
                    <a:lnTo>
                      <a:pt x="17" y="425"/>
                    </a:lnTo>
                    <a:close/>
                    <a:moveTo>
                      <a:pt x="17" y="425"/>
                    </a:moveTo>
                    <a:lnTo>
                      <a:pt x="17" y="427"/>
                    </a:lnTo>
                    <a:lnTo>
                      <a:pt x="17" y="425"/>
                    </a:lnTo>
                    <a:close/>
                    <a:moveTo>
                      <a:pt x="31" y="431"/>
                    </a:moveTo>
                    <a:lnTo>
                      <a:pt x="29" y="431"/>
                    </a:lnTo>
                    <a:lnTo>
                      <a:pt x="31" y="429"/>
                    </a:lnTo>
                    <a:lnTo>
                      <a:pt x="31" y="431"/>
                    </a:lnTo>
                    <a:close/>
                    <a:moveTo>
                      <a:pt x="242" y="484"/>
                    </a:moveTo>
                    <a:lnTo>
                      <a:pt x="240" y="484"/>
                    </a:lnTo>
                    <a:lnTo>
                      <a:pt x="242" y="484"/>
                    </a:lnTo>
                    <a:close/>
                    <a:moveTo>
                      <a:pt x="17" y="423"/>
                    </a:moveTo>
                    <a:lnTo>
                      <a:pt x="17" y="425"/>
                    </a:lnTo>
                    <a:lnTo>
                      <a:pt x="17" y="423"/>
                    </a:lnTo>
                    <a:close/>
                    <a:moveTo>
                      <a:pt x="23" y="425"/>
                    </a:moveTo>
                    <a:lnTo>
                      <a:pt x="23" y="427"/>
                    </a:lnTo>
                    <a:lnTo>
                      <a:pt x="23" y="425"/>
                    </a:lnTo>
                    <a:close/>
                    <a:moveTo>
                      <a:pt x="15" y="423"/>
                    </a:moveTo>
                    <a:lnTo>
                      <a:pt x="17" y="423"/>
                    </a:lnTo>
                    <a:lnTo>
                      <a:pt x="15" y="423"/>
                    </a:lnTo>
                    <a:close/>
                    <a:moveTo>
                      <a:pt x="34" y="427"/>
                    </a:moveTo>
                    <a:lnTo>
                      <a:pt x="34" y="425"/>
                    </a:lnTo>
                    <a:lnTo>
                      <a:pt x="34" y="427"/>
                    </a:lnTo>
                    <a:close/>
                    <a:moveTo>
                      <a:pt x="33" y="425"/>
                    </a:moveTo>
                    <a:lnTo>
                      <a:pt x="31" y="425"/>
                    </a:lnTo>
                    <a:lnTo>
                      <a:pt x="33" y="425"/>
                    </a:lnTo>
                    <a:close/>
                    <a:moveTo>
                      <a:pt x="236" y="481"/>
                    </a:moveTo>
                    <a:lnTo>
                      <a:pt x="236" y="479"/>
                    </a:lnTo>
                    <a:lnTo>
                      <a:pt x="236" y="481"/>
                    </a:lnTo>
                    <a:close/>
                    <a:moveTo>
                      <a:pt x="236" y="477"/>
                    </a:moveTo>
                    <a:lnTo>
                      <a:pt x="236" y="479"/>
                    </a:lnTo>
                    <a:lnTo>
                      <a:pt x="236" y="477"/>
                    </a:lnTo>
                    <a:close/>
                    <a:moveTo>
                      <a:pt x="361" y="504"/>
                    </a:moveTo>
                    <a:lnTo>
                      <a:pt x="361" y="502"/>
                    </a:lnTo>
                    <a:lnTo>
                      <a:pt x="361" y="504"/>
                    </a:lnTo>
                    <a:close/>
                    <a:moveTo>
                      <a:pt x="234" y="477"/>
                    </a:moveTo>
                    <a:lnTo>
                      <a:pt x="234" y="475"/>
                    </a:lnTo>
                    <a:lnTo>
                      <a:pt x="234" y="477"/>
                    </a:lnTo>
                    <a:close/>
                    <a:moveTo>
                      <a:pt x="234" y="475"/>
                    </a:moveTo>
                    <a:lnTo>
                      <a:pt x="234" y="477"/>
                    </a:lnTo>
                    <a:lnTo>
                      <a:pt x="234" y="475"/>
                    </a:lnTo>
                    <a:close/>
                    <a:moveTo>
                      <a:pt x="31" y="419"/>
                    </a:moveTo>
                    <a:lnTo>
                      <a:pt x="31" y="421"/>
                    </a:lnTo>
                    <a:lnTo>
                      <a:pt x="31" y="419"/>
                    </a:lnTo>
                    <a:close/>
                    <a:moveTo>
                      <a:pt x="25" y="419"/>
                    </a:moveTo>
                    <a:lnTo>
                      <a:pt x="25" y="417"/>
                    </a:lnTo>
                    <a:lnTo>
                      <a:pt x="25" y="419"/>
                    </a:lnTo>
                    <a:close/>
                    <a:moveTo>
                      <a:pt x="361" y="500"/>
                    </a:moveTo>
                    <a:lnTo>
                      <a:pt x="359" y="500"/>
                    </a:lnTo>
                    <a:lnTo>
                      <a:pt x="361" y="500"/>
                    </a:lnTo>
                    <a:close/>
                    <a:moveTo>
                      <a:pt x="40" y="423"/>
                    </a:moveTo>
                    <a:lnTo>
                      <a:pt x="38" y="423"/>
                    </a:lnTo>
                    <a:lnTo>
                      <a:pt x="40" y="423"/>
                    </a:lnTo>
                    <a:close/>
                    <a:moveTo>
                      <a:pt x="232" y="475"/>
                    </a:moveTo>
                    <a:lnTo>
                      <a:pt x="232" y="473"/>
                    </a:lnTo>
                    <a:lnTo>
                      <a:pt x="232" y="475"/>
                    </a:lnTo>
                    <a:close/>
                    <a:moveTo>
                      <a:pt x="232" y="473"/>
                    </a:moveTo>
                    <a:lnTo>
                      <a:pt x="230" y="473"/>
                    </a:lnTo>
                    <a:lnTo>
                      <a:pt x="232" y="473"/>
                    </a:lnTo>
                    <a:close/>
                    <a:moveTo>
                      <a:pt x="357" y="498"/>
                    </a:moveTo>
                    <a:lnTo>
                      <a:pt x="359" y="496"/>
                    </a:lnTo>
                    <a:lnTo>
                      <a:pt x="357" y="498"/>
                    </a:lnTo>
                    <a:close/>
                    <a:moveTo>
                      <a:pt x="230" y="469"/>
                    </a:moveTo>
                    <a:lnTo>
                      <a:pt x="230" y="471"/>
                    </a:lnTo>
                    <a:lnTo>
                      <a:pt x="228" y="469"/>
                    </a:lnTo>
                    <a:lnTo>
                      <a:pt x="230" y="469"/>
                    </a:lnTo>
                    <a:close/>
                    <a:moveTo>
                      <a:pt x="27" y="415"/>
                    </a:moveTo>
                    <a:lnTo>
                      <a:pt x="25" y="415"/>
                    </a:lnTo>
                    <a:lnTo>
                      <a:pt x="27" y="415"/>
                    </a:lnTo>
                    <a:close/>
                    <a:moveTo>
                      <a:pt x="228" y="469"/>
                    </a:moveTo>
                    <a:lnTo>
                      <a:pt x="227" y="469"/>
                    </a:lnTo>
                    <a:lnTo>
                      <a:pt x="227" y="467"/>
                    </a:lnTo>
                    <a:lnTo>
                      <a:pt x="228" y="469"/>
                    </a:lnTo>
                    <a:close/>
                    <a:moveTo>
                      <a:pt x="21" y="409"/>
                    </a:moveTo>
                    <a:lnTo>
                      <a:pt x="19" y="409"/>
                    </a:lnTo>
                    <a:lnTo>
                      <a:pt x="21" y="409"/>
                    </a:lnTo>
                    <a:close/>
                    <a:moveTo>
                      <a:pt x="361" y="492"/>
                    </a:moveTo>
                    <a:lnTo>
                      <a:pt x="363" y="492"/>
                    </a:lnTo>
                    <a:lnTo>
                      <a:pt x="361" y="492"/>
                    </a:lnTo>
                    <a:close/>
                    <a:moveTo>
                      <a:pt x="31" y="409"/>
                    </a:moveTo>
                    <a:lnTo>
                      <a:pt x="31" y="411"/>
                    </a:lnTo>
                    <a:lnTo>
                      <a:pt x="31" y="409"/>
                    </a:lnTo>
                    <a:close/>
                    <a:moveTo>
                      <a:pt x="33" y="411"/>
                    </a:moveTo>
                    <a:lnTo>
                      <a:pt x="34" y="411"/>
                    </a:lnTo>
                    <a:lnTo>
                      <a:pt x="33" y="411"/>
                    </a:lnTo>
                    <a:close/>
                    <a:moveTo>
                      <a:pt x="33" y="409"/>
                    </a:moveTo>
                    <a:lnTo>
                      <a:pt x="33" y="408"/>
                    </a:lnTo>
                    <a:lnTo>
                      <a:pt x="33" y="409"/>
                    </a:lnTo>
                    <a:close/>
                    <a:moveTo>
                      <a:pt x="36" y="409"/>
                    </a:moveTo>
                    <a:lnTo>
                      <a:pt x="34" y="409"/>
                    </a:lnTo>
                    <a:lnTo>
                      <a:pt x="36" y="409"/>
                    </a:lnTo>
                    <a:close/>
                    <a:moveTo>
                      <a:pt x="36" y="409"/>
                    </a:moveTo>
                    <a:lnTo>
                      <a:pt x="34" y="409"/>
                    </a:lnTo>
                    <a:lnTo>
                      <a:pt x="36" y="409"/>
                    </a:lnTo>
                    <a:close/>
                    <a:moveTo>
                      <a:pt x="38" y="409"/>
                    </a:moveTo>
                    <a:lnTo>
                      <a:pt x="36" y="409"/>
                    </a:lnTo>
                    <a:lnTo>
                      <a:pt x="38" y="409"/>
                    </a:lnTo>
                    <a:close/>
                    <a:moveTo>
                      <a:pt x="36" y="408"/>
                    </a:moveTo>
                    <a:lnTo>
                      <a:pt x="36" y="409"/>
                    </a:lnTo>
                    <a:lnTo>
                      <a:pt x="36" y="408"/>
                    </a:lnTo>
                    <a:close/>
                    <a:moveTo>
                      <a:pt x="40" y="409"/>
                    </a:moveTo>
                    <a:lnTo>
                      <a:pt x="38" y="409"/>
                    </a:lnTo>
                    <a:lnTo>
                      <a:pt x="40" y="409"/>
                    </a:lnTo>
                    <a:close/>
                    <a:moveTo>
                      <a:pt x="365" y="486"/>
                    </a:moveTo>
                    <a:lnTo>
                      <a:pt x="365" y="488"/>
                    </a:lnTo>
                    <a:lnTo>
                      <a:pt x="365" y="486"/>
                    </a:lnTo>
                    <a:close/>
                    <a:moveTo>
                      <a:pt x="38" y="404"/>
                    </a:moveTo>
                    <a:lnTo>
                      <a:pt x="36" y="404"/>
                    </a:lnTo>
                    <a:lnTo>
                      <a:pt x="38" y="404"/>
                    </a:lnTo>
                    <a:close/>
                    <a:moveTo>
                      <a:pt x="34" y="402"/>
                    </a:moveTo>
                    <a:lnTo>
                      <a:pt x="33" y="402"/>
                    </a:lnTo>
                    <a:lnTo>
                      <a:pt x="34" y="402"/>
                    </a:lnTo>
                    <a:close/>
                    <a:moveTo>
                      <a:pt x="36" y="404"/>
                    </a:moveTo>
                    <a:lnTo>
                      <a:pt x="36" y="402"/>
                    </a:lnTo>
                    <a:lnTo>
                      <a:pt x="36" y="404"/>
                    </a:lnTo>
                    <a:close/>
                    <a:moveTo>
                      <a:pt x="33" y="400"/>
                    </a:moveTo>
                    <a:lnTo>
                      <a:pt x="31" y="400"/>
                    </a:lnTo>
                    <a:lnTo>
                      <a:pt x="33" y="400"/>
                    </a:lnTo>
                    <a:close/>
                    <a:moveTo>
                      <a:pt x="42" y="404"/>
                    </a:moveTo>
                    <a:lnTo>
                      <a:pt x="40" y="404"/>
                    </a:lnTo>
                    <a:lnTo>
                      <a:pt x="42" y="404"/>
                    </a:lnTo>
                    <a:close/>
                    <a:moveTo>
                      <a:pt x="33" y="402"/>
                    </a:moveTo>
                    <a:lnTo>
                      <a:pt x="33" y="400"/>
                    </a:lnTo>
                    <a:lnTo>
                      <a:pt x="33" y="402"/>
                    </a:lnTo>
                    <a:close/>
                    <a:moveTo>
                      <a:pt x="34" y="398"/>
                    </a:moveTo>
                    <a:lnTo>
                      <a:pt x="34" y="400"/>
                    </a:lnTo>
                    <a:lnTo>
                      <a:pt x="34" y="398"/>
                    </a:lnTo>
                    <a:close/>
                    <a:moveTo>
                      <a:pt x="36" y="400"/>
                    </a:moveTo>
                    <a:lnTo>
                      <a:pt x="34" y="400"/>
                    </a:lnTo>
                    <a:lnTo>
                      <a:pt x="36" y="400"/>
                    </a:lnTo>
                    <a:close/>
                    <a:moveTo>
                      <a:pt x="34" y="398"/>
                    </a:moveTo>
                    <a:lnTo>
                      <a:pt x="34" y="400"/>
                    </a:lnTo>
                    <a:lnTo>
                      <a:pt x="34" y="398"/>
                    </a:lnTo>
                    <a:close/>
                    <a:moveTo>
                      <a:pt x="42" y="402"/>
                    </a:moveTo>
                    <a:lnTo>
                      <a:pt x="42" y="400"/>
                    </a:lnTo>
                    <a:lnTo>
                      <a:pt x="42" y="402"/>
                    </a:lnTo>
                    <a:close/>
                    <a:moveTo>
                      <a:pt x="42" y="402"/>
                    </a:moveTo>
                    <a:lnTo>
                      <a:pt x="42" y="400"/>
                    </a:lnTo>
                    <a:lnTo>
                      <a:pt x="42" y="402"/>
                    </a:lnTo>
                    <a:close/>
                    <a:moveTo>
                      <a:pt x="40" y="400"/>
                    </a:moveTo>
                    <a:lnTo>
                      <a:pt x="38" y="400"/>
                    </a:lnTo>
                    <a:lnTo>
                      <a:pt x="40" y="400"/>
                    </a:lnTo>
                    <a:close/>
                    <a:moveTo>
                      <a:pt x="223" y="450"/>
                    </a:moveTo>
                    <a:lnTo>
                      <a:pt x="223" y="448"/>
                    </a:lnTo>
                    <a:lnTo>
                      <a:pt x="223" y="450"/>
                    </a:lnTo>
                    <a:close/>
                    <a:moveTo>
                      <a:pt x="40" y="398"/>
                    </a:moveTo>
                    <a:lnTo>
                      <a:pt x="40" y="400"/>
                    </a:lnTo>
                    <a:lnTo>
                      <a:pt x="40" y="398"/>
                    </a:lnTo>
                    <a:close/>
                    <a:moveTo>
                      <a:pt x="46" y="400"/>
                    </a:moveTo>
                    <a:lnTo>
                      <a:pt x="44" y="400"/>
                    </a:lnTo>
                    <a:lnTo>
                      <a:pt x="46" y="400"/>
                    </a:lnTo>
                    <a:close/>
                    <a:moveTo>
                      <a:pt x="57" y="402"/>
                    </a:moveTo>
                    <a:lnTo>
                      <a:pt x="57" y="404"/>
                    </a:lnTo>
                    <a:lnTo>
                      <a:pt x="57" y="402"/>
                    </a:lnTo>
                    <a:close/>
                    <a:moveTo>
                      <a:pt x="46" y="398"/>
                    </a:moveTo>
                    <a:lnTo>
                      <a:pt x="44" y="398"/>
                    </a:lnTo>
                    <a:lnTo>
                      <a:pt x="46" y="398"/>
                    </a:lnTo>
                    <a:close/>
                    <a:moveTo>
                      <a:pt x="67" y="406"/>
                    </a:moveTo>
                    <a:lnTo>
                      <a:pt x="65" y="406"/>
                    </a:lnTo>
                    <a:lnTo>
                      <a:pt x="67" y="406"/>
                    </a:lnTo>
                    <a:close/>
                    <a:moveTo>
                      <a:pt x="54" y="400"/>
                    </a:moveTo>
                    <a:lnTo>
                      <a:pt x="54" y="402"/>
                    </a:lnTo>
                    <a:lnTo>
                      <a:pt x="54" y="400"/>
                    </a:lnTo>
                    <a:close/>
                    <a:moveTo>
                      <a:pt x="54" y="400"/>
                    </a:moveTo>
                    <a:lnTo>
                      <a:pt x="54" y="402"/>
                    </a:lnTo>
                    <a:lnTo>
                      <a:pt x="54" y="400"/>
                    </a:lnTo>
                    <a:close/>
                    <a:moveTo>
                      <a:pt x="54" y="400"/>
                    </a:moveTo>
                    <a:lnTo>
                      <a:pt x="56" y="400"/>
                    </a:lnTo>
                    <a:lnTo>
                      <a:pt x="56" y="402"/>
                    </a:lnTo>
                    <a:lnTo>
                      <a:pt x="54" y="400"/>
                    </a:lnTo>
                    <a:close/>
                    <a:moveTo>
                      <a:pt x="46" y="398"/>
                    </a:moveTo>
                    <a:lnTo>
                      <a:pt x="44" y="398"/>
                    </a:lnTo>
                    <a:lnTo>
                      <a:pt x="46" y="398"/>
                    </a:lnTo>
                    <a:close/>
                    <a:moveTo>
                      <a:pt x="63" y="402"/>
                    </a:moveTo>
                    <a:lnTo>
                      <a:pt x="63" y="404"/>
                    </a:lnTo>
                    <a:lnTo>
                      <a:pt x="63" y="402"/>
                    </a:lnTo>
                    <a:lnTo>
                      <a:pt x="63" y="404"/>
                    </a:lnTo>
                    <a:lnTo>
                      <a:pt x="63" y="402"/>
                    </a:lnTo>
                    <a:close/>
                    <a:moveTo>
                      <a:pt x="48" y="398"/>
                    </a:moveTo>
                    <a:lnTo>
                      <a:pt x="46" y="398"/>
                    </a:lnTo>
                    <a:lnTo>
                      <a:pt x="48" y="398"/>
                    </a:lnTo>
                    <a:close/>
                    <a:moveTo>
                      <a:pt x="67" y="404"/>
                    </a:moveTo>
                    <a:lnTo>
                      <a:pt x="65" y="404"/>
                    </a:lnTo>
                    <a:lnTo>
                      <a:pt x="67" y="404"/>
                    </a:lnTo>
                    <a:close/>
                    <a:moveTo>
                      <a:pt x="44" y="398"/>
                    </a:moveTo>
                    <a:lnTo>
                      <a:pt x="44" y="396"/>
                    </a:lnTo>
                    <a:lnTo>
                      <a:pt x="44" y="398"/>
                    </a:lnTo>
                    <a:close/>
                    <a:moveTo>
                      <a:pt x="44" y="398"/>
                    </a:moveTo>
                    <a:lnTo>
                      <a:pt x="44" y="396"/>
                    </a:lnTo>
                    <a:lnTo>
                      <a:pt x="44" y="398"/>
                    </a:lnTo>
                    <a:close/>
                    <a:moveTo>
                      <a:pt x="48" y="398"/>
                    </a:moveTo>
                    <a:lnTo>
                      <a:pt x="46" y="398"/>
                    </a:lnTo>
                    <a:lnTo>
                      <a:pt x="48" y="398"/>
                    </a:lnTo>
                    <a:close/>
                    <a:moveTo>
                      <a:pt x="44" y="396"/>
                    </a:moveTo>
                    <a:lnTo>
                      <a:pt x="42" y="396"/>
                    </a:lnTo>
                    <a:lnTo>
                      <a:pt x="44" y="396"/>
                    </a:lnTo>
                    <a:close/>
                    <a:moveTo>
                      <a:pt x="46" y="398"/>
                    </a:moveTo>
                    <a:lnTo>
                      <a:pt x="46" y="396"/>
                    </a:lnTo>
                    <a:lnTo>
                      <a:pt x="46" y="398"/>
                    </a:lnTo>
                    <a:close/>
                    <a:moveTo>
                      <a:pt x="48" y="398"/>
                    </a:moveTo>
                    <a:lnTo>
                      <a:pt x="46" y="398"/>
                    </a:lnTo>
                    <a:lnTo>
                      <a:pt x="48" y="398"/>
                    </a:lnTo>
                    <a:close/>
                    <a:moveTo>
                      <a:pt x="34" y="392"/>
                    </a:moveTo>
                    <a:lnTo>
                      <a:pt x="34" y="394"/>
                    </a:lnTo>
                    <a:lnTo>
                      <a:pt x="34" y="392"/>
                    </a:lnTo>
                    <a:close/>
                    <a:moveTo>
                      <a:pt x="48" y="398"/>
                    </a:moveTo>
                    <a:lnTo>
                      <a:pt x="48" y="396"/>
                    </a:lnTo>
                    <a:lnTo>
                      <a:pt x="48" y="398"/>
                    </a:lnTo>
                    <a:close/>
                    <a:moveTo>
                      <a:pt x="40" y="394"/>
                    </a:moveTo>
                    <a:lnTo>
                      <a:pt x="40" y="396"/>
                    </a:lnTo>
                    <a:lnTo>
                      <a:pt x="40" y="394"/>
                    </a:lnTo>
                    <a:close/>
                    <a:moveTo>
                      <a:pt x="48" y="396"/>
                    </a:moveTo>
                    <a:lnTo>
                      <a:pt x="46" y="396"/>
                    </a:lnTo>
                    <a:lnTo>
                      <a:pt x="48" y="396"/>
                    </a:lnTo>
                    <a:close/>
                    <a:moveTo>
                      <a:pt x="42" y="394"/>
                    </a:moveTo>
                    <a:lnTo>
                      <a:pt x="40" y="394"/>
                    </a:lnTo>
                    <a:lnTo>
                      <a:pt x="42" y="394"/>
                    </a:lnTo>
                    <a:close/>
                    <a:moveTo>
                      <a:pt x="42" y="394"/>
                    </a:moveTo>
                    <a:lnTo>
                      <a:pt x="42" y="396"/>
                    </a:lnTo>
                    <a:lnTo>
                      <a:pt x="42" y="394"/>
                    </a:lnTo>
                    <a:close/>
                    <a:moveTo>
                      <a:pt x="48" y="396"/>
                    </a:moveTo>
                    <a:lnTo>
                      <a:pt x="46" y="396"/>
                    </a:lnTo>
                    <a:lnTo>
                      <a:pt x="48" y="396"/>
                    </a:lnTo>
                    <a:close/>
                    <a:moveTo>
                      <a:pt x="36" y="392"/>
                    </a:moveTo>
                    <a:lnTo>
                      <a:pt x="34" y="392"/>
                    </a:lnTo>
                    <a:lnTo>
                      <a:pt x="36" y="392"/>
                    </a:lnTo>
                    <a:close/>
                    <a:moveTo>
                      <a:pt x="48" y="396"/>
                    </a:moveTo>
                    <a:lnTo>
                      <a:pt x="48" y="394"/>
                    </a:lnTo>
                    <a:lnTo>
                      <a:pt x="48" y="396"/>
                    </a:lnTo>
                    <a:close/>
                    <a:moveTo>
                      <a:pt x="36" y="390"/>
                    </a:moveTo>
                    <a:lnTo>
                      <a:pt x="36" y="392"/>
                    </a:lnTo>
                    <a:lnTo>
                      <a:pt x="36" y="390"/>
                    </a:lnTo>
                    <a:close/>
                    <a:moveTo>
                      <a:pt x="36" y="392"/>
                    </a:moveTo>
                    <a:lnTo>
                      <a:pt x="36" y="390"/>
                    </a:lnTo>
                    <a:lnTo>
                      <a:pt x="36" y="392"/>
                    </a:lnTo>
                    <a:close/>
                    <a:moveTo>
                      <a:pt x="42" y="392"/>
                    </a:moveTo>
                    <a:lnTo>
                      <a:pt x="42" y="394"/>
                    </a:lnTo>
                    <a:lnTo>
                      <a:pt x="42" y="392"/>
                    </a:lnTo>
                    <a:close/>
                    <a:moveTo>
                      <a:pt x="56" y="396"/>
                    </a:moveTo>
                    <a:lnTo>
                      <a:pt x="56" y="398"/>
                    </a:lnTo>
                    <a:lnTo>
                      <a:pt x="56" y="396"/>
                    </a:lnTo>
                    <a:close/>
                    <a:moveTo>
                      <a:pt x="42" y="392"/>
                    </a:moveTo>
                    <a:lnTo>
                      <a:pt x="40" y="392"/>
                    </a:lnTo>
                    <a:lnTo>
                      <a:pt x="42" y="392"/>
                    </a:lnTo>
                    <a:close/>
                    <a:moveTo>
                      <a:pt x="42" y="394"/>
                    </a:moveTo>
                    <a:lnTo>
                      <a:pt x="42" y="392"/>
                    </a:lnTo>
                    <a:lnTo>
                      <a:pt x="42" y="394"/>
                    </a:lnTo>
                    <a:close/>
                    <a:moveTo>
                      <a:pt x="42" y="394"/>
                    </a:moveTo>
                    <a:lnTo>
                      <a:pt x="44" y="392"/>
                    </a:lnTo>
                    <a:lnTo>
                      <a:pt x="42" y="394"/>
                    </a:lnTo>
                    <a:close/>
                    <a:moveTo>
                      <a:pt x="44" y="394"/>
                    </a:moveTo>
                    <a:lnTo>
                      <a:pt x="42" y="394"/>
                    </a:lnTo>
                    <a:lnTo>
                      <a:pt x="44" y="392"/>
                    </a:lnTo>
                    <a:lnTo>
                      <a:pt x="44" y="394"/>
                    </a:lnTo>
                    <a:close/>
                    <a:moveTo>
                      <a:pt x="46" y="394"/>
                    </a:moveTo>
                    <a:lnTo>
                      <a:pt x="48" y="394"/>
                    </a:lnTo>
                    <a:lnTo>
                      <a:pt x="46" y="394"/>
                    </a:lnTo>
                    <a:close/>
                    <a:moveTo>
                      <a:pt x="42" y="392"/>
                    </a:moveTo>
                    <a:lnTo>
                      <a:pt x="42" y="390"/>
                    </a:lnTo>
                    <a:lnTo>
                      <a:pt x="42" y="392"/>
                    </a:lnTo>
                    <a:close/>
                    <a:moveTo>
                      <a:pt x="46" y="392"/>
                    </a:moveTo>
                    <a:lnTo>
                      <a:pt x="48" y="392"/>
                    </a:lnTo>
                    <a:lnTo>
                      <a:pt x="46" y="392"/>
                    </a:lnTo>
                    <a:close/>
                    <a:moveTo>
                      <a:pt x="48" y="390"/>
                    </a:moveTo>
                    <a:lnTo>
                      <a:pt x="46" y="390"/>
                    </a:lnTo>
                    <a:lnTo>
                      <a:pt x="48" y="390"/>
                    </a:lnTo>
                    <a:close/>
                    <a:moveTo>
                      <a:pt x="50" y="390"/>
                    </a:moveTo>
                    <a:lnTo>
                      <a:pt x="50" y="392"/>
                    </a:lnTo>
                    <a:lnTo>
                      <a:pt x="50" y="390"/>
                    </a:lnTo>
                    <a:close/>
                    <a:moveTo>
                      <a:pt x="50" y="392"/>
                    </a:moveTo>
                    <a:lnTo>
                      <a:pt x="50" y="390"/>
                    </a:lnTo>
                    <a:lnTo>
                      <a:pt x="50" y="392"/>
                    </a:lnTo>
                    <a:close/>
                    <a:moveTo>
                      <a:pt x="50" y="392"/>
                    </a:moveTo>
                    <a:lnTo>
                      <a:pt x="50" y="390"/>
                    </a:lnTo>
                    <a:lnTo>
                      <a:pt x="50" y="392"/>
                    </a:lnTo>
                    <a:close/>
                    <a:moveTo>
                      <a:pt x="54" y="390"/>
                    </a:moveTo>
                    <a:lnTo>
                      <a:pt x="54" y="392"/>
                    </a:lnTo>
                    <a:lnTo>
                      <a:pt x="54" y="390"/>
                    </a:lnTo>
                    <a:close/>
                    <a:moveTo>
                      <a:pt x="52" y="390"/>
                    </a:moveTo>
                    <a:lnTo>
                      <a:pt x="50" y="390"/>
                    </a:lnTo>
                    <a:lnTo>
                      <a:pt x="52" y="390"/>
                    </a:lnTo>
                    <a:close/>
                    <a:moveTo>
                      <a:pt x="52" y="388"/>
                    </a:moveTo>
                    <a:lnTo>
                      <a:pt x="50" y="388"/>
                    </a:lnTo>
                    <a:lnTo>
                      <a:pt x="52" y="388"/>
                    </a:lnTo>
                    <a:close/>
                    <a:moveTo>
                      <a:pt x="374" y="465"/>
                    </a:moveTo>
                    <a:lnTo>
                      <a:pt x="373" y="465"/>
                    </a:lnTo>
                    <a:lnTo>
                      <a:pt x="374" y="465"/>
                    </a:lnTo>
                    <a:close/>
                    <a:moveTo>
                      <a:pt x="59" y="390"/>
                    </a:moveTo>
                    <a:lnTo>
                      <a:pt x="57" y="390"/>
                    </a:lnTo>
                    <a:lnTo>
                      <a:pt x="59" y="390"/>
                    </a:lnTo>
                    <a:close/>
                    <a:moveTo>
                      <a:pt x="57" y="388"/>
                    </a:moveTo>
                    <a:lnTo>
                      <a:pt x="57" y="390"/>
                    </a:lnTo>
                    <a:lnTo>
                      <a:pt x="57" y="388"/>
                    </a:lnTo>
                    <a:close/>
                    <a:moveTo>
                      <a:pt x="52" y="386"/>
                    </a:moveTo>
                    <a:lnTo>
                      <a:pt x="52" y="388"/>
                    </a:lnTo>
                    <a:lnTo>
                      <a:pt x="52" y="386"/>
                    </a:lnTo>
                    <a:close/>
                    <a:moveTo>
                      <a:pt x="54" y="388"/>
                    </a:moveTo>
                    <a:lnTo>
                      <a:pt x="54" y="386"/>
                    </a:lnTo>
                    <a:lnTo>
                      <a:pt x="54" y="388"/>
                    </a:lnTo>
                    <a:close/>
                    <a:moveTo>
                      <a:pt x="374" y="463"/>
                    </a:moveTo>
                    <a:lnTo>
                      <a:pt x="376" y="463"/>
                    </a:lnTo>
                    <a:lnTo>
                      <a:pt x="374" y="463"/>
                    </a:lnTo>
                    <a:close/>
                    <a:moveTo>
                      <a:pt x="54" y="388"/>
                    </a:moveTo>
                    <a:lnTo>
                      <a:pt x="54" y="386"/>
                    </a:lnTo>
                    <a:lnTo>
                      <a:pt x="54" y="388"/>
                    </a:lnTo>
                    <a:close/>
                    <a:moveTo>
                      <a:pt x="56" y="386"/>
                    </a:moveTo>
                    <a:lnTo>
                      <a:pt x="54" y="386"/>
                    </a:lnTo>
                    <a:lnTo>
                      <a:pt x="56" y="386"/>
                    </a:lnTo>
                    <a:close/>
                    <a:moveTo>
                      <a:pt x="57" y="388"/>
                    </a:moveTo>
                    <a:lnTo>
                      <a:pt x="56" y="388"/>
                    </a:lnTo>
                    <a:lnTo>
                      <a:pt x="57" y="388"/>
                    </a:lnTo>
                    <a:close/>
                    <a:moveTo>
                      <a:pt x="56" y="388"/>
                    </a:moveTo>
                    <a:lnTo>
                      <a:pt x="56" y="386"/>
                    </a:lnTo>
                    <a:lnTo>
                      <a:pt x="56" y="388"/>
                    </a:lnTo>
                    <a:close/>
                    <a:moveTo>
                      <a:pt x="54" y="386"/>
                    </a:moveTo>
                    <a:lnTo>
                      <a:pt x="56" y="386"/>
                    </a:lnTo>
                    <a:lnTo>
                      <a:pt x="54" y="386"/>
                    </a:lnTo>
                    <a:close/>
                    <a:moveTo>
                      <a:pt x="56" y="386"/>
                    </a:moveTo>
                    <a:lnTo>
                      <a:pt x="54" y="386"/>
                    </a:lnTo>
                    <a:lnTo>
                      <a:pt x="56" y="386"/>
                    </a:lnTo>
                    <a:close/>
                    <a:moveTo>
                      <a:pt x="52" y="384"/>
                    </a:moveTo>
                    <a:lnTo>
                      <a:pt x="50" y="384"/>
                    </a:lnTo>
                    <a:lnTo>
                      <a:pt x="52" y="384"/>
                    </a:lnTo>
                    <a:close/>
                    <a:moveTo>
                      <a:pt x="52" y="384"/>
                    </a:moveTo>
                    <a:lnTo>
                      <a:pt x="52" y="383"/>
                    </a:lnTo>
                    <a:lnTo>
                      <a:pt x="52" y="384"/>
                    </a:lnTo>
                    <a:close/>
                    <a:moveTo>
                      <a:pt x="57" y="384"/>
                    </a:moveTo>
                    <a:lnTo>
                      <a:pt x="59" y="384"/>
                    </a:lnTo>
                    <a:lnTo>
                      <a:pt x="57" y="384"/>
                    </a:lnTo>
                    <a:lnTo>
                      <a:pt x="57" y="386"/>
                    </a:lnTo>
                    <a:lnTo>
                      <a:pt x="57" y="384"/>
                    </a:lnTo>
                    <a:lnTo>
                      <a:pt x="59" y="384"/>
                    </a:lnTo>
                    <a:lnTo>
                      <a:pt x="57" y="384"/>
                    </a:lnTo>
                    <a:close/>
                    <a:moveTo>
                      <a:pt x="59" y="384"/>
                    </a:moveTo>
                    <a:lnTo>
                      <a:pt x="57" y="384"/>
                    </a:lnTo>
                    <a:lnTo>
                      <a:pt x="59" y="384"/>
                    </a:lnTo>
                    <a:close/>
                    <a:moveTo>
                      <a:pt x="56" y="384"/>
                    </a:moveTo>
                    <a:lnTo>
                      <a:pt x="56" y="383"/>
                    </a:lnTo>
                    <a:lnTo>
                      <a:pt x="56" y="384"/>
                    </a:lnTo>
                    <a:close/>
                    <a:moveTo>
                      <a:pt x="59" y="384"/>
                    </a:moveTo>
                    <a:lnTo>
                      <a:pt x="57" y="384"/>
                    </a:lnTo>
                    <a:lnTo>
                      <a:pt x="59" y="384"/>
                    </a:lnTo>
                    <a:close/>
                    <a:moveTo>
                      <a:pt x="57" y="383"/>
                    </a:moveTo>
                    <a:lnTo>
                      <a:pt x="56" y="383"/>
                    </a:lnTo>
                    <a:lnTo>
                      <a:pt x="57" y="383"/>
                    </a:lnTo>
                    <a:lnTo>
                      <a:pt x="56" y="383"/>
                    </a:lnTo>
                    <a:lnTo>
                      <a:pt x="57" y="383"/>
                    </a:lnTo>
                    <a:close/>
                    <a:moveTo>
                      <a:pt x="57" y="383"/>
                    </a:moveTo>
                    <a:lnTo>
                      <a:pt x="59" y="383"/>
                    </a:lnTo>
                    <a:lnTo>
                      <a:pt x="57" y="383"/>
                    </a:lnTo>
                    <a:close/>
                    <a:moveTo>
                      <a:pt x="61" y="381"/>
                    </a:moveTo>
                    <a:lnTo>
                      <a:pt x="61" y="383"/>
                    </a:lnTo>
                    <a:lnTo>
                      <a:pt x="61" y="381"/>
                    </a:lnTo>
                    <a:close/>
                    <a:moveTo>
                      <a:pt x="81" y="386"/>
                    </a:moveTo>
                    <a:lnTo>
                      <a:pt x="79" y="386"/>
                    </a:lnTo>
                    <a:lnTo>
                      <a:pt x="81" y="386"/>
                    </a:lnTo>
                    <a:close/>
                    <a:moveTo>
                      <a:pt x="61" y="381"/>
                    </a:moveTo>
                    <a:lnTo>
                      <a:pt x="59" y="381"/>
                    </a:lnTo>
                    <a:lnTo>
                      <a:pt x="61" y="381"/>
                    </a:lnTo>
                    <a:close/>
                    <a:moveTo>
                      <a:pt x="79" y="386"/>
                    </a:moveTo>
                    <a:lnTo>
                      <a:pt x="81" y="386"/>
                    </a:lnTo>
                    <a:lnTo>
                      <a:pt x="79" y="386"/>
                    </a:lnTo>
                    <a:close/>
                    <a:moveTo>
                      <a:pt x="79" y="384"/>
                    </a:moveTo>
                    <a:lnTo>
                      <a:pt x="79" y="386"/>
                    </a:lnTo>
                    <a:lnTo>
                      <a:pt x="79" y="384"/>
                    </a:lnTo>
                    <a:close/>
                    <a:moveTo>
                      <a:pt x="79" y="384"/>
                    </a:moveTo>
                    <a:lnTo>
                      <a:pt x="79" y="386"/>
                    </a:lnTo>
                    <a:lnTo>
                      <a:pt x="79" y="384"/>
                    </a:lnTo>
                    <a:close/>
                    <a:moveTo>
                      <a:pt x="59" y="381"/>
                    </a:moveTo>
                    <a:lnTo>
                      <a:pt x="59" y="379"/>
                    </a:lnTo>
                    <a:lnTo>
                      <a:pt x="59" y="381"/>
                    </a:lnTo>
                    <a:close/>
                    <a:moveTo>
                      <a:pt x="81" y="384"/>
                    </a:moveTo>
                    <a:lnTo>
                      <a:pt x="79" y="384"/>
                    </a:lnTo>
                    <a:lnTo>
                      <a:pt x="81" y="384"/>
                    </a:lnTo>
                    <a:close/>
                    <a:moveTo>
                      <a:pt x="374" y="452"/>
                    </a:moveTo>
                    <a:lnTo>
                      <a:pt x="374" y="450"/>
                    </a:lnTo>
                    <a:lnTo>
                      <a:pt x="374" y="452"/>
                    </a:lnTo>
                    <a:close/>
                    <a:moveTo>
                      <a:pt x="61" y="377"/>
                    </a:moveTo>
                    <a:lnTo>
                      <a:pt x="61" y="375"/>
                    </a:lnTo>
                    <a:lnTo>
                      <a:pt x="61" y="377"/>
                    </a:lnTo>
                    <a:close/>
                    <a:moveTo>
                      <a:pt x="219" y="413"/>
                    </a:moveTo>
                    <a:lnTo>
                      <a:pt x="219" y="415"/>
                    </a:lnTo>
                    <a:lnTo>
                      <a:pt x="219" y="413"/>
                    </a:lnTo>
                    <a:close/>
                    <a:moveTo>
                      <a:pt x="213" y="413"/>
                    </a:moveTo>
                    <a:lnTo>
                      <a:pt x="213" y="411"/>
                    </a:lnTo>
                    <a:lnTo>
                      <a:pt x="213" y="413"/>
                    </a:lnTo>
                    <a:close/>
                    <a:moveTo>
                      <a:pt x="211" y="408"/>
                    </a:moveTo>
                    <a:lnTo>
                      <a:pt x="209" y="408"/>
                    </a:lnTo>
                    <a:lnTo>
                      <a:pt x="211" y="408"/>
                    </a:lnTo>
                    <a:close/>
                    <a:moveTo>
                      <a:pt x="371" y="442"/>
                    </a:moveTo>
                    <a:lnTo>
                      <a:pt x="371" y="440"/>
                    </a:lnTo>
                    <a:lnTo>
                      <a:pt x="371" y="442"/>
                    </a:lnTo>
                    <a:close/>
                    <a:moveTo>
                      <a:pt x="227" y="411"/>
                    </a:moveTo>
                    <a:lnTo>
                      <a:pt x="225" y="411"/>
                    </a:lnTo>
                    <a:lnTo>
                      <a:pt x="227" y="411"/>
                    </a:lnTo>
                    <a:close/>
                    <a:moveTo>
                      <a:pt x="205" y="404"/>
                    </a:moveTo>
                    <a:lnTo>
                      <a:pt x="205" y="406"/>
                    </a:lnTo>
                    <a:lnTo>
                      <a:pt x="205" y="404"/>
                    </a:lnTo>
                    <a:close/>
                    <a:moveTo>
                      <a:pt x="203" y="404"/>
                    </a:moveTo>
                    <a:lnTo>
                      <a:pt x="205" y="404"/>
                    </a:lnTo>
                    <a:lnTo>
                      <a:pt x="203" y="404"/>
                    </a:lnTo>
                    <a:close/>
                    <a:moveTo>
                      <a:pt x="203" y="404"/>
                    </a:moveTo>
                    <a:lnTo>
                      <a:pt x="202" y="404"/>
                    </a:lnTo>
                    <a:lnTo>
                      <a:pt x="203" y="404"/>
                    </a:lnTo>
                    <a:close/>
                    <a:moveTo>
                      <a:pt x="198" y="402"/>
                    </a:moveTo>
                    <a:lnTo>
                      <a:pt x="196" y="402"/>
                    </a:lnTo>
                    <a:lnTo>
                      <a:pt x="198" y="402"/>
                    </a:lnTo>
                    <a:close/>
                    <a:moveTo>
                      <a:pt x="177" y="398"/>
                    </a:moveTo>
                    <a:lnTo>
                      <a:pt x="177" y="396"/>
                    </a:lnTo>
                    <a:lnTo>
                      <a:pt x="177" y="398"/>
                    </a:lnTo>
                    <a:close/>
                    <a:moveTo>
                      <a:pt x="228" y="409"/>
                    </a:moveTo>
                    <a:lnTo>
                      <a:pt x="227" y="409"/>
                    </a:lnTo>
                    <a:lnTo>
                      <a:pt x="228" y="409"/>
                    </a:lnTo>
                    <a:close/>
                    <a:moveTo>
                      <a:pt x="227" y="409"/>
                    </a:moveTo>
                    <a:lnTo>
                      <a:pt x="227" y="408"/>
                    </a:lnTo>
                    <a:lnTo>
                      <a:pt x="227" y="409"/>
                    </a:lnTo>
                    <a:close/>
                    <a:moveTo>
                      <a:pt x="227" y="408"/>
                    </a:moveTo>
                    <a:lnTo>
                      <a:pt x="227" y="409"/>
                    </a:lnTo>
                    <a:lnTo>
                      <a:pt x="225" y="408"/>
                    </a:lnTo>
                    <a:lnTo>
                      <a:pt x="227" y="408"/>
                    </a:lnTo>
                    <a:close/>
                    <a:moveTo>
                      <a:pt x="227" y="408"/>
                    </a:moveTo>
                    <a:lnTo>
                      <a:pt x="225" y="408"/>
                    </a:lnTo>
                    <a:lnTo>
                      <a:pt x="227" y="408"/>
                    </a:lnTo>
                    <a:close/>
                    <a:moveTo>
                      <a:pt x="200" y="402"/>
                    </a:moveTo>
                    <a:lnTo>
                      <a:pt x="198" y="402"/>
                    </a:lnTo>
                    <a:lnTo>
                      <a:pt x="200" y="402"/>
                    </a:lnTo>
                    <a:close/>
                    <a:moveTo>
                      <a:pt x="90" y="371"/>
                    </a:moveTo>
                    <a:lnTo>
                      <a:pt x="90" y="373"/>
                    </a:lnTo>
                    <a:lnTo>
                      <a:pt x="90" y="371"/>
                    </a:lnTo>
                    <a:close/>
                    <a:moveTo>
                      <a:pt x="198" y="402"/>
                    </a:moveTo>
                    <a:lnTo>
                      <a:pt x="196" y="402"/>
                    </a:lnTo>
                    <a:lnTo>
                      <a:pt x="196" y="400"/>
                    </a:lnTo>
                    <a:lnTo>
                      <a:pt x="198" y="402"/>
                    </a:lnTo>
                    <a:close/>
                    <a:moveTo>
                      <a:pt x="186" y="398"/>
                    </a:moveTo>
                    <a:lnTo>
                      <a:pt x="188" y="398"/>
                    </a:lnTo>
                    <a:lnTo>
                      <a:pt x="186" y="398"/>
                    </a:lnTo>
                    <a:close/>
                    <a:moveTo>
                      <a:pt x="228" y="408"/>
                    </a:moveTo>
                    <a:lnTo>
                      <a:pt x="228" y="409"/>
                    </a:lnTo>
                    <a:lnTo>
                      <a:pt x="228" y="408"/>
                    </a:lnTo>
                    <a:close/>
                    <a:moveTo>
                      <a:pt x="198" y="400"/>
                    </a:moveTo>
                    <a:lnTo>
                      <a:pt x="198" y="402"/>
                    </a:lnTo>
                    <a:lnTo>
                      <a:pt x="198" y="400"/>
                    </a:lnTo>
                    <a:close/>
                    <a:moveTo>
                      <a:pt x="373" y="438"/>
                    </a:moveTo>
                    <a:lnTo>
                      <a:pt x="373" y="436"/>
                    </a:lnTo>
                    <a:lnTo>
                      <a:pt x="373" y="438"/>
                    </a:lnTo>
                    <a:close/>
                    <a:moveTo>
                      <a:pt x="190" y="398"/>
                    </a:moveTo>
                    <a:lnTo>
                      <a:pt x="188" y="398"/>
                    </a:lnTo>
                    <a:lnTo>
                      <a:pt x="190" y="398"/>
                    </a:lnTo>
                    <a:close/>
                    <a:moveTo>
                      <a:pt x="177" y="394"/>
                    </a:moveTo>
                    <a:lnTo>
                      <a:pt x="175" y="394"/>
                    </a:lnTo>
                    <a:lnTo>
                      <a:pt x="177" y="394"/>
                    </a:lnTo>
                    <a:close/>
                    <a:moveTo>
                      <a:pt x="223" y="406"/>
                    </a:moveTo>
                    <a:lnTo>
                      <a:pt x="223" y="408"/>
                    </a:lnTo>
                    <a:lnTo>
                      <a:pt x="223" y="406"/>
                    </a:lnTo>
                    <a:lnTo>
                      <a:pt x="223" y="408"/>
                    </a:lnTo>
                    <a:lnTo>
                      <a:pt x="223" y="406"/>
                    </a:lnTo>
                    <a:close/>
                    <a:moveTo>
                      <a:pt x="180" y="396"/>
                    </a:moveTo>
                    <a:lnTo>
                      <a:pt x="179" y="396"/>
                    </a:lnTo>
                    <a:lnTo>
                      <a:pt x="180" y="396"/>
                    </a:lnTo>
                    <a:close/>
                    <a:moveTo>
                      <a:pt x="200" y="400"/>
                    </a:moveTo>
                    <a:lnTo>
                      <a:pt x="198" y="400"/>
                    </a:lnTo>
                    <a:lnTo>
                      <a:pt x="200" y="400"/>
                    </a:lnTo>
                    <a:close/>
                    <a:moveTo>
                      <a:pt x="184" y="396"/>
                    </a:moveTo>
                    <a:lnTo>
                      <a:pt x="182" y="396"/>
                    </a:lnTo>
                    <a:lnTo>
                      <a:pt x="184" y="396"/>
                    </a:lnTo>
                    <a:close/>
                    <a:moveTo>
                      <a:pt x="180" y="394"/>
                    </a:moveTo>
                    <a:lnTo>
                      <a:pt x="180" y="396"/>
                    </a:lnTo>
                    <a:lnTo>
                      <a:pt x="180" y="394"/>
                    </a:lnTo>
                    <a:close/>
                    <a:moveTo>
                      <a:pt x="180" y="394"/>
                    </a:moveTo>
                    <a:lnTo>
                      <a:pt x="180" y="396"/>
                    </a:lnTo>
                    <a:lnTo>
                      <a:pt x="180" y="394"/>
                    </a:lnTo>
                    <a:lnTo>
                      <a:pt x="180" y="396"/>
                    </a:lnTo>
                    <a:lnTo>
                      <a:pt x="180" y="394"/>
                    </a:lnTo>
                    <a:close/>
                    <a:moveTo>
                      <a:pt x="180" y="394"/>
                    </a:moveTo>
                    <a:lnTo>
                      <a:pt x="179" y="394"/>
                    </a:lnTo>
                    <a:lnTo>
                      <a:pt x="180" y="394"/>
                    </a:lnTo>
                    <a:close/>
                    <a:moveTo>
                      <a:pt x="196" y="398"/>
                    </a:moveTo>
                    <a:lnTo>
                      <a:pt x="196" y="400"/>
                    </a:lnTo>
                    <a:lnTo>
                      <a:pt x="196" y="398"/>
                    </a:lnTo>
                    <a:close/>
                    <a:moveTo>
                      <a:pt x="198" y="400"/>
                    </a:moveTo>
                    <a:lnTo>
                      <a:pt x="200" y="400"/>
                    </a:lnTo>
                    <a:lnTo>
                      <a:pt x="198" y="400"/>
                    </a:lnTo>
                    <a:close/>
                    <a:moveTo>
                      <a:pt x="182" y="396"/>
                    </a:moveTo>
                    <a:lnTo>
                      <a:pt x="182" y="394"/>
                    </a:lnTo>
                    <a:lnTo>
                      <a:pt x="182" y="396"/>
                    </a:lnTo>
                    <a:close/>
                    <a:moveTo>
                      <a:pt x="169" y="392"/>
                    </a:moveTo>
                    <a:lnTo>
                      <a:pt x="167" y="392"/>
                    </a:lnTo>
                    <a:lnTo>
                      <a:pt x="167" y="390"/>
                    </a:lnTo>
                    <a:lnTo>
                      <a:pt x="169" y="392"/>
                    </a:lnTo>
                    <a:close/>
                    <a:moveTo>
                      <a:pt x="180" y="394"/>
                    </a:moveTo>
                    <a:lnTo>
                      <a:pt x="179" y="394"/>
                    </a:lnTo>
                    <a:lnTo>
                      <a:pt x="180" y="394"/>
                    </a:lnTo>
                    <a:close/>
                    <a:moveTo>
                      <a:pt x="230" y="406"/>
                    </a:moveTo>
                    <a:lnTo>
                      <a:pt x="228" y="406"/>
                    </a:lnTo>
                    <a:lnTo>
                      <a:pt x="230" y="406"/>
                    </a:lnTo>
                    <a:close/>
                    <a:moveTo>
                      <a:pt x="182" y="396"/>
                    </a:moveTo>
                    <a:lnTo>
                      <a:pt x="182" y="394"/>
                    </a:lnTo>
                    <a:lnTo>
                      <a:pt x="182" y="396"/>
                    </a:lnTo>
                    <a:close/>
                    <a:moveTo>
                      <a:pt x="186" y="396"/>
                    </a:moveTo>
                    <a:lnTo>
                      <a:pt x="184" y="396"/>
                    </a:lnTo>
                    <a:lnTo>
                      <a:pt x="186" y="396"/>
                    </a:lnTo>
                    <a:close/>
                    <a:moveTo>
                      <a:pt x="177" y="392"/>
                    </a:moveTo>
                    <a:lnTo>
                      <a:pt x="177" y="394"/>
                    </a:lnTo>
                    <a:lnTo>
                      <a:pt x="177" y="392"/>
                    </a:lnTo>
                    <a:close/>
                    <a:moveTo>
                      <a:pt x="202" y="398"/>
                    </a:moveTo>
                    <a:lnTo>
                      <a:pt x="202" y="400"/>
                    </a:lnTo>
                    <a:lnTo>
                      <a:pt x="202" y="398"/>
                    </a:lnTo>
                    <a:close/>
                    <a:moveTo>
                      <a:pt x="202" y="400"/>
                    </a:moveTo>
                    <a:lnTo>
                      <a:pt x="202" y="398"/>
                    </a:lnTo>
                    <a:lnTo>
                      <a:pt x="202" y="400"/>
                    </a:lnTo>
                    <a:close/>
                    <a:moveTo>
                      <a:pt x="180" y="392"/>
                    </a:moveTo>
                    <a:lnTo>
                      <a:pt x="180" y="394"/>
                    </a:lnTo>
                    <a:lnTo>
                      <a:pt x="180" y="392"/>
                    </a:lnTo>
                    <a:close/>
                    <a:moveTo>
                      <a:pt x="196" y="398"/>
                    </a:moveTo>
                    <a:lnTo>
                      <a:pt x="196" y="396"/>
                    </a:lnTo>
                    <a:lnTo>
                      <a:pt x="196" y="398"/>
                    </a:lnTo>
                    <a:close/>
                    <a:moveTo>
                      <a:pt x="203" y="398"/>
                    </a:moveTo>
                    <a:lnTo>
                      <a:pt x="203" y="400"/>
                    </a:lnTo>
                    <a:lnTo>
                      <a:pt x="203" y="398"/>
                    </a:lnTo>
                    <a:close/>
                    <a:moveTo>
                      <a:pt x="192" y="396"/>
                    </a:moveTo>
                    <a:lnTo>
                      <a:pt x="194" y="396"/>
                    </a:lnTo>
                    <a:lnTo>
                      <a:pt x="192" y="396"/>
                    </a:lnTo>
                    <a:close/>
                    <a:moveTo>
                      <a:pt x="167" y="388"/>
                    </a:moveTo>
                    <a:lnTo>
                      <a:pt x="167" y="390"/>
                    </a:lnTo>
                    <a:lnTo>
                      <a:pt x="167" y="388"/>
                    </a:lnTo>
                    <a:close/>
                    <a:moveTo>
                      <a:pt x="182" y="392"/>
                    </a:moveTo>
                    <a:lnTo>
                      <a:pt x="182" y="394"/>
                    </a:lnTo>
                    <a:lnTo>
                      <a:pt x="182" y="392"/>
                    </a:lnTo>
                    <a:close/>
                    <a:moveTo>
                      <a:pt x="188" y="394"/>
                    </a:moveTo>
                    <a:lnTo>
                      <a:pt x="190" y="394"/>
                    </a:lnTo>
                    <a:lnTo>
                      <a:pt x="188" y="394"/>
                    </a:lnTo>
                    <a:close/>
                    <a:moveTo>
                      <a:pt x="175" y="390"/>
                    </a:moveTo>
                    <a:lnTo>
                      <a:pt x="175" y="392"/>
                    </a:lnTo>
                    <a:lnTo>
                      <a:pt x="175" y="390"/>
                    </a:lnTo>
                    <a:close/>
                    <a:moveTo>
                      <a:pt x="90" y="367"/>
                    </a:moveTo>
                    <a:lnTo>
                      <a:pt x="88" y="367"/>
                    </a:lnTo>
                    <a:lnTo>
                      <a:pt x="90" y="367"/>
                    </a:lnTo>
                    <a:close/>
                    <a:moveTo>
                      <a:pt x="200" y="396"/>
                    </a:moveTo>
                    <a:lnTo>
                      <a:pt x="200" y="398"/>
                    </a:lnTo>
                    <a:lnTo>
                      <a:pt x="200" y="396"/>
                    </a:lnTo>
                    <a:close/>
                    <a:moveTo>
                      <a:pt x="194" y="396"/>
                    </a:moveTo>
                    <a:lnTo>
                      <a:pt x="192" y="396"/>
                    </a:lnTo>
                    <a:lnTo>
                      <a:pt x="194" y="396"/>
                    </a:lnTo>
                    <a:close/>
                    <a:moveTo>
                      <a:pt x="179" y="390"/>
                    </a:moveTo>
                    <a:lnTo>
                      <a:pt x="179" y="392"/>
                    </a:lnTo>
                    <a:lnTo>
                      <a:pt x="179" y="390"/>
                    </a:lnTo>
                    <a:close/>
                    <a:moveTo>
                      <a:pt x="188" y="394"/>
                    </a:moveTo>
                    <a:lnTo>
                      <a:pt x="186" y="394"/>
                    </a:lnTo>
                    <a:lnTo>
                      <a:pt x="188" y="394"/>
                    </a:lnTo>
                    <a:close/>
                    <a:moveTo>
                      <a:pt x="203" y="398"/>
                    </a:moveTo>
                    <a:lnTo>
                      <a:pt x="202" y="398"/>
                    </a:lnTo>
                    <a:lnTo>
                      <a:pt x="203" y="398"/>
                    </a:lnTo>
                    <a:close/>
                    <a:moveTo>
                      <a:pt x="203" y="398"/>
                    </a:moveTo>
                    <a:lnTo>
                      <a:pt x="203" y="396"/>
                    </a:lnTo>
                    <a:lnTo>
                      <a:pt x="203" y="398"/>
                    </a:lnTo>
                    <a:close/>
                    <a:moveTo>
                      <a:pt x="177" y="390"/>
                    </a:moveTo>
                    <a:lnTo>
                      <a:pt x="175" y="390"/>
                    </a:lnTo>
                    <a:lnTo>
                      <a:pt x="177" y="390"/>
                    </a:lnTo>
                    <a:close/>
                    <a:moveTo>
                      <a:pt x="173" y="388"/>
                    </a:moveTo>
                    <a:lnTo>
                      <a:pt x="173" y="386"/>
                    </a:lnTo>
                    <a:lnTo>
                      <a:pt x="173" y="388"/>
                    </a:lnTo>
                    <a:close/>
                    <a:moveTo>
                      <a:pt x="163" y="383"/>
                    </a:moveTo>
                    <a:lnTo>
                      <a:pt x="163" y="384"/>
                    </a:lnTo>
                    <a:lnTo>
                      <a:pt x="163" y="383"/>
                    </a:lnTo>
                    <a:close/>
                    <a:moveTo>
                      <a:pt x="165" y="383"/>
                    </a:moveTo>
                    <a:lnTo>
                      <a:pt x="163" y="384"/>
                    </a:lnTo>
                    <a:lnTo>
                      <a:pt x="163" y="383"/>
                    </a:lnTo>
                    <a:lnTo>
                      <a:pt x="165" y="383"/>
                    </a:lnTo>
                    <a:close/>
                    <a:moveTo>
                      <a:pt x="202" y="392"/>
                    </a:moveTo>
                    <a:lnTo>
                      <a:pt x="202" y="394"/>
                    </a:lnTo>
                    <a:lnTo>
                      <a:pt x="202" y="392"/>
                    </a:lnTo>
                    <a:close/>
                    <a:moveTo>
                      <a:pt x="200" y="392"/>
                    </a:moveTo>
                    <a:lnTo>
                      <a:pt x="200" y="390"/>
                    </a:lnTo>
                    <a:lnTo>
                      <a:pt x="200" y="392"/>
                    </a:lnTo>
                    <a:close/>
                    <a:moveTo>
                      <a:pt x="84" y="359"/>
                    </a:moveTo>
                    <a:lnTo>
                      <a:pt x="86" y="359"/>
                    </a:lnTo>
                    <a:lnTo>
                      <a:pt x="84" y="359"/>
                    </a:lnTo>
                    <a:close/>
                    <a:moveTo>
                      <a:pt x="155" y="379"/>
                    </a:moveTo>
                    <a:lnTo>
                      <a:pt x="155" y="381"/>
                    </a:lnTo>
                    <a:lnTo>
                      <a:pt x="155" y="379"/>
                    </a:lnTo>
                    <a:close/>
                    <a:moveTo>
                      <a:pt x="163" y="381"/>
                    </a:moveTo>
                    <a:lnTo>
                      <a:pt x="161" y="381"/>
                    </a:lnTo>
                    <a:lnTo>
                      <a:pt x="163" y="381"/>
                    </a:lnTo>
                    <a:close/>
                    <a:moveTo>
                      <a:pt x="184" y="386"/>
                    </a:moveTo>
                    <a:lnTo>
                      <a:pt x="182" y="386"/>
                    </a:lnTo>
                    <a:lnTo>
                      <a:pt x="184" y="386"/>
                    </a:lnTo>
                    <a:close/>
                    <a:moveTo>
                      <a:pt x="180" y="386"/>
                    </a:moveTo>
                    <a:lnTo>
                      <a:pt x="180" y="384"/>
                    </a:lnTo>
                    <a:lnTo>
                      <a:pt x="180" y="386"/>
                    </a:lnTo>
                    <a:lnTo>
                      <a:pt x="180" y="384"/>
                    </a:lnTo>
                    <a:lnTo>
                      <a:pt x="180" y="386"/>
                    </a:lnTo>
                    <a:close/>
                    <a:moveTo>
                      <a:pt x="180" y="386"/>
                    </a:moveTo>
                    <a:lnTo>
                      <a:pt x="180" y="384"/>
                    </a:lnTo>
                    <a:lnTo>
                      <a:pt x="180" y="386"/>
                    </a:lnTo>
                    <a:close/>
                    <a:moveTo>
                      <a:pt x="203" y="390"/>
                    </a:moveTo>
                    <a:lnTo>
                      <a:pt x="203" y="392"/>
                    </a:lnTo>
                    <a:lnTo>
                      <a:pt x="203" y="390"/>
                    </a:lnTo>
                    <a:close/>
                    <a:moveTo>
                      <a:pt x="180" y="384"/>
                    </a:moveTo>
                    <a:lnTo>
                      <a:pt x="179" y="384"/>
                    </a:lnTo>
                    <a:lnTo>
                      <a:pt x="180" y="384"/>
                    </a:lnTo>
                    <a:close/>
                    <a:moveTo>
                      <a:pt x="155" y="377"/>
                    </a:moveTo>
                    <a:lnTo>
                      <a:pt x="154" y="377"/>
                    </a:lnTo>
                    <a:lnTo>
                      <a:pt x="155" y="377"/>
                    </a:lnTo>
                    <a:close/>
                    <a:moveTo>
                      <a:pt x="155" y="379"/>
                    </a:moveTo>
                    <a:lnTo>
                      <a:pt x="155" y="377"/>
                    </a:lnTo>
                    <a:lnTo>
                      <a:pt x="155" y="379"/>
                    </a:lnTo>
                    <a:close/>
                    <a:moveTo>
                      <a:pt x="202" y="388"/>
                    </a:moveTo>
                    <a:lnTo>
                      <a:pt x="200" y="388"/>
                    </a:lnTo>
                    <a:lnTo>
                      <a:pt x="202" y="388"/>
                    </a:lnTo>
                    <a:close/>
                    <a:moveTo>
                      <a:pt x="163" y="381"/>
                    </a:moveTo>
                    <a:lnTo>
                      <a:pt x="163" y="379"/>
                    </a:lnTo>
                    <a:lnTo>
                      <a:pt x="163" y="381"/>
                    </a:lnTo>
                    <a:close/>
                    <a:moveTo>
                      <a:pt x="232" y="396"/>
                    </a:moveTo>
                    <a:lnTo>
                      <a:pt x="234" y="396"/>
                    </a:lnTo>
                    <a:lnTo>
                      <a:pt x="232" y="396"/>
                    </a:lnTo>
                    <a:close/>
                    <a:moveTo>
                      <a:pt x="203" y="388"/>
                    </a:moveTo>
                    <a:lnTo>
                      <a:pt x="203" y="390"/>
                    </a:lnTo>
                    <a:lnTo>
                      <a:pt x="203" y="388"/>
                    </a:lnTo>
                    <a:close/>
                    <a:moveTo>
                      <a:pt x="84" y="356"/>
                    </a:moveTo>
                    <a:lnTo>
                      <a:pt x="84" y="358"/>
                    </a:lnTo>
                    <a:lnTo>
                      <a:pt x="84" y="356"/>
                    </a:lnTo>
                    <a:close/>
                    <a:moveTo>
                      <a:pt x="175" y="383"/>
                    </a:moveTo>
                    <a:lnTo>
                      <a:pt x="175" y="381"/>
                    </a:lnTo>
                    <a:lnTo>
                      <a:pt x="175" y="383"/>
                    </a:lnTo>
                    <a:close/>
                    <a:moveTo>
                      <a:pt x="202" y="388"/>
                    </a:moveTo>
                    <a:lnTo>
                      <a:pt x="202" y="386"/>
                    </a:lnTo>
                    <a:lnTo>
                      <a:pt x="202" y="388"/>
                    </a:lnTo>
                    <a:close/>
                    <a:moveTo>
                      <a:pt x="179" y="381"/>
                    </a:moveTo>
                    <a:lnTo>
                      <a:pt x="179" y="383"/>
                    </a:lnTo>
                    <a:lnTo>
                      <a:pt x="179" y="381"/>
                    </a:lnTo>
                    <a:lnTo>
                      <a:pt x="179" y="383"/>
                    </a:lnTo>
                    <a:lnTo>
                      <a:pt x="179" y="381"/>
                    </a:lnTo>
                    <a:close/>
                    <a:moveTo>
                      <a:pt x="234" y="396"/>
                    </a:moveTo>
                    <a:lnTo>
                      <a:pt x="234" y="394"/>
                    </a:lnTo>
                    <a:lnTo>
                      <a:pt x="234" y="396"/>
                    </a:lnTo>
                    <a:close/>
                    <a:moveTo>
                      <a:pt x="196" y="384"/>
                    </a:moveTo>
                    <a:lnTo>
                      <a:pt x="196" y="386"/>
                    </a:lnTo>
                    <a:lnTo>
                      <a:pt x="196" y="384"/>
                    </a:lnTo>
                    <a:close/>
                    <a:moveTo>
                      <a:pt x="177" y="381"/>
                    </a:moveTo>
                    <a:lnTo>
                      <a:pt x="175" y="381"/>
                    </a:lnTo>
                    <a:lnTo>
                      <a:pt x="177" y="381"/>
                    </a:lnTo>
                    <a:close/>
                    <a:moveTo>
                      <a:pt x="238" y="394"/>
                    </a:moveTo>
                    <a:lnTo>
                      <a:pt x="238" y="396"/>
                    </a:lnTo>
                    <a:lnTo>
                      <a:pt x="238" y="394"/>
                    </a:lnTo>
                    <a:close/>
                    <a:moveTo>
                      <a:pt x="161" y="375"/>
                    </a:moveTo>
                    <a:lnTo>
                      <a:pt x="161" y="377"/>
                    </a:lnTo>
                    <a:lnTo>
                      <a:pt x="161" y="375"/>
                    </a:lnTo>
                    <a:close/>
                    <a:moveTo>
                      <a:pt x="161" y="377"/>
                    </a:moveTo>
                    <a:lnTo>
                      <a:pt x="161" y="375"/>
                    </a:lnTo>
                    <a:lnTo>
                      <a:pt x="161" y="377"/>
                    </a:lnTo>
                    <a:close/>
                    <a:moveTo>
                      <a:pt x="177" y="381"/>
                    </a:moveTo>
                    <a:lnTo>
                      <a:pt x="177" y="379"/>
                    </a:lnTo>
                    <a:lnTo>
                      <a:pt x="177" y="381"/>
                    </a:lnTo>
                    <a:close/>
                    <a:moveTo>
                      <a:pt x="177" y="379"/>
                    </a:moveTo>
                    <a:lnTo>
                      <a:pt x="177" y="381"/>
                    </a:lnTo>
                    <a:lnTo>
                      <a:pt x="177" y="379"/>
                    </a:lnTo>
                    <a:close/>
                    <a:moveTo>
                      <a:pt x="209" y="388"/>
                    </a:moveTo>
                    <a:lnTo>
                      <a:pt x="209" y="386"/>
                    </a:lnTo>
                    <a:lnTo>
                      <a:pt x="209" y="388"/>
                    </a:lnTo>
                    <a:close/>
                    <a:moveTo>
                      <a:pt x="209" y="388"/>
                    </a:moveTo>
                    <a:lnTo>
                      <a:pt x="211" y="388"/>
                    </a:lnTo>
                    <a:lnTo>
                      <a:pt x="209" y="388"/>
                    </a:lnTo>
                    <a:close/>
                    <a:moveTo>
                      <a:pt x="157" y="373"/>
                    </a:moveTo>
                    <a:lnTo>
                      <a:pt x="157" y="375"/>
                    </a:lnTo>
                    <a:lnTo>
                      <a:pt x="157" y="373"/>
                    </a:lnTo>
                    <a:lnTo>
                      <a:pt x="157" y="375"/>
                    </a:lnTo>
                    <a:lnTo>
                      <a:pt x="157" y="373"/>
                    </a:lnTo>
                    <a:close/>
                    <a:moveTo>
                      <a:pt x="179" y="379"/>
                    </a:moveTo>
                    <a:lnTo>
                      <a:pt x="177" y="379"/>
                    </a:lnTo>
                    <a:lnTo>
                      <a:pt x="179" y="379"/>
                    </a:lnTo>
                    <a:close/>
                    <a:moveTo>
                      <a:pt x="179" y="379"/>
                    </a:moveTo>
                    <a:lnTo>
                      <a:pt x="177" y="379"/>
                    </a:lnTo>
                    <a:lnTo>
                      <a:pt x="179" y="379"/>
                    </a:lnTo>
                    <a:close/>
                    <a:moveTo>
                      <a:pt x="253" y="396"/>
                    </a:moveTo>
                    <a:lnTo>
                      <a:pt x="253" y="398"/>
                    </a:lnTo>
                    <a:lnTo>
                      <a:pt x="253" y="396"/>
                    </a:lnTo>
                    <a:close/>
                    <a:moveTo>
                      <a:pt x="179" y="379"/>
                    </a:moveTo>
                    <a:lnTo>
                      <a:pt x="177" y="379"/>
                    </a:lnTo>
                    <a:lnTo>
                      <a:pt x="179" y="379"/>
                    </a:lnTo>
                    <a:close/>
                    <a:moveTo>
                      <a:pt x="132" y="365"/>
                    </a:moveTo>
                    <a:lnTo>
                      <a:pt x="130" y="365"/>
                    </a:lnTo>
                    <a:lnTo>
                      <a:pt x="132" y="365"/>
                    </a:lnTo>
                    <a:close/>
                    <a:moveTo>
                      <a:pt x="159" y="373"/>
                    </a:moveTo>
                    <a:lnTo>
                      <a:pt x="157" y="373"/>
                    </a:lnTo>
                    <a:lnTo>
                      <a:pt x="159" y="373"/>
                    </a:lnTo>
                    <a:close/>
                    <a:moveTo>
                      <a:pt x="484" y="438"/>
                    </a:moveTo>
                    <a:lnTo>
                      <a:pt x="484" y="436"/>
                    </a:lnTo>
                    <a:lnTo>
                      <a:pt x="484" y="438"/>
                    </a:lnTo>
                    <a:close/>
                    <a:moveTo>
                      <a:pt x="155" y="373"/>
                    </a:moveTo>
                    <a:lnTo>
                      <a:pt x="155" y="371"/>
                    </a:lnTo>
                    <a:lnTo>
                      <a:pt x="155" y="373"/>
                    </a:lnTo>
                    <a:close/>
                    <a:moveTo>
                      <a:pt x="129" y="365"/>
                    </a:moveTo>
                    <a:lnTo>
                      <a:pt x="129" y="363"/>
                    </a:lnTo>
                    <a:lnTo>
                      <a:pt x="129" y="365"/>
                    </a:lnTo>
                    <a:close/>
                    <a:moveTo>
                      <a:pt x="373" y="419"/>
                    </a:moveTo>
                    <a:lnTo>
                      <a:pt x="371" y="419"/>
                    </a:lnTo>
                    <a:lnTo>
                      <a:pt x="373" y="419"/>
                    </a:lnTo>
                    <a:close/>
                    <a:moveTo>
                      <a:pt x="154" y="371"/>
                    </a:moveTo>
                    <a:lnTo>
                      <a:pt x="154" y="369"/>
                    </a:lnTo>
                    <a:lnTo>
                      <a:pt x="154" y="371"/>
                    </a:lnTo>
                    <a:close/>
                    <a:moveTo>
                      <a:pt x="371" y="419"/>
                    </a:moveTo>
                    <a:lnTo>
                      <a:pt x="371" y="417"/>
                    </a:lnTo>
                    <a:lnTo>
                      <a:pt x="371" y="419"/>
                    </a:lnTo>
                    <a:close/>
                    <a:moveTo>
                      <a:pt x="177" y="375"/>
                    </a:moveTo>
                    <a:lnTo>
                      <a:pt x="177" y="377"/>
                    </a:lnTo>
                    <a:lnTo>
                      <a:pt x="177" y="375"/>
                    </a:lnTo>
                    <a:close/>
                    <a:moveTo>
                      <a:pt x="134" y="363"/>
                    </a:moveTo>
                    <a:lnTo>
                      <a:pt x="132" y="363"/>
                    </a:lnTo>
                    <a:lnTo>
                      <a:pt x="134" y="363"/>
                    </a:lnTo>
                    <a:close/>
                    <a:moveTo>
                      <a:pt x="134" y="363"/>
                    </a:moveTo>
                    <a:lnTo>
                      <a:pt x="132" y="363"/>
                    </a:lnTo>
                    <a:lnTo>
                      <a:pt x="134" y="363"/>
                    </a:lnTo>
                    <a:close/>
                    <a:moveTo>
                      <a:pt x="134" y="363"/>
                    </a:moveTo>
                    <a:lnTo>
                      <a:pt x="132" y="363"/>
                    </a:lnTo>
                    <a:lnTo>
                      <a:pt x="134" y="363"/>
                    </a:lnTo>
                    <a:close/>
                    <a:moveTo>
                      <a:pt x="211" y="383"/>
                    </a:moveTo>
                    <a:lnTo>
                      <a:pt x="211" y="384"/>
                    </a:lnTo>
                    <a:lnTo>
                      <a:pt x="211" y="383"/>
                    </a:lnTo>
                    <a:close/>
                    <a:moveTo>
                      <a:pt x="138" y="363"/>
                    </a:moveTo>
                    <a:lnTo>
                      <a:pt x="136" y="363"/>
                    </a:lnTo>
                    <a:lnTo>
                      <a:pt x="138" y="363"/>
                    </a:lnTo>
                    <a:close/>
                    <a:moveTo>
                      <a:pt x="134" y="363"/>
                    </a:moveTo>
                    <a:lnTo>
                      <a:pt x="132" y="363"/>
                    </a:lnTo>
                    <a:lnTo>
                      <a:pt x="134" y="363"/>
                    </a:lnTo>
                    <a:close/>
                    <a:moveTo>
                      <a:pt x="482" y="433"/>
                    </a:moveTo>
                    <a:lnTo>
                      <a:pt x="482" y="434"/>
                    </a:lnTo>
                    <a:lnTo>
                      <a:pt x="482" y="433"/>
                    </a:lnTo>
                    <a:close/>
                    <a:moveTo>
                      <a:pt x="132" y="363"/>
                    </a:moveTo>
                    <a:lnTo>
                      <a:pt x="132" y="361"/>
                    </a:lnTo>
                    <a:lnTo>
                      <a:pt x="132" y="363"/>
                    </a:lnTo>
                    <a:close/>
                    <a:moveTo>
                      <a:pt x="252" y="392"/>
                    </a:moveTo>
                    <a:lnTo>
                      <a:pt x="253" y="392"/>
                    </a:lnTo>
                    <a:lnTo>
                      <a:pt x="252" y="392"/>
                    </a:lnTo>
                    <a:close/>
                    <a:moveTo>
                      <a:pt x="188" y="377"/>
                    </a:moveTo>
                    <a:lnTo>
                      <a:pt x="190" y="377"/>
                    </a:lnTo>
                    <a:lnTo>
                      <a:pt x="188" y="377"/>
                    </a:lnTo>
                    <a:close/>
                    <a:moveTo>
                      <a:pt x="134" y="361"/>
                    </a:moveTo>
                    <a:lnTo>
                      <a:pt x="132" y="361"/>
                    </a:lnTo>
                    <a:lnTo>
                      <a:pt x="134" y="361"/>
                    </a:lnTo>
                    <a:close/>
                    <a:moveTo>
                      <a:pt x="190" y="377"/>
                    </a:moveTo>
                    <a:lnTo>
                      <a:pt x="188" y="377"/>
                    </a:lnTo>
                    <a:lnTo>
                      <a:pt x="190" y="377"/>
                    </a:lnTo>
                    <a:close/>
                    <a:moveTo>
                      <a:pt x="179" y="373"/>
                    </a:moveTo>
                    <a:lnTo>
                      <a:pt x="179" y="375"/>
                    </a:lnTo>
                    <a:lnTo>
                      <a:pt x="179" y="373"/>
                    </a:lnTo>
                    <a:close/>
                    <a:moveTo>
                      <a:pt x="134" y="363"/>
                    </a:moveTo>
                    <a:lnTo>
                      <a:pt x="134" y="361"/>
                    </a:lnTo>
                    <a:lnTo>
                      <a:pt x="134" y="363"/>
                    </a:lnTo>
                    <a:close/>
                    <a:moveTo>
                      <a:pt x="205" y="379"/>
                    </a:moveTo>
                    <a:lnTo>
                      <a:pt x="205" y="381"/>
                    </a:lnTo>
                    <a:lnTo>
                      <a:pt x="205" y="379"/>
                    </a:lnTo>
                    <a:lnTo>
                      <a:pt x="203" y="379"/>
                    </a:lnTo>
                    <a:lnTo>
                      <a:pt x="205" y="379"/>
                    </a:lnTo>
                    <a:close/>
                    <a:moveTo>
                      <a:pt x="190" y="375"/>
                    </a:moveTo>
                    <a:lnTo>
                      <a:pt x="188" y="375"/>
                    </a:lnTo>
                    <a:lnTo>
                      <a:pt x="190" y="375"/>
                    </a:lnTo>
                    <a:close/>
                    <a:moveTo>
                      <a:pt x="163" y="367"/>
                    </a:moveTo>
                    <a:lnTo>
                      <a:pt x="163" y="369"/>
                    </a:lnTo>
                    <a:lnTo>
                      <a:pt x="163" y="367"/>
                    </a:lnTo>
                    <a:close/>
                    <a:moveTo>
                      <a:pt x="203" y="377"/>
                    </a:moveTo>
                    <a:lnTo>
                      <a:pt x="202" y="377"/>
                    </a:lnTo>
                    <a:lnTo>
                      <a:pt x="203" y="377"/>
                    </a:lnTo>
                    <a:close/>
                    <a:moveTo>
                      <a:pt x="215" y="379"/>
                    </a:moveTo>
                    <a:lnTo>
                      <a:pt x="213" y="379"/>
                    </a:lnTo>
                    <a:lnTo>
                      <a:pt x="215" y="379"/>
                    </a:lnTo>
                    <a:close/>
                    <a:moveTo>
                      <a:pt x="148" y="361"/>
                    </a:moveTo>
                    <a:lnTo>
                      <a:pt x="146" y="361"/>
                    </a:lnTo>
                    <a:lnTo>
                      <a:pt x="148" y="361"/>
                    </a:lnTo>
                    <a:close/>
                    <a:moveTo>
                      <a:pt x="196" y="373"/>
                    </a:moveTo>
                    <a:lnTo>
                      <a:pt x="196" y="375"/>
                    </a:lnTo>
                    <a:lnTo>
                      <a:pt x="196" y="373"/>
                    </a:lnTo>
                    <a:close/>
                    <a:moveTo>
                      <a:pt x="175" y="367"/>
                    </a:moveTo>
                    <a:lnTo>
                      <a:pt x="173" y="367"/>
                    </a:lnTo>
                    <a:lnTo>
                      <a:pt x="175" y="367"/>
                    </a:lnTo>
                    <a:close/>
                    <a:moveTo>
                      <a:pt x="175" y="367"/>
                    </a:moveTo>
                    <a:lnTo>
                      <a:pt x="173" y="367"/>
                    </a:lnTo>
                    <a:lnTo>
                      <a:pt x="175" y="367"/>
                    </a:lnTo>
                    <a:close/>
                    <a:moveTo>
                      <a:pt x="213" y="377"/>
                    </a:moveTo>
                    <a:lnTo>
                      <a:pt x="215" y="377"/>
                    </a:lnTo>
                    <a:lnTo>
                      <a:pt x="213" y="377"/>
                    </a:lnTo>
                    <a:close/>
                    <a:moveTo>
                      <a:pt x="265" y="386"/>
                    </a:moveTo>
                    <a:lnTo>
                      <a:pt x="263" y="386"/>
                    </a:lnTo>
                    <a:lnTo>
                      <a:pt x="265" y="386"/>
                    </a:lnTo>
                    <a:close/>
                    <a:moveTo>
                      <a:pt x="219" y="375"/>
                    </a:moveTo>
                    <a:lnTo>
                      <a:pt x="217" y="375"/>
                    </a:lnTo>
                    <a:lnTo>
                      <a:pt x="219" y="375"/>
                    </a:lnTo>
                    <a:close/>
                    <a:moveTo>
                      <a:pt x="265" y="386"/>
                    </a:moveTo>
                    <a:lnTo>
                      <a:pt x="263" y="386"/>
                    </a:lnTo>
                    <a:lnTo>
                      <a:pt x="265" y="386"/>
                    </a:lnTo>
                    <a:close/>
                    <a:moveTo>
                      <a:pt x="476" y="425"/>
                    </a:moveTo>
                    <a:lnTo>
                      <a:pt x="476" y="423"/>
                    </a:lnTo>
                    <a:lnTo>
                      <a:pt x="476" y="425"/>
                    </a:lnTo>
                    <a:close/>
                    <a:moveTo>
                      <a:pt x="215" y="375"/>
                    </a:moveTo>
                    <a:lnTo>
                      <a:pt x="213" y="375"/>
                    </a:lnTo>
                    <a:lnTo>
                      <a:pt x="215" y="375"/>
                    </a:lnTo>
                    <a:close/>
                    <a:moveTo>
                      <a:pt x="207" y="371"/>
                    </a:moveTo>
                    <a:lnTo>
                      <a:pt x="205" y="371"/>
                    </a:lnTo>
                    <a:lnTo>
                      <a:pt x="207" y="371"/>
                    </a:lnTo>
                    <a:close/>
                    <a:moveTo>
                      <a:pt x="154" y="358"/>
                    </a:moveTo>
                    <a:lnTo>
                      <a:pt x="152" y="358"/>
                    </a:lnTo>
                    <a:lnTo>
                      <a:pt x="154" y="358"/>
                    </a:lnTo>
                    <a:close/>
                    <a:moveTo>
                      <a:pt x="213" y="371"/>
                    </a:moveTo>
                    <a:lnTo>
                      <a:pt x="213" y="373"/>
                    </a:lnTo>
                    <a:lnTo>
                      <a:pt x="213" y="371"/>
                    </a:lnTo>
                    <a:close/>
                    <a:moveTo>
                      <a:pt x="150" y="356"/>
                    </a:moveTo>
                    <a:lnTo>
                      <a:pt x="148" y="356"/>
                    </a:lnTo>
                    <a:lnTo>
                      <a:pt x="150" y="356"/>
                    </a:lnTo>
                    <a:close/>
                    <a:moveTo>
                      <a:pt x="155" y="358"/>
                    </a:moveTo>
                    <a:lnTo>
                      <a:pt x="155" y="356"/>
                    </a:lnTo>
                    <a:lnTo>
                      <a:pt x="155" y="358"/>
                    </a:lnTo>
                    <a:close/>
                    <a:moveTo>
                      <a:pt x="157" y="356"/>
                    </a:moveTo>
                    <a:lnTo>
                      <a:pt x="157" y="358"/>
                    </a:lnTo>
                    <a:lnTo>
                      <a:pt x="157" y="356"/>
                    </a:lnTo>
                    <a:close/>
                    <a:moveTo>
                      <a:pt x="217" y="371"/>
                    </a:moveTo>
                    <a:lnTo>
                      <a:pt x="217" y="373"/>
                    </a:lnTo>
                    <a:lnTo>
                      <a:pt x="217" y="371"/>
                    </a:lnTo>
                    <a:lnTo>
                      <a:pt x="217" y="373"/>
                    </a:lnTo>
                    <a:lnTo>
                      <a:pt x="217" y="371"/>
                    </a:lnTo>
                    <a:close/>
                    <a:moveTo>
                      <a:pt x="474" y="419"/>
                    </a:moveTo>
                    <a:lnTo>
                      <a:pt x="472" y="419"/>
                    </a:lnTo>
                    <a:lnTo>
                      <a:pt x="474" y="419"/>
                    </a:lnTo>
                    <a:close/>
                    <a:moveTo>
                      <a:pt x="267" y="383"/>
                    </a:moveTo>
                    <a:lnTo>
                      <a:pt x="267" y="381"/>
                    </a:lnTo>
                    <a:lnTo>
                      <a:pt x="267" y="383"/>
                    </a:lnTo>
                    <a:close/>
                    <a:moveTo>
                      <a:pt x="267" y="383"/>
                    </a:moveTo>
                    <a:lnTo>
                      <a:pt x="267" y="381"/>
                    </a:lnTo>
                    <a:lnTo>
                      <a:pt x="267" y="383"/>
                    </a:lnTo>
                    <a:close/>
                    <a:moveTo>
                      <a:pt x="378" y="402"/>
                    </a:moveTo>
                    <a:lnTo>
                      <a:pt x="376" y="402"/>
                    </a:lnTo>
                    <a:lnTo>
                      <a:pt x="378" y="402"/>
                    </a:lnTo>
                    <a:close/>
                    <a:moveTo>
                      <a:pt x="440" y="409"/>
                    </a:moveTo>
                    <a:lnTo>
                      <a:pt x="438" y="409"/>
                    </a:lnTo>
                    <a:lnTo>
                      <a:pt x="440" y="409"/>
                    </a:lnTo>
                    <a:close/>
                    <a:moveTo>
                      <a:pt x="440" y="409"/>
                    </a:moveTo>
                    <a:lnTo>
                      <a:pt x="438" y="409"/>
                    </a:lnTo>
                    <a:lnTo>
                      <a:pt x="440" y="409"/>
                    </a:lnTo>
                    <a:close/>
                    <a:moveTo>
                      <a:pt x="438" y="409"/>
                    </a:moveTo>
                    <a:lnTo>
                      <a:pt x="438" y="408"/>
                    </a:lnTo>
                    <a:lnTo>
                      <a:pt x="438" y="409"/>
                    </a:lnTo>
                    <a:close/>
                    <a:moveTo>
                      <a:pt x="432" y="404"/>
                    </a:moveTo>
                    <a:lnTo>
                      <a:pt x="432" y="406"/>
                    </a:lnTo>
                    <a:lnTo>
                      <a:pt x="432" y="404"/>
                    </a:lnTo>
                    <a:close/>
                    <a:moveTo>
                      <a:pt x="432" y="404"/>
                    </a:moveTo>
                    <a:lnTo>
                      <a:pt x="432" y="406"/>
                    </a:lnTo>
                    <a:lnTo>
                      <a:pt x="432" y="404"/>
                    </a:lnTo>
                    <a:close/>
                    <a:moveTo>
                      <a:pt x="449" y="408"/>
                    </a:moveTo>
                    <a:lnTo>
                      <a:pt x="451" y="408"/>
                    </a:lnTo>
                    <a:lnTo>
                      <a:pt x="449" y="408"/>
                    </a:lnTo>
                    <a:close/>
                    <a:moveTo>
                      <a:pt x="451" y="408"/>
                    </a:moveTo>
                    <a:lnTo>
                      <a:pt x="451" y="406"/>
                    </a:lnTo>
                    <a:lnTo>
                      <a:pt x="451" y="408"/>
                    </a:lnTo>
                    <a:close/>
                    <a:moveTo>
                      <a:pt x="444" y="406"/>
                    </a:moveTo>
                    <a:lnTo>
                      <a:pt x="442" y="406"/>
                    </a:lnTo>
                    <a:lnTo>
                      <a:pt x="444" y="406"/>
                    </a:lnTo>
                    <a:close/>
                    <a:moveTo>
                      <a:pt x="432" y="404"/>
                    </a:moveTo>
                    <a:lnTo>
                      <a:pt x="434" y="404"/>
                    </a:lnTo>
                    <a:lnTo>
                      <a:pt x="432" y="404"/>
                    </a:lnTo>
                    <a:close/>
                    <a:moveTo>
                      <a:pt x="432" y="404"/>
                    </a:moveTo>
                    <a:lnTo>
                      <a:pt x="434" y="404"/>
                    </a:lnTo>
                    <a:lnTo>
                      <a:pt x="432" y="404"/>
                    </a:lnTo>
                    <a:close/>
                    <a:moveTo>
                      <a:pt x="434" y="402"/>
                    </a:moveTo>
                    <a:lnTo>
                      <a:pt x="434" y="404"/>
                    </a:lnTo>
                    <a:lnTo>
                      <a:pt x="434" y="402"/>
                    </a:lnTo>
                    <a:close/>
                    <a:moveTo>
                      <a:pt x="230" y="361"/>
                    </a:moveTo>
                    <a:lnTo>
                      <a:pt x="228" y="361"/>
                    </a:lnTo>
                    <a:lnTo>
                      <a:pt x="230" y="361"/>
                    </a:lnTo>
                    <a:close/>
                    <a:moveTo>
                      <a:pt x="426" y="400"/>
                    </a:moveTo>
                    <a:lnTo>
                      <a:pt x="426" y="398"/>
                    </a:lnTo>
                    <a:lnTo>
                      <a:pt x="426" y="400"/>
                    </a:lnTo>
                    <a:close/>
                    <a:moveTo>
                      <a:pt x="432" y="400"/>
                    </a:moveTo>
                    <a:lnTo>
                      <a:pt x="430" y="400"/>
                    </a:lnTo>
                    <a:lnTo>
                      <a:pt x="432" y="400"/>
                    </a:lnTo>
                    <a:close/>
                    <a:moveTo>
                      <a:pt x="428" y="398"/>
                    </a:moveTo>
                    <a:lnTo>
                      <a:pt x="426" y="398"/>
                    </a:lnTo>
                    <a:lnTo>
                      <a:pt x="428" y="398"/>
                    </a:lnTo>
                    <a:close/>
                    <a:moveTo>
                      <a:pt x="428" y="400"/>
                    </a:moveTo>
                    <a:lnTo>
                      <a:pt x="428" y="398"/>
                    </a:lnTo>
                    <a:lnTo>
                      <a:pt x="430" y="400"/>
                    </a:lnTo>
                    <a:lnTo>
                      <a:pt x="428" y="400"/>
                    </a:lnTo>
                    <a:close/>
                    <a:moveTo>
                      <a:pt x="419" y="396"/>
                    </a:moveTo>
                    <a:lnTo>
                      <a:pt x="419" y="394"/>
                    </a:lnTo>
                    <a:lnTo>
                      <a:pt x="419" y="396"/>
                    </a:lnTo>
                    <a:close/>
                    <a:moveTo>
                      <a:pt x="432" y="396"/>
                    </a:moveTo>
                    <a:lnTo>
                      <a:pt x="432" y="394"/>
                    </a:lnTo>
                    <a:lnTo>
                      <a:pt x="432" y="396"/>
                    </a:lnTo>
                    <a:close/>
                    <a:moveTo>
                      <a:pt x="373" y="383"/>
                    </a:moveTo>
                    <a:lnTo>
                      <a:pt x="371" y="383"/>
                    </a:lnTo>
                    <a:lnTo>
                      <a:pt x="373" y="383"/>
                    </a:lnTo>
                    <a:close/>
                    <a:moveTo>
                      <a:pt x="378" y="384"/>
                    </a:moveTo>
                    <a:lnTo>
                      <a:pt x="378" y="383"/>
                    </a:lnTo>
                    <a:lnTo>
                      <a:pt x="378" y="384"/>
                    </a:lnTo>
                    <a:close/>
                    <a:moveTo>
                      <a:pt x="415" y="388"/>
                    </a:moveTo>
                    <a:lnTo>
                      <a:pt x="415" y="386"/>
                    </a:lnTo>
                    <a:lnTo>
                      <a:pt x="415" y="388"/>
                    </a:lnTo>
                    <a:close/>
                    <a:moveTo>
                      <a:pt x="380" y="377"/>
                    </a:moveTo>
                    <a:lnTo>
                      <a:pt x="380" y="375"/>
                    </a:lnTo>
                    <a:lnTo>
                      <a:pt x="380" y="377"/>
                    </a:lnTo>
                    <a:close/>
                    <a:moveTo>
                      <a:pt x="407" y="381"/>
                    </a:moveTo>
                    <a:lnTo>
                      <a:pt x="407" y="379"/>
                    </a:lnTo>
                    <a:lnTo>
                      <a:pt x="407" y="381"/>
                    </a:lnTo>
                    <a:close/>
                    <a:moveTo>
                      <a:pt x="376" y="369"/>
                    </a:moveTo>
                    <a:lnTo>
                      <a:pt x="374" y="369"/>
                    </a:lnTo>
                    <a:lnTo>
                      <a:pt x="376" y="369"/>
                    </a:lnTo>
                    <a:close/>
                    <a:moveTo>
                      <a:pt x="378" y="369"/>
                    </a:moveTo>
                    <a:lnTo>
                      <a:pt x="378" y="367"/>
                    </a:lnTo>
                    <a:lnTo>
                      <a:pt x="378" y="369"/>
                    </a:lnTo>
                    <a:close/>
                    <a:moveTo>
                      <a:pt x="396" y="369"/>
                    </a:moveTo>
                    <a:lnTo>
                      <a:pt x="394" y="369"/>
                    </a:lnTo>
                    <a:lnTo>
                      <a:pt x="396" y="369"/>
                    </a:lnTo>
                    <a:lnTo>
                      <a:pt x="396" y="367"/>
                    </a:lnTo>
                    <a:lnTo>
                      <a:pt x="396" y="369"/>
                    </a:lnTo>
                    <a:close/>
                    <a:moveTo>
                      <a:pt x="378" y="365"/>
                    </a:moveTo>
                    <a:lnTo>
                      <a:pt x="378" y="363"/>
                    </a:lnTo>
                    <a:lnTo>
                      <a:pt x="378" y="365"/>
                    </a:lnTo>
                    <a:close/>
                    <a:moveTo>
                      <a:pt x="401" y="365"/>
                    </a:moveTo>
                    <a:lnTo>
                      <a:pt x="399" y="365"/>
                    </a:lnTo>
                    <a:lnTo>
                      <a:pt x="401" y="365"/>
                    </a:lnTo>
                    <a:close/>
                    <a:moveTo>
                      <a:pt x="378" y="356"/>
                    </a:moveTo>
                    <a:lnTo>
                      <a:pt x="378" y="354"/>
                    </a:lnTo>
                    <a:lnTo>
                      <a:pt x="378" y="356"/>
                    </a:lnTo>
                    <a:close/>
                    <a:moveTo>
                      <a:pt x="269" y="309"/>
                    </a:moveTo>
                    <a:lnTo>
                      <a:pt x="269" y="308"/>
                    </a:lnTo>
                    <a:lnTo>
                      <a:pt x="269" y="309"/>
                    </a:lnTo>
                    <a:close/>
                    <a:moveTo>
                      <a:pt x="309" y="309"/>
                    </a:moveTo>
                    <a:lnTo>
                      <a:pt x="307" y="309"/>
                    </a:lnTo>
                    <a:lnTo>
                      <a:pt x="309" y="309"/>
                    </a:lnTo>
                    <a:close/>
                    <a:moveTo>
                      <a:pt x="155" y="273"/>
                    </a:moveTo>
                    <a:lnTo>
                      <a:pt x="155" y="271"/>
                    </a:lnTo>
                    <a:lnTo>
                      <a:pt x="155" y="273"/>
                    </a:lnTo>
                    <a:close/>
                    <a:moveTo>
                      <a:pt x="155" y="273"/>
                    </a:moveTo>
                    <a:lnTo>
                      <a:pt x="155" y="271"/>
                    </a:lnTo>
                    <a:lnTo>
                      <a:pt x="155" y="273"/>
                    </a:lnTo>
                    <a:close/>
                    <a:moveTo>
                      <a:pt x="394" y="321"/>
                    </a:moveTo>
                    <a:lnTo>
                      <a:pt x="392" y="321"/>
                    </a:lnTo>
                    <a:lnTo>
                      <a:pt x="394" y="321"/>
                    </a:lnTo>
                    <a:close/>
                    <a:moveTo>
                      <a:pt x="284" y="292"/>
                    </a:moveTo>
                    <a:lnTo>
                      <a:pt x="282" y="292"/>
                    </a:lnTo>
                    <a:lnTo>
                      <a:pt x="284" y="292"/>
                    </a:lnTo>
                    <a:close/>
                    <a:moveTo>
                      <a:pt x="373" y="300"/>
                    </a:moveTo>
                    <a:lnTo>
                      <a:pt x="373" y="302"/>
                    </a:lnTo>
                    <a:lnTo>
                      <a:pt x="373" y="300"/>
                    </a:lnTo>
                    <a:close/>
                    <a:moveTo>
                      <a:pt x="186" y="244"/>
                    </a:moveTo>
                    <a:lnTo>
                      <a:pt x="186" y="242"/>
                    </a:lnTo>
                    <a:lnTo>
                      <a:pt x="186" y="244"/>
                    </a:lnTo>
                    <a:close/>
                    <a:moveTo>
                      <a:pt x="130" y="225"/>
                    </a:moveTo>
                    <a:lnTo>
                      <a:pt x="130" y="227"/>
                    </a:lnTo>
                    <a:lnTo>
                      <a:pt x="130" y="225"/>
                    </a:lnTo>
                    <a:close/>
                    <a:moveTo>
                      <a:pt x="184" y="240"/>
                    </a:moveTo>
                    <a:lnTo>
                      <a:pt x="182" y="240"/>
                    </a:lnTo>
                    <a:lnTo>
                      <a:pt x="184" y="240"/>
                    </a:lnTo>
                    <a:close/>
                    <a:moveTo>
                      <a:pt x="179" y="236"/>
                    </a:moveTo>
                    <a:lnTo>
                      <a:pt x="180" y="236"/>
                    </a:lnTo>
                    <a:lnTo>
                      <a:pt x="179" y="236"/>
                    </a:lnTo>
                    <a:close/>
                    <a:moveTo>
                      <a:pt x="190" y="236"/>
                    </a:moveTo>
                    <a:lnTo>
                      <a:pt x="190" y="238"/>
                    </a:lnTo>
                    <a:lnTo>
                      <a:pt x="190" y="236"/>
                    </a:lnTo>
                    <a:close/>
                    <a:moveTo>
                      <a:pt x="190" y="234"/>
                    </a:moveTo>
                    <a:lnTo>
                      <a:pt x="190" y="236"/>
                    </a:lnTo>
                    <a:lnTo>
                      <a:pt x="190" y="234"/>
                    </a:lnTo>
                    <a:close/>
                    <a:moveTo>
                      <a:pt x="117" y="208"/>
                    </a:moveTo>
                    <a:lnTo>
                      <a:pt x="115" y="208"/>
                    </a:lnTo>
                    <a:lnTo>
                      <a:pt x="117" y="208"/>
                    </a:lnTo>
                    <a:close/>
                    <a:moveTo>
                      <a:pt x="332" y="261"/>
                    </a:moveTo>
                    <a:lnTo>
                      <a:pt x="330" y="259"/>
                    </a:lnTo>
                    <a:lnTo>
                      <a:pt x="332" y="259"/>
                    </a:lnTo>
                    <a:lnTo>
                      <a:pt x="332" y="261"/>
                    </a:lnTo>
                    <a:close/>
                    <a:moveTo>
                      <a:pt x="367" y="267"/>
                    </a:moveTo>
                    <a:lnTo>
                      <a:pt x="367" y="265"/>
                    </a:lnTo>
                    <a:lnTo>
                      <a:pt x="367" y="267"/>
                    </a:lnTo>
                    <a:close/>
                    <a:moveTo>
                      <a:pt x="102" y="194"/>
                    </a:moveTo>
                    <a:lnTo>
                      <a:pt x="100" y="194"/>
                    </a:lnTo>
                    <a:lnTo>
                      <a:pt x="102" y="194"/>
                    </a:lnTo>
                    <a:close/>
                    <a:moveTo>
                      <a:pt x="355" y="258"/>
                    </a:moveTo>
                    <a:lnTo>
                      <a:pt x="353" y="258"/>
                    </a:lnTo>
                    <a:lnTo>
                      <a:pt x="355" y="258"/>
                    </a:lnTo>
                    <a:close/>
                    <a:moveTo>
                      <a:pt x="275" y="231"/>
                    </a:moveTo>
                    <a:lnTo>
                      <a:pt x="275" y="233"/>
                    </a:lnTo>
                    <a:lnTo>
                      <a:pt x="275" y="231"/>
                    </a:lnTo>
                    <a:close/>
                    <a:moveTo>
                      <a:pt x="152" y="196"/>
                    </a:moveTo>
                    <a:lnTo>
                      <a:pt x="152" y="198"/>
                    </a:lnTo>
                    <a:lnTo>
                      <a:pt x="152" y="196"/>
                    </a:lnTo>
                    <a:close/>
                    <a:moveTo>
                      <a:pt x="154" y="198"/>
                    </a:moveTo>
                    <a:lnTo>
                      <a:pt x="152" y="198"/>
                    </a:lnTo>
                    <a:lnTo>
                      <a:pt x="154" y="198"/>
                    </a:lnTo>
                    <a:lnTo>
                      <a:pt x="152" y="198"/>
                    </a:lnTo>
                    <a:lnTo>
                      <a:pt x="154" y="198"/>
                    </a:lnTo>
                    <a:close/>
                    <a:moveTo>
                      <a:pt x="154" y="198"/>
                    </a:moveTo>
                    <a:lnTo>
                      <a:pt x="154" y="196"/>
                    </a:lnTo>
                    <a:lnTo>
                      <a:pt x="154" y="198"/>
                    </a:lnTo>
                    <a:lnTo>
                      <a:pt x="154" y="196"/>
                    </a:lnTo>
                    <a:lnTo>
                      <a:pt x="154" y="198"/>
                    </a:lnTo>
                    <a:close/>
                    <a:moveTo>
                      <a:pt x="154" y="198"/>
                    </a:moveTo>
                    <a:lnTo>
                      <a:pt x="154" y="196"/>
                    </a:lnTo>
                    <a:lnTo>
                      <a:pt x="154" y="198"/>
                    </a:lnTo>
                    <a:lnTo>
                      <a:pt x="154" y="196"/>
                    </a:lnTo>
                    <a:lnTo>
                      <a:pt x="154" y="198"/>
                    </a:lnTo>
                    <a:close/>
                    <a:moveTo>
                      <a:pt x="273" y="229"/>
                    </a:moveTo>
                    <a:lnTo>
                      <a:pt x="273" y="227"/>
                    </a:lnTo>
                    <a:lnTo>
                      <a:pt x="273" y="229"/>
                    </a:lnTo>
                    <a:close/>
                    <a:moveTo>
                      <a:pt x="161" y="152"/>
                    </a:moveTo>
                    <a:lnTo>
                      <a:pt x="161" y="154"/>
                    </a:lnTo>
                    <a:lnTo>
                      <a:pt x="161" y="152"/>
                    </a:lnTo>
                    <a:close/>
                    <a:moveTo>
                      <a:pt x="161" y="142"/>
                    </a:moveTo>
                    <a:lnTo>
                      <a:pt x="159" y="142"/>
                    </a:lnTo>
                    <a:lnTo>
                      <a:pt x="161" y="142"/>
                    </a:lnTo>
                    <a:close/>
                    <a:moveTo>
                      <a:pt x="154" y="129"/>
                    </a:moveTo>
                    <a:lnTo>
                      <a:pt x="154" y="131"/>
                    </a:lnTo>
                    <a:lnTo>
                      <a:pt x="154" y="129"/>
                    </a:lnTo>
                    <a:close/>
                    <a:moveTo>
                      <a:pt x="296" y="160"/>
                    </a:moveTo>
                    <a:lnTo>
                      <a:pt x="296" y="161"/>
                    </a:lnTo>
                    <a:lnTo>
                      <a:pt x="296" y="160"/>
                    </a:lnTo>
                    <a:close/>
                    <a:moveTo>
                      <a:pt x="298" y="160"/>
                    </a:moveTo>
                    <a:lnTo>
                      <a:pt x="296" y="160"/>
                    </a:lnTo>
                    <a:lnTo>
                      <a:pt x="298" y="160"/>
                    </a:lnTo>
                    <a:close/>
                    <a:moveTo>
                      <a:pt x="300" y="154"/>
                    </a:moveTo>
                    <a:lnTo>
                      <a:pt x="298" y="154"/>
                    </a:lnTo>
                    <a:lnTo>
                      <a:pt x="300" y="154"/>
                    </a:lnTo>
                    <a:close/>
                    <a:moveTo>
                      <a:pt x="157" y="115"/>
                    </a:moveTo>
                    <a:lnTo>
                      <a:pt x="155" y="115"/>
                    </a:lnTo>
                    <a:lnTo>
                      <a:pt x="157" y="115"/>
                    </a:lnTo>
                    <a:close/>
                    <a:moveTo>
                      <a:pt x="177" y="111"/>
                    </a:moveTo>
                    <a:lnTo>
                      <a:pt x="175" y="111"/>
                    </a:lnTo>
                    <a:lnTo>
                      <a:pt x="177" y="111"/>
                    </a:lnTo>
                    <a:close/>
                    <a:moveTo>
                      <a:pt x="426" y="160"/>
                    </a:moveTo>
                    <a:lnTo>
                      <a:pt x="424" y="160"/>
                    </a:lnTo>
                    <a:lnTo>
                      <a:pt x="426" y="160"/>
                    </a:lnTo>
                    <a:lnTo>
                      <a:pt x="424" y="160"/>
                    </a:lnTo>
                    <a:lnTo>
                      <a:pt x="426" y="160"/>
                    </a:lnTo>
                    <a:lnTo>
                      <a:pt x="424" y="160"/>
                    </a:lnTo>
                    <a:lnTo>
                      <a:pt x="426" y="160"/>
                    </a:lnTo>
                    <a:lnTo>
                      <a:pt x="424" y="160"/>
                    </a:lnTo>
                    <a:lnTo>
                      <a:pt x="426" y="160"/>
                    </a:lnTo>
                    <a:close/>
                    <a:moveTo>
                      <a:pt x="426" y="160"/>
                    </a:moveTo>
                    <a:lnTo>
                      <a:pt x="424" y="160"/>
                    </a:lnTo>
                    <a:lnTo>
                      <a:pt x="426" y="160"/>
                    </a:lnTo>
                    <a:close/>
                    <a:moveTo>
                      <a:pt x="298" y="133"/>
                    </a:moveTo>
                    <a:lnTo>
                      <a:pt x="296" y="133"/>
                    </a:lnTo>
                    <a:lnTo>
                      <a:pt x="298" y="133"/>
                    </a:lnTo>
                    <a:close/>
                    <a:moveTo>
                      <a:pt x="378" y="146"/>
                    </a:moveTo>
                    <a:lnTo>
                      <a:pt x="380" y="146"/>
                    </a:lnTo>
                    <a:lnTo>
                      <a:pt x="378" y="146"/>
                    </a:lnTo>
                    <a:close/>
                    <a:moveTo>
                      <a:pt x="428" y="154"/>
                    </a:moveTo>
                    <a:lnTo>
                      <a:pt x="426" y="154"/>
                    </a:lnTo>
                    <a:lnTo>
                      <a:pt x="428" y="154"/>
                    </a:lnTo>
                    <a:close/>
                    <a:moveTo>
                      <a:pt x="426" y="154"/>
                    </a:moveTo>
                    <a:lnTo>
                      <a:pt x="426" y="152"/>
                    </a:lnTo>
                    <a:lnTo>
                      <a:pt x="426" y="154"/>
                    </a:lnTo>
                    <a:close/>
                    <a:moveTo>
                      <a:pt x="369" y="142"/>
                    </a:moveTo>
                    <a:lnTo>
                      <a:pt x="367" y="140"/>
                    </a:lnTo>
                    <a:lnTo>
                      <a:pt x="369" y="142"/>
                    </a:lnTo>
                    <a:close/>
                    <a:moveTo>
                      <a:pt x="203" y="86"/>
                    </a:moveTo>
                    <a:lnTo>
                      <a:pt x="202" y="86"/>
                    </a:lnTo>
                    <a:lnTo>
                      <a:pt x="203" y="86"/>
                    </a:lnTo>
                    <a:close/>
                    <a:moveTo>
                      <a:pt x="202" y="86"/>
                    </a:moveTo>
                    <a:lnTo>
                      <a:pt x="203" y="86"/>
                    </a:lnTo>
                    <a:lnTo>
                      <a:pt x="202" y="86"/>
                    </a:lnTo>
                    <a:close/>
                    <a:moveTo>
                      <a:pt x="211" y="85"/>
                    </a:moveTo>
                    <a:lnTo>
                      <a:pt x="211" y="86"/>
                    </a:lnTo>
                    <a:lnTo>
                      <a:pt x="211" y="85"/>
                    </a:lnTo>
                    <a:close/>
                    <a:moveTo>
                      <a:pt x="367" y="117"/>
                    </a:moveTo>
                    <a:lnTo>
                      <a:pt x="365" y="117"/>
                    </a:lnTo>
                    <a:lnTo>
                      <a:pt x="367" y="117"/>
                    </a:lnTo>
                    <a:close/>
                    <a:moveTo>
                      <a:pt x="298" y="102"/>
                    </a:moveTo>
                    <a:lnTo>
                      <a:pt x="296" y="102"/>
                    </a:lnTo>
                    <a:lnTo>
                      <a:pt x="298" y="102"/>
                    </a:lnTo>
                    <a:close/>
                    <a:moveTo>
                      <a:pt x="407" y="94"/>
                    </a:moveTo>
                    <a:lnTo>
                      <a:pt x="407" y="96"/>
                    </a:lnTo>
                    <a:lnTo>
                      <a:pt x="407" y="94"/>
                    </a:lnTo>
                    <a:close/>
                    <a:moveTo>
                      <a:pt x="378" y="88"/>
                    </a:moveTo>
                    <a:lnTo>
                      <a:pt x="378" y="90"/>
                    </a:lnTo>
                    <a:lnTo>
                      <a:pt x="378" y="88"/>
                    </a:lnTo>
                    <a:close/>
                    <a:moveTo>
                      <a:pt x="232" y="50"/>
                    </a:moveTo>
                    <a:lnTo>
                      <a:pt x="230" y="50"/>
                    </a:lnTo>
                    <a:lnTo>
                      <a:pt x="232" y="50"/>
                    </a:lnTo>
                    <a:close/>
                    <a:moveTo>
                      <a:pt x="434" y="92"/>
                    </a:moveTo>
                    <a:lnTo>
                      <a:pt x="432" y="92"/>
                    </a:lnTo>
                    <a:lnTo>
                      <a:pt x="434" y="92"/>
                    </a:lnTo>
                    <a:close/>
                    <a:moveTo>
                      <a:pt x="323" y="56"/>
                    </a:moveTo>
                    <a:lnTo>
                      <a:pt x="321" y="56"/>
                    </a:lnTo>
                    <a:lnTo>
                      <a:pt x="323" y="56"/>
                    </a:lnTo>
                    <a:close/>
                    <a:moveTo>
                      <a:pt x="426" y="77"/>
                    </a:moveTo>
                    <a:lnTo>
                      <a:pt x="424" y="77"/>
                    </a:lnTo>
                    <a:lnTo>
                      <a:pt x="426" y="77"/>
                    </a:lnTo>
                    <a:close/>
                    <a:moveTo>
                      <a:pt x="321" y="52"/>
                    </a:moveTo>
                    <a:lnTo>
                      <a:pt x="321" y="54"/>
                    </a:lnTo>
                    <a:lnTo>
                      <a:pt x="321" y="52"/>
                    </a:lnTo>
                    <a:close/>
                    <a:moveTo>
                      <a:pt x="365" y="52"/>
                    </a:moveTo>
                    <a:lnTo>
                      <a:pt x="363" y="52"/>
                    </a:lnTo>
                    <a:lnTo>
                      <a:pt x="365" y="52"/>
                    </a:lnTo>
                    <a:close/>
                    <a:moveTo>
                      <a:pt x="367" y="48"/>
                    </a:moveTo>
                    <a:lnTo>
                      <a:pt x="365" y="48"/>
                    </a:lnTo>
                    <a:lnTo>
                      <a:pt x="367" y="48"/>
                    </a:lnTo>
                    <a:close/>
                    <a:moveTo>
                      <a:pt x="367" y="46"/>
                    </a:moveTo>
                    <a:lnTo>
                      <a:pt x="367" y="48"/>
                    </a:lnTo>
                    <a:lnTo>
                      <a:pt x="367" y="46"/>
                    </a:lnTo>
                    <a:close/>
                    <a:moveTo>
                      <a:pt x="303" y="23"/>
                    </a:moveTo>
                    <a:lnTo>
                      <a:pt x="303" y="25"/>
                    </a:lnTo>
                    <a:lnTo>
                      <a:pt x="303" y="23"/>
                    </a:lnTo>
                    <a:close/>
                    <a:moveTo>
                      <a:pt x="396" y="38"/>
                    </a:moveTo>
                    <a:lnTo>
                      <a:pt x="396" y="40"/>
                    </a:lnTo>
                    <a:lnTo>
                      <a:pt x="396" y="38"/>
                    </a:lnTo>
                    <a:close/>
                    <a:moveTo>
                      <a:pt x="292" y="11"/>
                    </a:moveTo>
                    <a:lnTo>
                      <a:pt x="290" y="11"/>
                    </a:lnTo>
                    <a:lnTo>
                      <a:pt x="292" y="11"/>
                    </a:lnTo>
                    <a:close/>
                    <a:moveTo>
                      <a:pt x="292" y="11"/>
                    </a:moveTo>
                    <a:lnTo>
                      <a:pt x="290" y="11"/>
                    </a:lnTo>
                    <a:lnTo>
                      <a:pt x="292" y="11"/>
                    </a:lnTo>
                    <a:close/>
                    <a:moveTo>
                      <a:pt x="273" y="6"/>
                    </a:moveTo>
                    <a:lnTo>
                      <a:pt x="271" y="6"/>
                    </a:lnTo>
                    <a:lnTo>
                      <a:pt x="273" y="6"/>
                    </a:lnTo>
                    <a:close/>
                    <a:moveTo>
                      <a:pt x="275" y="0"/>
                    </a:moveTo>
                    <a:lnTo>
                      <a:pt x="275" y="2"/>
                    </a:lnTo>
                    <a:lnTo>
                      <a:pt x="275" y="0"/>
                    </a:lnTo>
                    <a:close/>
                    <a:moveTo>
                      <a:pt x="294" y="6"/>
                    </a:moveTo>
                    <a:lnTo>
                      <a:pt x="296" y="6"/>
                    </a:lnTo>
                    <a:lnTo>
                      <a:pt x="294" y="6"/>
                    </a:lnTo>
                    <a:close/>
                    <a:moveTo>
                      <a:pt x="296" y="4"/>
                    </a:moveTo>
                    <a:lnTo>
                      <a:pt x="296" y="6"/>
                    </a:lnTo>
                    <a:lnTo>
                      <a:pt x="296" y="4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" name="Freeform 147">
                <a:extLst>
                  <a:ext uri="{FF2B5EF4-FFF2-40B4-BE49-F238E27FC236}">
                    <a16:creationId xmlns="" xmlns:a16="http://schemas.microsoft.com/office/drawing/2014/main" id="{E8EAEE57-F0C1-4B32-8A4C-E34CB067C1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1850" y="3225801"/>
                <a:ext cx="222250" cy="231775"/>
              </a:xfrm>
              <a:custGeom>
                <a:avLst/>
                <a:gdLst>
                  <a:gd name="T0" fmla="*/ 138 w 140"/>
                  <a:gd name="T1" fmla="*/ 65 h 146"/>
                  <a:gd name="T2" fmla="*/ 138 w 140"/>
                  <a:gd name="T3" fmla="*/ 71 h 146"/>
                  <a:gd name="T4" fmla="*/ 128 w 140"/>
                  <a:gd name="T5" fmla="*/ 75 h 146"/>
                  <a:gd name="T6" fmla="*/ 121 w 140"/>
                  <a:gd name="T7" fmla="*/ 81 h 146"/>
                  <a:gd name="T8" fmla="*/ 115 w 140"/>
                  <a:gd name="T9" fmla="*/ 82 h 146"/>
                  <a:gd name="T10" fmla="*/ 105 w 140"/>
                  <a:gd name="T11" fmla="*/ 92 h 146"/>
                  <a:gd name="T12" fmla="*/ 100 w 140"/>
                  <a:gd name="T13" fmla="*/ 106 h 146"/>
                  <a:gd name="T14" fmla="*/ 92 w 140"/>
                  <a:gd name="T15" fmla="*/ 107 h 146"/>
                  <a:gd name="T16" fmla="*/ 90 w 140"/>
                  <a:gd name="T17" fmla="*/ 109 h 146"/>
                  <a:gd name="T18" fmla="*/ 82 w 140"/>
                  <a:gd name="T19" fmla="*/ 115 h 146"/>
                  <a:gd name="T20" fmla="*/ 77 w 140"/>
                  <a:gd name="T21" fmla="*/ 121 h 146"/>
                  <a:gd name="T22" fmla="*/ 71 w 140"/>
                  <a:gd name="T23" fmla="*/ 121 h 146"/>
                  <a:gd name="T24" fmla="*/ 71 w 140"/>
                  <a:gd name="T25" fmla="*/ 121 h 146"/>
                  <a:gd name="T26" fmla="*/ 61 w 140"/>
                  <a:gd name="T27" fmla="*/ 121 h 146"/>
                  <a:gd name="T28" fmla="*/ 55 w 140"/>
                  <a:gd name="T29" fmla="*/ 121 h 146"/>
                  <a:gd name="T30" fmla="*/ 46 w 140"/>
                  <a:gd name="T31" fmla="*/ 123 h 146"/>
                  <a:gd name="T32" fmla="*/ 44 w 140"/>
                  <a:gd name="T33" fmla="*/ 127 h 146"/>
                  <a:gd name="T34" fmla="*/ 36 w 140"/>
                  <a:gd name="T35" fmla="*/ 129 h 146"/>
                  <a:gd name="T36" fmla="*/ 30 w 140"/>
                  <a:gd name="T37" fmla="*/ 136 h 146"/>
                  <a:gd name="T38" fmla="*/ 25 w 140"/>
                  <a:gd name="T39" fmla="*/ 142 h 146"/>
                  <a:gd name="T40" fmla="*/ 19 w 140"/>
                  <a:gd name="T41" fmla="*/ 144 h 146"/>
                  <a:gd name="T42" fmla="*/ 11 w 140"/>
                  <a:gd name="T43" fmla="*/ 136 h 146"/>
                  <a:gd name="T44" fmla="*/ 6 w 140"/>
                  <a:gd name="T45" fmla="*/ 132 h 146"/>
                  <a:gd name="T46" fmla="*/ 2 w 140"/>
                  <a:gd name="T47" fmla="*/ 131 h 146"/>
                  <a:gd name="T48" fmla="*/ 2 w 140"/>
                  <a:gd name="T49" fmla="*/ 121 h 146"/>
                  <a:gd name="T50" fmla="*/ 2 w 140"/>
                  <a:gd name="T51" fmla="*/ 113 h 146"/>
                  <a:gd name="T52" fmla="*/ 2 w 140"/>
                  <a:gd name="T53" fmla="*/ 106 h 146"/>
                  <a:gd name="T54" fmla="*/ 6 w 140"/>
                  <a:gd name="T55" fmla="*/ 102 h 146"/>
                  <a:gd name="T56" fmla="*/ 13 w 140"/>
                  <a:gd name="T57" fmla="*/ 98 h 146"/>
                  <a:gd name="T58" fmla="*/ 13 w 140"/>
                  <a:gd name="T59" fmla="*/ 90 h 146"/>
                  <a:gd name="T60" fmla="*/ 21 w 140"/>
                  <a:gd name="T61" fmla="*/ 86 h 146"/>
                  <a:gd name="T62" fmla="*/ 21 w 140"/>
                  <a:gd name="T63" fmla="*/ 81 h 146"/>
                  <a:gd name="T64" fmla="*/ 15 w 140"/>
                  <a:gd name="T65" fmla="*/ 71 h 146"/>
                  <a:gd name="T66" fmla="*/ 21 w 140"/>
                  <a:gd name="T67" fmla="*/ 61 h 146"/>
                  <a:gd name="T68" fmla="*/ 19 w 140"/>
                  <a:gd name="T69" fmla="*/ 48 h 146"/>
                  <a:gd name="T70" fmla="*/ 19 w 140"/>
                  <a:gd name="T71" fmla="*/ 38 h 146"/>
                  <a:gd name="T72" fmla="*/ 23 w 140"/>
                  <a:gd name="T73" fmla="*/ 36 h 146"/>
                  <a:gd name="T74" fmla="*/ 23 w 140"/>
                  <a:gd name="T75" fmla="*/ 31 h 146"/>
                  <a:gd name="T76" fmla="*/ 30 w 140"/>
                  <a:gd name="T77" fmla="*/ 31 h 146"/>
                  <a:gd name="T78" fmla="*/ 34 w 140"/>
                  <a:gd name="T79" fmla="*/ 25 h 146"/>
                  <a:gd name="T80" fmla="*/ 34 w 140"/>
                  <a:gd name="T81" fmla="*/ 15 h 146"/>
                  <a:gd name="T82" fmla="*/ 40 w 140"/>
                  <a:gd name="T83" fmla="*/ 9 h 146"/>
                  <a:gd name="T84" fmla="*/ 48 w 140"/>
                  <a:gd name="T85" fmla="*/ 9 h 146"/>
                  <a:gd name="T86" fmla="*/ 57 w 140"/>
                  <a:gd name="T87" fmla="*/ 0 h 146"/>
                  <a:gd name="T88" fmla="*/ 65 w 140"/>
                  <a:gd name="T89" fmla="*/ 2 h 146"/>
                  <a:gd name="T90" fmla="*/ 82 w 140"/>
                  <a:gd name="T91" fmla="*/ 7 h 146"/>
                  <a:gd name="T92" fmla="*/ 86 w 140"/>
                  <a:gd name="T93" fmla="*/ 9 h 146"/>
                  <a:gd name="T94" fmla="*/ 86 w 140"/>
                  <a:gd name="T95" fmla="*/ 11 h 146"/>
                  <a:gd name="T96" fmla="*/ 94 w 140"/>
                  <a:gd name="T97" fmla="*/ 9 h 146"/>
                  <a:gd name="T98" fmla="*/ 98 w 140"/>
                  <a:gd name="T99" fmla="*/ 6 h 146"/>
                  <a:gd name="T100" fmla="*/ 105 w 140"/>
                  <a:gd name="T101" fmla="*/ 7 h 146"/>
                  <a:gd name="T102" fmla="*/ 109 w 140"/>
                  <a:gd name="T103" fmla="*/ 11 h 146"/>
                  <a:gd name="T104" fmla="*/ 115 w 140"/>
                  <a:gd name="T105" fmla="*/ 19 h 146"/>
                  <a:gd name="T106" fmla="*/ 119 w 140"/>
                  <a:gd name="T107" fmla="*/ 31 h 146"/>
                  <a:gd name="T108" fmla="*/ 117 w 140"/>
                  <a:gd name="T109" fmla="*/ 38 h 146"/>
                  <a:gd name="T110" fmla="*/ 121 w 140"/>
                  <a:gd name="T111" fmla="*/ 48 h 146"/>
                  <a:gd name="T112" fmla="*/ 127 w 140"/>
                  <a:gd name="T113" fmla="*/ 50 h 146"/>
                  <a:gd name="T114" fmla="*/ 134 w 140"/>
                  <a:gd name="T115" fmla="*/ 54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40" h="146">
                    <a:moveTo>
                      <a:pt x="138" y="56"/>
                    </a:moveTo>
                    <a:lnTo>
                      <a:pt x="138" y="57"/>
                    </a:lnTo>
                    <a:lnTo>
                      <a:pt x="138" y="59"/>
                    </a:lnTo>
                    <a:lnTo>
                      <a:pt x="140" y="59"/>
                    </a:lnTo>
                    <a:lnTo>
                      <a:pt x="140" y="61"/>
                    </a:lnTo>
                    <a:lnTo>
                      <a:pt x="140" y="63"/>
                    </a:lnTo>
                    <a:lnTo>
                      <a:pt x="138" y="63"/>
                    </a:lnTo>
                    <a:lnTo>
                      <a:pt x="138" y="65"/>
                    </a:lnTo>
                    <a:lnTo>
                      <a:pt x="136" y="65"/>
                    </a:lnTo>
                    <a:lnTo>
                      <a:pt x="136" y="67"/>
                    </a:lnTo>
                    <a:lnTo>
                      <a:pt x="138" y="69"/>
                    </a:lnTo>
                    <a:lnTo>
                      <a:pt x="136" y="69"/>
                    </a:lnTo>
                    <a:lnTo>
                      <a:pt x="138" y="69"/>
                    </a:lnTo>
                    <a:lnTo>
                      <a:pt x="136" y="69"/>
                    </a:lnTo>
                    <a:lnTo>
                      <a:pt x="138" y="69"/>
                    </a:lnTo>
                    <a:lnTo>
                      <a:pt x="138" y="71"/>
                    </a:lnTo>
                    <a:lnTo>
                      <a:pt x="136" y="71"/>
                    </a:lnTo>
                    <a:lnTo>
                      <a:pt x="138" y="73"/>
                    </a:lnTo>
                    <a:lnTo>
                      <a:pt x="136" y="73"/>
                    </a:lnTo>
                    <a:lnTo>
                      <a:pt x="136" y="75"/>
                    </a:lnTo>
                    <a:lnTo>
                      <a:pt x="134" y="75"/>
                    </a:lnTo>
                    <a:lnTo>
                      <a:pt x="132" y="75"/>
                    </a:lnTo>
                    <a:lnTo>
                      <a:pt x="130" y="75"/>
                    </a:lnTo>
                    <a:lnTo>
                      <a:pt x="128" y="75"/>
                    </a:lnTo>
                    <a:lnTo>
                      <a:pt x="128" y="77"/>
                    </a:lnTo>
                    <a:lnTo>
                      <a:pt x="127" y="77"/>
                    </a:lnTo>
                    <a:lnTo>
                      <a:pt x="127" y="79"/>
                    </a:lnTo>
                    <a:lnTo>
                      <a:pt x="125" y="79"/>
                    </a:lnTo>
                    <a:lnTo>
                      <a:pt x="125" y="77"/>
                    </a:lnTo>
                    <a:lnTo>
                      <a:pt x="123" y="79"/>
                    </a:lnTo>
                    <a:lnTo>
                      <a:pt x="123" y="81"/>
                    </a:lnTo>
                    <a:lnTo>
                      <a:pt x="121" y="81"/>
                    </a:lnTo>
                    <a:lnTo>
                      <a:pt x="121" y="82"/>
                    </a:lnTo>
                    <a:lnTo>
                      <a:pt x="119" y="82"/>
                    </a:lnTo>
                    <a:lnTo>
                      <a:pt x="121" y="82"/>
                    </a:lnTo>
                    <a:lnTo>
                      <a:pt x="119" y="82"/>
                    </a:lnTo>
                    <a:lnTo>
                      <a:pt x="119" y="84"/>
                    </a:lnTo>
                    <a:lnTo>
                      <a:pt x="117" y="84"/>
                    </a:lnTo>
                    <a:lnTo>
                      <a:pt x="117" y="82"/>
                    </a:lnTo>
                    <a:lnTo>
                      <a:pt x="115" y="82"/>
                    </a:lnTo>
                    <a:lnTo>
                      <a:pt x="115" y="84"/>
                    </a:lnTo>
                    <a:lnTo>
                      <a:pt x="113" y="86"/>
                    </a:lnTo>
                    <a:lnTo>
                      <a:pt x="111" y="86"/>
                    </a:lnTo>
                    <a:lnTo>
                      <a:pt x="109" y="86"/>
                    </a:lnTo>
                    <a:lnTo>
                      <a:pt x="107" y="88"/>
                    </a:lnTo>
                    <a:lnTo>
                      <a:pt x="107" y="90"/>
                    </a:lnTo>
                    <a:lnTo>
                      <a:pt x="105" y="90"/>
                    </a:lnTo>
                    <a:lnTo>
                      <a:pt x="105" y="92"/>
                    </a:lnTo>
                    <a:lnTo>
                      <a:pt x="104" y="94"/>
                    </a:lnTo>
                    <a:lnTo>
                      <a:pt x="104" y="96"/>
                    </a:lnTo>
                    <a:lnTo>
                      <a:pt x="102" y="96"/>
                    </a:lnTo>
                    <a:lnTo>
                      <a:pt x="102" y="98"/>
                    </a:lnTo>
                    <a:lnTo>
                      <a:pt x="102" y="100"/>
                    </a:lnTo>
                    <a:lnTo>
                      <a:pt x="102" y="102"/>
                    </a:lnTo>
                    <a:lnTo>
                      <a:pt x="100" y="102"/>
                    </a:lnTo>
                    <a:lnTo>
                      <a:pt x="100" y="106"/>
                    </a:lnTo>
                    <a:lnTo>
                      <a:pt x="100" y="107"/>
                    </a:lnTo>
                    <a:lnTo>
                      <a:pt x="98" y="107"/>
                    </a:lnTo>
                    <a:lnTo>
                      <a:pt x="96" y="109"/>
                    </a:lnTo>
                    <a:lnTo>
                      <a:pt x="94" y="109"/>
                    </a:lnTo>
                    <a:lnTo>
                      <a:pt x="94" y="107"/>
                    </a:lnTo>
                    <a:lnTo>
                      <a:pt x="92" y="107"/>
                    </a:lnTo>
                    <a:lnTo>
                      <a:pt x="94" y="107"/>
                    </a:lnTo>
                    <a:lnTo>
                      <a:pt x="92" y="107"/>
                    </a:lnTo>
                    <a:lnTo>
                      <a:pt x="92" y="106"/>
                    </a:lnTo>
                    <a:lnTo>
                      <a:pt x="92" y="107"/>
                    </a:lnTo>
                    <a:lnTo>
                      <a:pt x="90" y="107"/>
                    </a:lnTo>
                    <a:lnTo>
                      <a:pt x="88" y="107"/>
                    </a:lnTo>
                    <a:lnTo>
                      <a:pt x="88" y="109"/>
                    </a:lnTo>
                    <a:lnTo>
                      <a:pt x="90" y="109"/>
                    </a:lnTo>
                    <a:lnTo>
                      <a:pt x="88" y="109"/>
                    </a:lnTo>
                    <a:lnTo>
                      <a:pt x="90" y="109"/>
                    </a:lnTo>
                    <a:lnTo>
                      <a:pt x="88" y="111"/>
                    </a:lnTo>
                    <a:lnTo>
                      <a:pt x="88" y="109"/>
                    </a:lnTo>
                    <a:lnTo>
                      <a:pt x="86" y="109"/>
                    </a:lnTo>
                    <a:lnTo>
                      <a:pt x="86" y="111"/>
                    </a:lnTo>
                    <a:lnTo>
                      <a:pt x="84" y="111"/>
                    </a:lnTo>
                    <a:lnTo>
                      <a:pt x="84" y="113"/>
                    </a:lnTo>
                    <a:lnTo>
                      <a:pt x="84" y="115"/>
                    </a:lnTo>
                    <a:lnTo>
                      <a:pt x="82" y="115"/>
                    </a:lnTo>
                    <a:lnTo>
                      <a:pt x="82" y="117"/>
                    </a:lnTo>
                    <a:lnTo>
                      <a:pt x="82" y="119"/>
                    </a:lnTo>
                    <a:lnTo>
                      <a:pt x="80" y="119"/>
                    </a:lnTo>
                    <a:lnTo>
                      <a:pt x="80" y="121"/>
                    </a:lnTo>
                    <a:lnTo>
                      <a:pt x="79" y="121"/>
                    </a:lnTo>
                    <a:lnTo>
                      <a:pt x="79" y="123"/>
                    </a:lnTo>
                    <a:lnTo>
                      <a:pt x="77" y="123"/>
                    </a:lnTo>
                    <a:lnTo>
                      <a:pt x="77" y="121"/>
                    </a:lnTo>
                    <a:lnTo>
                      <a:pt x="77" y="119"/>
                    </a:lnTo>
                    <a:lnTo>
                      <a:pt x="75" y="121"/>
                    </a:lnTo>
                    <a:lnTo>
                      <a:pt x="75" y="119"/>
                    </a:lnTo>
                    <a:lnTo>
                      <a:pt x="75" y="121"/>
                    </a:lnTo>
                    <a:lnTo>
                      <a:pt x="75" y="119"/>
                    </a:lnTo>
                    <a:lnTo>
                      <a:pt x="73" y="119"/>
                    </a:lnTo>
                    <a:lnTo>
                      <a:pt x="71" y="119"/>
                    </a:lnTo>
                    <a:lnTo>
                      <a:pt x="71" y="121"/>
                    </a:lnTo>
                    <a:lnTo>
                      <a:pt x="73" y="121"/>
                    </a:lnTo>
                    <a:lnTo>
                      <a:pt x="71" y="121"/>
                    </a:lnTo>
                    <a:lnTo>
                      <a:pt x="71" y="123"/>
                    </a:lnTo>
                    <a:lnTo>
                      <a:pt x="71" y="121"/>
                    </a:lnTo>
                    <a:lnTo>
                      <a:pt x="71" y="123"/>
                    </a:lnTo>
                    <a:lnTo>
                      <a:pt x="71" y="121"/>
                    </a:lnTo>
                    <a:lnTo>
                      <a:pt x="71" y="123"/>
                    </a:lnTo>
                    <a:lnTo>
                      <a:pt x="71" y="121"/>
                    </a:lnTo>
                    <a:lnTo>
                      <a:pt x="69" y="123"/>
                    </a:lnTo>
                    <a:lnTo>
                      <a:pt x="67" y="123"/>
                    </a:lnTo>
                    <a:lnTo>
                      <a:pt x="67" y="121"/>
                    </a:lnTo>
                    <a:lnTo>
                      <a:pt x="65" y="121"/>
                    </a:lnTo>
                    <a:lnTo>
                      <a:pt x="65" y="119"/>
                    </a:lnTo>
                    <a:lnTo>
                      <a:pt x="65" y="121"/>
                    </a:lnTo>
                    <a:lnTo>
                      <a:pt x="63" y="121"/>
                    </a:lnTo>
                    <a:lnTo>
                      <a:pt x="61" y="121"/>
                    </a:lnTo>
                    <a:lnTo>
                      <a:pt x="61" y="119"/>
                    </a:lnTo>
                    <a:lnTo>
                      <a:pt x="59" y="119"/>
                    </a:lnTo>
                    <a:lnTo>
                      <a:pt x="57" y="119"/>
                    </a:lnTo>
                    <a:lnTo>
                      <a:pt x="57" y="121"/>
                    </a:lnTo>
                    <a:lnTo>
                      <a:pt x="57" y="123"/>
                    </a:lnTo>
                    <a:lnTo>
                      <a:pt x="55" y="125"/>
                    </a:lnTo>
                    <a:lnTo>
                      <a:pt x="55" y="123"/>
                    </a:lnTo>
                    <a:lnTo>
                      <a:pt x="55" y="121"/>
                    </a:lnTo>
                    <a:lnTo>
                      <a:pt x="54" y="123"/>
                    </a:lnTo>
                    <a:lnTo>
                      <a:pt x="54" y="121"/>
                    </a:lnTo>
                    <a:lnTo>
                      <a:pt x="52" y="121"/>
                    </a:lnTo>
                    <a:lnTo>
                      <a:pt x="52" y="123"/>
                    </a:lnTo>
                    <a:lnTo>
                      <a:pt x="50" y="121"/>
                    </a:lnTo>
                    <a:lnTo>
                      <a:pt x="48" y="123"/>
                    </a:lnTo>
                    <a:lnTo>
                      <a:pt x="48" y="125"/>
                    </a:lnTo>
                    <a:lnTo>
                      <a:pt x="46" y="123"/>
                    </a:lnTo>
                    <a:lnTo>
                      <a:pt x="48" y="123"/>
                    </a:lnTo>
                    <a:lnTo>
                      <a:pt x="48" y="121"/>
                    </a:lnTo>
                    <a:lnTo>
                      <a:pt x="46" y="121"/>
                    </a:lnTo>
                    <a:lnTo>
                      <a:pt x="46" y="123"/>
                    </a:lnTo>
                    <a:lnTo>
                      <a:pt x="44" y="123"/>
                    </a:lnTo>
                    <a:lnTo>
                      <a:pt x="46" y="123"/>
                    </a:lnTo>
                    <a:lnTo>
                      <a:pt x="44" y="125"/>
                    </a:lnTo>
                    <a:lnTo>
                      <a:pt x="44" y="127"/>
                    </a:lnTo>
                    <a:lnTo>
                      <a:pt x="42" y="127"/>
                    </a:lnTo>
                    <a:lnTo>
                      <a:pt x="40" y="127"/>
                    </a:lnTo>
                    <a:lnTo>
                      <a:pt x="38" y="127"/>
                    </a:lnTo>
                    <a:lnTo>
                      <a:pt x="38" y="129"/>
                    </a:lnTo>
                    <a:lnTo>
                      <a:pt x="38" y="131"/>
                    </a:lnTo>
                    <a:lnTo>
                      <a:pt x="36" y="131"/>
                    </a:lnTo>
                    <a:lnTo>
                      <a:pt x="38" y="129"/>
                    </a:lnTo>
                    <a:lnTo>
                      <a:pt x="36" y="129"/>
                    </a:lnTo>
                    <a:lnTo>
                      <a:pt x="36" y="131"/>
                    </a:lnTo>
                    <a:lnTo>
                      <a:pt x="34" y="131"/>
                    </a:lnTo>
                    <a:lnTo>
                      <a:pt x="34" y="132"/>
                    </a:lnTo>
                    <a:lnTo>
                      <a:pt x="32" y="132"/>
                    </a:lnTo>
                    <a:lnTo>
                      <a:pt x="32" y="134"/>
                    </a:lnTo>
                    <a:lnTo>
                      <a:pt x="30" y="134"/>
                    </a:lnTo>
                    <a:lnTo>
                      <a:pt x="29" y="134"/>
                    </a:lnTo>
                    <a:lnTo>
                      <a:pt x="30" y="136"/>
                    </a:lnTo>
                    <a:lnTo>
                      <a:pt x="29" y="136"/>
                    </a:lnTo>
                    <a:lnTo>
                      <a:pt x="30" y="136"/>
                    </a:lnTo>
                    <a:lnTo>
                      <a:pt x="29" y="136"/>
                    </a:lnTo>
                    <a:lnTo>
                      <a:pt x="29" y="138"/>
                    </a:lnTo>
                    <a:lnTo>
                      <a:pt x="27" y="138"/>
                    </a:lnTo>
                    <a:lnTo>
                      <a:pt x="27" y="140"/>
                    </a:lnTo>
                    <a:lnTo>
                      <a:pt x="25" y="140"/>
                    </a:lnTo>
                    <a:lnTo>
                      <a:pt x="25" y="142"/>
                    </a:lnTo>
                    <a:lnTo>
                      <a:pt x="25" y="144"/>
                    </a:lnTo>
                    <a:lnTo>
                      <a:pt x="23" y="144"/>
                    </a:lnTo>
                    <a:lnTo>
                      <a:pt x="23" y="142"/>
                    </a:lnTo>
                    <a:lnTo>
                      <a:pt x="23" y="144"/>
                    </a:lnTo>
                    <a:lnTo>
                      <a:pt x="21" y="144"/>
                    </a:lnTo>
                    <a:lnTo>
                      <a:pt x="21" y="146"/>
                    </a:lnTo>
                    <a:lnTo>
                      <a:pt x="21" y="144"/>
                    </a:lnTo>
                    <a:lnTo>
                      <a:pt x="19" y="144"/>
                    </a:lnTo>
                    <a:lnTo>
                      <a:pt x="19" y="142"/>
                    </a:lnTo>
                    <a:lnTo>
                      <a:pt x="19" y="140"/>
                    </a:lnTo>
                    <a:lnTo>
                      <a:pt x="17" y="140"/>
                    </a:lnTo>
                    <a:lnTo>
                      <a:pt x="15" y="140"/>
                    </a:lnTo>
                    <a:lnTo>
                      <a:pt x="13" y="140"/>
                    </a:lnTo>
                    <a:lnTo>
                      <a:pt x="11" y="140"/>
                    </a:lnTo>
                    <a:lnTo>
                      <a:pt x="11" y="138"/>
                    </a:lnTo>
                    <a:lnTo>
                      <a:pt x="11" y="136"/>
                    </a:lnTo>
                    <a:lnTo>
                      <a:pt x="9" y="136"/>
                    </a:lnTo>
                    <a:lnTo>
                      <a:pt x="11" y="136"/>
                    </a:lnTo>
                    <a:lnTo>
                      <a:pt x="11" y="134"/>
                    </a:lnTo>
                    <a:lnTo>
                      <a:pt x="9" y="134"/>
                    </a:lnTo>
                    <a:lnTo>
                      <a:pt x="9" y="132"/>
                    </a:lnTo>
                    <a:lnTo>
                      <a:pt x="7" y="134"/>
                    </a:lnTo>
                    <a:lnTo>
                      <a:pt x="7" y="132"/>
                    </a:lnTo>
                    <a:lnTo>
                      <a:pt x="6" y="132"/>
                    </a:lnTo>
                    <a:lnTo>
                      <a:pt x="7" y="132"/>
                    </a:lnTo>
                    <a:lnTo>
                      <a:pt x="6" y="132"/>
                    </a:lnTo>
                    <a:lnTo>
                      <a:pt x="6" y="131"/>
                    </a:lnTo>
                    <a:lnTo>
                      <a:pt x="4" y="132"/>
                    </a:lnTo>
                    <a:lnTo>
                      <a:pt x="2" y="132"/>
                    </a:lnTo>
                    <a:lnTo>
                      <a:pt x="2" y="134"/>
                    </a:lnTo>
                    <a:lnTo>
                      <a:pt x="2" y="132"/>
                    </a:lnTo>
                    <a:lnTo>
                      <a:pt x="2" y="131"/>
                    </a:lnTo>
                    <a:lnTo>
                      <a:pt x="4" y="129"/>
                    </a:lnTo>
                    <a:lnTo>
                      <a:pt x="4" y="127"/>
                    </a:lnTo>
                    <a:lnTo>
                      <a:pt x="4" y="125"/>
                    </a:lnTo>
                    <a:lnTo>
                      <a:pt x="2" y="125"/>
                    </a:lnTo>
                    <a:lnTo>
                      <a:pt x="2" y="123"/>
                    </a:lnTo>
                    <a:lnTo>
                      <a:pt x="2" y="121"/>
                    </a:lnTo>
                    <a:lnTo>
                      <a:pt x="4" y="121"/>
                    </a:lnTo>
                    <a:lnTo>
                      <a:pt x="2" y="121"/>
                    </a:lnTo>
                    <a:lnTo>
                      <a:pt x="0" y="121"/>
                    </a:lnTo>
                    <a:lnTo>
                      <a:pt x="0" y="123"/>
                    </a:lnTo>
                    <a:lnTo>
                      <a:pt x="0" y="121"/>
                    </a:lnTo>
                    <a:lnTo>
                      <a:pt x="0" y="119"/>
                    </a:lnTo>
                    <a:lnTo>
                      <a:pt x="0" y="117"/>
                    </a:lnTo>
                    <a:lnTo>
                      <a:pt x="2" y="117"/>
                    </a:lnTo>
                    <a:lnTo>
                      <a:pt x="2" y="115"/>
                    </a:lnTo>
                    <a:lnTo>
                      <a:pt x="2" y="113"/>
                    </a:lnTo>
                    <a:lnTo>
                      <a:pt x="2" y="111"/>
                    </a:lnTo>
                    <a:lnTo>
                      <a:pt x="4" y="111"/>
                    </a:lnTo>
                    <a:lnTo>
                      <a:pt x="2" y="111"/>
                    </a:lnTo>
                    <a:lnTo>
                      <a:pt x="2" y="109"/>
                    </a:lnTo>
                    <a:lnTo>
                      <a:pt x="0" y="109"/>
                    </a:lnTo>
                    <a:lnTo>
                      <a:pt x="0" y="107"/>
                    </a:lnTo>
                    <a:lnTo>
                      <a:pt x="2" y="107"/>
                    </a:lnTo>
                    <a:lnTo>
                      <a:pt x="2" y="106"/>
                    </a:lnTo>
                    <a:lnTo>
                      <a:pt x="0" y="106"/>
                    </a:lnTo>
                    <a:lnTo>
                      <a:pt x="2" y="106"/>
                    </a:lnTo>
                    <a:lnTo>
                      <a:pt x="4" y="106"/>
                    </a:lnTo>
                    <a:lnTo>
                      <a:pt x="6" y="106"/>
                    </a:lnTo>
                    <a:lnTo>
                      <a:pt x="6" y="104"/>
                    </a:lnTo>
                    <a:lnTo>
                      <a:pt x="7" y="104"/>
                    </a:lnTo>
                    <a:lnTo>
                      <a:pt x="6" y="104"/>
                    </a:lnTo>
                    <a:lnTo>
                      <a:pt x="6" y="102"/>
                    </a:lnTo>
                    <a:lnTo>
                      <a:pt x="7" y="102"/>
                    </a:lnTo>
                    <a:lnTo>
                      <a:pt x="6" y="102"/>
                    </a:lnTo>
                    <a:lnTo>
                      <a:pt x="7" y="100"/>
                    </a:lnTo>
                    <a:lnTo>
                      <a:pt x="7" y="102"/>
                    </a:lnTo>
                    <a:lnTo>
                      <a:pt x="9" y="100"/>
                    </a:lnTo>
                    <a:lnTo>
                      <a:pt x="11" y="100"/>
                    </a:lnTo>
                    <a:lnTo>
                      <a:pt x="11" y="98"/>
                    </a:lnTo>
                    <a:lnTo>
                      <a:pt x="13" y="98"/>
                    </a:lnTo>
                    <a:lnTo>
                      <a:pt x="13" y="96"/>
                    </a:lnTo>
                    <a:lnTo>
                      <a:pt x="11" y="96"/>
                    </a:lnTo>
                    <a:lnTo>
                      <a:pt x="13" y="96"/>
                    </a:lnTo>
                    <a:lnTo>
                      <a:pt x="13" y="94"/>
                    </a:lnTo>
                    <a:lnTo>
                      <a:pt x="13" y="92"/>
                    </a:lnTo>
                    <a:lnTo>
                      <a:pt x="15" y="92"/>
                    </a:lnTo>
                    <a:lnTo>
                      <a:pt x="15" y="90"/>
                    </a:lnTo>
                    <a:lnTo>
                      <a:pt x="13" y="90"/>
                    </a:lnTo>
                    <a:lnTo>
                      <a:pt x="13" y="88"/>
                    </a:lnTo>
                    <a:lnTo>
                      <a:pt x="15" y="88"/>
                    </a:lnTo>
                    <a:lnTo>
                      <a:pt x="15" y="86"/>
                    </a:lnTo>
                    <a:lnTo>
                      <a:pt x="17" y="86"/>
                    </a:lnTo>
                    <a:lnTo>
                      <a:pt x="19" y="86"/>
                    </a:lnTo>
                    <a:lnTo>
                      <a:pt x="19" y="88"/>
                    </a:lnTo>
                    <a:lnTo>
                      <a:pt x="19" y="86"/>
                    </a:lnTo>
                    <a:lnTo>
                      <a:pt x="21" y="86"/>
                    </a:lnTo>
                    <a:lnTo>
                      <a:pt x="21" y="88"/>
                    </a:lnTo>
                    <a:lnTo>
                      <a:pt x="21" y="86"/>
                    </a:lnTo>
                    <a:lnTo>
                      <a:pt x="23" y="86"/>
                    </a:lnTo>
                    <a:lnTo>
                      <a:pt x="23" y="84"/>
                    </a:lnTo>
                    <a:lnTo>
                      <a:pt x="25" y="82"/>
                    </a:lnTo>
                    <a:lnTo>
                      <a:pt x="25" y="81"/>
                    </a:lnTo>
                    <a:lnTo>
                      <a:pt x="23" y="81"/>
                    </a:lnTo>
                    <a:lnTo>
                      <a:pt x="21" y="81"/>
                    </a:lnTo>
                    <a:lnTo>
                      <a:pt x="21" y="79"/>
                    </a:lnTo>
                    <a:lnTo>
                      <a:pt x="19" y="81"/>
                    </a:lnTo>
                    <a:lnTo>
                      <a:pt x="17" y="79"/>
                    </a:lnTo>
                    <a:lnTo>
                      <a:pt x="17" y="77"/>
                    </a:lnTo>
                    <a:lnTo>
                      <a:pt x="15" y="77"/>
                    </a:lnTo>
                    <a:lnTo>
                      <a:pt x="15" y="75"/>
                    </a:lnTo>
                    <a:lnTo>
                      <a:pt x="15" y="73"/>
                    </a:lnTo>
                    <a:lnTo>
                      <a:pt x="15" y="71"/>
                    </a:lnTo>
                    <a:lnTo>
                      <a:pt x="15" y="69"/>
                    </a:lnTo>
                    <a:lnTo>
                      <a:pt x="15" y="67"/>
                    </a:lnTo>
                    <a:lnTo>
                      <a:pt x="17" y="67"/>
                    </a:lnTo>
                    <a:lnTo>
                      <a:pt x="17" y="65"/>
                    </a:lnTo>
                    <a:lnTo>
                      <a:pt x="17" y="63"/>
                    </a:lnTo>
                    <a:lnTo>
                      <a:pt x="19" y="63"/>
                    </a:lnTo>
                    <a:lnTo>
                      <a:pt x="19" y="61"/>
                    </a:lnTo>
                    <a:lnTo>
                      <a:pt x="21" y="61"/>
                    </a:lnTo>
                    <a:lnTo>
                      <a:pt x="21" y="59"/>
                    </a:lnTo>
                    <a:lnTo>
                      <a:pt x="21" y="57"/>
                    </a:lnTo>
                    <a:lnTo>
                      <a:pt x="19" y="57"/>
                    </a:lnTo>
                    <a:lnTo>
                      <a:pt x="19" y="56"/>
                    </a:lnTo>
                    <a:lnTo>
                      <a:pt x="19" y="54"/>
                    </a:lnTo>
                    <a:lnTo>
                      <a:pt x="19" y="52"/>
                    </a:lnTo>
                    <a:lnTo>
                      <a:pt x="19" y="50"/>
                    </a:lnTo>
                    <a:lnTo>
                      <a:pt x="19" y="48"/>
                    </a:lnTo>
                    <a:lnTo>
                      <a:pt x="19" y="46"/>
                    </a:lnTo>
                    <a:lnTo>
                      <a:pt x="19" y="44"/>
                    </a:lnTo>
                    <a:lnTo>
                      <a:pt x="19" y="42"/>
                    </a:lnTo>
                    <a:lnTo>
                      <a:pt x="19" y="40"/>
                    </a:lnTo>
                    <a:lnTo>
                      <a:pt x="17" y="40"/>
                    </a:lnTo>
                    <a:lnTo>
                      <a:pt x="17" y="38"/>
                    </a:lnTo>
                    <a:lnTo>
                      <a:pt x="19" y="40"/>
                    </a:lnTo>
                    <a:lnTo>
                      <a:pt x="19" y="38"/>
                    </a:lnTo>
                    <a:lnTo>
                      <a:pt x="21" y="38"/>
                    </a:lnTo>
                    <a:lnTo>
                      <a:pt x="21" y="36"/>
                    </a:lnTo>
                    <a:lnTo>
                      <a:pt x="19" y="36"/>
                    </a:lnTo>
                    <a:lnTo>
                      <a:pt x="19" y="34"/>
                    </a:lnTo>
                    <a:lnTo>
                      <a:pt x="21" y="34"/>
                    </a:lnTo>
                    <a:lnTo>
                      <a:pt x="21" y="36"/>
                    </a:lnTo>
                    <a:lnTo>
                      <a:pt x="21" y="34"/>
                    </a:lnTo>
                    <a:lnTo>
                      <a:pt x="23" y="36"/>
                    </a:lnTo>
                    <a:lnTo>
                      <a:pt x="21" y="34"/>
                    </a:lnTo>
                    <a:lnTo>
                      <a:pt x="23" y="34"/>
                    </a:lnTo>
                    <a:lnTo>
                      <a:pt x="23" y="32"/>
                    </a:lnTo>
                    <a:lnTo>
                      <a:pt x="21" y="32"/>
                    </a:lnTo>
                    <a:lnTo>
                      <a:pt x="21" y="31"/>
                    </a:lnTo>
                    <a:lnTo>
                      <a:pt x="23" y="31"/>
                    </a:lnTo>
                    <a:lnTo>
                      <a:pt x="23" y="29"/>
                    </a:lnTo>
                    <a:lnTo>
                      <a:pt x="23" y="31"/>
                    </a:lnTo>
                    <a:lnTo>
                      <a:pt x="25" y="31"/>
                    </a:lnTo>
                    <a:lnTo>
                      <a:pt x="25" y="32"/>
                    </a:lnTo>
                    <a:lnTo>
                      <a:pt x="27" y="32"/>
                    </a:lnTo>
                    <a:lnTo>
                      <a:pt x="29" y="32"/>
                    </a:lnTo>
                    <a:lnTo>
                      <a:pt x="27" y="32"/>
                    </a:lnTo>
                    <a:lnTo>
                      <a:pt x="29" y="31"/>
                    </a:lnTo>
                    <a:lnTo>
                      <a:pt x="29" y="29"/>
                    </a:lnTo>
                    <a:lnTo>
                      <a:pt x="30" y="31"/>
                    </a:lnTo>
                    <a:lnTo>
                      <a:pt x="30" y="29"/>
                    </a:lnTo>
                    <a:lnTo>
                      <a:pt x="32" y="29"/>
                    </a:lnTo>
                    <a:lnTo>
                      <a:pt x="34" y="31"/>
                    </a:lnTo>
                    <a:lnTo>
                      <a:pt x="36" y="31"/>
                    </a:lnTo>
                    <a:lnTo>
                      <a:pt x="36" y="29"/>
                    </a:lnTo>
                    <a:lnTo>
                      <a:pt x="34" y="29"/>
                    </a:lnTo>
                    <a:lnTo>
                      <a:pt x="34" y="27"/>
                    </a:lnTo>
                    <a:lnTo>
                      <a:pt x="34" y="25"/>
                    </a:lnTo>
                    <a:lnTo>
                      <a:pt x="34" y="23"/>
                    </a:lnTo>
                    <a:lnTo>
                      <a:pt x="34" y="21"/>
                    </a:lnTo>
                    <a:lnTo>
                      <a:pt x="32" y="21"/>
                    </a:lnTo>
                    <a:lnTo>
                      <a:pt x="32" y="19"/>
                    </a:lnTo>
                    <a:lnTo>
                      <a:pt x="32" y="17"/>
                    </a:lnTo>
                    <a:lnTo>
                      <a:pt x="30" y="15"/>
                    </a:lnTo>
                    <a:lnTo>
                      <a:pt x="32" y="15"/>
                    </a:lnTo>
                    <a:lnTo>
                      <a:pt x="34" y="15"/>
                    </a:lnTo>
                    <a:lnTo>
                      <a:pt x="34" y="13"/>
                    </a:lnTo>
                    <a:lnTo>
                      <a:pt x="34" y="15"/>
                    </a:lnTo>
                    <a:lnTo>
                      <a:pt x="36" y="15"/>
                    </a:lnTo>
                    <a:lnTo>
                      <a:pt x="36" y="13"/>
                    </a:lnTo>
                    <a:lnTo>
                      <a:pt x="36" y="11"/>
                    </a:lnTo>
                    <a:lnTo>
                      <a:pt x="36" y="9"/>
                    </a:lnTo>
                    <a:lnTo>
                      <a:pt x="38" y="9"/>
                    </a:lnTo>
                    <a:lnTo>
                      <a:pt x="40" y="9"/>
                    </a:lnTo>
                    <a:lnTo>
                      <a:pt x="40" y="7"/>
                    </a:lnTo>
                    <a:lnTo>
                      <a:pt x="40" y="9"/>
                    </a:lnTo>
                    <a:lnTo>
                      <a:pt x="42" y="9"/>
                    </a:lnTo>
                    <a:lnTo>
                      <a:pt x="44" y="9"/>
                    </a:lnTo>
                    <a:lnTo>
                      <a:pt x="46" y="9"/>
                    </a:lnTo>
                    <a:lnTo>
                      <a:pt x="48" y="9"/>
                    </a:lnTo>
                    <a:lnTo>
                      <a:pt x="48" y="7"/>
                    </a:lnTo>
                    <a:lnTo>
                      <a:pt x="48" y="9"/>
                    </a:lnTo>
                    <a:lnTo>
                      <a:pt x="50" y="7"/>
                    </a:lnTo>
                    <a:lnTo>
                      <a:pt x="52" y="7"/>
                    </a:lnTo>
                    <a:lnTo>
                      <a:pt x="54" y="7"/>
                    </a:lnTo>
                    <a:lnTo>
                      <a:pt x="54" y="6"/>
                    </a:lnTo>
                    <a:lnTo>
                      <a:pt x="54" y="4"/>
                    </a:lnTo>
                    <a:lnTo>
                      <a:pt x="54" y="2"/>
                    </a:lnTo>
                    <a:lnTo>
                      <a:pt x="55" y="0"/>
                    </a:lnTo>
                    <a:lnTo>
                      <a:pt x="57" y="0"/>
                    </a:lnTo>
                    <a:lnTo>
                      <a:pt x="57" y="2"/>
                    </a:lnTo>
                    <a:lnTo>
                      <a:pt x="59" y="2"/>
                    </a:lnTo>
                    <a:lnTo>
                      <a:pt x="59" y="4"/>
                    </a:lnTo>
                    <a:lnTo>
                      <a:pt x="61" y="4"/>
                    </a:lnTo>
                    <a:lnTo>
                      <a:pt x="63" y="2"/>
                    </a:lnTo>
                    <a:lnTo>
                      <a:pt x="65" y="2"/>
                    </a:lnTo>
                    <a:lnTo>
                      <a:pt x="67" y="2"/>
                    </a:lnTo>
                    <a:lnTo>
                      <a:pt x="65" y="2"/>
                    </a:lnTo>
                    <a:lnTo>
                      <a:pt x="65" y="0"/>
                    </a:lnTo>
                    <a:lnTo>
                      <a:pt x="67" y="0"/>
                    </a:lnTo>
                    <a:lnTo>
                      <a:pt x="69" y="0"/>
                    </a:lnTo>
                    <a:lnTo>
                      <a:pt x="79" y="9"/>
                    </a:lnTo>
                    <a:lnTo>
                      <a:pt x="80" y="7"/>
                    </a:lnTo>
                    <a:lnTo>
                      <a:pt x="80" y="9"/>
                    </a:lnTo>
                    <a:lnTo>
                      <a:pt x="80" y="7"/>
                    </a:lnTo>
                    <a:lnTo>
                      <a:pt x="82" y="7"/>
                    </a:lnTo>
                    <a:lnTo>
                      <a:pt x="82" y="6"/>
                    </a:lnTo>
                    <a:lnTo>
                      <a:pt x="84" y="6"/>
                    </a:lnTo>
                    <a:lnTo>
                      <a:pt x="84" y="7"/>
                    </a:lnTo>
                    <a:lnTo>
                      <a:pt x="84" y="9"/>
                    </a:lnTo>
                    <a:lnTo>
                      <a:pt x="86" y="9"/>
                    </a:lnTo>
                    <a:lnTo>
                      <a:pt x="84" y="9"/>
                    </a:lnTo>
                    <a:lnTo>
                      <a:pt x="84" y="11"/>
                    </a:lnTo>
                    <a:lnTo>
                      <a:pt x="86" y="9"/>
                    </a:lnTo>
                    <a:lnTo>
                      <a:pt x="86" y="7"/>
                    </a:lnTo>
                    <a:lnTo>
                      <a:pt x="88" y="7"/>
                    </a:lnTo>
                    <a:lnTo>
                      <a:pt x="88" y="6"/>
                    </a:lnTo>
                    <a:lnTo>
                      <a:pt x="88" y="7"/>
                    </a:lnTo>
                    <a:lnTo>
                      <a:pt x="88" y="9"/>
                    </a:lnTo>
                    <a:lnTo>
                      <a:pt x="86" y="7"/>
                    </a:lnTo>
                    <a:lnTo>
                      <a:pt x="86" y="9"/>
                    </a:lnTo>
                    <a:lnTo>
                      <a:pt x="86" y="11"/>
                    </a:lnTo>
                    <a:lnTo>
                      <a:pt x="90" y="11"/>
                    </a:lnTo>
                    <a:lnTo>
                      <a:pt x="90" y="13"/>
                    </a:lnTo>
                    <a:lnTo>
                      <a:pt x="92" y="15"/>
                    </a:lnTo>
                    <a:lnTo>
                      <a:pt x="92" y="11"/>
                    </a:lnTo>
                    <a:lnTo>
                      <a:pt x="94" y="11"/>
                    </a:lnTo>
                    <a:lnTo>
                      <a:pt x="94" y="9"/>
                    </a:lnTo>
                    <a:lnTo>
                      <a:pt x="94" y="11"/>
                    </a:lnTo>
                    <a:lnTo>
                      <a:pt x="94" y="9"/>
                    </a:lnTo>
                    <a:lnTo>
                      <a:pt x="94" y="11"/>
                    </a:lnTo>
                    <a:lnTo>
                      <a:pt x="94" y="9"/>
                    </a:lnTo>
                    <a:lnTo>
                      <a:pt x="96" y="9"/>
                    </a:lnTo>
                    <a:lnTo>
                      <a:pt x="96" y="11"/>
                    </a:lnTo>
                    <a:lnTo>
                      <a:pt x="96" y="9"/>
                    </a:lnTo>
                    <a:lnTo>
                      <a:pt x="98" y="9"/>
                    </a:lnTo>
                    <a:lnTo>
                      <a:pt x="98" y="7"/>
                    </a:lnTo>
                    <a:lnTo>
                      <a:pt x="98" y="6"/>
                    </a:lnTo>
                    <a:lnTo>
                      <a:pt x="98" y="4"/>
                    </a:lnTo>
                    <a:lnTo>
                      <a:pt x="100" y="4"/>
                    </a:lnTo>
                    <a:lnTo>
                      <a:pt x="102" y="4"/>
                    </a:lnTo>
                    <a:lnTo>
                      <a:pt x="100" y="4"/>
                    </a:lnTo>
                    <a:lnTo>
                      <a:pt x="102" y="6"/>
                    </a:lnTo>
                    <a:lnTo>
                      <a:pt x="104" y="6"/>
                    </a:lnTo>
                    <a:lnTo>
                      <a:pt x="104" y="7"/>
                    </a:lnTo>
                    <a:lnTo>
                      <a:pt x="105" y="7"/>
                    </a:lnTo>
                    <a:lnTo>
                      <a:pt x="104" y="7"/>
                    </a:lnTo>
                    <a:lnTo>
                      <a:pt x="105" y="7"/>
                    </a:lnTo>
                    <a:lnTo>
                      <a:pt x="105" y="9"/>
                    </a:lnTo>
                    <a:lnTo>
                      <a:pt x="105" y="11"/>
                    </a:lnTo>
                    <a:lnTo>
                      <a:pt x="105" y="9"/>
                    </a:lnTo>
                    <a:lnTo>
                      <a:pt x="107" y="9"/>
                    </a:lnTo>
                    <a:lnTo>
                      <a:pt x="109" y="9"/>
                    </a:lnTo>
                    <a:lnTo>
                      <a:pt x="109" y="11"/>
                    </a:lnTo>
                    <a:lnTo>
                      <a:pt x="109" y="13"/>
                    </a:lnTo>
                    <a:lnTo>
                      <a:pt x="111" y="13"/>
                    </a:lnTo>
                    <a:lnTo>
                      <a:pt x="111" y="15"/>
                    </a:lnTo>
                    <a:lnTo>
                      <a:pt x="113" y="17"/>
                    </a:lnTo>
                    <a:lnTo>
                      <a:pt x="115" y="17"/>
                    </a:lnTo>
                    <a:lnTo>
                      <a:pt x="115" y="15"/>
                    </a:lnTo>
                    <a:lnTo>
                      <a:pt x="115" y="17"/>
                    </a:lnTo>
                    <a:lnTo>
                      <a:pt x="115" y="19"/>
                    </a:lnTo>
                    <a:lnTo>
                      <a:pt x="115" y="21"/>
                    </a:lnTo>
                    <a:lnTo>
                      <a:pt x="115" y="23"/>
                    </a:lnTo>
                    <a:lnTo>
                      <a:pt x="117" y="23"/>
                    </a:lnTo>
                    <a:lnTo>
                      <a:pt x="117" y="25"/>
                    </a:lnTo>
                    <a:lnTo>
                      <a:pt x="117" y="27"/>
                    </a:lnTo>
                    <a:lnTo>
                      <a:pt x="117" y="29"/>
                    </a:lnTo>
                    <a:lnTo>
                      <a:pt x="119" y="29"/>
                    </a:lnTo>
                    <a:lnTo>
                      <a:pt x="119" y="31"/>
                    </a:lnTo>
                    <a:lnTo>
                      <a:pt x="119" y="32"/>
                    </a:lnTo>
                    <a:lnTo>
                      <a:pt x="119" y="31"/>
                    </a:lnTo>
                    <a:lnTo>
                      <a:pt x="119" y="32"/>
                    </a:lnTo>
                    <a:lnTo>
                      <a:pt x="121" y="32"/>
                    </a:lnTo>
                    <a:lnTo>
                      <a:pt x="119" y="32"/>
                    </a:lnTo>
                    <a:lnTo>
                      <a:pt x="119" y="34"/>
                    </a:lnTo>
                    <a:lnTo>
                      <a:pt x="119" y="36"/>
                    </a:lnTo>
                    <a:lnTo>
                      <a:pt x="117" y="38"/>
                    </a:lnTo>
                    <a:lnTo>
                      <a:pt x="119" y="38"/>
                    </a:lnTo>
                    <a:lnTo>
                      <a:pt x="119" y="40"/>
                    </a:lnTo>
                    <a:lnTo>
                      <a:pt x="117" y="40"/>
                    </a:lnTo>
                    <a:lnTo>
                      <a:pt x="117" y="42"/>
                    </a:lnTo>
                    <a:lnTo>
                      <a:pt x="119" y="44"/>
                    </a:lnTo>
                    <a:lnTo>
                      <a:pt x="117" y="46"/>
                    </a:lnTo>
                    <a:lnTo>
                      <a:pt x="119" y="46"/>
                    </a:lnTo>
                    <a:lnTo>
                      <a:pt x="121" y="48"/>
                    </a:lnTo>
                    <a:lnTo>
                      <a:pt x="123" y="48"/>
                    </a:lnTo>
                    <a:lnTo>
                      <a:pt x="123" y="50"/>
                    </a:lnTo>
                    <a:lnTo>
                      <a:pt x="125" y="50"/>
                    </a:lnTo>
                    <a:lnTo>
                      <a:pt x="125" y="52"/>
                    </a:lnTo>
                    <a:lnTo>
                      <a:pt x="125" y="50"/>
                    </a:lnTo>
                    <a:lnTo>
                      <a:pt x="125" y="52"/>
                    </a:lnTo>
                    <a:lnTo>
                      <a:pt x="127" y="52"/>
                    </a:lnTo>
                    <a:lnTo>
                      <a:pt x="127" y="50"/>
                    </a:lnTo>
                    <a:lnTo>
                      <a:pt x="128" y="50"/>
                    </a:lnTo>
                    <a:lnTo>
                      <a:pt x="130" y="50"/>
                    </a:lnTo>
                    <a:lnTo>
                      <a:pt x="130" y="52"/>
                    </a:lnTo>
                    <a:lnTo>
                      <a:pt x="130" y="50"/>
                    </a:lnTo>
                    <a:lnTo>
                      <a:pt x="132" y="50"/>
                    </a:lnTo>
                    <a:lnTo>
                      <a:pt x="132" y="52"/>
                    </a:lnTo>
                    <a:lnTo>
                      <a:pt x="134" y="52"/>
                    </a:lnTo>
                    <a:lnTo>
                      <a:pt x="134" y="54"/>
                    </a:lnTo>
                    <a:lnTo>
                      <a:pt x="136" y="54"/>
                    </a:lnTo>
                    <a:lnTo>
                      <a:pt x="136" y="56"/>
                    </a:lnTo>
                    <a:lnTo>
                      <a:pt x="138" y="54"/>
                    </a:lnTo>
                    <a:lnTo>
                      <a:pt x="138" y="56"/>
                    </a:lnTo>
                    <a:close/>
                  </a:path>
                </a:pathLst>
              </a:custGeom>
              <a:solidFill>
                <a:srgbClr val="979EBA"/>
              </a:solidFill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" name="Freeform 148">
                <a:extLst>
                  <a:ext uri="{FF2B5EF4-FFF2-40B4-BE49-F238E27FC236}">
                    <a16:creationId xmlns="" xmlns:a16="http://schemas.microsoft.com/office/drawing/2014/main" id="{2E7BD568-E7E2-4ACD-A488-250318C551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5313" y="4608513"/>
                <a:ext cx="258763" cy="209550"/>
              </a:xfrm>
              <a:custGeom>
                <a:avLst/>
                <a:gdLst>
                  <a:gd name="T0" fmla="*/ 149 w 163"/>
                  <a:gd name="T1" fmla="*/ 34 h 132"/>
                  <a:gd name="T2" fmla="*/ 142 w 163"/>
                  <a:gd name="T3" fmla="*/ 40 h 132"/>
                  <a:gd name="T4" fmla="*/ 136 w 163"/>
                  <a:gd name="T5" fmla="*/ 46 h 132"/>
                  <a:gd name="T6" fmla="*/ 134 w 163"/>
                  <a:gd name="T7" fmla="*/ 52 h 132"/>
                  <a:gd name="T8" fmla="*/ 128 w 163"/>
                  <a:gd name="T9" fmla="*/ 59 h 132"/>
                  <a:gd name="T10" fmla="*/ 123 w 163"/>
                  <a:gd name="T11" fmla="*/ 69 h 132"/>
                  <a:gd name="T12" fmla="*/ 113 w 163"/>
                  <a:gd name="T13" fmla="*/ 73 h 132"/>
                  <a:gd name="T14" fmla="*/ 105 w 163"/>
                  <a:gd name="T15" fmla="*/ 80 h 132"/>
                  <a:gd name="T16" fmla="*/ 101 w 163"/>
                  <a:gd name="T17" fmla="*/ 88 h 132"/>
                  <a:gd name="T18" fmla="*/ 98 w 163"/>
                  <a:gd name="T19" fmla="*/ 94 h 132"/>
                  <a:gd name="T20" fmla="*/ 99 w 163"/>
                  <a:gd name="T21" fmla="*/ 105 h 132"/>
                  <a:gd name="T22" fmla="*/ 90 w 163"/>
                  <a:gd name="T23" fmla="*/ 109 h 132"/>
                  <a:gd name="T24" fmla="*/ 88 w 163"/>
                  <a:gd name="T25" fmla="*/ 113 h 132"/>
                  <a:gd name="T26" fmla="*/ 78 w 163"/>
                  <a:gd name="T27" fmla="*/ 119 h 132"/>
                  <a:gd name="T28" fmla="*/ 69 w 163"/>
                  <a:gd name="T29" fmla="*/ 121 h 132"/>
                  <a:gd name="T30" fmla="*/ 61 w 163"/>
                  <a:gd name="T31" fmla="*/ 125 h 132"/>
                  <a:gd name="T32" fmla="*/ 50 w 163"/>
                  <a:gd name="T33" fmla="*/ 127 h 132"/>
                  <a:gd name="T34" fmla="*/ 40 w 163"/>
                  <a:gd name="T35" fmla="*/ 130 h 132"/>
                  <a:gd name="T36" fmla="*/ 32 w 163"/>
                  <a:gd name="T37" fmla="*/ 119 h 132"/>
                  <a:gd name="T38" fmla="*/ 21 w 163"/>
                  <a:gd name="T39" fmla="*/ 109 h 132"/>
                  <a:gd name="T40" fmla="*/ 21 w 163"/>
                  <a:gd name="T41" fmla="*/ 98 h 132"/>
                  <a:gd name="T42" fmla="*/ 15 w 163"/>
                  <a:gd name="T43" fmla="*/ 86 h 132"/>
                  <a:gd name="T44" fmla="*/ 7 w 163"/>
                  <a:gd name="T45" fmla="*/ 82 h 132"/>
                  <a:gd name="T46" fmla="*/ 3 w 163"/>
                  <a:gd name="T47" fmla="*/ 73 h 132"/>
                  <a:gd name="T48" fmla="*/ 2 w 163"/>
                  <a:gd name="T49" fmla="*/ 59 h 132"/>
                  <a:gd name="T50" fmla="*/ 3 w 163"/>
                  <a:gd name="T51" fmla="*/ 52 h 132"/>
                  <a:gd name="T52" fmla="*/ 9 w 163"/>
                  <a:gd name="T53" fmla="*/ 48 h 132"/>
                  <a:gd name="T54" fmla="*/ 9 w 163"/>
                  <a:gd name="T55" fmla="*/ 44 h 132"/>
                  <a:gd name="T56" fmla="*/ 9 w 163"/>
                  <a:gd name="T57" fmla="*/ 30 h 132"/>
                  <a:gd name="T58" fmla="*/ 15 w 163"/>
                  <a:gd name="T59" fmla="*/ 29 h 132"/>
                  <a:gd name="T60" fmla="*/ 23 w 163"/>
                  <a:gd name="T61" fmla="*/ 21 h 132"/>
                  <a:gd name="T62" fmla="*/ 30 w 163"/>
                  <a:gd name="T63" fmla="*/ 15 h 132"/>
                  <a:gd name="T64" fmla="*/ 38 w 163"/>
                  <a:gd name="T65" fmla="*/ 17 h 132"/>
                  <a:gd name="T66" fmla="*/ 36 w 163"/>
                  <a:gd name="T67" fmla="*/ 9 h 132"/>
                  <a:gd name="T68" fmla="*/ 38 w 163"/>
                  <a:gd name="T69" fmla="*/ 0 h 132"/>
                  <a:gd name="T70" fmla="*/ 50 w 163"/>
                  <a:gd name="T71" fmla="*/ 4 h 132"/>
                  <a:gd name="T72" fmla="*/ 57 w 163"/>
                  <a:gd name="T73" fmla="*/ 7 h 132"/>
                  <a:gd name="T74" fmla="*/ 61 w 163"/>
                  <a:gd name="T75" fmla="*/ 2 h 132"/>
                  <a:gd name="T76" fmla="*/ 69 w 163"/>
                  <a:gd name="T77" fmla="*/ 5 h 132"/>
                  <a:gd name="T78" fmla="*/ 76 w 163"/>
                  <a:gd name="T79" fmla="*/ 5 h 132"/>
                  <a:gd name="T80" fmla="*/ 82 w 163"/>
                  <a:gd name="T81" fmla="*/ 9 h 132"/>
                  <a:gd name="T82" fmla="*/ 90 w 163"/>
                  <a:gd name="T83" fmla="*/ 19 h 132"/>
                  <a:gd name="T84" fmla="*/ 103 w 163"/>
                  <a:gd name="T85" fmla="*/ 25 h 132"/>
                  <a:gd name="T86" fmla="*/ 111 w 163"/>
                  <a:gd name="T87" fmla="*/ 25 h 132"/>
                  <a:gd name="T88" fmla="*/ 115 w 163"/>
                  <a:gd name="T89" fmla="*/ 25 h 132"/>
                  <a:gd name="T90" fmla="*/ 119 w 163"/>
                  <a:gd name="T91" fmla="*/ 29 h 132"/>
                  <a:gd name="T92" fmla="*/ 121 w 163"/>
                  <a:gd name="T93" fmla="*/ 29 h 132"/>
                  <a:gd name="T94" fmla="*/ 124 w 163"/>
                  <a:gd name="T95" fmla="*/ 29 h 132"/>
                  <a:gd name="T96" fmla="*/ 130 w 163"/>
                  <a:gd name="T97" fmla="*/ 25 h 132"/>
                  <a:gd name="T98" fmla="*/ 132 w 163"/>
                  <a:gd name="T99" fmla="*/ 21 h 132"/>
                  <a:gd name="T100" fmla="*/ 134 w 163"/>
                  <a:gd name="T101" fmla="*/ 17 h 132"/>
                  <a:gd name="T102" fmla="*/ 140 w 163"/>
                  <a:gd name="T103" fmla="*/ 17 h 132"/>
                  <a:gd name="T104" fmla="*/ 146 w 163"/>
                  <a:gd name="T105" fmla="*/ 21 h 132"/>
                  <a:gd name="T106" fmla="*/ 151 w 163"/>
                  <a:gd name="T107" fmla="*/ 21 h 132"/>
                  <a:gd name="T108" fmla="*/ 155 w 163"/>
                  <a:gd name="T109" fmla="*/ 15 h 132"/>
                  <a:gd name="T110" fmla="*/ 163 w 163"/>
                  <a:gd name="T111" fmla="*/ 21 h 132"/>
                  <a:gd name="T112" fmla="*/ 159 w 163"/>
                  <a:gd name="T113" fmla="*/ 32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63" h="132">
                    <a:moveTo>
                      <a:pt x="159" y="32"/>
                    </a:moveTo>
                    <a:lnTo>
                      <a:pt x="159" y="34"/>
                    </a:lnTo>
                    <a:lnTo>
                      <a:pt x="157" y="34"/>
                    </a:lnTo>
                    <a:lnTo>
                      <a:pt x="155" y="32"/>
                    </a:lnTo>
                    <a:lnTo>
                      <a:pt x="153" y="32"/>
                    </a:lnTo>
                    <a:lnTo>
                      <a:pt x="151" y="34"/>
                    </a:lnTo>
                    <a:lnTo>
                      <a:pt x="149" y="34"/>
                    </a:lnTo>
                    <a:lnTo>
                      <a:pt x="148" y="34"/>
                    </a:lnTo>
                    <a:lnTo>
                      <a:pt x="148" y="36"/>
                    </a:lnTo>
                    <a:lnTo>
                      <a:pt x="146" y="36"/>
                    </a:lnTo>
                    <a:lnTo>
                      <a:pt x="146" y="38"/>
                    </a:lnTo>
                    <a:lnTo>
                      <a:pt x="146" y="40"/>
                    </a:lnTo>
                    <a:lnTo>
                      <a:pt x="144" y="40"/>
                    </a:lnTo>
                    <a:lnTo>
                      <a:pt x="142" y="40"/>
                    </a:lnTo>
                    <a:lnTo>
                      <a:pt x="140" y="42"/>
                    </a:lnTo>
                    <a:lnTo>
                      <a:pt x="138" y="44"/>
                    </a:lnTo>
                    <a:lnTo>
                      <a:pt x="140" y="44"/>
                    </a:lnTo>
                    <a:lnTo>
                      <a:pt x="140" y="46"/>
                    </a:lnTo>
                    <a:lnTo>
                      <a:pt x="138" y="48"/>
                    </a:lnTo>
                    <a:lnTo>
                      <a:pt x="136" y="48"/>
                    </a:lnTo>
                    <a:lnTo>
                      <a:pt x="136" y="46"/>
                    </a:lnTo>
                    <a:lnTo>
                      <a:pt x="134" y="46"/>
                    </a:lnTo>
                    <a:lnTo>
                      <a:pt x="134" y="48"/>
                    </a:lnTo>
                    <a:lnTo>
                      <a:pt x="134" y="50"/>
                    </a:lnTo>
                    <a:lnTo>
                      <a:pt x="136" y="52"/>
                    </a:lnTo>
                    <a:lnTo>
                      <a:pt x="134" y="52"/>
                    </a:lnTo>
                    <a:lnTo>
                      <a:pt x="134" y="54"/>
                    </a:lnTo>
                    <a:lnTo>
                      <a:pt x="134" y="52"/>
                    </a:lnTo>
                    <a:lnTo>
                      <a:pt x="132" y="52"/>
                    </a:lnTo>
                    <a:lnTo>
                      <a:pt x="132" y="54"/>
                    </a:lnTo>
                    <a:lnTo>
                      <a:pt x="132" y="55"/>
                    </a:lnTo>
                    <a:lnTo>
                      <a:pt x="130" y="55"/>
                    </a:lnTo>
                    <a:lnTo>
                      <a:pt x="130" y="57"/>
                    </a:lnTo>
                    <a:lnTo>
                      <a:pt x="128" y="57"/>
                    </a:lnTo>
                    <a:lnTo>
                      <a:pt x="128" y="59"/>
                    </a:lnTo>
                    <a:lnTo>
                      <a:pt x="128" y="61"/>
                    </a:lnTo>
                    <a:lnTo>
                      <a:pt x="126" y="63"/>
                    </a:lnTo>
                    <a:lnTo>
                      <a:pt x="124" y="63"/>
                    </a:lnTo>
                    <a:lnTo>
                      <a:pt x="124" y="65"/>
                    </a:lnTo>
                    <a:lnTo>
                      <a:pt x="123" y="65"/>
                    </a:lnTo>
                    <a:lnTo>
                      <a:pt x="123" y="67"/>
                    </a:lnTo>
                    <a:lnTo>
                      <a:pt x="123" y="69"/>
                    </a:lnTo>
                    <a:lnTo>
                      <a:pt x="121" y="73"/>
                    </a:lnTo>
                    <a:lnTo>
                      <a:pt x="119" y="73"/>
                    </a:lnTo>
                    <a:lnTo>
                      <a:pt x="119" y="71"/>
                    </a:lnTo>
                    <a:lnTo>
                      <a:pt x="117" y="71"/>
                    </a:lnTo>
                    <a:lnTo>
                      <a:pt x="115" y="71"/>
                    </a:lnTo>
                    <a:lnTo>
                      <a:pt x="115" y="73"/>
                    </a:lnTo>
                    <a:lnTo>
                      <a:pt x="113" y="73"/>
                    </a:lnTo>
                    <a:lnTo>
                      <a:pt x="111" y="73"/>
                    </a:lnTo>
                    <a:lnTo>
                      <a:pt x="111" y="75"/>
                    </a:lnTo>
                    <a:lnTo>
                      <a:pt x="109" y="75"/>
                    </a:lnTo>
                    <a:lnTo>
                      <a:pt x="107" y="75"/>
                    </a:lnTo>
                    <a:lnTo>
                      <a:pt x="107" y="77"/>
                    </a:lnTo>
                    <a:lnTo>
                      <a:pt x="105" y="79"/>
                    </a:lnTo>
                    <a:lnTo>
                      <a:pt x="105" y="80"/>
                    </a:lnTo>
                    <a:lnTo>
                      <a:pt x="107" y="80"/>
                    </a:lnTo>
                    <a:lnTo>
                      <a:pt x="107" y="82"/>
                    </a:lnTo>
                    <a:lnTo>
                      <a:pt x="105" y="82"/>
                    </a:lnTo>
                    <a:lnTo>
                      <a:pt x="103" y="82"/>
                    </a:lnTo>
                    <a:lnTo>
                      <a:pt x="103" y="84"/>
                    </a:lnTo>
                    <a:lnTo>
                      <a:pt x="101" y="86"/>
                    </a:lnTo>
                    <a:lnTo>
                      <a:pt x="101" y="88"/>
                    </a:lnTo>
                    <a:lnTo>
                      <a:pt x="101" y="90"/>
                    </a:lnTo>
                    <a:lnTo>
                      <a:pt x="101" y="92"/>
                    </a:lnTo>
                    <a:lnTo>
                      <a:pt x="99" y="92"/>
                    </a:lnTo>
                    <a:lnTo>
                      <a:pt x="98" y="90"/>
                    </a:lnTo>
                    <a:lnTo>
                      <a:pt x="96" y="90"/>
                    </a:lnTo>
                    <a:lnTo>
                      <a:pt x="96" y="92"/>
                    </a:lnTo>
                    <a:lnTo>
                      <a:pt x="98" y="94"/>
                    </a:lnTo>
                    <a:lnTo>
                      <a:pt x="98" y="96"/>
                    </a:lnTo>
                    <a:lnTo>
                      <a:pt x="98" y="98"/>
                    </a:lnTo>
                    <a:lnTo>
                      <a:pt x="99" y="98"/>
                    </a:lnTo>
                    <a:lnTo>
                      <a:pt x="99" y="100"/>
                    </a:lnTo>
                    <a:lnTo>
                      <a:pt x="99" y="102"/>
                    </a:lnTo>
                    <a:lnTo>
                      <a:pt x="98" y="104"/>
                    </a:lnTo>
                    <a:lnTo>
                      <a:pt x="99" y="105"/>
                    </a:lnTo>
                    <a:lnTo>
                      <a:pt x="99" y="107"/>
                    </a:lnTo>
                    <a:lnTo>
                      <a:pt x="98" y="107"/>
                    </a:lnTo>
                    <a:lnTo>
                      <a:pt x="98" y="109"/>
                    </a:lnTo>
                    <a:lnTo>
                      <a:pt x="96" y="109"/>
                    </a:lnTo>
                    <a:lnTo>
                      <a:pt x="94" y="109"/>
                    </a:lnTo>
                    <a:lnTo>
                      <a:pt x="92" y="109"/>
                    </a:lnTo>
                    <a:lnTo>
                      <a:pt x="90" y="109"/>
                    </a:lnTo>
                    <a:lnTo>
                      <a:pt x="90" y="111"/>
                    </a:lnTo>
                    <a:lnTo>
                      <a:pt x="92" y="111"/>
                    </a:lnTo>
                    <a:lnTo>
                      <a:pt x="92" y="113"/>
                    </a:lnTo>
                    <a:lnTo>
                      <a:pt x="90" y="113"/>
                    </a:lnTo>
                    <a:lnTo>
                      <a:pt x="90" y="111"/>
                    </a:lnTo>
                    <a:lnTo>
                      <a:pt x="88" y="111"/>
                    </a:lnTo>
                    <a:lnTo>
                      <a:pt x="88" y="113"/>
                    </a:lnTo>
                    <a:lnTo>
                      <a:pt x="86" y="113"/>
                    </a:lnTo>
                    <a:lnTo>
                      <a:pt x="86" y="115"/>
                    </a:lnTo>
                    <a:lnTo>
                      <a:pt x="84" y="115"/>
                    </a:lnTo>
                    <a:lnTo>
                      <a:pt x="82" y="117"/>
                    </a:lnTo>
                    <a:lnTo>
                      <a:pt x="80" y="117"/>
                    </a:lnTo>
                    <a:lnTo>
                      <a:pt x="78" y="117"/>
                    </a:lnTo>
                    <a:lnTo>
                      <a:pt x="78" y="119"/>
                    </a:lnTo>
                    <a:lnTo>
                      <a:pt x="78" y="121"/>
                    </a:lnTo>
                    <a:lnTo>
                      <a:pt x="76" y="121"/>
                    </a:lnTo>
                    <a:lnTo>
                      <a:pt x="75" y="119"/>
                    </a:lnTo>
                    <a:lnTo>
                      <a:pt x="75" y="121"/>
                    </a:lnTo>
                    <a:lnTo>
                      <a:pt x="73" y="123"/>
                    </a:lnTo>
                    <a:lnTo>
                      <a:pt x="71" y="123"/>
                    </a:lnTo>
                    <a:lnTo>
                      <a:pt x="69" y="121"/>
                    </a:lnTo>
                    <a:lnTo>
                      <a:pt x="67" y="121"/>
                    </a:lnTo>
                    <a:lnTo>
                      <a:pt x="67" y="123"/>
                    </a:lnTo>
                    <a:lnTo>
                      <a:pt x="67" y="125"/>
                    </a:lnTo>
                    <a:lnTo>
                      <a:pt x="65" y="127"/>
                    </a:lnTo>
                    <a:lnTo>
                      <a:pt x="63" y="127"/>
                    </a:lnTo>
                    <a:lnTo>
                      <a:pt x="63" y="125"/>
                    </a:lnTo>
                    <a:lnTo>
                      <a:pt x="61" y="125"/>
                    </a:lnTo>
                    <a:lnTo>
                      <a:pt x="61" y="123"/>
                    </a:lnTo>
                    <a:lnTo>
                      <a:pt x="59" y="123"/>
                    </a:lnTo>
                    <a:lnTo>
                      <a:pt x="57" y="123"/>
                    </a:lnTo>
                    <a:lnTo>
                      <a:pt x="55" y="125"/>
                    </a:lnTo>
                    <a:lnTo>
                      <a:pt x="51" y="125"/>
                    </a:lnTo>
                    <a:lnTo>
                      <a:pt x="51" y="127"/>
                    </a:lnTo>
                    <a:lnTo>
                      <a:pt x="50" y="127"/>
                    </a:lnTo>
                    <a:lnTo>
                      <a:pt x="50" y="128"/>
                    </a:lnTo>
                    <a:lnTo>
                      <a:pt x="48" y="130"/>
                    </a:lnTo>
                    <a:lnTo>
                      <a:pt x="46" y="130"/>
                    </a:lnTo>
                    <a:lnTo>
                      <a:pt x="46" y="132"/>
                    </a:lnTo>
                    <a:lnTo>
                      <a:pt x="44" y="132"/>
                    </a:lnTo>
                    <a:lnTo>
                      <a:pt x="42" y="132"/>
                    </a:lnTo>
                    <a:lnTo>
                      <a:pt x="40" y="130"/>
                    </a:lnTo>
                    <a:lnTo>
                      <a:pt x="40" y="128"/>
                    </a:lnTo>
                    <a:lnTo>
                      <a:pt x="38" y="125"/>
                    </a:lnTo>
                    <a:lnTo>
                      <a:pt x="36" y="123"/>
                    </a:lnTo>
                    <a:lnTo>
                      <a:pt x="34" y="123"/>
                    </a:lnTo>
                    <a:lnTo>
                      <a:pt x="34" y="121"/>
                    </a:lnTo>
                    <a:lnTo>
                      <a:pt x="34" y="119"/>
                    </a:lnTo>
                    <a:lnTo>
                      <a:pt x="32" y="119"/>
                    </a:lnTo>
                    <a:lnTo>
                      <a:pt x="30" y="117"/>
                    </a:lnTo>
                    <a:lnTo>
                      <a:pt x="26" y="115"/>
                    </a:lnTo>
                    <a:lnTo>
                      <a:pt x="25" y="115"/>
                    </a:lnTo>
                    <a:lnTo>
                      <a:pt x="25" y="113"/>
                    </a:lnTo>
                    <a:lnTo>
                      <a:pt x="23" y="113"/>
                    </a:lnTo>
                    <a:lnTo>
                      <a:pt x="21" y="111"/>
                    </a:lnTo>
                    <a:lnTo>
                      <a:pt x="21" y="109"/>
                    </a:lnTo>
                    <a:lnTo>
                      <a:pt x="19" y="107"/>
                    </a:lnTo>
                    <a:lnTo>
                      <a:pt x="21" y="107"/>
                    </a:lnTo>
                    <a:lnTo>
                      <a:pt x="21" y="105"/>
                    </a:lnTo>
                    <a:lnTo>
                      <a:pt x="21" y="104"/>
                    </a:lnTo>
                    <a:lnTo>
                      <a:pt x="21" y="102"/>
                    </a:lnTo>
                    <a:lnTo>
                      <a:pt x="21" y="100"/>
                    </a:lnTo>
                    <a:lnTo>
                      <a:pt x="21" y="98"/>
                    </a:lnTo>
                    <a:lnTo>
                      <a:pt x="21" y="96"/>
                    </a:lnTo>
                    <a:lnTo>
                      <a:pt x="21" y="94"/>
                    </a:lnTo>
                    <a:lnTo>
                      <a:pt x="21" y="92"/>
                    </a:lnTo>
                    <a:lnTo>
                      <a:pt x="19" y="92"/>
                    </a:lnTo>
                    <a:lnTo>
                      <a:pt x="17" y="90"/>
                    </a:lnTo>
                    <a:lnTo>
                      <a:pt x="15" y="88"/>
                    </a:lnTo>
                    <a:lnTo>
                      <a:pt x="15" y="86"/>
                    </a:lnTo>
                    <a:lnTo>
                      <a:pt x="15" y="84"/>
                    </a:lnTo>
                    <a:lnTo>
                      <a:pt x="15" y="82"/>
                    </a:lnTo>
                    <a:lnTo>
                      <a:pt x="13" y="82"/>
                    </a:lnTo>
                    <a:lnTo>
                      <a:pt x="11" y="82"/>
                    </a:lnTo>
                    <a:lnTo>
                      <a:pt x="11" y="84"/>
                    </a:lnTo>
                    <a:lnTo>
                      <a:pt x="9" y="84"/>
                    </a:lnTo>
                    <a:lnTo>
                      <a:pt x="7" y="82"/>
                    </a:lnTo>
                    <a:lnTo>
                      <a:pt x="7" y="80"/>
                    </a:lnTo>
                    <a:lnTo>
                      <a:pt x="7" y="79"/>
                    </a:lnTo>
                    <a:lnTo>
                      <a:pt x="5" y="79"/>
                    </a:lnTo>
                    <a:lnTo>
                      <a:pt x="3" y="79"/>
                    </a:lnTo>
                    <a:lnTo>
                      <a:pt x="2" y="77"/>
                    </a:lnTo>
                    <a:lnTo>
                      <a:pt x="3" y="77"/>
                    </a:lnTo>
                    <a:lnTo>
                      <a:pt x="3" y="73"/>
                    </a:lnTo>
                    <a:lnTo>
                      <a:pt x="2" y="71"/>
                    </a:lnTo>
                    <a:lnTo>
                      <a:pt x="2" y="69"/>
                    </a:lnTo>
                    <a:lnTo>
                      <a:pt x="2" y="67"/>
                    </a:lnTo>
                    <a:lnTo>
                      <a:pt x="2" y="65"/>
                    </a:lnTo>
                    <a:lnTo>
                      <a:pt x="2" y="63"/>
                    </a:lnTo>
                    <a:lnTo>
                      <a:pt x="3" y="61"/>
                    </a:lnTo>
                    <a:lnTo>
                      <a:pt x="2" y="59"/>
                    </a:lnTo>
                    <a:lnTo>
                      <a:pt x="0" y="59"/>
                    </a:lnTo>
                    <a:lnTo>
                      <a:pt x="0" y="57"/>
                    </a:lnTo>
                    <a:lnTo>
                      <a:pt x="0" y="55"/>
                    </a:lnTo>
                    <a:lnTo>
                      <a:pt x="2" y="55"/>
                    </a:lnTo>
                    <a:lnTo>
                      <a:pt x="2" y="54"/>
                    </a:lnTo>
                    <a:lnTo>
                      <a:pt x="3" y="54"/>
                    </a:lnTo>
                    <a:lnTo>
                      <a:pt x="3" y="52"/>
                    </a:lnTo>
                    <a:lnTo>
                      <a:pt x="3" y="50"/>
                    </a:lnTo>
                    <a:lnTo>
                      <a:pt x="5" y="50"/>
                    </a:lnTo>
                    <a:lnTo>
                      <a:pt x="7" y="50"/>
                    </a:lnTo>
                    <a:lnTo>
                      <a:pt x="9" y="50"/>
                    </a:lnTo>
                    <a:lnTo>
                      <a:pt x="9" y="48"/>
                    </a:lnTo>
                    <a:lnTo>
                      <a:pt x="9" y="50"/>
                    </a:lnTo>
                    <a:lnTo>
                      <a:pt x="9" y="48"/>
                    </a:lnTo>
                    <a:lnTo>
                      <a:pt x="11" y="50"/>
                    </a:lnTo>
                    <a:lnTo>
                      <a:pt x="11" y="48"/>
                    </a:lnTo>
                    <a:lnTo>
                      <a:pt x="11" y="50"/>
                    </a:lnTo>
                    <a:lnTo>
                      <a:pt x="11" y="48"/>
                    </a:lnTo>
                    <a:lnTo>
                      <a:pt x="13" y="48"/>
                    </a:lnTo>
                    <a:lnTo>
                      <a:pt x="11" y="46"/>
                    </a:lnTo>
                    <a:lnTo>
                      <a:pt x="9" y="44"/>
                    </a:lnTo>
                    <a:lnTo>
                      <a:pt x="9" y="42"/>
                    </a:lnTo>
                    <a:lnTo>
                      <a:pt x="9" y="40"/>
                    </a:lnTo>
                    <a:lnTo>
                      <a:pt x="9" y="38"/>
                    </a:lnTo>
                    <a:lnTo>
                      <a:pt x="9" y="36"/>
                    </a:lnTo>
                    <a:lnTo>
                      <a:pt x="9" y="34"/>
                    </a:lnTo>
                    <a:lnTo>
                      <a:pt x="9" y="32"/>
                    </a:lnTo>
                    <a:lnTo>
                      <a:pt x="9" y="30"/>
                    </a:lnTo>
                    <a:lnTo>
                      <a:pt x="7" y="30"/>
                    </a:lnTo>
                    <a:lnTo>
                      <a:pt x="9" y="30"/>
                    </a:lnTo>
                    <a:lnTo>
                      <a:pt x="9" y="29"/>
                    </a:lnTo>
                    <a:lnTo>
                      <a:pt x="9" y="30"/>
                    </a:lnTo>
                    <a:lnTo>
                      <a:pt x="11" y="29"/>
                    </a:lnTo>
                    <a:lnTo>
                      <a:pt x="13" y="27"/>
                    </a:lnTo>
                    <a:lnTo>
                      <a:pt x="15" y="29"/>
                    </a:lnTo>
                    <a:lnTo>
                      <a:pt x="15" y="27"/>
                    </a:lnTo>
                    <a:lnTo>
                      <a:pt x="15" y="25"/>
                    </a:lnTo>
                    <a:lnTo>
                      <a:pt x="17" y="25"/>
                    </a:lnTo>
                    <a:lnTo>
                      <a:pt x="19" y="25"/>
                    </a:lnTo>
                    <a:lnTo>
                      <a:pt x="21" y="27"/>
                    </a:lnTo>
                    <a:lnTo>
                      <a:pt x="23" y="25"/>
                    </a:lnTo>
                    <a:lnTo>
                      <a:pt x="23" y="21"/>
                    </a:lnTo>
                    <a:lnTo>
                      <a:pt x="25" y="21"/>
                    </a:lnTo>
                    <a:lnTo>
                      <a:pt x="25" y="19"/>
                    </a:lnTo>
                    <a:lnTo>
                      <a:pt x="25" y="17"/>
                    </a:lnTo>
                    <a:lnTo>
                      <a:pt x="26" y="17"/>
                    </a:lnTo>
                    <a:lnTo>
                      <a:pt x="28" y="17"/>
                    </a:lnTo>
                    <a:lnTo>
                      <a:pt x="28" y="15"/>
                    </a:lnTo>
                    <a:lnTo>
                      <a:pt x="30" y="15"/>
                    </a:lnTo>
                    <a:lnTo>
                      <a:pt x="30" y="13"/>
                    </a:lnTo>
                    <a:lnTo>
                      <a:pt x="30" y="15"/>
                    </a:lnTo>
                    <a:lnTo>
                      <a:pt x="32" y="15"/>
                    </a:lnTo>
                    <a:lnTo>
                      <a:pt x="34" y="15"/>
                    </a:lnTo>
                    <a:lnTo>
                      <a:pt x="34" y="17"/>
                    </a:lnTo>
                    <a:lnTo>
                      <a:pt x="36" y="17"/>
                    </a:lnTo>
                    <a:lnTo>
                      <a:pt x="38" y="17"/>
                    </a:lnTo>
                    <a:lnTo>
                      <a:pt x="38" y="15"/>
                    </a:lnTo>
                    <a:lnTo>
                      <a:pt x="36" y="15"/>
                    </a:lnTo>
                    <a:lnTo>
                      <a:pt x="36" y="13"/>
                    </a:lnTo>
                    <a:lnTo>
                      <a:pt x="36" y="11"/>
                    </a:lnTo>
                    <a:lnTo>
                      <a:pt x="38" y="11"/>
                    </a:lnTo>
                    <a:lnTo>
                      <a:pt x="36" y="11"/>
                    </a:lnTo>
                    <a:lnTo>
                      <a:pt x="36" y="9"/>
                    </a:lnTo>
                    <a:lnTo>
                      <a:pt x="36" y="7"/>
                    </a:lnTo>
                    <a:lnTo>
                      <a:pt x="38" y="7"/>
                    </a:lnTo>
                    <a:lnTo>
                      <a:pt x="36" y="5"/>
                    </a:lnTo>
                    <a:lnTo>
                      <a:pt x="36" y="4"/>
                    </a:lnTo>
                    <a:lnTo>
                      <a:pt x="36" y="2"/>
                    </a:lnTo>
                    <a:lnTo>
                      <a:pt x="36" y="0"/>
                    </a:lnTo>
                    <a:lnTo>
                      <a:pt x="38" y="0"/>
                    </a:lnTo>
                    <a:lnTo>
                      <a:pt x="40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4" y="2"/>
                    </a:lnTo>
                    <a:lnTo>
                      <a:pt x="46" y="2"/>
                    </a:lnTo>
                    <a:lnTo>
                      <a:pt x="48" y="2"/>
                    </a:lnTo>
                    <a:lnTo>
                      <a:pt x="50" y="4"/>
                    </a:lnTo>
                    <a:lnTo>
                      <a:pt x="50" y="5"/>
                    </a:lnTo>
                    <a:lnTo>
                      <a:pt x="50" y="7"/>
                    </a:lnTo>
                    <a:lnTo>
                      <a:pt x="51" y="9"/>
                    </a:lnTo>
                    <a:lnTo>
                      <a:pt x="51" y="7"/>
                    </a:lnTo>
                    <a:lnTo>
                      <a:pt x="53" y="9"/>
                    </a:lnTo>
                    <a:lnTo>
                      <a:pt x="55" y="7"/>
                    </a:lnTo>
                    <a:lnTo>
                      <a:pt x="57" y="7"/>
                    </a:lnTo>
                    <a:lnTo>
                      <a:pt x="55" y="7"/>
                    </a:lnTo>
                    <a:lnTo>
                      <a:pt x="57" y="5"/>
                    </a:lnTo>
                    <a:lnTo>
                      <a:pt x="59" y="5"/>
                    </a:lnTo>
                    <a:lnTo>
                      <a:pt x="61" y="5"/>
                    </a:lnTo>
                    <a:lnTo>
                      <a:pt x="61" y="4"/>
                    </a:lnTo>
                    <a:lnTo>
                      <a:pt x="63" y="4"/>
                    </a:lnTo>
                    <a:lnTo>
                      <a:pt x="61" y="2"/>
                    </a:lnTo>
                    <a:lnTo>
                      <a:pt x="63" y="2"/>
                    </a:lnTo>
                    <a:lnTo>
                      <a:pt x="63" y="0"/>
                    </a:lnTo>
                    <a:lnTo>
                      <a:pt x="65" y="2"/>
                    </a:lnTo>
                    <a:lnTo>
                      <a:pt x="65" y="4"/>
                    </a:lnTo>
                    <a:lnTo>
                      <a:pt x="67" y="5"/>
                    </a:lnTo>
                    <a:lnTo>
                      <a:pt x="67" y="7"/>
                    </a:lnTo>
                    <a:lnTo>
                      <a:pt x="69" y="5"/>
                    </a:lnTo>
                    <a:lnTo>
                      <a:pt x="71" y="4"/>
                    </a:lnTo>
                    <a:lnTo>
                      <a:pt x="71" y="5"/>
                    </a:lnTo>
                    <a:lnTo>
                      <a:pt x="73" y="5"/>
                    </a:lnTo>
                    <a:lnTo>
                      <a:pt x="75" y="5"/>
                    </a:lnTo>
                    <a:lnTo>
                      <a:pt x="75" y="4"/>
                    </a:lnTo>
                    <a:lnTo>
                      <a:pt x="75" y="5"/>
                    </a:lnTo>
                    <a:lnTo>
                      <a:pt x="76" y="5"/>
                    </a:lnTo>
                    <a:lnTo>
                      <a:pt x="78" y="5"/>
                    </a:lnTo>
                    <a:lnTo>
                      <a:pt x="78" y="7"/>
                    </a:lnTo>
                    <a:lnTo>
                      <a:pt x="80" y="7"/>
                    </a:lnTo>
                    <a:lnTo>
                      <a:pt x="80" y="5"/>
                    </a:lnTo>
                    <a:lnTo>
                      <a:pt x="82" y="5"/>
                    </a:lnTo>
                    <a:lnTo>
                      <a:pt x="82" y="7"/>
                    </a:lnTo>
                    <a:lnTo>
                      <a:pt x="82" y="9"/>
                    </a:lnTo>
                    <a:lnTo>
                      <a:pt x="84" y="9"/>
                    </a:lnTo>
                    <a:lnTo>
                      <a:pt x="86" y="11"/>
                    </a:lnTo>
                    <a:lnTo>
                      <a:pt x="88" y="13"/>
                    </a:lnTo>
                    <a:lnTo>
                      <a:pt x="90" y="13"/>
                    </a:lnTo>
                    <a:lnTo>
                      <a:pt x="90" y="15"/>
                    </a:lnTo>
                    <a:lnTo>
                      <a:pt x="90" y="17"/>
                    </a:lnTo>
                    <a:lnTo>
                      <a:pt x="90" y="19"/>
                    </a:lnTo>
                    <a:lnTo>
                      <a:pt x="92" y="21"/>
                    </a:lnTo>
                    <a:lnTo>
                      <a:pt x="94" y="23"/>
                    </a:lnTo>
                    <a:lnTo>
                      <a:pt x="94" y="25"/>
                    </a:lnTo>
                    <a:lnTo>
                      <a:pt x="99" y="23"/>
                    </a:lnTo>
                    <a:lnTo>
                      <a:pt x="101" y="23"/>
                    </a:lnTo>
                    <a:lnTo>
                      <a:pt x="101" y="25"/>
                    </a:lnTo>
                    <a:lnTo>
                      <a:pt x="103" y="25"/>
                    </a:lnTo>
                    <a:lnTo>
                      <a:pt x="105" y="27"/>
                    </a:lnTo>
                    <a:lnTo>
                      <a:pt x="107" y="27"/>
                    </a:lnTo>
                    <a:lnTo>
                      <a:pt x="107" y="29"/>
                    </a:lnTo>
                    <a:lnTo>
                      <a:pt x="109" y="29"/>
                    </a:lnTo>
                    <a:lnTo>
                      <a:pt x="109" y="27"/>
                    </a:lnTo>
                    <a:lnTo>
                      <a:pt x="111" y="27"/>
                    </a:lnTo>
                    <a:lnTo>
                      <a:pt x="111" y="25"/>
                    </a:lnTo>
                    <a:lnTo>
                      <a:pt x="111" y="27"/>
                    </a:lnTo>
                    <a:lnTo>
                      <a:pt x="113" y="27"/>
                    </a:lnTo>
                    <a:lnTo>
                      <a:pt x="111" y="25"/>
                    </a:lnTo>
                    <a:lnTo>
                      <a:pt x="113" y="25"/>
                    </a:lnTo>
                    <a:lnTo>
                      <a:pt x="115" y="25"/>
                    </a:lnTo>
                    <a:lnTo>
                      <a:pt x="113" y="25"/>
                    </a:lnTo>
                    <a:lnTo>
                      <a:pt x="115" y="25"/>
                    </a:lnTo>
                    <a:lnTo>
                      <a:pt x="115" y="27"/>
                    </a:lnTo>
                    <a:lnTo>
                      <a:pt x="117" y="25"/>
                    </a:lnTo>
                    <a:lnTo>
                      <a:pt x="117" y="27"/>
                    </a:lnTo>
                    <a:lnTo>
                      <a:pt x="117" y="29"/>
                    </a:lnTo>
                    <a:lnTo>
                      <a:pt x="117" y="27"/>
                    </a:lnTo>
                    <a:lnTo>
                      <a:pt x="119" y="27"/>
                    </a:lnTo>
                    <a:lnTo>
                      <a:pt x="119" y="29"/>
                    </a:lnTo>
                    <a:lnTo>
                      <a:pt x="119" y="27"/>
                    </a:lnTo>
                    <a:lnTo>
                      <a:pt x="119" y="29"/>
                    </a:lnTo>
                    <a:lnTo>
                      <a:pt x="121" y="29"/>
                    </a:lnTo>
                    <a:lnTo>
                      <a:pt x="119" y="29"/>
                    </a:lnTo>
                    <a:lnTo>
                      <a:pt x="121" y="29"/>
                    </a:lnTo>
                    <a:lnTo>
                      <a:pt x="119" y="29"/>
                    </a:lnTo>
                    <a:lnTo>
                      <a:pt x="121" y="29"/>
                    </a:lnTo>
                    <a:lnTo>
                      <a:pt x="123" y="29"/>
                    </a:lnTo>
                    <a:lnTo>
                      <a:pt x="123" y="27"/>
                    </a:lnTo>
                    <a:lnTo>
                      <a:pt x="123" y="29"/>
                    </a:lnTo>
                    <a:lnTo>
                      <a:pt x="123" y="27"/>
                    </a:lnTo>
                    <a:lnTo>
                      <a:pt x="124" y="29"/>
                    </a:lnTo>
                    <a:lnTo>
                      <a:pt x="123" y="29"/>
                    </a:lnTo>
                    <a:lnTo>
                      <a:pt x="124" y="29"/>
                    </a:lnTo>
                    <a:lnTo>
                      <a:pt x="124" y="27"/>
                    </a:lnTo>
                    <a:lnTo>
                      <a:pt x="124" y="29"/>
                    </a:lnTo>
                    <a:lnTo>
                      <a:pt x="124" y="27"/>
                    </a:lnTo>
                    <a:lnTo>
                      <a:pt x="126" y="27"/>
                    </a:lnTo>
                    <a:lnTo>
                      <a:pt x="128" y="27"/>
                    </a:lnTo>
                    <a:lnTo>
                      <a:pt x="128" y="25"/>
                    </a:lnTo>
                    <a:lnTo>
                      <a:pt x="130" y="25"/>
                    </a:lnTo>
                    <a:lnTo>
                      <a:pt x="128" y="25"/>
                    </a:lnTo>
                    <a:lnTo>
                      <a:pt x="130" y="25"/>
                    </a:lnTo>
                    <a:lnTo>
                      <a:pt x="130" y="23"/>
                    </a:lnTo>
                    <a:lnTo>
                      <a:pt x="132" y="23"/>
                    </a:lnTo>
                    <a:lnTo>
                      <a:pt x="132" y="25"/>
                    </a:lnTo>
                    <a:lnTo>
                      <a:pt x="132" y="23"/>
                    </a:lnTo>
                    <a:lnTo>
                      <a:pt x="132" y="21"/>
                    </a:lnTo>
                    <a:lnTo>
                      <a:pt x="132" y="23"/>
                    </a:lnTo>
                    <a:lnTo>
                      <a:pt x="134" y="23"/>
                    </a:lnTo>
                    <a:lnTo>
                      <a:pt x="134" y="21"/>
                    </a:lnTo>
                    <a:lnTo>
                      <a:pt x="132" y="21"/>
                    </a:lnTo>
                    <a:lnTo>
                      <a:pt x="132" y="19"/>
                    </a:lnTo>
                    <a:lnTo>
                      <a:pt x="132" y="17"/>
                    </a:lnTo>
                    <a:lnTo>
                      <a:pt x="134" y="17"/>
                    </a:lnTo>
                    <a:lnTo>
                      <a:pt x="136" y="17"/>
                    </a:lnTo>
                    <a:lnTo>
                      <a:pt x="136" y="15"/>
                    </a:lnTo>
                    <a:lnTo>
                      <a:pt x="136" y="17"/>
                    </a:lnTo>
                    <a:lnTo>
                      <a:pt x="138" y="17"/>
                    </a:lnTo>
                    <a:lnTo>
                      <a:pt x="138" y="15"/>
                    </a:lnTo>
                    <a:lnTo>
                      <a:pt x="138" y="17"/>
                    </a:lnTo>
                    <a:lnTo>
                      <a:pt x="140" y="17"/>
                    </a:lnTo>
                    <a:lnTo>
                      <a:pt x="140" y="19"/>
                    </a:lnTo>
                    <a:lnTo>
                      <a:pt x="142" y="19"/>
                    </a:lnTo>
                    <a:lnTo>
                      <a:pt x="142" y="21"/>
                    </a:lnTo>
                    <a:lnTo>
                      <a:pt x="144" y="19"/>
                    </a:lnTo>
                    <a:lnTo>
                      <a:pt x="144" y="21"/>
                    </a:lnTo>
                    <a:lnTo>
                      <a:pt x="146" y="19"/>
                    </a:lnTo>
                    <a:lnTo>
                      <a:pt x="146" y="21"/>
                    </a:lnTo>
                    <a:lnTo>
                      <a:pt x="146" y="23"/>
                    </a:lnTo>
                    <a:lnTo>
                      <a:pt x="146" y="21"/>
                    </a:lnTo>
                    <a:lnTo>
                      <a:pt x="148" y="21"/>
                    </a:lnTo>
                    <a:lnTo>
                      <a:pt x="148" y="19"/>
                    </a:lnTo>
                    <a:lnTo>
                      <a:pt x="149" y="19"/>
                    </a:lnTo>
                    <a:lnTo>
                      <a:pt x="149" y="21"/>
                    </a:lnTo>
                    <a:lnTo>
                      <a:pt x="151" y="21"/>
                    </a:lnTo>
                    <a:lnTo>
                      <a:pt x="153" y="21"/>
                    </a:lnTo>
                    <a:lnTo>
                      <a:pt x="153" y="19"/>
                    </a:lnTo>
                    <a:lnTo>
                      <a:pt x="155" y="19"/>
                    </a:lnTo>
                    <a:lnTo>
                      <a:pt x="153" y="19"/>
                    </a:lnTo>
                    <a:lnTo>
                      <a:pt x="155" y="19"/>
                    </a:lnTo>
                    <a:lnTo>
                      <a:pt x="155" y="17"/>
                    </a:lnTo>
                    <a:lnTo>
                      <a:pt x="155" y="15"/>
                    </a:lnTo>
                    <a:lnTo>
                      <a:pt x="157" y="15"/>
                    </a:lnTo>
                    <a:lnTo>
                      <a:pt x="159" y="15"/>
                    </a:lnTo>
                    <a:lnTo>
                      <a:pt x="161" y="15"/>
                    </a:lnTo>
                    <a:lnTo>
                      <a:pt x="161" y="17"/>
                    </a:lnTo>
                    <a:lnTo>
                      <a:pt x="161" y="19"/>
                    </a:lnTo>
                    <a:lnTo>
                      <a:pt x="163" y="19"/>
                    </a:lnTo>
                    <a:lnTo>
                      <a:pt x="163" y="21"/>
                    </a:lnTo>
                    <a:lnTo>
                      <a:pt x="161" y="23"/>
                    </a:lnTo>
                    <a:lnTo>
                      <a:pt x="161" y="25"/>
                    </a:lnTo>
                    <a:lnTo>
                      <a:pt x="161" y="27"/>
                    </a:lnTo>
                    <a:lnTo>
                      <a:pt x="161" y="29"/>
                    </a:lnTo>
                    <a:lnTo>
                      <a:pt x="161" y="30"/>
                    </a:lnTo>
                    <a:lnTo>
                      <a:pt x="161" y="32"/>
                    </a:lnTo>
                    <a:lnTo>
                      <a:pt x="159" y="3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" name="Freeform 149">
                <a:extLst>
                  <a:ext uri="{FF2B5EF4-FFF2-40B4-BE49-F238E27FC236}">
                    <a16:creationId xmlns="" xmlns:a16="http://schemas.microsoft.com/office/drawing/2014/main" id="{6E898A59-7745-4EB8-85A1-A3338DD71D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80263" y="1482726"/>
                <a:ext cx="1103313" cy="969963"/>
              </a:xfrm>
              <a:custGeom>
                <a:avLst/>
                <a:gdLst>
                  <a:gd name="T0" fmla="*/ 426 w 695"/>
                  <a:gd name="T1" fmla="*/ 87 h 611"/>
                  <a:gd name="T2" fmla="*/ 376 w 695"/>
                  <a:gd name="T3" fmla="*/ 88 h 611"/>
                  <a:gd name="T4" fmla="*/ 418 w 695"/>
                  <a:gd name="T5" fmla="*/ 88 h 611"/>
                  <a:gd name="T6" fmla="*/ 420 w 695"/>
                  <a:gd name="T7" fmla="*/ 140 h 611"/>
                  <a:gd name="T8" fmla="*/ 430 w 695"/>
                  <a:gd name="T9" fmla="*/ 121 h 611"/>
                  <a:gd name="T10" fmla="*/ 439 w 695"/>
                  <a:gd name="T11" fmla="*/ 75 h 611"/>
                  <a:gd name="T12" fmla="*/ 463 w 695"/>
                  <a:gd name="T13" fmla="*/ 85 h 611"/>
                  <a:gd name="T14" fmla="*/ 463 w 695"/>
                  <a:gd name="T15" fmla="*/ 92 h 611"/>
                  <a:gd name="T16" fmla="*/ 495 w 695"/>
                  <a:gd name="T17" fmla="*/ 71 h 611"/>
                  <a:gd name="T18" fmla="*/ 501 w 695"/>
                  <a:gd name="T19" fmla="*/ 73 h 611"/>
                  <a:gd name="T20" fmla="*/ 541 w 695"/>
                  <a:gd name="T21" fmla="*/ 90 h 611"/>
                  <a:gd name="T22" fmla="*/ 574 w 695"/>
                  <a:gd name="T23" fmla="*/ 87 h 611"/>
                  <a:gd name="T24" fmla="*/ 528 w 695"/>
                  <a:gd name="T25" fmla="*/ 69 h 611"/>
                  <a:gd name="T26" fmla="*/ 557 w 695"/>
                  <a:gd name="T27" fmla="*/ 48 h 611"/>
                  <a:gd name="T28" fmla="*/ 578 w 695"/>
                  <a:gd name="T29" fmla="*/ 17 h 611"/>
                  <a:gd name="T30" fmla="*/ 624 w 695"/>
                  <a:gd name="T31" fmla="*/ 12 h 611"/>
                  <a:gd name="T32" fmla="*/ 645 w 695"/>
                  <a:gd name="T33" fmla="*/ 8 h 611"/>
                  <a:gd name="T34" fmla="*/ 657 w 695"/>
                  <a:gd name="T35" fmla="*/ 56 h 611"/>
                  <a:gd name="T36" fmla="*/ 628 w 695"/>
                  <a:gd name="T37" fmla="*/ 81 h 611"/>
                  <a:gd name="T38" fmla="*/ 664 w 695"/>
                  <a:gd name="T39" fmla="*/ 113 h 611"/>
                  <a:gd name="T40" fmla="*/ 682 w 695"/>
                  <a:gd name="T41" fmla="*/ 131 h 611"/>
                  <a:gd name="T42" fmla="*/ 670 w 695"/>
                  <a:gd name="T43" fmla="*/ 154 h 611"/>
                  <a:gd name="T44" fmla="*/ 582 w 695"/>
                  <a:gd name="T45" fmla="*/ 160 h 611"/>
                  <a:gd name="T46" fmla="*/ 522 w 695"/>
                  <a:gd name="T47" fmla="*/ 202 h 611"/>
                  <a:gd name="T48" fmla="*/ 489 w 695"/>
                  <a:gd name="T49" fmla="*/ 190 h 611"/>
                  <a:gd name="T50" fmla="*/ 520 w 695"/>
                  <a:gd name="T51" fmla="*/ 242 h 611"/>
                  <a:gd name="T52" fmla="*/ 211 w 695"/>
                  <a:gd name="T53" fmla="*/ 188 h 611"/>
                  <a:gd name="T54" fmla="*/ 219 w 695"/>
                  <a:gd name="T55" fmla="*/ 177 h 611"/>
                  <a:gd name="T56" fmla="*/ 251 w 695"/>
                  <a:gd name="T57" fmla="*/ 142 h 611"/>
                  <a:gd name="T58" fmla="*/ 301 w 695"/>
                  <a:gd name="T59" fmla="*/ 115 h 611"/>
                  <a:gd name="T60" fmla="*/ 341 w 695"/>
                  <a:gd name="T61" fmla="*/ 102 h 611"/>
                  <a:gd name="T62" fmla="*/ 522 w 695"/>
                  <a:gd name="T63" fmla="*/ 310 h 611"/>
                  <a:gd name="T64" fmla="*/ 495 w 695"/>
                  <a:gd name="T65" fmla="*/ 327 h 611"/>
                  <a:gd name="T66" fmla="*/ 441 w 695"/>
                  <a:gd name="T67" fmla="*/ 381 h 611"/>
                  <a:gd name="T68" fmla="*/ 422 w 695"/>
                  <a:gd name="T69" fmla="*/ 385 h 611"/>
                  <a:gd name="T70" fmla="*/ 457 w 695"/>
                  <a:gd name="T71" fmla="*/ 398 h 611"/>
                  <a:gd name="T72" fmla="*/ 487 w 695"/>
                  <a:gd name="T73" fmla="*/ 356 h 611"/>
                  <a:gd name="T74" fmla="*/ 514 w 695"/>
                  <a:gd name="T75" fmla="*/ 333 h 611"/>
                  <a:gd name="T76" fmla="*/ 559 w 695"/>
                  <a:gd name="T77" fmla="*/ 327 h 611"/>
                  <a:gd name="T78" fmla="*/ 585 w 695"/>
                  <a:gd name="T79" fmla="*/ 346 h 611"/>
                  <a:gd name="T80" fmla="*/ 641 w 695"/>
                  <a:gd name="T81" fmla="*/ 394 h 611"/>
                  <a:gd name="T82" fmla="*/ 591 w 695"/>
                  <a:gd name="T83" fmla="*/ 471 h 611"/>
                  <a:gd name="T84" fmla="*/ 553 w 695"/>
                  <a:gd name="T85" fmla="*/ 498 h 611"/>
                  <a:gd name="T86" fmla="*/ 495 w 695"/>
                  <a:gd name="T87" fmla="*/ 552 h 611"/>
                  <a:gd name="T88" fmla="*/ 405 w 695"/>
                  <a:gd name="T89" fmla="*/ 560 h 611"/>
                  <a:gd name="T90" fmla="*/ 284 w 695"/>
                  <a:gd name="T91" fmla="*/ 546 h 611"/>
                  <a:gd name="T92" fmla="*/ 205 w 695"/>
                  <a:gd name="T93" fmla="*/ 602 h 611"/>
                  <a:gd name="T94" fmla="*/ 115 w 695"/>
                  <a:gd name="T95" fmla="*/ 606 h 611"/>
                  <a:gd name="T96" fmla="*/ 42 w 695"/>
                  <a:gd name="T97" fmla="*/ 550 h 611"/>
                  <a:gd name="T98" fmla="*/ 24 w 695"/>
                  <a:gd name="T99" fmla="*/ 477 h 611"/>
                  <a:gd name="T100" fmla="*/ 21 w 695"/>
                  <a:gd name="T101" fmla="*/ 367 h 611"/>
                  <a:gd name="T102" fmla="*/ 105 w 695"/>
                  <a:gd name="T103" fmla="*/ 319 h 611"/>
                  <a:gd name="T104" fmla="*/ 113 w 695"/>
                  <a:gd name="T105" fmla="*/ 292 h 611"/>
                  <a:gd name="T106" fmla="*/ 176 w 695"/>
                  <a:gd name="T107" fmla="*/ 292 h 611"/>
                  <a:gd name="T108" fmla="*/ 201 w 695"/>
                  <a:gd name="T109" fmla="*/ 275 h 611"/>
                  <a:gd name="T110" fmla="*/ 201 w 695"/>
                  <a:gd name="T111" fmla="*/ 258 h 611"/>
                  <a:gd name="T112" fmla="*/ 153 w 695"/>
                  <a:gd name="T113" fmla="*/ 217 h 611"/>
                  <a:gd name="T114" fmla="*/ 117 w 695"/>
                  <a:gd name="T115" fmla="*/ 325 h 611"/>
                  <a:gd name="T116" fmla="*/ 370 w 695"/>
                  <a:gd name="T117" fmla="*/ 336 h 611"/>
                  <a:gd name="T118" fmla="*/ 395 w 695"/>
                  <a:gd name="T119" fmla="*/ 369 h 611"/>
                  <a:gd name="T120" fmla="*/ 391 w 695"/>
                  <a:gd name="T121" fmla="*/ 369 h 611"/>
                  <a:gd name="T122" fmla="*/ 390 w 695"/>
                  <a:gd name="T123" fmla="*/ 429 h 611"/>
                  <a:gd name="T124" fmla="*/ 557 w 695"/>
                  <a:gd name="T125" fmla="*/ 336 h 6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95" h="611">
                    <a:moveTo>
                      <a:pt x="520" y="246"/>
                    </a:moveTo>
                    <a:lnTo>
                      <a:pt x="522" y="246"/>
                    </a:lnTo>
                    <a:lnTo>
                      <a:pt x="524" y="246"/>
                    </a:lnTo>
                    <a:lnTo>
                      <a:pt x="524" y="244"/>
                    </a:lnTo>
                    <a:lnTo>
                      <a:pt x="522" y="242"/>
                    </a:lnTo>
                    <a:lnTo>
                      <a:pt x="528" y="237"/>
                    </a:lnTo>
                    <a:lnTo>
                      <a:pt x="530" y="238"/>
                    </a:lnTo>
                    <a:lnTo>
                      <a:pt x="532" y="240"/>
                    </a:lnTo>
                    <a:lnTo>
                      <a:pt x="534" y="242"/>
                    </a:lnTo>
                    <a:lnTo>
                      <a:pt x="534" y="244"/>
                    </a:lnTo>
                    <a:lnTo>
                      <a:pt x="534" y="246"/>
                    </a:lnTo>
                    <a:lnTo>
                      <a:pt x="536" y="246"/>
                    </a:lnTo>
                    <a:lnTo>
                      <a:pt x="536" y="248"/>
                    </a:lnTo>
                    <a:lnTo>
                      <a:pt x="534" y="248"/>
                    </a:lnTo>
                    <a:lnTo>
                      <a:pt x="534" y="250"/>
                    </a:lnTo>
                    <a:lnTo>
                      <a:pt x="534" y="252"/>
                    </a:lnTo>
                    <a:lnTo>
                      <a:pt x="534" y="254"/>
                    </a:lnTo>
                    <a:lnTo>
                      <a:pt x="534" y="256"/>
                    </a:lnTo>
                    <a:lnTo>
                      <a:pt x="534" y="258"/>
                    </a:lnTo>
                    <a:lnTo>
                      <a:pt x="528" y="252"/>
                    </a:lnTo>
                    <a:lnTo>
                      <a:pt x="520" y="246"/>
                    </a:lnTo>
                    <a:close/>
                    <a:moveTo>
                      <a:pt x="528" y="237"/>
                    </a:moveTo>
                    <a:lnTo>
                      <a:pt x="520" y="246"/>
                    </a:lnTo>
                    <a:lnTo>
                      <a:pt x="522" y="244"/>
                    </a:lnTo>
                    <a:lnTo>
                      <a:pt x="522" y="242"/>
                    </a:lnTo>
                    <a:lnTo>
                      <a:pt x="528" y="237"/>
                    </a:lnTo>
                    <a:close/>
                    <a:moveTo>
                      <a:pt x="522" y="244"/>
                    </a:moveTo>
                    <a:lnTo>
                      <a:pt x="520" y="246"/>
                    </a:lnTo>
                    <a:lnTo>
                      <a:pt x="522" y="244"/>
                    </a:lnTo>
                    <a:close/>
                    <a:moveTo>
                      <a:pt x="528" y="237"/>
                    </a:moveTo>
                    <a:lnTo>
                      <a:pt x="522" y="242"/>
                    </a:lnTo>
                    <a:lnTo>
                      <a:pt x="522" y="244"/>
                    </a:lnTo>
                    <a:lnTo>
                      <a:pt x="520" y="244"/>
                    </a:lnTo>
                    <a:lnTo>
                      <a:pt x="518" y="244"/>
                    </a:lnTo>
                    <a:lnTo>
                      <a:pt x="520" y="244"/>
                    </a:lnTo>
                    <a:lnTo>
                      <a:pt x="518" y="242"/>
                    </a:lnTo>
                    <a:lnTo>
                      <a:pt x="520" y="242"/>
                    </a:lnTo>
                    <a:lnTo>
                      <a:pt x="518" y="242"/>
                    </a:lnTo>
                    <a:lnTo>
                      <a:pt x="520" y="242"/>
                    </a:lnTo>
                    <a:lnTo>
                      <a:pt x="520" y="240"/>
                    </a:lnTo>
                    <a:lnTo>
                      <a:pt x="520" y="238"/>
                    </a:lnTo>
                    <a:lnTo>
                      <a:pt x="520" y="237"/>
                    </a:lnTo>
                    <a:lnTo>
                      <a:pt x="522" y="237"/>
                    </a:lnTo>
                    <a:lnTo>
                      <a:pt x="522" y="235"/>
                    </a:lnTo>
                    <a:lnTo>
                      <a:pt x="524" y="235"/>
                    </a:lnTo>
                    <a:lnTo>
                      <a:pt x="526" y="235"/>
                    </a:lnTo>
                    <a:lnTo>
                      <a:pt x="524" y="233"/>
                    </a:lnTo>
                    <a:lnTo>
                      <a:pt x="526" y="233"/>
                    </a:lnTo>
                    <a:lnTo>
                      <a:pt x="524" y="233"/>
                    </a:lnTo>
                    <a:lnTo>
                      <a:pt x="526" y="233"/>
                    </a:lnTo>
                    <a:lnTo>
                      <a:pt x="528" y="235"/>
                    </a:lnTo>
                    <a:lnTo>
                      <a:pt x="528" y="237"/>
                    </a:lnTo>
                    <a:close/>
                    <a:moveTo>
                      <a:pt x="453" y="146"/>
                    </a:moveTo>
                    <a:lnTo>
                      <a:pt x="451" y="146"/>
                    </a:lnTo>
                    <a:lnTo>
                      <a:pt x="453" y="146"/>
                    </a:lnTo>
                    <a:close/>
                    <a:moveTo>
                      <a:pt x="424" y="137"/>
                    </a:moveTo>
                    <a:lnTo>
                      <a:pt x="424" y="135"/>
                    </a:lnTo>
                    <a:lnTo>
                      <a:pt x="424" y="137"/>
                    </a:lnTo>
                    <a:close/>
                    <a:moveTo>
                      <a:pt x="426" y="87"/>
                    </a:moveTo>
                    <a:lnTo>
                      <a:pt x="428" y="87"/>
                    </a:lnTo>
                    <a:lnTo>
                      <a:pt x="430" y="87"/>
                    </a:lnTo>
                    <a:lnTo>
                      <a:pt x="430" y="88"/>
                    </a:lnTo>
                    <a:lnTo>
                      <a:pt x="430" y="87"/>
                    </a:lnTo>
                    <a:lnTo>
                      <a:pt x="430" y="88"/>
                    </a:lnTo>
                    <a:lnTo>
                      <a:pt x="432" y="88"/>
                    </a:lnTo>
                    <a:lnTo>
                      <a:pt x="432" y="87"/>
                    </a:lnTo>
                    <a:lnTo>
                      <a:pt x="432" y="88"/>
                    </a:lnTo>
                    <a:lnTo>
                      <a:pt x="430" y="88"/>
                    </a:lnTo>
                    <a:lnTo>
                      <a:pt x="428" y="88"/>
                    </a:lnTo>
                    <a:lnTo>
                      <a:pt x="428" y="87"/>
                    </a:lnTo>
                    <a:lnTo>
                      <a:pt x="428" y="88"/>
                    </a:lnTo>
                    <a:lnTo>
                      <a:pt x="430" y="88"/>
                    </a:lnTo>
                    <a:lnTo>
                      <a:pt x="428" y="88"/>
                    </a:lnTo>
                    <a:lnTo>
                      <a:pt x="428" y="87"/>
                    </a:lnTo>
                    <a:lnTo>
                      <a:pt x="426" y="87"/>
                    </a:lnTo>
                    <a:close/>
                    <a:moveTo>
                      <a:pt x="426" y="85"/>
                    </a:moveTo>
                    <a:lnTo>
                      <a:pt x="426" y="87"/>
                    </a:lnTo>
                    <a:lnTo>
                      <a:pt x="426" y="85"/>
                    </a:lnTo>
                    <a:lnTo>
                      <a:pt x="426" y="87"/>
                    </a:lnTo>
                    <a:lnTo>
                      <a:pt x="426" y="85"/>
                    </a:lnTo>
                    <a:lnTo>
                      <a:pt x="426" y="87"/>
                    </a:lnTo>
                    <a:lnTo>
                      <a:pt x="424" y="87"/>
                    </a:lnTo>
                    <a:lnTo>
                      <a:pt x="424" y="85"/>
                    </a:lnTo>
                    <a:lnTo>
                      <a:pt x="426" y="85"/>
                    </a:lnTo>
                    <a:lnTo>
                      <a:pt x="424" y="85"/>
                    </a:lnTo>
                    <a:lnTo>
                      <a:pt x="426" y="85"/>
                    </a:lnTo>
                    <a:lnTo>
                      <a:pt x="424" y="85"/>
                    </a:lnTo>
                    <a:lnTo>
                      <a:pt x="426" y="85"/>
                    </a:lnTo>
                    <a:lnTo>
                      <a:pt x="424" y="85"/>
                    </a:lnTo>
                    <a:lnTo>
                      <a:pt x="426" y="85"/>
                    </a:lnTo>
                    <a:lnTo>
                      <a:pt x="426" y="87"/>
                    </a:lnTo>
                    <a:lnTo>
                      <a:pt x="426" y="85"/>
                    </a:lnTo>
                    <a:close/>
                    <a:moveTo>
                      <a:pt x="430" y="88"/>
                    </a:moveTo>
                    <a:lnTo>
                      <a:pt x="428" y="88"/>
                    </a:lnTo>
                    <a:lnTo>
                      <a:pt x="426" y="88"/>
                    </a:lnTo>
                    <a:lnTo>
                      <a:pt x="424" y="88"/>
                    </a:lnTo>
                    <a:lnTo>
                      <a:pt x="424" y="87"/>
                    </a:lnTo>
                    <a:lnTo>
                      <a:pt x="422" y="87"/>
                    </a:lnTo>
                    <a:lnTo>
                      <a:pt x="422" y="85"/>
                    </a:lnTo>
                    <a:lnTo>
                      <a:pt x="422" y="87"/>
                    </a:lnTo>
                    <a:lnTo>
                      <a:pt x="424" y="87"/>
                    </a:lnTo>
                    <a:lnTo>
                      <a:pt x="422" y="85"/>
                    </a:lnTo>
                    <a:lnTo>
                      <a:pt x="424" y="85"/>
                    </a:lnTo>
                    <a:lnTo>
                      <a:pt x="424" y="87"/>
                    </a:lnTo>
                    <a:lnTo>
                      <a:pt x="424" y="85"/>
                    </a:lnTo>
                    <a:lnTo>
                      <a:pt x="424" y="87"/>
                    </a:lnTo>
                    <a:lnTo>
                      <a:pt x="426" y="87"/>
                    </a:lnTo>
                    <a:lnTo>
                      <a:pt x="424" y="87"/>
                    </a:lnTo>
                    <a:lnTo>
                      <a:pt x="426" y="87"/>
                    </a:lnTo>
                    <a:lnTo>
                      <a:pt x="428" y="88"/>
                    </a:lnTo>
                    <a:lnTo>
                      <a:pt x="430" y="88"/>
                    </a:lnTo>
                    <a:lnTo>
                      <a:pt x="432" y="88"/>
                    </a:lnTo>
                    <a:lnTo>
                      <a:pt x="434" y="88"/>
                    </a:lnTo>
                    <a:lnTo>
                      <a:pt x="434" y="90"/>
                    </a:lnTo>
                    <a:lnTo>
                      <a:pt x="432" y="90"/>
                    </a:lnTo>
                    <a:lnTo>
                      <a:pt x="430" y="90"/>
                    </a:lnTo>
                    <a:lnTo>
                      <a:pt x="430" y="88"/>
                    </a:lnTo>
                    <a:lnTo>
                      <a:pt x="430" y="90"/>
                    </a:lnTo>
                    <a:lnTo>
                      <a:pt x="430" y="88"/>
                    </a:lnTo>
                    <a:close/>
                    <a:moveTo>
                      <a:pt x="353" y="100"/>
                    </a:moveTo>
                    <a:lnTo>
                      <a:pt x="353" y="102"/>
                    </a:lnTo>
                    <a:lnTo>
                      <a:pt x="353" y="100"/>
                    </a:lnTo>
                    <a:lnTo>
                      <a:pt x="355" y="100"/>
                    </a:lnTo>
                    <a:lnTo>
                      <a:pt x="357" y="100"/>
                    </a:lnTo>
                    <a:lnTo>
                      <a:pt x="359" y="100"/>
                    </a:lnTo>
                    <a:lnTo>
                      <a:pt x="359" y="98"/>
                    </a:lnTo>
                    <a:lnTo>
                      <a:pt x="361" y="96"/>
                    </a:lnTo>
                    <a:lnTo>
                      <a:pt x="361" y="94"/>
                    </a:lnTo>
                    <a:lnTo>
                      <a:pt x="361" y="92"/>
                    </a:lnTo>
                    <a:lnTo>
                      <a:pt x="361" y="94"/>
                    </a:lnTo>
                    <a:lnTo>
                      <a:pt x="361" y="92"/>
                    </a:lnTo>
                    <a:lnTo>
                      <a:pt x="363" y="92"/>
                    </a:lnTo>
                    <a:lnTo>
                      <a:pt x="365" y="92"/>
                    </a:lnTo>
                    <a:lnTo>
                      <a:pt x="366" y="92"/>
                    </a:lnTo>
                    <a:lnTo>
                      <a:pt x="368" y="92"/>
                    </a:lnTo>
                    <a:lnTo>
                      <a:pt x="366" y="92"/>
                    </a:lnTo>
                    <a:lnTo>
                      <a:pt x="365" y="92"/>
                    </a:lnTo>
                    <a:lnTo>
                      <a:pt x="365" y="94"/>
                    </a:lnTo>
                    <a:lnTo>
                      <a:pt x="366" y="92"/>
                    </a:lnTo>
                    <a:lnTo>
                      <a:pt x="366" y="94"/>
                    </a:lnTo>
                    <a:lnTo>
                      <a:pt x="365" y="94"/>
                    </a:lnTo>
                    <a:lnTo>
                      <a:pt x="366" y="94"/>
                    </a:lnTo>
                    <a:lnTo>
                      <a:pt x="368" y="94"/>
                    </a:lnTo>
                    <a:lnTo>
                      <a:pt x="370" y="94"/>
                    </a:lnTo>
                    <a:lnTo>
                      <a:pt x="370" y="92"/>
                    </a:lnTo>
                    <a:lnTo>
                      <a:pt x="372" y="92"/>
                    </a:lnTo>
                    <a:lnTo>
                      <a:pt x="372" y="90"/>
                    </a:lnTo>
                    <a:lnTo>
                      <a:pt x="374" y="90"/>
                    </a:lnTo>
                    <a:lnTo>
                      <a:pt x="376" y="90"/>
                    </a:lnTo>
                    <a:lnTo>
                      <a:pt x="376" y="88"/>
                    </a:lnTo>
                    <a:lnTo>
                      <a:pt x="376" y="90"/>
                    </a:lnTo>
                    <a:lnTo>
                      <a:pt x="376" y="88"/>
                    </a:lnTo>
                    <a:lnTo>
                      <a:pt x="376" y="90"/>
                    </a:lnTo>
                    <a:lnTo>
                      <a:pt x="376" y="88"/>
                    </a:lnTo>
                    <a:lnTo>
                      <a:pt x="378" y="88"/>
                    </a:lnTo>
                    <a:lnTo>
                      <a:pt x="380" y="88"/>
                    </a:lnTo>
                    <a:lnTo>
                      <a:pt x="378" y="88"/>
                    </a:lnTo>
                    <a:lnTo>
                      <a:pt x="376" y="88"/>
                    </a:lnTo>
                    <a:lnTo>
                      <a:pt x="378" y="88"/>
                    </a:lnTo>
                    <a:lnTo>
                      <a:pt x="380" y="88"/>
                    </a:lnTo>
                    <a:lnTo>
                      <a:pt x="382" y="88"/>
                    </a:lnTo>
                    <a:lnTo>
                      <a:pt x="384" y="88"/>
                    </a:lnTo>
                    <a:lnTo>
                      <a:pt x="386" y="88"/>
                    </a:lnTo>
                    <a:lnTo>
                      <a:pt x="386" y="90"/>
                    </a:lnTo>
                    <a:lnTo>
                      <a:pt x="386" y="88"/>
                    </a:lnTo>
                    <a:lnTo>
                      <a:pt x="386" y="90"/>
                    </a:lnTo>
                    <a:lnTo>
                      <a:pt x="386" y="88"/>
                    </a:lnTo>
                    <a:lnTo>
                      <a:pt x="386" y="90"/>
                    </a:lnTo>
                    <a:lnTo>
                      <a:pt x="388" y="90"/>
                    </a:lnTo>
                    <a:lnTo>
                      <a:pt x="388" y="92"/>
                    </a:lnTo>
                    <a:lnTo>
                      <a:pt x="390" y="92"/>
                    </a:lnTo>
                    <a:lnTo>
                      <a:pt x="390" y="94"/>
                    </a:lnTo>
                    <a:lnTo>
                      <a:pt x="391" y="94"/>
                    </a:lnTo>
                    <a:lnTo>
                      <a:pt x="390" y="94"/>
                    </a:lnTo>
                    <a:lnTo>
                      <a:pt x="391" y="94"/>
                    </a:lnTo>
                    <a:lnTo>
                      <a:pt x="390" y="94"/>
                    </a:lnTo>
                    <a:lnTo>
                      <a:pt x="391" y="92"/>
                    </a:lnTo>
                    <a:lnTo>
                      <a:pt x="393" y="92"/>
                    </a:lnTo>
                    <a:lnTo>
                      <a:pt x="395" y="92"/>
                    </a:lnTo>
                    <a:lnTo>
                      <a:pt x="395" y="90"/>
                    </a:lnTo>
                    <a:lnTo>
                      <a:pt x="397" y="90"/>
                    </a:lnTo>
                    <a:lnTo>
                      <a:pt x="397" y="88"/>
                    </a:lnTo>
                    <a:lnTo>
                      <a:pt x="397" y="90"/>
                    </a:lnTo>
                    <a:lnTo>
                      <a:pt x="399" y="90"/>
                    </a:lnTo>
                    <a:lnTo>
                      <a:pt x="399" y="88"/>
                    </a:lnTo>
                    <a:lnTo>
                      <a:pt x="399" y="90"/>
                    </a:lnTo>
                    <a:lnTo>
                      <a:pt x="397" y="90"/>
                    </a:lnTo>
                    <a:lnTo>
                      <a:pt x="399" y="90"/>
                    </a:lnTo>
                    <a:lnTo>
                      <a:pt x="401" y="90"/>
                    </a:lnTo>
                    <a:lnTo>
                      <a:pt x="401" y="92"/>
                    </a:lnTo>
                    <a:lnTo>
                      <a:pt x="401" y="94"/>
                    </a:lnTo>
                    <a:lnTo>
                      <a:pt x="401" y="96"/>
                    </a:lnTo>
                    <a:lnTo>
                      <a:pt x="401" y="94"/>
                    </a:lnTo>
                    <a:lnTo>
                      <a:pt x="401" y="92"/>
                    </a:lnTo>
                    <a:lnTo>
                      <a:pt x="401" y="90"/>
                    </a:lnTo>
                    <a:lnTo>
                      <a:pt x="401" y="92"/>
                    </a:lnTo>
                    <a:lnTo>
                      <a:pt x="401" y="90"/>
                    </a:lnTo>
                    <a:lnTo>
                      <a:pt x="399" y="90"/>
                    </a:lnTo>
                    <a:lnTo>
                      <a:pt x="399" y="88"/>
                    </a:lnTo>
                    <a:lnTo>
                      <a:pt x="401" y="88"/>
                    </a:lnTo>
                    <a:lnTo>
                      <a:pt x="399" y="88"/>
                    </a:lnTo>
                    <a:lnTo>
                      <a:pt x="401" y="88"/>
                    </a:lnTo>
                    <a:lnTo>
                      <a:pt x="401" y="87"/>
                    </a:lnTo>
                    <a:lnTo>
                      <a:pt x="403" y="87"/>
                    </a:lnTo>
                    <a:lnTo>
                      <a:pt x="405" y="87"/>
                    </a:lnTo>
                    <a:lnTo>
                      <a:pt x="407" y="87"/>
                    </a:lnTo>
                    <a:lnTo>
                      <a:pt x="407" y="85"/>
                    </a:lnTo>
                    <a:lnTo>
                      <a:pt x="409" y="85"/>
                    </a:lnTo>
                    <a:lnTo>
                      <a:pt x="409" y="87"/>
                    </a:lnTo>
                    <a:lnTo>
                      <a:pt x="411" y="87"/>
                    </a:lnTo>
                    <a:lnTo>
                      <a:pt x="411" y="88"/>
                    </a:lnTo>
                    <a:lnTo>
                      <a:pt x="411" y="87"/>
                    </a:lnTo>
                    <a:lnTo>
                      <a:pt x="411" y="88"/>
                    </a:lnTo>
                    <a:lnTo>
                      <a:pt x="413" y="88"/>
                    </a:lnTo>
                    <a:lnTo>
                      <a:pt x="413" y="87"/>
                    </a:lnTo>
                    <a:lnTo>
                      <a:pt x="413" y="88"/>
                    </a:lnTo>
                    <a:lnTo>
                      <a:pt x="414" y="90"/>
                    </a:lnTo>
                    <a:lnTo>
                      <a:pt x="413" y="90"/>
                    </a:lnTo>
                    <a:lnTo>
                      <a:pt x="414" y="92"/>
                    </a:lnTo>
                    <a:lnTo>
                      <a:pt x="414" y="90"/>
                    </a:lnTo>
                    <a:lnTo>
                      <a:pt x="416" y="90"/>
                    </a:lnTo>
                    <a:lnTo>
                      <a:pt x="414" y="90"/>
                    </a:lnTo>
                    <a:lnTo>
                      <a:pt x="416" y="90"/>
                    </a:lnTo>
                    <a:lnTo>
                      <a:pt x="414" y="90"/>
                    </a:lnTo>
                    <a:lnTo>
                      <a:pt x="414" y="88"/>
                    </a:lnTo>
                    <a:lnTo>
                      <a:pt x="416" y="88"/>
                    </a:lnTo>
                    <a:lnTo>
                      <a:pt x="416" y="87"/>
                    </a:lnTo>
                    <a:lnTo>
                      <a:pt x="416" y="85"/>
                    </a:lnTo>
                    <a:lnTo>
                      <a:pt x="416" y="83"/>
                    </a:lnTo>
                    <a:lnTo>
                      <a:pt x="418" y="83"/>
                    </a:lnTo>
                    <a:lnTo>
                      <a:pt x="420" y="83"/>
                    </a:lnTo>
                    <a:lnTo>
                      <a:pt x="420" y="85"/>
                    </a:lnTo>
                    <a:lnTo>
                      <a:pt x="418" y="85"/>
                    </a:lnTo>
                    <a:lnTo>
                      <a:pt x="418" y="87"/>
                    </a:lnTo>
                    <a:lnTo>
                      <a:pt x="418" y="88"/>
                    </a:lnTo>
                    <a:lnTo>
                      <a:pt x="420" y="88"/>
                    </a:lnTo>
                    <a:lnTo>
                      <a:pt x="418" y="88"/>
                    </a:lnTo>
                    <a:lnTo>
                      <a:pt x="420" y="87"/>
                    </a:lnTo>
                    <a:lnTo>
                      <a:pt x="418" y="87"/>
                    </a:lnTo>
                    <a:lnTo>
                      <a:pt x="420" y="87"/>
                    </a:lnTo>
                    <a:lnTo>
                      <a:pt x="418" y="87"/>
                    </a:lnTo>
                    <a:lnTo>
                      <a:pt x="420" y="87"/>
                    </a:lnTo>
                    <a:lnTo>
                      <a:pt x="422" y="87"/>
                    </a:lnTo>
                    <a:lnTo>
                      <a:pt x="422" y="88"/>
                    </a:lnTo>
                    <a:lnTo>
                      <a:pt x="424" y="88"/>
                    </a:lnTo>
                    <a:lnTo>
                      <a:pt x="424" y="90"/>
                    </a:lnTo>
                    <a:lnTo>
                      <a:pt x="426" y="90"/>
                    </a:lnTo>
                    <a:lnTo>
                      <a:pt x="428" y="90"/>
                    </a:lnTo>
                    <a:lnTo>
                      <a:pt x="430" y="90"/>
                    </a:lnTo>
                    <a:lnTo>
                      <a:pt x="432" y="90"/>
                    </a:lnTo>
                    <a:lnTo>
                      <a:pt x="432" y="92"/>
                    </a:lnTo>
                    <a:lnTo>
                      <a:pt x="432" y="90"/>
                    </a:lnTo>
                    <a:lnTo>
                      <a:pt x="434" y="92"/>
                    </a:lnTo>
                    <a:lnTo>
                      <a:pt x="436" y="92"/>
                    </a:lnTo>
                    <a:lnTo>
                      <a:pt x="434" y="92"/>
                    </a:lnTo>
                    <a:lnTo>
                      <a:pt x="436" y="92"/>
                    </a:lnTo>
                    <a:lnTo>
                      <a:pt x="436" y="94"/>
                    </a:lnTo>
                    <a:lnTo>
                      <a:pt x="438" y="94"/>
                    </a:lnTo>
                    <a:lnTo>
                      <a:pt x="436" y="94"/>
                    </a:lnTo>
                    <a:lnTo>
                      <a:pt x="438" y="94"/>
                    </a:lnTo>
                    <a:lnTo>
                      <a:pt x="438" y="96"/>
                    </a:lnTo>
                    <a:lnTo>
                      <a:pt x="436" y="96"/>
                    </a:lnTo>
                    <a:lnTo>
                      <a:pt x="438" y="96"/>
                    </a:lnTo>
                    <a:lnTo>
                      <a:pt x="436" y="96"/>
                    </a:lnTo>
                    <a:lnTo>
                      <a:pt x="436" y="98"/>
                    </a:lnTo>
                    <a:lnTo>
                      <a:pt x="436" y="100"/>
                    </a:lnTo>
                    <a:lnTo>
                      <a:pt x="436" y="102"/>
                    </a:lnTo>
                    <a:lnTo>
                      <a:pt x="436" y="104"/>
                    </a:lnTo>
                    <a:lnTo>
                      <a:pt x="436" y="106"/>
                    </a:lnTo>
                    <a:lnTo>
                      <a:pt x="436" y="104"/>
                    </a:lnTo>
                    <a:lnTo>
                      <a:pt x="436" y="106"/>
                    </a:lnTo>
                    <a:lnTo>
                      <a:pt x="436" y="108"/>
                    </a:lnTo>
                    <a:lnTo>
                      <a:pt x="436" y="106"/>
                    </a:lnTo>
                    <a:lnTo>
                      <a:pt x="436" y="108"/>
                    </a:lnTo>
                    <a:lnTo>
                      <a:pt x="436" y="106"/>
                    </a:lnTo>
                    <a:lnTo>
                      <a:pt x="436" y="108"/>
                    </a:lnTo>
                    <a:lnTo>
                      <a:pt x="436" y="110"/>
                    </a:lnTo>
                    <a:lnTo>
                      <a:pt x="434" y="110"/>
                    </a:lnTo>
                    <a:lnTo>
                      <a:pt x="434" y="112"/>
                    </a:lnTo>
                    <a:lnTo>
                      <a:pt x="434" y="113"/>
                    </a:lnTo>
                    <a:lnTo>
                      <a:pt x="434" y="115"/>
                    </a:lnTo>
                    <a:lnTo>
                      <a:pt x="434" y="117"/>
                    </a:lnTo>
                    <a:lnTo>
                      <a:pt x="432" y="117"/>
                    </a:lnTo>
                    <a:lnTo>
                      <a:pt x="434" y="117"/>
                    </a:lnTo>
                    <a:lnTo>
                      <a:pt x="432" y="117"/>
                    </a:lnTo>
                    <a:lnTo>
                      <a:pt x="432" y="119"/>
                    </a:lnTo>
                    <a:lnTo>
                      <a:pt x="430" y="121"/>
                    </a:lnTo>
                    <a:lnTo>
                      <a:pt x="432" y="121"/>
                    </a:lnTo>
                    <a:lnTo>
                      <a:pt x="432" y="123"/>
                    </a:lnTo>
                    <a:lnTo>
                      <a:pt x="430" y="123"/>
                    </a:lnTo>
                    <a:lnTo>
                      <a:pt x="430" y="125"/>
                    </a:lnTo>
                    <a:lnTo>
                      <a:pt x="430" y="127"/>
                    </a:lnTo>
                    <a:lnTo>
                      <a:pt x="430" y="129"/>
                    </a:lnTo>
                    <a:lnTo>
                      <a:pt x="428" y="129"/>
                    </a:lnTo>
                    <a:lnTo>
                      <a:pt x="428" y="131"/>
                    </a:lnTo>
                    <a:lnTo>
                      <a:pt x="426" y="131"/>
                    </a:lnTo>
                    <a:lnTo>
                      <a:pt x="428" y="131"/>
                    </a:lnTo>
                    <a:lnTo>
                      <a:pt x="426" y="131"/>
                    </a:lnTo>
                    <a:lnTo>
                      <a:pt x="426" y="133"/>
                    </a:lnTo>
                    <a:lnTo>
                      <a:pt x="426" y="135"/>
                    </a:lnTo>
                    <a:lnTo>
                      <a:pt x="426" y="133"/>
                    </a:lnTo>
                    <a:lnTo>
                      <a:pt x="426" y="135"/>
                    </a:lnTo>
                    <a:lnTo>
                      <a:pt x="424" y="135"/>
                    </a:lnTo>
                    <a:lnTo>
                      <a:pt x="424" y="137"/>
                    </a:lnTo>
                    <a:lnTo>
                      <a:pt x="422" y="137"/>
                    </a:lnTo>
                    <a:lnTo>
                      <a:pt x="422" y="138"/>
                    </a:lnTo>
                    <a:lnTo>
                      <a:pt x="420" y="138"/>
                    </a:lnTo>
                    <a:lnTo>
                      <a:pt x="420" y="140"/>
                    </a:lnTo>
                    <a:lnTo>
                      <a:pt x="418" y="140"/>
                    </a:lnTo>
                    <a:lnTo>
                      <a:pt x="418" y="138"/>
                    </a:lnTo>
                    <a:lnTo>
                      <a:pt x="416" y="138"/>
                    </a:lnTo>
                    <a:lnTo>
                      <a:pt x="414" y="138"/>
                    </a:lnTo>
                    <a:lnTo>
                      <a:pt x="416" y="138"/>
                    </a:lnTo>
                    <a:lnTo>
                      <a:pt x="418" y="138"/>
                    </a:lnTo>
                    <a:lnTo>
                      <a:pt x="418" y="140"/>
                    </a:lnTo>
                    <a:lnTo>
                      <a:pt x="420" y="140"/>
                    </a:lnTo>
                    <a:lnTo>
                      <a:pt x="420" y="138"/>
                    </a:lnTo>
                    <a:lnTo>
                      <a:pt x="422" y="138"/>
                    </a:lnTo>
                    <a:lnTo>
                      <a:pt x="422" y="137"/>
                    </a:lnTo>
                    <a:lnTo>
                      <a:pt x="424" y="137"/>
                    </a:lnTo>
                    <a:lnTo>
                      <a:pt x="426" y="137"/>
                    </a:lnTo>
                    <a:lnTo>
                      <a:pt x="424" y="137"/>
                    </a:lnTo>
                    <a:lnTo>
                      <a:pt x="426" y="137"/>
                    </a:lnTo>
                    <a:lnTo>
                      <a:pt x="426" y="135"/>
                    </a:lnTo>
                    <a:lnTo>
                      <a:pt x="426" y="133"/>
                    </a:lnTo>
                    <a:lnTo>
                      <a:pt x="426" y="131"/>
                    </a:lnTo>
                    <a:lnTo>
                      <a:pt x="428" y="131"/>
                    </a:lnTo>
                    <a:lnTo>
                      <a:pt x="428" y="129"/>
                    </a:lnTo>
                    <a:lnTo>
                      <a:pt x="430" y="129"/>
                    </a:lnTo>
                    <a:lnTo>
                      <a:pt x="428" y="129"/>
                    </a:lnTo>
                    <a:lnTo>
                      <a:pt x="428" y="131"/>
                    </a:lnTo>
                    <a:lnTo>
                      <a:pt x="428" y="129"/>
                    </a:lnTo>
                    <a:lnTo>
                      <a:pt x="430" y="129"/>
                    </a:lnTo>
                    <a:lnTo>
                      <a:pt x="430" y="127"/>
                    </a:lnTo>
                    <a:lnTo>
                      <a:pt x="432" y="127"/>
                    </a:lnTo>
                    <a:lnTo>
                      <a:pt x="432" y="129"/>
                    </a:lnTo>
                    <a:lnTo>
                      <a:pt x="434" y="129"/>
                    </a:lnTo>
                    <a:lnTo>
                      <a:pt x="436" y="129"/>
                    </a:lnTo>
                    <a:lnTo>
                      <a:pt x="436" y="131"/>
                    </a:lnTo>
                    <a:lnTo>
                      <a:pt x="436" y="133"/>
                    </a:lnTo>
                    <a:lnTo>
                      <a:pt x="438" y="133"/>
                    </a:lnTo>
                    <a:lnTo>
                      <a:pt x="438" y="135"/>
                    </a:lnTo>
                    <a:lnTo>
                      <a:pt x="439" y="135"/>
                    </a:lnTo>
                    <a:lnTo>
                      <a:pt x="439" y="137"/>
                    </a:lnTo>
                    <a:lnTo>
                      <a:pt x="441" y="137"/>
                    </a:lnTo>
                    <a:lnTo>
                      <a:pt x="441" y="138"/>
                    </a:lnTo>
                    <a:lnTo>
                      <a:pt x="443" y="138"/>
                    </a:lnTo>
                    <a:lnTo>
                      <a:pt x="445" y="138"/>
                    </a:lnTo>
                    <a:lnTo>
                      <a:pt x="445" y="140"/>
                    </a:lnTo>
                    <a:lnTo>
                      <a:pt x="445" y="142"/>
                    </a:lnTo>
                    <a:lnTo>
                      <a:pt x="447" y="142"/>
                    </a:lnTo>
                    <a:lnTo>
                      <a:pt x="447" y="140"/>
                    </a:lnTo>
                    <a:lnTo>
                      <a:pt x="447" y="142"/>
                    </a:lnTo>
                    <a:lnTo>
                      <a:pt x="449" y="142"/>
                    </a:lnTo>
                    <a:lnTo>
                      <a:pt x="449" y="144"/>
                    </a:lnTo>
                    <a:lnTo>
                      <a:pt x="447" y="144"/>
                    </a:lnTo>
                    <a:lnTo>
                      <a:pt x="449" y="144"/>
                    </a:lnTo>
                    <a:lnTo>
                      <a:pt x="451" y="144"/>
                    </a:lnTo>
                    <a:lnTo>
                      <a:pt x="451" y="146"/>
                    </a:lnTo>
                    <a:lnTo>
                      <a:pt x="453" y="146"/>
                    </a:lnTo>
                    <a:lnTo>
                      <a:pt x="451" y="146"/>
                    </a:lnTo>
                    <a:lnTo>
                      <a:pt x="453" y="146"/>
                    </a:lnTo>
                    <a:lnTo>
                      <a:pt x="451" y="146"/>
                    </a:lnTo>
                    <a:lnTo>
                      <a:pt x="451" y="144"/>
                    </a:lnTo>
                    <a:lnTo>
                      <a:pt x="449" y="144"/>
                    </a:lnTo>
                    <a:lnTo>
                      <a:pt x="449" y="142"/>
                    </a:lnTo>
                    <a:lnTo>
                      <a:pt x="447" y="142"/>
                    </a:lnTo>
                    <a:lnTo>
                      <a:pt x="447" y="140"/>
                    </a:lnTo>
                    <a:lnTo>
                      <a:pt x="447" y="142"/>
                    </a:lnTo>
                    <a:lnTo>
                      <a:pt x="445" y="142"/>
                    </a:lnTo>
                    <a:lnTo>
                      <a:pt x="445" y="140"/>
                    </a:lnTo>
                    <a:lnTo>
                      <a:pt x="445" y="138"/>
                    </a:lnTo>
                    <a:lnTo>
                      <a:pt x="443" y="138"/>
                    </a:lnTo>
                    <a:lnTo>
                      <a:pt x="441" y="138"/>
                    </a:lnTo>
                    <a:lnTo>
                      <a:pt x="441" y="137"/>
                    </a:lnTo>
                    <a:lnTo>
                      <a:pt x="441" y="138"/>
                    </a:lnTo>
                    <a:lnTo>
                      <a:pt x="441" y="137"/>
                    </a:lnTo>
                    <a:lnTo>
                      <a:pt x="439" y="137"/>
                    </a:lnTo>
                    <a:lnTo>
                      <a:pt x="439" y="135"/>
                    </a:lnTo>
                    <a:lnTo>
                      <a:pt x="438" y="135"/>
                    </a:lnTo>
                    <a:lnTo>
                      <a:pt x="438" y="133"/>
                    </a:lnTo>
                    <a:lnTo>
                      <a:pt x="436" y="133"/>
                    </a:lnTo>
                    <a:lnTo>
                      <a:pt x="436" y="131"/>
                    </a:lnTo>
                    <a:lnTo>
                      <a:pt x="436" y="129"/>
                    </a:lnTo>
                    <a:lnTo>
                      <a:pt x="434" y="129"/>
                    </a:lnTo>
                    <a:lnTo>
                      <a:pt x="432" y="129"/>
                    </a:lnTo>
                    <a:lnTo>
                      <a:pt x="432" y="127"/>
                    </a:lnTo>
                    <a:lnTo>
                      <a:pt x="432" y="129"/>
                    </a:lnTo>
                    <a:lnTo>
                      <a:pt x="432" y="127"/>
                    </a:lnTo>
                    <a:lnTo>
                      <a:pt x="430" y="127"/>
                    </a:lnTo>
                    <a:lnTo>
                      <a:pt x="430" y="125"/>
                    </a:lnTo>
                    <a:lnTo>
                      <a:pt x="430" y="123"/>
                    </a:lnTo>
                    <a:lnTo>
                      <a:pt x="432" y="123"/>
                    </a:lnTo>
                    <a:lnTo>
                      <a:pt x="432" y="121"/>
                    </a:lnTo>
                    <a:lnTo>
                      <a:pt x="430" y="121"/>
                    </a:lnTo>
                    <a:lnTo>
                      <a:pt x="432" y="119"/>
                    </a:lnTo>
                    <a:lnTo>
                      <a:pt x="432" y="117"/>
                    </a:lnTo>
                    <a:lnTo>
                      <a:pt x="434" y="117"/>
                    </a:lnTo>
                    <a:lnTo>
                      <a:pt x="434" y="115"/>
                    </a:lnTo>
                    <a:lnTo>
                      <a:pt x="436" y="113"/>
                    </a:lnTo>
                    <a:lnTo>
                      <a:pt x="434" y="113"/>
                    </a:lnTo>
                    <a:lnTo>
                      <a:pt x="434" y="112"/>
                    </a:lnTo>
                    <a:lnTo>
                      <a:pt x="434" y="110"/>
                    </a:lnTo>
                    <a:lnTo>
                      <a:pt x="436" y="110"/>
                    </a:lnTo>
                    <a:lnTo>
                      <a:pt x="436" y="108"/>
                    </a:lnTo>
                    <a:lnTo>
                      <a:pt x="436" y="110"/>
                    </a:lnTo>
                    <a:lnTo>
                      <a:pt x="436" y="108"/>
                    </a:lnTo>
                    <a:lnTo>
                      <a:pt x="436" y="106"/>
                    </a:lnTo>
                    <a:lnTo>
                      <a:pt x="436" y="108"/>
                    </a:lnTo>
                    <a:lnTo>
                      <a:pt x="436" y="106"/>
                    </a:lnTo>
                    <a:lnTo>
                      <a:pt x="436" y="104"/>
                    </a:lnTo>
                    <a:lnTo>
                      <a:pt x="438" y="104"/>
                    </a:lnTo>
                    <a:lnTo>
                      <a:pt x="436" y="104"/>
                    </a:lnTo>
                    <a:lnTo>
                      <a:pt x="436" y="102"/>
                    </a:lnTo>
                    <a:lnTo>
                      <a:pt x="438" y="104"/>
                    </a:lnTo>
                    <a:lnTo>
                      <a:pt x="436" y="102"/>
                    </a:lnTo>
                    <a:lnTo>
                      <a:pt x="436" y="100"/>
                    </a:lnTo>
                    <a:lnTo>
                      <a:pt x="436" y="98"/>
                    </a:lnTo>
                    <a:lnTo>
                      <a:pt x="438" y="98"/>
                    </a:lnTo>
                    <a:lnTo>
                      <a:pt x="438" y="96"/>
                    </a:lnTo>
                    <a:lnTo>
                      <a:pt x="438" y="94"/>
                    </a:lnTo>
                    <a:lnTo>
                      <a:pt x="438" y="92"/>
                    </a:lnTo>
                    <a:lnTo>
                      <a:pt x="436" y="92"/>
                    </a:lnTo>
                    <a:lnTo>
                      <a:pt x="436" y="90"/>
                    </a:lnTo>
                    <a:lnTo>
                      <a:pt x="434" y="90"/>
                    </a:lnTo>
                    <a:lnTo>
                      <a:pt x="434" y="88"/>
                    </a:lnTo>
                    <a:lnTo>
                      <a:pt x="432" y="88"/>
                    </a:lnTo>
                    <a:lnTo>
                      <a:pt x="432" y="87"/>
                    </a:lnTo>
                    <a:lnTo>
                      <a:pt x="430" y="87"/>
                    </a:lnTo>
                    <a:lnTo>
                      <a:pt x="430" y="88"/>
                    </a:lnTo>
                    <a:lnTo>
                      <a:pt x="430" y="87"/>
                    </a:lnTo>
                    <a:lnTo>
                      <a:pt x="428" y="87"/>
                    </a:lnTo>
                    <a:lnTo>
                      <a:pt x="430" y="87"/>
                    </a:lnTo>
                    <a:lnTo>
                      <a:pt x="428" y="87"/>
                    </a:lnTo>
                    <a:lnTo>
                      <a:pt x="426" y="85"/>
                    </a:lnTo>
                    <a:lnTo>
                      <a:pt x="424" y="85"/>
                    </a:lnTo>
                    <a:lnTo>
                      <a:pt x="426" y="85"/>
                    </a:lnTo>
                    <a:lnTo>
                      <a:pt x="424" y="85"/>
                    </a:lnTo>
                    <a:lnTo>
                      <a:pt x="424" y="83"/>
                    </a:lnTo>
                    <a:lnTo>
                      <a:pt x="424" y="81"/>
                    </a:lnTo>
                    <a:lnTo>
                      <a:pt x="426" y="81"/>
                    </a:lnTo>
                    <a:lnTo>
                      <a:pt x="424" y="81"/>
                    </a:lnTo>
                    <a:lnTo>
                      <a:pt x="424" y="79"/>
                    </a:lnTo>
                    <a:lnTo>
                      <a:pt x="426" y="79"/>
                    </a:lnTo>
                    <a:lnTo>
                      <a:pt x="428" y="79"/>
                    </a:lnTo>
                    <a:lnTo>
                      <a:pt x="430" y="77"/>
                    </a:lnTo>
                    <a:lnTo>
                      <a:pt x="430" y="79"/>
                    </a:lnTo>
                    <a:lnTo>
                      <a:pt x="432" y="79"/>
                    </a:lnTo>
                    <a:lnTo>
                      <a:pt x="432" y="81"/>
                    </a:lnTo>
                    <a:lnTo>
                      <a:pt x="434" y="81"/>
                    </a:lnTo>
                    <a:lnTo>
                      <a:pt x="434" y="79"/>
                    </a:lnTo>
                    <a:lnTo>
                      <a:pt x="436" y="81"/>
                    </a:lnTo>
                    <a:lnTo>
                      <a:pt x="436" y="79"/>
                    </a:lnTo>
                    <a:lnTo>
                      <a:pt x="436" y="81"/>
                    </a:lnTo>
                    <a:lnTo>
                      <a:pt x="438" y="81"/>
                    </a:lnTo>
                    <a:lnTo>
                      <a:pt x="438" y="83"/>
                    </a:lnTo>
                    <a:lnTo>
                      <a:pt x="438" y="85"/>
                    </a:lnTo>
                    <a:lnTo>
                      <a:pt x="438" y="83"/>
                    </a:lnTo>
                    <a:lnTo>
                      <a:pt x="438" y="85"/>
                    </a:lnTo>
                    <a:lnTo>
                      <a:pt x="438" y="83"/>
                    </a:lnTo>
                    <a:lnTo>
                      <a:pt x="438" y="85"/>
                    </a:lnTo>
                    <a:lnTo>
                      <a:pt x="438" y="83"/>
                    </a:lnTo>
                    <a:lnTo>
                      <a:pt x="439" y="83"/>
                    </a:lnTo>
                    <a:lnTo>
                      <a:pt x="439" y="85"/>
                    </a:lnTo>
                    <a:lnTo>
                      <a:pt x="439" y="83"/>
                    </a:lnTo>
                    <a:lnTo>
                      <a:pt x="438" y="83"/>
                    </a:lnTo>
                    <a:lnTo>
                      <a:pt x="438" y="85"/>
                    </a:lnTo>
                    <a:lnTo>
                      <a:pt x="438" y="83"/>
                    </a:lnTo>
                    <a:lnTo>
                      <a:pt x="438" y="81"/>
                    </a:lnTo>
                    <a:lnTo>
                      <a:pt x="436" y="81"/>
                    </a:lnTo>
                    <a:lnTo>
                      <a:pt x="436" y="79"/>
                    </a:lnTo>
                    <a:lnTo>
                      <a:pt x="436" y="77"/>
                    </a:lnTo>
                    <a:lnTo>
                      <a:pt x="436" y="75"/>
                    </a:lnTo>
                    <a:lnTo>
                      <a:pt x="439" y="75"/>
                    </a:lnTo>
                    <a:lnTo>
                      <a:pt x="439" y="77"/>
                    </a:lnTo>
                    <a:lnTo>
                      <a:pt x="439" y="75"/>
                    </a:lnTo>
                    <a:lnTo>
                      <a:pt x="441" y="75"/>
                    </a:lnTo>
                    <a:lnTo>
                      <a:pt x="443" y="75"/>
                    </a:lnTo>
                    <a:lnTo>
                      <a:pt x="445" y="75"/>
                    </a:lnTo>
                    <a:lnTo>
                      <a:pt x="445" y="77"/>
                    </a:lnTo>
                    <a:lnTo>
                      <a:pt x="447" y="77"/>
                    </a:lnTo>
                    <a:lnTo>
                      <a:pt x="445" y="79"/>
                    </a:lnTo>
                    <a:lnTo>
                      <a:pt x="443" y="79"/>
                    </a:lnTo>
                    <a:lnTo>
                      <a:pt x="445" y="79"/>
                    </a:lnTo>
                    <a:lnTo>
                      <a:pt x="443" y="81"/>
                    </a:lnTo>
                    <a:lnTo>
                      <a:pt x="445" y="81"/>
                    </a:lnTo>
                    <a:lnTo>
                      <a:pt x="445" y="79"/>
                    </a:lnTo>
                    <a:lnTo>
                      <a:pt x="447" y="79"/>
                    </a:lnTo>
                    <a:lnTo>
                      <a:pt x="449" y="77"/>
                    </a:lnTo>
                    <a:lnTo>
                      <a:pt x="451" y="77"/>
                    </a:lnTo>
                    <a:lnTo>
                      <a:pt x="453" y="77"/>
                    </a:lnTo>
                    <a:lnTo>
                      <a:pt x="453" y="75"/>
                    </a:lnTo>
                    <a:lnTo>
                      <a:pt x="455" y="75"/>
                    </a:lnTo>
                    <a:lnTo>
                      <a:pt x="453" y="75"/>
                    </a:lnTo>
                    <a:lnTo>
                      <a:pt x="453" y="77"/>
                    </a:lnTo>
                    <a:lnTo>
                      <a:pt x="455" y="77"/>
                    </a:lnTo>
                    <a:lnTo>
                      <a:pt x="453" y="77"/>
                    </a:lnTo>
                    <a:lnTo>
                      <a:pt x="455" y="77"/>
                    </a:lnTo>
                    <a:lnTo>
                      <a:pt x="455" y="75"/>
                    </a:lnTo>
                    <a:lnTo>
                      <a:pt x="455" y="77"/>
                    </a:lnTo>
                    <a:lnTo>
                      <a:pt x="455" y="75"/>
                    </a:lnTo>
                    <a:lnTo>
                      <a:pt x="457" y="75"/>
                    </a:lnTo>
                    <a:lnTo>
                      <a:pt x="457" y="73"/>
                    </a:lnTo>
                    <a:lnTo>
                      <a:pt x="457" y="71"/>
                    </a:lnTo>
                    <a:lnTo>
                      <a:pt x="459" y="71"/>
                    </a:lnTo>
                    <a:lnTo>
                      <a:pt x="459" y="69"/>
                    </a:lnTo>
                    <a:lnTo>
                      <a:pt x="457" y="69"/>
                    </a:lnTo>
                    <a:lnTo>
                      <a:pt x="457" y="71"/>
                    </a:lnTo>
                    <a:lnTo>
                      <a:pt x="455" y="71"/>
                    </a:lnTo>
                    <a:lnTo>
                      <a:pt x="453" y="71"/>
                    </a:lnTo>
                    <a:lnTo>
                      <a:pt x="451" y="71"/>
                    </a:lnTo>
                    <a:lnTo>
                      <a:pt x="451" y="73"/>
                    </a:lnTo>
                    <a:lnTo>
                      <a:pt x="449" y="73"/>
                    </a:lnTo>
                    <a:lnTo>
                      <a:pt x="449" y="71"/>
                    </a:lnTo>
                    <a:lnTo>
                      <a:pt x="451" y="71"/>
                    </a:lnTo>
                    <a:lnTo>
                      <a:pt x="453" y="71"/>
                    </a:lnTo>
                    <a:lnTo>
                      <a:pt x="457" y="69"/>
                    </a:lnTo>
                    <a:lnTo>
                      <a:pt x="461" y="69"/>
                    </a:lnTo>
                    <a:lnTo>
                      <a:pt x="463" y="67"/>
                    </a:lnTo>
                    <a:lnTo>
                      <a:pt x="464" y="67"/>
                    </a:lnTo>
                    <a:lnTo>
                      <a:pt x="466" y="65"/>
                    </a:lnTo>
                    <a:lnTo>
                      <a:pt x="468" y="65"/>
                    </a:lnTo>
                    <a:lnTo>
                      <a:pt x="466" y="63"/>
                    </a:lnTo>
                    <a:lnTo>
                      <a:pt x="466" y="65"/>
                    </a:lnTo>
                    <a:lnTo>
                      <a:pt x="466" y="63"/>
                    </a:lnTo>
                    <a:lnTo>
                      <a:pt x="468" y="63"/>
                    </a:lnTo>
                    <a:lnTo>
                      <a:pt x="468" y="65"/>
                    </a:lnTo>
                    <a:lnTo>
                      <a:pt x="466" y="65"/>
                    </a:lnTo>
                    <a:lnTo>
                      <a:pt x="468" y="65"/>
                    </a:lnTo>
                    <a:lnTo>
                      <a:pt x="466" y="65"/>
                    </a:lnTo>
                    <a:lnTo>
                      <a:pt x="464" y="67"/>
                    </a:lnTo>
                    <a:lnTo>
                      <a:pt x="464" y="69"/>
                    </a:lnTo>
                    <a:lnTo>
                      <a:pt x="464" y="71"/>
                    </a:lnTo>
                    <a:lnTo>
                      <a:pt x="464" y="73"/>
                    </a:lnTo>
                    <a:lnTo>
                      <a:pt x="466" y="73"/>
                    </a:lnTo>
                    <a:lnTo>
                      <a:pt x="468" y="73"/>
                    </a:lnTo>
                    <a:lnTo>
                      <a:pt x="470" y="73"/>
                    </a:lnTo>
                    <a:lnTo>
                      <a:pt x="468" y="73"/>
                    </a:lnTo>
                    <a:lnTo>
                      <a:pt x="468" y="75"/>
                    </a:lnTo>
                    <a:lnTo>
                      <a:pt x="466" y="77"/>
                    </a:lnTo>
                    <a:lnTo>
                      <a:pt x="466" y="79"/>
                    </a:lnTo>
                    <a:lnTo>
                      <a:pt x="466" y="81"/>
                    </a:lnTo>
                    <a:lnTo>
                      <a:pt x="464" y="83"/>
                    </a:lnTo>
                    <a:lnTo>
                      <a:pt x="466" y="83"/>
                    </a:lnTo>
                    <a:lnTo>
                      <a:pt x="466" y="81"/>
                    </a:lnTo>
                    <a:lnTo>
                      <a:pt x="466" y="83"/>
                    </a:lnTo>
                    <a:lnTo>
                      <a:pt x="466" y="81"/>
                    </a:lnTo>
                    <a:lnTo>
                      <a:pt x="466" y="83"/>
                    </a:lnTo>
                    <a:lnTo>
                      <a:pt x="464" y="83"/>
                    </a:lnTo>
                    <a:lnTo>
                      <a:pt x="466" y="83"/>
                    </a:lnTo>
                    <a:lnTo>
                      <a:pt x="464" y="83"/>
                    </a:lnTo>
                    <a:lnTo>
                      <a:pt x="464" y="85"/>
                    </a:lnTo>
                    <a:lnTo>
                      <a:pt x="463" y="85"/>
                    </a:lnTo>
                    <a:lnTo>
                      <a:pt x="461" y="85"/>
                    </a:lnTo>
                    <a:lnTo>
                      <a:pt x="459" y="87"/>
                    </a:lnTo>
                    <a:lnTo>
                      <a:pt x="459" y="88"/>
                    </a:lnTo>
                    <a:lnTo>
                      <a:pt x="459" y="90"/>
                    </a:lnTo>
                    <a:lnTo>
                      <a:pt x="457" y="90"/>
                    </a:lnTo>
                    <a:lnTo>
                      <a:pt x="457" y="92"/>
                    </a:lnTo>
                    <a:lnTo>
                      <a:pt x="457" y="94"/>
                    </a:lnTo>
                    <a:lnTo>
                      <a:pt x="457" y="92"/>
                    </a:lnTo>
                    <a:lnTo>
                      <a:pt x="455" y="94"/>
                    </a:lnTo>
                    <a:lnTo>
                      <a:pt x="457" y="92"/>
                    </a:lnTo>
                    <a:lnTo>
                      <a:pt x="457" y="94"/>
                    </a:lnTo>
                    <a:lnTo>
                      <a:pt x="457" y="92"/>
                    </a:lnTo>
                    <a:lnTo>
                      <a:pt x="457" y="90"/>
                    </a:lnTo>
                    <a:lnTo>
                      <a:pt x="459" y="90"/>
                    </a:lnTo>
                    <a:lnTo>
                      <a:pt x="461" y="90"/>
                    </a:lnTo>
                    <a:lnTo>
                      <a:pt x="459" y="90"/>
                    </a:lnTo>
                    <a:lnTo>
                      <a:pt x="461" y="90"/>
                    </a:lnTo>
                    <a:lnTo>
                      <a:pt x="461" y="92"/>
                    </a:lnTo>
                    <a:lnTo>
                      <a:pt x="463" y="92"/>
                    </a:lnTo>
                    <a:lnTo>
                      <a:pt x="464" y="92"/>
                    </a:lnTo>
                    <a:lnTo>
                      <a:pt x="464" y="94"/>
                    </a:lnTo>
                    <a:lnTo>
                      <a:pt x="464" y="92"/>
                    </a:lnTo>
                    <a:lnTo>
                      <a:pt x="464" y="94"/>
                    </a:lnTo>
                    <a:lnTo>
                      <a:pt x="466" y="94"/>
                    </a:lnTo>
                    <a:lnTo>
                      <a:pt x="464" y="94"/>
                    </a:lnTo>
                    <a:lnTo>
                      <a:pt x="466" y="94"/>
                    </a:lnTo>
                    <a:lnTo>
                      <a:pt x="464" y="96"/>
                    </a:lnTo>
                    <a:lnTo>
                      <a:pt x="466" y="96"/>
                    </a:lnTo>
                    <a:lnTo>
                      <a:pt x="466" y="98"/>
                    </a:lnTo>
                    <a:lnTo>
                      <a:pt x="468" y="98"/>
                    </a:lnTo>
                    <a:lnTo>
                      <a:pt x="466" y="98"/>
                    </a:lnTo>
                    <a:lnTo>
                      <a:pt x="468" y="98"/>
                    </a:lnTo>
                    <a:lnTo>
                      <a:pt x="466" y="98"/>
                    </a:lnTo>
                    <a:lnTo>
                      <a:pt x="466" y="100"/>
                    </a:lnTo>
                    <a:lnTo>
                      <a:pt x="468" y="100"/>
                    </a:lnTo>
                    <a:lnTo>
                      <a:pt x="466" y="100"/>
                    </a:lnTo>
                    <a:lnTo>
                      <a:pt x="466" y="102"/>
                    </a:lnTo>
                    <a:lnTo>
                      <a:pt x="466" y="100"/>
                    </a:lnTo>
                    <a:lnTo>
                      <a:pt x="466" y="102"/>
                    </a:lnTo>
                    <a:lnTo>
                      <a:pt x="468" y="102"/>
                    </a:lnTo>
                    <a:lnTo>
                      <a:pt x="468" y="104"/>
                    </a:lnTo>
                    <a:lnTo>
                      <a:pt x="466" y="104"/>
                    </a:lnTo>
                    <a:lnTo>
                      <a:pt x="468" y="104"/>
                    </a:lnTo>
                    <a:lnTo>
                      <a:pt x="466" y="104"/>
                    </a:lnTo>
                    <a:lnTo>
                      <a:pt x="466" y="106"/>
                    </a:lnTo>
                    <a:lnTo>
                      <a:pt x="468" y="106"/>
                    </a:lnTo>
                    <a:lnTo>
                      <a:pt x="468" y="108"/>
                    </a:lnTo>
                    <a:lnTo>
                      <a:pt x="468" y="110"/>
                    </a:lnTo>
                    <a:lnTo>
                      <a:pt x="470" y="110"/>
                    </a:lnTo>
                    <a:lnTo>
                      <a:pt x="468" y="110"/>
                    </a:lnTo>
                    <a:lnTo>
                      <a:pt x="468" y="112"/>
                    </a:lnTo>
                    <a:lnTo>
                      <a:pt x="470" y="112"/>
                    </a:lnTo>
                    <a:lnTo>
                      <a:pt x="468" y="112"/>
                    </a:lnTo>
                    <a:lnTo>
                      <a:pt x="470" y="112"/>
                    </a:lnTo>
                    <a:lnTo>
                      <a:pt x="468" y="112"/>
                    </a:lnTo>
                    <a:lnTo>
                      <a:pt x="468" y="110"/>
                    </a:lnTo>
                    <a:lnTo>
                      <a:pt x="470" y="110"/>
                    </a:lnTo>
                    <a:lnTo>
                      <a:pt x="468" y="110"/>
                    </a:lnTo>
                    <a:lnTo>
                      <a:pt x="468" y="108"/>
                    </a:lnTo>
                    <a:lnTo>
                      <a:pt x="468" y="106"/>
                    </a:lnTo>
                    <a:lnTo>
                      <a:pt x="466" y="106"/>
                    </a:lnTo>
                    <a:lnTo>
                      <a:pt x="466" y="104"/>
                    </a:lnTo>
                    <a:lnTo>
                      <a:pt x="468" y="104"/>
                    </a:lnTo>
                    <a:lnTo>
                      <a:pt x="468" y="102"/>
                    </a:lnTo>
                    <a:lnTo>
                      <a:pt x="466" y="102"/>
                    </a:lnTo>
                    <a:lnTo>
                      <a:pt x="466" y="100"/>
                    </a:lnTo>
                    <a:lnTo>
                      <a:pt x="468" y="100"/>
                    </a:lnTo>
                    <a:lnTo>
                      <a:pt x="466" y="100"/>
                    </a:lnTo>
                    <a:lnTo>
                      <a:pt x="466" y="98"/>
                    </a:lnTo>
                    <a:lnTo>
                      <a:pt x="468" y="98"/>
                    </a:lnTo>
                    <a:lnTo>
                      <a:pt x="466" y="98"/>
                    </a:lnTo>
                    <a:lnTo>
                      <a:pt x="466" y="96"/>
                    </a:lnTo>
                    <a:lnTo>
                      <a:pt x="464" y="96"/>
                    </a:lnTo>
                    <a:lnTo>
                      <a:pt x="466" y="94"/>
                    </a:lnTo>
                    <a:lnTo>
                      <a:pt x="464" y="94"/>
                    </a:lnTo>
                    <a:lnTo>
                      <a:pt x="464" y="92"/>
                    </a:lnTo>
                    <a:lnTo>
                      <a:pt x="464" y="94"/>
                    </a:lnTo>
                    <a:lnTo>
                      <a:pt x="464" y="92"/>
                    </a:lnTo>
                    <a:lnTo>
                      <a:pt x="463" y="92"/>
                    </a:lnTo>
                    <a:lnTo>
                      <a:pt x="461" y="92"/>
                    </a:lnTo>
                    <a:lnTo>
                      <a:pt x="461" y="90"/>
                    </a:lnTo>
                    <a:lnTo>
                      <a:pt x="459" y="90"/>
                    </a:lnTo>
                    <a:lnTo>
                      <a:pt x="461" y="90"/>
                    </a:lnTo>
                    <a:lnTo>
                      <a:pt x="459" y="90"/>
                    </a:lnTo>
                    <a:lnTo>
                      <a:pt x="459" y="88"/>
                    </a:lnTo>
                    <a:lnTo>
                      <a:pt x="459" y="87"/>
                    </a:lnTo>
                    <a:lnTo>
                      <a:pt x="461" y="87"/>
                    </a:lnTo>
                    <a:lnTo>
                      <a:pt x="459" y="87"/>
                    </a:lnTo>
                    <a:lnTo>
                      <a:pt x="461" y="87"/>
                    </a:lnTo>
                    <a:lnTo>
                      <a:pt x="461" y="85"/>
                    </a:lnTo>
                    <a:lnTo>
                      <a:pt x="463" y="85"/>
                    </a:lnTo>
                    <a:lnTo>
                      <a:pt x="461" y="87"/>
                    </a:lnTo>
                    <a:lnTo>
                      <a:pt x="463" y="85"/>
                    </a:lnTo>
                    <a:lnTo>
                      <a:pt x="464" y="85"/>
                    </a:lnTo>
                    <a:lnTo>
                      <a:pt x="464" y="83"/>
                    </a:lnTo>
                    <a:lnTo>
                      <a:pt x="464" y="85"/>
                    </a:lnTo>
                    <a:lnTo>
                      <a:pt x="466" y="85"/>
                    </a:lnTo>
                    <a:lnTo>
                      <a:pt x="466" y="83"/>
                    </a:lnTo>
                    <a:lnTo>
                      <a:pt x="468" y="81"/>
                    </a:lnTo>
                    <a:lnTo>
                      <a:pt x="468" y="79"/>
                    </a:lnTo>
                    <a:lnTo>
                      <a:pt x="470" y="79"/>
                    </a:lnTo>
                    <a:lnTo>
                      <a:pt x="472" y="79"/>
                    </a:lnTo>
                    <a:lnTo>
                      <a:pt x="474" y="79"/>
                    </a:lnTo>
                    <a:lnTo>
                      <a:pt x="474" y="77"/>
                    </a:lnTo>
                    <a:lnTo>
                      <a:pt x="476" y="75"/>
                    </a:lnTo>
                    <a:lnTo>
                      <a:pt x="476" y="73"/>
                    </a:lnTo>
                    <a:lnTo>
                      <a:pt x="478" y="73"/>
                    </a:lnTo>
                    <a:lnTo>
                      <a:pt x="478" y="75"/>
                    </a:lnTo>
                    <a:lnTo>
                      <a:pt x="480" y="75"/>
                    </a:lnTo>
                    <a:lnTo>
                      <a:pt x="480" y="73"/>
                    </a:lnTo>
                    <a:lnTo>
                      <a:pt x="482" y="73"/>
                    </a:lnTo>
                    <a:lnTo>
                      <a:pt x="484" y="73"/>
                    </a:lnTo>
                    <a:lnTo>
                      <a:pt x="484" y="71"/>
                    </a:lnTo>
                    <a:lnTo>
                      <a:pt x="484" y="73"/>
                    </a:lnTo>
                    <a:lnTo>
                      <a:pt x="486" y="73"/>
                    </a:lnTo>
                    <a:lnTo>
                      <a:pt x="486" y="71"/>
                    </a:lnTo>
                    <a:lnTo>
                      <a:pt x="487" y="71"/>
                    </a:lnTo>
                    <a:lnTo>
                      <a:pt x="489" y="71"/>
                    </a:lnTo>
                    <a:lnTo>
                      <a:pt x="489" y="69"/>
                    </a:lnTo>
                    <a:lnTo>
                      <a:pt x="491" y="69"/>
                    </a:lnTo>
                    <a:lnTo>
                      <a:pt x="493" y="69"/>
                    </a:lnTo>
                    <a:lnTo>
                      <a:pt x="493" y="71"/>
                    </a:lnTo>
                    <a:lnTo>
                      <a:pt x="495" y="71"/>
                    </a:lnTo>
                    <a:lnTo>
                      <a:pt x="495" y="73"/>
                    </a:lnTo>
                    <a:lnTo>
                      <a:pt x="495" y="75"/>
                    </a:lnTo>
                    <a:lnTo>
                      <a:pt x="495" y="77"/>
                    </a:lnTo>
                    <a:lnTo>
                      <a:pt x="493" y="77"/>
                    </a:lnTo>
                    <a:lnTo>
                      <a:pt x="493" y="79"/>
                    </a:lnTo>
                    <a:lnTo>
                      <a:pt x="493" y="81"/>
                    </a:lnTo>
                    <a:lnTo>
                      <a:pt x="493" y="83"/>
                    </a:lnTo>
                    <a:lnTo>
                      <a:pt x="493" y="85"/>
                    </a:lnTo>
                    <a:lnTo>
                      <a:pt x="491" y="87"/>
                    </a:lnTo>
                    <a:lnTo>
                      <a:pt x="493" y="87"/>
                    </a:lnTo>
                    <a:lnTo>
                      <a:pt x="491" y="87"/>
                    </a:lnTo>
                    <a:lnTo>
                      <a:pt x="491" y="88"/>
                    </a:lnTo>
                    <a:lnTo>
                      <a:pt x="491" y="90"/>
                    </a:lnTo>
                    <a:lnTo>
                      <a:pt x="489" y="90"/>
                    </a:lnTo>
                    <a:lnTo>
                      <a:pt x="491" y="90"/>
                    </a:lnTo>
                    <a:lnTo>
                      <a:pt x="489" y="90"/>
                    </a:lnTo>
                    <a:lnTo>
                      <a:pt x="491" y="90"/>
                    </a:lnTo>
                    <a:lnTo>
                      <a:pt x="491" y="88"/>
                    </a:lnTo>
                    <a:lnTo>
                      <a:pt x="491" y="87"/>
                    </a:lnTo>
                    <a:lnTo>
                      <a:pt x="493" y="87"/>
                    </a:lnTo>
                    <a:lnTo>
                      <a:pt x="493" y="85"/>
                    </a:lnTo>
                    <a:lnTo>
                      <a:pt x="493" y="83"/>
                    </a:lnTo>
                    <a:lnTo>
                      <a:pt x="493" y="85"/>
                    </a:lnTo>
                    <a:lnTo>
                      <a:pt x="495" y="85"/>
                    </a:lnTo>
                    <a:lnTo>
                      <a:pt x="493" y="85"/>
                    </a:lnTo>
                    <a:lnTo>
                      <a:pt x="495" y="85"/>
                    </a:lnTo>
                    <a:lnTo>
                      <a:pt x="493" y="85"/>
                    </a:lnTo>
                    <a:lnTo>
                      <a:pt x="493" y="83"/>
                    </a:lnTo>
                    <a:lnTo>
                      <a:pt x="493" y="81"/>
                    </a:lnTo>
                    <a:lnTo>
                      <a:pt x="493" y="79"/>
                    </a:lnTo>
                    <a:lnTo>
                      <a:pt x="493" y="77"/>
                    </a:lnTo>
                    <a:lnTo>
                      <a:pt x="495" y="77"/>
                    </a:lnTo>
                    <a:lnTo>
                      <a:pt x="495" y="75"/>
                    </a:lnTo>
                    <a:lnTo>
                      <a:pt x="495" y="73"/>
                    </a:lnTo>
                    <a:lnTo>
                      <a:pt x="495" y="71"/>
                    </a:lnTo>
                    <a:lnTo>
                      <a:pt x="493" y="71"/>
                    </a:lnTo>
                    <a:lnTo>
                      <a:pt x="493" y="69"/>
                    </a:lnTo>
                    <a:lnTo>
                      <a:pt x="491" y="69"/>
                    </a:lnTo>
                    <a:lnTo>
                      <a:pt x="489" y="69"/>
                    </a:lnTo>
                    <a:lnTo>
                      <a:pt x="489" y="71"/>
                    </a:lnTo>
                    <a:lnTo>
                      <a:pt x="487" y="71"/>
                    </a:lnTo>
                    <a:lnTo>
                      <a:pt x="489" y="71"/>
                    </a:lnTo>
                    <a:lnTo>
                      <a:pt x="487" y="71"/>
                    </a:lnTo>
                    <a:lnTo>
                      <a:pt x="487" y="69"/>
                    </a:lnTo>
                    <a:lnTo>
                      <a:pt x="487" y="67"/>
                    </a:lnTo>
                    <a:lnTo>
                      <a:pt x="487" y="69"/>
                    </a:lnTo>
                    <a:lnTo>
                      <a:pt x="487" y="67"/>
                    </a:lnTo>
                    <a:lnTo>
                      <a:pt x="487" y="69"/>
                    </a:lnTo>
                    <a:lnTo>
                      <a:pt x="487" y="71"/>
                    </a:lnTo>
                    <a:lnTo>
                      <a:pt x="486" y="71"/>
                    </a:lnTo>
                    <a:lnTo>
                      <a:pt x="486" y="73"/>
                    </a:lnTo>
                    <a:lnTo>
                      <a:pt x="486" y="71"/>
                    </a:lnTo>
                    <a:lnTo>
                      <a:pt x="484" y="71"/>
                    </a:lnTo>
                    <a:lnTo>
                      <a:pt x="482" y="71"/>
                    </a:lnTo>
                    <a:lnTo>
                      <a:pt x="482" y="73"/>
                    </a:lnTo>
                    <a:lnTo>
                      <a:pt x="482" y="71"/>
                    </a:lnTo>
                    <a:lnTo>
                      <a:pt x="482" y="69"/>
                    </a:lnTo>
                    <a:lnTo>
                      <a:pt x="480" y="69"/>
                    </a:lnTo>
                    <a:lnTo>
                      <a:pt x="480" y="71"/>
                    </a:lnTo>
                    <a:lnTo>
                      <a:pt x="480" y="69"/>
                    </a:lnTo>
                    <a:lnTo>
                      <a:pt x="478" y="69"/>
                    </a:lnTo>
                    <a:lnTo>
                      <a:pt x="478" y="71"/>
                    </a:lnTo>
                    <a:lnTo>
                      <a:pt x="476" y="71"/>
                    </a:lnTo>
                    <a:lnTo>
                      <a:pt x="476" y="73"/>
                    </a:lnTo>
                    <a:lnTo>
                      <a:pt x="476" y="71"/>
                    </a:lnTo>
                    <a:lnTo>
                      <a:pt x="474" y="71"/>
                    </a:lnTo>
                    <a:lnTo>
                      <a:pt x="474" y="69"/>
                    </a:lnTo>
                    <a:lnTo>
                      <a:pt x="472" y="69"/>
                    </a:lnTo>
                    <a:lnTo>
                      <a:pt x="472" y="71"/>
                    </a:lnTo>
                    <a:lnTo>
                      <a:pt x="470" y="71"/>
                    </a:lnTo>
                    <a:lnTo>
                      <a:pt x="470" y="73"/>
                    </a:lnTo>
                    <a:lnTo>
                      <a:pt x="470" y="71"/>
                    </a:lnTo>
                    <a:lnTo>
                      <a:pt x="470" y="69"/>
                    </a:lnTo>
                    <a:lnTo>
                      <a:pt x="470" y="67"/>
                    </a:lnTo>
                    <a:lnTo>
                      <a:pt x="470" y="65"/>
                    </a:lnTo>
                    <a:lnTo>
                      <a:pt x="472" y="65"/>
                    </a:lnTo>
                    <a:lnTo>
                      <a:pt x="470" y="65"/>
                    </a:lnTo>
                    <a:lnTo>
                      <a:pt x="468" y="65"/>
                    </a:lnTo>
                    <a:lnTo>
                      <a:pt x="470" y="65"/>
                    </a:lnTo>
                    <a:lnTo>
                      <a:pt x="472" y="65"/>
                    </a:lnTo>
                    <a:lnTo>
                      <a:pt x="474" y="63"/>
                    </a:lnTo>
                    <a:lnTo>
                      <a:pt x="480" y="62"/>
                    </a:lnTo>
                    <a:lnTo>
                      <a:pt x="484" y="62"/>
                    </a:lnTo>
                    <a:lnTo>
                      <a:pt x="484" y="60"/>
                    </a:lnTo>
                    <a:lnTo>
                      <a:pt x="486" y="60"/>
                    </a:lnTo>
                    <a:lnTo>
                      <a:pt x="486" y="62"/>
                    </a:lnTo>
                    <a:lnTo>
                      <a:pt x="487" y="63"/>
                    </a:lnTo>
                    <a:lnTo>
                      <a:pt x="489" y="63"/>
                    </a:lnTo>
                    <a:lnTo>
                      <a:pt x="491" y="63"/>
                    </a:lnTo>
                    <a:lnTo>
                      <a:pt x="493" y="63"/>
                    </a:lnTo>
                    <a:lnTo>
                      <a:pt x="497" y="63"/>
                    </a:lnTo>
                    <a:lnTo>
                      <a:pt x="495" y="63"/>
                    </a:lnTo>
                    <a:lnTo>
                      <a:pt x="493" y="63"/>
                    </a:lnTo>
                    <a:lnTo>
                      <a:pt x="493" y="65"/>
                    </a:lnTo>
                    <a:lnTo>
                      <a:pt x="493" y="63"/>
                    </a:lnTo>
                    <a:lnTo>
                      <a:pt x="493" y="65"/>
                    </a:lnTo>
                    <a:lnTo>
                      <a:pt x="495" y="63"/>
                    </a:lnTo>
                    <a:lnTo>
                      <a:pt x="495" y="65"/>
                    </a:lnTo>
                    <a:lnTo>
                      <a:pt x="497" y="67"/>
                    </a:lnTo>
                    <a:lnTo>
                      <a:pt x="497" y="69"/>
                    </a:lnTo>
                    <a:lnTo>
                      <a:pt x="499" y="69"/>
                    </a:lnTo>
                    <a:lnTo>
                      <a:pt x="499" y="71"/>
                    </a:lnTo>
                    <a:lnTo>
                      <a:pt x="499" y="73"/>
                    </a:lnTo>
                    <a:lnTo>
                      <a:pt x="499" y="71"/>
                    </a:lnTo>
                    <a:lnTo>
                      <a:pt x="501" y="71"/>
                    </a:lnTo>
                    <a:lnTo>
                      <a:pt x="499" y="73"/>
                    </a:lnTo>
                    <a:lnTo>
                      <a:pt x="499" y="71"/>
                    </a:lnTo>
                    <a:lnTo>
                      <a:pt x="499" y="73"/>
                    </a:lnTo>
                    <a:lnTo>
                      <a:pt x="501" y="73"/>
                    </a:lnTo>
                    <a:lnTo>
                      <a:pt x="499" y="73"/>
                    </a:lnTo>
                    <a:lnTo>
                      <a:pt x="501" y="71"/>
                    </a:lnTo>
                    <a:lnTo>
                      <a:pt x="501" y="73"/>
                    </a:lnTo>
                    <a:lnTo>
                      <a:pt x="501" y="71"/>
                    </a:lnTo>
                    <a:lnTo>
                      <a:pt x="501" y="73"/>
                    </a:lnTo>
                    <a:lnTo>
                      <a:pt x="501" y="71"/>
                    </a:lnTo>
                    <a:lnTo>
                      <a:pt x="503" y="69"/>
                    </a:lnTo>
                    <a:lnTo>
                      <a:pt x="503" y="67"/>
                    </a:lnTo>
                    <a:lnTo>
                      <a:pt x="503" y="65"/>
                    </a:lnTo>
                    <a:lnTo>
                      <a:pt x="501" y="65"/>
                    </a:lnTo>
                    <a:lnTo>
                      <a:pt x="501" y="63"/>
                    </a:lnTo>
                    <a:lnTo>
                      <a:pt x="501" y="62"/>
                    </a:lnTo>
                    <a:lnTo>
                      <a:pt x="499" y="62"/>
                    </a:lnTo>
                    <a:lnTo>
                      <a:pt x="501" y="62"/>
                    </a:lnTo>
                    <a:lnTo>
                      <a:pt x="499" y="62"/>
                    </a:lnTo>
                    <a:lnTo>
                      <a:pt x="499" y="63"/>
                    </a:lnTo>
                    <a:lnTo>
                      <a:pt x="497" y="63"/>
                    </a:lnTo>
                    <a:lnTo>
                      <a:pt x="499" y="63"/>
                    </a:lnTo>
                    <a:lnTo>
                      <a:pt x="497" y="63"/>
                    </a:lnTo>
                    <a:lnTo>
                      <a:pt x="499" y="62"/>
                    </a:lnTo>
                    <a:lnTo>
                      <a:pt x="501" y="62"/>
                    </a:lnTo>
                    <a:lnTo>
                      <a:pt x="503" y="62"/>
                    </a:lnTo>
                    <a:lnTo>
                      <a:pt x="505" y="62"/>
                    </a:lnTo>
                    <a:lnTo>
                      <a:pt x="507" y="62"/>
                    </a:lnTo>
                    <a:lnTo>
                      <a:pt x="509" y="62"/>
                    </a:lnTo>
                    <a:lnTo>
                      <a:pt x="511" y="63"/>
                    </a:lnTo>
                    <a:lnTo>
                      <a:pt x="512" y="63"/>
                    </a:lnTo>
                    <a:lnTo>
                      <a:pt x="514" y="65"/>
                    </a:lnTo>
                    <a:lnTo>
                      <a:pt x="512" y="65"/>
                    </a:lnTo>
                    <a:lnTo>
                      <a:pt x="514" y="65"/>
                    </a:lnTo>
                    <a:lnTo>
                      <a:pt x="512" y="65"/>
                    </a:lnTo>
                    <a:lnTo>
                      <a:pt x="511" y="65"/>
                    </a:lnTo>
                    <a:lnTo>
                      <a:pt x="512" y="65"/>
                    </a:lnTo>
                    <a:lnTo>
                      <a:pt x="512" y="63"/>
                    </a:lnTo>
                    <a:lnTo>
                      <a:pt x="512" y="65"/>
                    </a:lnTo>
                    <a:lnTo>
                      <a:pt x="512" y="63"/>
                    </a:lnTo>
                    <a:lnTo>
                      <a:pt x="511" y="63"/>
                    </a:lnTo>
                    <a:lnTo>
                      <a:pt x="509" y="63"/>
                    </a:lnTo>
                    <a:lnTo>
                      <a:pt x="509" y="65"/>
                    </a:lnTo>
                    <a:lnTo>
                      <a:pt x="511" y="65"/>
                    </a:lnTo>
                    <a:lnTo>
                      <a:pt x="511" y="67"/>
                    </a:lnTo>
                    <a:lnTo>
                      <a:pt x="512" y="67"/>
                    </a:lnTo>
                    <a:lnTo>
                      <a:pt x="512" y="69"/>
                    </a:lnTo>
                    <a:lnTo>
                      <a:pt x="514" y="69"/>
                    </a:lnTo>
                    <a:lnTo>
                      <a:pt x="514" y="71"/>
                    </a:lnTo>
                    <a:lnTo>
                      <a:pt x="516" y="71"/>
                    </a:lnTo>
                    <a:lnTo>
                      <a:pt x="516" y="73"/>
                    </a:lnTo>
                    <a:lnTo>
                      <a:pt x="518" y="73"/>
                    </a:lnTo>
                    <a:lnTo>
                      <a:pt x="518" y="75"/>
                    </a:lnTo>
                    <a:lnTo>
                      <a:pt x="520" y="75"/>
                    </a:lnTo>
                    <a:lnTo>
                      <a:pt x="520" y="77"/>
                    </a:lnTo>
                    <a:lnTo>
                      <a:pt x="522" y="77"/>
                    </a:lnTo>
                    <a:lnTo>
                      <a:pt x="522" y="75"/>
                    </a:lnTo>
                    <a:lnTo>
                      <a:pt x="522" y="77"/>
                    </a:lnTo>
                    <a:lnTo>
                      <a:pt x="522" y="75"/>
                    </a:lnTo>
                    <a:lnTo>
                      <a:pt x="522" y="77"/>
                    </a:lnTo>
                    <a:lnTo>
                      <a:pt x="522" y="75"/>
                    </a:lnTo>
                    <a:lnTo>
                      <a:pt x="522" y="77"/>
                    </a:lnTo>
                    <a:lnTo>
                      <a:pt x="524" y="77"/>
                    </a:lnTo>
                    <a:lnTo>
                      <a:pt x="526" y="77"/>
                    </a:lnTo>
                    <a:lnTo>
                      <a:pt x="528" y="77"/>
                    </a:lnTo>
                    <a:lnTo>
                      <a:pt x="530" y="77"/>
                    </a:lnTo>
                    <a:lnTo>
                      <a:pt x="530" y="79"/>
                    </a:lnTo>
                    <a:lnTo>
                      <a:pt x="532" y="79"/>
                    </a:lnTo>
                    <a:lnTo>
                      <a:pt x="534" y="79"/>
                    </a:lnTo>
                    <a:lnTo>
                      <a:pt x="534" y="81"/>
                    </a:lnTo>
                    <a:lnTo>
                      <a:pt x="536" y="81"/>
                    </a:lnTo>
                    <a:lnTo>
                      <a:pt x="537" y="83"/>
                    </a:lnTo>
                    <a:lnTo>
                      <a:pt x="539" y="83"/>
                    </a:lnTo>
                    <a:lnTo>
                      <a:pt x="539" y="85"/>
                    </a:lnTo>
                    <a:lnTo>
                      <a:pt x="539" y="83"/>
                    </a:lnTo>
                    <a:lnTo>
                      <a:pt x="537" y="83"/>
                    </a:lnTo>
                    <a:lnTo>
                      <a:pt x="537" y="85"/>
                    </a:lnTo>
                    <a:lnTo>
                      <a:pt x="537" y="87"/>
                    </a:lnTo>
                    <a:lnTo>
                      <a:pt x="537" y="88"/>
                    </a:lnTo>
                    <a:lnTo>
                      <a:pt x="537" y="90"/>
                    </a:lnTo>
                    <a:lnTo>
                      <a:pt x="539" y="90"/>
                    </a:lnTo>
                    <a:lnTo>
                      <a:pt x="537" y="90"/>
                    </a:lnTo>
                    <a:lnTo>
                      <a:pt x="537" y="92"/>
                    </a:lnTo>
                    <a:lnTo>
                      <a:pt x="537" y="90"/>
                    </a:lnTo>
                    <a:lnTo>
                      <a:pt x="539" y="90"/>
                    </a:lnTo>
                    <a:lnTo>
                      <a:pt x="541" y="90"/>
                    </a:lnTo>
                    <a:lnTo>
                      <a:pt x="543" y="90"/>
                    </a:lnTo>
                    <a:lnTo>
                      <a:pt x="541" y="90"/>
                    </a:lnTo>
                    <a:lnTo>
                      <a:pt x="543" y="90"/>
                    </a:lnTo>
                    <a:lnTo>
                      <a:pt x="543" y="92"/>
                    </a:lnTo>
                    <a:lnTo>
                      <a:pt x="543" y="90"/>
                    </a:lnTo>
                    <a:lnTo>
                      <a:pt x="543" y="92"/>
                    </a:lnTo>
                    <a:lnTo>
                      <a:pt x="543" y="90"/>
                    </a:lnTo>
                    <a:lnTo>
                      <a:pt x="545" y="90"/>
                    </a:lnTo>
                    <a:lnTo>
                      <a:pt x="545" y="88"/>
                    </a:lnTo>
                    <a:lnTo>
                      <a:pt x="547" y="88"/>
                    </a:lnTo>
                    <a:lnTo>
                      <a:pt x="549" y="87"/>
                    </a:lnTo>
                    <a:lnTo>
                      <a:pt x="551" y="87"/>
                    </a:lnTo>
                    <a:lnTo>
                      <a:pt x="551" y="85"/>
                    </a:lnTo>
                    <a:lnTo>
                      <a:pt x="553" y="87"/>
                    </a:lnTo>
                    <a:lnTo>
                      <a:pt x="553" y="85"/>
                    </a:lnTo>
                    <a:lnTo>
                      <a:pt x="553" y="87"/>
                    </a:lnTo>
                    <a:lnTo>
                      <a:pt x="555" y="87"/>
                    </a:lnTo>
                    <a:lnTo>
                      <a:pt x="557" y="87"/>
                    </a:lnTo>
                    <a:lnTo>
                      <a:pt x="557" y="88"/>
                    </a:lnTo>
                    <a:lnTo>
                      <a:pt x="557" y="90"/>
                    </a:lnTo>
                    <a:lnTo>
                      <a:pt x="559" y="90"/>
                    </a:lnTo>
                    <a:lnTo>
                      <a:pt x="559" y="92"/>
                    </a:lnTo>
                    <a:lnTo>
                      <a:pt x="560" y="92"/>
                    </a:lnTo>
                    <a:lnTo>
                      <a:pt x="562" y="92"/>
                    </a:lnTo>
                    <a:lnTo>
                      <a:pt x="562" y="90"/>
                    </a:lnTo>
                    <a:lnTo>
                      <a:pt x="562" y="92"/>
                    </a:lnTo>
                    <a:lnTo>
                      <a:pt x="562" y="94"/>
                    </a:lnTo>
                    <a:lnTo>
                      <a:pt x="564" y="94"/>
                    </a:lnTo>
                    <a:lnTo>
                      <a:pt x="566" y="94"/>
                    </a:lnTo>
                    <a:lnTo>
                      <a:pt x="566" y="92"/>
                    </a:lnTo>
                    <a:lnTo>
                      <a:pt x="566" y="90"/>
                    </a:lnTo>
                    <a:lnTo>
                      <a:pt x="564" y="90"/>
                    </a:lnTo>
                    <a:lnTo>
                      <a:pt x="562" y="92"/>
                    </a:lnTo>
                    <a:lnTo>
                      <a:pt x="562" y="90"/>
                    </a:lnTo>
                    <a:lnTo>
                      <a:pt x="564" y="90"/>
                    </a:lnTo>
                    <a:lnTo>
                      <a:pt x="564" y="88"/>
                    </a:lnTo>
                    <a:lnTo>
                      <a:pt x="562" y="88"/>
                    </a:lnTo>
                    <a:lnTo>
                      <a:pt x="564" y="88"/>
                    </a:lnTo>
                    <a:lnTo>
                      <a:pt x="562" y="88"/>
                    </a:lnTo>
                    <a:lnTo>
                      <a:pt x="562" y="87"/>
                    </a:lnTo>
                    <a:lnTo>
                      <a:pt x="562" y="85"/>
                    </a:lnTo>
                    <a:lnTo>
                      <a:pt x="562" y="83"/>
                    </a:lnTo>
                    <a:lnTo>
                      <a:pt x="560" y="83"/>
                    </a:lnTo>
                    <a:lnTo>
                      <a:pt x="559" y="83"/>
                    </a:lnTo>
                    <a:lnTo>
                      <a:pt x="560" y="83"/>
                    </a:lnTo>
                    <a:lnTo>
                      <a:pt x="562" y="81"/>
                    </a:lnTo>
                    <a:lnTo>
                      <a:pt x="562" y="79"/>
                    </a:lnTo>
                    <a:lnTo>
                      <a:pt x="564" y="79"/>
                    </a:lnTo>
                    <a:lnTo>
                      <a:pt x="564" y="81"/>
                    </a:lnTo>
                    <a:lnTo>
                      <a:pt x="566" y="81"/>
                    </a:lnTo>
                    <a:lnTo>
                      <a:pt x="568" y="81"/>
                    </a:lnTo>
                    <a:lnTo>
                      <a:pt x="570" y="81"/>
                    </a:lnTo>
                    <a:lnTo>
                      <a:pt x="570" y="83"/>
                    </a:lnTo>
                    <a:lnTo>
                      <a:pt x="570" y="85"/>
                    </a:lnTo>
                    <a:lnTo>
                      <a:pt x="570" y="83"/>
                    </a:lnTo>
                    <a:lnTo>
                      <a:pt x="570" y="85"/>
                    </a:lnTo>
                    <a:lnTo>
                      <a:pt x="570" y="87"/>
                    </a:lnTo>
                    <a:lnTo>
                      <a:pt x="572" y="87"/>
                    </a:lnTo>
                    <a:lnTo>
                      <a:pt x="572" y="88"/>
                    </a:lnTo>
                    <a:lnTo>
                      <a:pt x="574" y="88"/>
                    </a:lnTo>
                    <a:lnTo>
                      <a:pt x="574" y="87"/>
                    </a:lnTo>
                    <a:lnTo>
                      <a:pt x="572" y="87"/>
                    </a:lnTo>
                    <a:lnTo>
                      <a:pt x="574" y="87"/>
                    </a:lnTo>
                    <a:lnTo>
                      <a:pt x="572" y="87"/>
                    </a:lnTo>
                    <a:lnTo>
                      <a:pt x="574" y="87"/>
                    </a:lnTo>
                    <a:lnTo>
                      <a:pt x="574" y="88"/>
                    </a:lnTo>
                    <a:lnTo>
                      <a:pt x="576" y="88"/>
                    </a:lnTo>
                    <a:lnTo>
                      <a:pt x="578" y="88"/>
                    </a:lnTo>
                    <a:lnTo>
                      <a:pt x="580" y="88"/>
                    </a:lnTo>
                    <a:lnTo>
                      <a:pt x="578" y="88"/>
                    </a:lnTo>
                    <a:lnTo>
                      <a:pt x="580" y="88"/>
                    </a:lnTo>
                    <a:lnTo>
                      <a:pt x="580" y="90"/>
                    </a:lnTo>
                    <a:lnTo>
                      <a:pt x="582" y="90"/>
                    </a:lnTo>
                    <a:lnTo>
                      <a:pt x="580" y="90"/>
                    </a:lnTo>
                    <a:lnTo>
                      <a:pt x="580" y="88"/>
                    </a:lnTo>
                    <a:lnTo>
                      <a:pt x="578" y="88"/>
                    </a:lnTo>
                    <a:lnTo>
                      <a:pt x="576" y="88"/>
                    </a:lnTo>
                    <a:lnTo>
                      <a:pt x="576" y="87"/>
                    </a:lnTo>
                    <a:lnTo>
                      <a:pt x="576" y="88"/>
                    </a:lnTo>
                    <a:lnTo>
                      <a:pt x="574" y="88"/>
                    </a:lnTo>
                    <a:lnTo>
                      <a:pt x="574" y="87"/>
                    </a:lnTo>
                    <a:lnTo>
                      <a:pt x="576" y="87"/>
                    </a:lnTo>
                    <a:lnTo>
                      <a:pt x="574" y="87"/>
                    </a:lnTo>
                    <a:lnTo>
                      <a:pt x="574" y="85"/>
                    </a:lnTo>
                    <a:lnTo>
                      <a:pt x="574" y="83"/>
                    </a:lnTo>
                    <a:lnTo>
                      <a:pt x="574" y="81"/>
                    </a:lnTo>
                    <a:lnTo>
                      <a:pt x="572" y="81"/>
                    </a:lnTo>
                    <a:lnTo>
                      <a:pt x="572" y="83"/>
                    </a:lnTo>
                    <a:lnTo>
                      <a:pt x="572" y="81"/>
                    </a:lnTo>
                    <a:lnTo>
                      <a:pt x="570" y="81"/>
                    </a:lnTo>
                    <a:lnTo>
                      <a:pt x="572" y="81"/>
                    </a:lnTo>
                    <a:lnTo>
                      <a:pt x="570" y="81"/>
                    </a:lnTo>
                    <a:lnTo>
                      <a:pt x="572" y="81"/>
                    </a:lnTo>
                    <a:lnTo>
                      <a:pt x="572" y="79"/>
                    </a:lnTo>
                    <a:lnTo>
                      <a:pt x="572" y="77"/>
                    </a:lnTo>
                    <a:lnTo>
                      <a:pt x="570" y="75"/>
                    </a:lnTo>
                    <a:lnTo>
                      <a:pt x="570" y="73"/>
                    </a:lnTo>
                    <a:lnTo>
                      <a:pt x="568" y="73"/>
                    </a:lnTo>
                    <a:lnTo>
                      <a:pt x="566" y="73"/>
                    </a:lnTo>
                    <a:lnTo>
                      <a:pt x="566" y="75"/>
                    </a:lnTo>
                    <a:lnTo>
                      <a:pt x="564" y="75"/>
                    </a:lnTo>
                    <a:lnTo>
                      <a:pt x="564" y="73"/>
                    </a:lnTo>
                    <a:lnTo>
                      <a:pt x="564" y="75"/>
                    </a:lnTo>
                    <a:lnTo>
                      <a:pt x="562" y="73"/>
                    </a:lnTo>
                    <a:lnTo>
                      <a:pt x="562" y="75"/>
                    </a:lnTo>
                    <a:lnTo>
                      <a:pt x="560" y="75"/>
                    </a:lnTo>
                    <a:lnTo>
                      <a:pt x="560" y="77"/>
                    </a:lnTo>
                    <a:lnTo>
                      <a:pt x="559" y="77"/>
                    </a:lnTo>
                    <a:lnTo>
                      <a:pt x="559" y="79"/>
                    </a:lnTo>
                    <a:lnTo>
                      <a:pt x="557" y="79"/>
                    </a:lnTo>
                    <a:lnTo>
                      <a:pt x="555" y="79"/>
                    </a:lnTo>
                    <a:lnTo>
                      <a:pt x="553" y="81"/>
                    </a:lnTo>
                    <a:lnTo>
                      <a:pt x="555" y="81"/>
                    </a:lnTo>
                    <a:lnTo>
                      <a:pt x="557" y="81"/>
                    </a:lnTo>
                    <a:lnTo>
                      <a:pt x="557" y="83"/>
                    </a:lnTo>
                    <a:lnTo>
                      <a:pt x="555" y="81"/>
                    </a:lnTo>
                    <a:lnTo>
                      <a:pt x="553" y="81"/>
                    </a:lnTo>
                    <a:lnTo>
                      <a:pt x="555" y="79"/>
                    </a:lnTo>
                    <a:lnTo>
                      <a:pt x="553" y="79"/>
                    </a:lnTo>
                    <a:lnTo>
                      <a:pt x="553" y="77"/>
                    </a:lnTo>
                    <a:lnTo>
                      <a:pt x="555" y="75"/>
                    </a:lnTo>
                    <a:lnTo>
                      <a:pt x="555" y="73"/>
                    </a:lnTo>
                    <a:lnTo>
                      <a:pt x="555" y="71"/>
                    </a:lnTo>
                    <a:lnTo>
                      <a:pt x="555" y="69"/>
                    </a:lnTo>
                    <a:lnTo>
                      <a:pt x="553" y="69"/>
                    </a:lnTo>
                    <a:lnTo>
                      <a:pt x="551" y="67"/>
                    </a:lnTo>
                    <a:lnTo>
                      <a:pt x="549" y="67"/>
                    </a:lnTo>
                    <a:lnTo>
                      <a:pt x="549" y="65"/>
                    </a:lnTo>
                    <a:lnTo>
                      <a:pt x="547" y="65"/>
                    </a:lnTo>
                    <a:lnTo>
                      <a:pt x="545" y="65"/>
                    </a:lnTo>
                    <a:lnTo>
                      <a:pt x="545" y="63"/>
                    </a:lnTo>
                    <a:lnTo>
                      <a:pt x="543" y="63"/>
                    </a:lnTo>
                    <a:lnTo>
                      <a:pt x="541" y="63"/>
                    </a:lnTo>
                    <a:lnTo>
                      <a:pt x="539" y="62"/>
                    </a:lnTo>
                    <a:lnTo>
                      <a:pt x="537" y="62"/>
                    </a:lnTo>
                    <a:lnTo>
                      <a:pt x="536" y="62"/>
                    </a:lnTo>
                    <a:lnTo>
                      <a:pt x="536" y="63"/>
                    </a:lnTo>
                    <a:lnTo>
                      <a:pt x="536" y="62"/>
                    </a:lnTo>
                    <a:lnTo>
                      <a:pt x="536" y="63"/>
                    </a:lnTo>
                    <a:lnTo>
                      <a:pt x="536" y="62"/>
                    </a:lnTo>
                    <a:lnTo>
                      <a:pt x="536" y="63"/>
                    </a:lnTo>
                    <a:lnTo>
                      <a:pt x="534" y="63"/>
                    </a:lnTo>
                    <a:lnTo>
                      <a:pt x="536" y="63"/>
                    </a:lnTo>
                    <a:lnTo>
                      <a:pt x="534" y="63"/>
                    </a:lnTo>
                    <a:lnTo>
                      <a:pt x="536" y="63"/>
                    </a:lnTo>
                    <a:lnTo>
                      <a:pt x="534" y="65"/>
                    </a:lnTo>
                    <a:lnTo>
                      <a:pt x="534" y="63"/>
                    </a:lnTo>
                    <a:lnTo>
                      <a:pt x="534" y="62"/>
                    </a:lnTo>
                    <a:lnTo>
                      <a:pt x="532" y="62"/>
                    </a:lnTo>
                    <a:lnTo>
                      <a:pt x="530" y="63"/>
                    </a:lnTo>
                    <a:lnTo>
                      <a:pt x="532" y="63"/>
                    </a:lnTo>
                    <a:lnTo>
                      <a:pt x="532" y="62"/>
                    </a:lnTo>
                    <a:lnTo>
                      <a:pt x="530" y="62"/>
                    </a:lnTo>
                    <a:lnTo>
                      <a:pt x="530" y="63"/>
                    </a:lnTo>
                    <a:lnTo>
                      <a:pt x="530" y="65"/>
                    </a:lnTo>
                    <a:lnTo>
                      <a:pt x="530" y="63"/>
                    </a:lnTo>
                    <a:lnTo>
                      <a:pt x="530" y="65"/>
                    </a:lnTo>
                    <a:lnTo>
                      <a:pt x="528" y="65"/>
                    </a:lnTo>
                    <a:lnTo>
                      <a:pt x="528" y="67"/>
                    </a:lnTo>
                    <a:lnTo>
                      <a:pt x="528" y="69"/>
                    </a:lnTo>
                    <a:lnTo>
                      <a:pt x="526" y="69"/>
                    </a:lnTo>
                    <a:lnTo>
                      <a:pt x="528" y="69"/>
                    </a:lnTo>
                    <a:lnTo>
                      <a:pt x="528" y="67"/>
                    </a:lnTo>
                    <a:lnTo>
                      <a:pt x="528" y="65"/>
                    </a:lnTo>
                    <a:lnTo>
                      <a:pt x="528" y="63"/>
                    </a:lnTo>
                    <a:lnTo>
                      <a:pt x="530" y="62"/>
                    </a:lnTo>
                    <a:lnTo>
                      <a:pt x="530" y="60"/>
                    </a:lnTo>
                    <a:lnTo>
                      <a:pt x="528" y="62"/>
                    </a:lnTo>
                    <a:lnTo>
                      <a:pt x="528" y="63"/>
                    </a:lnTo>
                    <a:lnTo>
                      <a:pt x="528" y="65"/>
                    </a:lnTo>
                    <a:lnTo>
                      <a:pt x="526" y="65"/>
                    </a:lnTo>
                    <a:lnTo>
                      <a:pt x="526" y="67"/>
                    </a:lnTo>
                    <a:lnTo>
                      <a:pt x="526" y="69"/>
                    </a:lnTo>
                    <a:lnTo>
                      <a:pt x="524" y="69"/>
                    </a:lnTo>
                    <a:lnTo>
                      <a:pt x="524" y="67"/>
                    </a:lnTo>
                    <a:lnTo>
                      <a:pt x="526" y="65"/>
                    </a:lnTo>
                    <a:lnTo>
                      <a:pt x="526" y="63"/>
                    </a:lnTo>
                    <a:lnTo>
                      <a:pt x="528" y="63"/>
                    </a:lnTo>
                    <a:lnTo>
                      <a:pt x="528" y="62"/>
                    </a:lnTo>
                    <a:lnTo>
                      <a:pt x="530" y="60"/>
                    </a:lnTo>
                    <a:lnTo>
                      <a:pt x="530" y="58"/>
                    </a:lnTo>
                    <a:lnTo>
                      <a:pt x="532" y="56"/>
                    </a:lnTo>
                    <a:lnTo>
                      <a:pt x="534" y="56"/>
                    </a:lnTo>
                    <a:lnTo>
                      <a:pt x="536" y="54"/>
                    </a:lnTo>
                    <a:lnTo>
                      <a:pt x="536" y="52"/>
                    </a:lnTo>
                    <a:lnTo>
                      <a:pt x="537" y="50"/>
                    </a:lnTo>
                    <a:lnTo>
                      <a:pt x="537" y="48"/>
                    </a:lnTo>
                    <a:lnTo>
                      <a:pt x="536" y="48"/>
                    </a:lnTo>
                    <a:lnTo>
                      <a:pt x="537" y="48"/>
                    </a:lnTo>
                    <a:lnTo>
                      <a:pt x="537" y="46"/>
                    </a:lnTo>
                    <a:lnTo>
                      <a:pt x="539" y="46"/>
                    </a:lnTo>
                    <a:lnTo>
                      <a:pt x="541" y="44"/>
                    </a:lnTo>
                    <a:lnTo>
                      <a:pt x="543" y="42"/>
                    </a:lnTo>
                    <a:lnTo>
                      <a:pt x="547" y="39"/>
                    </a:lnTo>
                    <a:lnTo>
                      <a:pt x="549" y="39"/>
                    </a:lnTo>
                    <a:lnTo>
                      <a:pt x="551" y="39"/>
                    </a:lnTo>
                    <a:lnTo>
                      <a:pt x="549" y="39"/>
                    </a:lnTo>
                    <a:lnTo>
                      <a:pt x="549" y="40"/>
                    </a:lnTo>
                    <a:lnTo>
                      <a:pt x="547" y="40"/>
                    </a:lnTo>
                    <a:lnTo>
                      <a:pt x="549" y="40"/>
                    </a:lnTo>
                    <a:lnTo>
                      <a:pt x="547" y="40"/>
                    </a:lnTo>
                    <a:lnTo>
                      <a:pt x="547" y="42"/>
                    </a:lnTo>
                    <a:lnTo>
                      <a:pt x="545" y="42"/>
                    </a:lnTo>
                    <a:lnTo>
                      <a:pt x="547" y="40"/>
                    </a:lnTo>
                    <a:lnTo>
                      <a:pt x="545" y="42"/>
                    </a:lnTo>
                    <a:lnTo>
                      <a:pt x="545" y="40"/>
                    </a:lnTo>
                    <a:lnTo>
                      <a:pt x="545" y="42"/>
                    </a:lnTo>
                    <a:lnTo>
                      <a:pt x="543" y="42"/>
                    </a:lnTo>
                    <a:lnTo>
                      <a:pt x="545" y="42"/>
                    </a:lnTo>
                    <a:lnTo>
                      <a:pt x="547" y="42"/>
                    </a:lnTo>
                    <a:lnTo>
                      <a:pt x="549" y="42"/>
                    </a:lnTo>
                    <a:lnTo>
                      <a:pt x="551" y="42"/>
                    </a:lnTo>
                    <a:lnTo>
                      <a:pt x="549" y="42"/>
                    </a:lnTo>
                    <a:lnTo>
                      <a:pt x="551" y="42"/>
                    </a:lnTo>
                    <a:lnTo>
                      <a:pt x="549" y="42"/>
                    </a:lnTo>
                    <a:lnTo>
                      <a:pt x="551" y="42"/>
                    </a:lnTo>
                    <a:lnTo>
                      <a:pt x="549" y="42"/>
                    </a:lnTo>
                    <a:lnTo>
                      <a:pt x="551" y="42"/>
                    </a:lnTo>
                    <a:lnTo>
                      <a:pt x="549" y="42"/>
                    </a:lnTo>
                    <a:lnTo>
                      <a:pt x="549" y="44"/>
                    </a:lnTo>
                    <a:lnTo>
                      <a:pt x="547" y="44"/>
                    </a:lnTo>
                    <a:lnTo>
                      <a:pt x="549" y="46"/>
                    </a:lnTo>
                    <a:lnTo>
                      <a:pt x="549" y="48"/>
                    </a:lnTo>
                    <a:lnTo>
                      <a:pt x="551" y="48"/>
                    </a:lnTo>
                    <a:lnTo>
                      <a:pt x="553" y="48"/>
                    </a:lnTo>
                    <a:lnTo>
                      <a:pt x="553" y="50"/>
                    </a:lnTo>
                    <a:lnTo>
                      <a:pt x="555" y="50"/>
                    </a:lnTo>
                    <a:lnTo>
                      <a:pt x="557" y="50"/>
                    </a:lnTo>
                    <a:lnTo>
                      <a:pt x="555" y="50"/>
                    </a:lnTo>
                    <a:lnTo>
                      <a:pt x="555" y="52"/>
                    </a:lnTo>
                    <a:lnTo>
                      <a:pt x="555" y="50"/>
                    </a:lnTo>
                    <a:lnTo>
                      <a:pt x="557" y="50"/>
                    </a:lnTo>
                    <a:lnTo>
                      <a:pt x="557" y="52"/>
                    </a:lnTo>
                    <a:lnTo>
                      <a:pt x="555" y="52"/>
                    </a:lnTo>
                    <a:lnTo>
                      <a:pt x="557" y="52"/>
                    </a:lnTo>
                    <a:lnTo>
                      <a:pt x="557" y="50"/>
                    </a:lnTo>
                    <a:lnTo>
                      <a:pt x="559" y="50"/>
                    </a:lnTo>
                    <a:lnTo>
                      <a:pt x="557" y="50"/>
                    </a:lnTo>
                    <a:lnTo>
                      <a:pt x="557" y="48"/>
                    </a:lnTo>
                    <a:lnTo>
                      <a:pt x="559" y="48"/>
                    </a:lnTo>
                    <a:lnTo>
                      <a:pt x="559" y="46"/>
                    </a:lnTo>
                    <a:lnTo>
                      <a:pt x="557" y="46"/>
                    </a:lnTo>
                    <a:lnTo>
                      <a:pt x="555" y="46"/>
                    </a:lnTo>
                    <a:lnTo>
                      <a:pt x="555" y="44"/>
                    </a:lnTo>
                    <a:lnTo>
                      <a:pt x="553" y="46"/>
                    </a:lnTo>
                    <a:lnTo>
                      <a:pt x="553" y="44"/>
                    </a:lnTo>
                    <a:lnTo>
                      <a:pt x="551" y="44"/>
                    </a:lnTo>
                    <a:lnTo>
                      <a:pt x="551" y="42"/>
                    </a:lnTo>
                    <a:lnTo>
                      <a:pt x="551" y="40"/>
                    </a:lnTo>
                    <a:lnTo>
                      <a:pt x="553" y="40"/>
                    </a:lnTo>
                    <a:lnTo>
                      <a:pt x="553" y="42"/>
                    </a:lnTo>
                    <a:lnTo>
                      <a:pt x="555" y="42"/>
                    </a:lnTo>
                    <a:lnTo>
                      <a:pt x="557" y="42"/>
                    </a:lnTo>
                    <a:lnTo>
                      <a:pt x="557" y="40"/>
                    </a:lnTo>
                    <a:lnTo>
                      <a:pt x="559" y="39"/>
                    </a:lnTo>
                    <a:lnTo>
                      <a:pt x="560" y="39"/>
                    </a:lnTo>
                    <a:lnTo>
                      <a:pt x="560" y="37"/>
                    </a:lnTo>
                    <a:lnTo>
                      <a:pt x="562" y="37"/>
                    </a:lnTo>
                    <a:lnTo>
                      <a:pt x="562" y="35"/>
                    </a:lnTo>
                    <a:lnTo>
                      <a:pt x="562" y="33"/>
                    </a:lnTo>
                    <a:lnTo>
                      <a:pt x="560" y="33"/>
                    </a:lnTo>
                    <a:lnTo>
                      <a:pt x="562" y="33"/>
                    </a:lnTo>
                    <a:lnTo>
                      <a:pt x="564" y="33"/>
                    </a:lnTo>
                    <a:lnTo>
                      <a:pt x="564" y="31"/>
                    </a:lnTo>
                    <a:lnTo>
                      <a:pt x="564" y="29"/>
                    </a:lnTo>
                    <a:lnTo>
                      <a:pt x="564" y="27"/>
                    </a:lnTo>
                    <a:lnTo>
                      <a:pt x="564" y="29"/>
                    </a:lnTo>
                    <a:lnTo>
                      <a:pt x="562" y="29"/>
                    </a:lnTo>
                    <a:lnTo>
                      <a:pt x="560" y="29"/>
                    </a:lnTo>
                    <a:lnTo>
                      <a:pt x="559" y="29"/>
                    </a:lnTo>
                    <a:lnTo>
                      <a:pt x="559" y="31"/>
                    </a:lnTo>
                    <a:lnTo>
                      <a:pt x="557" y="33"/>
                    </a:lnTo>
                    <a:lnTo>
                      <a:pt x="555" y="33"/>
                    </a:lnTo>
                    <a:lnTo>
                      <a:pt x="555" y="35"/>
                    </a:lnTo>
                    <a:lnTo>
                      <a:pt x="557" y="33"/>
                    </a:lnTo>
                    <a:lnTo>
                      <a:pt x="555" y="35"/>
                    </a:lnTo>
                    <a:lnTo>
                      <a:pt x="553" y="37"/>
                    </a:lnTo>
                    <a:lnTo>
                      <a:pt x="551" y="37"/>
                    </a:lnTo>
                    <a:lnTo>
                      <a:pt x="551" y="39"/>
                    </a:lnTo>
                    <a:lnTo>
                      <a:pt x="549" y="39"/>
                    </a:lnTo>
                    <a:lnTo>
                      <a:pt x="551" y="37"/>
                    </a:lnTo>
                    <a:lnTo>
                      <a:pt x="553" y="35"/>
                    </a:lnTo>
                    <a:lnTo>
                      <a:pt x="553" y="33"/>
                    </a:lnTo>
                    <a:lnTo>
                      <a:pt x="555" y="33"/>
                    </a:lnTo>
                    <a:lnTo>
                      <a:pt x="555" y="31"/>
                    </a:lnTo>
                    <a:lnTo>
                      <a:pt x="557" y="31"/>
                    </a:lnTo>
                    <a:lnTo>
                      <a:pt x="557" y="29"/>
                    </a:lnTo>
                    <a:lnTo>
                      <a:pt x="560" y="27"/>
                    </a:lnTo>
                    <a:lnTo>
                      <a:pt x="562" y="27"/>
                    </a:lnTo>
                    <a:lnTo>
                      <a:pt x="566" y="23"/>
                    </a:lnTo>
                    <a:lnTo>
                      <a:pt x="564" y="23"/>
                    </a:lnTo>
                    <a:lnTo>
                      <a:pt x="564" y="25"/>
                    </a:lnTo>
                    <a:lnTo>
                      <a:pt x="562" y="25"/>
                    </a:lnTo>
                    <a:lnTo>
                      <a:pt x="562" y="27"/>
                    </a:lnTo>
                    <a:lnTo>
                      <a:pt x="560" y="27"/>
                    </a:lnTo>
                    <a:lnTo>
                      <a:pt x="562" y="27"/>
                    </a:lnTo>
                    <a:lnTo>
                      <a:pt x="562" y="25"/>
                    </a:lnTo>
                    <a:lnTo>
                      <a:pt x="564" y="25"/>
                    </a:lnTo>
                    <a:lnTo>
                      <a:pt x="566" y="23"/>
                    </a:lnTo>
                    <a:lnTo>
                      <a:pt x="568" y="21"/>
                    </a:lnTo>
                    <a:lnTo>
                      <a:pt x="566" y="21"/>
                    </a:lnTo>
                    <a:lnTo>
                      <a:pt x="566" y="23"/>
                    </a:lnTo>
                    <a:lnTo>
                      <a:pt x="566" y="21"/>
                    </a:lnTo>
                    <a:lnTo>
                      <a:pt x="566" y="23"/>
                    </a:lnTo>
                    <a:lnTo>
                      <a:pt x="568" y="21"/>
                    </a:lnTo>
                    <a:lnTo>
                      <a:pt x="570" y="19"/>
                    </a:lnTo>
                    <a:lnTo>
                      <a:pt x="568" y="19"/>
                    </a:lnTo>
                    <a:lnTo>
                      <a:pt x="570" y="19"/>
                    </a:lnTo>
                    <a:lnTo>
                      <a:pt x="570" y="17"/>
                    </a:lnTo>
                    <a:lnTo>
                      <a:pt x="568" y="17"/>
                    </a:lnTo>
                    <a:lnTo>
                      <a:pt x="570" y="17"/>
                    </a:lnTo>
                    <a:lnTo>
                      <a:pt x="572" y="15"/>
                    </a:lnTo>
                    <a:lnTo>
                      <a:pt x="572" y="14"/>
                    </a:lnTo>
                    <a:lnTo>
                      <a:pt x="574" y="14"/>
                    </a:lnTo>
                    <a:lnTo>
                      <a:pt x="576" y="14"/>
                    </a:lnTo>
                    <a:lnTo>
                      <a:pt x="576" y="15"/>
                    </a:lnTo>
                    <a:lnTo>
                      <a:pt x="578" y="15"/>
                    </a:lnTo>
                    <a:lnTo>
                      <a:pt x="578" y="17"/>
                    </a:lnTo>
                    <a:lnTo>
                      <a:pt x="580" y="17"/>
                    </a:lnTo>
                    <a:lnTo>
                      <a:pt x="580" y="15"/>
                    </a:lnTo>
                    <a:lnTo>
                      <a:pt x="582" y="15"/>
                    </a:lnTo>
                    <a:lnTo>
                      <a:pt x="584" y="15"/>
                    </a:lnTo>
                    <a:lnTo>
                      <a:pt x="585" y="15"/>
                    </a:lnTo>
                    <a:lnTo>
                      <a:pt x="587" y="14"/>
                    </a:lnTo>
                    <a:lnTo>
                      <a:pt x="589" y="14"/>
                    </a:lnTo>
                    <a:lnTo>
                      <a:pt x="589" y="15"/>
                    </a:lnTo>
                    <a:lnTo>
                      <a:pt x="591" y="15"/>
                    </a:lnTo>
                    <a:lnTo>
                      <a:pt x="593" y="15"/>
                    </a:lnTo>
                    <a:lnTo>
                      <a:pt x="595" y="15"/>
                    </a:lnTo>
                    <a:lnTo>
                      <a:pt x="597" y="15"/>
                    </a:lnTo>
                    <a:lnTo>
                      <a:pt x="599" y="15"/>
                    </a:lnTo>
                    <a:lnTo>
                      <a:pt x="601" y="15"/>
                    </a:lnTo>
                    <a:lnTo>
                      <a:pt x="603" y="14"/>
                    </a:lnTo>
                    <a:lnTo>
                      <a:pt x="603" y="15"/>
                    </a:lnTo>
                    <a:lnTo>
                      <a:pt x="603" y="17"/>
                    </a:lnTo>
                    <a:lnTo>
                      <a:pt x="603" y="19"/>
                    </a:lnTo>
                    <a:lnTo>
                      <a:pt x="605" y="19"/>
                    </a:lnTo>
                    <a:lnTo>
                      <a:pt x="603" y="19"/>
                    </a:lnTo>
                    <a:lnTo>
                      <a:pt x="605" y="19"/>
                    </a:lnTo>
                    <a:lnTo>
                      <a:pt x="605" y="21"/>
                    </a:lnTo>
                    <a:lnTo>
                      <a:pt x="603" y="19"/>
                    </a:lnTo>
                    <a:lnTo>
                      <a:pt x="603" y="21"/>
                    </a:lnTo>
                    <a:lnTo>
                      <a:pt x="603" y="19"/>
                    </a:lnTo>
                    <a:lnTo>
                      <a:pt x="603" y="21"/>
                    </a:lnTo>
                    <a:lnTo>
                      <a:pt x="601" y="21"/>
                    </a:lnTo>
                    <a:lnTo>
                      <a:pt x="601" y="23"/>
                    </a:lnTo>
                    <a:lnTo>
                      <a:pt x="601" y="25"/>
                    </a:lnTo>
                    <a:lnTo>
                      <a:pt x="603" y="25"/>
                    </a:lnTo>
                    <a:lnTo>
                      <a:pt x="603" y="27"/>
                    </a:lnTo>
                    <a:lnTo>
                      <a:pt x="603" y="29"/>
                    </a:lnTo>
                    <a:lnTo>
                      <a:pt x="605" y="29"/>
                    </a:lnTo>
                    <a:lnTo>
                      <a:pt x="605" y="31"/>
                    </a:lnTo>
                    <a:lnTo>
                      <a:pt x="605" y="29"/>
                    </a:lnTo>
                    <a:lnTo>
                      <a:pt x="603" y="29"/>
                    </a:lnTo>
                    <a:lnTo>
                      <a:pt x="605" y="29"/>
                    </a:lnTo>
                    <a:lnTo>
                      <a:pt x="603" y="29"/>
                    </a:lnTo>
                    <a:lnTo>
                      <a:pt x="603" y="27"/>
                    </a:lnTo>
                    <a:lnTo>
                      <a:pt x="603" y="25"/>
                    </a:lnTo>
                    <a:lnTo>
                      <a:pt x="601" y="25"/>
                    </a:lnTo>
                    <a:lnTo>
                      <a:pt x="601" y="23"/>
                    </a:lnTo>
                    <a:lnTo>
                      <a:pt x="601" y="21"/>
                    </a:lnTo>
                    <a:lnTo>
                      <a:pt x="603" y="21"/>
                    </a:lnTo>
                    <a:lnTo>
                      <a:pt x="601" y="21"/>
                    </a:lnTo>
                    <a:lnTo>
                      <a:pt x="603" y="21"/>
                    </a:lnTo>
                    <a:lnTo>
                      <a:pt x="603" y="19"/>
                    </a:lnTo>
                    <a:lnTo>
                      <a:pt x="603" y="21"/>
                    </a:lnTo>
                    <a:lnTo>
                      <a:pt x="605" y="21"/>
                    </a:lnTo>
                    <a:lnTo>
                      <a:pt x="605" y="19"/>
                    </a:lnTo>
                    <a:lnTo>
                      <a:pt x="603" y="19"/>
                    </a:lnTo>
                    <a:lnTo>
                      <a:pt x="603" y="17"/>
                    </a:lnTo>
                    <a:lnTo>
                      <a:pt x="603" y="15"/>
                    </a:lnTo>
                    <a:lnTo>
                      <a:pt x="603" y="14"/>
                    </a:lnTo>
                    <a:lnTo>
                      <a:pt x="605" y="14"/>
                    </a:lnTo>
                    <a:lnTo>
                      <a:pt x="607" y="14"/>
                    </a:lnTo>
                    <a:lnTo>
                      <a:pt x="607" y="12"/>
                    </a:lnTo>
                    <a:lnTo>
                      <a:pt x="609" y="12"/>
                    </a:lnTo>
                    <a:lnTo>
                      <a:pt x="610" y="12"/>
                    </a:lnTo>
                    <a:lnTo>
                      <a:pt x="612" y="12"/>
                    </a:lnTo>
                    <a:lnTo>
                      <a:pt x="614" y="12"/>
                    </a:lnTo>
                    <a:lnTo>
                      <a:pt x="616" y="12"/>
                    </a:lnTo>
                    <a:lnTo>
                      <a:pt x="618" y="12"/>
                    </a:lnTo>
                    <a:lnTo>
                      <a:pt x="620" y="12"/>
                    </a:lnTo>
                    <a:lnTo>
                      <a:pt x="622" y="10"/>
                    </a:lnTo>
                    <a:lnTo>
                      <a:pt x="622" y="12"/>
                    </a:lnTo>
                    <a:lnTo>
                      <a:pt x="622" y="10"/>
                    </a:lnTo>
                    <a:lnTo>
                      <a:pt x="624" y="10"/>
                    </a:lnTo>
                    <a:lnTo>
                      <a:pt x="626" y="8"/>
                    </a:lnTo>
                    <a:lnTo>
                      <a:pt x="624" y="10"/>
                    </a:lnTo>
                    <a:lnTo>
                      <a:pt x="626" y="10"/>
                    </a:lnTo>
                    <a:lnTo>
                      <a:pt x="626" y="8"/>
                    </a:lnTo>
                    <a:lnTo>
                      <a:pt x="626" y="10"/>
                    </a:lnTo>
                    <a:lnTo>
                      <a:pt x="624" y="10"/>
                    </a:lnTo>
                    <a:lnTo>
                      <a:pt x="626" y="10"/>
                    </a:lnTo>
                    <a:lnTo>
                      <a:pt x="626" y="12"/>
                    </a:lnTo>
                    <a:lnTo>
                      <a:pt x="624" y="12"/>
                    </a:lnTo>
                    <a:lnTo>
                      <a:pt x="626" y="12"/>
                    </a:lnTo>
                    <a:lnTo>
                      <a:pt x="624" y="12"/>
                    </a:lnTo>
                    <a:lnTo>
                      <a:pt x="624" y="14"/>
                    </a:lnTo>
                    <a:lnTo>
                      <a:pt x="626" y="14"/>
                    </a:lnTo>
                    <a:lnTo>
                      <a:pt x="628" y="14"/>
                    </a:lnTo>
                    <a:lnTo>
                      <a:pt x="626" y="15"/>
                    </a:lnTo>
                    <a:lnTo>
                      <a:pt x="628" y="15"/>
                    </a:lnTo>
                    <a:lnTo>
                      <a:pt x="628" y="14"/>
                    </a:lnTo>
                    <a:lnTo>
                      <a:pt x="628" y="15"/>
                    </a:lnTo>
                    <a:lnTo>
                      <a:pt x="626" y="15"/>
                    </a:lnTo>
                    <a:lnTo>
                      <a:pt x="624" y="17"/>
                    </a:lnTo>
                    <a:lnTo>
                      <a:pt x="624" y="15"/>
                    </a:lnTo>
                    <a:lnTo>
                      <a:pt x="626" y="15"/>
                    </a:lnTo>
                    <a:lnTo>
                      <a:pt x="624" y="17"/>
                    </a:lnTo>
                    <a:lnTo>
                      <a:pt x="624" y="19"/>
                    </a:lnTo>
                    <a:lnTo>
                      <a:pt x="622" y="19"/>
                    </a:lnTo>
                    <a:lnTo>
                      <a:pt x="620" y="19"/>
                    </a:lnTo>
                    <a:lnTo>
                      <a:pt x="622" y="19"/>
                    </a:lnTo>
                    <a:lnTo>
                      <a:pt x="624" y="19"/>
                    </a:lnTo>
                    <a:lnTo>
                      <a:pt x="624" y="17"/>
                    </a:lnTo>
                    <a:lnTo>
                      <a:pt x="626" y="17"/>
                    </a:lnTo>
                    <a:lnTo>
                      <a:pt x="626" y="15"/>
                    </a:lnTo>
                    <a:lnTo>
                      <a:pt x="626" y="17"/>
                    </a:lnTo>
                    <a:lnTo>
                      <a:pt x="626" y="15"/>
                    </a:lnTo>
                    <a:lnTo>
                      <a:pt x="626" y="17"/>
                    </a:lnTo>
                    <a:lnTo>
                      <a:pt x="626" y="15"/>
                    </a:lnTo>
                    <a:lnTo>
                      <a:pt x="626" y="17"/>
                    </a:lnTo>
                    <a:lnTo>
                      <a:pt x="628" y="17"/>
                    </a:lnTo>
                    <a:lnTo>
                      <a:pt x="626" y="17"/>
                    </a:lnTo>
                    <a:lnTo>
                      <a:pt x="628" y="17"/>
                    </a:lnTo>
                    <a:lnTo>
                      <a:pt x="628" y="15"/>
                    </a:lnTo>
                    <a:lnTo>
                      <a:pt x="628" y="14"/>
                    </a:lnTo>
                    <a:lnTo>
                      <a:pt x="628" y="12"/>
                    </a:lnTo>
                    <a:lnTo>
                      <a:pt x="626" y="12"/>
                    </a:lnTo>
                    <a:lnTo>
                      <a:pt x="628" y="10"/>
                    </a:lnTo>
                    <a:lnTo>
                      <a:pt x="626" y="10"/>
                    </a:lnTo>
                    <a:lnTo>
                      <a:pt x="626" y="8"/>
                    </a:lnTo>
                    <a:lnTo>
                      <a:pt x="628" y="8"/>
                    </a:lnTo>
                    <a:lnTo>
                      <a:pt x="628" y="10"/>
                    </a:lnTo>
                    <a:lnTo>
                      <a:pt x="628" y="8"/>
                    </a:lnTo>
                    <a:lnTo>
                      <a:pt x="628" y="6"/>
                    </a:lnTo>
                    <a:lnTo>
                      <a:pt x="630" y="6"/>
                    </a:lnTo>
                    <a:lnTo>
                      <a:pt x="632" y="6"/>
                    </a:lnTo>
                    <a:lnTo>
                      <a:pt x="633" y="6"/>
                    </a:lnTo>
                    <a:lnTo>
                      <a:pt x="635" y="6"/>
                    </a:lnTo>
                    <a:lnTo>
                      <a:pt x="635" y="8"/>
                    </a:lnTo>
                    <a:lnTo>
                      <a:pt x="635" y="10"/>
                    </a:lnTo>
                    <a:lnTo>
                      <a:pt x="633" y="10"/>
                    </a:lnTo>
                    <a:lnTo>
                      <a:pt x="635" y="10"/>
                    </a:lnTo>
                    <a:lnTo>
                      <a:pt x="633" y="10"/>
                    </a:lnTo>
                    <a:lnTo>
                      <a:pt x="633" y="12"/>
                    </a:lnTo>
                    <a:lnTo>
                      <a:pt x="632" y="12"/>
                    </a:lnTo>
                    <a:lnTo>
                      <a:pt x="633" y="12"/>
                    </a:lnTo>
                    <a:lnTo>
                      <a:pt x="635" y="12"/>
                    </a:lnTo>
                    <a:lnTo>
                      <a:pt x="635" y="10"/>
                    </a:lnTo>
                    <a:lnTo>
                      <a:pt x="637" y="10"/>
                    </a:lnTo>
                    <a:lnTo>
                      <a:pt x="637" y="8"/>
                    </a:lnTo>
                    <a:lnTo>
                      <a:pt x="637" y="10"/>
                    </a:lnTo>
                    <a:lnTo>
                      <a:pt x="637" y="8"/>
                    </a:lnTo>
                    <a:lnTo>
                      <a:pt x="637" y="6"/>
                    </a:lnTo>
                    <a:lnTo>
                      <a:pt x="639" y="6"/>
                    </a:lnTo>
                    <a:lnTo>
                      <a:pt x="639" y="4"/>
                    </a:lnTo>
                    <a:lnTo>
                      <a:pt x="641" y="4"/>
                    </a:lnTo>
                    <a:lnTo>
                      <a:pt x="643" y="4"/>
                    </a:lnTo>
                    <a:lnTo>
                      <a:pt x="641" y="4"/>
                    </a:lnTo>
                    <a:lnTo>
                      <a:pt x="643" y="4"/>
                    </a:lnTo>
                    <a:lnTo>
                      <a:pt x="641" y="2"/>
                    </a:lnTo>
                    <a:lnTo>
                      <a:pt x="643" y="2"/>
                    </a:lnTo>
                    <a:lnTo>
                      <a:pt x="643" y="0"/>
                    </a:lnTo>
                    <a:lnTo>
                      <a:pt x="645" y="0"/>
                    </a:lnTo>
                    <a:lnTo>
                      <a:pt x="647" y="0"/>
                    </a:lnTo>
                    <a:lnTo>
                      <a:pt x="649" y="0"/>
                    </a:lnTo>
                    <a:lnTo>
                      <a:pt x="649" y="2"/>
                    </a:lnTo>
                    <a:lnTo>
                      <a:pt x="649" y="4"/>
                    </a:lnTo>
                    <a:lnTo>
                      <a:pt x="651" y="4"/>
                    </a:lnTo>
                    <a:lnTo>
                      <a:pt x="649" y="4"/>
                    </a:lnTo>
                    <a:lnTo>
                      <a:pt x="651" y="4"/>
                    </a:lnTo>
                    <a:lnTo>
                      <a:pt x="651" y="6"/>
                    </a:lnTo>
                    <a:lnTo>
                      <a:pt x="649" y="8"/>
                    </a:lnTo>
                    <a:lnTo>
                      <a:pt x="647" y="8"/>
                    </a:lnTo>
                    <a:lnTo>
                      <a:pt x="645" y="8"/>
                    </a:lnTo>
                    <a:lnTo>
                      <a:pt x="645" y="10"/>
                    </a:lnTo>
                    <a:lnTo>
                      <a:pt x="645" y="12"/>
                    </a:lnTo>
                    <a:lnTo>
                      <a:pt x="645" y="14"/>
                    </a:lnTo>
                    <a:lnTo>
                      <a:pt x="645" y="15"/>
                    </a:lnTo>
                    <a:lnTo>
                      <a:pt x="643" y="15"/>
                    </a:lnTo>
                    <a:lnTo>
                      <a:pt x="645" y="15"/>
                    </a:lnTo>
                    <a:lnTo>
                      <a:pt x="645" y="17"/>
                    </a:lnTo>
                    <a:lnTo>
                      <a:pt x="645" y="19"/>
                    </a:lnTo>
                    <a:lnTo>
                      <a:pt x="645" y="21"/>
                    </a:lnTo>
                    <a:lnTo>
                      <a:pt x="645" y="23"/>
                    </a:lnTo>
                    <a:lnTo>
                      <a:pt x="645" y="25"/>
                    </a:lnTo>
                    <a:lnTo>
                      <a:pt x="645" y="27"/>
                    </a:lnTo>
                    <a:lnTo>
                      <a:pt x="647" y="27"/>
                    </a:lnTo>
                    <a:lnTo>
                      <a:pt x="647" y="29"/>
                    </a:lnTo>
                    <a:lnTo>
                      <a:pt x="647" y="31"/>
                    </a:lnTo>
                    <a:lnTo>
                      <a:pt x="647" y="29"/>
                    </a:lnTo>
                    <a:lnTo>
                      <a:pt x="647" y="27"/>
                    </a:lnTo>
                    <a:lnTo>
                      <a:pt x="649" y="27"/>
                    </a:lnTo>
                    <a:lnTo>
                      <a:pt x="649" y="29"/>
                    </a:lnTo>
                    <a:lnTo>
                      <a:pt x="651" y="29"/>
                    </a:lnTo>
                    <a:lnTo>
                      <a:pt x="651" y="31"/>
                    </a:lnTo>
                    <a:lnTo>
                      <a:pt x="653" y="31"/>
                    </a:lnTo>
                    <a:lnTo>
                      <a:pt x="653" y="33"/>
                    </a:lnTo>
                    <a:lnTo>
                      <a:pt x="655" y="33"/>
                    </a:lnTo>
                    <a:lnTo>
                      <a:pt x="655" y="35"/>
                    </a:lnTo>
                    <a:lnTo>
                      <a:pt x="657" y="35"/>
                    </a:lnTo>
                    <a:lnTo>
                      <a:pt x="657" y="33"/>
                    </a:lnTo>
                    <a:lnTo>
                      <a:pt x="657" y="35"/>
                    </a:lnTo>
                    <a:lnTo>
                      <a:pt x="658" y="37"/>
                    </a:lnTo>
                    <a:lnTo>
                      <a:pt x="658" y="39"/>
                    </a:lnTo>
                    <a:lnTo>
                      <a:pt x="658" y="40"/>
                    </a:lnTo>
                    <a:lnTo>
                      <a:pt x="657" y="40"/>
                    </a:lnTo>
                    <a:lnTo>
                      <a:pt x="658" y="40"/>
                    </a:lnTo>
                    <a:lnTo>
                      <a:pt x="657" y="40"/>
                    </a:lnTo>
                    <a:lnTo>
                      <a:pt x="657" y="42"/>
                    </a:lnTo>
                    <a:lnTo>
                      <a:pt x="655" y="42"/>
                    </a:lnTo>
                    <a:lnTo>
                      <a:pt x="653" y="42"/>
                    </a:lnTo>
                    <a:lnTo>
                      <a:pt x="651" y="42"/>
                    </a:lnTo>
                    <a:lnTo>
                      <a:pt x="651" y="44"/>
                    </a:lnTo>
                    <a:lnTo>
                      <a:pt x="649" y="44"/>
                    </a:lnTo>
                    <a:lnTo>
                      <a:pt x="647" y="46"/>
                    </a:lnTo>
                    <a:lnTo>
                      <a:pt x="645" y="46"/>
                    </a:lnTo>
                    <a:lnTo>
                      <a:pt x="645" y="48"/>
                    </a:lnTo>
                    <a:lnTo>
                      <a:pt x="645" y="46"/>
                    </a:lnTo>
                    <a:lnTo>
                      <a:pt x="643" y="46"/>
                    </a:lnTo>
                    <a:lnTo>
                      <a:pt x="641" y="46"/>
                    </a:lnTo>
                    <a:lnTo>
                      <a:pt x="639" y="46"/>
                    </a:lnTo>
                    <a:lnTo>
                      <a:pt x="637" y="46"/>
                    </a:lnTo>
                    <a:lnTo>
                      <a:pt x="637" y="48"/>
                    </a:lnTo>
                    <a:lnTo>
                      <a:pt x="635" y="48"/>
                    </a:lnTo>
                    <a:lnTo>
                      <a:pt x="633" y="48"/>
                    </a:lnTo>
                    <a:lnTo>
                      <a:pt x="633" y="50"/>
                    </a:lnTo>
                    <a:lnTo>
                      <a:pt x="633" y="48"/>
                    </a:lnTo>
                    <a:lnTo>
                      <a:pt x="633" y="50"/>
                    </a:lnTo>
                    <a:lnTo>
                      <a:pt x="633" y="48"/>
                    </a:lnTo>
                    <a:lnTo>
                      <a:pt x="633" y="50"/>
                    </a:lnTo>
                    <a:lnTo>
                      <a:pt x="633" y="48"/>
                    </a:lnTo>
                    <a:lnTo>
                      <a:pt x="635" y="48"/>
                    </a:lnTo>
                    <a:lnTo>
                      <a:pt x="635" y="50"/>
                    </a:lnTo>
                    <a:lnTo>
                      <a:pt x="637" y="50"/>
                    </a:lnTo>
                    <a:lnTo>
                      <a:pt x="639" y="50"/>
                    </a:lnTo>
                    <a:lnTo>
                      <a:pt x="641" y="50"/>
                    </a:lnTo>
                    <a:lnTo>
                      <a:pt x="641" y="48"/>
                    </a:lnTo>
                    <a:lnTo>
                      <a:pt x="643" y="48"/>
                    </a:lnTo>
                    <a:lnTo>
                      <a:pt x="641" y="50"/>
                    </a:lnTo>
                    <a:lnTo>
                      <a:pt x="643" y="50"/>
                    </a:lnTo>
                    <a:lnTo>
                      <a:pt x="645" y="50"/>
                    </a:lnTo>
                    <a:lnTo>
                      <a:pt x="647" y="50"/>
                    </a:lnTo>
                    <a:lnTo>
                      <a:pt x="647" y="48"/>
                    </a:lnTo>
                    <a:lnTo>
                      <a:pt x="649" y="48"/>
                    </a:lnTo>
                    <a:lnTo>
                      <a:pt x="651" y="48"/>
                    </a:lnTo>
                    <a:lnTo>
                      <a:pt x="653" y="48"/>
                    </a:lnTo>
                    <a:lnTo>
                      <a:pt x="655" y="48"/>
                    </a:lnTo>
                    <a:lnTo>
                      <a:pt x="657" y="50"/>
                    </a:lnTo>
                    <a:lnTo>
                      <a:pt x="658" y="50"/>
                    </a:lnTo>
                    <a:lnTo>
                      <a:pt x="658" y="52"/>
                    </a:lnTo>
                    <a:lnTo>
                      <a:pt x="658" y="54"/>
                    </a:lnTo>
                    <a:lnTo>
                      <a:pt x="657" y="54"/>
                    </a:lnTo>
                    <a:lnTo>
                      <a:pt x="657" y="56"/>
                    </a:lnTo>
                    <a:lnTo>
                      <a:pt x="657" y="54"/>
                    </a:lnTo>
                    <a:lnTo>
                      <a:pt x="655" y="56"/>
                    </a:lnTo>
                    <a:lnTo>
                      <a:pt x="655" y="54"/>
                    </a:lnTo>
                    <a:lnTo>
                      <a:pt x="655" y="56"/>
                    </a:lnTo>
                    <a:lnTo>
                      <a:pt x="653" y="56"/>
                    </a:lnTo>
                    <a:lnTo>
                      <a:pt x="653" y="54"/>
                    </a:lnTo>
                    <a:lnTo>
                      <a:pt x="653" y="56"/>
                    </a:lnTo>
                    <a:lnTo>
                      <a:pt x="651" y="56"/>
                    </a:lnTo>
                    <a:lnTo>
                      <a:pt x="651" y="58"/>
                    </a:lnTo>
                    <a:lnTo>
                      <a:pt x="651" y="60"/>
                    </a:lnTo>
                    <a:lnTo>
                      <a:pt x="649" y="60"/>
                    </a:lnTo>
                    <a:lnTo>
                      <a:pt x="649" y="62"/>
                    </a:lnTo>
                    <a:lnTo>
                      <a:pt x="649" y="63"/>
                    </a:lnTo>
                    <a:lnTo>
                      <a:pt x="647" y="63"/>
                    </a:lnTo>
                    <a:lnTo>
                      <a:pt x="647" y="65"/>
                    </a:lnTo>
                    <a:lnTo>
                      <a:pt x="647" y="67"/>
                    </a:lnTo>
                    <a:lnTo>
                      <a:pt x="645" y="71"/>
                    </a:lnTo>
                    <a:lnTo>
                      <a:pt x="645" y="73"/>
                    </a:lnTo>
                    <a:lnTo>
                      <a:pt x="643" y="73"/>
                    </a:lnTo>
                    <a:lnTo>
                      <a:pt x="643" y="75"/>
                    </a:lnTo>
                    <a:lnTo>
                      <a:pt x="643" y="73"/>
                    </a:lnTo>
                    <a:lnTo>
                      <a:pt x="645" y="73"/>
                    </a:lnTo>
                    <a:lnTo>
                      <a:pt x="645" y="71"/>
                    </a:lnTo>
                    <a:lnTo>
                      <a:pt x="645" y="69"/>
                    </a:lnTo>
                    <a:lnTo>
                      <a:pt x="647" y="69"/>
                    </a:lnTo>
                    <a:lnTo>
                      <a:pt x="647" y="67"/>
                    </a:lnTo>
                    <a:lnTo>
                      <a:pt x="645" y="67"/>
                    </a:lnTo>
                    <a:lnTo>
                      <a:pt x="643" y="67"/>
                    </a:lnTo>
                    <a:lnTo>
                      <a:pt x="643" y="69"/>
                    </a:lnTo>
                    <a:lnTo>
                      <a:pt x="643" y="71"/>
                    </a:lnTo>
                    <a:lnTo>
                      <a:pt x="641" y="71"/>
                    </a:lnTo>
                    <a:lnTo>
                      <a:pt x="639" y="71"/>
                    </a:lnTo>
                    <a:lnTo>
                      <a:pt x="637" y="73"/>
                    </a:lnTo>
                    <a:lnTo>
                      <a:pt x="637" y="75"/>
                    </a:lnTo>
                    <a:lnTo>
                      <a:pt x="635" y="75"/>
                    </a:lnTo>
                    <a:lnTo>
                      <a:pt x="635" y="77"/>
                    </a:lnTo>
                    <a:lnTo>
                      <a:pt x="635" y="75"/>
                    </a:lnTo>
                    <a:lnTo>
                      <a:pt x="635" y="73"/>
                    </a:lnTo>
                    <a:lnTo>
                      <a:pt x="633" y="73"/>
                    </a:lnTo>
                    <a:lnTo>
                      <a:pt x="633" y="75"/>
                    </a:lnTo>
                    <a:lnTo>
                      <a:pt x="633" y="73"/>
                    </a:lnTo>
                    <a:lnTo>
                      <a:pt x="633" y="75"/>
                    </a:lnTo>
                    <a:lnTo>
                      <a:pt x="632" y="75"/>
                    </a:lnTo>
                    <a:lnTo>
                      <a:pt x="630" y="73"/>
                    </a:lnTo>
                    <a:lnTo>
                      <a:pt x="632" y="73"/>
                    </a:lnTo>
                    <a:lnTo>
                      <a:pt x="630" y="73"/>
                    </a:lnTo>
                    <a:lnTo>
                      <a:pt x="628" y="73"/>
                    </a:lnTo>
                    <a:lnTo>
                      <a:pt x="630" y="73"/>
                    </a:lnTo>
                    <a:lnTo>
                      <a:pt x="628" y="73"/>
                    </a:lnTo>
                    <a:lnTo>
                      <a:pt x="630" y="73"/>
                    </a:lnTo>
                    <a:lnTo>
                      <a:pt x="628" y="73"/>
                    </a:lnTo>
                    <a:lnTo>
                      <a:pt x="628" y="75"/>
                    </a:lnTo>
                    <a:lnTo>
                      <a:pt x="628" y="73"/>
                    </a:lnTo>
                    <a:lnTo>
                      <a:pt x="628" y="75"/>
                    </a:lnTo>
                    <a:lnTo>
                      <a:pt x="628" y="73"/>
                    </a:lnTo>
                    <a:lnTo>
                      <a:pt x="626" y="75"/>
                    </a:lnTo>
                    <a:lnTo>
                      <a:pt x="626" y="77"/>
                    </a:lnTo>
                    <a:lnTo>
                      <a:pt x="624" y="77"/>
                    </a:lnTo>
                    <a:lnTo>
                      <a:pt x="626" y="77"/>
                    </a:lnTo>
                    <a:lnTo>
                      <a:pt x="624" y="79"/>
                    </a:lnTo>
                    <a:lnTo>
                      <a:pt x="626" y="79"/>
                    </a:lnTo>
                    <a:lnTo>
                      <a:pt x="624" y="79"/>
                    </a:lnTo>
                    <a:lnTo>
                      <a:pt x="624" y="77"/>
                    </a:lnTo>
                    <a:lnTo>
                      <a:pt x="624" y="79"/>
                    </a:lnTo>
                    <a:lnTo>
                      <a:pt x="622" y="79"/>
                    </a:lnTo>
                    <a:lnTo>
                      <a:pt x="622" y="81"/>
                    </a:lnTo>
                    <a:lnTo>
                      <a:pt x="622" y="83"/>
                    </a:lnTo>
                    <a:lnTo>
                      <a:pt x="620" y="83"/>
                    </a:lnTo>
                    <a:lnTo>
                      <a:pt x="622" y="83"/>
                    </a:lnTo>
                    <a:lnTo>
                      <a:pt x="622" y="81"/>
                    </a:lnTo>
                    <a:lnTo>
                      <a:pt x="624" y="81"/>
                    </a:lnTo>
                    <a:lnTo>
                      <a:pt x="626" y="81"/>
                    </a:lnTo>
                    <a:lnTo>
                      <a:pt x="626" y="83"/>
                    </a:lnTo>
                    <a:lnTo>
                      <a:pt x="626" y="81"/>
                    </a:lnTo>
                    <a:lnTo>
                      <a:pt x="626" y="83"/>
                    </a:lnTo>
                    <a:lnTo>
                      <a:pt x="626" y="81"/>
                    </a:lnTo>
                    <a:lnTo>
                      <a:pt x="626" y="83"/>
                    </a:lnTo>
                    <a:lnTo>
                      <a:pt x="626" y="81"/>
                    </a:lnTo>
                    <a:lnTo>
                      <a:pt x="628" y="81"/>
                    </a:lnTo>
                    <a:lnTo>
                      <a:pt x="628" y="79"/>
                    </a:lnTo>
                    <a:lnTo>
                      <a:pt x="630" y="79"/>
                    </a:lnTo>
                    <a:lnTo>
                      <a:pt x="632" y="79"/>
                    </a:lnTo>
                    <a:lnTo>
                      <a:pt x="632" y="77"/>
                    </a:lnTo>
                    <a:lnTo>
                      <a:pt x="633" y="77"/>
                    </a:lnTo>
                    <a:lnTo>
                      <a:pt x="633" y="79"/>
                    </a:lnTo>
                    <a:lnTo>
                      <a:pt x="635" y="79"/>
                    </a:lnTo>
                    <a:lnTo>
                      <a:pt x="637" y="79"/>
                    </a:lnTo>
                    <a:lnTo>
                      <a:pt x="639" y="79"/>
                    </a:lnTo>
                    <a:lnTo>
                      <a:pt x="639" y="81"/>
                    </a:lnTo>
                    <a:lnTo>
                      <a:pt x="637" y="81"/>
                    </a:lnTo>
                    <a:lnTo>
                      <a:pt x="637" y="83"/>
                    </a:lnTo>
                    <a:lnTo>
                      <a:pt x="639" y="83"/>
                    </a:lnTo>
                    <a:lnTo>
                      <a:pt x="637" y="83"/>
                    </a:lnTo>
                    <a:lnTo>
                      <a:pt x="639" y="83"/>
                    </a:lnTo>
                    <a:lnTo>
                      <a:pt x="641" y="83"/>
                    </a:lnTo>
                    <a:lnTo>
                      <a:pt x="641" y="81"/>
                    </a:lnTo>
                    <a:lnTo>
                      <a:pt x="643" y="79"/>
                    </a:lnTo>
                    <a:lnTo>
                      <a:pt x="643" y="77"/>
                    </a:lnTo>
                    <a:lnTo>
                      <a:pt x="641" y="75"/>
                    </a:lnTo>
                    <a:lnTo>
                      <a:pt x="643" y="75"/>
                    </a:lnTo>
                    <a:lnTo>
                      <a:pt x="643" y="77"/>
                    </a:lnTo>
                    <a:lnTo>
                      <a:pt x="643" y="79"/>
                    </a:lnTo>
                    <a:lnTo>
                      <a:pt x="645" y="79"/>
                    </a:lnTo>
                    <a:lnTo>
                      <a:pt x="645" y="81"/>
                    </a:lnTo>
                    <a:lnTo>
                      <a:pt x="647" y="83"/>
                    </a:lnTo>
                    <a:lnTo>
                      <a:pt x="649" y="85"/>
                    </a:lnTo>
                    <a:lnTo>
                      <a:pt x="651" y="85"/>
                    </a:lnTo>
                    <a:lnTo>
                      <a:pt x="653" y="85"/>
                    </a:lnTo>
                    <a:lnTo>
                      <a:pt x="651" y="85"/>
                    </a:lnTo>
                    <a:lnTo>
                      <a:pt x="651" y="87"/>
                    </a:lnTo>
                    <a:lnTo>
                      <a:pt x="653" y="87"/>
                    </a:lnTo>
                    <a:lnTo>
                      <a:pt x="655" y="87"/>
                    </a:lnTo>
                    <a:lnTo>
                      <a:pt x="655" y="88"/>
                    </a:lnTo>
                    <a:lnTo>
                      <a:pt x="653" y="87"/>
                    </a:lnTo>
                    <a:lnTo>
                      <a:pt x="653" y="88"/>
                    </a:lnTo>
                    <a:lnTo>
                      <a:pt x="653" y="87"/>
                    </a:lnTo>
                    <a:lnTo>
                      <a:pt x="651" y="87"/>
                    </a:lnTo>
                    <a:lnTo>
                      <a:pt x="649" y="88"/>
                    </a:lnTo>
                    <a:lnTo>
                      <a:pt x="649" y="90"/>
                    </a:lnTo>
                    <a:lnTo>
                      <a:pt x="647" y="92"/>
                    </a:lnTo>
                    <a:lnTo>
                      <a:pt x="647" y="94"/>
                    </a:lnTo>
                    <a:lnTo>
                      <a:pt x="645" y="94"/>
                    </a:lnTo>
                    <a:lnTo>
                      <a:pt x="645" y="96"/>
                    </a:lnTo>
                    <a:lnTo>
                      <a:pt x="645" y="98"/>
                    </a:lnTo>
                    <a:lnTo>
                      <a:pt x="645" y="96"/>
                    </a:lnTo>
                    <a:lnTo>
                      <a:pt x="645" y="98"/>
                    </a:lnTo>
                    <a:lnTo>
                      <a:pt x="647" y="98"/>
                    </a:lnTo>
                    <a:lnTo>
                      <a:pt x="647" y="96"/>
                    </a:lnTo>
                    <a:lnTo>
                      <a:pt x="649" y="96"/>
                    </a:lnTo>
                    <a:lnTo>
                      <a:pt x="649" y="94"/>
                    </a:lnTo>
                    <a:lnTo>
                      <a:pt x="649" y="92"/>
                    </a:lnTo>
                    <a:lnTo>
                      <a:pt x="651" y="92"/>
                    </a:lnTo>
                    <a:lnTo>
                      <a:pt x="653" y="90"/>
                    </a:lnTo>
                    <a:lnTo>
                      <a:pt x="653" y="88"/>
                    </a:lnTo>
                    <a:lnTo>
                      <a:pt x="655" y="88"/>
                    </a:lnTo>
                    <a:lnTo>
                      <a:pt x="657" y="88"/>
                    </a:lnTo>
                    <a:lnTo>
                      <a:pt x="660" y="88"/>
                    </a:lnTo>
                    <a:lnTo>
                      <a:pt x="662" y="88"/>
                    </a:lnTo>
                    <a:lnTo>
                      <a:pt x="662" y="90"/>
                    </a:lnTo>
                    <a:lnTo>
                      <a:pt x="664" y="92"/>
                    </a:lnTo>
                    <a:lnTo>
                      <a:pt x="664" y="94"/>
                    </a:lnTo>
                    <a:lnTo>
                      <a:pt x="664" y="96"/>
                    </a:lnTo>
                    <a:lnTo>
                      <a:pt x="666" y="98"/>
                    </a:lnTo>
                    <a:lnTo>
                      <a:pt x="666" y="100"/>
                    </a:lnTo>
                    <a:lnTo>
                      <a:pt x="666" y="102"/>
                    </a:lnTo>
                    <a:lnTo>
                      <a:pt x="666" y="104"/>
                    </a:lnTo>
                    <a:lnTo>
                      <a:pt x="664" y="104"/>
                    </a:lnTo>
                    <a:lnTo>
                      <a:pt x="664" y="106"/>
                    </a:lnTo>
                    <a:lnTo>
                      <a:pt x="664" y="108"/>
                    </a:lnTo>
                    <a:lnTo>
                      <a:pt x="664" y="110"/>
                    </a:lnTo>
                    <a:lnTo>
                      <a:pt x="664" y="108"/>
                    </a:lnTo>
                    <a:lnTo>
                      <a:pt x="664" y="110"/>
                    </a:lnTo>
                    <a:lnTo>
                      <a:pt x="664" y="108"/>
                    </a:lnTo>
                    <a:lnTo>
                      <a:pt x="664" y="106"/>
                    </a:lnTo>
                    <a:lnTo>
                      <a:pt x="664" y="108"/>
                    </a:lnTo>
                    <a:lnTo>
                      <a:pt x="664" y="110"/>
                    </a:lnTo>
                    <a:lnTo>
                      <a:pt x="664" y="112"/>
                    </a:lnTo>
                    <a:lnTo>
                      <a:pt x="664" y="113"/>
                    </a:lnTo>
                    <a:lnTo>
                      <a:pt x="662" y="113"/>
                    </a:lnTo>
                    <a:lnTo>
                      <a:pt x="662" y="115"/>
                    </a:lnTo>
                    <a:lnTo>
                      <a:pt x="660" y="115"/>
                    </a:lnTo>
                    <a:lnTo>
                      <a:pt x="660" y="117"/>
                    </a:lnTo>
                    <a:lnTo>
                      <a:pt x="660" y="119"/>
                    </a:lnTo>
                    <a:lnTo>
                      <a:pt x="660" y="121"/>
                    </a:lnTo>
                    <a:lnTo>
                      <a:pt x="662" y="121"/>
                    </a:lnTo>
                    <a:lnTo>
                      <a:pt x="662" y="123"/>
                    </a:lnTo>
                    <a:lnTo>
                      <a:pt x="660" y="123"/>
                    </a:lnTo>
                    <a:lnTo>
                      <a:pt x="660" y="125"/>
                    </a:lnTo>
                    <a:lnTo>
                      <a:pt x="662" y="125"/>
                    </a:lnTo>
                    <a:lnTo>
                      <a:pt x="662" y="123"/>
                    </a:lnTo>
                    <a:lnTo>
                      <a:pt x="662" y="125"/>
                    </a:lnTo>
                    <a:lnTo>
                      <a:pt x="662" y="123"/>
                    </a:lnTo>
                    <a:lnTo>
                      <a:pt x="662" y="121"/>
                    </a:lnTo>
                    <a:lnTo>
                      <a:pt x="662" y="119"/>
                    </a:lnTo>
                    <a:lnTo>
                      <a:pt x="662" y="117"/>
                    </a:lnTo>
                    <a:lnTo>
                      <a:pt x="664" y="117"/>
                    </a:lnTo>
                    <a:lnTo>
                      <a:pt x="666" y="115"/>
                    </a:lnTo>
                    <a:lnTo>
                      <a:pt x="668" y="115"/>
                    </a:lnTo>
                    <a:lnTo>
                      <a:pt x="668" y="117"/>
                    </a:lnTo>
                    <a:lnTo>
                      <a:pt x="670" y="117"/>
                    </a:lnTo>
                    <a:lnTo>
                      <a:pt x="670" y="119"/>
                    </a:lnTo>
                    <a:lnTo>
                      <a:pt x="668" y="119"/>
                    </a:lnTo>
                    <a:lnTo>
                      <a:pt x="670" y="119"/>
                    </a:lnTo>
                    <a:lnTo>
                      <a:pt x="670" y="121"/>
                    </a:lnTo>
                    <a:lnTo>
                      <a:pt x="670" y="123"/>
                    </a:lnTo>
                    <a:lnTo>
                      <a:pt x="668" y="123"/>
                    </a:lnTo>
                    <a:lnTo>
                      <a:pt x="668" y="125"/>
                    </a:lnTo>
                    <a:lnTo>
                      <a:pt x="668" y="127"/>
                    </a:lnTo>
                    <a:lnTo>
                      <a:pt x="670" y="127"/>
                    </a:lnTo>
                    <a:lnTo>
                      <a:pt x="670" y="125"/>
                    </a:lnTo>
                    <a:lnTo>
                      <a:pt x="670" y="123"/>
                    </a:lnTo>
                    <a:lnTo>
                      <a:pt x="672" y="123"/>
                    </a:lnTo>
                    <a:lnTo>
                      <a:pt x="672" y="121"/>
                    </a:lnTo>
                    <a:lnTo>
                      <a:pt x="672" y="123"/>
                    </a:lnTo>
                    <a:lnTo>
                      <a:pt x="674" y="123"/>
                    </a:lnTo>
                    <a:lnTo>
                      <a:pt x="674" y="125"/>
                    </a:lnTo>
                    <a:lnTo>
                      <a:pt x="674" y="127"/>
                    </a:lnTo>
                    <a:lnTo>
                      <a:pt x="674" y="129"/>
                    </a:lnTo>
                    <a:lnTo>
                      <a:pt x="676" y="129"/>
                    </a:lnTo>
                    <a:lnTo>
                      <a:pt x="676" y="127"/>
                    </a:lnTo>
                    <a:lnTo>
                      <a:pt x="676" y="125"/>
                    </a:lnTo>
                    <a:lnTo>
                      <a:pt x="674" y="125"/>
                    </a:lnTo>
                    <a:lnTo>
                      <a:pt x="674" y="123"/>
                    </a:lnTo>
                    <a:lnTo>
                      <a:pt x="676" y="123"/>
                    </a:lnTo>
                    <a:lnTo>
                      <a:pt x="676" y="121"/>
                    </a:lnTo>
                    <a:lnTo>
                      <a:pt x="678" y="121"/>
                    </a:lnTo>
                    <a:lnTo>
                      <a:pt x="680" y="121"/>
                    </a:lnTo>
                    <a:lnTo>
                      <a:pt x="680" y="119"/>
                    </a:lnTo>
                    <a:lnTo>
                      <a:pt x="682" y="121"/>
                    </a:lnTo>
                    <a:lnTo>
                      <a:pt x="682" y="119"/>
                    </a:lnTo>
                    <a:lnTo>
                      <a:pt x="683" y="119"/>
                    </a:lnTo>
                    <a:lnTo>
                      <a:pt x="685" y="117"/>
                    </a:lnTo>
                    <a:lnTo>
                      <a:pt x="683" y="117"/>
                    </a:lnTo>
                    <a:lnTo>
                      <a:pt x="685" y="117"/>
                    </a:lnTo>
                    <a:lnTo>
                      <a:pt x="687" y="117"/>
                    </a:lnTo>
                    <a:lnTo>
                      <a:pt x="689" y="119"/>
                    </a:lnTo>
                    <a:lnTo>
                      <a:pt x="691" y="119"/>
                    </a:lnTo>
                    <a:lnTo>
                      <a:pt x="695" y="117"/>
                    </a:lnTo>
                    <a:lnTo>
                      <a:pt x="693" y="121"/>
                    </a:lnTo>
                    <a:lnTo>
                      <a:pt x="691" y="123"/>
                    </a:lnTo>
                    <a:lnTo>
                      <a:pt x="691" y="125"/>
                    </a:lnTo>
                    <a:lnTo>
                      <a:pt x="691" y="127"/>
                    </a:lnTo>
                    <a:lnTo>
                      <a:pt x="689" y="127"/>
                    </a:lnTo>
                    <a:lnTo>
                      <a:pt x="689" y="129"/>
                    </a:lnTo>
                    <a:lnTo>
                      <a:pt x="687" y="129"/>
                    </a:lnTo>
                    <a:lnTo>
                      <a:pt x="685" y="129"/>
                    </a:lnTo>
                    <a:lnTo>
                      <a:pt x="685" y="127"/>
                    </a:lnTo>
                    <a:lnTo>
                      <a:pt x="683" y="127"/>
                    </a:lnTo>
                    <a:lnTo>
                      <a:pt x="682" y="127"/>
                    </a:lnTo>
                    <a:lnTo>
                      <a:pt x="682" y="125"/>
                    </a:lnTo>
                    <a:lnTo>
                      <a:pt x="682" y="127"/>
                    </a:lnTo>
                    <a:lnTo>
                      <a:pt x="680" y="127"/>
                    </a:lnTo>
                    <a:lnTo>
                      <a:pt x="680" y="129"/>
                    </a:lnTo>
                    <a:lnTo>
                      <a:pt x="680" y="131"/>
                    </a:lnTo>
                    <a:lnTo>
                      <a:pt x="680" y="129"/>
                    </a:lnTo>
                    <a:lnTo>
                      <a:pt x="682" y="129"/>
                    </a:lnTo>
                    <a:lnTo>
                      <a:pt x="682" y="131"/>
                    </a:lnTo>
                    <a:lnTo>
                      <a:pt x="680" y="131"/>
                    </a:lnTo>
                    <a:lnTo>
                      <a:pt x="680" y="133"/>
                    </a:lnTo>
                    <a:lnTo>
                      <a:pt x="680" y="135"/>
                    </a:lnTo>
                    <a:lnTo>
                      <a:pt x="680" y="133"/>
                    </a:lnTo>
                    <a:lnTo>
                      <a:pt x="680" y="135"/>
                    </a:lnTo>
                    <a:lnTo>
                      <a:pt x="682" y="135"/>
                    </a:lnTo>
                    <a:lnTo>
                      <a:pt x="682" y="133"/>
                    </a:lnTo>
                    <a:lnTo>
                      <a:pt x="682" y="131"/>
                    </a:lnTo>
                    <a:lnTo>
                      <a:pt x="682" y="129"/>
                    </a:lnTo>
                    <a:lnTo>
                      <a:pt x="683" y="129"/>
                    </a:lnTo>
                    <a:lnTo>
                      <a:pt x="685" y="129"/>
                    </a:lnTo>
                    <a:lnTo>
                      <a:pt x="685" y="131"/>
                    </a:lnTo>
                    <a:lnTo>
                      <a:pt x="687" y="133"/>
                    </a:lnTo>
                    <a:lnTo>
                      <a:pt x="689" y="133"/>
                    </a:lnTo>
                    <a:lnTo>
                      <a:pt x="689" y="135"/>
                    </a:lnTo>
                    <a:lnTo>
                      <a:pt x="691" y="135"/>
                    </a:lnTo>
                    <a:lnTo>
                      <a:pt x="691" y="137"/>
                    </a:lnTo>
                    <a:lnTo>
                      <a:pt x="689" y="137"/>
                    </a:lnTo>
                    <a:lnTo>
                      <a:pt x="689" y="138"/>
                    </a:lnTo>
                    <a:lnTo>
                      <a:pt x="691" y="138"/>
                    </a:lnTo>
                    <a:lnTo>
                      <a:pt x="691" y="140"/>
                    </a:lnTo>
                    <a:lnTo>
                      <a:pt x="689" y="140"/>
                    </a:lnTo>
                    <a:lnTo>
                      <a:pt x="689" y="142"/>
                    </a:lnTo>
                    <a:lnTo>
                      <a:pt x="689" y="144"/>
                    </a:lnTo>
                    <a:lnTo>
                      <a:pt x="687" y="144"/>
                    </a:lnTo>
                    <a:lnTo>
                      <a:pt x="685" y="144"/>
                    </a:lnTo>
                    <a:lnTo>
                      <a:pt x="685" y="146"/>
                    </a:lnTo>
                    <a:lnTo>
                      <a:pt x="683" y="146"/>
                    </a:lnTo>
                    <a:lnTo>
                      <a:pt x="683" y="148"/>
                    </a:lnTo>
                    <a:lnTo>
                      <a:pt x="682" y="148"/>
                    </a:lnTo>
                    <a:lnTo>
                      <a:pt x="682" y="146"/>
                    </a:lnTo>
                    <a:lnTo>
                      <a:pt x="680" y="146"/>
                    </a:lnTo>
                    <a:lnTo>
                      <a:pt x="680" y="144"/>
                    </a:lnTo>
                    <a:lnTo>
                      <a:pt x="678" y="144"/>
                    </a:lnTo>
                    <a:lnTo>
                      <a:pt x="680" y="144"/>
                    </a:lnTo>
                    <a:lnTo>
                      <a:pt x="680" y="142"/>
                    </a:lnTo>
                    <a:lnTo>
                      <a:pt x="678" y="142"/>
                    </a:lnTo>
                    <a:lnTo>
                      <a:pt x="678" y="140"/>
                    </a:lnTo>
                    <a:lnTo>
                      <a:pt x="680" y="140"/>
                    </a:lnTo>
                    <a:lnTo>
                      <a:pt x="680" y="138"/>
                    </a:lnTo>
                    <a:lnTo>
                      <a:pt x="678" y="138"/>
                    </a:lnTo>
                    <a:lnTo>
                      <a:pt x="678" y="137"/>
                    </a:lnTo>
                    <a:lnTo>
                      <a:pt x="678" y="138"/>
                    </a:lnTo>
                    <a:lnTo>
                      <a:pt x="678" y="140"/>
                    </a:lnTo>
                    <a:lnTo>
                      <a:pt x="676" y="138"/>
                    </a:lnTo>
                    <a:lnTo>
                      <a:pt x="676" y="137"/>
                    </a:lnTo>
                    <a:lnTo>
                      <a:pt x="674" y="137"/>
                    </a:lnTo>
                    <a:lnTo>
                      <a:pt x="674" y="135"/>
                    </a:lnTo>
                    <a:lnTo>
                      <a:pt x="672" y="135"/>
                    </a:lnTo>
                    <a:lnTo>
                      <a:pt x="672" y="137"/>
                    </a:lnTo>
                    <a:lnTo>
                      <a:pt x="670" y="135"/>
                    </a:lnTo>
                    <a:lnTo>
                      <a:pt x="668" y="137"/>
                    </a:lnTo>
                    <a:lnTo>
                      <a:pt x="668" y="135"/>
                    </a:lnTo>
                    <a:lnTo>
                      <a:pt x="668" y="137"/>
                    </a:lnTo>
                    <a:lnTo>
                      <a:pt x="668" y="135"/>
                    </a:lnTo>
                    <a:lnTo>
                      <a:pt x="666" y="135"/>
                    </a:lnTo>
                    <a:lnTo>
                      <a:pt x="668" y="135"/>
                    </a:lnTo>
                    <a:lnTo>
                      <a:pt x="668" y="137"/>
                    </a:lnTo>
                    <a:lnTo>
                      <a:pt x="670" y="137"/>
                    </a:lnTo>
                    <a:lnTo>
                      <a:pt x="672" y="137"/>
                    </a:lnTo>
                    <a:lnTo>
                      <a:pt x="672" y="138"/>
                    </a:lnTo>
                    <a:lnTo>
                      <a:pt x="674" y="138"/>
                    </a:lnTo>
                    <a:lnTo>
                      <a:pt x="676" y="138"/>
                    </a:lnTo>
                    <a:lnTo>
                      <a:pt x="676" y="140"/>
                    </a:lnTo>
                    <a:lnTo>
                      <a:pt x="676" y="142"/>
                    </a:lnTo>
                    <a:lnTo>
                      <a:pt x="678" y="142"/>
                    </a:lnTo>
                    <a:lnTo>
                      <a:pt x="678" y="144"/>
                    </a:lnTo>
                    <a:lnTo>
                      <a:pt x="678" y="146"/>
                    </a:lnTo>
                    <a:lnTo>
                      <a:pt x="678" y="148"/>
                    </a:lnTo>
                    <a:lnTo>
                      <a:pt x="678" y="150"/>
                    </a:lnTo>
                    <a:lnTo>
                      <a:pt x="676" y="150"/>
                    </a:lnTo>
                    <a:lnTo>
                      <a:pt x="676" y="152"/>
                    </a:lnTo>
                    <a:lnTo>
                      <a:pt x="678" y="152"/>
                    </a:lnTo>
                    <a:lnTo>
                      <a:pt x="676" y="152"/>
                    </a:lnTo>
                    <a:lnTo>
                      <a:pt x="678" y="152"/>
                    </a:lnTo>
                    <a:lnTo>
                      <a:pt x="676" y="152"/>
                    </a:lnTo>
                    <a:lnTo>
                      <a:pt x="674" y="152"/>
                    </a:lnTo>
                    <a:lnTo>
                      <a:pt x="672" y="154"/>
                    </a:lnTo>
                    <a:lnTo>
                      <a:pt x="670" y="154"/>
                    </a:lnTo>
                    <a:lnTo>
                      <a:pt x="668" y="156"/>
                    </a:lnTo>
                    <a:lnTo>
                      <a:pt x="666" y="156"/>
                    </a:lnTo>
                    <a:lnTo>
                      <a:pt x="664" y="156"/>
                    </a:lnTo>
                    <a:lnTo>
                      <a:pt x="662" y="156"/>
                    </a:lnTo>
                    <a:lnTo>
                      <a:pt x="662" y="154"/>
                    </a:lnTo>
                    <a:lnTo>
                      <a:pt x="660" y="154"/>
                    </a:lnTo>
                    <a:lnTo>
                      <a:pt x="658" y="152"/>
                    </a:lnTo>
                    <a:lnTo>
                      <a:pt x="658" y="154"/>
                    </a:lnTo>
                    <a:lnTo>
                      <a:pt x="657" y="154"/>
                    </a:lnTo>
                    <a:lnTo>
                      <a:pt x="655" y="154"/>
                    </a:lnTo>
                    <a:lnTo>
                      <a:pt x="653" y="154"/>
                    </a:lnTo>
                    <a:lnTo>
                      <a:pt x="649" y="156"/>
                    </a:lnTo>
                    <a:lnTo>
                      <a:pt x="647" y="156"/>
                    </a:lnTo>
                    <a:lnTo>
                      <a:pt x="645" y="158"/>
                    </a:lnTo>
                    <a:lnTo>
                      <a:pt x="643" y="158"/>
                    </a:lnTo>
                    <a:lnTo>
                      <a:pt x="641" y="160"/>
                    </a:lnTo>
                    <a:lnTo>
                      <a:pt x="639" y="160"/>
                    </a:lnTo>
                    <a:lnTo>
                      <a:pt x="637" y="160"/>
                    </a:lnTo>
                    <a:lnTo>
                      <a:pt x="635" y="160"/>
                    </a:lnTo>
                    <a:lnTo>
                      <a:pt x="633" y="162"/>
                    </a:lnTo>
                    <a:lnTo>
                      <a:pt x="632" y="162"/>
                    </a:lnTo>
                    <a:lnTo>
                      <a:pt x="632" y="163"/>
                    </a:lnTo>
                    <a:lnTo>
                      <a:pt x="632" y="165"/>
                    </a:lnTo>
                    <a:lnTo>
                      <a:pt x="630" y="165"/>
                    </a:lnTo>
                    <a:lnTo>
                      <a:pt x="630" y="167"/>
                    </a:lnTo>
                    <a:lnTo>
                      <a:pt x="628" y="167"/>
                    </a:lnTo>
                    <a:lnTo>
                      <a:pt x="628" y="169"/>
                    </a:lnTo>
                    <a:lnTo>
                      <a:pt x="626" y="169"/>
                    </a:lnTo>
                    <a:lnTo>
                      <a:pt x="626" y="171"/>
                    </a:lnTo>
                    <a:lnTo>
                      <a:pt x="624" y="171"/>
                    </a:lnTo>
                    <a:lnTo>
                      <a:pt x="624" y="173"/>
                    </a:lnTo>
                    <a:lnTo>
                      <a:pt x="622" y="173"/>
                    </a:lnTo>
                    <a:lnTo>
                      <a:pt x="622" y="171"/>
                    </a:lnTo>
                    <a:lnTo>
                      <a:pt x="624" y="171"/>
                    </a:lnTo>
                    <a:lnTo>
                      <a:pt x="624" y="169"/>
                    </a:lnTo>
                    <a:lnTo>
                      <a:pt x="622" y="169"/>
                    </a:lnTo>
                    <a:lnTo>
                      <a:pt x="620" y="169"/>
                    </a:lnTo>
                    <a:lnTo>
                      <a:pt x="622" y="171"/>
                    </a:lnTo>
                    <a:lnTo>
                      <a:pt x="620" y="171"/>
                    </a:lnTo>
                    <a:lnTo>
                      <a:pt x="618" y="171"/>
                    </a:lnTo>
                    <a:lnTo>
                      <a:pt x="616" y="171"/>
                    </a:lnTo>
                    <a:lnTo>
                      <a:pt x="614" y="171"/>
                    </a:lnTo>
                    <a:lnTo>
                      <a:pt x="614" y="173"/>
                    </a:lnTo>
                    <a:lnTo>
                      <a:pt x="612" y="171"/>
                    </a:lnTo>
                    <a:lnTo>
                      <a:pt x="612" y="173"/>
                    </a:lnTo>
                    <a:lnTo>
                      <a:pt x="610" y="175"/>
                    </a:lnTo>
                    <a:lnTo>
                      <a:pt x="610" y="173"/>
                    </a:lnTo>
                    <a:lnTo>
                      <a:pt x="609" y="173"/>
                    </a:lnTo>
                    <a:lnTo>
                      <a:pt x="607" y="173"/>
                    </a:lnTo>
                    <a:lnTo>
                      <a:pt x="605" y="175"/>
                    </a:lnTo>
                    <a:lnTo>
                      <a:pt x="605" y="173"/>
                    </a:lnTo>
                    <a:lnTo>
                      <a:pt x="605" y="171"/>
                    </a:lnTo>
                    <a:lnTo>
                      <a:pt x="605" y="169"/>
                    </a:lnTo>
                    <a:lnTo>
                      <a:pt x="603" y="169"/>
                    </a:lnTo>
                    <a:lnTo>
                      <a:pt x="603" y="167"/>
                    </a:lnTo>
                    <a:lnTo>
                      <a:pt x="601" y="167"/>
                    </a:lnTo>
                    <a:lnTo>
                      <a:pt x="601" y="165"/>
                    </a:lnTo>
                    <a:lnTo>
                      <a:pt x="599" y="165"/>
                    </a:lnTo>
                    <a:lnTo>
                      <a:pt x="597" y="165"/>
                    </a:lnTo>
                    <a:lnTo>
                      <a:pt x="595" y="165"/>
                    </a:lnTo>
                    <a:lnTo>
                      <a:pt x="593" y="163"/>
                    </a:lnTo>
                    <a:lnTo>
                      <a:pt x="591" y="163"/>
                    </a:lnTo>
                    <a:lnTo>
                      <a:pt x="589" y="163"/>
                    </a:lnTo>
                    <a:lnTo>
                      <a:pt x="589" y="162"/>
                    </a:lnTo>
                    <a:lnTo>
                      <a:pt x="587" y="162"/>
                    </a:lnTo>
                    <a:lnTo>
                      <a:pt x="585" y="162"/>
                    </a:lnTo>
                    <a:lnTo>
                      <a:pt x="584" y="162"/>
                    </a:lnTo>
                    <a:lnTo>
                      <a:pt x="585" y="162"/>
                    </a:lnTo>
                    <a:lnTo>
                      <a:pt x="587" y="162"/>
                    </a:lnTo>
                    <a:lnTo>
                      <a:pt x="589" y="162"/>
                    </a:lnTo>
                    <a:lnTo>
                      <a:pt x="589" y="163"/>
                    </a:lnTo>
                    <a:lnTo>
                      <a:pt x="591" y="163"/>
                    </a:lnTo>
                    <a:lnTo>
                      <a:pt x="591" y="162"/>
                    </a:lnTo>
                    <a:lnTo>
                      <a:pt x="589" y="162"/>
                    </a:lnTo>
                    <a:lnTo>
                      <a:pt x="587" y="162"/>
                    </a:lnTo>
                    <a:lnTo>
                      <a:pt x="587" y="160"/>
                    </a:lnTo>
                    <a:lnTo>
                      <a:pt x="585" y="160"/>
                    </a:lnTo>
                    <a:lnTo>
                      <a:pt x="584" y="160"/>
                    </a:lnTo>
                    <a:lnTo>
                      <a:pt x="582" y="160"/>
                    </a:lnTo>
                    <a:lnTo>
                      <a:pt x="580" y="160"/>
                    </a:lnTo>
                    <a:lnTo>
                      <a:pt x="580" y="158"/>
                    </a:lnTo>
                    <a:lnTo>
                      <a:pt x="580" y="160"/>
                    </a:lnTo>
                    <a:lnTo>
                      <a:pt x="580" y="162"/>
                    </a:lnTo>
                    <a:lnTo>
                      <a:pt x="580" y="160"/>
                    </a:lnTo>
                    <a:lnTo>
                      <a:pt x="582" y="160"/>
                    </a:lnTo>
                    <a:lnTo>
                      <a:pt x="580" y="160"/>
                    </a:lnTo>
                    <a:lnTo>
                      <a:pt x="580" y="162"/>
                    </a:lnTo>
                    <a:lnTo>
                      <a:pt x="574" y="163"/>
                    </a:lnTo>
                    <a:lnTo>
                      <a:pt x="570" y="165"/>
                    </a:lnTo>
                    <a:lnTo>
                      <a:pt x="566" y="167"/>
                    </a:lnTo>
                    <a:lnTo>
                      <a:pt x="564" y="169"/>
                    </a:lnTo>
                    <a:lnTo>
                      <a:pt x="562" y="169"/>
                    </a:lnTo>
                    <a:lnTo>
                      <a:pt x="562" y="171"/>
                    </a:lnTo>
                    <a:lnTo>
                      <a:pt x="559" y="171"/>
                    </a:lnTo>
                    <a:lnTo>
                      <a:pt x="559" y="173"/>
                    </a:lnTo>
                    <a:lnTo>
                      <a:pt x="557" y="173"/>
                    </a:lnTo>
                    <a:lnTo>
                      <a:pt x="557" y="175"/>
                    </a:lnTo>
                    <a:lnTo>
                      <a:pt x="557" y="177"/>
                    </a:lnTo>
                    <a:lnTo>
                      <a:pt x="557" y="179"/>
                    </a:lnTo>
                    <a:lnTo>
                      <a:pt x="557" y="177"/>
                    </a:lnTo>
                    <a:lnTo>
                      <a:pt x="557" y="175"/>
                    </a:lnTo>
                    <a:lnTo>
                      <a:pt x="557" y="173"/>
                    </a:lnTo>
                    <a:lnTo>
                      <a:pt x="559" y="173"/>
                    </a:lnTo>
                    <a:lnTo>
                      <a:pt x="559" y="171"/>
                    </a:lnTo>
                    <a:lnTo>
                      <a:pt x="560" y="171"/>
                    </a:lnTo>
                    <a:lnTo>
                      <a:pt x="560" y="169"/>
                    </a:lnTo>
                    <a:lnTo>
                      <a:pt x="559" y="171"/>
                    </a:lnTo>
                    <a:lnTo>
                      <a:pt x="557" y="171"/>
                    </a:lnTo>
                    <a:lnTo>
                      <a:pt x="557" y="173"/>
                    </a:lnTo>
                    <a:lnTo>
                      <a:pt x="557" y="171"/>
                    </a:lnTo>
                    <a:lnTo>
                      <a:pt x="555" y="171"/>
                    </a:lnTo>
                    <a:lnTo>
                      <a:pt x="557" y="171"/>
                    </a:lnTo>
                    <a:lnTo>
                      <a:pt x="557" y="169"/>
                    </a:lnTo>
                    <a:lnTo>
                      <a:pt x="555" y="169"/>
                    </a:lnTo>
                    <a:lnTo>
                      <a:pt x="555" y="171"/>
                    </a:lnTo>
                    <a:lnTo>
                      <a:pt x="555" y="173"/>
                    </a:lnTo>
                    <a:lnTo>
                      <a:pt x="557" y="173"/>
                    </a:lnTo>
                    <a:lnTo>
                      <a:pt x="557" y="175"/>
                    </a:lnTo>
                    <a:lnTo>
                      <a:pt x="557" y="177"/>
                    </a:lnTo>
                    <a:lnTo>
                      <a:pt x="557" y="179"/>
                    </a:lnTo>
                    <a:lnTo>
                      <a:pt x="557" y="181"/>
                    </a:lnTo>
                    <a:lnTo>
                      <a:pt x="557" y="183"/>
                    </a:lnTo>
                    <a:lnTo>
                      <a:pt x="557" y="185"/>
                    </a:lnTo>
                    <a:lnTo>
                      <a:pt x="557" y="187"/>
                    </a:lnTo>
                    <a:lnTo>
                      <a:pt x="557" y="188"/>
                    </a:lnTo>
                    <a:lnTo>
                      <a:pt x="557" y="190"/>
                    </a:lnTo>
                    <a:lnTo>
                      <a:pt x="555" y="190"/>
                    </a:lnTo>
                    <a:lnTo>
                      <a:pt x="555" y="192"/>
                    </a:lnTo>
                    <a:lnTo>
                      <a:pt x="553" y="192"/>
                    </a:lnTo>
                    <a:lnTo>
                      <a:pt x="553" y="194"/>
                    </a:lnTo>
                    <a:lnTo>
                      <a:pt x="553" y="196"/>
                    </a:lnTo>
                    <a:lnTo>
                      <a:pt x="551" y="196"/>
                    </a:lnTo>
                    <a:lnTo>
                      <a:pt x="549" y="196"/>
                    </a:lnTo>
                    <a:lnTo>
                      <a:pt x="549" y="198"/>
                    </a:lnTo>
                    <a:lnTo>
                      <a:pt x="549" y="200"/>
                    </a:lnTo>
                    <a:lnTo>
                      <a:pt x="547" y="200"/>
                    </a:lnTo>
                    <a:lnTo>
                      <a:pt x="547" y="202"/>
                    </a:lnTo>
                    <a:lnTo>
                      <a:pt x="545" y="202"/>
                    </a:lnTo>
                    <a:lnTo>
                      <a:pt x="545" y="204"/>
                    </a:lnTo>
                    <a:lnTo>
                      <a:pt x="543" y="204"/>
                    </a:lnTo>
                    <a:lnTo>
                      <a:pt x="543" y="206"/>
                    </a:lnTo>
                    <a:lnTo>
                      <a:pt x="541" y="208"/>
                    </a:lnTo>
                    <a:lnTo>
                      <a:pt x="539" y="208"/>
                    </a:lnTo>
                    <a:lnTo>
                      <a:pt x="537" y="210"/>
                    </a:lnTo>
                    <a:lnTo>
                      <a:pt x="536" y="210"/>
                    </a:lnTo>
                    <a:lnTo>
                      <a:pt x="536" y="208"/>
                    </a:lnTo>
                    <a:lnTo>
                      <a:pt x="536" y="206"/>
                    </a:lnTo>
                    <a:lnTo>
                      <a:pt x="534" y="206"/>
                    </a:lnTo>
                    <a:lnTo>
                      <a:pt x="534" y="204"/>
                    </a:lnTo>
                    <a:lnTo>
                      <a:pt x="532" y="204"/>
                    </a:lnTo>
                    <a:lnTo>
                      <a:pt x="532" y="202"/>
                    </a:lnTo>
                    <a:lnTo>
                      <a:pt x="530" y="200"/>
                    </a:lnTo>
                    <a:lnTo>
                      <a:pt x="530" y="198"/>
                    </a:lnTo>
                    <a:lnTo>
                      <a:pt x="528" y="198"/>
                    </a:lnTo>
                    <a:lnTo>
                      <a:pt x="526" y="198"/>
                    </a:lnTo>
                    <a:lnTo>
                      <a:pt x="524" y="200"/>
                    </a:lnTo>
                    <a:lnTo>
                      <a:pt x="524" y="202"/>
                    </a:lnTo>
                    <a:lnTo>
                      <a:pt x="522" y="202"/>
                    </a:lnTo>
                    <a:lnTo>
                      <a:pt x="522" y="200"/>
                    </a:lnTo>
                    <a:lnTo>
                      <a:pt x="522" y="202"/>
                    </a:lnTo>
                    <a:lnTo>
                      <a:pt x="524" y="202"/>
                    </a:lnTo>
                    <a:lnTo>
                      <a:pt x="522" y="200"/>
                    </a:lnTo>
                    <a:lnTo>
                      <a:pt x="520" y="200"/>
                    </a:lnTo>
                    <a:lnTo>
                      <a:pt x="522" y="200"/>
                    </a:lnTo>
                    <a:lnTo>
                      <a:pt x="520" y="200"/>
                    </a:lnTo>
                    <a:lnTo>
                      <a:pt x="520" y="198"/>
                    </a:lnTo>
                    <a:lnTo>
                      <a:pt x="520" y="200"/>
                    </a:lnTo>
                    <a:lnTo>
                      <a:pt x="518" y="200"/>
                    </a:lnTo>
                    <a:lnTo>
                      <a:pt x="516" y="200"/>
                    </a:lnTo>
                    <a:lnTo>
                      <a:pt x="512" y="200"/>
                    </a:lnTo>
                    <a:lnTo>
                      <a:pt x="511" y="200"/>
                    </a:lnTo>
                    <a:lnTo>
                      <a:pt x="512" y="200"/>
                    </a:lnTo>
                    <a:lnTo>
                      <a:pt x="512" y="198"/>
                    </a:lnTo>
                    <a:lnTo>
                      <a:pt x="511" y="198"/>
                    </a:lnTo>
                    <a:lnTo>
                      <a:pt x="509" y="196"/>
                    </a:lnTo>
                    <a:lnTo>
                      <a:pt x="507" y="196"/>
                    </a:lnTo>
                    <a:lnTo>
                      <a:pt x="505" y="196"/>
                    </a:lnTo>
                    <a:lnTo>
                      <a:pt x="507" y="196"/>
                    </a:lnTo>
                    <a:lnTo>
                      <a:pt x="509" y="196"/>
                    </a:lnTo>
                    <a:lnTo>
                      <a:pt x="509" y="194"/>
                    </a:lnTo>
                    <a:lnTo>
                      <a:pt x="511" y="194"/>
                    </a:lnTo>
                    <a:lnTo>
                      <a:pt x="511" y="192"/>
                    </a:lnTo>
                    <a:lnTo>
                      <a:pt x="511" y="190"/>
                    </a:lnTo>
                    <a:lnTo>
                      <a:pt x="509" y="190"/>
                    </a:lnTo>
                    <a:lnTo>
                      <a:pt x="507" y="190"/>
                    </a:lnTo>
                    <a:lnTo>
                      <a:pt x="507" y="188"/>
                    </a:lnTo>
                    <a:lnTo>
                      <a:pt x="507" y="187"/>
                    </a:lnTo>
                    <a:lnTo>
                      <a:pt x="507" y="188"/>
                    </a:lnTo>
                    <a:lnTo>
                      <a:pt x="507" y="187"/>
                    </a:lnTo>
                    <a:lnTo>
                      <a:pt x="509" y="187"/>
                    </a:lnTo>
                    <a:lnTo>
                      <a:pt x="507" y="187"/>
                    </a:lnTo>
                    <a:lnTo>
                      <a:pt x="507" y="185"/>
                    </a:lnTo>
                    <a:lnTo>
                      <a:pt x="507" y="183"/>
                    </a:lnTo>
                    <a:lnTo>
                      <a:pt x="505" y="183"/>
                    </a:lnTo>
                    <a:lnTo>
                      <a:pt x="505" y="181"/>
                    </a:lnTo>
                    <a:lnTo>
                      <a:pt x="503" y="181"/>
                    </a:lnTo>
                    <a:lnTo>
                      <a:pt x="503" y="179"/>
                    </a:lnTo>
                    <a:lnTo>
                      <a:pt x="501" y="179"/>
                    </a:lnTo>
                    <a:lnTo>
                      <a:pt x="501" y="177"/>
                    </a:lnTo>
                    <a:lnTo>
                      <a:pt x="499" y="177"/>
                    </a:lnTo>
                    <a:lnTo>
                      <a:pt x="499" y="175"/>
                    </a:lnTo>
                    <a:lnTo>
                      <a:pt x="497" y="175"/>
                    </a:lnTo>
                    <a:lnTo>
                      <a:pt x="497" y="173"/>
                    </a:lnTo>
                    <a:lnTo>
                      <a:pt x="495" y="173"/>
                    </a:lnTo>
                    <a:lnTo>
                      <a:pt x="493" y="173"/>
                    </a:lnTo>
                    <a:lnTo>
                      <a:pt x="495" y="173"/>
                    </a:lnTo>
                    <a:lnTo>
                      <a:pt x="493" y="173"/>
                    </a:lnTo>
                    <a:lnTo>
                      <a:pt x="495" y="173"/>
                    </a:lnTo>
                    <a:lnTo>
                      <a:pt x="495" y="175"/>
                    </a:lnTo>
                    <a:lnTo>
                      <a:pt x="495" y="177"/>
                    </a:lnTo>
                    <a:lnTo>
                      <a:pt x="495" y="179"/>
                    </a:lnTo>
                    <a:lnTo>
                      <a:pt x="497" y="179"/>
                    </a:lnTo>
                    <a:lnTo>
                      <a:pt x="497" y="181"/>
                    </a:lnTo>
                    <a:lnTo>
                      <a:pt x="497" y="183"/>
                    </a:lnTo>
                    <a:lnTo>
                      <a:pt x="499" y="183"/>
                    </a:lnTo>
                    <a:lnTo>
                      <a:pt x="499" y="185"/>
                    </a:lnTo>
                    <a:lnTo>
                      <a:pt x="501" y="187"/>
                    </a:lnTo>
                    <a:lnTo>
                      <a:pt x="499" y="187"/>
                    </a:lnTo>
                    <a:lnTo>
                      <a:pt x="501" y="187"/>
                    </a:lnTo>
                    <a:lnTo>
                      <a:pt x="499" y="187"/>
                    </a:lnTo>
                    <a:lnTo>
                      <a:pt x="499" y="188"/>
                    </a:lnTo>
                    <a:lnTo>
                      <a:pt x="499" y="190"/>
                    </a:lnTo>
                    <a:lnTo>
                      <a:pt x="497" y="192"/>
                    </a:lnTo>
                    <a:lnTo>
                      <a:pt x="495" y="192"/>
                    </a:lnTo>
                    <a:lnTo>
                      <a:pt x="495" y="190"/>
                    </a:lnTo>
                    <a:lnTo>
                      <a:pt x="493" y="190"/>
                    </a:lnTo>
                    <a:lnTo>
                      <a:pt x="491" y="190"/>
                    </a:lnTo>
                    <a:lnTo>
                      <a:pt x="491" y="188"/>
                    </a:lnTo>
                    <a:lnTo>
                      <a:pt x="489" y="188"/>
                    </a:lnTo>
                    <a:lnTo>
                      <a:pt x="489" y="187"/>
                    </a:lnTo>
                    <a:lnTo>
                      <a:pt x="487" y="187"/>
                    </a:lnTo>
                    <a:lnTo>
                      <a:pt x="487" y="185"/>
                    </a:lnTo>
                    <a:lnTo>
                      <a:pt x="486" y="185"/>
                    </a:lnTo>
                    <a:lnTo>
                      <a:pt x="486" y="187"/>
                    </a:lnTo>
                    <a:lnTo>
                      <a:pt x="487" y="188"/>
                    </a:lnTo>
                    <a:lnTo>
                      <a:pt x="489" y="188"/>
                    </a:lnTo>
                    <a:lnTo>
                      <a:pt x="489" y="190"/>
                    </a:lnTo>
                    <a:lnTo>
                      <a:pt x="489" y="192"/>
                    </a:lnTo>
                    <a:lnTo>
                      <a:pt x="487" y="192"/>
                    </a:lnTo>
                    <a:lnTo>
                      <a:pt x="486" y="192"/>
                    </a:lnTo>
                    <a:lnTo>
                      <a:pt x="484" y="192"/>
                    </a:lnTo>
                    <a:lnTo>
                      <a:pt x="484" y="194"/>
                    </a:lnTo>
                    <a:lnTo>
                      <a:pt x="486" y="194"/>
                    </a:lnTo>
                    <a:lnTo>
                      <a:pt x="487" y="194"/>
                    </a:lnTo>
                    <a:lnTo>
                      <a:pt x="489" y="194"/>
                    </a:lnTo>
                    <a:lnTo>
                      <a:pt x="491" y="194"/>
                    </a:lnTo>
                    <a:lnTo>
                      <a:pt x="491" y="196"/>
                    </a:lnTo>
                    <a:lnTo>
                      <a:pt x="491" y="194"/>
                    </a:lnTo>
                    <a:lnTo>
                      <a:pt x="493" y="196"/>
                    </a:lnTo>
                    <a:lnTo>
                      <a:pt x="493" y="198"/>
                    </a:lnTo>
                    <a:lnTo>
                      <a:pt x="493" y="200"/>
                    </a:lnTo>
                    <a:lnTo>
                      <a:pt x="493" y="202"/>
                    </a:lnTo>
                    <a:lnTo>
                      <a:pt x="491" y="204"/>
                    </a:lnTo>
                    <a:lnTo>
                      <a:pt x="491" y="206"/>
                    </a:lnTo>
                    <a:lnTo>
                      <a:pt x="489" y="206"/>
                    </a:lnTo>
                    <a:lnTo>
                      <a:pt x="489" y="208"/>
                    </a:lnTo>
                    <a:lnTo>
                      <a:pt x="487" y="208"/>
                    </a:lnTo>
                    <a:lnTo>
                      <a:pt x="489" y="206"/>
                    </a:lnTo>
                    <a:lnTo>
                      <a:pt x="489" y="204"/>
                    </a:lnTo>
                    <a:lnTo>
                      <a:pt x="487" y="204"/>
                    </a:lnTo>
                    <a:lnTo>
                      <a:pt x="486" y="204"/>
                    </a:lnTo>
                    <a:lnTo>
                      <a:pt x="486" y="206"/>
                    </a:lnTo>
                    <a:lnTo>
                      <a:pt x="487" y="206"/>
                    </a:lnTo>
                    <a:lnTo>
                      <a:pt x="486" y="206"/>
                    </a:lnTo>
                    <a:lnTo>
                      <a:pt x="487" y="206"/>
                    </a:lnTo>
                    <a:lnTo>
                      <a:pt x="487" y="208"/>
                    </a:lnTo>
                    <a:lnTo>
                      <a:pt x="487" y="210"/>
                    </a:lnTo>
                    <a:lnTo>
                      <a:pt x="489" y="212"/>
                    </a:lnTo>
                    <a:lnTo>
                      <a:pt x="491" y="212"/>
                    </a:lnTo>
                    <a:lnTo>
                      <a:pt x="491" y="213"/>
                    </a:lnTo>
                    <a:lnTo>
                      <a:pt x="491" y="215"/>
                    </a:lnTo>
                    <a:lnTo>
                      <a:pt x="493" y="215"/>
                    </a:lnTo>
                    <a:lnTo>
                      <a:pt x="493" y="217"/>
                    </a:lnTo>
                    <a:lnTo>
                      <a:pt x="495" y="217"/>
                    </a:lnTo>
                    <a:lnTo>
                      <a:pt x="497" y="219"/>
                    </a:lnTo>
                    <a:lnTo>
                      <a:pt x="499" y="219"/>
                    </a:lnTo>
                    <a:lnTo>
                      <a:pt x="501" y="219"/>
                    </a:lnTo>
                    <a:lnTo>
                      <a:pt x="503" y="221"/>
                    </a:lnTo>
                    <a:lnTo>
                      <a:pt x="501" y="221"/>
                    </a:lnTo>
                    <a:lnTo>
                      <a:pt x="503" y="221"/>
                    </a:lnTo>
                    <a:lnTo>
                      <a:pt x="503" y="223"/>
                    </a:lnTo>
                    <a:lnTo>
                      <a:pt x="503" y="221"/>
                    </a:lnTo>
                    <a:lnTo>
                      <a:pt x="505" y="221"/>
                    </a:lnTo>
                    <a:lnTo>
                      <a:pt x="507" y="221"/>
                    </a:lnTo>
                    <a:lnTo>
                      <a:pt x="509" y="221"/>
                    </a:lnTo>
                    <a:lnTo>
                      <a:pt x="511" y="221"/>
                    </a:lnTo>
                    <a:lnTo>
                      <a:pt x="512" y="221"/>
                    </a:lnTo>
                    <a:lnTo>
                      <a:pt x="514" y="221"/>
                    </a:lnTo>
                    <a:lnTo>
                      <a:pt x="512" y="221"/>
                    </a:lnTo>
                    <a:lnTo>
                      <a:pt x="514" y="221"/>
                    </a:lnTo>
                    <a:lnTo>
                      <a:pt x="512" y="221"/>
                    </a:lnTo>
                    <a:lnTo>
                      <a:pt x="514" y="221"/>
                    </a:lnTo>
                    <a:lnTo>
                      <a:pt x="514" y="223"/>
                    </a:lnTo>
                    <a:lnTo>
                      <a:pt x="514" y="221"/>
                    </a:lnTo>
                    <a:lnTo>
                      <a:pt x="516" y="219"/>
                    </a:lnTo>
                    <a:lnTo>
                      <a:pt x="518" y="219"/>
                    </a:lnTo>
                    <a:lnTo>
                      <a:pt x="518" y="221"/>
                    </a:lnTo>
                    <a:lnTo>
                      <a:pt x="520" y="223"/>
                    </a:lnTo>
                    <a:lnTo>
                      <a:pt x="522" y="223"/>
                    </a:lnTo>
                    <a:lnTo>
                      <a:pt x="524" y="225"/>
                    </a:lnTo>
                    <a:lnTo>
                      <a:pt x="524" y="227"/>
                    </a:lnTo>
                    <a:lnTo>
                      <a:pt x="524" y="229"/>
                    </a:lnTo>
                    <a:lnTo>
                      <a:pt x="524" y="231"/>
                    </a:lnTo>
                    <a:lnTo>
                      <a:pt x="524" y="233"/>
                    </a:lnTo>
                    <a:lnTo>
                      <a:pt x="524" y="231"/>
                    </a:lnTo>
                    <a:lnTo>
                      <a:pt x="524" y="233"/>
                    </a:lnTo>
                    <a:lnTo>
                      <a:pt x="524" y="235"/>
                    </a:lnTo>
                    <a:lnTo>
                      <a:pt x="522" y="235"/>
                    </a:lnTo>
                    <a:lnTo>
                      <a:pt x="522" y="237"/>
                    </a:lnTo>
                    <a:lnTo>
                      <a:pt x="522" y="235"/>
                    </a:lnTo>
                    <a:lnTo>
                      <a:pt x="522" y="237"/>
                    </a:lnTo>
                    <a:lnTo>
                      <a:pt x="520" y="237"/>
                    </a:lnTo>
                    <a:lnTo>
                      <a:pt x="520" y="238"/>
                    </a:lnTo>
                    <a:lnTo>
                      <a:pt x="518" y="240"/>
                    </a:lnTo>
                    <a:lnTo>
                      <a:pt x="520" y="240"/>
                    </a:lnTo>
                    <a:lnTo>
                      <a:pt x="520" y="242"/>
                    </a:lnTo>
                    <a:lnTo>
                      <a:pt x="518" y="242"/>
                    </a:lnTo>
                    <a:lnTo>
                      <a:pt x="518" y="244"/>
                    </a:lnTo>
                    <a:lnTo>
                      <a:pt x="349" y="102"/>
                    </a:lnTo>
                    <a:lnTo>
                      <a:pt x="351" y="100"/>
                    </a:lnTo>
                    <a:lnTo>
                      <a:pt x="351" y="102"/>
                    </a:lnTo>
                    <a:lnTo>
                      <a:pt x="351" y="100"/>
                    </a:lnTo>
                    <a:lnTo>
                      <a:pt x="353" y="100"/>
                    </a:lnTo>
                    <a:close/>
                    <a:moveTo>
                      <a:pt x="453" y="146"/>
                    </a:moveTo>
                    <a:lnTo>
                      <a:pt x="453" y="148"/>
                    </a:lnTo>
                    <a:lnTo>
                      <a:pt x="453" y="146"/>
                    </a:lnTo>
                    <a:lnTo>
                      <a:pt x="453" y="148"/>
                    </a:lnTo>
                    <a:lnTo>
                      <a:pt x="453" y="146"/>
                    </a:lnTo>
                    <a:lnTo>
                      <a:pt x="451" y="146"/>
                    </a:lnTo>
                    <a:lnTo>
                      <a:pt x="453" y="146"/>
                    </a:lnTo>
                    <a:lnTo>
                      <a:pt x="451" y="146"/>
                    </a:lnTo>
                    <a:lnTo>
                      <a:pt x="453" y="146"/>
                    </a:lnTo>
                    <a:close/>
                    <a:moveTo>
                      <a:pt x="522" y="242"/>
                    </a:moveTo>
                    <a:lnTo>
                      <a:pt x="522" y="244"/>
                    </a:lnTo>
                    <a:lnTo>
                      <a:pt x="522" y="242"/>
                    </a:lnTo>
                    <a:close/>
                    <a:moveTo>
                      <a:pt x="564" y="331"/>
                    </a:moveTo>
                    <a:lnTo>
                      <a:pt x="562" y="331"/>
                    </a:lnTo>
                    <a:lnTo>
                      <a:pt x="564" y="331"/>
                    </a:lnTo>
                    <a:lnTo>
                      <a:pt x="562" y="331"/>
                    </a:lnTo>
                    <a:lnTo>
                      <a:pt x="564" y="331"/>
                    </a:lnTo>
                    <a:close/>
                    <a:moveTo>
                      <a:pt x="501" y="363"/>
                    </a:moveTo>
                    <a:lnTo>
                      <a:pt x="501" y="361"/>
                    </a:lnTo>
                    <a:lnTo>
                      <a:pt x="503" y="361"/>
                    </a:lnTo>
                    <a:lnTo>
                      <a:pt x="505" y="363"/>
                    </a:lnTo>
                    <a:lnTo>
                      <a:pt x="505" y="365"/>
                    </a:lnTo>
                    <a:lnTo>
                      <a:pt x="503" y="365"/>
                    </a:lnTo>
                    <a:lnTo>
                      <a:pt x="501" y="365"/>
                    </a:lnTo>
                    <a:lnTo>
                      <a:pt x="501" y="363"/>
                    </a:lnTo>
                    <a:lnTo>
                      <a:pt x="501" y="365"/>
                    </a:lnTo>
                    <a:lnTo>
                      <a:pt x="499" y="365"/>
                    </a:lnTo>
                    <a:lnTo>
                      <a:pt x="499" y="363"/>
                    </a:lnTo>
                    <a:lnTo>
                      <a:pt x="501" y="363"/>
                    </a:lnTo>
                    <a:close/>
                    <a:moveTo>
                      <a:pt x="491" y="360"/>
                    </a:moveTo>
                    <a:lnTo>
                      <a:pt x="491" y="361"/>
                    </a:lnTo>
                    <a:lnTo>
                      <a:pt x="489" y="361"/>
                    </a:lnTo>
                    <a:lnTo>
                      <a:pt x="489" y="360"/>
                    </a:lnTo>
                    <a:lnTo>
                      <a:pt x="489" y="358"/>
                    </a:lnTo>
                    <a:lnTo>
                      <a:pt x="491" y="360"/>
                    </a:lnTo>
                    <a:close/>
                    <a:moveTo>
                      <a:pt x="105" y="310"/>
                    </a:moveTo>
                    <a:lnTo>
                      <a:pt x="105" y="308"/>
                    </a:lnTo>
                    <a:lnTo>
                      <a:pt x="107" y="308"/>
                    </a:lnTo>
                    <a:lnTo>
                      <a:pt x="109" y="306"/>
                    </a:lnTo>
                    <a:lnTo>
                      <a:pt x="109" y="308"/>
                    </a:lnTo>
                    <a:lnTo>
                      <a:pt x="107" y="308"/>
                    </a:lnTo>
                    <a:lnTo>
                      <a:pt x="109" y="308"/>
                    </a:lnTo>
                    <a:lnTo>
                      <a:pt x="107" y="308"/>
                    </a:lnTo>
                    <a:lnTo>
                      <a:pt x="107" y="310"/>
                    </a:lnTo>
                    <a:lnTo>
                      <a:pt x="105" y="310"/>
                    </a:lnTo>
                    <a:lnTo>
                      <a:pt x="105" y="308"/>
                    </a:lnTo>
                    <a:lnTo>
                      <a:pt x="105" y="310"/>
                    </a:lnTo>
                    <a:lnTo>
                      <a:pt x="105" y="308"/>
                    </a:lnTo>
                    <a:lnTo>
                      <a:pt x="105" y="310"/>
                    </a:lnTo>
                    <a:close/>
                    <a:moveTo>
                      <a:pt x="217" y="175"/>
                    </a:moveTo>
                    <a:lnTo>
                      <a:pt x="219" y="175"/>
                    </a:lnTo>
                    <a:lnTo>
                      <a:pt x="217" y="175"/>
                    </a:lnTo>
                    <a:close/>
                    <a:moveTo>
                      <a:pt x="240" y="148"/>
                    </a:moveTo>
                    <a:lnTo>
                      <a:pt x="240" y="146"/>
                    </a:lnTo>
                    <a:lnTo>
                      <a:pt x="240" y="148"/>
                    </a:lnTo>
                    <a:close/>
                    <a:moveTo>
                      <a:pt x="209" y="190"/>
                    </a:moveTo>
                    <a:lnTo>
                      <a:pt x="211" y="190"/>
                    </a:lnTo>
                    <a:lnTo>
                      <a:pt x="209" y="190"/>
                    </a:lnTo>
                    <a:lnTo>
                      <a:pt x="207" y="190"/>
                    </a:lnTo>
                    <a:lnTo>
                      <a:pt x="209" y="190"/>
                    </a:lnTo>
                    <a:lnTo>
                      <a:pt x="211" y="190"/>
                    </a:lnTo>
                    <a:lnTo>
                      <a:pt x="209" y="190"/>
                    </a:lnTo>
                    <a:lnTo>
                      <a:pt x="207" y="190"/>
                    </a:lnTo>
                    <a:lnTo>
                      <a:pt x="207" y="188"/>
                    </a:lnTo>
                    <a:lnTo>
                      <a:pt x="209" y="188"/>
                    </a:lnTo>
                    <a:lnTo>
                      <a:pt x="209" y="190"/>
                    </a:lnTo>
                    <a:lnTo>
                      <a:pt x="209" y="188"/>
                    </a:lnTo>
                    <a:lnTo>
                      <a:pt x="207" y="188"/>
                    </a:lnTo>
                    <a:lnTo>
                      <a:pt x="207" y="187"/>
                    </a:lnTo>
                    <a:lnTo>
                      <a:pt x="209" y="187"/>
                    </a:lnTo>
                    <a:lnTo>
                      <a:pt x="209" y="188"/>
                    </a:lnTo>
                    <a:lnTo>
                      <a:pt x="211" y="188"/>
                    </a:lnTo>
                    <a:lnTo>
                      <a:pt x="209" y="188"/>
                    </a:lnTo>
                    <a:lnTo>
                      <a:pt x="209" y="187"/>
                    </a:lnTo>
                    <a:lnTo>
                      <a:pt x="209" y="185"/>
                    </a:lnTo>
                    <a:lnTo>
                      <a:pt x="209" y="187"/>
                    </a:lnTo>
                    <a:lnTo>
                      <a:pt x="209" y="185"/>
                    </a:lnTo>
                    <a:lnTo>
                      <a:pt x="207" y="183"/>
                    </a:lnTo>
                    <a:lnTo>
                      <a:pt x="209" y="183"/>
                    </a:lnTo>
                    <a:lnTo>
                      <a:pt x="207" y="183"/>
                    </a:lnTo>
                    <a:lnTo>
                      <a:pt x="207" y="185"/>
                    </a:lnTo>
                    <a:lnTo>
                      <a:pt x="207" y="183"/>
                    </a:lnTo>
                    <a:lnTo>
                      <a:pt x="207" y="185"/>
                    </a:lnTo>
                    <a:lnTo>
                      <a:pt x="205" y="185"/>
                    </a:lnTo>
                    <a:lnTo>
                      <a:pt x="205" y="183"/>
                    </a:lnTo>
                    <a:lnTo>
                      <a:pt x="205" y="185"/>
                    </a:lnTo>
                    <a:lnTo>
                      <a:pt x="205" y="183"/>
                    </a:lnTo>
                    <a:lnTo>
                      <a:pt x="205" y="185"/>
                    </a:lnTo>
                    <a:lnTo>
                      <a:pt x="205" y="183"/>
                    </a:lnTo>
                    <a:lnTo>
                      <a:pt x="205" y="185"/>
                    </a:lnTo>
                    <a:lnTo>
                      <a:pt x="203" y="185"/>
                    </a:lnTo>
                    <a:lnTo>
                      <a:pt x="201" y="185"/>
                    </a:lnTo>
                    <a:lnTo>
                      <a:pt x="201" y="183"/>
                    </a:lnTo>
                    <a:lnTo>
                      <a:pt x="201" y="185"/>
                    </a:lnTo>
                    <a:lnTo>
                      <a:pt x="201" y="183"/>
                    </a:lnTo>
                    <a:lnTo>
                      <a:pt x="201" y="185"/>
                    </a:lnTo>
                    <a:lnTo>
                      <a:pt x="201" y="187"/>
                    </a:lnTo>
                    <a:lnTo>
                      <a:pt x="203" y="188"/>
                    </a:lnTo>
                    <a:lnTo>
                      <a:pt x="201" y="188"/>
                    </a:lnTo>
                    <a:lnTo>
                      <a:pt x="201" y="187"/>
                    </a:lnTo>
                    <a:lnTo>
                      <a:pt x="201" y="185"/>
                    </a:lnTo>
                    <a:lnTo>
                      <a:pt x="201" y="183"/>
                    </a:lnTo>
                    <a:lnTo>
                      <a:pt x="201" y="181"/>
                    </a:lnTo>
                    <a:lnTo>
                      <a:pt x="203" y="179"/>
                    </a:lnTo>
                    <a:lnTo>
                      <a:pt x="205" y="179"/>
                    </a:lnTo>
                    <a:lnTo>
                      <a:pt x="207" y="179"/>
                    </a:lnTo>
                    <a:lnTo>
                      <a:pt x="209" y="179"/>
                    </a:lnTo>
                    <a:lnTo>
                      <a:pt x="209" y="177"/>
                    </a:lnTo>
                    <a:lnTo>
                      <a:pt x="209" y="179"/>
                    </a:lnTo>
                    <a:lnTo>
                      <a:pt x="209" y="177"/>
                    </a:lnTo>
                    <a:lnTo>
                      <a:pt x="211" y="177"/>
                    </a:lnTo>
                    <a:lnTo>
                      <a:pt x="209" y="179"/>
                    </a:lnTo>
                    <a:lnTo>
                      <a:pt x="211" y="179"/>
                    </a:lnTo>
                    <a:lnTo>
                      <a:pt x="213" y="179"/>
                    </a:lnTo>
                    <a:lnTo>
                      <a:pt x="211" y="179"/>
                    </a:lnTo>
                    <a:lnTo>
                      <a:pt x="213" y="179"/>
                    </a:lnTo>
                    <a:lnTo>
                      <a:pt x="211" y="179"/>
                    </a:lnTo>
                    <a:lnTo>
                      <a:pt x="211" y="177"/>
                    </a:lnTo>
                    <a:lnTo>
                      <a:pt x="211" y="175"/>
                    </a:lnTo>
                    <a:lnTo>
                      <a:pt x="211" y="177"/>
                    </a:lnTo>
                    <a:lnTo>
                      <a:pt x="211" y="175"/>
                    </a:lnTo>
                    <a:lnTo>
                      <a:pt x="213" y="175"/>
                    </a:lnTo>
                    <a:lnTo>
                      <a:pt x="213" y="177"/>
                    </a:lnTo>
                    <a:lnTo>
                      <a:pt x="215" y="177"/>
                    </a:lnTo>
                    <a:lnTo>
                      <a:pt x="213" y="177"/>
                    </a:lnTo>
                    <a:lnTo>
                      <a:pt x="213" y="175"/>
                    </a:lnTo>
                    <a:lnTo>
                      <a:pt x="215" y="175"/>
                    </a:lnTo>
                    <a:lnTo>
                      <a:pt x="217" y="175"/>
                    </a:lnTo>
                    <a:lnTo>
                      <a:pt x="215" y="175"/>
                    </a:lnTo>
                    <a:lnTo>
                      <a:pt x="213" y="175"/>
                    </a:lnTo>
                    <a:lnTo>
                      <a:pt x="211" y="175"/>
                    </a:lnTo>
                    <a:lnTo>
                      <a:pt x="213" y="175"/>
                    </a:lnTo>
                    <a:lnTo>
                      <a:pt x="211" y="173"/>
                    </a:lnTo>
                    <a:lnTo>
                      <a:pt x="213" y="173"/>
                    </a:lnTo>
                    <a:lnTo>
                      <a:pt x="213" y="175"/>
                    </a:lnTo>
                    <a:lnTo>
                      <a:pt x="213" y="173"/>
                    </a:lnTo>
                    <a:lnTo>
                      <a:pt x="215" y="173"/>
                    </a:lnTo>
                    <a:lnTo>
                      <a:pt x="215" y="175"/>
                    </a:lnTo>
                    <a:lnTo>
                      <a:pt x="215" y="173"/>
                    </a:lnTo>
                    <a:lnTo>
                      <a:pt x="215" y="175"/>
                    </a:lnTo>
                    <a:lnTo>
                      <a:pt x="217" y="175"/>
                    </a:lnTo>
                    <a:lnTo>
                      <a:pt x="219" y="175"/>
                    </a:lnTo>
                    <a:lnTo>
                      <a:pt x="217" y="175"/>
                    </a:lnTo>
                    <a:lnTo>
                      <a:pt x="219" y="175"/>
                    </a:lnTo>
                    <a:lnTo>
                      <a:pt x="219" y="177"/>
                    </a:lnTo>
                    <a:lnTo>
                      <a:pt x="220" y="177"/>
                    </a:lnTo>
                    <a:lnTo>
                      <a:pt x="220" y="179"/>
                    </a:lnTo>
                    <a:lnTo>
                      <a:pt x="220" y="177"/>
                    </a:lnTo>
                    <a:lnTo>
                      <a:pt x="222" y="177"/>
                    </a:lnTo>
                    <a:lnTo>
                      <a:pt x="220" y="177"/>
                    </a:lnTo>
                    <a:lnTo>
                      <a:pt x="219" y="177"/>
                    </a:lnTo>
                    <a:lnTo>
                      <a:pt x="220" y="177"/>
                    </a:lnTo>
                    <a:lnTo>
                      <a:pt x="219" y="177"/>
                    </a:lnTo>
                    <a:lnTo>
                      <a:pt x="219" y="175"/>
                    </a:lnTo>
                    <a:lnTo>
                      <a:pt x="217" y="175"/>
                    </a:lnTo>
                    <a:lnTo>
                      <a:pt x="219" y="175"/>
                    </a:lnTo>
                    <a:lnTo>
                      <a:pt x="217" y="175"/>
                    </a:lnTo>
                    <a:lnTo>
                      <a:pt x="215" y="175"/>
                    </a:lnTo>
                    <a:lnTo>
                      <a:pt x="217" y="175"/>
                    </a:lnTo>
                    <a:lnTo>
                      <a:pt x="215" y="175"/>
                    </a:lnTo>
                    <a:lnTo>
                      <a:pt x="215" y="173"/>
                    </a:lnTo>
                    <a:lnTo>
                      <a:pt x="217" y="173"/>
                    </a:lnTo>
                    <a:lnTo>
                      <a:pt x="215" y="173"/>
                    </a:lnTo>
                    <a:lnTo>
                      <a:pt x="215" y="171"/>
                    </a:lnTo>
                    <a:lnTo>
                      <a:pt x="215" y="173"/>
                    </a:lnTo>
                    <a:lnTo>
                      <a:pt x="215" y="171"/>
                    </a:lnTo>
                    <a:lnTo>
                      <a:pt x="217" y="171"/>
                    </a:lnTo>
                    <a:lnTo>
                      <a:pt x="217" y="173"/>
                    </a:lnTo>
                    <a:lnTo>
                      <a:pt x="217" y="171"/>
                    </a:lnTo>
                    <a:lnTo>
                      <a:pt x="215" y="171"/>
                    </a:lnTo>
                    <a:lnTo>
                      <a:pt x="217" y="171"/>
                    </a:lnTo>
                    <a:lnTo>
                      <a:pt x="217" y="169"/>
                    </a:lnTo>
                    <a:lnTo>
                      <a:pt x="217" y="171"/>
                    </a:lnTo>
                    <a:lnTo>
                      <a:pt x="217" y="169"/>
                    </a:lnTo>
                    <a:lnTo>
                      <a:pt x="219" y="169"/>
                    </a:lnTo>
                    <a:lnTo>
                      <a:pt x="219" y="167"/>
                    </a:lnTo>
                    <a:lnTo>
                      <a:pt x="219" y="169"/>
                    </a:lnTo>
                    <a:lnTo>
                      <a:pt x="219" y="167"/>
                    </a:lnTo>
                    <a:lnTo>
                      <a:pt x="220" y="167"/>
                    </a:lnTo>
                    <a:lnTo>
                      <a:pt x="222" y="165"/>
                    </a:lnTo>
                    <a:lnTo>
                      <a:pt x="224" y="165"/>
                    </a:lnTo>
                    <a:lnTo>
                      <a:pt x="224" y="163"/>
                    </a:lnTo>
                    <a:lnTo>
                      <a:pt x="226" y="163"/>
                    </a:lnTo>
                    <a:lnTo>
                      <a:pt x="228" y="162"/>
                    </a:lnTo>
                    <a:lnTo>
                      <a:pt x="228" y="160"/>
                    </a:lnTo>
                    <a:lnTo>
                      <a:pt x="230" y="160"/>
                    </a:lnTo>
                    <a:lnTo>
                      <a:pt x="232" y="158"/>
                    </a:lnTo>
                    <a:lnTo>
                      <a:pt x="232" y="156"/>
                    </a:lnTo>
                    <a:lnTo>
                      <a:pt x="234" y="156"/>
                    </a:lnTo>
                    <a:lnTo>
                      <a:pt x="234" y="154"/>
                    </a:lnTo>
                    <a:lnTo>
                      <a:pt x="236" y="152"/>
                    </a:lnTo>
                    <a:lnTo>
                      <a:pt x="238" y="150"/>
                    </a:lnTo>
                    <a:lnTo>
                      <a:pt x="238" y="148"/>
                    </a:lnTo>
                    <a:lnTo>
                      <a:pt x="238" y="150"/>
                    </a:lnTo>
                    <a:lnTo>
                      <a:pt x="238" y="152"/>
                    </a:lnTo>
                    <a:lnTo>
                      <a:pt x="236" y="152"/>
                    </a:lnTo>
                    <a:lnTo>
                      <a:pt x="236" y="154"/>
                    </a:lnTo>
                    <a:lnTo>
                      <a:pt x="236" y="152"/>
                    </a:lnTo>
                    <a:lnTo>
                      <a:pt x="236" y="154"/>
                    </a:lnTo>
                    <a:lnTo>
                      <a:pt x="236" y="152"/>
                    </a:lnTo>
                    <a:lnTo>
                      <a:pt x="238" y="152"/>
                    </a:lnTo>
                    <a:lnTo>
                      <a:pt x="238" y="150"/>
                    </a:lnTo>
                    <a:lnTo>
                      <a:pt x="240" y="150"/>
                    </a:lnTo>
                    <a:lnTo>
                      <a:pt x="240" y="148"/>
                    </a:lnTo>
                    <a:lnTo>
                      <a:pt x="240" y="150"/>
                    </a:lnTo>
                    <a:lnTo>
                      <a:pt x="240" y="148"/>
                    </a:lnTo>
                    <a:lnTo>
                      <a:pt x="240" y="146"/>
                    </a:lnTo>
                    <a:lnTo>
                      <a:pt x="240" y="148"/>
                    </a:lnTo>
                    <a:lnTo>
                      <a:pt x="240" y="146"/>
                    </a:lnTo>
                    <a:lnTo>
                      <a:pt x="242" y="146"/>
                    </a:lnTo>
                    <a:lnTo>
                      <a:pt x="242" y="144"/>
                    </a:lnTo>
                    <a:lnTo>
                      <a:pt x="242" y="142"/>
                    </a:lnTo>
                    <a:lnTo>
                      <a:pt x="244" y="142"/>
                    </a:lnTo>
                    <a:lnTo>
                      <a:pt x="245" y="142"/>
                    </a:lnTo>
                    <a:lnTo>
                      <a:pt x="245" y="140"/>
                    </a:lnTo>
                    <a:lnTo>
                      <a:pt x="245" y="142"/>
                    </a:lnTo>
                    <a:lnTo>
                      <a:pt x="244" y="142"/>
                    </a:lnTo>
                    <a:lnTo>
                      <a:pt x="244" y="144"/>
                    </a:lnTo>
                    <a:lnTo>
                      <a:pt x="245" y="144"/>
                    </a:lnTo>
                    <a:lnTo>
                      <a:pt x="245" y="146"/>
                    </a:lnTo>
                    <a:lnTo>
                      <a:pt x="245" y="144"/>
                    </a:lnTo>
                    <a:lnTo>
                      <a:pt x="245" y="146"/>
                    </a:lnTo>
                    <a:lnTo>
                      <a:pt x="245" y="144"/>
                    </a:lnTo>
                    <a:lnTo>
                      <a:pt x="245" y="142"/>
                    </a:lnTo>
                    <a:lnTo>
                      <a:pt x="247" y="144"/>
                    </a:lnTo>
                    <a:lnTo>
                      <a:pt x="249" y="144"/>
                    </a:lnTo>
                    <a:lnTo>
                      <a:pt x="247" y="142"/>
                    </a:lnTo>
                    <a:lnTo>
                      <a:pt x="249" y="142"/>
                    </a:lnTo>
                    <a:lnTo>
                      <a:pt x="249" y="144"/>
                    </a:lnTo>
                    <a:lnTo>
                      <a:pt x="251" y="142"/>
                    </a:lnTo>
                    <a:lnTo>
                      <a:pt x="251" y="140"/>
                    </a:lnTo>
                    <a:lnTo>
                      <a:pt x="253" y="140"/>
                    </a:lnTo>
                    <a:lnTo>
                      <a:pt x="253" y="138"/>
                    </a:lnTo>
                    <a:lnTo>
                      <a:pt x="251" y="137"/>
                    </a:lnTo>
                    <a:lnTo>
                      <a:pt x="249" y="137"/>
                    </a:lnTo>
                    <a:lnTo>
                      <a:pt x="247" y="137"/>
                    </a:lnTo>
                    <a:lnTo>
                      <a:pt x="247" y="138"/>
                    </a:lnTo>
                    <a:lnTo>
                      <a:pt x="247" y="140"/>
                    </a:lnTo>
                    <a:lnTo>
                      <a:pt x="249" y="142"/>
                    </a:lnTo>
                    <a:lnTo>
                      <a:pt x="247" y="142"/>
                    </a:lnTo>
                    <a:lnTo>
                      <a:pt x="247" y="140"/>
                    </a:lnTo>
                    <a:lnTo>
                      <a:pt x="247" y="142"/>
                    </a:lnTo>
                    <a:lnTo>
                      <a:pt x="247" y="140"/>
                    </a:lnTo>
                    <a:lnTo>
                      <a:pt x="245" y="140"/>
                    </a:lnTo>
                    <a:lnTo>
                      <a:pt x="244" y="142"/>
                    </a:lnTo>
                    <a:lnTo>
                      <a:pt x="242" y="142"/>
                    </a:lnTo>
                    <a:lnTo>
                      <a:pt x="242" y="144"/>
                    </a:lnTo>
                    <a:lnTo>
                      <a:pt x="240" y="146"/>
                    </a:lnTo>
                    <a:lnTo>
                      <a:pt x="240" y="148"/>
                    </a:lnTo>
                    <a:lnTo>
                      <a:pt x="238" y="148"/>
                    </a:lnTo>
                    <a:lnTo>
                      <a:pt x="240" y="148"/>
                    </a:lnTo>
                    <a:lnTo>
                      <a:pt x="238" y="148"/>
                    </a:lnTo>
                    <a:lnTo>
                      <a:pt x="240" y="148"/>
                    </a:lnTo>
                    <a:lnTo>
                      <a:pt x="240" y="146"/>
                    </a:lnTo>
                    <a:lnTo>
                      <a:pt x="242" y="144"/>
                    </a:lnTo>
                    <a:lnTo>
                      <a:pt x="242" y="142"/>
                    </a:lnTo>
                    <a:lnTo>
                      <a:pt x="244" y="142"/>
                    </a:lnTo>
                    <a:lnTo>
                      <a:pt x="245" y="140"/>
                    </a:lnTo>
                    <a:lnTo>
                      <a:pt x="247" y="138"/>
                    </a:lnTo>
                    <a:lnTo>
                      <a:pt x="247" y="137"/>
                    </a:lnTo>
                    <a:lnTo>
                      <a:pt x="249" y="137"/>
                    </a:lnTo>
                    <a:lnTo>
                      <a:pt x="253" y="137"/>
                    </a:lnTo>
                    <a:lnTo>
                      <a:pt x="255" y="137"/>
                    </a:lnTo>
                    <a:lnTo>
                      <a:pt x="257" y="137"/>
                    </a:lnTo>
                    <a:lnTo>
                      <a:pt x="255" y="137"/>
                    </a:lnTo>
                    <a:lnTo>
                      <a:pt x="255" y="138"/>
                    </a:lnTo>
                    <a:lnTo>
                      <a:pt x="257" y="138"/>
                    </a:lnTo>
                    <a:lnTo>
                      <a:pt x="257" y="137"/>
                    </a:lnTo>
                    <a:lnTo>
                      <a:pt x="259" y="137"/>
                    </a:lnTo>
                    <a:lnTo>
                      <a:pt x="261" y="137"/>
                    </a:lnTo>
                    <a:lnTo>
                      <a:pt x="261" y="135"/>
                    </a:lnTo>
                    <a:lnTo>
                      <a:pt x="263" y="135"/>
                    </a:lnTo>
                    <a:lnTo>
                      <a:pt x="265" y="135"/>
                    </a:lnTo>
                    <a:lnTo>
                      <a:pt x="267" y="133"/>
                    </a:lnTo>
                    <a:lnTo>
                      <a:pt x="268" y="133"/>
                    </a:lnTo>
                    <a:lnTo>
                      <a:pt x="270" y="133"/>
                    </a:lnTo>
                    <a:lnTo>
                      <a:pt x="270" y="131"/>
                    </a:lnTo>
                    <a:lnTo>
                      <a:pt x="272" y="131"/>
                    </a:lnTo>
                    <a:lnTo>
                      <a:pt x="274" y="131"/>
                    </a:lnTo>
                    <a:lnTo>
                      <a:pt x="274" y="129"/>
                    </a:lnTo>
                    <a:lnTo>
                      <a:pt x="276" y="129"/>
                    </a:lnTo>
                    <a:lnTo>
                      <a:pt x="278" y="127"/>
                    </a:lnTo>
                    <a:lnTo>
                      <a:pt x="280" y="125"/>
                    </a:lnTo>
                    <a:lnTo>
                      <a:pt x="282" y="125"/>
                    </a:lnTo>
                    <a:lnTo>
                      <a:pt x="282" y="123"/>
                    </a:lnTo>
                    <a:lnTo>
                      <a:pt x="282" y="125"/>
                    </a:lnTo>
                    <a:lnTo>
                      <a:pt x="280" y="125"/>
                    </a:lnTo>
                    <a:lnTo>
                      <a:pt x="282" y="125"/>
                    </a:lnTo>
                    <a:lnTo>
                      <a:pt x="282" y="123"/>
                    </a:lnTo>
                    <a:lnTo>
                      <a:pt x="284" y="123"/>
                    </a:lnTo>
                    <a:lnTo>
                      <a:pt x="286" y="123"/>
                    </a:lnTo>
                    <a:lnTo>
                      <a:pt x="286" y="121"/>
                    </a:lnTo>
                    <a:lnTo>
                      <a:pt x="288" y="121"/>
                    </a:lnTo>
                    <a:lnTo>
                      <a:pt x="288" y="123"/>
                    </a:lnTo>
                    <a:lnTo>
                      <a:pt x="290" y="123"/>
                    </a:lnTo>
                    <a:lnTo>
                      <a:pt x="290" y="121"/>
                    </a:lnTo>
                    <a:lnTo>
                      <a:pt x="288" y="121"/>
                    </a:lnTo>
                    <a:lnTo>
                      <a:pt x="290" y="121"/>
                    </a:lnTo>
                    <a:lnTo>
                      <a:pt x="292" y="121"/>
                    </a:lnTo>
                    <a:lnTo>
                      <a:pt x="292" y="119"/>
                    </a:lnTo>
                    <a:lnTo>
                      <a:pt x="293" y="119"/>
                    </a:lnTo>
                    <a:lnTo>
                      <a:pt x="295" y="119"/>
                    </a:lnTo>
                    <a:lnTo>
                      <a:pt x="297" y="119"/>
                    </a:lnTo>
                    <a:lnTo>
                      <a:pt x="297" y="117"/>
                    </a:lnTo>
                    <a:lnTo>
                      <a:pt x="299" y="117"/>
                    </a:lnTo>
                    <a:lnTo>
                      <a:pt x="299" y="115"/>
                    </a:lnTo>
                    <a:lnTo>
                      <a:pt x="301" y="115"/>
                    </a:lnTo>
                    <a:lnTo>
                      <a:pt x="301" y="113"/>
                    </a:lnTo>
                    <a:lnTo>
                      <a:pt x="301" y="115"/>
                    </a:lnTo>
                    <a:lnTo>
                      <a:pt x="303" y="115"/>
                    </a:lnTo>
                    <a:lnTo>
                      <a:pt x="301" y="115"/>
                    </a:lnTo>
                    <a:lnTo>
                      <a:pt x="303" y="115"/>
                    </a:lnTo>
                    <a:lnTo>
                      <a:pt x="303" y="113"/>
                    </a:lnTo>
                    <a:lnTo>
                      <a:pt x="301" y="113"/>
                    </a:lnTo>
                    <a:lnTo>
                      <a:pt x="301" y="115"/>
                    </a:lnTo>
                    <a:lnTo>
                      <a:pt x="301" y="113"/>
                    </a:lnTo>
                    <a:lnTo>
                      <a:pt x="303" y="113"/>
                    </a:lnTo>
                    <a:lnTo>
                      <a:pt x="303" y="112"/>
                    </a:lnTo>
                    <a:lnTo>
                      <a:pt x="305" y="112"/>
                    </a:lnTo>
                    <a:lnTo>
                      <a:pt x="305" y="110"/>
                    </a:lnTo>
                    <a:lnTo>
                      <a:pt x="307" y="110"/>
                    </a:lnTo>
                    <a:lnTo>
                      <a:pt x="309" y="110"/>
                    </a:lnTo>
                    <a:lnTo>
                      <a:pt x="309" y="108"/>
                    </a:lnTo>
                    <a:lnTo>
                      <a:pt x="311" y="108"/>
                    </a:lnTo>
                    <a:lnTo>
                      <a:pt x="313" y="108"/>
                    </a:lnTo>
                    <a:lnTo>
                      <a:pt x="315" y="106"/>
                    </a:lnTo>
                    <a:lnTo>
                      <a:pt x="317" y="106"/>
                    </a:lnTo>
                    <a:lnTo>
                      <a:pt x="318" y="106"/>
                    </a:lnTo>
                    <a:lnTo>
                      <a:pt x="320" y="104"/>
                    </a:lnTo>
                    <a:lnTo>
                      <a:pt x="324" y="104"/>
                    </a:lnTo>
                    <a:lnTo>
                      <a:pt x="328" y="102"/>
                    </a:lnTo>
                    <a:lnTo>
                      <a:pt x="330" y="102"/>
                    </a:lnTo>
                    <a:lnTo>
                      <a:pt x="328" y="102"/>
                    </a:lnTo>
                    <a:lnTo>
                      <a:pt x="324" y="104"/>
                    </a:lnTo>
                    <a:lnTo>
                      <a:pt x="322" y="104"/>
                    </a:lnTo>
                    <a:lnTo>
                      <a:pt x="320" y="104"/>
                    </a:lnTo>
                    <a:lnTo>
                      <a:pt x="320" y="106"/>
                    </a:lnTo>
                    <a:lnTo>
                      <a:pt x="318" y="106"/>
                    </a:lnTo>
                    <a:lnTo>
                      <a:pt x="317" y="106"/>
                    </a:lnTo>
                    <a:lnTo>
                      <a:pt x="318" y="106"/>
                    </a:lnTo>
                    <a:lnTo>
                      <a:pt x="320" y="106"/>
                    </a:lnTo>
                    <a:lnTo>
                      <a:pt x="320" y="104"/>
                    </a:lnTo>
                    <a:lnTo>
                      <a:pt x="320" y="106"/>
                    </a:lnTo>
                    <a:lnTo>
                      <a:pt x="320" y="108"/>
                    </a:lnTo>
                    <a:lnTo>
                      <a:pt x="318" y="108"/>
                    </a:lnTo>
                    <a:lnTo>
                      <a:pt x="320" y="108"/>
                    </a:lnTo>
                    <a:lnTo>
                      <a:pt x="318" y="108"/>
                    </a:lnTo>
                    <a:lnTo>
                      <a:pt x="318" y="106"/>
                    </a:lnTo>
                    <a:lnTo>
                      <a:pt x="317" y="106"/>
                    </a:lnTo>
                    <a:lnTo>
                      <a:pt x="317" y="108"/>
                    </a:lnTo>
                    <a:lnTo>
                      <a:pt x="315" y="108"/>
                    </a:lnTo>
                    <a:lnTo>
                      <a:pt x="315" y="110"/>
                    </a:lnTo>
                    <a:lnTo>
                      <a:pt x="315" y="108"/>
                    </a:lnTo>
                    <a:lnTo>
                      <a:pt x="313" y="108"/>
                    </a:lnTo>
                    <a:lnTo>
                      <a:pt x="313" y="110"/>
                    </a:lnTo>
                    <a:lnTo>
                      <a:pt x="315" y="110"/>
                    </a:lnTo>
                    <a:lnTo>
                      <a:pt x="313" y="110"/>
                    </a:lnTo>
                    <a:lnTo>
                      <a:pt x="315" y="110"/>
                    </a:lnTo>
                    <a:lnTo>
                      <a:pt x="315" y="112"/>
                    </a:lnTo>
                    <a:lnTo>
                      <a:pt x="317" y="113"/>
                    </a:lnTo>
                    <a:lnTo>
                      <a:pt x="318" y="112"/>
                    </a:lnTo>
                    <a:lnTo>
                      <a:pt x="318" y="110"/>
                    </a:lnTo>
                    <a:lnTo>
                      <a:pt x="320" y="110"/>
                    </a:lnTo>
                    <a:lnTo>
                      <a:pt x="320" y="108"/>
                    </a:lnTo>
                    <a:lnTo>
                      <a:pt x="322" y="108"/>
                    </a:lnTo>
                    <a:lnTo>
                      <a:pt x="322" y="106"/>
                    </a:lnTo>
                    <a:lnTo>
                      <a:pt x="324" y="106"/>
                    </a:lnTo>
                    <a:lnTo>
                      <a:pt x="324" y="104"/>
                    </a:lnTo>
                    <a:lnTo>
                      <a:pt x="326" y="104"/>
                    </a:lnTo>
                    <a:lnTo>
                      <a:pt x="328" y="104"/>
                    </a:lnTo>
                    <a:lnTo>
                      <a:pt x="328" y="102"/>
                    </a:lnTo>
                    <a:lnTo>
                      <a:pt x="328" y="104"/>
                    </a:lnTo>
                    <a:lnTo>
                      <a:pt x="328" y="102"/>
                    </a:lnTo>
                    <a:lnTo>
                      <a:pt x="328" y="104"/>
                    </a:lnTo>
                    <a:lnTo>
                      <a:pt x="328" y="102"/>
                    </a:lnTo>
                    <a:lnTo>
                      <a:pt x="330" y="102"/>
                    </a:lnTo>
                    <a:lnTo>
                      <a:pt x="330" y="104"/>
                    </a:lnTo>
                    <a:lnTo>
                      <a:pt x="330" y="102"/>
                    </a:lnTo>
                    <a:lnTo>
                      <a:pt x="330" y="104"/>
                    </a:lnTo>
                    <a:lnTo>
                      <a:pt x="330" y="102"/>
                    </a:lnTo>
                    <a:lnTo>
                      <a:pt x="330" y="104"/>
                    </a:lnTo>
                    <a:lnTo>
                      <a:pt x="330" y="102"/>
                    </a:lnTo>
                    <a:lnTo>
                      <a:pt x="332" y="102"/>
                    </a:lnTo>
                    <a:lnTo>
                      <a:pt x="334" y="102"/>
                    </a:lnTo>
                    <a:lnTo>
                      <a:pt x="336" y="102"/>
                    </a:lnTo>
                    <a:lnTo>
                      <a:pt x="338" y="102"/>
                    </a:lnTo>
                    <a:lnTo>
                      <a:pt x="340" y="102"/>
                    </a:lnTo>
                    <a:lnTo>
                      <a:pt x="341" y="102"/>
                    </a:lnTo>
                    <a:lnTo>
                      <a:pt x="343" y="102"/>
                    </a:lnTo>
                    <a:lnTo>
                      <a:pt x="345" y="102"/>
                    </a:lnTo>
                    <a:lnTo>
                      <a:pt x="343" y="102"/>
                    </a:lnTo>
                    <a:lnTo>
                      <a:pt x="341" y="102"/>
                    </a:lnTo>
                    <a:lnTo>
                      <a:pt x="340" y="102"/>
                    </a:lnTo>
                    <a:lnTo>
                      <a:pt x="338" y="102"/>
                    </a:lnTo>
                    <a:lnTo>
                      <a:pt x="336" y="102"/>
                    </a:lnTo>
                    <a:lnTo>
                      <a:pt x="334" y="102"/>
                    </a:lnTo>
                    <a:lnTo>
                      <a:pt x="332" y="102"/>
                    </a:lnTo>
                    <a:lnTo>
                      <a:pt x="330" y="102"/>
                    </a:lnTo>
                    <a:lnTo>
                      <a:pt x="332" y="102"/>
                    </a:lnTo>
                    <a:lnTo>
                      <a:pt x="334" y="102"/>
                    </a:lnTo>
                    <a:lnTo>
                      <a:pt x="336" y="102"/>
                    </a:lnTo>
                    <a:lnTo>
                      <a:pt x="338" y="102"/>
                    </a:lnTo>
                    <a:lnTo>
                      <a:pt x="341" y="102"/>
                    </a:lnTo>
                    <a:lnTo>
                      <a:pt x="343" y="102"/>
                    </a:lnTo>
                    <a:lnTo>
                      <a:pt x="347" y="102"/>
                    </a:lnTo>
                    <a:lnTo>
                      <a:pt x="349" y="102"/>
                    </a:lnTo>
                    <a:lnTo>
                      <a:pt x="518" y="244"/>
                    </a:lnTo>
                    <a:lnTo>
                      <a:pt x="518" y="246"/>
                    </a:lnTo>
                    <a:lnTo>
                      <a:pt x="518" y="248"/>
                    </a:lnTo>
                    <a:lnTo>
                      <a:pt x="520" y="248"/>
                    </a:lnTo>
                    <a:lnTo>
                      <a:pt x="518" y="248"/>
                    </a:lnTo>
                    <a:lnTo>
                      <a:pt x="520" y="248"/>
                    </a:lnTo>
                    <a:lnTo>
                      <a:pt x="518" y="248"/>
                    </a:lnTo>
                    <a:lnTo>
                      <a:pt x="520" y="248"/>
                    </a:lnTo>
                    <a:lnTo>
                      <a:pt x="520" y="250"/>
                    </a:lnTo>
                    <a:lnTo>
                      <a:pt x="520" y="248"/>
                    </a:lnTo>
                    <a:lnTo>
                      <a:pt x="520" y="246"/>
                    </a:lnTo>
                    <a:lnTo>
                      <a:pt x="522" y="248"/>
                    </a:lnTo>
                    <a:lnTo>
                      <a:pt x="528" y="252"/>
                    </a:lnTo>
                    <a:lnTo>
                      <a:pt x="534" y="258"/>
                    </a:lnTo>
                    <a:lnTo>
                      <a:pt x="534" y="260"/>
                    </a:lnTo>
                    <a:lnTo>
                      <a:pt x="534" y="262"/>
                    </a:lnTo>
                    <a:lnTo>
                      <a:pt x="534" y="263"/>
                    </a:lnTo>
                    <a:lnTo>
                      <a:pt x="534" y="265"/>
                    </a:lnTo>
                    <a:lnTo>
                      <a:pt x="534" y="267"/>
                    </a:lnTo>
                    <a:lnTo>
                      <a:pt x="536" y="267"/>
                    </a:lnTo>
                    <a:lnTo>
                      <a:pt x="536" y="269"/>
                    </a:lnTo>
                    <a:lnTo>
                      <a:pt x="536" y="271"/>
                    </a:lnTo>
                    <a:lnTo>
                      <a:pt x="536" y="273"/>
                    </a:lnTo>
                    <a:lnTo>
                      <a:pt x="536" y="275"/>
                    </a:lnTo>
                    <a:lnTo>
                      <a:pt x="537" y="277"/>
                    </a:lnTo>
                    <a:lnTo>
                      <a:pt x="537" y="279"/>
                    </a:lnTo>
                    <a:lnTo>
                      <a:pt x="536" y="279"/>
                    </a:lnTo>
                    <a:lnTo>
                      <a:pt x="536" y="281"/>
                    </a:lnTo>
                    <a:lnTo>
                      <a:pt x="534" y="281"/>
                    </a:lnTo>
                    <a:lnTo>
                      <a:pt x="534" y="283"/>
                    </a:lnTo>
                    <a:lnTo>
                      <a:pt x="534" y="285"/>
                    </a:lnTo>
                    <a:lnTo>
                      <a:pt x="532" y="287"/>
                    </a:lnTo>
                    <a:lnTo>
                      <a:pt x="532" y="288"/>
                    </a:lnTo>
                    <a:lnTo>
                      <a:pt x="532" y="290"/>
                    </a:lnTo>
                    <a:lnTo>
                      <a:pt x="532" y="292"/>
                    </a:lnTo>
                    <a:lnTo>
                      <a:pt x="532" y="296"/>
                    </a:lnTo>
                    <a:lnTo>
                      <a:pt x="532" y="298"/>
                    </a:lnTo>
                    <a:lnTo>
                      <a:pt x="532" y="300"/>
                    </a:lnTo>
                    <a:lnTo>
                      <a:pt x="532" y="302"/>
                    </a:lnTo>
                    <a:lnTo>
                      <a:pt x="532" y="304"/>
                    </a:lnTo>
                    <a:lnTo>
                      <a:pt x="532" y="306"/>
                    </a:lnTo>
                    <a:lnTo>
                      <a:pt x="532" y="308"/>
                    </a:lnTo>
                    <a:lnTo>
                      <a:pt x="530" y="308"/>
                    </a:lnTo>
                    <a:lnTo>
                      <a:pt x="530" y="306"/>
                    </a:lnTo>
                    <a:lnTo>
                      <a:pt x="532" y="306"/>
                    </a:lnTo>
                    <a:lnTo>
                      <a:pt x="532" y="304"/>
                    </a:lnTo>
                    <a:lnTo>
                      <a:pt x="532" y="302"/>
                    </a:lnTo>
                    <a:lnTo>
                      <a:pt x="532" y="300"/>
                    </a:lnTo>
                    <a:lnTo>
                      <a:pt x="532" y="298"/>
                    </a:lnTo>
                    <a:lnTo>
                      <a:pt x="530" y="298"/>
                    </a:lnTo>
                    <a:lnTo>
                      <a:pt x="530" y="300"/>
                    </a:lnTo>
                    <a:lnTo>
                      <a:pt x="528" y="300"/>
                    </a:lnTo>
                    <a:lnTo>
                      <a:pt x="528" y="302"/>
                    </a:lnTo>
                    <a:lnTo>
                      <a:pt x="528" y="304"/>
                    </a:lnTo>
                    <a:lnTo>
                      <a:pt x="526" y="304"/>
                    </a:lnTo>
                    <a:lnTo>
                      <a:pt x="526" y="306"/>
                    </a:lnTo>
                    <a:lnTo>
                      <a:pt x="524" y="308"/>
                    </a:lnTo>
                    <a:lnTo>
                      <a:pt x="526" y="308"/>
                    </a:lnTo>
                    <a:lnTo>
                      <a:pt x="524" y="308"/>
                    </a:lnTo>
                    <a:lnTo>
                      <a:pt x="524" y="310"/>
                    </a:lnTo>
                    <a:lnTo>
                      <a:pt x="522" y="310"/>
                    </a:lnTo>
                    <a:lnTo>
                      <a:pt x="524" y="310"/>
                    </a:lnTo>
                    <a:lnTo>
                      <a:pt x="524" y="308"/>
                    </a:lnTo>
                    <a:lnTo>
                      <a:pt x="524" y="310"/>
                    </a:lnTo>
                    <a:lnTo>
                      <a:pt x="524" y="308"/>
                    </a:lnTo>
                    <a:lnTo>
                      <a:pt x="522" y="308"/>
                    </a:lnTo>
                    <a:lnTo>
                      <a:pt x="522" y="310"/>
                    </a:lnTo>
                    <a:lnTo>
                      <a:pt x="520" y="310"/>
                    </a:lnTo>
                    <a:lnTo>
                      <a:pt x="518" y="311"/>
                    </a:lnTo>
                    <a:lnTo>
                      <a:pt x="518" y="313"/>
                    </a:lnTo>
                    <a:lnTo>
                      <a:pt x="518" y="315"/>
                    </a:lnTo>
                    <a:lnTo>
                      <a:pt x="518" y="313"/>
                    </a:lnTo>
                    <a:lnTo>
                      <a:pt x="516" y="313"/>
                    </a:lnTo>
                    <a:lnTo>
                      <a:pt x="514" y="313"/>
                    </a:lnTo>
                    <a:lnTo>
                      <a:pt x="514" y="315"/>
                    </a:lnTo>
                    <a:lnTo>
                      <a:pt x="512" y="317"/>
                    </a:lnTo>
                    <a:lnTo>
                      <a:pt x="511" y="317"/>
                    </a:lnTo>
                    <a:lnTo>
                      <a:pt x="511" y="319"/>
                    </a:lnTo>
                    <a:lnTo>
                      <a:pt x="509" y="319"/>
                    </a:lnTo>
                    <a:lnTo>
                      <a:pt x="505" y="317"/>
                    </a:lnTo>
                    <a:lnTo>
                      <a:pt x="505" y="319"/>
                    </a:lnTo>
                    <a:lnTo>
                      <a:pt x="503" y="319"/>
                    </a:lnTo>
                    <a:lnTo>
                      <a:pt x="503" y="317"/>
                    </a:lnTo>
                    <a:lnTo>
                      <a:pt x="501" y="317"/>
                    </a:lnTo>
                    <a:lnTo>
                      <a:pt x="501" y="319"/>
                    </a:lnTo>
                    <a:lnTo>
                      <a:pt x="499" y="319"/>
                    </a:lnTo>
                    <a:lnTo>
                      <a:pt x="499" y="317"/>
                    </a:lnTo>
                    <a:lnTo>
                      <a:pt x="493" y="317"/>
                    </a:lnTo>
                    <a:lnTo>
                      <a:pt x="491" y="317"/>
                    </a:lnTo>
                    <a:lnTo>
                      <a:pt x="489" y="317"/>
                    </a:lnTo>
                    <a:lnTo>
                      <a:pt x="489" y="315"/>
                    </a:lnTo>
                    <a:lnTo>
                      <a:pt x="486" y="315"/>
                    </a:lnTo>
                    <a:lnTo>
                      <a:pt x="489" y="315"/>
                    </a:lnTo>
                    <a:lnTo>
                      <a:pt x="487" y="315"/>
                    </a:lnTo>
                    <a:lnTo>
                      <a:pt x="486" y="315"/>
                    </a:lnTo>
                    <a:lnTo>
                      <a:pt x="484" y="317"/>
                    </a:lnTo>
                    <a:lnTo>
                      <a:pt x="482" y="317"/>
                    </a:lnTo>
                    <a:lnTo>
                      <a:pt x="476" y="323"/>
                    </a:lnTo>
                    <a:lnTo>
                      <a:pt x="482" y="317"/>
                    </a:lnTo>
                    <a:lnTo>
                      <a:pt x="476" y="323"/>
                    </a:lnTo>
                    <a:lnTo>
                      <a:pt x="476" y="325"/>
                    </a:lnTo>
                    <a:lnTo>
                      <a:pt x="476" y="327"/>
                    </a:lnTo>
                    <a:lnTo>
                      <a:pt x="474" y="327"/>
                    </a:lnTo>
                    <a:lnTo>
                      <a:pt x="470" y="329"/>
                    </a:lnTo>
                    <a:lnTo>
                      <a:pt x="470" y="331"/>
                    </a:lnTo>
                    <a:lnTo>
                      <a:pt x="470" y="333"/>
                    </a:lnTo>
                    <a:lnTo>
                      <a:pt x="470" y="331"/>
                    </a:lnTo>
                    <a:lnTo>
                      <a:pt x="470" y="329"/>
                    </a:lnTo>
                    <a:lnTo>
                      <a:pt x="472" y="329"/>
                    </a:lnTo>
                    <a:lnTo>
                      <a:pt x="474" y="329"/>
                    </a:lnTo>
                    <a:lnTo>
                      <a:pt x="474" y="331"/>
                    </a:lnTo>
                    <a:lnTo>
                      <a:pt x="474" y="329"/>
                    </a:lnTo>
                    <a:lnTo>
                      <a:pt x="474" y="331"/>
                    </a:lnTo>
                    <a:lnTo>
                      <a:pt x="476" y="331"/>
                    </a:lnTo>
                    <a:lnTo>
                      <a:pt x="476" y="329"/>
                    </a:lnTo>
                    <a:lnTo>
                      <a:pt x="478" y="329"/>
                    </a:lnTo>
                    <a:lnTo>
                      <a:pt x="478" y="327"/>
                    </a:lnTo>
                    <a:lnTo>
                      <a:pt x="478" y="325"/>
                    </a:lnTo>
                    <a:lnTo>
                      <a:pt x="480" y="325"/>
                    </a:lnTo>
                    <a:lnTo>
                      <a:pt x="480" y="323"/>
                    </a:lnTo>
                    <a:lnTo>
                      <a:pt x="480" y="321"/>
                    </a:lnTo>
                    <a:lnTo>
                      <a:pt x="482" y="319"/>
                    </a:lnTo>
                    <a:lnTo>
                      <a:pt x="482" y="317"/>
                    </a:lnTo>
                    <a:lnTo>
                      <a:pt x="482" y="319"/>
                    </a:lnTo>
                    <a:lnTo>
                      <a:pt x="484" y="319"/>
                    </a:lnTo>
                    <a:lnTo>
                      <a:pt x="486" y="319"/>
                    </a:lnTo>
                    <a:lnTo>
                      <a:pt x="487" y="319"/>
                    </a:lnTo>
                    <a:lnTo>
                      <a:pt x="489" y="319"/>
                    </a:lnTo>
                    <a:lnTo>
                      <a:pt x="491" y="319"/>
                    </a:lnTo>
                    <a:lnTo>
                      <a:pt x="491" y="317"/>
                    </a:lnTo>
                    <a:lnTo>
                      <a:pt x="493" y="319"/>
                    </a:lnTo>
                    <a:lnTo>
                      <a:pt x="493" y="321"/>
                    </a:lnTo>
                    <a:lnTo>
                      <a:pt x="495" y="321"/>
                    </a:lnTo>
                    <a:lnTo>
                      <a:pt x="497" y="321"/>
                    </a:lnTo>
                    <a:lnTo>
                      <a:pt x="499" y="321"/>
                    </a:lnTo>
                    <a:lnTo>
                      <a:pt x="499" y="323"/>
                    </a:lnTo>
                    <a:lnTo>
                      <a:pt x="497" y="323"/>
                    </a:lnTo>
                    <a:lnTo>
                      <a:pt x="497" y="325"/>
                    </a:lnTo>
                    <a:lnTo>
                      <a:pt x="497" y="327"/>
                    </a:lnTo>
                    <a:lnTo>
                      <a:pt x="495" y="327"/>
                    </a:lnTo>
                    <a:lnTo>
                      <a:pt x="495" y="329"/>
                    </a:lnTo>
                    <a:lnTo>
                      <a:pt x="493" y="329"/>
                    </a:lnTo>
                    <a:lnTo>
                      <a:pt x="493" y="331"/>
                    </a:lnTo>
                    <a:lnTo>
                      <a:pt x="491" y="329"/>
                    </a:lnTo>
                    <a:lnTo>
                      <a:pt x="489" y="329"/>
                    </a:lnTo>
                    <a:lnTo>
                      <a:pt x="487" y="329"/>
                    </a:lnTo>
                    <a:lnTo>
                      <a:pt x="487" y="331"/>
                    </a:lnTo>
                    <a:lnTo>
                      <a:pt x="486" y="331"/>
                    </a:lnTo>
                    <a:lnTo>
                      <a:pt x="486" y="333"/>
                    </a:lnTo>
                    <a:lnTo>
                      <a:pt x="484" y="333"/>
                    </a:lnTo>
                    <a:lnTo>
                      <a:pt x="484" y="335"/>
                    </a:lnTo>
                    <a:lnTo>
                      <a:pt x="484" y="336"/>
                    </a:lnTo>
                    <a:lnTo>
                      <a:pt x="484" y="338"/>
                    </a:lnTo>
                    <a:lnTo>
                      <a:pt x="482" y="338"/>
                    </a:lnTo>
                    <a:lnTo>
                      <a:pt x="482" y="340"/>
                    </a:lnTo>
                    <a:lnTo>
                      <a:pt x="482" y="338"/>
                    </a:lnTo>
                    <a:lnTo>
                      <a:pt x="480" y="338"/>
                    </a:lnTo>
                    <a:lnTo>
                      <a:pt x="480" y="336"/>
                    </a:lnTo>
                    <a:lnTo>
                      <a:pt x="480" y="338"/>
                    </a:lnTo>
                    <a:lnTo>
                      <a:pt x="478" y="338"/>
                    </a:lnTo>
                    <a:lnTo>
                      <a:pt x="476" y="338"/>
                    </a:lnTo>
                    <a:lnTo>
                      <a:pt x="474" y="338"/>
                    </a:lnTo>
                    <a:lnTo>
                      <a:pt x="474" y="340"/>
                    </a:lnTo>
                    <a:lnTo>
                      <a:pt x="472" y="338"/>
                    </a:lnTo>
                    <a:lnTo>
                      <a:pt x="472" y="340"/>
                    </a:lnTo>
                    <a:lnTo>
                      <a:pt x="470" y="340"/>
                    </a:lnTo>
                    <a:lnTo>
                      <a:pt x="468" y="340"/>
                    </a:lnTo>
                    <a:lnTo>
                      <a:pt x="468" y="342"/>
                    </a:lnTo>
                    <a:lnTo>
                      <a:pt x="468" y="344"/>
                    </a:lnTo>
                    <a:lnTo>
                      <a:pt x="470" y="344"/>
                    </a:lnTo>
                    <a:lnTo>
                      <a:pt x="470" y="346"/>
                    </a:lnTo>
                    <a:lnTo>
                      <a:pt x="470" y="348"/>
                    </a:lnTo>
                    <a:lnTo>
                      <a:pt x="470" y="350"/>
                    </a:lnTo>
                    <a:lnTo>
                      <a:pt x="472" y="350"/>
                    </a:lnTo>
                    <a:lnTo>
                      <a:pt x="472" y="352"/>
                    </a:lnTo>
                    <a:lnTo>
                      <a:pt x="472" y="354"/>
                    </a:lnTo>
                    <a:lnTo>
                      <a:pt x="470" y="356"/>
                    </a:lnTo>
                    <a:lnTo>
                      <a:pt x="472" y="356"/>
                    </a:lnTo>
                    <a:lnTo>
                      <a:pt x="470" y="356"/>
                    </a:lnTo>
                    <a:lnTo>
                      <a:pt x="470" y="358"/>
                    </a:lnTo>
                    <a:lnTo>
                      <a:pt x="468" y="358"/>
                    </a:lnTo>
                    <a:lnTo>
                      <a:pt x="466" y="358"/>
                    </a:lnTo>
                    <a:lnTo>
                      <a:pt x="466" y="360"/>
                    </a:lnTo>
                    <a:lnTo>
                      <a:pt x="466" y="361"/>
                    </a:lnTo>
                    <a:lnTo>
                      <a:pt x="466" y="363"/>
                    </a:lnTo>
                    <a:lnTo>
                      <a:pt x="466" y="361"/>
                    </a:lnTo>
                    <a:lnTo>
                      <a:pt x="466" y="363"/>
                    </a:lnTo>
                    <a:lnTo>
                      <a:pt x="464" y="363"/>
                    </a:lnTo>
                    <a:lnTo>
                      <a:pt x="466" y="363"/>
                    </a:lnTo>
                    <a:lnTo>
                      <a:pt x="464" y="363"/>
                    </a:lnTo>
                    <a:lnTo>
                      <a:pt x="464" y="365"/>
                    </a:lnTo>
                    <a:lnTo>
                      <a:pt x="463" y="365"/>
                    </a:lnTo>
                    <a:lnTo>
                      <a:pt x="463" y="367"/>
                    </a:lnTo>
                    <a:lnTo>
                      <a:pt x="461" y="367"/>
                    </a:lnTo>
                    <a:lnTo>
                      <a:pt x="461" y="369"/>
                    </a:lnTo>
                    <a:lnTo>
                      <a:pt x="459" y="369"/>
                    </a:lnTo>
                    <a:lnTo>
                      <a:pt x="459" y="371"/>
                    </a:lnTo>
                    <a:lnTo>
                      <a:pt x="459" y="373"/>
                    </a:lnTo>
                    <a:lnTo>
                      <a:pt x="459" y="375"/>
                    </a:lnTo>
                    <a:lnTo>
                      <a:pt x="459" y="377"/>
                    </a:lnTo>
                    <a:lnTo>
                      <a:pt x="459" y="379"/>
                    </a:lnTo>
                    <a:lnTo>
                      <a:pt x="457" y="379"/>
                    </a:lnTo>
                    <a:lnTo>
                      <a:pt x="457" y="381"/>
                    </a:lnTo>
                    <a:lnTo>
                      <a:pt x="455" y="383"/>
                    </a:lnTo>
                    <a:lnTo>
                      <a:pt x="455" y="381"/>
                    </a:lnTo>
                    <a:lnTo>
                      <a:pt x="457" y="381"/>
                    </a:lnTo>
                    <a:lnTo>
                      <a:pt x="455" y="381"/>
                    </a:lnTo>
                    <a:lnTo>
                      <a:pt x="455" y="383"/>
                    </a:lnTo>
                    <a:lnTo>
                      <a:pt x="453" y="383"/>
                    </a:lnTo>
                    <a:lnTo>
                      <a:pt x="451" y="383"/>
                    </a:lnTo>
                    <a:lnTo>
                      <a:pt x="449" y="383"/>
                    </a:lnTo>
                    <a:lnTo>
                      <a:pt x="447" y="385"/>
                    </a:lnTo>
                    <a:lnTo>
                      <a:pt x="445" y="385"/>
                    </a:lnTo>
                    <a:lnTo>
                      <a:pt x="445" y="383"/>
                    </a:lnTo>
                    <a:lnTo>
                      <a:pt x="443" y="383"/>
                    </a:lnTo>
                    <a:lnTo>
                      <a:pt x="443" y="381"/>
                    </a:lnTo>
                    <a:lnTo>
                      <a:pt x="443" y="383"/>
                    </a:lnTo>
                    <a:lnTo>
                      <a:pt x="441" y="383"/>
                    </a:lnTo>
                    <a:lnTo>
                      <a:pt x="441" y="381"/>
                    </a:lnTo>
                    <a:lnTo>
                      <a:pt x="441" y="379"/>
                    </a:lnTo>
                    <a:lnTo>
                      <a:pt x="441" y="377"/>
                    </a:lnTo>
                    <a:lnTo>
                      <a:pt x="443" y="377"/>
                    </a:lnTo>
                    <a:lnTo>
                      <a:pt x="443" y="375"/>
                    </a:lnTo>
                    <a:lnTo>
                      <a:pt x="443" y="373"/>
                    </a:lnTo>
                    <a:lnTo>
                      <a:pt x="441" y="373"/>
                    </a:lnTo>
                    <a:lnTo>
                      <a:pt x="441" y="371"/>
                    </a:lnTo>
                    <a:lnTo>
                      <a:pt x="441" y="369"/>
                    </a:lnTo>
                    <a:lnTo>
                      <a:pt x="441" y="367"/>
                    </a:lnTo>
                    <a:lnTo>
                      <a:pt x="441" y="365"/>
                    </a:lnTo>
                    <a:lnTo>
                      <a:pt x="441" y="363"/>
                    </a:lnTo>
                    <a:lnTo>
                      <a:pt x="443" y="363"/>
                    </a:lnTo>
                    <a:lnTo>
                      <a:pt x="443" y="361"/>
                    </a:lnTo>
                    <a:lnTo>
                      <a:pt x="443" y="363"/>
                    </a:lnTo>
                    <a:lnTo>
                      <a:pt x="443" y="361"/>
                    </a:lnTo>
                    <a:lnTo>
                      <a:pt x="443" y="363"/>
                    </a:lnTo>
                    <a:lnTo>
                      <a:pt x="443" y="361"/>
                    </a:lnTo>
                    <a:lnTo>
                      <a:pt x="441" y="360"/>
                    </a:lnTo>
                    <a:lnTo>
                      <a:pt x="441" y="361"/>
                    </a:lnTo>
                    <a:lnTo>
                      <a:pt x="443" y="361"/>
                    </a:lnTo>
                    <a:lnTo>
                      <a:pt x="441" y="361"/>
                    </a:lnTo>
                    <a:lnTo>
                      <a:pt x="443" y="361"/>
                    </a:lnTo>
                    <a:lnTo>
                      <a:pt x="443" y="363"/>
                    </a:lnTo>
                    <a:lnTo>
                      <a:pt x="441" y="363"/>
                    </a:lnTo>
                    <a:lnTo>
                      <a:pt x="441" y="365"/>
                    </a:lnTo>
                    <a:lnTo>
                      <a:pt x="441" y="367"/>
                    </a:lnTo>
                    <a:lnTo>
                      <a:pt x="441" y="369"/>
                    </a:lnTo>
                    <a:lnTo>
                      <a:pt x="441" y="371"/>
                    </a:lnTo>
                    <a:lnTo>
                      <a:pt x="441" y="373"/>
                    </a:lnTo>
                    <a:lnTo>
                      <a:pt x="443" y="375"/>
                    </a:lnTo>
                    <a:lnTo>
                      <a:pt x="443" y="373"/>
                    </a:lnTo>
                    <a:lnTo>
                      <a:pt x="443" y="375"/>
                    </a:lnTo>
                    <a:lnTo>
                      <a:pt x="443" y="377"/>
                    </a:lnTo>
                    <a:lnTo>
                      <a:pt x="441" y="377"/>
                    </a:lnTo>
                    <a:lnTo>
                      <a:pt x="441" y="379"/>
                    </a:lnTo>
                    <a:lnTo>
                      <a:pt x="441" y="381"/>
                    </a:lnTo>
                    <a:lnTo>
                      <a:pt x="441" y="383"/>
                    </a:lnTo>
                    <a:lnTo>
                      <a:pt x="443" y="383"/>
                    </a:lnTo>
                    <a:lnTo>
                      <a:pt x="445" y="383"/>
                    </a:lnTo>
                    <a:lnTo>
                      <a:pt x="445" y="385"/>
                    </a:lnTo>
                    <a:lnTo>
                      <a:pt x="443" y="385"/>
                    </a:lnTo>
                    <a:lnTo>
                      <a:pt x="441" y="386"/>
                    </a:lnTo>
                    <a:lnTo>
                      <a:pt x="439" y="386"/>
                    </a:lnTo>
                    <a:lnTo>
                      <a:pt x="439" y="385"/>
                    </a:lnTo>
                    <a:lnTo>
                      <a:pt x="438" y="385"/>
                    </a:lnTo>
                    <a:lnTo>
                      <a:pt x="439" y="385"/>
                    </a:lnTo>
                    <a:lnTo>
                      <a:pt x="438" y="385"/>
                    </a:lnTo>
                    <a:lnTo>
                      <a:pt x="436" y="385"/>
                    </a:lnTo>
                    <a:lnTo>
                      <a:pt x="438" y="383"/>
                    </a:lnTo>
                    <a:lnTo>
                      <a:pt x="438" y="381"/>
                    </a:lnTo>
                    <a:lnTo>
                      <a:pt x="438" y="383"/>
                    </a:lnTo>
                    <a:lnTo>
                      <a:pt x="439" y="381"/>
                    </a:lnTo>
                    <a:lnTo>
                      <a:pt x="438" y="383"/>
                    </a:lnTo>
                    <a:lnTo>
                      <a:pt x="438" y="381"/>
                    </a:lnTo>
                    <a:lnTo>
                      <a:pt x="438" y="383"/>
                    </a:lnTo>
                    <a:lnTo>
                      <a:pt x="436" y="383"/>
                    </a:lnTo>
                    <a:lnTo>
                      <a:pt x="436" y="385"/>
                    </a:lnTo>
                    <a:lnTo>
                      <a:pt x="436" y="383"/>
                    </a:lnTo>
                    <a:lnTo>
                      <a:pt x="434" y="383"/>
                    </a:lnTo>
                    <a:lnTo>
                      <a:pt x="432" y="381"/>
                    </a:lnTo>
                    <a:lnTo>
                      <a:pt x="430" y="381"/>
                    </a:lnTo>
                    <a:lnTo>
                      <a:pt x="428" y="381"/>
                    </a:lnTo>
                    <a:lnTo>
                      <a:pt x="426" y="383"/>
                    </a:lnTo>
                    <a:lnTo>
                      <a:pt x="424" y="383"/>
                    </a:lnTo>
                    <a:lnTo>
                      <a:pt x="424" y="385"/>
                    </a:lnTo>
                    <a:lnTo>
                      <a:pt x="424" y="383"/>
                    </a:lnTo>
                    <a:lnTo>
                      <a:pt x="424" y="385"/>
                    </a:lnTo>
                    <a:lnTo>
                      <a:pt x="422" y="385"/>
                    </a:lnTo>
                    <a:lnTo>
                      <a:pt x="420" y="385"/>
                    </a:lnTo>
                    <a:lnTo>
                      <a:pt x="418" y="385"/>
                    </a:lnTo>
                    <a:lnTo>
                      <a:pt x="420" y="385"/>
                    </a:lnTo>
                    <a:lnTo>
                      <a:pt x="420" y="386"/>
                    </a:lnTo>
                    <a:lnTo>
                      <a:pt x="418" y="385"/>
                    </a:lnTo>
                    <a:lnTo>
                      <a:pt x="418" y="386"/>
                    </a:lnTo>
                    <a:lnTo>
                      <a:pt x="418" y="385"/>
                    </a:lnTo>
                    <a:lnTo>
                      <a:pt x="418" y="386"/>
                    </a:lnTo>
                    <a:lnTo>
                      <a:pt x="420" y="386"/>
                    </a:lnTo>
                    <a:lnTo>
                      <a:pt x="422" y="386"/>
                    </a:lnTo>
                    <a:lnTo>
                      <a:pt x="422" y="385"/>
                    </a:lnTo>
                    <a:lnTo>
                      <a:pt x="424" y="385"/>
                    </a:lnTo>
                    <a:lnTo>
                      <a:pt x="424" y="383"/>
                    </a:lnTo>
                    <a:lnTo>
                      <a:pt x="426" y="383"/>
                    </a:lnTo>
                    <a:lnTo>
                      <a:pt x="428" y="383"/>
                    </a:lnTo>
                    <a:lnTo>
                      <a:pt x="430" y="383"/>
                    </a:lnTo>
                    <a:lnTo>
                      <a:pt x="432" y="383"/>
                    </a:lnTo>
                    <a:lnTo>
                      <a:pt x="434" y="385"/>
                    </a:lnTo>
                    <a:lnTo>
                      <a:pt x="436" y="385"/>
                    </a:lnTo>
                    <a:lnTo>
                      <a:pt x="438" y="385"/>
                    </a:lnTo>
                    <a:lnTo>
                      <a:pt x="439" y="386"/>
                    </a:lnTo>
                    <a:lnTo>
                      <a:pt x="441" y="386"/>
                    </a:lnTo>
                    <a:lnTo>
                      <a:pt x="439" y="386"/>
                    </a:lnTo>
                    <a:lnTo>
                      <a:pt x="441" y="386"/>
                    </a:lnTo>
                    <a:lnTo>
                      <a:pt x="443" y="386"/>
                    </a:lnTo>
                    <a:lnTo>
                      <a:pt x="443" y="388"/>
                    </a:lnTo>
                    <a:lnTo>
                      <a:pt x="441" y="388"/>
                    </a:lnTo>
                    <a:lnTo>
                      <a:pt x="439" y="390"/>
                    </a:lnTo>
                    <a:lnTo>
                      <a:pt x="439" y="392"/>
                    </a:lnTo>
                    <a:lnTo>
                      <a:pt x="438" y="392"/>
                    </a:lnTo>
                    <a:lnTo>
                      <a:pt x="436" y="392"/>
                    </a:lnTo>
                    <a:lnTo>
                      <a:pt x="438" y="390"/>
                    </a:lnTo>
                    <a:lnTo>
                      <a:pt x="436" y="390"/>
                    </a:lnTo>
                    <a:lnTo>
                      <a:pt x="434" y="390"/>
                    </a:lnTo>
                    <a:lnTo>
                      <a:pt x="434" y="392"/>
                    </a:lnTo>
                    <a:lnTo>
                      <a:pt x="434" y="390"/>
                    </a:lnTo>
                    <a:lnTo>
                      <a:pt x="436" y="390"/>
                    </a:lnTo>
                    <a:lnTo>
                      <a:pt x="436" y="392"/>
                    </a:lnTo>
                    <a:lnTo>
                      <a:pt x="438" y="392"/>
                    </a:lnTo>
                    <a:lnTo>
                      <a:pt x="439" y="392"/>
                    </a:lnTo>
                    <a:lnTo>
                      <a:pt x="439" y="390"/>
                    </a:lnTo>
                    <a:lnTo>
                      <a:pt x="441" y="390"/>
                    </a:lnTo>
                    <a:lnTo>
                      <a:pt x="441" y="388"/>
                    </a:lnTo>
                    <a:lnTo>
                      <a:pt x="443" y="388"/>
                    </a:lnTo>
                    <a:lnTo>
                      <a:pt x="443" y="386"/>
                    </a:lnTo>
                    <a:lnTo>
                      <a:pt x="443" y="385"/>
                    </a:lnTo>
                    <a:lnTo>
                      <a:pt x="445" y="385"/>
                    </a:lnTo>
                    <a:lnTo>
                      <a:pt x="445" y="386"/>
                    </a:lnTo>
                    <a:lnTo>
                      <a:pt x="447" y="385"/>
                    </a:lnTo>
                    <a:lnTo>
                      <a:pt x="449" y="385"/>
                    </a:lnTo>
                    <a:lnTo>
                      <a:pt x="449" y="386"/>
                    </a:lnTo>
                    <a:lnTo>
                      <a:pt x="451" y="386"/>
                    </a:lnTo>
                    <a:lnTo>
                      <a:pt x="451" y="388"/>
                    </a:lnTo>
                    <a:lnTo>
                      <a:pt x="453" y="388"/>
                    </a:lnTo>
                    <a:lnTo>
                      <a:pt x="453" y="390"/>
                    </a:lnTo>
                    <a:lnTo>
                      <a:pt x="455" y="390"/>
                    </a:lnTo>
                    <a:lnTo>
                      <a:pt x="457" y="390"/>
                    </a:lnTo>
                    <a:lnTo>
                      <a:pt x="457" y="388"/>
                    </a:lnTo>
                    <a:lnTo>
                      <a:pt x="457" y="390"/>
                    </a:lnTo>
                    <a:lnTo>
                      <a:pt x="455" y="390"/>
                    </a:lnTo>
                    <a:lnTo>
                      <a:pt x="455" y="392"/>
                    </a:lnTo>
                    <a:lnTo>
                      <a:pt x="453" y="392"/>
                    </a:lnTo>
                    <a:lnTo>
                      <a:pt x="453" y="394"/>
                    </a:lnTo>
                    <a:lnTo>
                      <a:pt x="451" y="394"/>
                    </a:lnTo>
                    <a:lnTo>
                      <a:pt x="451" y="396"/>
                    </a:lnTo>
                    <a:lnTo>
                      <a:pt x="451" y="398"/>
                    </a:lnTo>
                    <a:lnTo>
                      <a:pt x="453" y="398"/>
                    </a:lnTo>
                    <a:lnTo>
                      <a:pt x="453" y="400"/>
                    </a:lnTo>
                    <a:lnTo>
                      <a:pt x="453" y="402"/>
                    </a:lnTo>
                    <a:lnTo>
                      <a:pt x="453" y="400"/>
                    </a:lnTo>
                    <a:lnTo>
                      <a:pt x="455" y="400"/>
                    </a:lnTo>
                    <a:lnTo>
                      <a:pt x="457" y="400"/>
                    </a:lnTo>
                    <a:lnTo>
                      <a:pt x="455" y="400"/>
                    </a:lnTo>
                    <a:lnTo>
                      <a:pt x="455" y="402"/>
                    </a:lnTo>
                    <a:lnTo>
                      <a:pt x="457" y="402"/>
                    </a:lnTo>
                    <a:lnTo>
                      <a:pt x="455" y="404"/>
                    </a:lnTo>
                    <a:lnTo>
                      <a:pt x="457" y="404"/>
                    </a:lnTo>
                    <a:lnTo>
                      <a:pt x="455" y="404"/>
                    </a:lnTo>
                    <a:lnTo>
                      <a:pt x="457" y="402"/>
                    </a:lnTo>
                    <a:lnTo>
                      <a:pt x="455" y="402"/>
                    </a:lnTo>
                    <a:lnTo>
                      <a:pt x="457" y="400"/>
                    </a:lnTo>
                    <a:lnTo>
                      <a:pt x="455" y="400"/>
                    </a:lnTo>
                    <a:lnTo>
                      <a:pt x="457" y="400"/>
                    </a:lnTo>
                    <a:lnTo>
                      <a:pt x="455" y="400"/>
                    </a:lnTo>
                    <a:lnTo>
                      <a:pt x="457" y="400"/>
                    </a:lnTo>
                    <a:lnTo>
                      <a:pt x="457" y="398"/>
                    </a:lnTo>
                    <a:lnTo>
                      <a:pt x="457" y="400"/>
                    </a:lnTo>
                    <a:lnTo>
                      <a:pt x="457" y="398"/>
                    </a:lnTo>
                    <a:lnTo>
                      <a:pt x="457" y="400"/>
                    </a:lnTo>
                    <a:lnTo>
                      <a:pt x="457" y="398"/>
                    </a:lnTo>
                    <a:lnTo>
                      <a:pt x="457" y="400"/>
                    </a:lnTo>
                    <a:lnTo>
                      <a:pt x="459" y="400"/>
                    </a:lnTo>
                    <a:lnTo>
                      <a:pt x="461" y="400"/>
                    </a:lnTo>
                    <a:lnTo>
                      <a:pt x="461" y="398"/>
                    </a:lnTo>
                    <a:lnTo>
                      <a:pt x="461" y="400"/>
                    </a:lnTo>
                    <a:lnTo>
                      <a:pt x="461" y="398"/>
                    </a:lnTo>
                    <a:lnTo>
                      <a:pt x="461" y="400"/>
                    </a:lnTo>
                    <a:lnTo>
                      <a:pt x="461" y="398"/>
                    </a:lnTo>
                    <a:lnTo>
                      <a:pt x="461" y="400"/>
                    </a:lnTo>
                    <a:lnTo>
                      <a:pt x="461" y="398"/>
                    </a:lnTo>
                    <a:lnTo>
                      <a:pt x="463" y="398"/>
                    </a:lnTo>
                    <a:lnTo>
                      <a:pt x="464" y="396"/>
                    </a:lnTo>
                    <a:lnTo>
                      <a:pt x="464" y="394"/>
                    </a:lnTo>
                    <a:lnTo>
                      <a:pt x="466" y="394"/>
                    </a:lnTo>
                    <a:lnTo>
                      <a:pt x="466" y="392"/>
                    </a:lnTo>
                    <a:lnTo>
                      <a:pt x="466" y="394"/>
                    </a:lnTo>
                    <a:lnTo>
                      <a:pt x="466" y="392"/>
                    </a:lnTo>
                    <a:lnTo>
                      <a:pt x="466" y="390"/>
                    </a:lnTo>
                    <a:lnTo>
                      <a:pt x="466" y="388"/>
                    </a:lnTo>
                    <a:lnTo>
                      <a:pt x="464" y="388"/>
                    </a:lnTo>
                    <a:lnTo>
                      <a:pt x="464" y="386"/>
                    </a:lnTo>
                    <a:lnTo>
                      <a:pt x="464" y="385"/>
                    </a:lnTo>
                    <a:lnTo>
                      <a:pt x="463" y="383"/>
                    </a:lnTo>
                    <a:lnTo>
                      <a:pt x="461" y="381"/>
                    </a:lnTo>
                    <a:lnTo>
                      <a:pt x="461" y="379"/>
                    </a:lnTo>
                    <a:lnTo>
                      <a:pt x="459" y="379"/>
                    </a:lnTo>
                    <a:lnTo>
                      <a:pt x="459" y="381"/>
                    </a:lnTo>
                    <a:lnTo>
                      <a:pt x="459" y="379"/>
                    </a:lnTo>
                    <a:lnTo>
                      <a:pt x="459" y="377"/>
                    </a:lnTo>
                    <a:lnTo>
                      <a:pt x="459" y="375"/>
                    </a:lnTo>
                    <a:lnTo>
                      <a:pt x="459" y="373"/>
                    </a:lnTo>
                    <a:lnTo>
                      <a:pt x="461" y="373"/>
                    </a:lnTo>
                    <a:lnTo>
                      <a:pt x="461" y="375"/>
                    </a:lnTo>
                    <a:lnTo>
                      <a:pt x="461" y="373"/>
                    </a:lnTo>
                    <a:lnTo>
                      <a:pt x="461" y="371"/>
                    </a:lnTo>
                    <a:lnTo>
                      <a:pt x="461" y="369"/>
                    </a:lnTo>
                    <a:lnTo>
                      <a:pt x="463" y="369"/>
                    </a:lnTo>
                    <a:lnTo>
                      <a:pt x="463" y="367"/>
                    </a:lnTo>
                    <a:lnTo>
                      <a:pt x="464" y="367"/>
                    </a:lnTo>
                    <a:lnTo>
                      <a:pt x="464" y="365"/>
                    </a:lnTo>
                    <a:lnTo>
                      <a:pt x="466" y="365"/>
                    </a:lnTo>
                    <a:lnTo>
                      <a:pt x="466" y="363"/>
                    </a:lnTo>
                    <a:lnTo>
                      <a:pt x="466" y="361"/>
                    </a:lnTo>
                    <a:lnTo>
                      <a:pt x="468" y="361"/>
                    </a:lnTo>
                    <a:lnTo>
                      <a:pt x="466" y="361"/>
                    </a:lnTo>
                    <a:lnTo>
                      <a:pt x="468" y="361"/>
                    </a:lnTo>
                    <a:lnTo>
                      <a:pt x="468" y="360"/>
                    </a:lnTo>
                    <a:lnTo>
                      <a:pt x="470" y="360"/>
                    </a:lnTo>
                    <a:lnTo>
                      <a:pt x="470" y="358"/>
                    </a:lnTo>
                    <a:lnTo>
                      <a:pt x="472" y="358"/>
                    </a:lnTo>
                    <a:lnTo>
                      <a:pt x="472" y="356"/>
                    </a:lnTo>
                    <a:lnTo>
                      <a:pt x="472" y="354"/>
                    </a:lnTo>
                    <a:lnTo>
                      <a:pt x="472" y="352"/>
                    </a:lnTo>
                    <a:lnTo>
                      <a:pt x="472" y="350"/>
                    </a:lnTo>
                    <a:lnTo>
                      <a:pt x="472" y="348"/>
                    </a:lnTo>
                    <a:lnTo>
                      <a:pt x="472" y="346"/>
                    </a:lnTo>
                    <a:lnTo>
                      <a:pt x="470" y="346"/>
                    </a:lnTo>
                    <a:lnTo>
                      <a:pt x="470" y="344"/>
                    </a:lnTo>
                    <a:lnTo>
                      <a:pt x="470" y="342"/>
                    </a:lnTo>
                    <a:lnTo>
                      <a:pt x="472" y="342"/>
                    </a:lnTo>
                    <a:lnTo>
                      <a:pt x="472" y="340"/>
                    </a:lnTo>
                    <a:lnTo>
                      <a:pt x="474" y="340"/>
                    </a:lnTo>
                    <a:lnTo>
                      <a:pt x="476" y="340"/>
                    </a:lnTo>
                    <a:lnTo>
                      <a:pt x="476" y="342"/>
                    </a:lnTo>
                    <a:lnTo>
                      <a:pt x="478" y="342"/>
                    </a:lnTo>
                    <a:lnTo>
                      <a:pt x="480" y="342"/>
                    </a:lnTo>
                    <a:lnTo>
                      <a:pt x="482" y="344"/>
                    </a:lnTo>
                    <a:lnTo>
                      <a:pt x="484" y="344"/>
                    </a:lnTo>
                    <a:lnTo>
                      <a:pt x="486" y="344"/>
                    </a:lnTo>
                    <a:lnTo>
                      <a:pt x="487" y="344"/>
                    </a:lnTo>
                    <a:lnTo>
                      <a:pt x="487" y="346"/>
                    </a:lnTo>
                    <a:lnTo>
                      <a:pt x="487" y="348"/>
                    </a:lnTo>
                    <a:lnTo>
                      <a:pt x="487" y="350"/>
                    </a:lnTo>
                    <a:lnTo>
                      <a:pt x="486" y="350"/>
                    </a:lnTo>
                    <a:lnTo>
                      <a:pt x="487" y="352"/>
                    </a:lnTo>
                    <a:lnTo>
                      <a:pt x="486" y="352"/>
                    </a:lnTo>
                    <a:lnTo>
                      <a:pt x="487" y="352"/>
                    </a:lnTo>
                    <a:lnTo>
                      <a:pt x="487" y="354"/>
                    </a:lnTo>
                    <a:lnTo>
                      <a:pt x="487" y="356"/>
                    </a:lnTo>
                    <a:lnTo>
                      <a:pt x="487" y="358"/>
                    </a:lnTo>
                    <a:lnTo>
                      <a:pt x="489" y="358"/>
                    </a:lnTo>
                    <a:lnTo>
                      <a:pt x="489" y="360"/>
                    </a:lnTo>
                    <a:lnTo>
                      <a:pt x="489" y="361"/>
                    </a:lnTo>
                    <a:lnTo>
                      <a:pt x="491" y="361"/>
                    </a:lnTo>
                    <a:lnTo>
                      <a:pt x="491" y="363"/>
                    </a:lnTo>
                    <a:lnTo>
                      <a:pt x="493" y="363"/>
                    </a:lnTo>
                    <a:lnTo>
                      <a:pt x="493" y="365"/>
                    </a:lnTo>
                    <a:lnTo>
                      <a:pt x="493" y="367"/>
                    </a:lnTo>
                    <a:lnTo>
                      <a:pt x="495" y="367"/>
                    </a:lnTo>
                    <a:lnTo>
                      <a:pt x="495" y="365"/>
                    </a:lnTo>
                    <a:lnTo>
                      <a:pt x="497" y="365"/>
                    </a:lnTo>
                    <a:lnTo>
                      <a:pt x="499" y="365"/>
                    </a:lnTo>
                    <a:lnTo>
                      <a:pt x="501" y="365"/>
                    </a:lnTo>
                    <a:lnTo>
                      <a:pt x="501" y="363"/>
                    </a:lnTo>
                    <a:lnTo>
                      <a:pt x="501" y="365"/>
                    </a:lnTo>
                    <a:lnTo>
                      <a:pt x="503" y="365"/>
                    </a:lnTo>
                    <a:lnTo>
                      <a:pt x="505" y="365"/>
                    </a:lnTo>
                    <a:lnTo>
                      <a:pt x="505" y="363"/>
                    </a:lnTo>
                    <a:lnTo>
                      <a:pt x="505" y="361"/>
                    </a:lnTo>
                    <a:lnTo>
                      <a:pt x="503" y="361"/>
                    </a:lnTo>
                    <a:lnTo>
                      <a:pt x="501" y="361"/>
                    </a:lnTo>
                    <a:lnTo>
                      <a:pt x="501" y="363"/>
                    </a:lnTo>
                    <a:lnTo>
                      <a:pt x="499" y="363"/>
                    </a:lnTo>
                    <a:lnTo>
                      <a:pt x="497" y="363"/>
                    </a:lnTo>
                    <a:lnTo>
                      <a:pt x="495" y="365"/>
                    </a:lnTo>
                    <a:lnTo>
                      <a:pt x="493" y="365"/>
                    </a:lnTo>
                    <a:lnTo>
                      <a:pt x="493" y="363"/>
                    </a:lnTo>
                    <a:lnTo>
                      <a:pt x="491" y="363"/>
                    </a:lnTo>
                    <a:lnTo>
                      <a:pt x="491" y="361"/>
                    </a:lnTo>
                    <a:lnTo>
                      <a:pt x="491" y="360"/>
                    </a:lnTo>
                    <a:lnTo>
                      <a:pt x="491" y="358"/>
                    </a:lnTo>
                    <a:lnTo>
                      <a:pt x="489" y="358"/>
                    </a:lnTo>
                    <a:lnTo>
                      <a:pt x="489" y="356"/>
                    </a:lnTo>
                    <a:lnTo>
                      <a:pt x="487" y="354"/>
                    </a:lnTo>
                    <a:lnTo>
                      <a:pt x="487" y="352"/>
                    </a:lnTo>
                    <a:lnTo>
                      <a:pt x="489" y="352"/>
                    </a:lnTo>
                    <a:lnTo>
                      <a:pt x="489" y="350"/>
                    </a:lnTo>
                    <a:lnTo>
                      <a:pt x="489" y="348"/>
                    </a:lnTo>
                    <a:lnTo>
                      <a:pt x="491" y="348"/>
                    </a:lnTo>
                    <a:lnTo>
                      <a:pt x="489" y="346"/>
                    </a:lnTo>
                    <a:lnTo>
                      <a:pt x="489" y="344"/>
                    </a:lnTo>
                    <a:lnTo>
                      <a:pt x="489" y="342"/>
                    </a:lnTo>
                    <a:lnTo>
                      <a:pt x="491" y="342"/>
                    </a:lnTo>
                    <a:lnTo>
                      <a:pt x="493" y="342"/>
                    </a:lnTo>
                    <a:lnTo>
                      <a:pt x="495" y="342"/>
                    </a:lnTo>
                    <a:lnTo>
                      <a:pt x="497" y="342"/>
                    </a:lnTo>
                    <a:lnTo>
                      <a:pt x="499" y="344"/>
                    </a:lnTo>
                    <a:lnTo>
                      <a:pt x="501" y="344"/>
                    </a:lnTo>
                    <a:lnTo>
                      <a:pt x="501" y="346"/>
                    </a:lnTo>
                    <a:lnTo>
                      <a:pt x="499" y="346"/>
                    </a:lnTo>
                    <a:lnTo>
                      <a:pt x="501" y="346"/>
                    </a:lnTo>
                    <a:lnTo>
                      <a:pt x="501" y="344"/>
                    </a:lnTo>
                    <a:lnTo>
                      <a:pt x="501" y="342"/>
                    </a:lnTo>
                    <a:lnTo>
                      <a:pt x="501" y="340"/>
                    </a:lnTo>
                    <a:lnTo>
                      <a:pt x="499" y="340"/>
                    </a:lnTo>
                    <a:lnTo>
                      <a:pt x="499" y="338"/>
                    </a:lnTo>
                    <a:lnTo>
                      <a:pt x="499" y="336"/>
                    </a:lnTo>
                    <a:lnTo>
                      <a:pt x="499" y="335"/>
                    </a:lnTo>
                    <a:lnTo>
                      <a:pt x="499" y="333"/>
                    </a:lnTo>
                    <a:lnTo>
                      <a:pt x="499" y="331"/>
                    </a:lnTo>
                    <a:lnTo>
                      <a:pt x="499" y="329"/>
                    </a:lnTo>
                    <a:lnTo>
                      <a:pt x="501" y="329"/>
                    </a:lnTo>
                    <a:lnTo>
                      <a:pt x="501" y="327"/>
                    </a:lnTo>
                    <a:lnTo>
                      <a:pt x="501" y="325"/>
                    </a:lnTo>
                    <a:lnTo>
                      <a:pt x="501" y="323"/>
                    </a:lnTo>
                    <a:lnTo>
                      <a:pt x="503" y="323"/>
                    </a:lnTo>
                    <a:lnTo>
                      <a:pt x="503" y="321"/>
                    </a:lnTo>
                    <a:lnTo>
                      <a:pt x="505" y="321"/>
                    </a:lnTo>
                    <a:lnTo>
                      <a:pt x="507" y="323"/>
                    </a:lnTo>
                    <a:lnTo>
                      <a:pt x="507" y="325"/>
                    </a:lnTo>
                    <a:lnTo>
                      <a:pt x="509" y="325"/>
                    </a:lnTo>
                    <a:lnTo>
                      <a:pt x="509" y="327"/>
                    </a:lnTo>
                    <a:lnTo>
                      <a:pt x="511" y="329"/>
                    </a:lnTo>
                    <a:lnTo>
                      <a:pt x="512" y="331"/>
                    </a:lnTo>
                    <a:lnTo>
                      <a:pt x="512" y="333"/>
                    </a:lnTo>
                    <a:lnTo>
                      <a:pt x="512" y="331"/>
                    </a:lnTo>
                    <a:lnTo>
                      <a:pt x="512" y="333"/>
                    </a:lnTo>
                    <a:lnTo>
                      <a:pt x="514" y="333"/>
                    </a:lnTo>
                    <a:lnTo>
                      <a:pt x="516" y="333"/>
                    </a:lnTo>
                    <a:lnTo>
                      <a:pt x="514" y="333"/>
                    </a:lnTo>
                    <a:lnTo>
                      <a:pt x="516" y="333"/>
                    </a:lnTo>
                    <a:lnTo>
                      <a:pt x="516" y="335"/>
                    </a:lnTo>
                    <a:lnTo>
                      <a:pt x="518" y="335"/>
                    </a:lnTo>
                    <a:lnTo>
                      <a:pt x="520" y="335"/>
                    </a:lnTo>
                    <a:lnTo>
                      <a:pt x="522" y="335"/>
                    </a:lnTo>
                    <a:lnTo>
                      <a:pt x="524" y="335"/>
                    </a:lnTo>
                    <a:lnTo>
                      <a:pt x="526" y="336"/>
                    </a:lnTo>
                    <a:lnTo>
                      <a:pt x="528" y="336"/>
                    </a:lnTo>
                    <a:lnTo>
                      <a:pt x="526" y="336"/>
                    </a:lnTo>
                    <a:lnTo>
                      <a:pt x="526" y="335"/>
                    </a:lnTo>
                    <a:lnTo>
                      <a:pt x="524" y="335"/>
                    </a:lnTo>
                    <a:lnTo>
                      <a:pt x="526" y="335"/>
                    </a:lnTo>
                    <a:lnTo>
                      <a:pt x="524" y="335"/>
                    </a:lnTo>
                    <a:lnTo>
                      <a:pt x="526" y="335"/>
                    </a:lnTo>
                    <a:lnTo>
                      <a:pt x="528" y="335"/>
                    </a:lnTo>
                    <a:lnTo>
                      <a:pt x="526" y="335"/>
                    </a:lnTo>
                    <a:lnTo>
                      <a:pt x="528" y="335"/>
                    </a:lnTo>
                    <a:lnTo>
                      <a:pt x="530" y="335"/>
                    </a:lnTo>
                    <a:lnTo>
                      <a:pt x="532" y="335"/>
                    </a:lnTo>
                    <a:lnTo>
                      <a:pt x="530" y="335"/>
                    </a:lnTo>
                    <a:lnTo>
                      <a:pt x="532" y="335"/>
                    </a:lnTo>
                    <a:lnTo>
                      <a:pt x="534" y="335"/>
                    </a:lnTo>
                    <a:lnTo>
                      <a:pt x="536" y="335"/>
                    </a:lnTo>
                    <a:lnTo>
                      <a:pt x="537" y="335"/>
                    </a:lnTo>
                    <a:lnTo>
                      <a:pt x="537" y="333"/>
                    </a:lnTo>
                    <a:lnTo>
                      <a:pt x="539" y="333"/>
                    </a:lnTo>
                    <a:lnTo>
                      <a:pt x="541" y="333"/>
                    </a:lnTo>
                    <a:lnTo>
                      <a:pt x="541" y="331"/>
                    </a:lnTo>
                    <a:lnTo>
                      <a:pt x="543" y="331"/>
                    </a:lnTo>
                    <a:lnTo>
                      <a:pt x="543" y="329"/>
                    </a:lnTo>
                    <a:lnTo>
                      <a:pt x="545" y="329"/>
                    </a:lnTo>
                    <a:lnTo>
                      <a:pt x="545" y="331"/>
                    </a:lnTo>
                    <a:lnTo>
                      <a:pt x="545" y="329"/>
                    </a:lnTo>
                    <a:lnTo>
                      <a:pt x="547" y="329"/>
                    </a:lnTo>
                    <a:lnTo>
                      <a:pt x="547" y="331"/>
                    </a:lnTo>
                    <a:lnTo>
                      <a:pt x="547" y="333"/>
                    </a:lnTo>
                    <a:lnTo>
                      <a:pt x="547" y="335"/>
                    </a:lnTo>
                    <a:lnTo>
                      <a:pt x="549" y="335"/>
                    </a:lnTo>
                    <a:lnTo>
                      <a:pt x="549" y="336"/>
                    </a:lnTo>
                    <a:lnTo>
                      <a:pt x="549" y="335"/>
                    </a:lnTo>
                    <a:lnTo>
                      <a:pt x="547" y="335"/>
                    </a:lnTo>
                    <a:lnTo>
                      <a:pt x="547" y="333"/>
                    </a:lnTo>
                    <a:lnTo>
                      <a:pt x="547" y="331"/>
                    </a:lnTo>
                    <a:lnTo>
                      <a:pt x="547" y="329"/>
                    </a:lnTo>
                    <a:lnTo>
                      <a:pt x="545" y="329"/>
                    </a:lnTo>
                    <a:lnTo>
                      <a:pt x="547" y="329"/>
                    </a:lnTo>
                    <a:lnTo>
                      <a:pt x="545" y="329"/>
                    </a:lnTo>
                    <a:lnTo>
                      <a:pt x="545" y="331"/>
                    </a:lnTo>
                    <a:lnTo>
                      <a:pt x="545" y="329"/>
                    </a:lnTo>
                    <a:lnTo>
                      <a:pt x="543" y="329"/>
                    </a:lnTo>
                    <a:lnTo>
                      <a:pt x="543" y="331"/>
                    </a:lnTo>
                    <a:lnTo>
                      <a:pt x="541" y="331"/>
                    </a:lnTo>
                    <a:lnTo>
                      <a:pt x="539" y="331"/>
                    </a:lnTo>
                    <a:lnTo>
                      <a:pt x="539" y="329"/>
                    </a:lnTo>
                    <a:lnTo>
                      <a:pt x="539" y="327"/>
                    </a:lnTo>
                    <a:lnTo>
                      <a:pt x="539" y="325"/>
                    </a:lnTo>
                    <a:lnTo>
                      <a:pt x="539" y="323"/>
                    </a:lnTo>
                    <a:lnTo>
                      <a:pt x="539" y="321"/>
                    </a:lnTo>
                    <a:lnTo>
                      <a:pt x="537" y="321"/>
                    </a:lnTo>
                    <a:lnTo>
                      <a:pt x="536" y="321"/>
                    </a:lnTo>
                    <a:lnTo>
                      <a:pt x="536" y="319"/>
                    </a:lnTo>
                    <a:lnTo>
                      <a:pt x="534" y="319"/>
                    </a:lnTo>
                    <a:lnTo>
                      <a:pt x="534" y="321"/>
                    </a:lnTo>
                    <a:lnTo>
                      <a:pt x="534" y="319"/>
                    </a:lnTo>
                    <a:lnTo>
                      <a:pt x="532" y="319"/>
                    </a:lnTo>
                    <a:lnTo>
                      <a:pt x="534" y="319"/>
                    </a:lnTo>
                    <a:lnTo>
                      <a:pt x="536" y="319"/>
                    </a:lnTo>
                    <a:lnTo>
                      <a:pt x="537" y="321"/>
                    </a:lnTo>
                    <a:lnTo>
                      <a:pt x="539" y="321"/>
                    </a:lnTo>
                    <a:lnTo>
                      <a:pt x="541" y="321"/>
                    </a:lnTo>
                    <a:lnTo>
                      <a:pt x="543" y="323"/>
                    </a:lnTo>
                    <a:lnTo>
                      <a:pt x="545" y="323"/>
                    </a:lnTo>
                    <a:lnTo>
                      <a:pt x="547" y="325"/>
                    </a:lnTo>
                    <a:lnTo>
                      <a:pt x="551" y="325"/>
                    </a:lnTo>
                    <a:lnTo>
                      <a:pt x="553" y="327"/>
                    </a:lnTo>
                    <a:lnTo>
                      <a:pt x="557" y="327"/>
                    </a:lnTo>
                    <a:lnTo>
                      <a:pt x="559" y="327"/>
                    </a:lnTo>
                    <a:lnTo>
                      <a:pt x="559" y="329"/>
                    </a:lnTo>
                    <a:lnTo>
                      <a:pt x="557" y="329"/>
                    </a:lnTo>
                    <a:lnTo>
                      <a:pt x="557" y="327"/>
                    </a:lnTo>
                    <a:lnTo>
                      <a:pt x="557" y="329"/>
                    </a:lnTo>
                    <a:lnTo>
                      <a:pt x="557" y="327"/>
                    </a:lnTo>
                    <a:lnTo>
                      <a:pt x="555" y="327"/>
                    </a:lnTo>
                    <a:lnTo>
                      <a:pt x="555" y="329"/>
                    </a:lnTo>
                    <a:lnTo>
                      <a:pt x="555" y="331"/>
                    </a:lnTo>
                    <a:lnTo>
                      <a:pt x="555" y="333"/>
                    </a:lnTo>
                    <a:lnTo>
                      <a:pt x="555" y="335"/>
                    </a:lnTo>
                    <a:lnTo>
                      <a:pt x="555" y="336"/>
                    </a:lnTo>
                    <a:lnTo>
                      <a:pt x="553" y="336"/>
                    </a:lnTo>
                    <a:lnTo>
                      <a:pt x="555" y="338"/>
                    </a:lnTo>
                    <a:lnTo>
                      <a:pt x="553" y="338"/>
                    </a:lnTo>
                    <a:lnTo>
                      <a:pt x="555" y="338"/>
                    </a:lnTo>
                    <a:lnTo>
                      <a:pt x="555" y="340"/>
                    </a:lnTo>
                    <a:lnTo>
                      <a:pt x="555" y="342"/>
                    </a:lnTo>
                    <a:lnTo>
                      <a:pt x="553" y="342"/>
                    </a:lnTo>
                    <a:lnTo>
                      <a:pt x="553" y="344"/>
                    </a:lnTo>
                    <a:lnTo>
                      <a:pt x="553" y="346"/>
                    </a:lnTo>
                    <a:lnTo>
                      <a:pt x="553" y="344"/>
                    </a:lnTo>
                    <a:lnTo>
                      <a:pt x="553" y="346"/>
                    </a:lnTo>
                    <a:lnTo>
                      <a:pt x="553" y="348"/>
                    </a:lnTo>
                    <a:lnTo>
                      <a:pt x="555" y="348"/>
                    </a:lnTo>
                    <a:lnTo>
                      <a:pt x="553" y="348"/>
                    </a:lnTo>
                    <a:lnTo>
                      <a:pt x="555" y="348"/>
                    </a:lnTo>
                    <a:lnTo>
                      <a:pt x="555" y="350"/>
                    </a:lnTo>
                    <a:lnTo>
                      <a:pt x="555" y="352"/>
                    </a:lnTo>
                    <a:lnTo>
                      <a:pt x="553" y="352"/>
                    </a:lnTo>
                    <a:lnTo>
                      <a:pt x="553" y="354"/>
                    </a:lnTo>
                    <a:lnTo>
                      <a:pt x="553" y="352"/>
                    </a:lnTo>
                    <a:lnTo>
                      <a:pt x="555" y="352"/>
                    </a:lnTo>
                    <a:lnTo>
                      <a:pt x="555" y="350"/>
                    </a:lnTo>
                    <a:lnTo>
                      <a:pt x="555" y="348"/>
                    </a:lnTo>
                    <a:lnTo>
                      <a:pt x="553" y="348"/>
                    </a:lnTo>
                    <a:lnTo>
                      <a:pt x="553" y="346"/>
                    </a:lnTo>
                    <a:lnTo>
                      <a:pt x="553" y="344"/>
                    </a:lnTo>
                    <a:lnTo>
                      <a:pt x="553" y="342"/>
                    </a:lnTo>
                    <a:lnTo>
                      <a:pt x="555" y="342"/>
                    </a:lnTo>
                    <a:lnTo>
                      <a:pt x="555" y="340"/>
                    </a:lnTo>
                    <a:lnTo>
                      <a:pt x="555" y="338"/>
                    </a:lnTo>
                    <a:lnTo>
                      <a:pt x="557" y="338"/>
                    </a:lnTo>
                    <a:lnTo>
                      <a:pt x="557" y="336"/>
                    </a:lnTo>
                    <a:lnTo>
                      <a:pt x="555" y="336"/>
                    </a:lnTo>
                    <a:lnTo>
                      <a:pt x="555" y="335"/>
                    </a:lnTo>
                    <a:lnTo>
                      <a:pt x="555" y="336"/>
                    </a:lnTo>
                    <a:lnTo>
                      <a:pt x="555" y="335"/>
                    </a:lnTo>
                    <a:lnTo>
                      <a:pt x="557" y="335"/>
                    </a:lnTo>
                    <a:lnTo>
                      <a:pt x="557" y="333"/>
                    </a:lnTo>
                    <a:lnTo>
                      <a:pt x="559" y="333"/>
                    </a:lnTo>
                    <a:lnTo>
                      <a:pt x="557" y="333"/>
                    </a:lnTo>
                    <a:lnTo>
                      <a:pt x="557" y="335"/>
                    </a:lnTo>
                    <a:lnTo>
                      <a:pt x="559" y="335"/>
                    </a:lnTo>
                    <a:lnTo>
                      <a:pt x="557" y="335"/>
                    </a:lnTo>
                    <a:lnTo>
                      <a:pt x="559" y="335"/>
                    </a:lnTo>
                    <a:lnTo>
                      <a:pt x="559" y="333"/>
                    </a:lnTo>
                    <a:lnTo>
                      <a:pt x="560" y="333"/>
                    </a:lnTo>
                    <a:lnTo>
                      <a:pt x="562" y="331"/>
                    </a:lnTo>
                    <a:lnTo>
                      <a:pt x="564" y="331"/>
                    </a:lnTo>
                    <a:lnTo>
                      <a:pt x="562" y="331"/>
                    </a:lnTo>
                    <a:lnTo>
                      <a:pt x="562" y="329"/>
                    </a:lnTo>
                    <a:lnTo>
                      <a:pt x="560" y="329"/>
                    </a:lnTo>
                    <a:lnTo>
                      <a:pt x="559" y="329"/>
                    </a:lnTo>
                    <a:lnTo>
                      <a:pt x="560" y="329"/>
                    </a:lnTo>
                    <a:lnTo>
                      <a:pt x="562" y="329"/>
                    </a:lnTo>
                    <a:lnTo>
                      <a:pt x="564" y="331"/>
                    </a:lnTo>
                    <a:lnTo>
                      <a:pt x="566" y="331"/>
                    </a:lnTo>
                    <a:lnTo>
                      <a:pt x="568" y="333"/>
                    </a:lnTo>
                    <a:lnTo>
                      <a:pt x="570" y="335"/>
                    </a:lnTo>
                    <a:lnTo>
                      <a:pt x="572" y="335"/>
                    </a:lnTo>
                    <a:lnTo>
                      <a:pt x="574" y="336"/>
                    </a:lnTo>
                    <a:lnTo>
                      <a:pt x="576" y="336"/>
                    </a:lnTo>
                    <a:lnTo>
                      <a:pt x="576" y="338"/>
                    </a:lnTo>
                    <a:lnTo>
                      <a:pt x="578" y="338"/>
                    </a:lnTo>
                    <a:lnTo>
                      <a:pt x="580" y="340"/>
                    </a:lnTo>
                    <a:lnTo>
                      <a:pt x="582" y="342"/>
                    </a:lnTo>
                    <a:lnTo>
                      <a:pt x="584" y="342"/>
                    </a:lnTo>
                    <a:lnTo>
                      <a:pt x="585" y="344"/>
                    </a:lnTo>
                    <a:lnTo>
                      <a:pt x="585" y="346"/>
                    </a:lnTo>
                    <a:lnTo>
                      <a:pt x="587" y="346"/>
                    </a:lnTo>
                    <a:lnTo>
                      <a:pt x="589" y="346"/>
                    </a:lnTo>
                    <a:lnTo>
                      <a:pt x="591" y="348"/>
                    </a:lnTo>
                    <a:lnTo>
                      <a:pt x="593" y="348"/>
                    </a:lnTo>
                    <a:lnTo>
                      <a:pt x="595" y="348"/>
                    </a:lnTo>
                    <a:lnTo>
                      <a:pt x="597" y="350"/>
                    </a:lnTo>
                    <a:lnTo>
                      <a:pt x="599" y="350"/>
                    </a:lnTo>
                    <a:lnTo>
                      <a:pt x="601" y="350"/>
                    </a:lnTo>
                    <a:lnTo>
                      <a:pt x="603" y="350"/>
                    </a:lnTo>
                    <a:lnTo>
                      <a:pt x="605" y="350"/>
                    </a:lnTo>
                    <a:lnTo>
                      <a:pt x="607" y="350"/>
                    </a:lnTo>
                    <a:lnTo>
                      <a:pt x="609" y="350"/>
                    </a:lnTo>
                    <a:lnTo>
                      <a:pt x="609" y="348"/>
                    </a:lnTo>
                    <a:lnTo>
                      <a:pt x="609" y="350"/>
                    </a:lnTo>
                    <a:lnTo>
                      <a:pt x="610" y="348"/>
                    </a:lnTo>
                    <a:lnTo>
                      <a:pt x="612" y="348"/>
                    </a:lnTo>
                    <a:lnTo>
                      <a:pt x="614" y="348"/>
                    </a:lnTo>
                    <a:lnTo>
                      <a:pt x="614" y="350"/>
                    </a:lnTo>
                    <a:lnTo>
                      <a:pt x="614" y="348"/>
                    </a:lnTo>
                    <a:lnTo>
                      <a:pt x="614" y="350"/>
                    </a:lnTo>
                    <a:lnTo>
                      <a:pt x="616" y="350"/>
                    </a:lnTo>
                    <a:lnTo>
                      <a:pt x="618" y="350"/>
                    </a:lnTo>
                    <a:lnTo>
                      <a:pt x="620" y="350"/>
                    </a:lnTo>
                    <a:lnTo>
                      <a:pt x="620" y="352"/>
                    </a:lnTo>
                    <a:lnTo>
                      <a:pt x="618" y="354"/>
                    </a:lnTo>
                    <a:lnTo>
                      <a:pt x="618" y="356"/>
                    </a:lnTo>
                    <a:lnTo>
                      <a:pt x="620" y="356"/>
                    </a:lnTo>
                    <a:lnTo>
                      <a:pt x="620" y="358"/>
                    </a:lnTo>
                    <a:lnTo>
                      <a:pt x="620" y="360"/>
                    </a:lnTo>
                    <a:lnTo>
                      <a:pt x="620" y="358"/>
                    </a:lnTo>
                    <a:lnTo>
                      <a:pt x="620" y="360"/>
                    </a:lnTo>
                    <a:lnTo>
                      <a:pt x="620" y="358"/>
                    </a:lnTo>
                    <a:lnTo>
                      <a:pt x="620" y="360"/>
                    </a:lnTo>
                    <a:lnTo>
                      <a:pt x="622" y="360"/>
                    </a:lnTo>
                    <a:lnTo>
                      <a:pt x="624" y="360"/>
                    </a:lnTo>
                    <a:lnTo>
                      <a:pt x="626" y="361"/>
                    </a:lnTo>
                    <a:lnTo>
                      <a:pt x="628" y="361"/>
                    </a:lnTo>
                    <a:lnTo>
                      <a:pt x="628" y="360"/>
                    </a:lnTo>
                    <a:lnTo>
                      <a:pt x="630" y="360"/>
                    </a:lnTo>
                    <a:lnTo>
                      <a:pt x="632" y="360"/>
                    </a:lnTo>
                    <a:lnTo>
                      <a:pt x="632" y="358"/>
                    </a:lnTo>
                    <a:lnTo>
                      <a:pt x="632" y="360"/>
                    </a:lnTo>
                    <a:lnTo>
                      <a:pt x="633" y="358"/>
                    </a:lnTo>
                    <a:lnTo>
                      <a:pt x="633" y="360"/>
                    </a:lnTo>
                    <a:lnTo>
                      <a:pt x="635" y="360"/>
                    </a:lnTo>
                    <a:lnTo>
                      <a:pt x="637" y="361"/>
                    </a:lnTo>
                    <a:lnTo>
                      <a:pt x="639" y="361"/>
                    </a:lnTo>
                    <a:lnTo>
                      <a:pt x="641" y="363"/>
                    </a:lnTo>
                    <a:lnTo>
                      <a:pt x="643" y="363"/>
                    </a:lnTo>
                    <a:lnTo>
                      <a:pt x="643" y="365"/>
                    </a:lnTo>
                    <a:lnTo>
                      <a:pt x="643" y="367"/>
                    </a:lnTo>
                    <a:lnTo>
                      <a:pt x="645" y="367"/>
                    </a:lnTo>
                    <a:lnTo>
                      <a:pt x="643" y="369"/>
                    </a:lnTo>
                    <a:lnTo>
                      <a:pt x="643" y="371"/>
                    </a:lnTo>
                    <a:lnTo>
                      <a:pt x="643" y="373"/>
                    </a:lnTo>
                    <a:lnTo>
                      <a:pt x="645" y="373"/>
                    </a:lnTo>
                    <a:lnTo>
                      <a:pt x="647" y="375"/>
                    </a:lnTo>
                    <a:lnTo>
                      <a:pt x="647" y="377"/>
                    </a:lnTo>
                    <a:lnTo>
                      <a:pt x="647" y="379"/>
                    </a:lnTo>
                    <a:lnTo>
                      <a:pt x="645" y="379"/>
                    </a:lnTo>
                    <a:lnTo>
                      <a:pt x="645" y="381"/>
                    </a:lnTo>
                    <a:lnTo>
                      <a:pt x="643" y="381"/>
                    </a:lnTo>
                    <a:lnTo>
                      <a:pt x="643" y="383"/>
                    </a:lnTo>
                    <a:lnTo>
                      <a:pt x="645" y="385"/>
                    </a:lnTo>
                    <a:lnTo>
                      <a:pt x="645" y="386"/>
                    </a:lnTo>
                    <a:lnTo>
                      <a:pt x="647" y="386"/>
                    </a:lnTo>
                    <a:lnTo>
                      <a:pt x="649" y="386"/>
                    </a:lnTo>
                    <a:lnTo>
                      <a:pt x="649" y="388"/>
                    </a:lnTo>
                    <a:lnTo>
                      <a:pt x="651" y="388"/>
                    </a:lnTo>
                    <a:lnTo>
                      <a:pt x="653" y="388"/>
                    </a:lnTo>
                    <a:lnTo>
                      <a:pt x="653" y="390"/>
                    </a:lnTo>
                    <a:lnTo>
                      <a:pt x="653" y="392"/>
                    </a:lnTo>
                    <a:lnTo>
                      <a:pt x="651" y="392"/>
                    </a:lnTo>
                    <a:lnTo>
                      <a:pt x="649" y="392"/>
                    </a:lnTo>
                    <a:lnTo>
                      <a:pt x="647" y="392"/>
                    </a:lnTo>
                    <a:lnTo>
                      <a:pt x="645" y="392"/>
                    </a:lnTo>
                    <a:lnTo>
                      <a:pt x="645" y="394"/>
                    </a:lnTo>
                    <a:lnTo>
                      <a:pt x="643" y="394"/>
                    </a:lnTo>
                    <a:lnTo>
                      <a:pt x="641" y="394"/>
                    </a:lnTo>
                    <a:lnTo>
                      <a:pt x="641" y="396"/>
                    </a:lnTo>
                    <a:lnTo>
                      <a:pt x="639" y="396"/>
                    </a:lnTo>
                    <a:lnTo>
                      <a:pt x="637" y="396"/>
                    </a:lnTo>
                    <a:lnTo>
                      <a:pt x="637" y="398"/>
                    </a:lnTo>
                    <a:lnTo>
                      <a:pt x="635" y="398"/>
                    </a:lnTo>
                    <a:lnTo>
                      <a:pt x="633" y="398"/>
                    </a:lnTo>
                    <a:lnTo>
                      <a:pt x="633" y="400"/>
                    </a:lnTo>
                    <a:lnTo>
                      <a:pt x="632" y="400"/>
                    </a:lnTo>
                    <a:lnTo>
                      <a:pt x="630" y="400"/>
                    </a:lnTo>
                    <a:lnTo>
                      <a:pt x="630" y="402"/>
                    </a:lnTo>
                    <a:lnTo>
                      <a:pt x="628" y="402"/>
                    </a:lnTo>
                    <a:lnTo>
                      <a:pt x="626" y="402"/>
                    </a:lnTo>
                    <a:lnTo>
                      <a:pt x="624" y="404"/>
                    </a:lnTo>
                    <a:lnTo>
                      <a:pt x="622" y="404"/>
                    </a:lnTo>
                    <a:lnTo>
                      <a:pt x="620" y="404"/>
                    </a:lnTo>
                    <a:lnTo>
                      <a:pt x="618" y="406"/>
                    </a:lnTo>
                    <a:lnTo>
                      <a:pt x="616" y="408"/>
                    </a:lnTo>
                    <a:lnTo>
                      <a:pt x="614" y="410"/>
                    </a:lnTo>
                    <a:lnTo>
                      <a:pt x="612" y="410"/>
                    </a:lnTo>
                    <a:lnTo>
                      <a:pt x="612" y="411"/>
                    </a:lnTo>
                    <a:lnTo>
                      <a:pt x="610" y="411"/>
                    </a:lnTo>
                    <a:lnTo>
                      <a:pt x="610" y="410"/>
                    </a:lnTo>
                    <a:lnTo>
                      <a:pt x="610" y="411"/>
                    </a:lnTo>
                    <a:lnTo>
                      <a:pt x="609" y="411"/>
                    </a:lnTo>
                    <a:lnTo>
                      <a:pt x="610" y="411"/>
                    </a:lnTo>
                    <a:lnTo>
                      <a:pt x="610" y="413"/>
                    </a:lnTo>
                    <a:lnTo>
                      <a:pt x="609" y="413"/>
                    </a:lnTo>
                    <a:lnTo>
                      <a:pt x="609" y="415"/>
                    </a:lnTo>
                    <a:lnTo>
                      <a:pt x="607" y="417"/>
                    </a:lnTo>
                    <a:lnTo>
                      <a:pt x="605" y="419"/>
                    </a:lnTo>
                    <a:lnTo>
                      <a:pt x="603" y="421"/>
                    </a:lnTo>
                    <a:lnTo>
                      <a:pt x="603" y="423"/>
                    </a:lnTo>
                    <a:lnTo>
                      <a:pt x="601" y="425"/>
                    </a:lnTo>
                    <a:lnTo>
                      <a:pt x="601" y="427"/>
                    </a:lnTo>
                    <a:lnTo>
                      <a:pt x="601" y="425"/>
                    </a:lnTo>
                    <a:lnTo>
                      <a:pt x="601" y="427"/>
                    </a:lnTo>
                    <a:lnTo>
                      <a:pt x="601" y="425"/>
                    </a:lnTo>
                    <a:lnTo>
                      <a:pt x="601" y="423"/>
                    </a:lnTo>
                    <a:lnTo>
                      <a:pt x="601" y="425"/>
                    </a:lnTo>
                    <a:lnTo>
                      <a:pt x="603" y="423"/>
                    </a:lnTo>
                    <a:lnTo>
                      <a:pt x="605" y="421"/>
                    </a:lnTo>
                    <a:lnTo>
                      <a:pt x="605" y="419"/>
                    </a:lnTo>
                    <a:lnTo>
                      <a:pt x="603" y="421"/>
                    </a:lnTo>
                    <a:lnTo>
                      <a:pt x="603" y="423"/>
                    </a:lnTo>
                    <a:lnTo>
                      <a:pt x="601" y="423"/>
                    </a:lnTo>
                    <a:lnTo>
                      <a:pt x="601" y="425"/>
                    </a:lnTo>
                    <a:lnTo>
                      <a:pt x="599" y="429"/>
                    </a:lnTo>
                    <a:lnTo>
                      <a:pt x="599" y="427"/>
                    </a:lnTo>
                    <a:lnTo>
                      <a:pt x="601" y="427"/>
                    </a:lnTo>
                    <a:lnTo>
                      <a:pt x="601" y="429"/>
                    </a:lnTo>
                    <a:lnTo>
                      <a:pt x="599" y="431"/>
                    </a:lnTo>
                    <a:lnTo>
                      <a:pt x="599" y="433"/>
                    </a:lnTo>
                    <a:lnTo>
                      <a:pt x="599" y="435"/>
                    </a:lnTo>
                    <a:lnTo>
                      <a:pt x="597" y="436"/>
                    </a:lnTo>
                    <a:lnTo>
                      <a:pt x="597" y="438"/>
                    </a:lnTo>
                    <a:lnTo>
                      <a:pt x="597" y="440"/>
                    </a:lnTo>
                    <a:lnTo>
                      <a:pt x="597" y="442"/>
                    </a:lnTo>
                    <a:lnTo>
                      <a:pt x="597" y="444"/>
                    </a:lnTo>
                    <a:lnTo>
                      <a:pt x="597" y="446"/>
                    </a:lnTo>
                    <a:lnTo>
                      <a:pt x="597" y="448"/>
                    </a:lnTo>
                    <a:lnTo>
                      <a:pt x="597" y="450"/>
                    </a:lnTo>
                    <a:lnTo>
                      <a:pt x="599" y="450"/>
                    </a:lnTo>
                    <a:lnTo>
                      <a:pt x="599" y="452"/>
                    </a:lnTo>
                    <a:lnTo>
                      <a:pt x="597" y="452"/>
                    </a:lnTo>
                    <a:lnTo>
                      <a:pt x="599" y="452"/>
                    </a:lnTo>
                    <a:lnTo>
                      <a:pt x="597" y="452"/>
                    </a:lnTo>
                    <a:lnTo>
                      <a:pt x="599" y="452"/>
                    </a:lnTo>
                    <a:lnTo>
                      <a:pt x="597" y="452"/>
                    </a:lnTo>
                    <a:lnTo>
                      <a:pt x="597" y="454"/>
                    </a:lnTo>
                    <a:lnTo>
                      <a:pt x="597" y="456"/>
                    </a:lnTo>
                    <a:lnTo>
                      <a:pt x="595" y="456"/>
                    </a:lnTo>
                    <a:lnTo>
                      <a:pt x="595" y="458"/>
                    </a:lnTo>
                    <a:lnTo>
                      <a:pt x="595" y="460"/>
                    </a:lnTo>
                    <a:lnTo>
                      <a:pt x="593" y="460"/>
                    </a:lnTo>
                    <a:lnTo>
                      <a:pt x="593" y="461"/>
                    </a:lnTo>
                    <a:lnTo>
                      <a:pt x="593" y="463"/>
                    </a:lnTo>
                    <a:lnTo>
                      <a:pt x="593" y="465"/>
                    </a:lnTo>
                    <a:lnTo>
                      <a:pt x="591" y="469"/>
                    </a:lnTo>
                    <a:lnTo>
                      <a:pt x="591" y="471"/>
                    </a:lnTo>
                    <a:lnTo>
                      <a:pt x="591" y="473"/>
                    </a:lnTo>
                    <a:lnTo>
                      <a:pt x="591" y="475"/>
                    </a:lnTo>
                    <a:lnTo>
                      <a:pt x="591" y="477"/>
                    </a:lnTo>
                    <a:lnTo>
                      <a:pt x="589" y="477"/>
                    </a:lnTo>
                    <a:lnTo>
                      <a:pt x="591" y="477"/>
                    </a:lnTo>
                    <a:lnTo>
                      <a:pt x="589" y="477"/>
                    </a:lnTo>
                    <a:lnTo>
                      <a:pt x="589" y="479"/>
                    </a:lnTo>
                    <a:lnTo>
                      <a:pt x="589" y="481"/>
                    </a:lnTo>
                    <a:lnTo>
                      <a:pt x="589" y="485"/>
                    </a:lnTo>
                    <a:lnTo>
                      <a:pt x="589" y="483"/>
                    </a:lnTo>
                    <a:lnTo>
                      <a:pt x="589" y="479"/>
                    </a:lnTo>
                    <a:lnTo>
                      <a:pt x="589" y="481"/>
                    </a:lnTo>
                    <a:lnTo>
                      <a:pt x="587" y="481"/>
                    </a:lnTo>
                    <a:lnTo>
                      <a:pt x="585" y="481"/>
                    </a:lnTo>
                    <a:lnTo>
                      <a:pt x="585" y="479"/>
                    </a:lnTo>
                    <a:lnTo>
                      <a:pt x="584" y="479"/>
                    </a:lnTo>
                    <a:lnTo>
                      <a:pt x="585" y="479"/>
                    </a:lnTo>
                    <a:lnTo>
                      <a:pt x="585" y="481"/>
                    </a:lnTo>
                    <a:lnTo>
                      <a:pt x="587" y="481"/>
                    </a:lnTo>
                    <a:lnTo>
                      <a:pt x="587" y="483"/>
                    </a:lnTo>
                    <a:lnTo>
                      <a:pt x="589" y="483"/>
                    </a:lnTo>
                    <a:lnTo>
                      <a:pt x="589" y="485"/>
                    </a:lnTo>
                    <a:lnTo>
                      <a:pt x="591" y="485"/>
                    </a:lnTo>
                    <a:lnTo>
                      <a:pt x="591" y="486"/>
                    </a:lnTo>
                    <a:lnTo>
                      <a:pt x="591" y="488"/>
                    </a:lnTo>
                    <a:lnTo>
                      <a:pt x="589" y="488"/>
                    </a:lnTo>
                    <a:lnTo>
                      <a:pt x="589" y="490"/>
                    </a:lnTo>
                    <a:lnTo>
                      <a:pt x="589" y="492"/>
                    </a:lnTo>
                    <a:lnTo>
                      <a:pt x="589" y="494"/>
                    </a:lnTo>
                    <a:lnTo>
                      <a:pt x="587" y="494"/>
                    </a:lnTo>
                    <a:lnTo>
                      <a:pt x="587" y="496"/>
                    </a:lnTo>
                    <a:lnTo>
                      <a:pt x="587" y="500"/>
                    </a:lnTo>
                    <a:lnTo>
                      <a:pt x="587" y="502"/>
                    </a:lnTo>
                    <a:lnTo>
                      <a:pt x="587" y="500"/>
                    </a:lnTo>
                    <a:lnTo>
                      <a:pt x="587" y="498"/>
                    </a:lnTo>
                    <a:lnTo>
                      <a:pt x="585" y="498"/>
                    </a:lnTo>
                    <a:lnTo>
                      <a:pt x="585" y="500"/>
                    </a:lnTo>
                    <a:lnTo>
                      <a:pt x="584" y="500"/>
                    </a:lnTo>
                    <a:lnTo>
                      <a:pt x="582" y="500"/>
                    </a:lnTo>
                    <a:lnTo>
                      <a:pt x="582" y="502"/>
                    </a:lnTo>
                    <a:lnTo>
                      <a:pt x="584" y="502"/>
                    </a:lnTo>
                    <a:lnTo>
                      <a:pt x="585" y="502"/>
                    </a:lnTo>
                    <a:lnTo>
                      <a:pt x="587" y="502"/>
                    </a:lnTo>
                    <a:lnTo>
                      <a:pt x="587" y="504"/>
                    </a:lnTo>
                    <a:lnTo>
                      <a:pt x="589" y="504"/>
                    </a:lnTo>
                    <a:lnTo>
                      <a:pt x="587" y="504"/>
                    </a:lnTo>
                    <a:lnTo>
                      <a:pt x="587" y="506"/>
                    </a:lnTo>
                    <a:lnTo>
                      <a:pt x="587" y="508"/>
                    </a:lnTo>
                    <a:lnTo>
                      <a:pt x="587" y="510"/>
                    </a:lnTo>
                    <a:lnTo>
                      <a:pt x="585" y="510"/>
                    </a:lnTo>
                    <a:lnTo>
                      <a:pt x="585" y="511"/>
                    </a:lnTo>
                    <a:lnTo>
                      <a:pt x="584" y="511"/>
                    </a:lnTo>
                    <a:lnTo>
                      <a:pt x="584" y="510"/>
                    </a:lnTo>
                    <a:lnTo>
                      <a:pt x="585" y="510"/>
                    </a:lnTo>
                    <a:lnTo>
                      <a:pt x="584" y="510"/>
                    </a:lnTo>
                    <a:lnTo>
                      <a:pt x="584" y="508"/>
                    </a:lnTo>
                    <a:lnTo>
                      <a:pt x="582" y="508"/>
                    </a:lnTo>
                    <a:lnTo>
                      <a:pt x="580" y="508"/>
                    </a:lnTo>
                    <a:lnTo>
                      <a:pt x="580" y="506"/>
                    </a:lnTo>
                    <a:lnTo>
                      <a:pt x="578" y="506"/>
                    </a:lnTo>
                    <a:lnTo>
                      <a:pt x="578" y="504"/>
                    </a:lnTo>
                    <a:lnTo>
                      <a:pt x="576" y="504"/>
                    </a:lnTo>
                    <a:lnTo>
                      <a:pt x="576" y="502"/>
                    </a:lnTo>
                    <a:lnTo>
                      <a:pt x="574" y="502"/>
                    </a:lnTo>
                    <a:lnTo>
                      <a:pt x="572" y="504"/>
                    </a:lnTo>
                    <a:lnTo>
                      <a:pt x="570" y="502"/>
                    </a:lnTo>
                    <a:lnTo>
                      <a:pt x="568" y="502"/>
                    </a:lnTo>
                    <a:lnTo>
                      <a:pt x="568" y="504"/>
                    </a:lnTo>
                    <a:lnTo>
                      <a:pt x="568" y="506"/>
                    </a:lnTo>
                    <a:lnTo>
                      <a:pt x="566" y="506"/>
                    </a:lnTo>
                    <a:lnTo>
                      <a:pt x="564" y="504"/>
                    </a:lnTo>
                    <a:lnTo>
                      <a:pt x="562" y="504"/>
                    </a:lnTo>
                    <a:lnTo>
                      <a:pt x="560" y="502"/>
                    </a:lnTo>
                    <a:lnTo>
                      <a:pt x="560" y="500"/>
                    </a:lnTo>
                    <a:lnTo>
                      <a:pt x="559" y="500"/>
                    </a:lnTo>
                    <a:lnTo>
                      <a:pt x="557" y="500"/>
                    </a:lnTo>
                    <a:lnTo>
                      <a:pt x="555" y="500"/>
                    </a:lnTo>
                    <a:lnTo>
                      <a:pt x="553" y="500"/>
                    </a:lnTo>
                    <a:lnTo>
                      <a:pt x="553" y="498"/>
                    </a:lnTo>
                    <a:lnTo>
                      <a:pt x="553" y="496"/>
                    </a:lnTo>
                    <a:lnTo>
                      <a:pt x="553" y="494"/>
                    </a:lnTo>
                    <a:lnTo>
                      <a:pt x="555" y="492"/>
                    </a:lnTo>
                    <a:lnTo>
                      <a:pt x="553" y="492"/>
                    </a:lnTo>
                    <a:lnTo>
                      <a:pt x="553" y="490"/>
                    </a:lnTo>
                    <a:lnTo>
                      <a:pt x="551" y="490"/>
                    </a:lnTo>
                    <a:lnTo>
                      <a:pt x="549" y="490"/>
                    </a:lnTo>
                    <a:lnTo>
                      <a:pt x="549" y="488"/>
                    </a:lnTo>
                    <a:lnTo>
                      <a:pt x="547" y="488"/>
                    </a:lnTo>
                    <a:lnTo>
                      <a:pt x="545" y="492"/>
                    </a:lnTo>
                    <a:lnTo>
                      <a:pt x="545" y="494"/>
                    </a:lnTo>
                    <a:lnTo>
                      <a:pt x="543" y="494"/>
                    </a:lnTo>
                    <a:lnTo>
                      <a:pt x="541" y="494"/>
                    </a:lnTo>
                    <a:lnTo>
                      <a:pt x="541" y="492"/>
                    </a:lnTo>
                    <a:lnTo>
                      <a:pt x="539" y="492"/>
                    </a:lnTo>
                    <a:lnTo>
                      <a:pt x="539" y="494"/>
                    </a:lnTo>
                    <a:lnTo>
                      <a:pt x="537" y="494"/>
                    </a:lnTo>
                    <a:lnTo>
                      <a:pt x="537" y="496"/>
                    </a:lnTo>
                    <a:lnTo>
                      <a:pt x="537" y="494"/>
                    </a:lnTo>
                    <a:lnTo>
                      <a:pt x="536" y="494"/>
                    </a:lnTo>
                    <a:lnTo>
                      <a:pt x="536" y="498"/>
                    </a:lnTo>
                    <a:lnTo>
                      <a:pt x="534" y="498"/>
                    </a:lnTo>
                    <a:lnTo>
                      <a:pt x="532" y="498"/>
                    </a:lnTo>
                    <a:lnTo>
                      <a:pt x="532" y="500"/>
                    </a:lnTo>
                    <a:lnTo>
                      <a:pt x="532" y="502"/>
                    </a:lnTo>
                    <a:lnTo>
                      <a:pt x="532" y="504"/>
                    </a:lnTo>
                    <a:lnTo>
                      <a:pt x="532" y="506"/>
                    </a:lnTo>
                    <a:lnTo>
                      <a:pt x="532" y="508"/>
                    </a:lnTo>
                    <a:lnTo>
                      <a:pt x="530" y="508"/>
                    </a:lnTo>
                    <a:lnTo>
                      <a:pt x="530" y="510"/>
                    </a:lnTo>
                    <a:lnTo>
                      <a:pt x="530" y="511"/>
                    </a:lnTo>
                    <a:lnTo>
                      <a:pt x="530" y="513"/>
                    </a:lnTo>
                    <a:lnTo>
                      <a:pt x="530" y="515"/>
                    </a:lnTo>
                    <a:lnTo>
                      <a:pt x="528" y="515"/>
                    </a:lnTo>
                    <a:lnTo>
                      <a:pt x="528" y="517"/>
                    </a:lnTo>
                    <a:lnTo>
                      <a:pt x="528" y="519"/>
                    </a:lnTo>
                    <a:lnTo>
                      <a:pt x="526" y="521"/>
                    </a:lnTo>
                    <a:lnTo>
                      <a:pt x="524" y="521"/>
                    </a:lnTo>
                    <a:lnTo>
                      <a:pt x="524" y="519"/>
                    </a:lnTo>
                    <a:lnTo>
                      <a:pt x="522" y="519"/>
                    </a:lnTo>
                    <a:lnTo>
                      <a:pt x="522" y="521"/>
                    </a:lnTo>
                    <a:lnTo>
                      <a:pt x="520" y="521"/>
                    </a:lnTo>
                    <a:lnTo>
                      <a:pt x="518" y="521"/>
                    </a:lnTo>
                    <a:lnTo>
                      <a:pt x="516" y="523"/>
                    </a:lnTo>
                    <a:lnTo>
                      <a:pt x="516" y="525"/>
                    </a:lnTo>
                    <a:lnTo>
                      <a:pt x="516" y="529"/>
                    </a:lnTo>
                    <a:lnTo>
                      <a:pt x="516" y="531"/>
                    </a:lnTo>
                    <a:lnTo>
                      <a:pt x="514" y="531"/>
                    </a:lnTo>
                    <a:lnTo>
                      <a:pt x="512" y="531"/>
                    </a:lnTo>
                    <a:lnTo>
                      <a:pt x="512" y="529"/>
                    </a:lnTo>
                    <a:lnTo>
                      <a:pt x="511" y="529"/>
                    </a:lnTo>
                    <a:lnTo>
                      <a:pt x="509" y="529"/>
                    </a:lnTo>
                    <a:lnTo>
                      <a:pt x="507" y="531"/>
                    </a:lnTo>
                    <a:lnTo>
                      <a:pt x="505" y="533"/>
                    </a:lnTo>
                    <a:lnTo>
                      <a:pt x="507" y="533"/>
                    </a:lnTo>
                    <a:lnTo>
                      <a:pt x="507" y="535"/>
                    </a:lnTo>
                    <a:lnTo>
                      <a:pt x="507" y="536"/>
                    </a:lnTo>
                    <a:lnTo>
                      <a:pt x="505" y="536"/>
                    </a:lnTo>
                    <a:lnTo>
                      <a:pt x="505" y="538"/>
                    </a:lnTo>
                    <a:lnTo>
                      <a:pt x="507" y="538"/>
                    </a:lnTo>
                    <a:lnTo>
                      <a:pt x="509" y="538"/>
                    </a:lnTo>
                    <a:lnTo>
                      <a:pt x="507" y="540"/>
                    </a:lnTo>
                    <a:lnTo>
                      <a:pt x="507" y="542"/>
                    </a:lnTo>
                    <a:lnTo>
                      <a:pt x="505" y="542"/>
                    </a:lnTo>
                    <a:lnTo>
                      <a:pt x="505" y="544"/>
                    </a:lnTo>
                    <a:lnTo>
                      <a:pt x="503" y="544"/>
                    </a:lnTo>
                    <a:lnTo>
                      <a:pt x="505" y="546"/>
                    </a:lnTo>
                    <a:lnTo>
                      <a:pt x="505" y="548"/>
                    </a:lnTo>
                    <a:lnTo>
                      <a:pt x="503" y="548"/>
                    </a:lnTo>
                    <a:lnTo>
                      <a:pt x="503" y="550"/>
                    </a:lnTo>
                    <a:lnTo>
                      <a:pt x="501" y="550"/>
                    </a:lnTo>
                    <a:lnTo>
                      <a:pt x="501" y="552"/>
                    </a:lnTo>
                    <a:lnTo>
                      <a:pt x="499" y="550"/>
                    </a:lnTo>
                    <a:lnTo>
                      <a:pt x="497" y="550"/>
                    </a:lnTo>
                    <a:lnTo>
                      <a:pt x="497" y="552"/>
                    </a:lnTo>
                    <a:lnTo>
                      <a:pt x="499" y="552"/>
                    </a:lnTo>
                    <a:lnTo>
                      <a:pt x="497" y="554"/>
                    </a:lnTo>
                    <a:lnTo>
                      <a:pt x="495" y="554"/>
                    </a:lnTo>
                    <a:lnTo>
                      <a:pt x="495" y="552"/>
                    </a:lnTo>
                    <a:lnTo>
                      <a:pt x="495" y="550"/>
                    </a:lnTo>
                    <a:lnTo>
                      <a:pt x="493" y="550"/>
                    </a:lnTo>
                    <a:lnTo>
                      <a:pt x="493" y="552"/>
                    </a:lnTo>
                    <a:lnTo>
                      <a:pt x="495" y="554"/>
                    </a:lnTo>
                    <a:lnTo>
                      <a:pt x="493" y="554"/>
                    </a:lnTo>
                    <a:lnTo>
                      <a:pt x="493" y="556"/>
                    </a:lnTo>
                    <a:lnTo>
                      <a:pt x="493" y="558"/>
                    </a:lnTo>
                    <a:lnTo>
                      <a:pt x="495" y="558"/>
                    </a:lnTo>
                    <a:lnTo>
                      <a:pt x="495" y="560"/>
                    </a:lnTo>
                    <a:lnTo>
                      <a:pt x="493" y="561"/>
                    </a:lnTo>
                    <a:lnTo>
                      <a:pt x="491" y="561"/>
                    </a:lnTo>
                    <a:lnTo>
                      <a:pt x="491" y="563"/>
                    </a:lnTo>
                    <a:lnTo>
                      <a:pt x="491" y="565"/>
                    </a:lnTo>
                    <a:lnTo>
                      <a:pt x="489" y="567"/>
                    </a:lnTo>
                    <a:lnTo>
                      <a:pt x="487" y="567"/>
                    </a:lnTo>
                    <a:lnTo>
                      <a:pt x="486" y="569"/>
                    </a:lnTo>
                    <a:lnTo>
                      <a:pt x="484" y="569"/>
                    </a:lnTo>
                    <a:lnTo>
                      <a:pt x="484" y="571"/>
                    </a:lnTo>
                    <a:lnTo>
                      <a:pt x="482" y="571"/>
                    </a:lnTo>
                    <a:lnTo>
                      <a:pt x="480" y="571"/>
                    </a:lnTo>
                    <a:lnTo>
                      <a:pt x="480" y="573"/>
                    </a:lnTo>
                    <a:lnTo>
                      <a:pt x="478" y="575"/>
                    </a:lnTo>
                    <a:lnTo>
                      <a:pt x="476" y="575"/>
                    </a:lnTo>
                    <a:lnTo>
                      <a:pt x="474" y="573"/>
                    </a:lnTo>
                    <a:lnTo>
                      <a:pt x="474" y="575"/>
                    </a:lnTo>
                    <a:lnTo>
                      <a:pt x="472" y="575"/>
                    </a:lnTo>
                    <a:lnTo>
                      <a:pt x="472" y="573"/>
                    </a:lnTo>
                    <a:lnTo>
                      <a:pt x="470" y="573"/>
                    </a:lnTo>
                    <a:lnTo>
                      <a:pt x="470" y="571"/>
                    </a:lnTo>
                    <a:lnTo>
                      <a:pt x="468" y="571"/>
                    </a:lnTo>
                    <a:lnTo>
                      <a:pt x="468" y="573"/>
                    </a:lnTo>
                    <a:lnTo>
                      <a:pt x="466" y="573"/>
                    </a:lnTo>
                    <a:lnTo>
                      <a:pt x="466" y="571"/>
                    </a:lnTo>
                    <a:lnTo>
                      <a:pt x="466" y="569"/>
                    </a:lnTo>
                    <a:lnTo>
                      <a:pt x="464" y="569"/>
                    </a:lnTo>
                    <a:lnTo>
                      <a:pt x="463" y="569"/>
                    </a:lnTo>
                    <a:lnTo>
                      <a:pt x="463" y="567"/>
                    </a:lnTo>
                    <a:lnTo>
                      <a:pt x="463" y="569"/>
                    </a:lnTo>
                    <a:lnTo>
                      <a:pt x="461" y="569"/>
                    </a:lnTo>
                    <a:lnTo>
                      <a:pt x="461" y="567"/>
                    </a:lnTo>
                    <a:lnTo>
                      <a:pt x="459" y="563"/>
                    </a:lnTo>
                    <a:lnTo>
                      <a:pt x="459" y="561"/>
                    </a:lnTo>
                    <a:lnTo>
                      <a:pt x="455" y="561"/>
                    </a:lnTo>
                    <a:lnTo>
                      <a:pt x="455" y="563"/>
                    </a:lnTo>
                    <a:lnTo>
                      <a:pt x="453" y="563"/>
                    </a:lnTo>
                    <a:lnTo>
                      <a:pt x="453" y="565"/>
                    </a:lnTo>
                    <a:lnTo>
                      <a:pt x="451" y="565"/>
                    </a:lnTo>
                    <a:lnTo>
                      <a:pt x="447" y="565"/>
                    </a:lnTo>
                    <a:lnTo>
                      <a:pt x="447" y="567"/>
                    </a:lnTo>
                    <a:lnTo>
                      <a:pt x="445" y="567"/>
                    </a:lnTo>
                    <a:lnTo>
                      <a:pt x="443" y="567"/>
                    </a:lnTo>
                    <a:lnTo>
                      <a:pt x="443" y="565"/>
                    </a:lnTo>
                    <a:lnTo>
                      <a:pt x="441" y="565"/>
                    </a:lnTo>
                    <a:lnTo>
                      <a:pt x="438" y="565"/>
                    </a:lnTo>
                    <a:lnTo>
                      <a:pt x="436" y="565"/>
                    </a:lnTo>
                    <a:lnTo>
                      <a:pt x="434" y="565"/>
                    </a:lnTo>
                    <a:lnTo>
                      <a:pt x="432" y="565"/>
                    </a:lnTo>
                    <a:lnTo>
                      <a:pt x="430" y="565"/>
                    </a:lnTo>
                    <a:lnTo>
                      <a:pt x="426" y="565"/>
                    </a:lnTo>
                    <a:lnTo>
                      <a:pt x="424" y="565"/>
                    </a:lnTo>
                    <a:lnTo>
                      <a:pt x="422" y="565"/>
                    </a:lnTo>
                    <a:lnTo>
                      <a:pt x="422" y="571"/>
                    </a:lnTo>
                    <a:lnTo>
                      <a:pt x="420" y="569"/>
                    </a:lnTo>
                    <a:lnTo>
                      <a:pt x="418" y="571"/>
                    </a:lnTo>
                    <a:lnTo>
                      <a:pt x="413" y="571"/>
                    </a:lnTo>
                    <a:lnTo>
                      <a:pt x="411" y="571"/>
                    </a:lnTo>
                    <a:lnTo>
                      <a:pt x="411" y="573"/>
                    </a:lnTo>
                    <a:lnTo>
                      <a:pt x="409" y="573"/>
                    </a:lnTo>
                    <a:lnTo>
                      <a:pt x="405" y="573"/>
                    </a:lnTo>
                    <a:lnTo>
                      <a:pt x="405" y="571"/>
                    </a:lnTo>
                    <a:lnTo>
                      <a:pt x="405" y="567"/>
                    </a:lnTo>
                    <a:lnTo>
                      <a:pt x="405" y="565"/>
                    </a:lnTo>
                    <a:lnTo>
                      <a:pt x="405" y="563"/>
                    </a:lnTo>
                    <a:lnTo>
                      <a:pt x="407" y="563"/>
                    </a:lnTo>
                    <a:lnTo>
                      <a:pt x="407" y="561"/>
                    </a:lnTo>
                    <a:lnTo>
                      <a:pt x="405" y="561"/>
                    </a:lnTo>
                    <a:lnTo>
                      <a:pt x="403" y="561"/>
                    </a:lnTo>
                    <a:lnTo>
                      <a:pt x="403" y="560"/>
                    </a:lnTo>
                    <a:lnTo>
                      <a:pt x="405" y="560"/>
                    </a:lnTo>
                    <a:lnTo>
                      <a:pt x="405" y="558"/>
                    </a:lnTo>
                    <a:lnTo>
                      <a:pt x="403" y="556"/>
                    </a:lnTo>
                    <a:lnTo>
                      <a:pt x="403" y="554"/>
                    </a:lnTo>
                    <a:lnTo>
                      <a:pt x="403" y="552"/>
                    </a:lnTo>
                    <a:lnTo>
                      <a:pt x="403" y="546"/>
                    </a:lnTo>
                    <a:lnTo>
                      <a:pt x="403" y="544"/>
                    </a:lnTo>
                    <a:lnTo>
                      <a:pt x="403" y="540"/>
                    </a:lnTo>
                    <a:lnTo>
                      <a:pt x="401" y="538"/>
                    </a:lnTo>
                    <a:lnTo>
                      <a:pt x="403" y="536"/>
                    </a:lnTo>
                    <a:lnTo>
                      <a:pt x="403" y="535"/>
                    </a:lnTo>
                    <a:lnTo>
                      <a:pt x="403" y="533"/>
                    </a:lnTo>
                    <a:lnTo>
                      <a:pt x="405" y="531"/>
                    </a:lnTo>
                    <a:lnTo>
                      <a:pt x="405" y="529"/>
                    </a:lnTo>
                    <a:lnTo>
                      <a:pt x="405" y="527"/>
                    </a:lnTo>
                    <a:lnTo>
                      <a:pt x="403" y="525"/>
                    </a:lnTo>
                    <a:lnTo>
                      <a:pt x="403" y="523"/>
                    </a:lnTo>
                    <a:lnTo>
                      <a:pt x="401" y="523"/>
                    </a:lnTo>
                    <a:lnTo>
                      <a:pt x="401" y="521"/>
                    </a:lnTo>
                    <a:lnTo>
                      <a:pt x="399" y="521"/>
                    </a:lnTo>
                    <a:lnTo>
                      <a:pt x="399" y="519"/>
                    </a:lnTo>
                    <a:lnTo>
                      <a:pt x="397" y="519"/>
                    </a:lnTo>
                    <a:lnTo>
                      <a:pt x="397" y="517"/>
                    </a:lnTo>
                    <a:lnTo>
                      <a:pt x="395" y="517"/>
                    </a:lnTo>
                    <a:lnTo>
                      <a:pt x="391" y="517"/>
                    </a:lnTo>
                    <a:lnTo>
                      <a:pt x="390" y="517"/>
                    </a:lnTo>
                    <a:lnTo>
                      <a:pt x="388" y="515"/>
                    </a:lnTo>
                    <a:lnTo>
                      <a:pt x="386" y="515"/>
                    </a:lnTo>
                    <a:lnTo>
                      <a:pt x="384" y="515"/>
                    </a:lnTo>
                    <a:lnTo>
                      <a:pt x="382" y="517"/>
                    </a:lnTo>
                    <a:lnTo>
                      <a:pt x="382" y="519"/>
                    </a:lnTo>
                    <a:lnTo>
                      <a:pt x="380" y="519"/>
                    </a:lnTo>
                    <a:lnTo>
                      <a:pt x="378" y="519"/>
                    </a:lnTo>
                    <a:lnTo>
                      <a:pt x="376" y="521"/>
                    </a:lnTo>
                    <a:lnTo>
                      <a:pt x="374" y="521"/>
                    </a:lnTo>
                    <a:lnTo>
                      <a:pt x="372" y="521"/>
                    </a:lnTo>
                    <a:lnTo>
                      <a:pt x="372" y="519"/>
                    </a:lnTo>
                    <a:lnTo>
                      <a:pt x="370" y="519"/>
                    </a:lnTo>
                    <a:lnTo>
                      <a:pt x="368" y="517"/>
                    </a:lnTo>
                    <a:lnTo>
                      <a:pt x="365" y="515"/>
                    </a:lnTo>
                    <a:lnTo>
                      <a:pt x="361" y="517"/>
                    </a:lnTo>
                    <a:lnTo>
                      <a:pt x="355" y="515"/>
                    </a:lnTo>
                    <a:lnTo>
                      <a:pt x="353" y="513"/>
                    </a:lnTo>
                    <a:lnTo>
                      <a:pt x="351" y="513"/>
                    </a:lnTo>
                    <a:lnTo>
                      <a:pt x="349" y="517"/>
                    </a:lnTo>
                    <a:lnTo>
                      <a:pt x="345" y="517"/>
                    </a:lnTo>
                    <a:lnTo>
                      <a:pt x="345" y="519"/>
                    </a:lnTo>
                    <a:lnTo>
                      <a:pt x="347" y="521"/>
                    </a:lnTo>
                    <a:lnTo>
                      <a:pt x="345" y="521"/>
                    </a:lnTo>
                    <a:lnTo>
                      <a:pt x="343" y="525"/>
                    </a:lnTo>
                    <a:lnTo>
                      <a:pt x="338" y="525"/>
                    </a:lnTo>
                    <a:lnTo>
                      <a:pt x="334" y="527"/>
                    </a:lnTo>
                    <a:lnTo>
                      <a:pt x="330" y="525"/>
                    </a:lnTo>
                    <a:lnTo>
                      <a:pt x="326" y="525"/>
                    </a:lnTo>
                    <a:lnTo>
                      <a:pt x="324" y="525"/>
                    </a:lnTo>
                    <a:lnTo>
                      <a:pt x="322" y="527"/>
                    </a:lnTo>
                    <a:lnTo>
                      <a:pt x="322" y="525"/>
                    </a:lnTo>
                    <a:lnTo>
                      <a:pt x="320" y="525"/>
                    </a:lnTo>
                    <a:lnTo>
                      <a:pt x="318" y="523"/>
                    </a:lnTo>
                    <a:lnTo>
                      <a:pt x="317" y="523"/>
                    </a:lnTo>
                    <a:lnTo>
                      <a:pt x="315" y="521"/>
                    </a:lnTo>
                    <a:lnTo>
                      <a:pt x="313" y="525"/>
                    </a:lnTo>
                    <a:lnTo>
                      <a:pt x="313" y="531"/>
                    </a:lnTo>
                    <a:lnTo>
                      <a:pt x="311" y="531"/>
                    </a:lnTo>
                    <a:lnTo>
                      <a:pt x="311" y="533"/>
                    </a:lnTo>
                    <a:lnTo>
                      <a:pt x="309" y="533"/>
                    </a:lnTo>
                    <a:lnTo>
                      <a:pt x="309" y="535"/>
                    </a:lnTo>
                    <a:lnTo>
                      <a:pt x="307" y="535"/>
                    </a:lnTo>
                    <a:lnTo>
                      <a:pt x="305" y="536"/>
                    </a:lnTo>
                    <a:lnTo>
                      <a:pt x="299" y="538"/>
                    </a:lnTo>
                    <a:lnTo>
                      <a:pt x="295" y="540"/>
                    </a:lnTo>
                    <a:lnTo>
                      <a:pt x="293" y="542"/>
                    </a:lnTo>
                    <a:lnTo>
                      <a:pt x="293" y="544"/>
                    </a:lnTo>
                    <a:lnTo>
                      <a:pt x="293" y="546"/>
                    </a:lnTo>
                    <a:lnTo>
                      <a:pt x="292" y="548"/>
                    </a:lnTo>
                    <a:lnTo>
                      <a:pt x="290" y="550"/>
                    </a:lnTo>
                    <a:lnTo>
                      <a:pt x="288" y="550"/>
                    </a:lnTo>
                    <a:lnTo>
                      <a:pt x="288" y="548"/>
                    </a:lnTo>
                    <a:lnTo>
                      <a:pt x="288" y="546"/>
                    </a:lnTo>
                    <a:lnTo>
                      <a:pt x="284" y="546"/>
                    </a:lnTo>
                    <a:lnTo>
                      <a:pt x="282" y="546"/>
                    </a:lnTo>
                    <a:lnTo>
                      <a:pt x="280" y="546"/>
                    </a:lnTo>
                    <a:lnTo>
                      <a:pt x="280" y="544"/>
                    </a:lnTo>
                    <a:lnTo>
                      <a:pt x="276" y="544"/>
                    </a:lnTo>
                    <a:lnTo>
                      <a:pt x="274" y="546"/>
                    </a:lnTo>
                    <a:lnTo>
                      <a:pt x="274" y="548"/>
                    </a:lnTo>
                    <a:lnTo>
                      <a:pt x="272" y="548"/>
                    </a:lnTo>
                    <a:lnTo>
                      <a:pt x="268" y="550"/>
                    </a:lnTo>
                    <a:lnTo>
                      <a:pt x="268" y="548"/>
                    </a:lnTo>
                    <a:lnTo>
                      <a:pt x="265" y="546"/>
                    </a:lnTo>
                    <a:lnTo>
                      <a:pt x="263" y="548"/>
                    </a:lnTo>
                    <a:lnTo>
                      <a:pt x="261" y="550"/>
                    </a:lnTo>
                    <a:lnTo>
                      <a:pt x="261" y="552"/>
                    </a:lnTo>
                    <a:lnTo>
                      <a:pt x="263" y="554"/>
                    </a:lnTo>
                    <a:lnTo>
                      <a:pt x="263" y="556"/>
                    </a:lnTo>
                    <a:lnTo>
                      <a:pt x="265" y="556"/>
                    </a:lnTo>
                    <a:lnTo>
                      <a:pt x="265" y="558"/>
                    </a:lnTo>
                    <a:lnTo>
                      <a:pt x="267" y="560"/>
                    </a:lnTo>
                    <a:lnTo>
                      <a:pt x="265" y="560"/>
                    </a:lnTo>
                    <a:lnTo>
                      <a:pt x="265" y="561"/>
                    </a:lnTo>
                    <a:lnTo>
                      <a:pt x="263" y="561"/>
                    </a:lnTo>
                    <a:lnTo>
                      <a:pt x="261" y="560"/>
                    </a:lnTo>
                    <a:lnTo>
                      <a:pt x="259" y="560"/>
                    </a:lnTo>
                    <a:lnTo>
                      <a:pt x="257" y="560"/>
                    </a:lnTo>
                    <a:lnTo>
                      <a:pt x="255" y="560"/>
                    </a:lnTo>
                    <a:lnTo>
                      <a:pt x="253" y="560"/>
                    </a:lnTo>
                    <a:lnTo>
                      <a:pt x="249" y="560"/>
                    </a:lnTo>
                    <a:lnTo>
                      <a:pt x="247" y="560"/>
                    </a:lnTo>
                    <a:lnTo>
                      <a:pt x="244" y="561"/>
                    </a:lnTo>
                    <a:lnTo>
                      <a:pt x="240" y="561"/>
                    </a:lnTo>
                    <a:lnTo>
                      <a:pt x="238" y="561"/>
                    </a:lnTo>
                    <a:lnTo>
                      <a:pt x="238" y="563"/>
                    </a:lnTo>
                    <a:lnTo>
                      <a:pt x="240" y="563"/>
                    </a:lnTo>
                    <a:lnTo>
                      <a:pt x="240" y="565"/>
                    </a:lnTo>
                    <a:lnTo>
                      <a:pt x="238" y="565"/>
                    </a:lnTo>
                    <a:lnTo>
                      <a:pt x="238" y="567"/>
                    </a:lnTo>
                    <a:lnTo>
                      <a:pt x="238" y="569"/>
                    </a:lnTo>
                    <a:lnTo>
                      <a:pt x="236" y="571"/>
                    </a:lnTo>
                    <a:lnTo>
                      <a:pt x="232" y="569"/>
                    </a:lnTo>
                    <a:lnTo>
                      <a:pt x="232" y="571"/>
                    </a:lnTo>
                    <a:lnTo>
                      <a:pt x="230" y="573"/>
                    </a:lnTo>
                    <a:lnTo>
                      <a:pt x="228" y="573"/>
                    </a:lnTo>
                    <a:lnTo>
                      <a:pt x="226" y="571"/>
                    </a:lnTo>
                    <a:lnTo>
                      <a:pt x="226" y="573"/>
                    </a:lnTo>
                    <a:lnTo>
                      <a:pt x="226" y="575"/>
                    </a:lnTo>
                    <a:lnTo>
                      <a:pt x="226" y="577"/>
                    </a:lnTo>
                    <a:lnTo>
                      <a:pt x="226" y="579"/>
                    </a:lnTo>
                    <a:lnTo>
                      <a:pt x="226" y="581"/>
                    </a:lnTo>
                    <a:lnTo>
                      <a:pt x="226" y="583"/>
                    </a:lnTo>
                    <a:lnTo>
                      <a:pt x="224" y="584"/>
                    </a:lnTo>
                    <a:lnTo>
                      <a:pt x="222" y="584"/>
                    </a:lnTo>
                    <a:lnTo>
                      <a:pt x="222" y="586"/>
                    </a:lnTo>
                    <a:lnTo>
                      <a:pt x="224" y="588"/>
                    </a:lnTo>
                    <a:lnTo>
                      <a:pt x="224" y="590"/>
                    </a:lnTo>
                    <a:lnTo>
                      <a:pt x="226" y="590"/>
                    </a:lnTo>
                    <a:lnTo>
                      <a:pt x="226" y="592"/>
                    </a:lnTo>
                    <a:lnTo>
                      <a:pt x="226" y="594"/>
                    </a:lnTo>
                    <a:lnTo>
                      <a:pt x="228" y="594"/>
                    </a:lnTo>
                    <a:lnTo>
                      <a:pt x="226" y="594"/>
                    </a:lnTo>
                    <a:lnTo>
                      <a:pt x="226" y="596"/>
                    </a:lnTo>
                    <a:lnTo>
                      <a:pt x="224" y="596"/>
                    </a:lnTo>
                    <a:lnTo>
                      <a:pt x="222" y="598"/>
                    </a:lnTo>
                    <a:lnTo>
                      <a:pt x="220" y="598"/>
                    </a:lnTo>
                    <a:lnTo>
                      <a:pt x="220" y="600"/>
                    </a:lnTo>
                    <a:lnTo>
                      <a:pt x="219" y="600"/>
                    </a:lnTo>
                    <a:lnTo>
                      <a:pt x="217" y="600"/>
                    </a:lnTo>
                    <a:lnTo>
                      <a:pt x="217" y="598"/>
                    </a:lnTo>
                    <a:lnTo>
                      <a:pt x="215" y="598"/>
                    </a:lnTo>
                    <a:lnTo>
                      <a:pt x="213" y="598"/>
                    </a:lnTo>
                    <a:lnTo>
                      <a:pt x="211" y="600"/>
                    </a:lnTo>
                    <a:lnTo>
                      <a:pt x="209" y="600"/>
                    </a:lnTo>
                    <a:lnTo>
                      <a:pt x="209" y="602"/>
                    </a:lnTo>
                    <a:lnTo>
                      <a:pt x="209" y="604"/>
                    </a:lnTo>
                    <a:lnTo>
                      <a:pt x="207" y="602"/>
                    </a:lnTo>
                    <a:lnTo>
                      <a:pt x="207" y="604"/>
                    </a:lnTo>
                    <a:lnTo>
                      <a:pt x="207" y="602"/>
                    </a:lnTo>
                    <a:lnTo>
                      <a:pt x="207" y="604"/>
                    </a:lnTo>
                    <a:lnTo>
                      <a:pt x="205" y="604"/>
                    </a:lnTo>
                    <a:lnTo>
                      <a:pt x="205" y="602"/>
                    </a:lnTo>
                    <a:lnTo>
                      <a:pt x="203" y="604"/>
                    </a:lnTo>
                    <a:lnTo>
                      <a:pt x="201" y="604"/>
                    </a:lnTo>
                    <a:lnTo>
                      <a:pt x="201" y="606"/>
                    </a:lnTo>
                    <a:lnTo>
                      <a:pt x="199" y="606"/>
                    </a:lnTo>
                    <a:lnTo>
                      <a:pt x="197" y="606"/>
                    </a:lnTo>
                    <a:lnTo>
                      <a:pt x="195" y="606"/>
                    </a:lnTo>
                    <a:lnTo>
                      <a:pt x="195" y="608"/>
                    </a:lnTo>
                    <a:lnTo>
                      <a:pt x="194" y="608"/>
                    </a:lnTo>
                    <a:lnTo>
                      <a:pt x="194" y="606"/>
                    </a:lnTo>
                    <a:lnTo>
                      <a:pt x="192" y="606"/>
                    </a:lnTo>
                    <a:lnTo>
                      <a:pt x="192" y="604"/>
                    </a:lnTo>
                    <a:lnTo>
                      <a:pt x="190" y="604"/>
                    </a:lnTo>
                    <a:lnTo>
                      <a:pt x="188" y="604"/>
                    </a:lnTo>
                    <a:lnTo>
                      <a:pt x="188" y="602"/>
                    </a:lnTo>
                    <a:lnTo>
                      <a:pt x="186" y="602"/>
                    </a:lnTo>
                    <a:lnTo>
                      <a:pt x="186" y="600"/>
                    </a:lnTo>
                    <a:lnTo>
                      <a:pt x="184" y="600"/>
                    </a:lnTo>
                    <a:lnTo>
                      <a:pt x="182" y="600"/>
                    </a:lnTo>
                    <a:lnTo>
                      <a:pt x="182" y="602"/>
                    </a:lnTo>
                    <a:lnTo>
                      <a:pt x="180" y="600"/>
                    </a:lnTo>
                    <a:lnTo>
                      <a:pt x="180" y="602"/>
                    </a:lnTo>
                    <a:lnTo>
                      <a:pt x="178" y="602"/>
                    </a:lnTo>
                    <a:lnTo>
                      <a:pt x="176" y="602"/>
                    </a:lnTo>
                    <a:lnTo>
                      <a:pt x="176" y="600"/>
                    </a:lnTo>
                    <a:lnTo>
                      <a:pt x="174" y="600"/>
                    </a:lnTo>
                    <a:lnTo>
                      <a:pt x="172" y="600"/>
                    </a:lnTo>
                    <a:lnTo>
                      <a:pt x="170" y="600"/>
                    </a:lnTo>
                    <a:lnTo>
                      <a:pt x="170" y="602"/>
                    </a:lnTo>
                    <a:lnTo>
                      <a:pt x="169" y="602"/>
                    </a:lnTo>
                    <a:lnTo>
                      <a:pt x="167" y="602"/>
                    </a:lnTo>
                    <a:lnTo>
                      <a:pt x="167" y="604"/>
                    </a:lnTo>
                    <a:lnTo>
                      <a:pt x="165" y="604"/>
                    </a:lnTo>
                    <a:lnTo>
                      <a:pt x="165" y="606"/>
                    </a:lnTo>
                    <a:lnTo>
                      <a:pt x="163" y="606"/>
                    </a:lnTo>
                    <a:lnTo>
                      <a:pt x="163" y="608"/>
                    </a:lnTo>
                    <a:lnTo>
                      <a:pt x="161" y="608"/>
                    </a:lnTo>
                    <a:lnTo>
                      <a:pt x="161" y="609"/>
                    </a:lnTo>
                    <a:lnTo>
                      <a:pt x="159" y="609"/>
                    </a:lnTo>
                    <a:lnTo>
                      <a:pt x="159" y="611"/>
                    </a:lnTo>
                    <a:lnTo>
                      <a:pt x="157" y="611"/>
                    </a:lnTo>
                    <a:lnTo>
                      <a:pt x="155" y="611"/>
                    </a:lnTo>
                    <a:lnTo>
                      <a:pt x="153" y="611"/>
                    </a:lnTo>
                    <a:lnTo>
                      <a:pt x="151" y="609"/>
                    </a:lnTo>
                    <a:lnTo>
                      <a:pt x="151" y="611"/>
                    </a:lnTo>
                    <a:lnTo>
                      <a:pt x="149" y="611"/>
                    </a:lnTo>
                    <a:lnTo>
                      <a:pt x="149" y="609"/>
                    </a:lnTo>
                    <a:lnTo>
                      <a:pt x="147" y="609"/>
                    </a:lnTo>
                    <a:lnTo>
                      <a:pt x="147" y="608"/>
                    </a:lnTo>
                    <a:lnTo>
                      <a:pt x="147" y="609"/>
                    </a:lnTo>
                    <a:lnTo>
                      <a:pt x="146" y="609"/>
                    </a:lnTo>
                    <a:lnTo>
                      <a:pt x="146" y="608"/>
                    </a:lnTo>
                    <a:lnTo>
                      <a:pt x="146" y="609"/>
                    </a:lnTo>
                    <a:lnTo>
                      <a:pt x="146" y="608"/>
                    </a:lnTo>
                    <a:lnTo>
                      <a:pt x="144" y="608"/>
                    </a:lnTo>
                    <a:lnTo>
                      <a:pt x="142" y="608"/>
                    </a:lnTo>
                    <a:lnTo>
                      <a:pt x="140" y="608"/>
                    </a:lnTo>
                    <a:lnTo>
                      <a:pt x="138" y="606"/>
                    </a:lnTo>
                    <a:lnTo>
                      <a:pt x="138" y="604"/>
                    </a:lnTo>
                    <a:lnTo>
                      <a:pt x="136" y="604"/>
                    </a:lnTo>
                    <a:lnTo>
                      <a:pt x="134" y="602"/>
                    </a:lnTo>
                    <a:lnTo>
                      <a:pt x="134" y="604"/>
                    </a:lnTo>
                    <a:lnTo>
                      <a:pt x="132" y="604"/>
                    </a:lnTo>
                    <a:lnTo>
                      <a:pt x="132" y="602"/>
                    </a:lnTo>
                    <a:lnTo>
                      <a:pt x="130" y="602"/>
                    </a:lnTo>
                    <a:lnTo>
                      <a:pt x="128" y="604"/>
                    </a:lnTo>
                    <a:lnTo>
                      <a:pt x="126" y="606"/>
                    </a:lnTo>
                    <a:lnTo>
                      <a:pt x="124" y="606"/>
                    </a:lnTo>
                    <a:lnTo>
                      <a:pt x="122" y="606"/>
                    </a:lnTo>
                    <a:lnTo>
                      <a:pt x="122" y="604"/>
                    </a:lnTo>
                    <a:lnTo>
                      <a:pt x="122" y="606"/>
                    </a:lnTo>
                    <a:lnTo>
                      <a:pt x="121" y="604"/>
                    </a:lnTo>
                    <a:lnTo>
                      <a:pt x="121" y="606"/>
                    </a:lnTo>
                    <a:lnTo>
                      <a:pt x="119" y="606"/>
                    </a:lnTo>
                    <a:lnTo>
                      <a:pt x="119" y="604"/>
                    </a:lnTo>
                    <a:lnTo>
                      <a:pt x="119" y="606"/>
                    </a:lnTo>
                    <a:lnTo>
                      <a:pt x="117" y="606"/>
                    </a:lnTo>
                    <a:lnTo>
                      <a:pt x="117" y="604"/>
                    </a:lnTo>
                    <a:lnTo>
                      <a:pt x="117" y="606"/>
                    </a:lnTo>
                    <a:lnTo>
                      <a:pt x="115" y="606"/>
                    </a:lnTo>
                    <a:lnTo>
                      <a:pt x="113" y="606"/>
                    </a:lnTo>
                    <a:lnTo>
                      <a:pt x="113" y="608"/>
                    </a:lnTo>
                    <a:lnTo>
                      <a:pt x="111" y="608"/>
                    </a:lnTo>
                    <a:lnTo>
                      <a:pt x="109" y="608"/>
                    </a:lnTo>
                    <a:lnTo>
                      <a:pt x="107" y="608"/>
                    </a:lnTo>
                    <a:lnTo>
                      <a:pt x="105" y="609"/>
                    </a:lnTo>
                    <a:lnTo>
                      <a:pt x="105" y="608"/>
                    </a:lnTo>
                    <a:lnTo>
                      <a:pt x="103" y="608"/>
                    </a:lnTo>
                    <a:lnTo>
                      <a:pt x="103" y="609"/>
                    </a:lnTo>
                    <a:lnTo>
                      <a:pt x="101" y="609"/>
                    </a:lnTo>
                    <a:lnTo>
                      <a:pt x="99" y="609"/>
                    </a:lnTo>
                    <a:lnTo>
                      <a:pt x="97" y="609"/>
                    </a:lnTo>
                    <a:lnTo>
                      <a:pt x="97" y="608"/>
                    </a:lnTo>
                    <a:lnTo>
                      <a:pt x="96" y="608"/>
                    </a:lnTo>
                    <a:lnTo>
                      <a:pt x="96" y="606"/>
                    </a:lnTo>
                    <a:lnTo>
                      <a:pt x="96" y="604"/>
                    </a:lnTo>
                    <a:lnTo>
                      <a:pt x="94" y="604"/>
                    </a:lnTo>
                    <a:lnTo>
                      <a:pt x="94" y="602"/>
                    </a:lnTo>
                    <a:lnTo>
                      <a:pt x="94" y="600"/>
                    </a:lnTo>
                    <a:lnTo>
                      <a:pt x="94" y="598"/>
                    </a:lnTo>
                    <a:lnTo>
                      <a:pt x="92" y="598"/>
                    </a:lnTo>
                    <a:lnTo>
                      <a:pt x="94" y="598"/>
                    </a:lnTo>
                    <a:lnTo>
                      <a:pt x="92" y="598"/>
                    </a:lnTo>
                    <a:lnTo>
                      <a:pt x="92" y="596"/>
                    </a:lnTo>
                    <a:lnTo>
                      <a:pt x="92" y="594"/>
                    </a:lnTo>
                    <a:lnTo>
                      <a:pt x="92" y="592"/>
                    </a:lnTo>
                    <a:lnTo>
                      <a:pt x="90" y="592"/>
                    </a:lnTo>
                    <a:lnTo>
                      <a:pt x="90" y="590"/>
                    </a:lnTo>
                    <a:lnTo>
                      <a:pt x="92" y="590"/>
                    </a:lnTo>
                    <a:lnTo>
                      <a:pt x="90" y="590"/>
                    </a:lnTo>
                    <a:lnTo>
                      <a:pt x="92" y="588"/>
                    </a:lnTo>
                    <a:lnTo>
                      <a:pt x="90" y="588"/>
                    </a:lnTo>
                    <a:lnTo>
                      <a:pt x="90" y="586"/>
                    </a:lnTo>
                    <a:lnTo>
                      <a:pt x="90" y="584"/>
                    </a:lnTo>
                    <a:lnTo>
                      <a:pt x="90" y="583"/>
                    </a:lnTo>
                    <a:lnTo>
                      <a:pt x="88" y="583"/>
                    </a:lnTo>
                    <a:lnTo>
                      <a:pt x="86" y="581"/>
                    </a:lnTo>
                    <a:lnTo>
                      <a:pt x="84" y="583"/>
                    </a:lnTo>
                    <a:lnTo>
                      <a:pt x="82" y="583"/>
                    </a:lnTo>
                    <a:lnTo>
                      <a:pt x="80" y="584"/>
                    </a:lnTo>
                    <a:lnTo>
                      <a:pt x="78" y="584"/>
                    </a:lnTo>
                    <a:lnTo>
                      <a:pt x="76" y="584"/>
                    </a:lnTo>
                    <a:lnTo>
                      <a:pt x="74" y="584"/>
                    </a:lnTo>
                    <a:lnTo>
                      <a:pt x="73" y="584"/>
                    </a:lnTo>
                    <a:lnTo>
                      <a:pt x="71" y="584"/>
                    </a:lnTo>
                    <a:lnTo>
                      <a:pt x="69" y="584"/>
                    </a:lnTo>
                    <a:lnTo>
                      <a:pt x="69" y="586"/>
                    </a:lnTo>
                    <a:lnTo>
                      <a:pt x="65" y="584"/>
                    </a:lnTo>
                    <a:lnTo>
                      <a:pt x="63" y="584"/>
                    </a:lnTo>
                    <a:lnTo>
                      <a:pt x="61" y="583"/>
                    </a:lnTo>
                    <a:lnTo>
                      <a:pt x="63" y="583"/>
                    </a:lnTo>
                    <a:lnTo>
                      <a:pt x="63" y="581"/>
                    </a:lnTo>
                    <a:lnTo>
                      <a:pt x="61" y="579"/>
                    </a:lnTo>
                    <a:lnTo>
                      <a:pt x="61" y="577"/>
                    </a:lnTo>
                    <a:lnTo>
                      <a:pt x="61" y="575"/>
                    </a:lnTo>
                    <a:lnTo>
                      <a:pt x="61" y="573"/>
                    </a:lnTo>
                    <a:lnTo>
                      <a:pt x="61" y="571"/>
                    </a:lnTo>
                    <a:lnTo>
                      <a:pt x="61" y="569"/>
                    </a:lnTo>
                    <a:lnTo>
                      <a:pt x="59" y="565"/>
                    </a:lnTo>
                    <a:lnTo>
                      <a:pt x="57" y="565"/>
                    </a:lnTo>
                    <a:lnTo>
                      <a:pt x="59" y="563"/>
                    </a:lnTo>
                    <a:lnTo>
                      <a:pt x="59" y="561"/>
                    </a:lnTo>
                    <a:lnTo>
                      <a:pt x="59" y="560"/>
                    </a:lnTo>
                    <a:lnTo>
                      <a:pt x="61" y="560"/>
                    </a:lnTo>
                    <a:lnTo>
                      <a:pt x="61" y="558"/>
                    </a:lnTo>
                    <a:lnTo>
                      <a:pt x="59" y="558"/>
                    </a:lnTo>
                    <a:lnTo>
                      <a:pt x="57" y="558"/>
                    </a:lnTo>
                    <a:lnTo>
                      <a:pt x="55" y="556"/>
                    </a:lnTo>
                    <a:lnTo>
                      <a:pt x="55" y="554"/>
                    </a:lnTo>
                    <a:lnTo>
                      <a:pt x="53" y="556"/>
                    </a:lnTo>
                    <a:lnTo>
                      <a:pt x="51" y="556"/>
                    </a:lnTo>
                    <a:lnTo>
                      <a:pt x="51" y="554"/>
                    </a:lnTo>
                    <a:lnTo>
                      <a:pt x="51" y="552"/>
                    </a:lnTo>
                    <a:lnTo>
                      <a:pt x="49" y="550"/>
                    </a:lnTo>
                    <a:lnTo>
                      <a:pt x="48" y="550"/>
                    </a:lnTo>
                    <a:lnTo>
                      <a:pt x="46" y="548"/>
                    </a:lnTo>
                    <a:lnTo>
                      <a:pt x="44" y="548"/>
                    </a:lnTo>
                    <a:lnTo>
                      <a:pt x="44" y="550"/>
                    </a:lnTo>
                    <a:lnTo>
                      <a:pt x="42" y="550"/>
                    </a:lnTo>
                    <a:lnTo>
                      <a:pt x="40" y="550"/>
                    </a:lnTo>
                    <a:lnTo>
                      <a:pt x="38" y="550"/>
                    </a:lnTo>
                    <a:lnTo>
                      <a:pt x="36" y="550"/>
                    </a:lnTo>
                    <a:lnTo>
                      <a:pt x="34" y="550"/>
                    </a:lnTo>
                    <a:lnTo>
                      <a:pt x="32" y="550"/>
                    </a:lnTo>
                    <a:lnTo>
                      <a:pt x="30" y="550"/>
                    </a:lnTo>
                    <a:lnTo>
                      <a:pt x="28" y="550"/>
                    </a:lnTo>
                    <a:lnTo>
                      <a:pt x="26" y="550"/>
                    </a:lnTo>
                    <a:lnTo>
                      <a:pt x="24" y="550"/>
                    </a:lnTo>
                    <a:lnTo>
                      <a:pt x="23" y="550"/>
                    </a:lnTo>
                    <a:lnTo>
                      <a:pt x="21" y="550"/>
                    </a:lnTo>
                    <a:lnTo>
                      <a:pt x="19" y="550"/>
                    </a:lnTo>
                    <a:lnTo>
                      <a:pt x="17" y="550"/>
                    </a:lnTo>
                    <a:lnTo>
                      <a:pt x="17" y="548"/>
                    </a:lnTo>
                    <a:lnTo>
                      <a:pt x="15" y="548"/>
                    </a:lnTo>
                    <a:lnTo>
                      <a:pt x="17" y="546"/>
                    </a:lnTo>
                    <a:lnTo>
                      <a:pt x="15" y="544"/>
                    </a:lnTo>
                    <a:lnTo>
                      <a:pt x="15" y="542"/>
                    </a:lnTo>
                    <a:lnTo>
                      <a:pt x="13" y="542"/>
                    </a:lnTo>
                    <a:lnTo>
                      <a:pt x="11" y="542"/>
                    </a:lnTo>
                    <a:lnTo>
                      <a:pt x="11" y="540"/>
                    </a:lnTo>
                    <a:lnTo>
                      <a:pt x="9" y="540"/>
                    </a:lnTo>
                    <a:lnTo>
                      <a:pt x="7" y="540"/>
                    </a:lnTo>
                    <a:lnTo>
                      <a:pt x="7" y="538"/>
                    </a:lnTo>
                    <a:lnTo>
                      <a:pt x="5" y="536"/>
                    </a:lnTo>
                    <a:lnTo>
                      <a:pt x="5" y="535"/>
                    </a:lnTo>
                    <a:lnTo>
                      <a:pt x="5" y="533"/>
                    </a:lnTo>
                    <a:lnTo>
                      <a:pt x="5" y="531"/>
                    </a:lnTo>
                    <a:lnTo>
                      <a:pt x="3" y="531"/>
                    </a:lnTo>
                    <a:lnTo>
                      <a:pt x="5" y="529"/>
                    </a:lnTo>
                    <a:lnTo>
                      <a:pt x="5" y="527"/>
                    </a:lnTo>
                    <a:lnTo>
                      <a:pt x="7" y="527"/>
                    </a:lnTo>
                    <a:lnTo>
                      <a:pt x="7" y="525"/>
                    </a:lnTo>
                    <a:lnTo>
                      <a:pt x="9" y="525"/>
                    </a:lnTo>
                    <a:lnTo>
                      <a:pt x="11" y="523"/>
                    </a:lnTo>
                    <a:lnTo>
                      <a:pt x="13" y="521"/>
                    </a:lnTo>
                    <a:lnTo>
                      <a:pt x="11" y="519"/>
                    </a:lnTo>
                    <a:lnTo>
                      <a:pt x="9" y="519"/>
                    </a:lnTo>
                    <a:lnTo>
                      <a:pt x="7" y="517"/>
                    </a:lnTo>
                    <a:lnTo>
                      <a:pt x="7" y="519"/>
                    </a:lnTo>
                    <a:lnTo>
                      <a:pt x="5" y="519"/>
                    </a:lnTo>
                    <a:lnTo>
                      <a:pt x="3" y="519"/>
                    </a:lnTo>
                    <a:lnTo>
                      <a:pt x="1" y="517"/>
                    </a:lnTo>
                    <a:lnTo>
                      <a:pt x="1" y="515"/>
                    </a:lnTo>
                    <a:lnTo>
                      <a:pt x="1" y="513"/>
                    </a:lnTo>
                    <a:lnTo>
                      <a:pt x="3" y="513"/>
                    </a:lnTo>
                    <a:lnTo>
                      <a:pt x="1" y="511"/>
                    </a:lnTo>
                    <a:lnTo>
                      <a:pt x="1" y="510"/>
                    </a:lnTo>
                    <a:lnTo>
                      <a:pt x="1" y="508"/>
                    </a:lnTo>
                    <a:lnTo>
                      <a:pt x="0" y="506"/>
                    </a:lnTo>
                    <a:lnTo>
                      <a:pt x="1" y="502"/>
                    </a:lnTo>
                    <a:lnTo>
                      <a:pt x="1" y="500"/>
                    </a:lnTo>
                    <a:lnTo>
                      <a:pt x="3" y="500"/>
                    </a:lnTo>
                    <a:lnTo>
                      <a:pt x="3" y="498"/>
                    </a:lnTo>
                    <a:lnTo>
                      <a:pt x="5" y="496"/>
                    </a:lnTo>
                    <a:lnTo>
                      <a:pt x="7" y="496"/>
                    </a:lnTo>
                    <a:lnTo>
                      <a:pt x="7" y="494"/>
                    </a:lnTo>
                    <a:lnTo>
                      <a:pt x="11" y="494"/>
                    </a:lnTo>
                    <a:lnTo>
                      <a:pt x="11" y="492"/>
                    </a:lnTo>
                    <a:lnTo>
                      <a:pt x="11" y="490"/>
                    </a:lnTo>
                    <a:lnTo>
                      <a:pt x="11" y="488"/>
                    </a:lnTo>
                    <a:lnTo>
                      <a:pt x="13" y="488"/>
                    </a:lnTo>
                    <a:lnTo>
                      <a:pt x="13" y="486"/>
                    </a:lnTo>
                    <a:lnTo>
                      <a:pt x="15" y="486"/>
                    </a:lnTo>
                    <a:lnTo>
                      <a:pt x="13" y="486"/>
                    </a:lnTo>
                    <a:lnTo>
                      <a:pt x="13" y="485"/>
                    </a:lnTo>
                    <a:lnTo>
                      <a:pt x="15" y="485"/>
                    </a:lnTo>
                    <a:lnTo>
                      <a:pt x="15" y="483"/>
                    </a:lnTo>
                    <a:lnTo>
                      <a:pt x="17" y="483"/>
                    </a:lnTo>
                    <a:lnTo>
                      <a:pt x="17" y="481"/>
                    </a:lnTo>
                    <a:lnTo>
                      <a:pt x="19" y="481"/>
                    </a:lnTo>
                    <a:lnTo>
                      <a:pt x="19" y="479"/>
                    </a:lnTo>
                    <a:lnTo>
                      <a:pt x="21" y="479"/>
                    </a:lnTo>
                    <a:lnTo>
                      <a:pt x="21" y="477"/>
                    </a:lnTo>
                    <a:lnTo>
                      <a:pt x="21" y="479"/>
                    </a:lnTo>
                    <a:lnTo>
                      <a:pt x="23" y="479"/>
                    </a:lnTo>
                    <a:lnTo>
                      <a:pt x="23" y="477"/>
                    </a:lnTo>
                    <a:lnTo>
                      <a:pt x="24" y="479"/>
                    </a:lnTo>
                    <a:lnTo>
                      <a:pt x="24" y="477"/>
                    </a:lnTo>
                    <a:lnTo>
                      <a:pt x="24" y="475"/>
                    </a:lnTo>
                    <a:lnTo>
                      <a:pt x="23" y="475"/>
                    </a:lnTo>
                    <a:lnTo>
                      <a:pt x="23" y="473"/>
                    </a:lnTo>
                    <a:lnTo>
                      <a:pt x="24" y="473"/>
                    </a:lnTo>
                    <a:lnTo>
                      <a:pt x="24" y="471"/>
                    </a:lnTo>
                    <a:lnTo>
                      <a:pt x="26" y="471"/>
                    </a:lnTo>
                    <a:lnTo>
                      <a:pt x="26" y="469"/>
                    </a:lnTo>
                    <a:lnTo>
                      <a:pt x="28" y="469"/>
                    </a:lnTo>
                    <a:lnTo>
                      <a:pt x="28" y="467"/>
                    </a:lnTo>
                    <a:lnTo>
                      <a:pt x="30" y="467"/>
                    </a:lnTo>
                    <a:lnTo>
                      <a:pt x="32" y="465"/>
                    </a:lnTo>
                    <a:lnTo>
                      <a:pt x="34" y="465"/>
                    </a:lnTo>
                    <a:lnTo>
                      <a:pt x="36" y="465"/>
                    </a:lnTo>
                    <a:lnTo>
                      <a:pt x="36" y="463"/>
                    </a:lnTo>
                    <a:lnTo>
                      <a:pt x="38" y="461"/>
                    </a:lnTo>
                    <a:lnTo>
                      <a:pt x="40" y="460"/>
                    </a:lnTo>
                    <a:lnTo>
                      <a:pt x="42" y="458"/>
                    </a:lnTo>
                    <a:lnTo>
                      <a:pt x="44" y="456"/>
                    </a:lnTo>
                    <a:lnTo>
                      <a:pt x="44" y="454"/>
                    </a:lnTo>
                    <a:lnTo>
                      <a:pt x="46" y="452"/>
                    </a:lnTo>
                    <a:lnTo>
                      <a:pt x="46" y="450"/>
                    </a:lnTo>
                    <a:lnTo>
                      <a:pt x="46" y="448"/>
                    </a:lnTo>
                    <a:lnTo>
                      <a:pt x="48" y="446"/>
                    </a:lnTo>
                    <a:lnTo>
                      <a:pt x="48" y="444"/>
                    </a:lnTo>
                    <a:lnTo>
                      <a:pt x="49" y="442"/>
                    </a:lnTo>
                    <a:lnTo>
                      <a:pt x="51" y="442"/>
                    </a:lnTo>
                    <a:lnTo>
                      <a:pt x="51" y="440"/>
                    </a:lnTo>
                    <a:lnTo>
                      <a:pt x="53" y="440"/>
                    </a:lnTo>
                    <a:lnTo>
                      <a:pt x="55" y="440"/>
                    </a:lnTo>
                    <a:lnTo>
                      <a:pt x="59" y="436"/>
                    </a:lnTo>
                    <a:lnTo>
                      <a:pt x="61" y="435"/>
                    </a:lnTo>
                    <a:lnTo>
                      <a:pt x="63" y="435"/>
                    </a:lnTo>
                    <a:lnTo>
                      <a:pt x="65" y="435"/>
                    </a:lnTo>
                    <a:lnTo>
                      <a:pt x="67" y="433"/>
                    </a:lnTo>
                    <a:lnTo>
                      <a:pt x="69" y="433"/>
                    </a:lnTo>
                    <a:lnTo>
                      <a:pt x="71" y="431"/>
                    </a:lnTo>
                    <a:lnTo>
                      <a:pt x="71" y="429"/>
                    </a:lnTo>
                    <a:lnTo>
                      <a:pt x="71" y="427"/>
                    </a:lnTo>
                    <a:lnTo>
                      <a:pt x="71" y="425"/>
                    </a:lnTo>
                    <a:lnTo>
                      <a:pt x="69" y="421"/>
                    </a:lnTo>
                    <a:lnTo>
                      <a:pt x="67" y="421"/>
                    </a:lnTo>
                    <a:lnTo>
                      <a:pt x="67" y="419"/>
                    </a:lnTo>
                    <a:lnTo>
                      <a:pt x="67" y="417"/>
                    </a:lnTo>
                    <a:lnTo>
                      <a:pt x="67" y="415"/>
                    </a:lnTo>
                    <a:lnTo>
                      <a:pt x="67" y="413"/>
                    </a:lnTo>
                    <a:lnTo>
                      <a:pt x="65" y="411"/>
                    </a:lnTo>
                    <a:lnTo>
                      <a:pt x="63" y="410"/>
                    </a:lnTo>
                    <a:lnTo>
                      <a:pt x="59" y="410"/>
                    </a:lnTo>
                    <a:lnTo>
                      <a:pt x="55" y="406"/>
                    </a:lnTo>
                    <a:lnTo>
                      <a:pt x="59" y="406"/>
                    </a:lnTo>
                    <a:lnTo>
                      <a:pt x="59" y="404"/>
                    </a:lnTo>
                    <a:lnTo>
                      <a:pt x="57" y="400"/>
                    </a:lnTo>
                    <a:lnTo>
                      <a:pt x="57" y="398"/>
                    </a:lnTo>
                    <a:lnTo>
                      <a:pt x="55" y="398"/>
                    </a:lnTo>
                    <a:lnTo>
                      <a:pt x="53" y="396"/>
                    </a:lnTo>
                    <a:lnTo>
                      <a:pt x="49" y="396"/>
                    </a:lnTo>
                    <a:lnTo>
                      <a:pt x="48" y="396"/>
                    </a:lnTo>
                    <a:lnTo>
                      <a:pt x="46" y="394"/>
                    </a:lnTo>
                    <a:lnTo>
                      <a:pt x="44" y="394"/>
                    </a:lnTo>
                    <a:lnTo>
                      <a:pt x="42" y="392"/>
                    </a:lnTo>
                    <a:lnTo>
                      <a:pt x="44" y="390"/>
                    </a:lnTo>
                    <a:lnTo>
                      <a:pt x="46" y="386"/>
                    </a:lnTo>
                    <a:lnTo>
                      <a:pt x="44" y="385"/>
                    </a:lnTo>
                    <a:lnTo>
                      <a:pt x="38" y="383"/>
                    </a:lnTo>
                    <a:lnTo>
                      <a:pt x="36" y="383"/>
                    </a:lnTo>
                    <a:lnTo>
                      <a:pt x="34" y="383"/>
                    </a:lnTo>
                    <a:lnTo>
                      <a:pt x="32" y="381"/>
                    </a:lnTo>
                    <a:lnTo>
                      <a:pt x="30" y="381"/>
                    </a:lnTo>
                    <a:lnTo>
                      <a:pt x="28" y="381"/>
                    </a:lnTo>
                    <a:lnTo>
                      <a:pt x="28" y="379"/>
                    </a:lnTo>
                    <a:lnTo>
                      <a:pt x="23" y="375"/>
                    </a:lnTo>
                    <a:lnTo>
                      <a:pt x="23" y="373"/>
                    </a:lnTo>
                    <a:lnTo>
                      <a:pt x="21" y="371"/>
                    </a:lnTo>
                    <a:lnTo>
                      <a:pt x="21" y="369"/>
                    </a:lnTo>
                    <a:lnTo>
                      <a:pt x="21" y="367"/>
                    </a:lnTo>
                    <a:lnTo>
                      <a:pt x="21" y="369"/>
                    </a:lnTo>
                    <a:lnTo>
                      <a:pt x="23" y="369"/>
                    </a:lnTo>
                    <a:lnTo>
                      <a:pt x="23" y="367"/>
                    </a:lnTo>
                    <a:lnTo>
                      <a:pt x="21" y="367"/>
                    </a:lnTo>
                    <a:lnTo>
                      <a:pt x="23" y="367"/>
                    </a:lnTo>
                    <a:lnTo>
                      <a:pt x="23" y="365"/>
                    </a:lnTo>
                    <a:lnTo>
                      <a:pt x="24" y="365"/>
                    </a:lnTo>
                    <a:lnTo>
                      <a:pt x="26" y="365"/>
                    </a:lnTo>
                    <a:lnTo>
                      <a:pt x="28" y="365"/>
                    </a:lnTo>
                    <a:lnTo>
                      <a:pt x="28" y="363"/>
                    </a:lnTo>
                    <a:lnTo>
                      <a:pt x="30" y="363"/>
                    </a:lnTo>
                    <a:lnTo>
                      <a:pt x="30" y="361"/>
                    </a:lnTo>
                    <a:lnTo>
                      <a:pt x="30" y="360"/>
                    </a:lnTo>
                    <a:lnTo>
                      <a:pt x="32" y="360"/>
                    </a:lnTo>
                    <a:lnTo>
                      <a:pt x="32" y="358"/>
                    </a:lnTo>
                    <a:lnTo>
                      <a:pt x="32" y="356"/>
                    </a:lnTo>
                    <a:lnTo>
                      <a:pt x="34" y="356"/>
                    </a:lnTo>
                    <a:lnTo>
                      <a:pt x="34" y="354"/>
                    </a:lnTo>
                    <a:lnTo>
                      <a:pt x="36" y="354"/>
                    </a:lnTo>
                    <a:lnTo>
                      <a:pt x="36" y="352"/>
                    </a:lnTo>
                    <a:lnTo>
                      <a:pt x="38" y="352"/>
                    </a:lnTo>
                    <a:lnTo>
                      <a:pt x="40" y="352"/>
                    </a:lnTo>
                    <a:lnTo>
                      <a:pt x="42" y="350"/>
                    </a:lnTo>
                    <a:lnTo>
                      <a:pt x="44" y="348"/>
                    </a:lnTo>
                    <a:lnTo>
                      <a:pt x="46" y="346"/>
                    </a:lnTo>
                    <a:lnTo>
                      <a:pt x="46" y="344"/>
                    </a:lnTo>
                    <a:lnTo>
                      <a:pt x="46" y="342"/>
                    </a:lnTo>
                    <a:lnTo>
                      <a:pt x="46" y="340"/>
                    </a:lnTo>
                    <a:lnTo>
                      <a:pt x="48" y="340"/>
                    </a:lnTo>
                    <a:lnTo>
                      <a:pt x="48" y="338"/>
                    </a:lnTo>
                    <a:lnTo>
                      <a:pt x="49" y="338"/>
                    </a:lnTo>
                    <a:lnTo>
                      <a:pt x="51" y="340"/>
                    </a:lnTo>
                    <a:lnTo>
                      <a:pt x="53" y="340"/>
                    </a:lnTo>
                    <a:lnTo>
                      <a:pt x="51" y="340"/>
                    </a:lnTo>
                    <a:lnTo>
                      <a:pt x="53" y="340"/>
                    </a:lnTo>
                    <a:lnTo>
                      <a:pt x="55" y="340"/>
                    </a:lnTo>
                    <a:lnTo>
                      <a:pt x="57" y="340"/>
                    </a:lnTo>
                    <a:lnTo>
                      <a:pt x="59" y="340"/>
                    </a:lnTo>
                    <a:lnTo>
                      <a:pt x="61" y="340"/>
                    </a:lnTo>
                    <a:lnTo>
                      <a:pt x="63" y="338"/>
                    </a:lnTo>
                    <a:lnTo>
                      <a:pt x="65" y="338"/>
                    </a:lnTo>
                    <a:lnTo>
                      <a:pt x="67" y="336"/>
                    </a:lnTo>
                    <a:lnTo>
                      <a:pt x="69" y="336"/>
                    </a:lnTo>
                    <a:lnTo>
                      <a:pt x="69" y="335"/>
                    </a:lnTo>
                    <a:lnTo>
                      <a:pt x="71" y="335"/>
                    </a:lnTo>
                    <a:lnTo>
                      <a:pt x="71" y="333"/>
                    </a:lnTo>
                    <a:lnTo>
                      <a:pt x="73" y="333"/>
                    </a:lnTo>
                    <a:lnTo>
                      <a:pt x="73" y="331"/>
                    </a:lnTo>
                    <a:lnTo>
                      <a:pt x="74" y="329"/>
                    </a:lnTo>
                    <a:lnTo>
                      <a:pt x="76" y="327"/>
                    </a:lnTo>
                    <a:lnTo>
                      <a:pt x="78" y="327"/>
                    </a:lnTo>
                    <a:lnTo>
                      <a:pt x="78" y="325"/>
                    </a:lnTo>
                    <a:lnTo>
                      <a:pt x="80" y="325"/>
                    </a:lnTo>
                    <a:lnTo>
                      <a:pt x="82" y="323"/>
                    </a:lnTo>
                    <a:lnTo>
                      <a:pt x="84" y="321"/>
                    </a:lnTo>
                    <a:lnTo>
                      <a:pt x="86" y="321"/>
                    </a:lnTo>
                    <a:lnTo>
                      <a:pt x="86" y="319"/>
                    </a:lnTo>
                    <a:lnTo>
                      <a:pt x="88" y="319"/>
                    </a:lnTo>
                    <a:lnTo>
                      <a:pt x="92" y="319"/>
                    </a:lnTo>
                    <a:lnTo>
                      <a:pt x="92" y="317"/>
                    </a:lnTo>
                    <a:lnTo>
                      <a:pt x="94" y="317"/>
                    </a:lnTo>
                    <a:lnTo>
                      <a:pt x="96" y="317"/>
                    </a:lnTo>
                    <a:lnTo>
                      <a:pt x="96" y="315"/>
                    </a:lnTo>
                    <a:lnTo>
                      <a:pt x="97" y="313"/>
                    </a:lnTo>
                    <a:lnTo>
                      <a:pt x="99" y="313"/>
                    </a:lnTo>
                    <a:lnTo>
                      <a:pt x="101" y="313"/>
                    </a:lnTo>
                    <a:lnTo>
                      <a:pt x="101" y="311"/>
                    </a:lnTo>
                    <a:lnTo>
                      <a:pt x="103" y="310"/>
                    </a:lnTo>
                    <a:lnTo>
                      <a:pt x="103" y="308"/>
                    </a:lnTo>
                    <a:lnTo>
                      <a:pt x="105" y="308"/>
                    </a:lnTo>
                    <a:lnTo>
                      <a:pt x="103" y="308"/>
                    </a:lnTo>
                    <a:lnTo>
                      <a:pt x="103" y="310"/>
                    </a:lnTo>
                    <a:lnTo>
                      <a:pt x="103" y="311"/>
                    </a:lnTo>
                    <a:lnTo>
                      <a:pt x="101" y="311"/>
                    </a:lnTo>
                    <a:lnTo>
                      <a:pt x="103" y="311"/>
                    </a:lnTo>
                    <a:lnTo>
                      <a:pt x="103" y="313"/>
                    </a:lnTo>
                    <a:lnTo>
                      <a:pt x="101" y="313"/>
                    </a:lnTo>
                    <a:lnTo>
                      <a:pt x="103" y="315"/>
                    </a:lnTo>
                    <a:lnTo>
                      <a:pt x="103" y="317"/>
                    </a:lnTo>
                    <a:lnTo>
                      <a:pt x="105" y="317"/>
                    </a:lnTo>
                    <a:lnTo>
                      <a:pt x="103" y="317"/>
                    </a:lnTo>
                    <a:lnTo>
                      <a:pt x="105" y="317"/>
                    </a:lnTo>
                    <a:lnTo>
                      <a:pt x="105" y="319"/>
                    </a:lnTo>
                    <a:lnTo>
                      <a:pt x="107" y="319"/>
                    </a:lnTo>
                    <a:lnTo>
                      <a:pt x="109" y="319"/>
                    </a:lnTo>
                    <a:lnTo>
                      <a:pt x="109" y="321"/>
                    </a:lnTo>
                    <a:lnTo>
                      <a:pt x="111" y="321"/>
                    </a:lnTo>
                    <a:lnTo>
                      <a:pt x="111" y="323"/>
                    </a:lnTo>
                    <a:lnTo>
                      <a:pt x="111" y="321"/>
                    </a:lnTo>
                    <a:lnTo>
                      <a:pt x="111" y="323"/>
                    </a:lnTo>
                    <a:lnTo>
                      <a:pt x="113" y="323"/>
                    </a:lnTo>
                    <a:lnTo>
                      <a:pt x="113" y="325"/>
                    </a:lnTo>
                    <a:lnTo>
                      <a:pt x="115" y="325"/>
                    </a:lnTo>
                    <a:lnTo>
                      <a:pt x="115" y="323"/>
                    </a:lnTo>
                    <a:lnTo>
                      <a:pt x="115" y="325"/>
                    </a:lnTo>
                    <a:lnTo>
                      <a:pt x="117" y="325"/>
                    </a:lnTo>
                    <a:lnTo>
                      <a:pt x="115" y="325"/>
                    </a:lnTo>
                    <a:lnTo>
                      <a:pt x="115" y="323"/>
                    </a:lnTo>
                    <a:lnTo>
                      <a:pt x="115" y="325"/>
                    </a:lnTo>
                    <a:lnTo>
                      <a:pt x="115" y="323"/>
                    </a:lnTo>
                    <a:lnTo>
                      <a:pt x="113" y="323"/>
                    </a:lnTo>
                    <a:lnTo>
                      <a:pt x="111" y="323"/>
                    </a:lnTo>
                    <a:lnTo>
                      <a:pt x="111" y="321"/>
                    </a:lnTo>
                    <a:lnTo>
                      <a:pt x="109" y="321"/>
                    </a:lnTo>
                    <a:lnTo>
                      <a:pt x="111" y="321"/>
                    </a:lnTo>
                    <a:lnTo>
                      <a:pt x="109" y="321"/>
                    </a:lnTo>
                    <a:lnTo>
                      <a:pt x="109" y="319"/>
                    </a:lnTo>
                    <a:lnTo>
                      <a:pt x="107" y="319"/>
                    </a:lnTo>
                    <a:lnTo>
                      <a:pt x="105" y="319"/>
                    </a:lnTo>
                    <a:lnTo>
                      <a:pt x="105" y="317"/>
                    </a:lnTo>
                    <a:lnTo>
                      <a:pt x="107" y="317"/>
                    </a:lnTo>
                    <a:lnTo>
                      <a:pt x="105" y="317"/>
                    </a:lnTo>
                    <a:lnTo>
                      <a:pt x="105" y="319"/>
                    </a:lnTo>
                    <a:lnTo>
                      <a:pt x="105" y="317"/>
                    </a:lnTo>
                    <a:lnTo>
                      <a:pt x="103" y="317"/>
                    </a:lnTo>
                    <a:lnTo>
                      <a:pt x="105" y="317"/>
                    </a:lnTo>
                    <a:lnTo>
                      <a:pt x="103" y="317"/>
                    </a:lnTo>
                    <a:lnTo>
                      <a:pt x="103" y="315"/>
                    </a:lnTo>
                    <a:lnTo>
                      <a:pt x="103" y="313"/>
                    </a:lnTo>
                    <a:lnTo>
                      <a:pt x="103" y="315"/>
                    </a:lnTo>
                    <a:lnTo>
                      <a:pt x="101" y="313"/>
                    </a:lnTo>
                    <a:lnTo>
                      <a:pt x="103" y="313"/>
                    </a:lnTo>
                    <a:lnTo>
                      <a:pt x="101" y="313"/>
                    </a:lnTo>
                    <a:lnTo>
                      <a:pt x="103" y="313"/>
                    </a:lnTo>
                    <a:lnTo>
                      <a:pt x="103" y="311"/>
                    </a:lnTo>
                    <a:lnTo>
                      <a:pt x="105" y="311"/>
                    </a:lnTo>
                    <a:lnTo>
                      <a:pt x="105" y="313"/>
                    </a:lnTo>
                    <a:lnTo>
                      <a:pt x="105" y="311"/>
                    </a:lnTo>
                    <a:lnTo>
                      <a:pt x="105" y="310"/>
                    </a:lnTo>
                    <a:lnTo>
                      <a:pt x="107" y="310"/>
                    </a:lnTo>
                    <a:lnTo>
                      <a:pt x="107" y="308"/>
                    </a:lnTo>
                    <a:lnTo>
                      <a:pt x="109" y="308"/>
                    </a:lnTo>
                    <a:lnTo>
                      <a:pt x="109" y="306"/>
                    </a:lnTo>
                    <a:lnTo>
                      <a:pt x="109" y="304"/>
                    </a:lnTo>
                    <a:lnTo>
                      <a:pt x="111" y="304"/>
                    </a:lnTo>
                    <a:lnTo>
                      <a:pt x="111" y="302"/>
                    </a:lnTo>
                    <a:lnTo>
                      <a:pt x="111" y="300"/>
                    </a:lnTo>
                    <a:lnTo>
                      <a:pt x="111" y="302"/>
                    </a:lnTo>
                    <a:lnTo>
                      <a:pt x="111" y="300"/>
                    </a:lnTo>
                    <a:lnTo>
                      <a:pt x="111" y="298"/>
                    </a:lnTo>
                    <a:lnTo>
                      <a:pt x="111" y="300"/>
                    </a:lnTo>
                    <a:lnTo>
                      <a:pt x="113" y="300"/>
                    </a:lnTo>
                    <a:lnTo>
                      <a:pt x="115" y="300"/>
                    </a:lnTo>
                    <a:lnTo>
                      <a:pt x="115" y="302"/>
                    </a:lnTo>
                    <a:lnTo>
                      <a:pt x="117" y="302"/>
                    </a:lnTo>
                    <a:lnTo>
                      <a:pt x="115" y="302"/>
                    </a:lnTo>
                    <a:lnTo>
                      <a:pt x="117" y="302"/>
                    </a:lnTo>
                    <a:lnTo>
                      <a:pt x="117" y="304"/>
                    </a:lnTo>
                    <a:lnTo>
                      <a:pt x="117" y="302"/>
                    </a:lnTo>
                    <a:lnTo>
                      <a:pt x="117" y="304"/>
                    </a:lnTo>
                    <a:lnTo>
                      <a:pt x="117" y="302"/>
                    </a:lnTo>
                    <a:lnTo>
                      <a:pt x="115" y="302"/>
                    </a:lnTo>
                    <a:lnTo>
                      <a:pt x="115" y="300"/>
                    </a:lnTo>
                    <a:lnTo>
                      <a:pt x="113" y="300"/>
                    </a:lnTo>
                    <a:lnTo>
                      <a:pt x="111" y="300"/>
                    </a:lnTo>
                    <a:lnTo>
                      <a:pt x="111" y="298"/>
                    </a:lnTo>
                    <a:lnTo>
                      <a:pt x="111" y="296"/>
                    </a:lnTo>
                    <a:lnTo>
                      <a:pt x="111" y="298"/>
                    </a:lnTo>
                    <a:lnTo>
                      <a:pt x="111" y="296"/>
                    </a:lnTo>
                    <a:lnTo>
                      <a:pt x="111" y="294"/>
                    </a:lnTo>
                    <a:lnTo>
                      <a:pt x="111" y="292"/>
                    </a:lnTo>
                    <a:lnTo>
                      <a:pt x="113" y="292"/>
                    </a:lnTo>
                    <a:lnTo>
                      <a:pt x="111" y="292"/>
                    </a:lnTo>
                    <a:lnTo>
                      <a:pt x="111" y="290"/>
                    </a:lnTo>
                    <a:lnTo>
                      <a:pt x="111" y="288"/>
                    </a:lnTo>
                    <a:lnTo>
                      <a:pt x="111" y="285"/>
                    </a:lnTo>
                    <a:lnTo>
                      <a:pt x="113" y="285"/>
                    </a:lnTo>
                    <a:lnTo>
                      <a:pt x="111" y="285"/>
                    </a:lnTo>
                    <a:lnTo>
                      <a:pt x="111" y="283"/>
                    </a:lnTo>
                    <a:lnTo>
                      <a:pt x="113" y="283"/>
                    </a:lnTo>
                    <a:lnTo>
                      <a:pt x="111" y="283"/>
                    </a:lnTo>
                    <a:lnTo>
                      <a:pt x="113" y="283"/>
                    </a:lnTo>
                    <a:lnTo>
                      <a:pt x="111" y="283"/>
                    </a:lnTo>
                    <a:lnTo>
                      <a:pt x="111" y="281"/>
                    </a:lnTo>
                    <a:lnTo>
                      <a:pt x="113" y="281"/>
                    </a:lnTo>
                    <a:lnTo>
                      <a:pt x="113" y="279"/>
                    </a:lnTo>
                    <a:lnTo>
                      <a:pt x="115" y="279"/>
                    </a:lnTo>
                    <a:lnTo>
                      <a:pt x="115" y="277"/>
                    </a:lnTo>
                    <a:lnTo>
                      <a:pt x="117" y="277"/>
                    </a:lnTo>
                    <a:lnTo>
                      <a:pt x="115" y="277"/>
                    </a:lnTo>
                    <a:lnTo>
                      <a:pt x="117" y="277"/>
                    </a:lnTo>
                    <a:lnTo>
                      <a:pt x="119" y="277"/>
                    </a:lnTo>
                    <a:lnTo>
                      <a:pt x="121" y="277"/>
                    </a:lnTo>
                    <a:lnTo>
                      <a:pt x="119" y="277"/>
                    </a:lnTo>
                    <a:lnTo>
                      <a:pt x="121" y="277"/>
                    </a:lnTo>
                    <a:lnTo>
                      <a:pt x="121" y="279"/>
                    </a:lnTo>
                    <a:lnTo>
                      <a:pt x="122" y="279"/>
                    </a:lnTo>
                    <a:lnTo>
                      <a:pt x="122" y="281"/>
                    </a:lnTo>
                    <a:lnTo>
                      <a:pt x="122" y="279"/>
                    </a:lnTo>
                    <a:lnTo>
                      <a:pt x="121" y="279"/>
                    </a:lnTo>
                    <a:lnTo>
                      <a:pt x="121" y="281"/>
                    </a:lnTo>
                    <a:lnTo>
                      <a:pt x="121" y="283"/>
                    </a:lnTo>
                    <a:lnTo>
                      <a:pt x="122" y="283"/>
                    </a:lnTo>
                    <a:lnTo>
                      <a:pt x="124" y="283"/>
                    </a:lnTo>
                    <a:lnTo>
                      <a:pt x="126" y="283"/>
                    </a:lnTo>
                    <a:lnTo>
                      <a:pt x="128" y="283"/>
                    </a:lnTo>
                    <a:lnTo>
                      <a:pt x="130" y="281"/>
                    </a:lnTo>
                    <a:lnTo>
                      <a:pt x="130" y="283"/>
                    </a:lnTo>
                    <a:lnTo>
                      <a:pt x="132" y="283"/>
                    </a:lnTo>
                    <a:lnTo>
                      <a:pt x="132" y="285"/>
                    </a:lnTo>
                    <a:lnTo>
                      <a:pt x="134" y="285"/>
                    </a:lnTo>
                    <a:lnTo>
                      <a:pt x="132" y="285"/>
                    </a:lnTo>
                    <a:lnTo>
                      <a:pt x="134" y="285"/>
                    </a:lnTo>
                    <a:lnTo>
                      <a:pt x="134" y="287"/>
                    </a:lnTo>
                    <a:lnTo>
                      <a:pt x="134" y="288"/>
                    </a:lnTo>
                    <a:lnTo>
                      <a:pt x="136" y="288"/>
                    </a:lnTo>
                    <a:lnTo>
                      <a:pt x="136" y="290"/>
                    </a:lnTo>
                    <a:lnTo>
                      <a:pt x="138" y="290"/>
                    </a:lnTo>
                    <a:lnTo>
                      <a:pt x="138" y="292"/>
                    </a:lnTo>
                    <a:lnTo>
                      <a:pt x="140" y="292"/>
                    </a:lnTo>
                    <a:lnTo>
                      <a:pt x="140" y="294"/>
                    </a:lnTo>
                    <a:lnTo>
                      <a:pt x="142" y="294"/>
                    </a:lnTo>
                    <a:lnTo>
                      <a:pt x="144" y="294"/>
                    </a:lnTo>
                    <a:lnTo>
                      <a:pt x="144" y="296"/>
                    </a:lnTo>
                    <a:lnTo>
                      <a:pt x="144" y="294"/>
                    </a:lnTo>
                    <a:lnTo>
                      <a:pt x="144" y="296"/>
                    </a:lnTo>
                    <a:lnTo>
                      <a:pt x="146" y="296"/>
                    </a:lnTo>
                    <a:lnTo>
                      <a:pt x="146" y="294"/>
                    </a:lnTo>
                    <a:lnTo>
                      <a:pt x="147" y="294"/>
                    </a:lnTo>
                    <a:lnTo>
                      <a:pt x="147" y="292"/>
                    </a:lnTo>
                    <a:lnTo>
                      <a:pt x="149" y="292"/>
                    </a:lnTo>
                    <a:lnTo>
                      <a:pt x="151" y="290"/>
                    </a:lnTo>
                    <a:lnTo>
                      <a:pt x="153" y="290"/>
                    </a:lnTo>
                    <a:lnTo>
                      <a:pt x="153" y="288"/>
                    </a:lnTo>
                    <a:lnTo>
                      <a:pt x="155" y="288"/>
                    </a:lnTo>
                    <a:lnTo>
                      <a:pt x="157" y="288"/>
                    </a:lnTo>
                    <a:lnTo>
                      <a:pt x="159" y="288"/>
                    </a:lnTo>
                    <a:lnTo>
                      <a:pt x="161" y="288"/>
                    </a:lnTo>
                    <a:lnTo>
                      <a:pt x="163" y="288"/>
                    </a:lnTo>
                    <a:lnTo>
                      <a:pt x="165" y="288"/>
                    </a:lnTo>
                    <a:lnTo>
                      <a:pt x="165" y="287"/>
                    </a:lnTo>
                    <a:lnTo>
                      <a:pt x="167" y="287"/>
                    </a:lnTo>
                    <a:lnTo>
                      <a:pt x="167" y="285"/>
                    </a:lnTo>
                    <a:lnTo>
                      <a:pt x="169" y="285"/>
                    </a:lnTo>
                    <a:lnTo>
                      <a:pt x="170" y="285"/>
                    </a:lnTo>
                    <a:lnTo>
                      <a:pt x="172" y="287"/>
                    </a:lnTo>
                    <a:lnTo>
                      <a:pt x="174" y="287"/>
                    </a:lnTo>
                    <a:lnTo>
                      <a:pt x="174" y="288"/>
                    </a:lnTo>
                    <a:lnTo>
                      <a:pt x="176" y="288"/>
                    </a:lnTo>
                    <a:lnTo>
                      <a:pt x="176" y="290"/>
                    </a:lnTo>
                    <a:lnTo>
                      <a:pt x="176" y="292"/>
                    </a:lnTo>
                    <a:lnTo>
                      <a:pt x="178" y="292"/>
                    </a:lnTo>
                    <a:lnTo>
                      <a:pt x="176" y="292"/>
                    </a:lnTo>
                    <a:lnTo>
                      <a:pt x="178" y="292"/>
                    </a:lnTo>
                    <a:lnTo>
                      <a:pt x="180" y="292"/>
                    </a:lnTo>
                    <a:lnTo>
                      <a:pt x="180" y="294"/>
                    </a:lnTo>
                    <a:lnTo>
                      <a:pt x="182" y="294"/>
                    </a:lnTo>
                    <a:lnTo>
                      <a:pt x="184" y="294"/>
                    </a:lnTo>
                    <a:lnTo>
                      <a:pt x="186" y="292"/>
                    </a:lnTo>
                    <a:lnTo>
                      <a:pt x="188" y="290"/>
                    </a:lnTo>
                    <a:lnTo>
                      <a:pt x="190" y="288"/>
                    </a:lnTo>
                    <a:lnTo>
                      <a:pt x="190" y="287"/>
                    </a:lnTo>
                    <a:lnTo>
                      <a:pt x="192" y="287"/>
                    </a:lnTo>
                    <a:lnTo>
                      <a:pt x="192" y="285"/>
                    </a:lnTo>
                    <a:lnTo>
                      <a:pt x="192" y="287"/>
                    </a:lnTo>
                    <a:lnTo>
                      <a:pt x="192" y="285"/>
                    </a:lnTo>
                    <a:lnTo>
                      <a:pt x="194" y="283"/>
                    </a:lnTo>
                    <a:lnTo>
                      <a:pt x="194" y="281"/>
                    </a:lnTo>
                    <a:lnTo>
                      <a:pt x="194" y="279"/>
                    </a:lnTo>
                    <a:lnTo>
                      <a:pt x="195" y="279"/>
                    </a:lnTo>
                    <a:lnTo>
                      <a:pt x="195" y="277"/>
                    </a:lnTo>
                    <a:lnTo>
                      <a:pt x="195" y="279"/>
                    </a:lnTo>
                    <a:lnTo>
                      <a:pt x="197" y="279"/>
                    </a:lnTo>
                    <a:lnTo>
                      <a:pt x="199" y="279"/>
                    </a:lnTo>
                    <a:lnTo>
                      <a:pt x="201" y="279"/>
                    </a:lnTo>
                    <a:lnTo>
                      <a:pt x="201" y="281"/>
                    </a:lnTo>
                    <a:lnTo>
                      <a:pt x="201" y="279"/>
                    </a:lnTo>
                    <a:lnTo>
                      <a:pt x="201" y="281"/>
                    </a:lnTo>
                    <a:lnTo>
                      <a:pt x="201" y="279"/>
                    </a:lnTo>
                    <a:lnTo>
                      <a:pt x="199" y="279"/>
                    </a:lnTo>
                    <a:lnTo>
                      <a:pt x="199" y="277"/>
                    </a:lnTo>
                    <a:lnTo>
                      <a:pt x="201" y="277"/>
                    </a:lnTo>
                    <a:lnTo>
                      <a:pt x="201" y="279"/>
                    </a:lnTo>
                    <a:lnTo>
                      <a:pt x="201" y="277"/>
                    </a:lnTo>
                    <a:lnTo>
                      <a:pt x="203" y="277"/>
                    </a:lnTo>
                    <a:lnTo>
                      <a:pt x="203" y="279"/>
                    </a:lnTo>
                    <a:lnTo>
                      <a:pt x="203" y="277"/>
                    </a:lnTo>
                    <a:lnTo>
                      <a:pt x="205" y="277"/>
                    </a:lnTo>
                    <a:lnTo>
                      <a:pt x="205" y="279"/>
                    </a:lnTo>
                    <a:lnTo>
                      <a:pt x="205" y="281"/>
                    </a:lnTo>
                    <a:lnTo>
                      <a:pt x="207" y="281"/>
                    </a:lnTo>
                    <a:lnTo>
                      <a:pt x="205" y="281"/>
                    </a:lnTo>
                    <a:lnTo>
                      <a:pt x="205" y="283"/>
                    </a:lnTo>
                    <a:lnTo>
                      <a:pt x="207" y="283"/>
                    </a:lnTo>
                    <a:lnTo>
                      <a:pt x="207" y="281"/>
                    </a:lnTo>
                    <a:lnTo>
                      <a:pt x="209" y="281"/>
                    </a:lnTo>
                    <a:lnTo>
                      <a:pt x="207" y="281"/>
                    </a:lnTo>
                    <a:lnTo>
                      <a:pt x="209" y="281"/>
                    </a:lnTo>
                    <a:lnTo>
                      <a:pt x="207" y="281"/>
                    </a:lnTo>
                    <a:lnTo>
                      <a:pt x="207" y="283"/>
                    </a:lnTo>
                    <a:lnTo>
                      <a:pt x="205" y="281"/>
                    </a:lnTo>
                    <a:lnTo>
                      <a:pt x="207" y="281"/>
                    </a:lnTo>
                    <a:lnTo>
                      <a:pt x="205" y="281"/>
                    </a:lnTo>
                    <a:lnTo>
                      <a:pt x="205" y="279"/>
                    </a:lnTo>
                    <a:lnTo>
                      <a:pt x="205" y="277"/>
                    </a:lnTo>
                    <a:lnTo>
                      <a:pt x="203" y="277"/>
                    </a:lnTo>
                    <a:lnTo>
                      <a:pt x="205" y="277"/>
                    </a:lnTo>
                    <a:lnTo>
                      <a:pt x="205" y="275"/>
                    </a:lnTo>
                    <a:lnTo>
                      <a:pt x="205" y="277"/>
                    </a:lnTo>
                    <a:lnTo>
                      <a:pt x="205" y="275"/>
                    </a:lnTo>
                    <a:lnTo>
                      <a:pt x="203" y="275"/>
                    </a:lnTo>
                    <a:lnTo>
                      <a:pt x="203" y="277"/>
                    </a:lnTo>
                    <a:lnTo>
                      <a:pt x="205" y="277"/>
                    </a:lnTo>
                    <a:lnTo>
                      <a:pt x="203" y="277"/>
                    </a:lnTo>
                    <a:lnTo>
                      <a:pt x="201" y="277"/>
                    </a:lnTo>
                    <a:lnTo>
                      <a:pt x="199" y="277"/>
                    </a:lnTo>
                    <a:lnTo>
                      <a:pt x="199" y="275"/>
                    </a:lnTo>
                    <a:lnTo>
                      <a:pt x="201" y="275"/>
                    </a:lnTo>
                    <a:lnTo>
                      <a:pt x="199" y="275"/>
                    </a:lnTo>
                    <a:lnTo>
                      <a:pt x="199" y="277"/>
                    </a:lnTo>
                    <a:lnTo>
                      <a:pt x="197" y="277"/>
                    </a:lnTo>
                    <a:lnTo>
                      <a:pt x="195" y="277"/>
                    </a:lnTo>
                    <a:lnTo>
                      <a:pt x="195" y="275"/>
                    </a:lnTo>
                    <a:lnTo>
                      <a:pt x="195" y="273"/>
                    </a:lnTo>
                    <a:lnTo>
                      <a:pt x="197" y="273"/>
                    </a:lnTo>
                    <a:lnTo>
                      <a:pt x="197" y="271"/>
                    </a:lnTo>
                    <a:lnTo>
                      <a:pt x="197" y="269"/>
                    </a:lnTo>
                    <a:lnTo>
                      <a:pt x="199" y="271"/>
                    </a:lnTo>
                    <a:lnTo>
                      <a:pt x="201" y="273"/>
                    </a:lnTo>
                    <a:lnTo>
                      <a:pt x="201" y="275"/>
                    </a:lnTo>
                    <a:lnTo>
                      <a:pt x="203" y="275"/>
                    </a:lnTo>
                    <a:lnTo>
                      <a:pt x="205" y="275"/>
                    </a:lnTo>
                    <a:lnTo>
                      <a:pt x="207" y="275"/>
                    </a:lnTo>
                    <a:lnTo>
                      <a:pt x="207" y="273"/>
                    </a:lnTo>
                    <a:lnTo>
                      <a:pt x="207" y="275"/>
                    </a:lnTo>
                    <a:lnTo>
                      <a:pt x="209" y="275"/>
                    </a:lnTo>
                    <a:lnTo>
                      <a:pt x="207" y="275"/>
                    </a:lnTo>
                    <a:lnTo>
                      <a:pt x="209" y="275"/>
                    </a:lnTo>
                    <a:lnTo>
                      <a:pt x="209" y="277"/>
                    </a:lnTo>
                    <a:lnTo>
                      <a:pt x="209" y="275"/>
                    </a:lnTo>
                    <a:lnTo>
                      <a:pt x="209" y="273"/>
                    </a:lnTo>
                    <a:lnTo>
                      <a:pt x="207" y="273"/>
                    </a:lnTo>
                    <a:lnTo>
                      <a:pt x="209" y="273"/>
                    </a:lnTo>
                    <a:lnTo>
                      <a:pt x="211" y="273"/>
                    </a:lnTo>
                    <a:lnTo>
                      <a:pt x="213" y="273"/>
                    </a:lnTo>
                    <a:lnTo>
                      <a:pt x="211" y="273"/>
                    </a:lnTo>
                    <a:lnTo>
                      <a:pt x="209" y="273"/>
                    </a:lnTo>
                    <a:lnTo>
                      <a:pt x="211" y="273"/>
                    </a:lnTo>
                    <a:lnTo>
                      <a:pt x="211" y="271"/>
                    </a:lnTo>
                    <a:lnTo>
                      <a:pt x="213" y="271"/>
                    </a:lnTo>
                    <a:lnTo>
                      <a:pt x="213" y="273"/>
                    </a:lnTo>
                    <a:lnTo>
                      <a:pt x="213" y="271"/>
                    </a:lnTo>
                    <a:lnTo>
                      <a:pt x="211" y="271"/>
                    </a:lnTo>
                    <a:lnTo>
                      <a:pt x="213" y="271"/>
                    </a:lnTo>
                    <a:lnTo>
                      <a:pt x="211" y="271"/>
                    </a:lnTo>
                    <a:lnTo>
                      <a:pt x="211" y="273"/>
                    </a:lnTo>
                    <a:lnTo>
                      <a:pt x="209" y="273"/>
                    </a:lnTo>
                    <a:lnTo>
                      <a:pt x="207" y="273"/>
                    </a:lnTo>
                    <a:lnTo>
                      <a:pt x="209" y="273"/>
                    </a:lnTo>
                    <a:lnTo>
                      <a:pt x="209" y="275"/>
                    </a:lnTo>
                    <a:lnTo>
                      <a:pt x="207" y="275"/>
                    </a:lnTo>
                    <a:lnTo>
                      <a:pt x="207" y="273"/>
                    </a:lnTo>
                    <a:lnTo>
                      <a:pt x="207" y="275"/>
                    </a:lnTo>
                    <a:lnTo>
                      <a:pt x="205" y="275"/>
                    </a:lnTo>
                    <a:lnTo>
                      <a:pt x="203" y="275"/>
                    </a:lnTo>
                    <a:lnTo>
                      <a:pt x="203" y="273"/>
                    </a:lnTo>
                    <a:lnTo>
                      <a:pt x="203" y="271"/>
                    </a:lnTo>
                    <a:lnTo>
                      <a:pt x="203" y="273"/>
                    </a:lnTo>
                    <a:lnTo>
                      <a:pt x="205" y="273"/>
                    </a:lnTo>
                    <a:lnTo>
                      <a:pt x="205" y="271"/>
                    </a:lnTo>
                    <a:lnTo>
                      <a:pt x="205" y="273"/>
                    </a:lnTo>
                    <a:lnTo>
                      <a:pt x="205" y="271"/>
                    </a:lnTo>
                    <a:lnTo>
                      <a:pt x="205" y="273"/>
                    </a:lnTo>
                    <a:lnTo>
                      <a:pt x="203" y="273"/>
                    </a:lnTo>
                    <a:lnTo>
                      <a:pt x="203" y="271"/>
                    </a:lnTo>
                    <a:lnTo>
                      <a:pt x="203" y="273"/>
                    </a:lnTo>
                    <a:lnTo>
                      <a:pt x="203" y="271"/>
                    </a:lnTo>
                    <a:lnTo>
                      <a:pt x="201" y="271"/>
                    </a:lnTo>
                    <a:lnTo>
                      <a:pt x="199" y="271"/>
                    </a:lnTo>
                    <a:lnTo>
                      <a:pt x="199" y="269"/>
                    </a:lnTo>
                    <a:lnTo>
                      <a:pt x="201" y="269"/>
                    </a:lnTo>
                    <a:lnTo>
                      <a:pt x="199" y="269"/>
                    </a:lnTo>
                    <a:lnTo>
                      <a:pt x="201" y="269"/>
                    </a:lnTo>
                    <a:lnTo>
                      <a:pt x="201" y="267"/>
                    </a:lnTo>
                    <a:lnTo>
                      <a:pt x="203" y="265"/>
                    </a:lnTo>
                    <a:lnTo>
                      <a:pt x="201" y="265"/>
                    </a:lnTo>
                    <a:lnTo>
                      <a:pt x="201" y="267"/>
                    </a:lnTo>
                    <a:lnTo>
                      <a:pt x="201" y="269"/>
                    </a:lnTo>
                    <a:lnTo>
                      <a:pt x="199" y="269"/>
                    </a:lnTo>
                    <a:lnTo>
                      <a:pt x="197" y="269"/>
                    </a:lnTo>
                    <a:lnTo>
                      <a:pt x="197" y="267"/>
                    </a:lnTo>
                    <a:lnTo>
                      <a:pt x="197" y="265"/>
                    </a:lnTo>
                    <a:lnTo>
                      <a:pt x="197" y="263"/>
                    </a:lnTo>
                    <a:lnTo>
                      <a:pt x="197" y="262"/>
                    </a:lnTo>
                    <a:lnTo>
                      <a:pt x="199" y="260"/>
                    </a:lnTo>
                    <a:lnTo>
                      <a:pt x="197" y="260"/>
                    </a:lnTo>
                    <a:lnTo>
                      <a:pt x="199" y="260"/>
                    </a:lnTo>
                    <a:lnTo>
                      <a:pt x="197" y="260"/>
                    </a:lnTo>
                    <a:lnTo>
                      <a:pt x="199" y="260"/>
                    </a:lnTo>
                    <a:lnTo>
                      <a:pt x="197" y="260"/>
                    </a:lnTo>
                    <a:lnTo>
                      <a:pt x="199" y="260"/>
                    </a:lnTo>
                    <a:lnTo>
                      <a:pt x="197" y="260"/>
                    </a:lnTo>
                    <a:lnTo>
                      <a:pt x="199" y="260"/>
                    </a:lnTo>
                    <a:lnTo>
                      <a:pt x="197" y="260"/>
                    </a:lnTo>
                    <a:lnTo>
                      <a:pt x="197" y="258"/>
                    </a:lnTo>
                    <a:lnTo>
                      <a:pt x="199" y="258"/>
                    </a:lnTo>
                    <a:lnTo>
                      <a:pt x="199" y="260"/>
                    </a:lnTo>
                    <a:lnTo>
                      <a:pt x="199" y="258"/>
                    </a:lnTo>
                    <a:lnTo>
                      <a:pt x="201" y="258"/>
                    </a:lnTo>
                    <a:lnTo>
                      <a:pt x="201" y="256"/>
                    </a:lnTo>
                    <a:lnTo>
                      <a:pt x="203" y="256"/>
                    </a:lnTo>
                    <a:lnTo>
                      <a:pt x="205" y="256"/>
                    </a:lnTo>
                    <a:lnTo>
                      <a:pt x="203" y="256"/>
                    </a:lnTo>
                    <a:lnTo>
                      <a:pt x="201" y="256"/>
                    </a:lnTo>
                    <a:lnTo>
                      <a:pt x="199" y="256"/>
                    </a:lnTo>
                    <a:lnTo>
                      <a:pt x="199" y="258"/>
                    </a:lnTo>
                    <a:lnTo>
                      <a:pt x="197" y="258"/>
                    </a:lnTo>
                    <a:lnTo>
                      <a:pt x="197" y="256"/>
                    </a:lnTo>
                    <a:lnTo>
                      <a:pt x="195" y="256"/>
                    </a:lnTo>
                    <a:lnTo>
                      <a:pt x="195" y="254"/>
                    </a:lnTo>
                    <a:lnTo>
                      <a:pt x="194" y="254"/>
                    </a:lnTo>
                    <a:lnTo>
                      <a:pt x="192" y="254"/>
                    </a:lnTo>
                    <a:lnTo>
                      <a:pt x="190" y="254"/>
                    </a:lnTo>
                    <a:lnTo>
                      <a:pt x="190" y="252"/>
                    </a:lnTo>
                    <a:lnTo>
                      <a:pt x="190" y="250"/>
                    </a:lnTo>
                    <a:lnTo>
                      <a:pt x="188" y="250"/>
                    </a:lnTo>
                    <a:lnTo>
                      <a:pt x="186" y="248"/>
                    </a:lnTo>
                    <a:lnTo>
                      <a:pt x="184" y="248"/>
                    </a:lnTo>
                    <a:lnTo>
                      <a:pt x="182" y="248"/>
                    </a:lnTo>
                    <a:lnTo>
                      <a:pt x="180" y="248"/>
                    </a:lnTo>
                    <a:lnTo>
                      <a:pt x="182" y="248"/>
                    </a:lnTo>
                    <a:lnTo>
                      <a:pt x="180" y="248"/>
                    </a:lnTo>
                    <a:lnTo>
                      <a:pt x="182" y="248"/>
                    </a:lnTo>
                    <a:lnTo>
                      <a:pt x="182" y="246"/>
                    </a:lnTo>
                    <a:lnTo>
                      <a:pt x="182" y="248"/>
                    </a:lnTo>
                    <a:lnTo>
                      <a:pt x="180" y="248"/>
                    </a:lnTo>
                    <a:lnTo>
                      <a:pt x="178" y="246"/>
                    </a:lnTo>
                    <a:lnTo>
                      <a:pt x="178" y="244"/>
                    </a:lnTo>
                    <a:lnTo>
                      <a:pt x="176" y="244"/>
                    </a:lnTo>
                    <a:lnTo>
                      <a:pt x="176" y="246"/>
                    </a:lnTo>
                    <a:lnTo>
                      <a:pt x="174" y="244"/>
                    </a:lnTo>
                    <a:lnTo>
                      <a:pt x="174" y="242"/>
                    </a:lnTo>
                    <a:lnTo>
                      <a:pt x="172" y="242"/>
                    </a:lnTo>
                    <a:lnTo>
                      <a:pt x="170" y="242"/>
                    </a:lnTo>
                    <a:lnTo>
                      <a:pt x="169" y="242"/>
                    </a:lnTo>
                    <a:lnTo>
                      <a:pt x="167" y="242"/>
                    </a:lnTo>
                    <a:lnTo>
                      <a:pt x="167" y="244"/>
                    </a:lnTo>
                    <a:lnTo>
                      <a:pt x="165" y="244"/>
                    </a:lnTo>
                    <a:lnTo>
                      <a:pt x="165" y="246"/>
                    </a:lnTo>
                    <a:lnTo>
                      <a:pt x="163" y="248"/>
                    </a:lnTo>
                    <a:lnTo>
                      <a:pt x="161" y="248"/>
                    </a:lnTo>
                    <a:lnTo>
                      <a:pt x="159" y="246"/>
                    </a:lnTo>
                    <a:lnTo>
                      <a:pt x="159" y="244"/>
                    </a:lnTo>
                    <a:lnTo>
                      <a:pt x="159" y="242"/>
                    </a:lnTo>
                    <a:lnTo>
                      <a:pt x="159" y="240"/>
                    </a:lnTo>
                    <a:lnTo>
                      <a:pt x="159" y="238"/>
                    </a:lnTo>
                    <a:lnTo>
                      <a:pt x="161" y="238"/>
                    </a:lnTo>
                    <a:lnTo>
                      <a:pt x="161" y="237"/>
                    </a:lnTo>
                    <a:lnTo>
                      <a:pt x="163" y="237"/>
                    </a:lnTo>
                    <a:lnTo>
                      <a:pt x="163" y="235"/>
                    </a:lnTo>
                    <a:lnTo>
                      <a:pt x="163" y="237"/>
                    </a:lnTo>
                    <a:lnTo>
                      <a:pt x="163" y="235"/>
                    </a:lnTo>
                    <a:lnTo>
                      <a:pt x="161" y="235"/>
                    </a:lnTo>
                    <a:lnTo>
                      <a:pt x="161" y="233"/>
                    </a:lnTo>
                    <a:lnTo>
                      <a:pt x="161" y="235"/>
                    </a:lnTo>
                    <a:lnTo>
                      <a:pt x="163" y="235"/>
                    </a:lnTo>
                    <a:lnTo>
                      <a:pt x="161" y="235"/>
                    </a:lnTo>
                    <a:lnTo>
                      <a:pt x="161" y="233"/>
                    </a:lnTo>
                    <a:lnTo>
                      <a:pt x="159" y="233"/>
                    </a:lnTo>
                    <a:lnTo>
                      <a:pt x="159" y="231"/>
                    </a:lnTo>
                    <a:lnTo>
                      <a:pt x="157" y="231"/>
                    </a:lnTo>
                    <a:lnTo>
                      <a:pt x="155" y="229"/>
                    </a:lnTo>
                    <a:lnTo>
                      <a:pt x="153" y="229"/>
                    </a:lnTo>
                    <a:lnTo>
                      <a:pt x="153" y="227"/>
                    </a:lnTo>
                    <a:lnTo>
                      <a:pt x="151" y="227"/>
                    </a:lnTo>
                    <a:lnTo>
                      <a:pt x="151" y="225"/>
                    </a:lnTo>
                    <a:lnTo>
                      <a:pt x="151" y="223"/>
                    </a:lnTo>
                    <a:lnTo>
                      <a:pt x="149" y="223"/>
                    </a:lnTo>
                    <a:lnTo>
                      <a:pt x="149" y="221"/>
                    </a:lnTo>
                    <a:lnTo>
                      <a:pt x="147" y="221"/>
                    </a:lnTo>
                    <a:lnTo>
                      <a:pt x="147" y="223"/>
                    </a:lnTo>
                    <a:lnTo>
                      <a:pt x="146" y="223"/>
                    </a:lnTo>
                    <a:lnTo>
                      <a:pt x="146" y="221"/>
                    </a:lnTo>
                    <a:lnTo>
                      <a:pt x="147" y="219"/>
                    </a:lnTo>
                    <a:lnTo>
                      <a:pt x="149" y="219"/>
                    </a:lnTo>
                    <a:lnTo>
                      <a:pt x="151" y="219"/>
                    </a:lnTo>
                    <a:lnTo>
                      <a:pt x="151" y="217"/>
                    </a:lnTo>
                    <a:lnTo>
                      <a:pt x="153" y="217"/>
                    </a:lnTo>
                    <a:lnTo>
                      <a:pt x="153" y="215"/>
                    </a:lnTo>
                    <a:lnTo>
                      <a:pt x="155" y="215"/>
                    </a:lnTo>
                    <a:lnTo>
                      <a:pt x="155" y="213"/>
                    </a:lnTo>
                    <a:lnTo>
                      <a:pt x="157" y="213"/>
                    </a:lnTo>
                    <a:lnTo>
                      <a:pt x="159" y="213"/>
                    </a:lnTo>
                    <a:lnTo>
                      <a:pt x="159" y="212"/>
                    </a:lnTo>
                    <a:lnTo>
                      <a:pt x="161" y="212"/>
                    </a:lnTo>
                    <a:lnTo>
                      <a:pt x="163" y="210"/>
                    </a:lnTo>
                    <a:lnTo>
                      <a:pt x="165" y="210"/>
                    </a:lnTo>
                    <a:lnTo>
                      <a:pt x="165" y="208"/>
                    </a:lnTo>
                    <a:lnTo>
                      <a:pt x="167" y="208"/>
                    </a:lnTo>
                    <a:lnTo>
                      <a:pt x="169" y="208"/>
                    </a:lnTo>
                    <a:lnTo>
                      <a:pt x="169" y="206"/>
                    </a:lnTo>
                    <a:lnTo>
                      <a:pt x="170" y="206"/>
                    </a:lnTo>
                    <a:lnTo>
                      <a:pt x="172" y="204"/>
                    </a:lnTo>
                    <a:lnTo>
                      <a:pt x="174" y="204"/>
                    </a:lnTo>
                    <a:lnTo>
                      <a:pt x="176" y="202"/>
                    </a:lnTo>
                    <a:lnTo>
                      <a:pt x="178" y="202"/>
                    </a:lnTo>
                    <a:lnTo>
                      <a:pt x="178" y="200"/>
                    </a:lnTo>
                    <a:lnTo>
                      <a:pt x="180" y="200"/>
                    </a:lnTo>
                    <a:lnTo>
                      <a:pt x="180" y="198"/>
                    </a:lnTo>
                    <a:lnTo>
                      <a:pt x="180" y="200"/>
                    </a:lnTo>
                    <a:lnTo>
                      <a:pt x="180" y="198"/>
                    </a:lnTo>
                    <a:lnTo>
                      <a:pt x="182" y="198"/>
                    </a:lnTo>
                    <a:lnTo>
                      <a:pt x="184" y="198"/>
                    </a:lnTo>
                    <a:lnTo>
                      <a:pt x="184" y="196"/>
                    </a:lnTo>
                    <a:lnTo>
                      <a:pt x="186" y="196"/>
                    </a:lnTo>
                    <a:lnTo>
                      <a:pt x="188" y="194"/>
                    </a:lnTo>
                    <a:lnTo>
                      <a:pt x="188" y="192"/>
                    </a:lnTo>
                    <a:lnTo>
                      <a:pt x="190" y="192"/>
                    </a:lnTo>
                    <a:lnTo>
                      <a:pt x="190" y="190"/>
                    </a:lnTo>
                    <a:lnTo>
                      <a:pt x="192" y="190"/>
                    </a:lnTo>
                    <a:lnTo>
                      <a:pt x="192" y="192"/>
                    </a:lnTo>
                    <a:lnTo>
                      <a:pt x="194" y="192"/>
                    </a:lnTo>
                    <a:lnTo>
                      <a:pt x="194" y="190"/>
                    </a:lnTo>
                    <a:lnTo>
                      <a:pt x="195" y="190"/>
                    </a:lnTo>
                    <a:lnTo>
                      <a:pt x="197" y="190"/>
                    </a:lnTo>
                    <a:lnTo>
                      <a:pt x="199" y="190"/>
                    </a:lnTo>
                    <a:lnTo>
                      <a:pt x="201" y="190"/>
                    </a:lnTo>
                    <a:lnTo>
                      <a:pt x="201" y="188"/>
                    </a:lnTo>
                    <a:lnTo>
                      <a:pt x="203" y="188"/>
                    </a:lnTo>
                    <a:lnTo>
                      <a:pt x="205" y="188"/>
                    </a:lnTo>
                    <a:lnTo>
                      <a:pt x="205" y="190"/>
                    </a:lnTo>
                    <a:lnTo>
                      <a:pt x="207" y="190"/>
                    </a:lnTo>
                    <a:lnTo>
                      <a:pt x="209" y="190"/>
                    </a:lnTo>
                    <a:lnTo>
                      <a:pt x="207" y="192"/>
                    </a:lnTo>
                    <a:lnTo>
                      <a:pt x="209" y="190"/>
                    </a:lnTo>
                    <a:close/>
                    <a:moveTo>
                      <a:pt x="224" y="179"/>
                    </a:moveTo>
                    <a:lnTo>
                      <a:pt x="222" y="179"/>
                    </a:lnTo>
                    <a:lnTo>
                      <a:pt x="220" y="179"/>
                    </a:lnTo>
                    <a:lnTo>
                      <a:pt x="222" y="179"/>
                    </a:lnTo>
                    <a:lnTo>
                      <a:pt x="224" y="179"/>
                    </a:lnTo>
                    <a:close/>
                    <a:moveTo>
                      <a:pt x="280" y="125"/>
                    </a:moveTo>
                    <a:lnTo>
                      <a:pt x="280" y="127"/>
                    </a:lnTo>
                    <a:lnTo>
                      <a:pt x="280" y="125"/>
                    </a:lnTo>
                    <a:close/>
                    <a:moveTo>
                      <a:pt x="209" y="277"/>
                    </a:moveTo>
                    <a:lnTo>
                      <a:pt x="211" y="277"/>
                    </a:lnTo>
                    <a:lnTo>
                      <a:pt x="209" y="277"/>
                    </a:lnTo>
                    <a:close/>
                    <a:moveTo>
                      <a:pt x="122" y="323"/>
                    </a:moveTo>
                    <a:lnTo>
                      <a:pt x="124" y="323"/>
                    </a:lnTo>
                    <a:lnTo>
                      <a:pt x="124" y="321"/>
                    </a:lnTo>
                    <a:lnTo>
                      <a:pt x="126" y="321"/>
                    </a:lnTo>
                    <a:lnTo>
                      <a:pt x="126" y="319"/>
                    </a:lnTo>
                    <a:lnTo>
                      <a:pt x="126" y="321"/>
                    </a:lnTo>
                    <a:lnTo>
                      <a:pt x="124" y="321"/>
                    </a:lnTo>
                    <a:lnTo>
                      <a:pt x="126" y="321"/>
                    </a:lnTo>
                    <a:lnTo>
                      <a:pt x="124" y="321"/>
                    </a:lnTo>
                    <a:lnTo>
                      <a:pt x="124" y="323"/>
                    </a:lnTo>
                    <a:lnTo>
                      <a:pt x="122" y="323"/>
                    </a:lnTo>
                    <a:lnTo>
                      <a:pt x="122" y="325"/>
                    </a:lnTo>
                    <a:lnTo>
                      <a:pt x="122" y="323"/>
                    </a:lnTo>
                    <a:lnTo>
                      <a:pt x="122" y="325"/>
                    </a:lnTo>
                    <a:lnTo>
                      <a:pt x="121" y="325"/>
                    </a:lnTo>
                    <a:lnTo>
                      <a:pt x="121" y="323"/>
                    </a:lnTo>
                    <a:lnTo>
                      <a:pt x="119" y="323"/>
                    </a:lnTo>
                    <a:lnTo>
                      <a:pt x="121" y="323"/>
                    </a:lnTo>
                    <a:lnTo>
                      <a:pt x="119" y="323"/>
                    </a:lnTo>
                    <a:lnTo>
                      <a:pt x="117" y="323"/>
                    </a:lnTo>
                    <a:lnTo>
                      <a:pt x="117" y="325"/>
                    </a:lnTo>
                    <a:lnTo>
                      <a:pt x="117" y="323"/>
                    </a:lnTo>
                    <a:lnTo>
                      <a:pt x="119" y="323"/>
                    </a:lnTo>
                    <a:lnTo>
                      <a:pt x="121" y="323"/>
                    </a:lnTo>
                    <a:lnTo>
                      <a:pt x="121" y="325"/>
                    </a:lnTo>
                    <a:lnTo>
                      <a:pt x="122" y="325"/>
                    </a:lnTo>
                    <a:lnTo>
                      <a:pt x="122" y="323"/>
                    </a:lnTo>
                    <a:lnTo>
                      <a:pt x="122" y="325"/>
                    </a:lnTo>
                    <a:lnTo>
                      <a:pt x="122" y="323"/>
                    </a:lnTo>
                    <a:close/>
                    <a:moveTo>
                      <a:pt x="361" y="317"/>
                    </a:moveTo>
                    <a:lnTo>
                      <a:pt x="361" y="319"/>
                    </a:lnTo>
                    <a:lnTo>
                      <a:pt x="361" y="321"/>
                    </a:lnTo>
                    <a:lnTo>
                      <a:pt x="361" y="319"/>
                    </a:lnTo>
                    <a:lnTo>
                      <a:pt x="361" y="321"/>
                    </a:lnTo>
                    <a:lnTo>
                      <a:pt x="361" y="319"/>
                    </a:lnTo>
                    <a:lnTo>
                      <a:pt x="361" y="317"/>
                    </a:lnTo>
                    <a:close/>
                    <a:moveTo>
                      <a:pt x="370" y="336"/>
                    </a:moveTo>
                    <a:lnTo>
                      <a:pt x="368" y="336"/>
                    </a:lnTo>
                    <a:lnTo>
                      <a:pt x="368" y="335"/>
                    </a:lnTo>
                    <a:lnTo>
                      <a:pt x="366" y="335"/>
                    </a:lnTo>
                    <a:lnTo>
                      <a:pt x="365" y="335"/>
                    </a:lnTo>
                    <a:lnTo>
                      <a:pt x="365" y="333"/>
                    </a:lnTo>
                    <a:lnTo>
                      <a:pt x="363" y="333"/>
                    </a:lnTo>
                    <a:lnTo>
                      <a:pt x="365" y="333"/>
                    </a:lnTo>
                    <a:lnTo>
                      <a:pt x="363" y="333"/>
                    </a:lnTo>
                    <a:lnTo>
                      <a:pt x="363" y="331"/>
                    </a:lnTo>
                    <a:lnTo>
                      <a:pt x="361" y="331"/>
                    </a:lnTo>
                    <a:lnTo>
                      <a:pt x="363" y="329"/>
                    </a:lnTo>
                    <a:lnTo>
                      <a:pt x="361" y="329"/>
                    </a:lnTo>
                    <a:lnTo>
                      <a:pt x="361" y="327"/>
                    </a:lnTo>
                    <a:lnTo>
                      <a:pt x="363" y="327"/>
                    </a:lnTo>
                    <a:lnTo>
                      <a:pt x="363" y="325"/>
                    </a:lnTo>
                    <a:lnTo>
                      <a:pt x="361" y="323"/>
                    </a:lnTo>
                    <a:lnTo>
                      <a:pt x="363" y="323"/>
                    </a:lnTo>
                    <a:lnTo>
                      <a:pt x="361" y="323"/>
                    </a:lnTo>
                    <a:lnTo>
                      <a:pt x="361" y="321"/>
                    </a:lnTo>
                    <a:lnTo>
                      <a:pt x="361" y="323"/>
                    </a:lnTo>
                    <a:lnTo>
                      <a:pt x="361" y="325"/>
                    </a:lnTo>
                    <a:lnTo>
                      <a:pt x="361" y="323"/>
                    </a:lnTo>
                    <a:lnTo>
                      <a:pt x="361" y="325"/>
                    </a:lnTo>
                    <a:lnTo>
                      <a:pt x="363" y="325"/>
                    </a:lnTo>
                    <a:lnTo>
                      <a:pt x="363" y="327"/>
                    </a:lnTo>
                    <a:lnTo>
                      <a:pt x="361" y="327"/>
                    </a:lnTo>
                    <a:lnTo>
                      <a:pt x="361" y="329"/>
                    </a:lnTo>
                    <a:lnTo>
                      <a:pt x="363" y="331"/>
                    </a:lnTo>
                    <a:lnTo>
                      <a:pt x="363" y="333"/>
                    </a:lnTo>
                    <a:lnTo>
                      <a:pt x="365" y="333"/>
                    </a:lnTo>
                    <a:lnTo>
                      <a:pt x="363" y="333"/>
                    </a:lnTo>
                    <a:lnTo>
                      <a:pt x="365" y="333"/>
                    </a:lnTo>
                    <a:lnTo>
                      <a:pt x="365" y="335"/>
                    </a:lnTo>
                    <a:lnTo>
                      <a:pt x="366" y="335"/>
                    </a:lnTo>
                    <a:lnTo>
                      <a:pt x="368" y="335"/>
                    </a:lnTo>
                    <a:lnTo>
                      <a:pt x="368" y="336"/>
                    </a:lnTo>
                    <a:lnTo>
                      <a:pt x="370" y="336"/>
                    </a:lnTo>
                    <a:lnTo>
                      <a:pt x="368" y="336"/>
                    </a:lnTo>
                    <a:lnTo>
                      <a:pt x="370" y="336"/>
                    </a:lnTo>
                    <a:lnTo>
                      <a:pt x="368" y="336"/>
                    </a:lnTo>
                    <a:lnTo>
                      <a:pt x="370" y="336"/>
                    </a:lnTo>
                    <a:close/>
                    <a:moveTo>
                      <a:pt x="368" y="336"/>
                    </a:moveTo>
                    <a:lnTo>
                      <a:pt x="370" y="336"/>
                    </a:lnTo>
                    <a:lnTo>
                      <a:pt x="370" y="338"/>
                    </a:lnTo>
                    <a:lnTo>
                      <a:pt x="370" y="340"/>
                    </a:lnTo>
                    <a:lnTo>
                      <a:pt x="370" y="342"/>
                    </a:lnTo>
                    <a:lnTo>
                      <a:pt x="372" y="342"/>
                    </a:lnTo>
                    <a:lnTo>
                      <a:pt x="374" y="342"/>
                    </a:lnTo>
                    <a:lnTo>
                      <a:pt x="372" y="342"/>
                    </a:lnTo>
                    <a:lnTo>
                      <a:pt x="374" y="342"/>
                    </a:lnTo>
                    <a:lnTo>
                      <a:pt x="374" y="344"/>
                    </a:lnTo>
                    <a:lnTo>
                      <a:pt x="376" y="344"/>
                    </a:lnTo>
                    <a:lnTo>
                      <a:pt x="376" y="346"/>
                    </a:lnTo>
                    <a:lnTo>
                      <a:pt x="376" y="344"/>
                    </a:lnTo>
                    <a:lnTo>
                      <a:pt x="376" y="346"/>
                    </a:lnTo>
                    <a:lnTo>
                      <a:pt x="376" y="344"/>
                    </a:lnTo>
                    <a:lnTo>
                      <a:pt x="374" y="344"/>
                    </a:lnTo>
                    <a:lnTo>
                      <a:pt x="374" y="342"/>
                    </a:lnTo>
                    <a:lnTo>
                      <a:pt x="372" y="342"/>
                    </a:lnTo>
                    <a:lnTo>
                      <a:pt x="372" y="340"/>
                    </a:lnTo>
                    <a:lnTo>
                      <a:pt x="370" y="340"/>
                    </a:lnTo>
                    <a:lnTo>
                      <a:pt x="370" y="338"/>
                    </a:lnTo>
                    <a:lnTo>
                      <a:pt x="370" y="336"/>
                    </a:lnTo>
                    <a:lnTo>
                      <a:pt x="368" y="336"/>
                    </a:lnTo>
                    <a:close/>
                    <a:moveTo>
                      <a:pt x="376" y="346"/>
                    </a:moveTo>
                    <a:lnTo>
                      <a:pt x="376" y="348"/>
                    </a:lnTo>
                    <a:lnTo>
                      <a:pt x="376" y="350"/>
                    </a:lnTo>
                    <a:lnTo>
                      <a:pt x="376" y="348"/>
                    </a:lnTo>
                    <a:lnTo>
                      <a:pt x="376" y="346"/>
                    </a:lnTo>
                    <a:close/>
                    <a:moveTo>
                      <a:pt x="376" y="348"/>
                    </a:moveTo>
                    <a:lnTo>
                      <a:pt x="378" y="350"/>
                    </a:lnTo>
                    <a:lnTo>
                      <a:pt x="376" y="348"/>
                    </a:lnTo>
                    <a:close/>
                    <a:moveTo>
                      <a:pt x="378" y="350"/>
                    </a:moveTo>
                    <a:lnTo>
                      <a:pt x="376" y="350"/>
                    </a:lnTo>
                    <a:lnTo>
                      <a:pt x="378" y="350"/>
                    </a:lnTo>
                    <a:lnTo>
                      <a:pt x="376" y="350"/>
                    </a:lnTo>
                    <a:lnTo>
                      <a:pt x="378" y="350"/>
                    </a:lnTo>
                    <a:close/>
                    <a:moveTo>
                      <a:pt x="378" y="354"/>
                    </a:moveTo>
                    <a:lnTo>
                      <a:pt x="380" y="354"/>
                    </a:lnTo>
                    <a:lnTo>
                      <a:pt x="380" y="356"/>
                    </a:lnTo>
                    <a:lnTo>
                      <a:pt x="380" y="358"/>
                    </a:lnTo>
                    <a:lnTo>
                      <a:pt x="380" y="356"/>
                    </a:lnTo>
                    <a:lnTo>
                      <a:pt x="380" y="358"/>
                    </a:lnTo>
                    <a:lnTo>
                      <a:pt x="382" y="358"/>
                    </a:lnTo>
                    <a:lnTo>
                      <a:pt x="382" y="360"/>
                    </a:lnTo>
                    <a:lnTo>
                      <a:pt x="384" y="360"/>
                    </a:lnTo>
                    <a:lnTo>
                      <a:pt x="384" y="361"/>
                    </a:lnTo>
                    <a:lnTo>
                      <a:pt x="384" y="360"/>
                    </a:lnTo>
                    <a:lnTo>
                      <a:pt x="384" y="361"/>
                    </a:lnTo>
                    <a:lnTo>
                      <a:pt x="386" y="361"/>
                    </a:lnTo>
                    <a:lnTo>
                      <a:pt x="388" y="361"/>
                    </a:lnTo>
                    <a:lnTo>
                      <a:pt x="388" y="363"/>
                    </a:lnTo>
                    <a:lnTo>
                      <a:pt x="388" y="365"/>
                    </a:lnTo>
                    <a:lnTo>
                      <a:pt x="390" y="365"/>
                    </a:lnTo>
                    <a:lnTo>
                      <a:pt x="388" y="365"/>
                    </a:lnTo>
                    <a:lnTo>
                      <a:pt x="390" y="367"/>
                    </a:lnTo>
                    <a:lnTo>
                      <a:pt x="390" y="369"/>
                    </a:lnTo>
                    <a:lnTo>
                      <a:pt x="391" y="369"/>
                    </a:lnTo>
                    <a:lnTo>
                      <a:pt x="391" y="371"/>
                    </a:lnTo>
                    <a:lnTo>
                      <a:pt x="390" y="371"/>
                    </a:lnTo>
                    <a:lnTo>
                      <a:pt x="390" y="373"/>
                    </a:lnTo>
                    <a:lnTo>
                      <a:pt x="390" y="371"/>
                    </a:lnTo>
                    <a:lnTo>
                      <a:pt x="390" y="373"/>
                    </a:lnTo>
                    <a:lnTo>
                      <a:pt x="390" y="371"/>
                    </a:lnTo>
                    <a:lnTo>
                      <a:pt x="390" y="373"/>
                    </a:lnTo>
                    <a:lnTo>
                      <a:pt x="390" y="371"/>
                    </a:lnTo>
                    <a:lnTo>
                      <a:pt x="390" y="373"/>
                    </a:lnTo>
                    <a:lnTo>
                      <a:pt x="388" y="375"/>
                    </a:lnTo>
                    <a:lnTo>
                      <a:pt x="388" y="377"/>
                    </a:lnTo>
                    <a:lnTo>
                      <a:pt x="388" y="379"/>
                    </a:lnTo>
                    <a:lnTo>
                      <a:pt x="388" y="381"/>
                    </a:lnTo>
                    <a:lnTo>
                      <a:pt x="390" y="381"/>
                    </a:lnTo>
                    <a:lnTo>
                      <a:pt x="390" y="383"/>
                    </a:lnTo>
                    <a:lnTo>
                      <a:pt x="391" y="383"/>
                    </a:lnTo>
                    <a:lnTo>
                      <a:pt x="391" y="385"/>
                    </a:lnTo>
                    <a:lnTo>
                      <a:pt x="391" y="386"/>
                    </a:lnTo>
                    <a:lnTo>
                      <a:pt x="391" y="388"/>
                    </a:lnTo>
                    <a:lnTo>
                      <a:pt x="391" y="386"/>
                    </a:lnTo>
                    <a:lnTo>
                      <a:pt x="391" y="388"/>
                    </a:lnTo>
                    <a:lnTo>
                      <a:pt x="391" y="386"/>
                    </a:lnTo>
                    <a:lnTo>
                      <a:pt x="391" y="385"/>
                    </a:lnTo>
                    <a:lnTo>
                      <a:pt x="391" y="383"/>
                    </a:lnTo>
                    <a:lnTo>
                      <a:pt x="390" y="383"/>
                    </a:lnTo>
                    <a:lnTo>
                      <a:pt x="391" y="383"/>
                    </a:lnTo>
                    <a:lnTo>
                      <a:pt x="390" y="383"/>
                    </a:lnTo>
                    <a:lnTo>
                      <a:pt x="390" y="381"/>
                    </a:lnTo>
                    <a:lnTo>
                      <a:pt x="390" y="379"/>
                    </a:lnTo>
                    <a:lnTo>
                      <a:pt x="388" y="379"/>
                    </a:lnTo>
                    <a:lnTo>
                      <a:pt x="388" y="377"/>
                    </a:lnTo>
                    <a:lnTo>
                      <a:pt x="388" y="375"/>
                    </a:lnTo>
                    <a:lnTo>
                      <a:pt x="388" y="377"/>
                    </a:lnTo>
                    <a:lnTo>
                      <a:pt x="388" y="375"/>
                    </a:lnTo>
                    <a:lnTo>
                      <a:pt x="390" y="375"/>
                    </a:lnTo>
                    <a:lnTo>
                      <a:pt x="390" y="373"/>
                    </a:lnTo>
                    <a:lnTo>
                      <a:pt x="390" y="375"/>
                    </a:lnTo>
                    <a:lnTo>
                      <a:pt x="390" y="373"/>
                    </a:lnTo>
                    <a:lnTo>
                      <a:pt x="391" y="371"/>
                    </a:lnTo>
                    <a:lnTo>
                      <a:pt x="390" y="371"/>
                    </a:lnTo>
                    <a:lnTo>
                      <a:pt x="391" y="371"/>
                    </a:lnTo>
                    <a:lnTo>
                      <a:pt x="391" y="369"/>
                    </a:lnTo>
                    <a:lnTo>
                      <a:pt x="393" y="369"/>
                    </a:lnTo>
                    <a:lnTo>
                      <a:pt x="395" y="369"/>
                    </a:lnTo>
                    <a:lnTo>
                      <a:pt x="397" y="369"/>
                    </a:lnTo>
                    <a:lnTo>
                      <a:pt x="395" y="369"/>
                    </a:lnTo>
                    <a:lnTo>
                      <a:pt x="397" y="369"/>
                    </a:lnTo>
                    <a:lnTo>
                      <a:pt x="397" y="371"/>
                    </a:lnTo>
                    <a:lnTo>
                      <a:pt x="399" y="371"/>
                    </a:lnTo>
                    <a:lnTo>
                      <a:pt x="401" y="371"/>
                    </a:lnTo>
                    <a:lnTo>
                      <a:pt x="401" y="373"/>
                    </a:lnTo>
                    <a:lnTo>
                      <a:pt x="403" y="373"/>
                    </a:lnTo>
                    <a:lnTo>
                      <a:pt x="405" y="371"/>
                    </a:lnTo>
                    <a:lnTo>
                      <a:pt x="405" y="373"/>
                    </a:lnTo>
                    <a:lnTo>
                      <a:pt x="407" y="373"/>
                    </a:lnTo>
                    <a:lnTo>
                      <a:pt x="405" y="373"/>
                    </a:lnTo>
                    <a:lnTo>
                      <a:pt x="405" y="371"/>
                    </a:lnTo>
                    <a:lnTo>
                      <a:pt x="403" y="371"/>
                    </a:lnTo>
                    <a:lnTo>
                      <a:pt x="403" y="373"/>
                    </a:lnTo>
                    <a:lnTo>
                      <a:pt x="401" y="373"/>
                    </a:lnTo>
                    <a:lnTo>
                      <a:pt x="401" y="371"/>
                    </a:lnTo>
                    <a:lnTo>
                      <a:pt x="403" y="371"/>
                    </a:lnTo>
                    <a:lnTo>
                      <a:pt x="403" y="369"/>
                    </a:lnTo>
                    <a:lnTo>
                      <a:pt x="405" y="369"/>
                    </a:lnTo>
                    <a:lnTo>
                      <a:pt x="403" y="369"/>
                    </a:lnTo>
                    <a:lnTo>
                      <a:pt x="405" y="371"/>
                    </a:lnTo>
                    <a:lnTo>
                      <a:pt x="407" y="371"/>
                    </a:lnTo>
                    <a:lnTo>
                      <a:pt x="407" y="373"/>
                    </a:lnTo>
                    <a:lnTo>
                      <a:pt x="407" y="371"/>
                    </a:lnTo>
                    <a:lnTo>
                      <a:pt x="409" y="371"/>
                    </a:lnTo>
                    <a:lnTo>
                      <a:pt x="409" y="369"/>
                    </a:lnTo>
                    <a:lnTo>
                      <a:pt x="409" y="371"/>
                    </a:lnTo>
                    <a:lnTo>
                      <a:pt x="407" y="371"/>
                    </a:lnTo>
                    <a:lnTo>
                      <a:pt x="405" y="371"/>
                    </a:lnTo>
                    <a:lnTo>
                      <a:pt x="405" y="369"/>
                    </a:lnTo>
                    <a:lnTo>
                      <a:pt x="403" y="369"/>
                    </a:lnTo>
                    <a:lnTo>
                      <a:pt x="405" y="369"/>
                    </a:lnTo>
                    <a:lnTo>
                      <a:pt x="403" y="369"/>
                    </a:lnTo>
                    <a:lnTo>
                      <a:pt x="403" y="371"/>
                    </a:lnTo>
                    <a:lnTo>
                      <a:pt x="401" y="371"/>
                    </a:lnTo>
                    <a:lnTo>
                      <a:pt x="401" y="369"/>
                    </a:lnTo>
                    <a:lnTo>
                      <a:pt x="399" y="369"/>
                    </a:lnTo>
                    <a:lnTo>
                      <a:pt x="399" y="371"/>
                    </a:lnTo>
                    <a:lnTo>
                      <a:pt x="397" y="371"/>
                    </a:lnTo>
                    <a:lnTo>
                      <a:pt x="397" y="369"/>
                    </a:lnTo>
                    <a:lnTo>
                      <a:pt x="395" y="369"/>
                    </a:lnTo>
                    <a:lnTo>
                      <a:pt x="393" y="369"/>
                    </a:lnTo>
                    <a:lnTo>
                      <a:pt x="391" y="369"/>
                    </a:lnTo>
                    <a:lnTo>
                      <a:pt x="391" y="367"/>
                    </a:lnTo>
                    <a:lnTo>
                      <a:pt x="390" y="367"/>
                    </a:lnTo>
                    <a:lnTo>
                      <a:pt x="390" y="365"/>
                    </a:lnTo>
                    <a:lnTo>
                      <a:pt x="388" y="365"/>
                    </a:lnTo>
                    <a:lnTo>
                      <a:pt x="390" y="365"/>
                    </a:lnTo>
                    <a:lnTo>
                      <a:pt x="388" y="365"/>
                    </a:lnTo>
                    <a:lnTo>
                      <a:pt x="388" y="363"/>
                    </a:lnTo>
                    <a:lnTo>
                      <a:pt x="388" y="365"/>
                    </a:lnTo>
                    <a:lnTo>
                      <a:pt x="388" y="363"/>
                    </a:lnTo>
                    <a:lnTo>
                      <a:pt x="388" y="361"/>
                    </a:lnTo>
                    <a:lnTo>
                      <a:pt x="386" y="361"/>
                    </a:lnTo>
                    <a:lnTo>
                      <a:pt x="384" y="361"/>
                    </a:lnTo>
                    <a:lnTo>
                      <a:pt x="384" y="360"/>
                    </a:lnTo>
                    <a:lnTo>
                      <a:pt x="382" y="360"/>
                    </a:lnTo>
                    <a:lnTo>
                      <a:pt x="382" y="358"/>
                    </a:lnTo>
                    <a:lnTo>
                      <a:pt x="380" y="358"/>
                    </a:lnTo>
                    <a:lnTo>
                      <a:pt x="380" y="356"/>
                    </a:lnTo>
                    <a:lnTo>
                      <a:pt x="380" y="358"/>
                    </a:lnTo>
                    <a:lnTo>
                      <a:pt x="380" y="356"/>
                    </a:lnTo>
                    <a:lnTo>
                      <a:pt x="380" y="354"/>
                    </a:lnTo>
                    <a:lnTo>
                      <a:pt x="378" y="354"/>
                    </a:lnTo>
                    <a:lnTo>
                      <a:pt x="378" y="352"/>
                    </a:lnTo>
                    <a:lnTo>
                      <a:pt x="378" y="354"/>
                    </a:lnTo>
                    <a:lnTo>
                      <a:pt x="378" y="352"/>
                    </a:lnTo>
                    <a:lnTo>
                      <a:pt x="378" y="350"/>
                    </a:lnTo>
                    <a:lnTo>
                      <a:pt x="376" y="350"/>
                    </a:lnTo>
                    <a:lnTo>
                      <a:pt x="378" y="350"/>
                    </a:lnTo>
                    <a:lnTo>
                      <a:pt x="378" y="352"/>
                    </a:lnTo>
                    <a:lnTo>
                      <a:pt x="376" y="352"/>
                    </a:lnTo>
                    <a:lnTo>
                      <a:pt x="378" y="352"/>
                    </a:lnTo>
                    <a:lnTo>
                      <a:pt x="378" y="354"/>
                    </a:lnTo>
                    <a:close/>
                    <a:moveTo>
                      <a:pt x="395" y="371"/>
                    </a:moveTo>
                    <a:lnTo>
                      <a:pt x="395" y="369"/>
                    </a:lnTo>
                    <a:lnTo>
                      <a:pt x="393" y="369"/>
                    </a:lnTo>
                    <a:lnTo>
                      <a:pt x="391" y="369"/>
                    </a:lnTo>
                    <a:lnTo>
                      <a:pt x="393" y="369"/>
                    </a:lnTo>
                    <a:lnTo>
                      <a:pt x="395" y="369"/>
                    </a:lnTo>
                    <a:lnTo>
                      <a:pt x="395" y="371"/>
                    </a:lnTo>
                    <a:lnTo>
                      <a:pt x="397" y="371"/>
                    </a:lnTo>
                    <a:lnTo>
                      <a:pt x="395" y="371"/>
                    </a:lnTo>
                    <a:close/>
                    <a:moveTo>
                      <a:pt x="388" y="367"/>
                    </a:moveTo>
                    <a:lnTo>
                      <a:pt x="388" y="365"/>
                    </a:lnTo>
                    <a:lnTo>
                      <a:pt x="388" y="367"/>
                    </a:lnTo>
                    <a:close/>
                    <a:moveTo>
                      <a:pt x="518" y="250"/>
                    </a:moveTo>
                    <a:lnTo>
                      <a:pt x="520" y="250"/>
                    </a:lnTo>
                    <a:lnTo>
                      <a:pt x="518" y="250"/>
                    </a:lnTo>
                    <a:close/>
                    <a:moveTo>
                      <a:pt x="520" y="250"/>
                    </a:moveTo>
                    <a:lnTo>
                      <a:pt x="518" y="250"/>
                    </a:lnTo>
                    <a:lnTo>
                      <a:pt x="520" y="250"/>
                    </a:lnTo>
                    <a:lnTo>
                      <a:pt x="520" y="252"/>
                    </a:lnTo>
                    <a:lnTo>
                      <a:pt x="520" y="250"/>
                    </a:lnTo>
                    <a:close/>
                    <a:moveTo>
                      <a:pt x="520" y="250"/>
                    </a:moveTo>
                    <a:lnTo>
                      <a:pt x="520" y="252"/>
                    </a:lnTo>
                    <a:lnTo>
                      <a:pt x="518" y="252"/>
                    </a:lnTo>
                    <a:lnTo>
                      <a:pt x="520" y="252"/>
                    </a:lnTo>
                    <a:lnTo>
                      <a:pt x="518" y="252"/>
                    </a:lnTo>
                    <a:lnTo>
                      <a:pt x="518" y="254"/>
                    </a:lnTo>
                    <a:lnTo>
                      <a:pt x="518" y="252"/>
                    </a:lnTo>
                    <a:lnTo>
                      <a:pt x="520" y="252"/>
                    </a:lnTo>
                    <a:lnTo>
                      <a:pt x="520" y="250"/>
                    </a:lnTo>
                    <a:close/>
                    <a:moveTo>
                      <a:pt x="411" y="373"/>
                    </a:moveTo>
                    <a:lnTo>
                      <a:pt x="411" y="371"/>
                    </a:lnTo>
                    <a:lnTo>
                      <a:pt x="413" y="373"/>
                    </a:lnTo>
                    <a:lnTo>
                      <a:pt x="411" y="373"/>
                    </a:lnTo>
                    <a:close/>
                    <a:moveTo>
                      <a:pt x="391" y="394"/>
                    </a:moveTo>
                    <a:lnTo>
                      <a:pt x="391" y="392"/>
                    </a:lnTo>
                    <a:lnTo>
                      <a:pt x="390" y="392"/>
                    </a:lnTo>
                    <a:lnTo>
                      <a:pt x="391" y="394"/>
                    </a:lnTo>
                    <a:close/>
                    <a:moveTo>
                      <a:pt x="407" y="373"/>
                    </a:moveTo>
                    <a:lnTo>
                      <a:pt x="407" y="375"/>
                    </a:lnTo>
                    <a:lnTo>
                      <a:pt x="407" y="373"/>
                    </a:lnTo>
                    <a:close/>
                    <a:moveTo>
                      <a:pt x="413" y="373"/>
                    </a:moveTo>
                    <a:lnTo>
                      <a:pt x="413" y="375"/>
                    </a:lnTo>
                    <a:lnTo>
                      <a:pt x="413" y="373"/>
                    </a:lnTo>
                    <a:close/>
                    <a:moveTo>
                      <a:pt x="391" y="396"/>
                    </a:moveTo>
                    <a:lnTo>
                      <a:pt x="391" y="398"/>
                    </a:lnTo>
                    <a:lnTo>
                      <a:pt x="391" y="396"/>
                    </a:lnTo>
                    <a:close/>
                    <a:moveTo>
                      <a:pt x="390" y="413"/>
                    </a:moveTo>
                    <a:lnTo>
                      <a:pt x="391" y="411"/>
                    </a:lnTo>
                    <a:lnTo>
                      <a:pt x="391" y="410"/>
                    </a:lnTo>
                    <a:lnTo>
                      <a:pt x="391" y="408"/>
                    </a:lnTo>
                    <a:lnTo>
                      <a:pt x="390" y="408"/>
                    </a:lnTo>
                    <a:lnTo>
                      <a:pt x="390" y="406"/>
                    </a:lnTo>
                    <a:lnTo>
                      <a:pt x="391" y="406"/>
                    </a:lnTo>
                    <a:lnTo>
                      <a:pt x="391" y="404"/>
                    </a:lnTo>
                    <a:lnTo>
                      <a:pt x="390" y="404"/>
                    </a:lnTo>
                    <a:lnTo>
                      <a:pt x="391" y="404"/>
                    </a:lnTo>
                    <a:lnTo>
                      <a:pt x="390" y="404"/>
                    </a:lnTo>
                    <a:lnTo>
                      <a:pt x="390" y="402"/>
                    </a:lnTo>
                    <a:lnTo>
                      <a:pt x="390" y="400"/>
                    </a:lnTo>
                    <a:lnTo>
                      <a:pt x="388" y="400"/>
                    </a:lnTo>
                    <a:lnTo>
                      <a:pt x="390" y="400"/>
                    </a:lnTo>
                    <a:lnTo>
                      <a:pt x="388" y="400"/>
                    </a:lnTo>
                    <a:lnTo>
                      <a:pt x="388" y="402"/>
                    </a:lnTo>
                    <a:lnTo>
                      <a:pt x="390" y="404"/>
                    </a:lnTo>
                    <a:lnTo>
                      <a:pt x="391" y="406"/>
                    </a:lnTo>
                    <a:lnTo>
                      <a:pt x="390" y="406"/>
                    </a:lnTo>
                    <a:lnTo>
                      <a:pt x="390" y="408"/>
                    </a:lnTo>
                    <a:lnTo>
                      <a:pt x="388" y="408"/>
                    </a:lnTo>
                    <a:lnTo>
                      <a:pt x="390" y="408"/>
                    </a:lnTo>
                    <a:lnTo>
                      <a:pt x="391" y="408"/>
                    </a:lnTo>
                    <a:lnTo>
                      <a:pt x="391" y="410"/>
                    </a:lnTo>
                    <a:lnTo>
                      <a:pt x="391" y="411"/>
                    </a:lnTo>
                    <a:lnTo>
                      <a:pt x="390" y="411"/>
                    </a:lnTo>
                    <a:lnTo>
                      <a:pt x="390" y="413"/>
                    </a:lnTo>
                    <a:lnTo>
                      <a:pt x="390" y="415"/>
                    </a:lnTo>
                    <a:lnTo>
                      <a:pt x="391" y="417"/>
                    </a:lnTo>
                    <a:lnTo>
                      <a:pt x="390" y="417"/>
                    </a:lnTo>
                    <a:lnTo>
                      <a:pt x="390" y="419"/>
                    </a:lnTo>
                    <a:lnTo>
                      <a:pt x="390" y="421"/>
                    </a:lnTo>
                    <a:lnTo>
                      <a:pt x="390" y="423"/>
                    </a:lnTo>
                    <a:lnTo>
                      <a:pt x="390" y="425"/>
                    </a:lnTo>
                    <a:lnTo>
                      <a:pt x="390" y="427"/>
                    </a:lnTo>
                    <a:lnTo>
                      <a:pt x="390" y="429"/>
                    </a:lnTo>
                    <a:lnTo>
                      <a:pt x="388" y="429"/>
                    </a:lnTo>
                    <a:lnTo>
                      <a:pt x="390" y="429"/>
                    </a:lnTo>
                    <a:lnTo>
                      <a:pt x="388" y="429"/>
                    </a:lnTo>
                    <a:lnTo>
                      <a:pt x="388" y="431"/>
                    </a:lnTo>
                    <a:lnTo>
                      <a:pt x="390" y="431"/>
                    </a:lnTo>
                    <a:lnTo>
                      <a:pt x="390" y="433"/>
                    </a:lnTo>
                    <a:lnTo>
                      <a:pt x="388" y="433"/>
                    </a:lnTo>
                    <a:lnTo>
                      <a:pt x="388" y="435"/>
                    </a:lnTo>
                    <a:lnTo>
                      <a:pt x="390" y="435"/>
                    </a:lnTo>
                    <a:lnTo>
                      <a:pt x="390" y="433"/>
                    </a:lnTo>
                    <a:lnTo>
                      <a:pt x="391" y="435"/>
                    </a:lnTo>
                    <a:lnTo>
                      <a:pt x="390" y="435"/>
                    </a:lnTo>
                    <a:lnTo>
                      <a:pt x="390" y="436"/>
                    </a:lnTo>
                    <a:lnTo>
                      <a:pt x="390" y="438"/>
                    </a:lnTo>
                    <a:lnTo>
                      <a:pt x="390" y="440"/>
                    </a:lnTo>
                    <a:lnTo>
                      <a:pt x="390" y="442"/>
                    </a:lnTo>
                    <a:lnTo>
                      <a:pt x="388" y="442"/>
                    </a:lnTo>
                    <a:lnTo>
                      <a:pt x="388" y="444"/>
                    </a:lnTo>
                    <a:lnTo>
                      <a:pt x="390" y="444"/>
                    </a:lnTo>
                    <a:lnTo>
                      <a:pt x="388" y="444"/>
                    </a:lnTo>
                    <a:lnTo>
                      <a:pt x="390" y="446"/>
                    </a:lnTo>
                    <a:lnTo>
                      <a:pt x="388" y="446"/>
                    </a:lnTo>
                    <a:lnTo>
                      <a:pt x="390" y="446"/>
                    </a:lnTo>
                    <a:lnTo>
                      <a:pt x="390" y="444"/>
                    </a:lnTo>
                    <a:lnTo>
                      <a:pt x="390" y="446"/>
                    </a:lnTo>
                    <a:lnTo>
                      <a:pt x="390" y="444"/>
                    </a:lnTo>
                    <a:lnTo>
                      <a:pt x="388" y="444"/>
                    </a:lnTo>
                    <a:lnTo>
                      <a:pt x="388" y="442"/>
                    </a:lnTo>
                    <a:lnTo>
                      <a:pt x="390" y="442"/>
                    </a:lnTo>
                    <a:lnTo>
                      <a:pt x="390" y="440"/>
                    </a:lnTo>
                    <a:lnTo>
                      <a:pt x="390" y="438"/>
                    </a:lnTo>
                    <a:lnTo>
                      <a:pt x="390" y="436"/>
                    </a:lnTo>
                    <a:lnTo>
                      <a:pt x="390" y="435"/>
                    </a:lnTo>
                    <a:lnTo>
                      <a:pt x="391" y="435"/>
                    </a:lnTo>
                    <a:lnTo>
                      <a:pt x="391" y="433"/>
                    </a:lnTo>
                    <a:lnTo>
                      <a:pt x="390" y="433"/>
                    </a:lnTo>
                    <a:lnTo>
                      <a:pt x="390" y="435"/>
                    </a:lnTo>
                    <a:lnTo>
                      <a:pt x="388" y="435"/>
                    </a:lnTo>
                    <a:lnTo>
                      <a:pt x="388" y="433"/>
                    </a:lnTo>
                    <a:lnTo>
                      <a:pt x="390" y="433"/>
                    </a:lnTo>
                    <a:lnTo>
                      <a:pt x="390" y="431"/>
                    </a:lnTo>
                    <a:lnTo>
                      <a:pt x="388" y="431"/>
                    </a:lnTo>
                    <a:lnTo>
                      <a:pt x="388" y="429"/>
                    </a:lnTo>
                    <a:lnTo>
                      <a:pt x="390" y="429"/>
                    </a:lnTo>
                    <a:lnTo>
                      <a:pt x="390" y="427"/>
                    </a:lnTo>
                    <a:lnTo>
                      <a:pt x="391" y="427"/>
                    </a:lnTo>
                    <a:lnTo>
                      <a:pt x="390" y="425"/>
                    </a:lnTo>
                    <a:lnTo>
                      <a:pt x="391" y="423"/>
                    </a:lnTo>
                    <a:lnTo>
                      <a:pt x="390" y="423"/>
                    </a:lnTo>
                    <a:lnTo>
                      <a:pt x="391" y="423"/>
                    </a:lnTo>
                    <a:lnTo>
                      <a:pt x="390" y="423"/>
                    </a:lnTo>
                    <a:lnTo>
                      <a:pt x="390" y="421"/>
                    </a:lnTo>
                    <a:lnTo>
                      <a:pt x="391" y="421"/>
                    </a:lnTo>
                    <a:lnTo>
                      <a:pt x="391" y="423"/>
                    </a:lnTo>
                    <a:lnTo>
                      <a:pt x="391" y="421"/>
                    </a:lnTo>
                    <a:lnTo>
                      <a:pt x="390" y="421"/>
                    </a:lnTo>
                    <a:lnTo>
                      <a:pt x="390" y="419"/>
                    </a:lnTo>
                    <a:lnTo>
                      <a:pt x="391" y="419"/>
                    </a:lnTo>
                    <a:lnTo>
                      <a:pt x="390" y="419"/>
                    </a:lnTo>
                    <a:lnTo>
                      <a:pt x="391" y="417"/>
                    </a:lnTo>
                    <a:lnTo>
                      <a:pt x="391" y="415"/>
                    </a:lnTo>
                    <a:lnTo>
                      <a:pt x="390" y="415"/>
                    </a:lnTo>
                    <a:lnTo>
                      <a:pt x="390" y="413"/>
                    </a:lnTo>
                    <a:close/>
                    <a:moveTo>
                      <a:pt x="478" y="321"/>
                    </a:moveTo>
                    <a:lnTo>
                      <a:pt x="476" y="321"/>
                    </a:lnTo>
                    <a:lnTo>
                      <a:pt x="476" y="323"/>
                    </a:lnTo>
                    <a:lnTo>
                      <a:pt x="476" y="321"/>
                    </a:lnTo>
                    <a:lnTo>
                      <a:pt x="476" y="323"/>
                    </a:lnTo>
                    <a:lnTo>
                      <a:pt x="482" y="317"/>
                    </a:lnTo>
                    <a:lnTo>
                      <a:pt x="480" y="317"/>
                    </a:lnTo>
                    <a:lnTo>
                      <a:pt x="478" y="317"/>
                    </a:lnTo>
                    <a:lnTo>
                      <a:pt x="478" y="319"/>
                    </a:lnTo>
                    <a:lnTo>
                      <a:pt x="478" y="321"/>
                    </a:lnTo>
                    <a:close/>
                    <a:moveTo>
                      <a:pt x="557" y="338"/>
                    </a:moveTo>
                    <a:lnTo>
                      <a:pt x="557" y="336"/>
                    </a:lnTo>
                    <a:lnTo>
                      <a:pt x="557" y="338"/>
                    </a:lnTo>
                    <a:close/>
                    <a:moveTo>
                      <a:pt x="557" y="336"/>
                    </a:moveTo>
                    <a:lnTo>
                      <a:pt x="557" y="335"/>
                    </a:lnTo>
                    <a:lnTo>
                      <a:pt x="557" y="336"/>
                    </a:lnTo>
                    <a:close/>
                    <a:moveTo>
                      <a:pt x="520" y="336"/>
                    </a:moveTo>
                    <a:lnTo>
                      <a:pt x="520" y="335"/>
                    </a:lnTo>
                    <a:lnTo>
                      <a:pt x="520" y="336"/>
                    </a:lnTo>
                    <a:close/>
                    <a:moveTo>
                      <a:pt x="441" y="377"/>
                    </a:moveTo>
                    <a:lnTo>
                      <a:pt x="441" y="379"/>
                    </a:lnTo>
                    <a:lnTo>
                      <a:pt x="441" y="377"/>
                    </a:lnTo>
                    <a:close/>
                    <a:moveTo>
                      <a:pt x="443" y="383"/>
                    </a:moveTo>
                    <a:lnTo>
                      <a:pt x="441" y="383"/>
                    </a:lnTo>
                    <a:lnTo>
                      <a:pt x="443" y="383"/>
                    </a:lnTo>
                    <a:close/>
                    <a:moveTo>
                      <a:pt x="493" y="317"/>
                    </a:moveTo>
                    <a:lnTo>
                      <a:pt x="499" y="317"/>
                    </a:lnTo>
                    <a:lnTo>
                      <a:pt x="501" y="317"/>
                    </a:lnTo>
                    <a:lnTo>
                      <a:pt x="499" y="315"/>
                    </a:lnTo>
                    <a:lnTo>
                      <a:pt x="501" y="315"/>
                    </a:lnTo>
                    <a:lnTo>
                      <a:pt x="499" y="315"/>
                    </a:lnTo>
                    <a:lnTo>
                      <a:pt x="499" y="317"/>
                    </a:lnTo>
                    <a:lnTo>
                      <a:pt x="499" y="315"/>
                    </a:lnTo>
                    <a:lnTo>
                      <a:pt x="497" y="315"/>
                    </a:lnTo>
                    <a:lnTo>
                      <a:pt x="497" y="313"/>
                    </a:lnTo>
                    <a:lnTo>
                      <a:pt x="495" y="313"/>
                    </a:lnTo>
                    <a:lnTo>
                      <a:pt x="495" y="311"/>
                    </a:lnTo>
                    <a:lnTo>
                      <a:pt x="497" y="311"/>
                    </a:lnTo>
                    <a:lnTo>
                      <a:pt x="495" y="311"/>
                    </a:lnTo>
                    <a:lnTo>
                      <a:pt x="495" y="313"/>
                    </a:lnTo>
                    <a:lnTo>
                      <a:pt x="495" y="315"/>
                    </a:lnTo>
                    <a:lnTo>
                      <a:pt x="493" y="315"/>
                    </a:lnTo>
                    <a:lnTo>
                      <a:pt x="493" y="317"/>
                    </a:lnTo>
                    <a:close/>
                    <a:moveTo>
                      <a:pt x="503" y="317"/>
                    </a:moveTo>
                    <a:lnTo>
                      <a:pt x="501" y="317"/>
                    </a:lnTo>
                    <a:lnTo>
                      <a:pt x="503" y="317"/>
                    </a:lnTo>
                    <a:close/>
                    <a:moveTo>
                      <a:pt x="505" y="317"/>
                    </a:moveTo>
                    <a:lnTo>
                      <a:pt x="507" y="319"/>
                    </a:lnTo>
                    <a:lnTo>
                      <a:pt x="507" y="317"/>
                    </a:lnTo>
                    <a:lnTo>
                      <a:pt x="505" y="317"/>
                    </a:lnTo>
                    <a:close/>
                    <a:moveTo>
                      <a:pt x="507" y="319"/>
                    </a:moveTo>
                    <a:lnTo>
                      <a:pt x="509" y="319"/>
                    </a:lnTo>
                    <a:lnTo>
                      <a:pt x="507" y="319"/>
                    </a:lnTo>
                    <a:close/>
                    <a:moveTo>
                      <a:pt x="334" y="102"/>
                    </a:moveTo>
                    <a:lnTo>
                      <a:pt x="332" y="102"/>
                    </a:lnTo>
                    <a:lnTo>
                      <a:pt x="334" y="102"/>
                    </a:lnTo>
                    <a:close/>
                    <a:moveTo>
                      <a:pt x="209" y="190"/>
                    </a:moveTo>
                    <a:lnTo>
                      <a:pt x="209" y="188"/>
                    </a:lnTo>
                    <a:lnTo>
                      <a:pt x="209" y="190"/>
                    </a:lnTo>
                    <a:close/>
                    <a:moveTo>
                      <a:pt x="213" y="177"/>
                    </a:moveTo>
                    <a:lnTo>
                      <a:pt x="211" y="177"/>
                    </a:lnTo>
                    <a:lnTo>
                      <a:pt x="213" y="177"/>
                    </a:lnTo>
                    <a:lnTo>
                      <a:pt x="211" y="177"/>
                    </a:lnTo>
                    <a:lnTo>
                      <a:pt x="213" y="177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" name="Freeform 150">
                <a:extLst>
                  <a:ext uri="{FF2B5EF4-FFF2-40B4-BE49-F238E27FC236}">
                    <a16:creationId xmlns="" xmlns:a16="http://schemas.microsoft.com/office/drawing/2014/main" id="{D05757F3-1BBB-47B6-8585-61F4CE4ACE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40600" y="1439863"/>
                <a:ext cx="923925" cy="693738"/>
              </a:xfrm>
              <a:custGeom>
                <a:avLst/>
                <a:gdLst>
                  <a:gd name="T0" fmla="*/ 581 w 582"/>
                  <a:gd name="T1" fmla="*/ 144 h 437"/>
                  <a:gd name="T2" fmla="*/ 563 w 582"/>
                  <a:gd name="T3" fmla="*/ 140 h 437"/>
                  <a:gd name="T4" fmla="*/ 579 w 582"/>
                  <a:gd name="T5" fmla="*/ 129 h 437"/>
                  <a:gd name="T6" fmla="*/ 571 w 582"/>
                  <a:gd name="T7" fmla="*/ 140 h 437"/>
                  <a:gd name="T8" fmla="*/ 546 w 582"/>
                  <a:gd name="T9" fmla="*/ 125 h 437"/>
                  <a:gd name="T10" fmla="*/ 575 w 582"/>
                  <a:gd name="T11" fmla="*/ 23 h 437"/>
                  <a:gd name="T12" fmla="*/ 534 w 582"/>
                  <a:gd name="T13" fmla="*/ 37 h 437"/>
                  <a:gd name="T14" fmla="*/ 425 w 582"/>
                  <a:gd name="T15" fmla="*/ 100 h 437"/>
                  <a:gd name="T16" fmla="*/ 417 w 582"/>
                  <a:gd name="T17" fmla="*/ 94 h 437"/>
                  <a:gd name="T18" fmla="*/ 362 w 582"/>
                  <a:gd name="T19" fmla="*/ 119 h 437"/>
                  <a:gd name="T20" fmla="*/ 335 w 582"/>
                  <a:gd name="T21" fmla="*/ 131 h 437"/>
                  <a:gd name="T22" fmla="*/ 337 w 582"/>
                  <a:gd name="T23" fmla="*/ 123 h 437"/>
                  <a:gd name="T24" fmla="*/ 337 w 582"/>
                  <a:gd name="T25" fmla="*/ 119 h 437"/>
                  <a:gd name="T26" fmla="*/ 335 w 582"/>
                  <a:gd name="T27" fmla="*/ 119 h 437"/>
                  <a:gd name="T28" fmla="*/ 333 w 582"/>
                  <a:gd name="T29" fmla="*/ 119 h 437"/>
                  <a:gd name="T30" fmla="*/ 333 w 582"/>
                  <a:gd name="T31" fmla="*/ 119 h 437"/>
                  <a:gd name="T32" fmla="*/ 344 w 582"/>
                  <a:gd name="T33" fmla="*/ 100 h 437"/>
                  <a:gd name="T34" fmla="*/ 327 w 582"/>
                  <a:gd name="T35" fmla="*/ 117 h 437"/>
                  <a:gd name="T36" fmla="*/ 325 w 582"/>
                  <a:gd name="T37" fmla="*/ 117 h 437"/>
                  <a:gd name="T38" fmla="*/ 333 w 582"/>
                  <a:gd name="T39" fmla="*/ 104 h 437"/>
                  <a:gd name="T40" fmla="*/ 329 w 582"/>
                  <a:gd name="T41" fmla="*/ 104 h 437"/>
                  <a:gd name="T42" fmla="*/ 321 w 582"/>
                  <a:gd name="T43" fmla="*/ 112 h 437"/>
                  <a:gd name="T44" fmla="*/ 315 w 582"/>
                  <a:gd name="T45" fmla="*/ 108 h 437"/>
                  <a:gd name="T46" fmla="*/ 298 w 582"/>
                  <a:gd name="T47" fmla="*/ 112 h 437"/>
                  <a:gd name="T48" fmla="*/ 306 w 582"/>
                  <a:gd name="T49" fmla="*/ 112 h 437"/>
                  <a:gd name="T50" fmla="*/ 298 w 582"/>
                  <a:gd name="T51" fmla="*/ 114 h 437"/>
                  <a:gd name="T52" fmla="*/ 292 w 582"/>
                  <a:gd name="T53" fmla="*/ 114 h 437"/>
                  <a:gd name="T54" fmla="*/ 271 w 582"/>
                  <a:gd name="T55" fmla="*/ 117 h 437"/>
                  <a:gd name="T56" fmla="*/ 173 w 582"/>
                  <a:gd name="T57" fmla="*/ 46 h 437"/>
                  <a:gd name="T58" fmla="*/ 169 w 582"/>
                  <a:gd name="T59" fmla="*/ 0 h 437"/>
                  <a:gd name="T60" fmla="*/ 143 w 582"/>
                  <a:gd name="T61" fmla="*/ 21 h 437"/>
                  <a:gd name="T62" fmla="*/ 146 w 582"/>
                  <a:gd name="T63" fmla="*/ 16 h 437"/>
                  <a:gd name="T64" fmla="*/ 454 w 582"/>
                  <a:gd name="T65" fmla="*/ 363 h 437"/>
                  <a:gd name="T66" fmla="*/ 398 w 582"/>
                  <a:gd name="T67" fmla="*/ 390 h 437"/>
                  <a:gd name="T68" fmla="*/ 392 w 582"/>
                  <a:gd name="T69" fmla="*/ 392 h 437"/>
                  <a:gd name="T70" fmla="*/ 360 w 582"/>
                  <a:gd name="T71" fmla="*/ 410 h 437"/>
                  <a:gd name="T72" fmla="*/ 358 w 582"/>
                  <a:gd name="T73" fmla="*/ 408 h 437"/>
                  <a:gd name="T74" fmla="*/ 354 w 582"/>
                  <a:gd name="T75" fmla="*/ 412 h 437"/>
                  <a:gd name="T76" fmla="*/ 360 w 582"/>
                  <a:gd name="T77" fmla="*/ 412 h 437"/>
                  <a:gd name="T78" fmla="*/ 348 w 582"/>
                  <a:gd name="T79" fmla="*/ 412 h 437"/>
                  <a:gd name="T80" fmla="*/ 360 w 582"/>
                  <a:gd name="T81" fmla="*/ 396 h 437"/>
                  <a:gd name="T82" fmla="*/ 333 w 582"/>
                  <a:gd name="T83" fmla="*/ 412 h 437"/>
                  <a:gd name="T84" fmla="*/ 331 w 582"/>
                  <a:gd name="T85" fmla="*/ 410 h 437"/>
                  <a:gd name="T86" fmla="*/ 329 w 582"/>
                  <a:gd name="T87" fmla="*/ 408 h 437"/>
                  <a:gd name="T88" fmla="*/ 287 w 582"/>
                  <a:gd name="T89" fmla="*/ 429 h 437"/>
                  <a:gd name="T90" fmla="*/ 300 w 582"/>
                  <a:gd name="T91" fmla="*/ 398 h 437"/>
                  <a:gd name="T92" fmla="*/ 296 w 582"/>
                  <a:gd name="T93" fmla="*/ 398 h 437"/>
                  <a:gd name="T94" fmla="*/ 98 w 582"/>
                  <a:gd name="T95" fmla="*/ 304 h 437"/>
                  <a:gd name="T96" fmla="*/ 98 w 582"/>
                  <a:gd name="T97" fmla="*/ 296 h 437"/>
                  <a:gd name="T98" fmla="*/ 96 w 582"/>
                  <a:gd name="T99" fmla="*/ 285 h 437"/>
                  <a:gd name="T100" fmla="*/ 2 w 582"/>
                  <a:gd name="T101" fmla="*/ 338 h 437"/>
                  <a:gd name="T102" fmla="*/ 25 w 582"/>
                  <a:gd name="T103" fmla="*/ 306 h 437"/>
                  <a:gd name="T104" fmla="*/ 106 w 582"/>
                  <a:gd name="T105" fmla="*/ 217 h 437"/>
                  <a:gd name="T106" fmla="*/ 54 w 582"/>
                  <a:gd name="T107" fmla="*/ 271 h 437"/>
                  <a:gd name="T108" fmla="*/ 12 w 582"/>
                  <a:gd name="T109" fmla="*/ 306 h 437"/>
                  <a:gd name="T110" fmla="*/ 118 w 582"/>
                  <a:gd name="T111" fmla="*/ 194 h 437"/>
                  <a:gd name="T112" fmla="*/ 116 w 582"/>
                  <a:gd name="T113" fmla="*/ 196 h 437"/>
                  <a:gd name="T114" fmla="*/ 114 w 582"/>
                  <a:gd name="T115" fmla="*/ 196 h 437"/>
                  <a:gd name="T116" fmla="*/ 25 w 582"/>
                  <a:gd name="T117" fmla="*/ 279 h 437"/>
                  <a:gd name="T118" fmla="*/ 35 w 582"/>
                  <a:gd name="T119" fmla="*/ 277 h 437"/>
                  <a:gd name="T120" fmla="*/ 25 w 582"/>
                  <a:gd name="T121" fmla="*/ 279 h 437"/>
                  <a:gd name="T122" fmla="*/ 10 w 582"/>
                  <a:gd name="T123" fmla="*/ 290 h 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82" h="437">
                    <a:moveTo>
                      <a:pt x="582" y="140"/>
                    </a:moveTo>
                    <a:lnTo>
                      <a:pt x="581" y="140"/>
                    </a:lnTo>
                    <a:lnTo>
                      <a:pt x="581" y="139"/>
                    </a:lnTo>
                    <a:lnTo>
                      <a:pt x="582" y="139"/>
                    </a:lnTo>
                    <a:lnTo>
                      <a:pt x="582" y="140"/>
                    </a:lnTo>
                    <a:close/>
                    <a:moveTo>
                      <a:pt x="575" y="146"/>
                    </a:moveTo>
                    <a:lnTo>
                      <a:pt x="575" y="144"/>
                    </a:lnTo>
                    <a:lnTo>
                      <a:pt x="577" y="144"/>
                    </a:lnTo>
                    <a:lnTo>
                      <a:pt x="577" y="142"/>
                    </a:lnTo>
                    <a:lnTo>
                      <a:pt x="579" y="142"/>
                    </a:lnTo>
                    <a:lnTo>
                      <a:pt x="581" y="142"/>
                    </a:lnTo>
                    <a:lnTo>
                      <a:pt x="581" y="144"/>
                    </a:lnTo>
                    <a:lnTo>
                      <a:pt x="579" y="144"/>
                    </a:lnTo>
                    <a:lnTo>
                      <a:pt x="579" y="146"/>
                    </a:lnTo>
                    <a:lnTo>
                      <a:pt x="577" y="146"/>
                    </a:lnTo>
                    <a:lnTo>
                      <a:pt x="577" y="148"/>
                    </a:lnTo>
                    <a:lnTo>
                      <a:pt x="577" y="146"/>
                    </a:lnTo>
                    <a:lnTo>
                      <a:pt x="575" y="146"/>
                    </a:lnTo>
                    <a:lnTo>
                      <a:pt x="575" y="148"/>
                    </a:lnTo>
                    <a:lnTo>
                      <a:pt x="575" y="146"/>
                    </a:lnTo>
                    <a:lnTo>
                      <a:pt x="573" y="146"/>
                    </a:lnTo>
                    <a:lnTo>
                      <a:pt x="575" y="146"/>
                    </a:lnTo>
                    <a:close/>
                    <a:moveTo>
                      <a:pt x="565" y="140"/>
                    </a:moveTo>
                    <a:lnTo>
                      <a:pt x="563" y="140"/>
                    </a:lnTo>
                    <a:lnTo>
                      <a:pt x="563" y="142"/>
                    </a:lnTo>
                    <a:lnTo>
                      <a:pt x="563" y="140"/>
                    </a:lnTo>
                    <a:lnTo>
                      <a:pt x="565" y="140"/>
                    </a:lnTo>
                    <a:close/>
                    <a:moveTo>
                      <a:pt x="569" y="135"/>
                    </a:moveTo>
                    <a:lnTo>
                      <a:pt x="569" y="133"/>
                    </a:lnTo>
                    <a:lnTo>
                      <a:pt x="569" y="135"/>
                    </a:lnTo>
                    <a:close/>
                    <a:moveTo>
                      <a:pt x="571" y="131"/>
                    </a:moveTo>
                    <a:lnTo>
                      <a:pt x="573" y="131"/>
                    </a:lnTo>
                    <a:lnTo>
                      <a:pt x="573" y="129"/>
                    </a:lnTo>
                    <a:lnTo>
                      <a:pt x="575" y="129"/>
                    </a:lnTo>
                    <a:lnTo>
                      <a:pt x="577" y="129"/>
                    </a:lnTo>
                    <a:lnTo>
                      <a:pt x="579" y="129"/>
                    </a:lnTo>
                    <a:lnTo>
                      <a:pt x="579" y="131"/>
                    </a:lnTo>
                    <a:lnTo>
                      <a:pt x="577" y="131"/>
                    </a:lnTo>
                    <a:lnTo>
                      <a:pt x="577" y="133"/>
                    </a:lnTo>
                    <a:lnTo>
                      <a:pt x="577" y="135"/>
                    </a:lnTo>
                    <a:lnTo>
                      <a:pt x="577" y="137"/>
                    </a:lnTo>
                    <a:lnTo>
                      <a:pt x="577" y="139"/>
                    </a:lnTo>
                    <a:lnTo>
                      <a:pt x="575" y="139"/>
                    </a:lnTo>
                    <a:lnTo>
                      <a:pt x="575" y="140"/>
                    </a:lnTo>
                    <a:lnTo>
                      <a:pt x="575" y="142"/>
                    </a:lnTo>
                    <a:lnTo>
                      <a:pt x="573" y="142"/>
                    </a:lnTo>
                    <a:lnTo>
                      <a:pt x="571" y="142"/>
                    </a:lnTo>
                    <a:lnTo>
                      <a:pt x="571" y="140"/>
                    </a:lnTo>
                    <a:lnTo>
                      <a:pt x="571" y="139"/>
                    </a:lnTo>
                    <a:lnTo>
                      <a:pt x="569" y="139"/>
                    </a:lnTo>
                    <a:lnTo>
                      <a:pt x="569" y="137"/>
                    </a:lnTo>
                    <a:lnTo>
                      <a:pt x="569" y="135"/>
                    </a:lnTo>
                    <a:lnTo>
                      <a:pt x="569" y="133"/>
                    </a:lnTo>
                    <a:lnTo>
                      <a:pt x="571" y="131"/>
                    </a:lnTo>
                    <a:close/>
                    <a:moveTo>
                      <a:pt x="563" y="142"/>
                    </a:moveTo>
                    <a:lnTo>
                      <a:pt x="561" y="142"/>
                    </a:lnTo>
                    <a:lnTo>
                      <a:pt x="563" y="142"/>
                    </a:lnTo>
                    <a:close/>
                    <a:moveTo>
                      <a:pt x="546" y="125"/>
                    </a:moveTo>
                    <a:lnTo>
                      <a:pt x="544" y="125"/>
                    </a:lnTo>
                    <a:lnTo>
                      <a:pt x="546" y="125"/>
                    </a:lnTo>
                    <a:close/>
                    <a:moveTo>
                      <a:pt x="538" y="108"/>
                    </a:moveTo>
                    <a:lnTo>
                      <a:pt x="540" y="108"/>
                    </a:lnTo>
                    <a:lnTo>
                      <a:pt x="538" y="108"/>
                    </a:lnTo>
                    <a:lnTo>
                      <a:pt x="538" y="106"/>
                    </a:lnTo>
                    <a:lnTo>
                      <a:pt x="538" y="108"/>
                    </a:lnTo>
                    <a:close/>
                    <a:moveTo>
                      <a:pt x="538" y="106"/>
                    </a:moveTo>
                    <a:lnTo>
                      <a:pt x="538" y="104"/>
                    </a:lnTo>
                    <a:lnTo>
                      <a:pt x="538" y="106"/>
                    </a:lnTo>
                    <a:close/>
                    <a:moveTo>
                      <a:pt x="540" y="75"/>
                    </a:moveTo>
                    <a:lnTo>
                      <a:pt x="538" y="75"/>
                    </a:lnTo>
                    <a:lnTo>
                      <a:pt x="540" y="75"/>
                    </a:lnTo>
                    <a:close/>
                    <a:moveTo>
                      <a:pt x="575" y="23"/>
                    </a:moveTo>
                    <a:lnTo>
                      <a:pt x="575" y="25"/>
                    </a:lnTo>
                    <a:lnTo>
                      <a:pt x="575" y="23"/>
                    </a:lnTo>
                    <a:close/>
                    <a:moveTo>
                      <a:pt x="569" y="25"/>
                    </a:moveTo>
                    <a:lnTo>
                      <a:pt x="569" y="23"/>
                    </a:lnTo>
                    <a:lnTo>
                      <a:pt x="571" y="23"/>
                    </a:lnTo>
                    <a:lnTo>
                      <a:pt x="571" y="25"/>
                    </a:lnTo>
                    <a:lnTo>
                      <a:pt x="573" y="25"/>
                    </a:lnTo>
                    <a:lnTo>
                      <a:pt x="573" y="27"/>
                    </a:lnTo>
                    <a:lnTo>
                      <a:pt x="571" y="27"/>
                    </a:lnTo>
                    <a:lnTo>
                      <a:pt x="569" y="25"/>
                    </a:lnTo>
                    <a:close/>
                    <a:moveTo>
                      <a:pt x="532" y="37"/>
                    </a:moveTo>
                    <a:lnTo>
                      <a:pt x="534" y="37"/>
                    </a:lnTo>
                    <a:lnTo>
                      <a:pt x="532" y="37"/>
                    </a:lnTo>
                    <a:close/>
                    <a:moveTo>
                      <a:pt x="538" y="31"/>
                    </a:moveTo>
                    <a:lnTo>
                      <a:pt x="536" y="31"/>
                    </a:lnTo>
                    <a:lnTo>
                      <a:pt x="538" y="31"/>
                    </a:lnTo>
                    <a:close/>
                    <a:moveTo>
                      <a:pt x="463" y="119"/>
                    </a:moveTo>
                    <a:lnTo>
                      <a:pt x="461" y="119"/>
                    </a:lnTo>
                    <a:lnTo>
                      <a:pt x="463" y="119"/>
                    </a:lnTo>
                    <a:close/>
                    <a:moveTo>
                      <a:pt x="419" y="96"/>
                    </a:moveTo>
                    <a:lnTo>
                      <a:pt x="421" y="96"/>
                    </a:lnTo>
                    <a:lnTo>
                      <a:pt x="423" y="98"/>
                    </a:lnTo>
                    <a:lnTo>
                      <a:pt x="425" y="98"/>
                    </a:lnTo>
                    <a:lnTo>
                      <a:pt x="425" y="100"/>
                    </a:lnTo>
                    <a:lnTo>
                      <a:pt x="423" y="100"/>
                    </a:lnTo>
                    <a:lnTo>
                      <a:pt x="423" y="98"/>
                    </a:lnTo>
                    <a:lnTo>
                      <a:pt x="421" y="98"/>
                    </a:lnTo>
                    <a:lnTo>
                      <a:pt x="419" y="96"/>
                    </a:lnTo>
                    <a:close/>
                    <a:moveTo>
                      <a:pt x="419" y="96"/>
                    </a:moveTo>
                    <a:lnTo>
                      <a:pt x="417" y="96"/>
                    </a:lnTo>
                    <a:lnTo>
                      <a:pt x="417" y="94"/>
                    </a:lnTo>
                    <a:lnTo>
                      <a:pt x="417" y="96"/>
                    </a:lnTo>
                    <a:lnTo>
                      <a:pt x="419" y="96"/>
                    </a:lnTo>
                    <a:close/>
                    <a:moveTo>
                      <a:pt x="417" y="94"/>
                    </a:moveTo>
                    <a:lnTo>
                      <a:pt x="415" y="94"/>
                    </a:lnTo>
                    <a:lnTo>
                      <a:pt x="417" y="94"/>
                    </a:lnTo>
                    <a:close/>
                    <a:moveTo>
                      <a:pt x="415" y="92"/>
                    </a:moveTo>
                    <a:lnTo>
                      <a:pt x="415" y="94"/>
                    </a:lnTo>
                    <a:lnTo>
                      <a:pt x="415" y="92"/>
                    </a:lnTo>
                    <a:lnTo>
                      <a:pt x="413" y="92"/>
                    </a:lnTo>
                    <a:lnTo>
                      <a:pt x="415" y="92"/>
                    </a:lnTo>
                    <a:close/>
                    <a:moveTo>
                      <a:pt x="413" y="92"/>
                    </a:moveTo>
                    <a:lnTo>
                      <a:pt x="415" y="92"/>
                    </a:lnTo>
                    <a:lnTo>
                      <a:pt x="417" y="94"/>
                    </a:lnTo>
                    <a:lnTo>
                      <a:pt x="415" y="92"/>
                    </a:lnTo>
                    <a:lnTo>
                      <a:pt x="413" y="92"/>
                    </a:lnTo>
                    <a:close/>
                    <a:moveTo>
                      <a:pt x="363" y="119"/>
                    </a:moveTo>
                    <a:lnTo>
                      <a:pt x="362" y="119"/>
                    </a:lnTo>
                    <a:lnTo>
                      <a:pt x="363" y="119"/>
                    </a:lnTo>
                    <a:close/>
                    <a:moveTo>
                      <a:pt x="362" y="119"/>
                    </a:moveTo>
                    <a:lnTo>
                      <a:pt x="363" y="119"/>
                    </a:lnTo>
                    <a:lnTo>
                      <a:pt x="362" y="119"/>
                    </a:lnTo>
                    <a:close/>
                    <a:moveTo>
                      <a:pt x="329" y="152"/>
                    </a:moveTo>
                    <a:lnTo>
                      <a:pt x="329" y="154"/>
                    </a:lnTo>
                    <a:lnTo>
                      <a:pt x="329" y="152"/>
                    </a:lnTo>
                    <a:close/>
                    <a:moveTo>
                      <a:pt x="335" y="133"/>
                    </a:moveTo>
                    <a:lnTo>
                      <a:pt x="335" y="135"/>
                    </a:lnTo>
                    <a:lnTo>
                      <a:pt x="335" y="133"/>
                    </a:lnTo>
                    <a:close/>
                    <a:moveTo>
                      <a:pt x="335" y="133"/>
                    </a:moveTo>
                    <a:lnTo>
                      <a:pt x="335" y="131"/>
                    </a:lnTo>
                    <a:lnTo>
                      <a:pt x="335" y="133"/>
                    </a:lnTo>
                    <a:close/>
                    <a:moveTo>
                      <a:pt x="335" y="131"/>
                    </a:moveTo>
                    <a:lnTo>
                      <a:pt x="337" y="131"/>
                    </a:lnTo>
                    <a:lnTo>
                      <a:pt x="335" y="131"/>
                    </a:lnTo>
                    <a:close/>
                    <a:moveTo>
                      <a:pt x="335" y="127"/>
                    </a:moveTo>
                    <a:lnTo>
                      <a:pt x="335" y="129"/>
                    </a:lnTo>
                    <a:lnTo>
                      <a:pt x="335" y="127"/>
                    </a:lnTo>
                    <a:close/>
                    <a:moveTo>
                      <a:pt x="335" y="123"/>
                    </a:moveTo>
                    <a:lnTo>
                      <a:pt x="335" y="125"/>
                    </a:lnTo>
                    <a:lnTo>
                      <a:pt x="335" y="123"/>
                    </a:lnTo>
                    <a:close/>
                    <a:moveTo>
                      <a:pt x="335" y="123"/>
                    </a:moveTo>
                    <a:lnTo>
                      <a:pt x="337" y="123"/>
                    </a:lnTo>
                    <a:lnTo>
                      <a:pt x="335" y="123"/>
                    </a:lnTo>
                    <a:close/>
                    <a:moveTo>
                      <a:pt x="337" y="123"/>
                    </a:moveTo>
                    <a:lnTo>
                      <a:pt x="337" y="121"/>
                    </a:lnTo>
                    <a:lnTo>
                      <a:pt x="337" y="123"/>
                    </a:lnTo>
                    <a:lnTo>
                      <a:pt x="337" y="121"/>
                    </a:lnTo>
                    <a:lnTo>
                      <a:pt x="337" y="123"/>
                    </a:lnTo>
                    <a:lnTo>
                      <a:pt x="337" y="125"/>
                    </a:lnTo>
                    <a:lnTo>
                      <a:pt x="335" y="125"/>
                    </a:lnTo>
                    <a:lnTo>
                      <a:pt x="337" y="125"/>
                    </a:lnTo>
                    <a:lnTo>
                      <a:pt x="335" y="125"/>
                    </a:lnTo>
                    <a:lnTo>
                      <a:pt x="337" y="123"/>
                    </a:lnTo>
                    <a:close/>
                    <a:moveTo>
                      <a:pt x="337" y="119"/>
                    </a:moveTo>
                    <a:lnTo>
                      <a:pt x="337" y="121"/>
                    </a:lnTo>
                    <a:lnTo>
                      <a:pt x="337" y="119"/>
                    </a:lnTo>
                    <a:close/>
                    <a:moveTo>
                      <a:pt x="335" y="119"/>
                    </a:moveTo>
                    <a:lnTo>
                      <a:pt x="337" y="119"/>
                    </a:lnTo>
                    <a:lnTo>
                      <a:pt x="335" y="119"/>
                    </a:lnTo>
                    <a:close/>
                    <a:moveTo>
                      <a:pt x="335" y="119"/>
                    </a:moveTo>
                    <a:lnTo>
                      <a:pt x="335" y="121"/>
                    </a:lnTo>
                    <a:lnTo>
                      <a:pt x="337" y="121"/>
                    </a:lnTo>
                    <a:lnTo>
                      <a:pt x="335" y="121"/>
                    </a:lnTo>
                    <a:lnTo>
                      <a:pt x="335" y="119"/>
                    </a:lnTo>
                    <a:lnTo>
                      <a:pt x="333" y="119"/>
                    </a:lnTo>
                    <a:lnTo>
                      <a:pt x="335" y="119"/>
                    </a:lnTo>
                    <a:close/>
                    <a:moveTo>
                      <a:pt x="335" y="117"/>
                    </a:moveTo>
                    <a:lnTo>
                      <a:pt x="335" y="119"/>
                    </a:lnTo>
                    <a:lnTo>
                      <a:pt x="335" y="117"/>
                    </a:lnTo>
                    <a:lnTo>
                      <a:pt x="335" y="119"/>
                    </a:lnTo>
                    <a:lnTo>
                      <a:pt x="335" y="117"/>
                    </a:lnTo>
                    <a:close/>
                    <a:moveTo>
                      <a:pt x="335" y="117"/>
                    </a:moveTo>
                    <a:lnTo>
                      <a:pt x="335" y="119"/>
                    </a:lnTo>
                    <a:lnTo>
                      <a:pt x="335" y="117"/>
                    </a:lnTo>
                    <a:close/>
                    <a:moveTo>
                      <a:pt x="333" y="117"/>
                    </a:moveTo>
                    <a:lnTo>
                      <a:pt x="335" y="117"/>
                    </a:lnTo>
                    <a:lnTo>
                      <a:pt x="335" y="119"/>
                    </a:lnTo>
                    <a:lnTo>
                      <a:pt x="333" y="119"/>
                    </a:lnTo>
                    <a:lnTo>
                      <a:pt x="335" y="119"/>
                    </a:lnTo>
                    <a:lnTo>
                      <a:pt x="333" y="119"/>
                    </a:lnTo>
                    <a:lnTo>
                      <a:pt x="333" y="117"/>
                    </a:lnTo>
                    <a:close/>
                    <a:moveTo>
                      <a:pt x="335" y="117"/>
                    </a:moveTo>
                    <a:lnTo>
                      <a:pt x="333" y="117"/>
                    </a:lnTo>
                    <a:lnTo>
                      <a:pt x="335" y="117"/>
                    </a:lnTo>
                    <a:close/>
                    <a:moveTo>
                      <a:pt x="333" y="119"/>
                    </a:moveTo>
                    <a:lnTo>
                      <a:pt x="333" y="117"/>
                    </a:lnTo>
                    <a:lnTo>
                      <a:pt x="333" y="119"/>
                    </a:lnTo>
                    <a:close/>
                    <a:moveTo>
                      <a:pt x="331" y="117"/>
                    </a:moveTo>
                    <a:lnTo>
                      <a:pt x="333" y="117"/>
                    </a:lnTo>
                    <a:lnTo>
                      <a:pt x="333" y="119"/>
                    </a:lnTo>
                    <a:lnTo>
                      <a:pt x="333" y="117"/>
                    </a:lnTo>
                    <a:lnTo>
                      <a:pt x="333" y="119"/>
                    </a:lnTo>
                    <a:lnTo>
                      <a:pt x="333" y="117"/>
                    </a:lnTo>
                    <a:lnTo>
                      <a:pt x="331" y="117"/>
                    </a:lnTo>
                    <a:close/>
                    <a:moveTo>
                      <a:pt x="340" y="102"/>
                    </a:moveTo>
                    <a:lnTo>
                      <a:pt x="342" y="100"/>
                    </a:lnTo>
                    <a:lnTo>
                      <a:pt x="344" y="100"/>
                    </a:lnTo>
                    <a:lnTo>
                      <a:pt x="348" y="98"/>
                    </a:lnTo>
                    <a:lnTo>
                      <a:pt x="352" y="98"/>
                    </a:lnTo>
                    <a:lnTo>
                      <a:pt x="348" y="100"/>
                    </a:lnTo>
                    <a:lnTo>
                      <a:pt x="346" y="100"/>
                    </a:lnTo>
                    <a:lnTo>
                      <a:pt x="344" y="100"/>
                    </a:lnTo>
                    <a:lnTo>
                      <a:pt x="346" y="100"/>
                    </a:lnTo>
                    <a:lnTo>
                      <a:pt x="348" y="100"/>
                    </a:lnTo>
                    <a:lnTo>
                      <a:pt x="346" y="100"/>
                    </a:lnTo>
                    <a:lnTo>
                      <a:pt x="344" y="100"/>
                    </a:lnTo>
                    <a:lnTo>
                      <a:pt x="344" y="102"/>
                    </a:lnTo>
                    <a:lnTo>
                      <a:pt x="342" y="102"/>
                    </a:lnTo>
                    <a:lnTo>
                      <a:pt x="342" y="100"/>
                    </a:lnTo>
                    <a:lnTo>
                      <a:pt x="342" y="102"/>
                    </a:lnTo>
                    <a:lnTo>
                      <a:pt x="340" y="102"/>
                    </a:lnTo>
                    <a:close/>
                    <a:moveTo>
                      <a:pt x="327" y="117"/>
                    </a:moveTo>
                    <a:lnTo>
                      <a:pt x="329" y="117"/>
                    </a:lnTo>
                    <a:lnTo>
                      <a:pt x="327" y="117"/>
                    </a:lnTo>
                    <a:lnTo>
                      <a:pt x="329" y="117"/>
                    </a:lnTo>
                    <a:lnTo>
                      <a:pt x="327" y="117"/>
                    </a:lnTo>
                    <a:close/>
                    <a:moveTo>
                      <a:pt x="327" y="115"/>
                    </a:moveTo>
                    <a:lnTo>
                      <a:pt x="325" y="115"/>
                    </a:lnTo>
                    <a:lnTo>
                      <a:pt x="327" y="115"/>
                    </a:lnTo>
                    <a:lnTo>
                      <a:pt x="325" y="115"/>
                    </a:lnTo>
                    <a:lnTo>
                      <a:pt x="327" y="115"/>
                    </a:lnTo>
                    <a:close/>
                    <a:moveTo>
                      <a:pt x="325" y="115"/>
                    </a:moveTo>
                    <a:lnTo>
                      <a:pt x="325" y="117"/>
                    </a:lnTo>
                    <a:lnTo>
                      <a:pt x="325" y="115"/>
                    </a:lnTo>
                    <a:close/>
                    <a:moveTo>
                      <a:pt x="325" y="115"/>
                    </a:moveTo>
                    <a:lnTo>
                      <a:pt x="325" y="117"/>
                    </a:lnTo>
                    <a:lnTo>
                      <a:pt x="323" y="117"/>
                    </a:lnTo>
                    <a:lnTo>
                      <a:pt x="323" y="115"/>
                    </a:lnTo>
                    <a:lnTo>
                      <a:pt x="325" y="115"/>
                    </a:lnTo>
                    <a:close/>
                    <a:moveTo>
                      <a:pt x="325" y="115"/>
                    </a:moveTo>
                    <a:lnTo>
                      <a:pt x="323" y="115"/>
                    </a:lnTo>
                    <a:lnTo>
                      <a:pt x="325" y="115"/>
                    </a:lnTo>
                    <a:close/>
                    <a:moveTo>
                      <a:pt x="325" y="114"/>
                    </a:moveTo>
                    <a:lnTo>
                      <a:pt x="327" y="114"/>
                    </a:lnTo>
                    <a:lnTo>
                      <a:pt x="325" y="114"/>
                    </a:lnTo>
                    <a:close/>
                    <a:moveTo>
                      <a:pt x="333" y="104"/>
                    </a:moveTo>
                    <a:lnTo>
                      <a:pt x="335" y="104"/>
                    </a:lnTo>
                    <a:lnTo>
                      <a:pt x="333" y="104"/>
                    </a:lnTo>
                    <a:lnTo>
                      <a:pt x="335" y="104"/>
                    </a:lnTo>
                    <a:lnTo>
                      <a:pt x="333" y="104"/>
                    </a:lnTo>
                    <a:close/>
                    <a:moveTo>
                      <a:pt x="323" y="114"/>
                    </a:moveTo>
                    <a:lnTo>
                      <a:pt x="325" y="114"/>
                    </a:lnTo>
                    <a:lnTo>
                      <a:pt x="323" y="114"/>
                    </a:lnTo>
                    <a:close/>
                    <a:moveTo>
                      <a:pt x="323" y="114"/>
                    </a:moveTo>
                    <a:lnTo>
                      <a:pt x="323" y="115"/>
                    </a:lnTo>
                    <a:lnTo>
                      <a:pt x="323" y="114"/>
                    </a:lnTo>
                    <a:close/>
                    <a:moveTo>
                      <a:pt x="331" y="104"/>
                    </a:moveTo>
                    <a:lnTo>
                      <a:pt x="329" y="104"/>
                    </a:lnTo>
                    <a:lnTo>
                      <a:pt x="329" y="106"/>
                    </a:lnTo>
                    <a:lnTo>
                      <a:pt x="329" y="104"/>
                    </a:lnTo>
                    <a:lnTo>
                      <a:pt x="331" y="104"/>
                    </a:lnTo>
                    <a:close/>
                    <a:moveTo>
                      <a:pt x="321" y="114"/>
                    </a:moveTo>
                    <a:lnTo>
                      <a:pt x="321" y="115"/>
                    </a:lnTo>
                    <a:lnTo>
                      <a:pt x="321" y="114"/>
                    </a:lnTo>
                    <a:close/>
                    <a:moveTo>
                      <a:pt x="321" y="115"/>
                    </a:moveTo>
                    <a:lnTo>
                      <a:pt x="321" y="114"/>
                    </a:lnTo>
                    <a:lnTo>
                      <a:pt x="321" y="115"/>
                    </a:lnTo>
                    <a:close/>
                    <a:moveTo>
                      <a:pt x="321" y="112"/>
                    </a:moveTo>
                    <a:lnTo>
                      <a:pt x="321" y="114"/>
                    </a:lnTo>
                    <a:lnTo>
                      <a:pt x="321" y="112"/>
                    </a:lnTo>
                    <a:close/>
                    <a:moveTo>
                      <a:pt x="319" y="112"/>
                    </a:moveTo>
                    <a:lnTo>
                      <a:pt x="321" y="112"/>
                    </a:lnTo>
                    <a:lnTo>
                      <a:pt x="319" y="112"/>
                    </a:lnTo>
                    <a:lnTo>
                      <a:pt x="321" y="112"/>
                    </a:lnTo>
                    <a:lnTo>
                      <a:pt x="319" y="112"/>
                    </a:lnTo>
                    <a:close/>
                    <a:moveTo>
                      <a:pt x="319" y="112"/>
                    </a:moveTo>
                    <a:lnTo>
                      <a:pt x="321" y="114"/>
                    </a:lnTo>
                    <a:lnTo>
                      <a:pt x="319" y="114"/>
                    </a:lnTo>
                    <a:lnTo>
                      <a:pt x="317" y="114"/>
                    </a:lnTo>
                    <a:lnTo>
                      <a:pt x="319" y="114"/>
                    </a:lnTo>
                    <a:lnTo>
                      <a:pt x="319" y="112"/>
                    </a:lnTo>
                    <a:close/>
                    <a:moveTo>
                      <a:pt x="313" y="110"/>
                    </a:moveTo>
                    <a:lnTo>
                      <a:pt x="315" y="110"/>
                    </a:lnTo>
                    <a:lnTo>
                      <a:pt x="315" y="108"/>
                    </a:lnTo>
                    <a:lnTo>
                      <a:pt x="317" y="108"/>
                    </a:lnTo>
                    <a:lnTo>
                      <a:pt x="319" y="108"/>
                    </a:lnTo>
                    <a:lnTo>
                      <a:pt x="321" y="108"/>
                    </a:lnTo>
                    <a:lnTo>
                      <a:pt x="319" y="108"/>
                    </a:lnTo>
                    <a:lnTo>
                      <a:pt x="317" y="108"/>
                    </a:lnTo>
                    <a:lnTo>
                      <a:pt x="315" y="110"/>
                    </a:lnTo>
                    <a:lnTo>
                      <a:pt x="315" y="108"/>
                    </a:lnTo>
                    <a:lnTo>
                      <a:pt x="315" y="110"/>
                    </a:lnTo>
                    <a:lnTo>
                      <a:pt x="313" y="110"/>
                    </a:lnTo>
                    <a:close/>
                    <a:moveTo>
                      <a:pt x="292" y="114"/>
                    </a:moveTo>
                    <a:lnTo>
                      <a:pt x="296" y="114"/>
                    </a:lnTo>
                    <a:lnTo>
                      <a:pt x="298" y="112"/>
                    </a:lnTo>
                    <a:lnTo>
                      <a:pt x="300" y="112"/>
                    </a:lnTo>
                    <a:lnTo>
                      <a:pt x="304" y="112"/>
                    </a:lnTo>
                    <a:lnTo>
                      <a:pt x="306" y="112"/>
                    </a:lnTo>
                    <a:lnTo>
                      <a:pt x="306" y="110"/>
                    </a:lnTo>
                    <a:lnTo>
                      <a:pt x="310" y="110"/>
                    </a:lnTo>
                    <a:lnTo>
                      <a:pt x="313" y="110"/>
                    </a:lnTo>
                    <a:lnTo>
                      <a:pt x="312" y="110"/>
                    </a:lnTo>
                    <a:lnTo>
                      <a:pt x="310" y="110"/>
                    </a:lnTo>
                    <a:lnTo>
                      <a:pt x="308" y="110"/>
                    </a:lnTo>
                    <a:lnTo>
                      <a:pt x="308" y="112"/>
                    </a:lnTo>
                    <a:lnTo>
                      <a:pt x="306" y="110"/>
                    </a:lnTo>
                    <a:lnTo>
                      <a:pt x="306" y="112"/>
                    </a:lnTo>
                    <a:lnTo>
                      <a:pt x="304" y="112"/>
                    </a:lnTo>
                    <a:lnTo>
                      <a:pt x="302" y="112"/>
                    </a:lnTo>
                    <a:lnTo>
                      <a:pt x="304" y="112"/>
                    </a:lnTo>
                    <a:lnTo>
                      <a:pt x="302" y="112"/>
                    </a:lnTo>
                    <a:lnTo>
                      <a:pt x="302" y="114"/>
                    </a:lnTo>
                    <a:lnTo>
                      <a:pt x="300" y="114"/>
                    </a:lnTo>
                    <a:lnTo>
                      <a:pt x="300" y="112"/>
                    </a:lnTo>
                    <a:lnTo>
                      <a:pt x="298" y="114"/>
                    </a:lnTo>
                    <a:lnTo>
                      <a:pt x="296" y="114"/>
                    </a:lnTo>
                    <a:lnTo>
                      <a:pt x="294" y="114"/>
                    </a:lnTo>
                    <a:lnTo>
                      <a:pt x="296" y="114"/>
                    </a:lnTo>
                    <a:lnTo>
                      <a:pt x="298" y="114"/>
                    </a:lnTo>
                    <a:lnTo>
                      <a:pt x="296" y="114"/>
                    </a:lnTo>
                    <a:lnTo>
                      <a:pt x="294" y="114"/>
                    </a:lnTo>
                    <a:lnTo>
                      <a:pt x="292" y="114"/>
                    </a:lnTo>
                    <a:close/>
                    <a:moveTo>
                      <a:pt x="283" y="115"/>
                    </a:moveTo>
                    <a:lnTo>
                      <a:pt x="287" y="115"/>
                    </a:lnTo>
                    <a:lnTo>
                      <a:pt x="289" y="115"/>
                    </a:lnTo>
                    <a:lnTo>
                      <a:pt x="290" y="115"/>
                    </a:lnTo>
                    <a:lnTo>
                      <a:pt x="289" y="115"/>
                    </a:lnTo>
                    <a:lnTo>
                      <a:pt x="290" y="114"/>
                    </a:lnTo>
                    <a:lnTo>
                      <a:pt x="290" y="115"/>
                    </a:lnTo>
                    <a:lnTo>
                      <a:pt x="290" y="114"/>
                    </a:lnTo>
                    <a:lnTo>
                      <a:pt x="292" y="114"/>
                    </a:lnTo>
                    <a:lnTo>
                      <a:pt x="292" y="115"/>
                    </a:lnTo>
                    <a:lnTo>
                      <a:pt x="290" y="115"/>
                    </a:lnTo>
                    <a:lnTo>
                      <a:pt x="289" y="115"/>
                    </a:lnTo>
                    <a:lnTo>
                      <a:pt x="287" y="115"/>
                    </a:lnTo>
                    <a:lnTo>
                      <a:pt x="285" y="115"/>
                    </a:lnTo>
                    <a:lnTo>
                      <a:pt x="283" y="115"/>
                    </a:lnTo>
                    <a:lnTo>
                      <a:pt x="285" y="115"/>
                    </a:lnTo>
                    <a:lnTo>
                      <a:pt x="283" y="115"/>
                    </a:lnTo>
                    <a:lnTo>
                      <a:pt x="281" y="115"/>
                    </a:lnTo>
                    <a:lnTo>
                      <a:pt x="283" y="115"/>
                    </a:lnTo>
                    <a:close/>
                    <a:moveTo>
                      <a:pt x="269" y="117"/>
                    </a:moveTo>
                    <a:lnTo>
                      <a:pt x="271" y="117"/>
                    </a:lnTo>
                    <a:lnTo>
                      <a:pt x="273" y="117"/>
                    </a:lnTo>
                    <a:lnTo>
                      <a:pt x="271" y="117"/>
                    </a:lnTo>
                    <a:lnTo>
                      <a:pt x="269" y="117"/>
                    </a:lnTo>
                    <a:lnTo>
                      <a:pt x="269" y="119"/>
                    </a:lnTo>
                    <a:lnTo>
                      <a:pt x="269" y="117"/>
                    </a:lnTo>
                    <a:lnTo>
                      <a:pt x="269" y="119"/>
                    </a:lnTo>
                    <a:lnTo>
                      <a:pt x="269" y="117"/>
                    </a:lnTo>
                    <a:close/>
                    <a:moveTo>
                      <a:pt x="177" y="42"/>
                    </a:moveTo>
                    <a:lnTo>
                      <a:pt x="175" y="42"/>
                    </a:lnTo>
                    <a:lnTo>
                      <a:pt x="175" y="44"/>
                    </a:lnTo>
                    <a:lnTo>
                      <a:pt x="175" y="46"/>
                    </a:lnTo>
                    <a:lnTo>
                      <a:pt x="173" y="46"/>
                    </a:lnTo>
                    <a:lnTo>
                      <a:pt x="175" y="46"/>
                    </a:lnTo>
                    <a:lnTo>
                      <a:pt x="175" y="44"/>
                    </a:lnTo>
                    <a:lnTo>
                      <a:pt x="175" y="42"/>
                    </a:lnTo>
                    <a:lnTo>
                      <a:pt x="177" y="42"/>
                    </a:lnTo>
                    <a:lnTo>
                      <a:pt x="175" y="42"/>
                    </a:lnTo>
                    <a:lnTo>
                      <a:pt x="177" y="42"/>
                    </a:lnTo>
                    <a:close/>
                    <a:moveTo>
                      <a:pt x="175" y="42"/>
                    </a:moveTo>
                    <a:lnTo>
                      <a:pt x="175" y="44"/>
                    </a:lnTo>
                    <a:lnTo>
                      <a:pt x="175" y="42"/>
                    </a:lnTo>
                    <a:close/>
                    <a:moveTo>
                      <a:pt x="166" y="2"/>
                    </a:moveTo>
                    <a:lnTo>
                      <a:pt x="167" y="0"/>
                    </a:lnTo>
                    <a:lnTo>
                      <a:pt x="169" y="0"/>
                    </a:lnTo>
                    <a:lnTo>
                      <a:pt x="171" y="0"/>
                    </a:lnTo>
                    <a:lnTo>
                      <a:pt x="173" y="0"/>
                    </a:lnTo>
                    <a:lnTo>
                      <a:pt x="175" y="0"/>
                    </a:lnTo>
                    <a:lnTo>
                      <a:pt x="173" y="0"/>
                    </a:lnTo>
                    <a:lnTo>
                      <a:pt x="171" y="0"/>
                    </a:lnTo>
                    <a:lnTo>
                      <a:pt x="169" y="0"/>
                    </a:lnTo>
                    <a:lnTo>
                      <a:pt x="167" y="0"/>
                    </a:lnTo>
                    <a:lnTo>
                      <a:pt x="167" y="2"/>
                    </a:lnTo>
                    <a:lnTo>
                      <a:pt x="166" y="2"/>
                    </a:lnTo>
                    <a:lnTo>
                      <a:pt x="164" y="2"/>
                    </a:lnTo>
                    <a:lnTo>
                      <a:pt x="166" y="2"/>
                    </a:lnTo>
                    <a:close/>
                    <a:moveTo>
                      <a:pt x="143" y="21"/>
                    </a:moveTo>
                    <a:lnTo>
                      <a:pt x="141" y="23"/>
                    </a:lnTo>
                    <a:lnTo>
                      <a:pt x="143" y="21"/>
                    </a:lnTo>
                    <a:close/>
                    <a:moveTo>
                      <a:pt x="144" y="17"/>
                    </a:moveTo>
                    <a:lnTo>
                      <a:pt x="146" y="17"/>
                    </a:lnTo>
                    <a:lnTo>
                      <a:pt x="146" y="16"/>
                    </a:lnTo>
                    <a:lnTo>
                      <a:pt x="148" y="16"/>
                    </a:lnTo>
                    <a:lnTo>
                      <a:pt x="146" y="16"/>
                    </a:lnTo>
                    <a:lnTo>
                      <a:pt x="146" y="17"/>
                    </a:lnTo>
                    <a:lnTo>
                      <a:pt x="144" y="17"/>
                    </a:lnTo>
                    <a:lnTo>
                      <a:pt x="144" y="19"/>
                    </a:lnTo>
                    <a:lnTo>
                      <a:pt x="144" y="17"/>
                    </a:lnTo>
                    <a:close/>
                    <a:moveTo>
                      <a:pt x="146" y="16"/>
                    </a:moveTo>
                    <a:lnTo>
                      <a:pt x="148" y="14"/>
                    </a:lnTo>
                    <a:lnTo>
                      <a:pt x="146" y="16"/>
                    </a:lnTo>
                    <a:lnTo>
                      <a:pt x="146" y="17"/>
                    </a:lnTo>
                    <a:lnTo>
                      <a:pt x="144" y="17"/>
                    </a:lnTo>
                    <a:lnTo>
                      <a:pt x="146" y="16"/>
                    </a:lnTo>
                    <a:close/>
                    <a:moveTo>
                      <a:pt x="452" y="373"/>
                    </a:moveTo>
                    <a:lnTo>
                      <a:pt x="452" y="375"/>
                    </a:lnTo>
                    <a:lnTo>
                      <a:pt x="452" y="373"/>
                    </a:lnTo>
                    <a:close/>
                    <a:moveTo>
                      <a:pt x="452" y="369"/>
                    </a:moveTo>
                    <a:lnTo>
                      <a:pt x="452" y="371"/>
                    </a:lnTo>
                    <a:lnTo>
                      <a:pt x="452" y="369"/>
                    </a:lnTo>
                    <a:close/>
                    <a:moveTo>
                      <a:pt x="454" y="363"/>
                    </a:moveTo>
                    <a:lnTo>
                      <a:pt x="456" y="363"/>
                    </a:lnTo>
                    <a:lnTo>
                      <a:pt x="456" y="365"/>
                    </a:lnTo>
                    <a:lnTo>
                      <a:pt x="454" y="365"/>
                    </a:lnTo>
                    <a:lnTo>
                      <a:pt x="454" y="363"/>
                    </a:lnTo>
                    <a:close/>
                    <a:moveTo>
                      <a:pt x="454" y="363"/>
                    </a:moveTo>
                    <a:lnTo>
                      <a:pt x="454" y="365"/>
                    </a:lnTo>
                    <a:lnTo>
                      <a:pt x="454" y="363"/>
                    </a:lnTo>
                    <a:close/>
                    <a:moveTo>
                      <a:pt x="456" y="360"/>
                    </a:moveTo>
                    <a:lnTo>
                      <a:pt x="454" y="360"/>
                    </a:lnTo>
                    <a:lnTo>
                      <a:pt x="456" y="360"/>
                    </a:lnTo>
                    <a:close/>
                    <a:moveTo>
                      <a:pt x="396" y="390"/>
                    </a:moveTo>
                    <a:lnTo>
                      <a:pt x="398" y="390"/>
                    </a:lnTo>
                    <a:lnTo>
                      <a:pt x="396" y="390"/>
                    </a:lnTo>
                    <a:lnTo>
                      <a:pt x="398" y="390"/>
                    </a:lnTo>
                    <a:lnTo>
                      <a:pt x="396" y="390"/>
                    </a:lnTo>
                    <a:lnTo>
                      <a:pt x="398" y="390"/>
                    </a:lnTo>
                    <a:lnTo>
                      <a:pt x="396" y="390"/>
                    </a:lnTo>
                    <a:close/>
                    <a:moveTo>
                      <a:pt x="396" y="390"/>
                    </a:moveTo>
                    <a:lnTo>
                      <a:pt x="396" y="392"/>
                    </a:lnTo>
                    <a:lnTo>
                      <a:pt x="394" y="392"/>
                    </a:lnTo>
                    <a:lnTo>
                      <a:pt x="396" y="392"/>
                    </a:lnTo>
                    <a:lnTo>
                      <a:pt x="396" y="390"/>
                    </a:lnTo>
                    <a:close/>
                    <a:moveTo>
                      <a:pt x="394" y="392"/>
                    </a:moveTo>
                    <a:lnTo>
                      <a:pt x="392" y="392"/>
                    </a:lnTo>
                    <a:lnTo>
                      <a:pt x="394" y="392"/>
                    </a:lnTo>
                    <a:close/>
                    <a:moveTo>
                      <a:pt x="392" y="392"/>
                    </a:moveTo>
                    <a:lnTo>
                      <a:pt x="394" y="392"/>
                    </a:lnTo>
                    <a:lnTo>
                      <a:pt x="392" y="392"/>
                    </a:lnTo>
                    <a:lnTo>
                      <a:pt x="392" y="390"/>
                    </a:lnTo>
                    <a:lnTo>
                      <a:pt x="392" y="392"/>
                    </a:lnTo>
                    <a:close/>
                    <a:moveTo>
                      <a:pt x="386" y="385"/>
                    </a:moveTo>
                    <a:lnTo>
                      <a:pt x="388" y="385"/>
                    </a:lnTo>
                    <a:lnTo>
                      <a:pt x="386" y="385"/>
                    </a:lnTo>
                    <a:lnTo>
                      <a:pt x="386" y="383"/>
                    </a:lnTo>
                    <a:lnTo>
                      <a:pt x="386" y="385"/>
                    </a:lnTo>
                    <a:close/>
                    <a:moveTo>
                      <a:pt x="360" y="410"/>
                    </a:moveTo>
                    <a:lnTo>
                      <a:pt x="362" y="410"/>
                    </a:lnTo>
                    <a:lnTo>
                      <a:pt x="362" y="412"/>
                    </a:lnTo>
                    <a:lnTo>
                      <a:pt x="360" y="412"/>
                    </a:lnTo>
                    <a:lnTo>
                      <a:pt x="362" y="413"/>
                    </a:lnTo>
                    <a:lnTo>
                      <a:pt x="360" y="413"/>
                    </a:lnTo>
                    <a:lnTo>
                      <a:pt x="360" y="412"/>
                    </a:lnTo>
                    <a:lnTo>
                      <a:pt x="360" y="410"/>
                    </a:lnTo>
                    <a:lnTo>
                      <a:pt x="360" y="408"/>
                    </a:lnTo>
                    <a:lnTo>
                      <a:pt x="360" y="410"/>
                    </a:lnTo>
                    <a:close/>
                    <a:moveTo>
                      <a:pt x="356" y="410"/>
                    </a:moveTo>
                    <a:lnTo>
                      <a:pt x="356" y="408"/>
                    </a:lnTo>
                    <a:lnTo>
                      <a:pt x="358" y="408"/>
                    </a:lnTo>
                    <a:lnTo>
                      <a:pt x="358" y="406"/>
                    </a:lnTo>
                    <a:lnTo>
                      <a:pt x="358" y="408"/>
                    </a:lnTo>
                    <a:lnTo>
                      <a:pt x="360" y="408"/>
                    </a:lnTo>
                    <a:lnTo>
                      <a:pt x="358" y="410"/>
                    </a:lnTo>
                    <a:lnTo>
                      <a:pt x="356" y="410"/>
                    </a:lnTo>
                    <a:lnTo>
                      <a:pt x="354" y="412"/>
                    </a:lnTo>
                    <a:lnTo>
                      <a:pt x="352" y="412"/>
                    </a:lnTo>
                    <a:lnTo>
                      <a:pt x="354" y="412"/>
                    </a:lnTo>
                    <a:lnTo>
                      <a:pt x="354" y="410"/>
                    </a:lnTo>
                    <a:lnTo>
                      <a:pt x="356" y="410"/>
                    </a:lnTo>
                    <a:close/>
                    <a:moveTo>
                      <a:pt x="352" y="412"/>
                    </a:moveTo>
                    <a:lnTo>
                      <a:pt x="354" y="412"/>
                    </a:lnTo>
                    <a:lnTo>
                      <a:pt x="352" y="412"/>
                    </a:lnTo>
                    <a:lnTo>
                      <a:pt x="350" y="412"/>
                    </a:lnTo>
                    <a:lnTo>
                      <a:pt x="352" y="412"/>
                    </a:lnTo>
                    <a:close/>
                    <a:moveTo>
                      <a:pt x="348" y="412"/>
                    </a:moveTo>
                    <a:lnTo>
                      <a:pt x="350" y="412"/>
                    </a:lnTo>
                    <a:lnTo>
                      <a:pt x="352" y="412"/>
                    </a:lnTo>
                    <a:lnTo>
                      <a:pt x="354" y="412"/>
                    </a:lnTo>
                    <a:lnTo>
                      <a:pt x="356" y="412"/>
                    </a:lnTo>
                    <a:lnTo>
                      <a:pt x="356" y="410"/>
                    </a:lnTo>
                    <a:lnTo>
                      <a:pt x="358" y="410"/>
                    </a:lnTo>
                    <a:lnTo>
                      <a:pt x="358" y="412"/>
                    </a:lnTo>
                    <a:lnTo>
                      <a:pt x="360" y="412"/>
                    </a:lnTo>
                    <a:lnTo>
                      <a:pt x="360" y="413"/>
                    </a:lnTo>
                    <a:lnTo>
                      <a:pt x="358" y="413"/>
                    </a:lnTo>
                    <a:lnTo>
                      <a:pt x="356" y="413"/>
                    </a:lnTo>
                    <a:lnTo>
                      <a:pt x="356" y="415"/>
                    </a:lnTo>
                    <a:lnTo>
                      <a:pt x="356" y="417"/>
                    </a:lnTo>
                    <a:lnTo>
                      <a:pt x="354" y="417"/>
                    </a:lnTo>
                    <a:lnTo>
                      <a:pt x="352" y="417"/>
                    </a:lnTo>
                    <a:lnTo>
                      <a:pt x="352" y="415"/>
                    </a:lnTo>
                    <a:lnTo>
                      <a:pt x="350" y="415"/>
                    </a:lnTo>
                    <a:lnTo>
                      <a:pt x="350" y="413"/>
                    </a:lnTo>
                    <a:lnTo>
                      <a:pt x="348" y="413"/>
                    </a:lnTo>
                    <a:lnTo>
                      <a:pt x="348" y="412"/>
                    </a:lnTo>
                    <a:lnTo>
                      <a:pt x="346" y="412"/>
                    </a:lnTo>
                    <a:lnTo>
                      <a:pt x="348" y="412"/>
                    </a:lnTo>
                    <a:close/>
                    <a:moveTo>
                      <a:pt x="346" y="412"/>
                    </a:moveTo>
                    <a:lnTo>
                      <a:pt x="344" y="412"/>
                    </a:lnTo>
                    <a:lnTo>
                      <a:pt x="346" y="412"/>
                    </a:lnTo>
                    <a:close/>
                    <a:moveTo>
                      <a:pt x="360" y="396"/>
                    </a:moveTo>
                    <a:lnTo>
                      <a:pt x="358" y="398"/>
                    </a:lnTo>
                    <a:lnTo>
                      <a:pt x="360" y="396"/>
                    </a:lnTo>
                    <a:close/>
                    <a:moveTo>
                      <a:pt x="365" y="388"/>
                    </a:moveTo>
                    <a:lnTo>
                      <a:pt x="365" y="390"/>
                    </a:lnTo>
                    <a:lnTo>
                      <a:pt x="365" y="388"/>
                    </a:lnTo>
                    <a:close/>
                    <a:moveTo>
                      <a:pt x="360" y="396"/>
                    </a:moveTo>
                    <a:lnTo>
                      <a:pt x="358" y="398"/>
                    </a:lnTo>
                    <a:lnTo>
                      <a:pt x="358" y="396"/>
                    </a:lnTo>
                    <a:lnTo>
                      <a:pt x="360" y="396"/>
                    </a:lnTo>
                    <a:close/>
                    <a:moveTo>
                      <a:pt x="367" y="385"/>
                    </a:moveTo>
                    <a:lnTo>
                      <a:pt x="369" y="385"/>
                    </a:lnTo>
                    <a:lnTo>
                      <a:pt x="367" y="385"/>
                    </a:lnTo>
                    <a:close/>
                    <a:moveTo>
                      <a:pt x="342" y="400"/>
                    </a:moveTo>
                    <a:lnTo>
                      <a:pt x="342" y="402"/>
                    </a:lnTo>
                    <a:lnTo>
                      <a:pt x="340" y="400"/>
                    </a:lnTo>
                    <a:lnTo>
                      <a:pt x="342" y="400"/>
                    </a:lnTo>
                    <a:close/>
                    <a:moveTo>
                      <a:pt x="335" y="412"/>
                    </a:moveTo>
                    <a:lnTo>
                      <a:pt x="333" y="412"/>
                    </a:lnTo>
                    <a:lnTo>
                      <a:pt x="331" y="410"/>
                    </a:lnTo>
                    <a:lnTo>
                      <a:pt x="333" y="410"/>
                    </a:lnTo>
                    <a:lnTo>
                      <a:pt x="333" y="412"/>
                    </a:lnTo>
                    <a:lnTo>
                      <a:pt x="335" y="412"/>
                    </a:lnTo>
                    <a:close/>
                    <a:moveTo>
                      <a:pt x="335" y="412"/>
                    </a:moveTo>
                    <a:lnTo>
                      <a:pt x="337" y="412"/>
                    </a:lnTo>
                    <a:lnTo>
                      <a:pt x="335" y="412"/>
                    </a:lnTo>
                    <a:lnTo>
                      <a:pt x="337" y="412"/>
                    </a:lnTo>
                    <a:lnTo>
                      <a:pt x="335" y="412"/>
                    </a:lnTo>
                    <a:lnTo>
                      <a:pt x="333" y="412"/>
                    </a:lnTo>
                    <a:lnTo>
                      <a:pt x="333" y="410"/>
                    </a:lnTo>
                    <a:lnTo>
                      <a:pt x="331" y="410"/>
                    </a:lnTo>
                    <a:lnTo>
                      <a:pt x="333" y="410"/>
                    </a:lnTo>
                    <a:lnTo>
                      <a:pt x="335" y="410"/>
                    </a:lnTo>
                    <a:lnTo>
                      <a:pt x="335" y="412"/>
                    </a:lnTo>
                    <a:close/>
                    <a:moveTo>
                      <a:pt x="331" y="410"/>
                    </a:moveTo>
                    <a:lnTo>
                      <a:pt x="329" y="410"/>
                    </a:lnTo>
                    <a:lnTo>
                      <a:pt x="331" y="410"/>
                    </a:lnTo>
                    <a:close/>
                    <a:moveTo>
                      <a:pt x="329" y="408"/>
                    </a:moveTo>
                    <a:lnTo>
                      <a:pt x="331" y="408"/>
                    </a:lnTo>
                    <a:lnTo>
                      <a:pt x="329" y="410"/>
                    </a:lnTo>
                    <a:lnTo>
                      <a:pt x="329" y="408"/>
                    </a:lnTo>
                    <a:lnTo>
                      <a:pt x="329" y="410"/>
                    </a:lnTo>
                    <a:lnTo>
                      <a:pt x="329" y="408"/>
                    </a:lnTo>
                    <a:close/>
                    <a:moveTo>
                      <a:pt x="329" y="410"/>
                    </a:moveTo>
                    <a:lnTo>
                      <a:pt x="327" y="410"/>
                    </a:lnTo>
                    <a:lnTo>
                      <a:pt x="325" y="410"/>
                    </a:lnTo>
                    <a:lnTo>
                      <a:pt x="327" y="410"/>
                    </a:lnTo>
                    <a:lnTo>
                      <a:pt x="329" y="410"/>
                    </a:lnTo>
                    <a:close/>
                    <a:moveTo>
                      <a:pt x="290" y="437"/>
                    </a:moveTo>
                    <a:lnTo>
                      <a:pt x="290" y="435"/>
                    </a:lnTo>
                    <a:lnTo>
                      <a:pt x="290" y="437"/>
                    </a:lnTo>
                    <a:close/>
                    <a:moveTo>
                      <a:pt x="287" y="427"/>
                    </a:moveTo>
                    <a:lnTo>
                      <a:pt x="289" y="429"/>
                    </a:lnTo>
                    <a:lnTo>
                      <a:pt x="289" y="431"/>
                    </a:lnTo>
                    <a:lnTo>
                      <a:pt x="287" y="429"/>
                    </a:lnTo>
                    <a:lnTo>
                      <a:pt x="287" y="427"/>
                    </a:lnTo>
                    <a:close/>
                    <a:moveTo>
                      <a:pt x="290" y="412"/>
                    </a:moveTo>
                    <a:lnTo>
                      <a:pt x="290" y="413"/>
                    </a:lnTo>
                    <a:lnTo>
                      <a:pt x="290" y="412"/>
                    </a:lnTo>
                    <a:lnTo>
                      <a:pt x="290" y="413"/>
                    </a:lnTo>
                    <a:lnTo>
                      <a:pt x="290" y="412"/>
                    </a:lnTo>
                    <a:close/>
                    <a:moveTo>
                      <a:pt x="302" y="396"/>
                    </a:moveTo>
                    <a:lnTo>
                      <a:pt x="304" y="396"/>
                    </a:lnTo>
                    <a:lnTo>
                      <a:pt x="304" y="398"/>
                    </a:lnTo>
                    <a:lnTo>
                      <a:pt x="302" y="396"/>
                    </a:lnTo>
                    <a:close/>
                    <a:moveTo>
                      <a:pt x="300" y="396"/>
                    </a:moveTo>
                    <a:lnTo>
                      <a:pt x="300" y="398"/>
                    </a:lnTo>
                    <a:lnTo>
                      <a:pt x="300" y="396"/>
                    </a:lnTo>
                    <a:lnTo>
                      <a:pt x="300" y="398"/>
                    </a:lnTo>
                    <a:lnTo>
                      <a:pt x="298" y="398"/>
                    </a:lnTo>
                    <a:lnTo>
                      <a:pt x="300" y="396"/>
                    </a:lnTo>
                    <a:close/>
                    <a:moveTo>
                      <a:pt x="298" y="398"/>
                    </a:moveTo>
                    <a:lnTo>
                      <a:pt x="296" y="398"/>
                    </a:lnTo>
                    <a:lnTo>
                      <a:pt x="298" y="398"/>
                    </a:lnTo>
                    <a:lnTo>
                      <a:pt x="296" y="398"/>
                    </a:lnTo>
                    <a:lnTo>
                      <a:pt x="298" y="398"/>
                    </a:lnTo>
                    <a:close/>
                    <a:moveTo>
                      <a:pt x="296" y="398"/>
                    </a:moveTo>
                    <a:lnTo>
                      <a:pt x="298" y="398"/>
                    </a:lnTo>
                    <a:lnTo>
                      <a:pt x="296" y="398"/>
                    </a:lnTo>
                    <a:close/>
                    <a:moveTo>
                      <a:pt x="289" y="406"/>
                    </a:moveTo>
                    <a:lnTo>
                      <a:pt x="287" y="406"/>
                    </a:lnTo>
                    <a:lnTo>
                      <a:pt x="289" y="406"/>
                    </a:lnTo>
                    <a:close/>
                    <a:moveTo>
                      <a:pt x="290" y="396"/>
                    </a:moveTo>
                    <a:lnTo>
                      <a:pt x="289" y="396"/>
                    </a:lnTo>
                    <a:lnTo>
                      <a:pt x="289" y="394"/>
                    </a:lnTo>
                    <a:lnTo>
                      <a:pt x="290" y="394"/>
                    </a:lnTo>
                    <a:lnTo>
                      <a:pt x="290" y="396"/>
                    </a:lnTo>
                    <a:close/>
                    <a:moveTo>
                      <a:pt x="104" y="306"/>
                    </a:moveTo>
                    <a:lnTo>
                      <a:pt x="104" y="308"/>
                    </a:lnTo>
                    <a:lnTo>
                      <a:pt x="104" y="306"/>
                    </a:lnTo>
                    <a:close/>
                    <a:moveTo>
                      <a:pt x="98" y="304"/>
                    </a:moveTo>
                    <a:lnTo>
                      <a:pt x="96" y="304"/>
                    </a:lnTo>
                    <a:lnTo>
                      <a:pt x="98" y="304"/>
                    </a:lnTo>
                    <a:close/>
                    <a:moveTo>
                      <a:pt x="100" y="298"/>
                    </a:moveTo>
                    <a:lnTo>
                      <a:pt x="102" y="300"/>
                    </a:lnTo>
                    <a:lnTo>
                      <a:pt x="102" y="302"/>
                    </a:lnTo>
                    <a:lnTo>
                      <a:pt x="100" y="302"/>
                    </a:lnTo>
                    <a:lnTo>
                      <a:pt x="100" y="300"/>
                    </a:lnTo>
                    <a:lnTo>
                      <a:pt x="100" y="298"/>
                    </a:lnTo>
                    <a:close/>
                    <a:moveTo>
                      <a:pt x="100" y="298"/>
                    </a:moveTo>
                    <a:lnTo>
                      <a:pt x="98" y="298"/>
                    </a:lnTo>
                    <a:lnTo>
                      <a:pt x="100" y="298"/>
                    </a:lnTo>
                    <a:close/>
                    <a:moveTo>
                      <a:pt x="98" y="296"/>
                    </a:moveTo>
                    <a:lnTo>
                      <a:pt x="98" y="298"/>
                    </a:lnTo>
                    <a:lnTo>
                      <a:pt x="100" y="298"/>
                    </a:lnTo>
                    <a:lnTo>
                      <a:pt x="98" y="298"/>
                    </a:lnTo>
                    <a:lnTo>
                      <a:pt x="98" y="296"/>
                    </a:lnTo>
                    <a:close/>
                    <a:moveTo>
                      <a:pt x="100" y="283"/>
                    </a:moveTo>
                    <a:lnTo>
                      <a:pt x="100" y="285"/>
                    </a:lnTo>
                    <a:lnTo>
                      <a:pt x="98" y="285"/>
                    </a:lnTo>
                    <a:lnTo>
                      <a:pt x="100" y="285"/>
                    </a:lnTo>
                    <a:lnTo>
                      <a:pt x="98" y="285"/>
                    </a:lnTo>
                    <a:lnTo>
                      <a:pt x="98" y="283"/>
                    </a:lnTo>
                    <a:lnTo>
                      <a:pt x="100" y="283"/>
                    </a:lnTo>
                    <a:close/>
                    <a:moveTo>
                      <a:pt x="96" y="285"/>
                    </a:moveTo>
                    <a:lnTo>
                      <a:pt x="96" y="287"/>
                    </a:lnTo>
                    <a:lnTo>
                      <a:pt x="96" y="285"/>
                    </a:lnTo>
                    <a:close/>
                    <a:moveTo>
                      <a:pt x="81" y="275"/>
                    </a:moveTo>
                    <a:lnTo>
                      <a:pt x="79" y="275"/>
                    </a:lnTo>
                    <a:lnTo>
                      <a:pt x="81" y="275"/>
                    </a:lnTo>
                    <a:close/>
                    <a:moveTo>
                      <a:pt x="2" y="338"/>
                    </a:moveTo>
                    <a:lnTo>
                      <a:pt x="4" y="338"/>
                    </a:lnTo>
                    <a:lnTo>
                      <a:pt x="2" y="338"/>
                    </a:lnTo>
                    <a:lnTo>
                      <a:pt x="2" y="340"/>
                    </a:lnTo>
                    <a:lnTo>
                      <a:pt x="2" y="338"/>
                    </a:lnTo>
                    <a:lnTo>
                      <a:pt x="0" y="338"/>
                    </a:lnTo>
                    <a:lnTo>
                      <a:pt x="2" y="338"/>
                    </a:lnTo>
                    <a:close/>
                    <a:moveTo>
                      <a:pt x="2" y="337"/>
                    </a:moveTo>
                    <a:lnTo>
                      <a:pt x="2" y="338"/>
                    </a:lnTo>
                    <a:lnTo>
                      <a:pt x="2" y="337"/>
                    </a:lnTo>
                    <a:close/>
                    <a:moveTo>
                      <a:pt x="4" y="337"/>
                    </a:moveTo>
                    <a:lnTo>
                      <a:pt x="2" y="337"/>
                    </a:lnTo>
                    <a:lnTo>
                      <a:pt x="4" y="337"/>
                    </a:lnTo>
                    <a:lnTo>
                      <a:pt x="4" y="335"/>
                    </a:lnTo>
                    <a:lnTo>
                      <a:pt x="4" y="337"/>
                    </a:lnTo>
                    <a:close/>
                    <a:moveTo>
                      <a:pt x="25" y="304"/>
                    </a:moveTo>
                    <a:lnTo>
                      <a:pt x="25" y="306"/>
                    </a:lnTo>
                    <a:lnTo>
                      <a:pt x="25" y="304"/>
                    </a:lnTo>
                    <a:lnTo>
                      <a:pt x="25" y="306"/>
                    </a:lnTo>
                    <a:lnTo>
                      <a:pt x="23" y="306"/>
                    </a:lnTo>
                    <a:lnTo>
                      <a:pt x="23" y="304"/>
                    </a:lnTo>
                    <a:lnTo>
                      <a:pt x="25" y="304"/>
                    </a:lnTo>
                    <a:close/>
                    <a:moveTo>
                      <a:pt x="56" y="273"/>
                    </a:moveTo>
                    <a:lnTo>
                      <a:pt x="54" y="273"/>
                    </a:lnTo>
                    <a:lnTo>
                      <a:pt x="56" y="273"/>
                    </a:lnTo>
                    <a:close/>
                    <a:moveTo>
                      <a:pt x="52" y="273"/>
                    </a:moveTo>
                    <a:lnTo>
                      <a:pt x="50" y="273"/>
                    </a:lnTo>
                    <a:lnTo>
                      <a:pt x="52" y="271"/>
                    </a:lnTo>
                    <a:lnTo>
                      <a:pt x="52" y="273"/>
                    </a:lnTo>
                    <a:close/>
                    <a:moveTo>
                      <a:pt x="106" y="215"/>
                    </a:moveTo>
                    <a:lnTo>
                      <a:pt x="106" y="217"/>
                    </a:lnTo>
                    <a:lnTo>
                      <a:pt x="108" y="217"/>
                    </a:lnTo>
                    <a:lnTo>
                      <a:pt x="106" y="217"/>
                    </a:lnTo>
                    <a:lnTo>
                      <a:pt x="106" y="215"/>
                    </a:lnTo>
                    <a:close/>
                    <a:moveTo>
                      <a:pt x="54" y="267"/>
                    </a:moveTo>
                    <a:lnTo>
                      <a:pt x="54" y="265"/>
                    </a:lnTo>
                    <a:lnTo>
                      <a:pt x="54" y="267"/>
                    </a:lnTo>
                    <a:lnTo>
                      <a:pt x="54" y="269"/>
                    </a:lnTo>
                    <a:lnTo>
                      <a:pt x="54" y="271"/>
                    </a:lnTo>
                    <a:lnTo>
                      <a:pt x="56" y="271"/>
                    </a:lnTo>
                    <a:lnTo>
                      <a:pt x="54" y="271"/>
                    </a:lnTo>
                    <a:lnTo>
                      <a:pt x="52" y="271"/>
                    </a:lnTo>
                    <a:lnTo>
                      <a:pt x="54" y="271"/>
                    </a:lnTo>
                    <a:lnTo>
                      <a:pt x="52" y="271"/>
                    </a:lnTo>
                    <a:lnTo>
                      <a:pt x="52" y="273"/>
                    </a:lnTo>
                    <a:lnTo>
                      <a:pt x="52" y="271"/>
                    </a:lnTo>
                    <a:lnTo>
                      <a:pt x="52" y="269"/>
                    </a:lnTo>
                    <a:lnTo>
                      <a:pt x="52" y="267"/>
                    </a:lnTo>
                    <a:lnTo>
                      <a:pt x="54" y="267"/>
                    </a:lnTo>
                    <a:close/>
                    <a:moveTo>
                      <a:pt x="106" y="214"/>
                    </a:moveTo>
                    <a:lnTo>
                      <a:pt x="108" y="214"/>
                    </a:lnTo>
                    <a:lnTo>
                      <a:pt x="106" y="214"/>
                    </a:lnTo>
                    <a:close/>
                    <a:moveTo>
                      <a:pt x="10" y="308"/>
                    </a:moveTo>
                    <a:lnTo>
                      <a:pt x="10" y="306"/>
                    </a:lnTo>
                    <a:lnTo>
                      <a:pt x="12" y="306"/>
                    </a:lnTo>
                    <a:lnTo>
                      <a:pt x="10" y="308"/>
                    </a:lnTo>
                    <a:close/>
                    <a:moveTo>
                      <a:pt x="114" y="198"/>
                    </a:moveTo>
                    <a:lnTo>
                      <a:pt x="116" y="198"/>
                    </a:lnTo>
                    <a:lnTo>
                      <a:pt x="114" y="198"/>
                    </a:lnTo>
                    <a:close/>
                    <a:moveTo>
                      <a:pt x="114" y="200"/>
                    </a:moveTo>
                    <a:lnTo>
                      <a:pt x="112" y="200"/>
                    </a:lnTo>
                    <a:lnTo>
                      <a:pt x="114" y="200"/>
                    </a:lnTo>
                    <a:lnTo>
                      <a:pt x="112" y="200"/>
                    </a:lnTo>
                    <a:lnTo>
                      <a:pt x="114" y="200"/>
                    </a:lnTo>
                    <a:close/>
                    <a:moveTo>
                      <a:pt x="118" y="194"/>
                    </a:moveTo>
                    <a:lnTo>
                      <a:pt x="116" y="194"/>
                    </a:lnTo>
                    <a:lnTo>
                      <a:pt x="118" y="194"/>
                    </a:lnTo>
                    <a:close/>
                    <a:moveTo>
                      <a:pt x="112" y="198"/>
                    </a:moveTo>
                    <a:lnTo>
                      <a:pt x="114" y="200"/>
                    </a:lnTo>
                    <a:lnTo>
                      <a:pt x="112" y="198"/>
                    </a:lnTo>
                    <a:lnTo>
                      <a:pt x="114" y="198"/>
                    </a:lnTo>
                    <a:lnTo>
                      <a:pt x="114" y="200"/>
                    </a:lnTo>
                    <a:lnTo>
                      <a:pt x="114" y="198"/>
                    </a:lnTo>
                    <a:lnTo>
                      <a:pt x="114" y="200"/>
                    </a:lnTo>
                    <a:lnTo>
                      <a:pt x="112" y="200"/>
                    </a:lnTo>
                    <a:lnTo>
                      <a:pt x="112" y="198"/>
                    </a:lnTo>
                    <a:close/>
                    <a:moveTo>
                      <a:pt x="116" y="196"/>
                    </a:moveTo>
                    <a:lnTo>
                      <a:pt x="116" y="194"/>
                    </a:lnTo>
                    <a:lnTo>
                      <a:pt x="116" y="196"/>
                    </a:lnTo>
                    <a:close/>
                    <a:moveTo>
                      <a:pt x="112" y="200"/>
                    </a:moveTo>
                    <a:lnTo>
                      <a:pt x="112" y="198"/>
                    </a:lnTo>
                    <a:lnTo>
                      <a:pt x="112" y="200"/>
                    </a:lnTo>
                    <a:lnTo>
                      <a:pt x="114" y="200"/>
                    </a:lnTo>
                    <a:lnTo>
                      <a:pt x="112" y="200"/>
                    </a:lnTo>
                    <a:close/>
                    <a:moveTo>
                      <a:pt x="116" y="196"/>
                    </a:moveTo>
                    <a:lnTo>
                      <a:pt x="114" y="196"/>
                    </a:lnTo>
                    <a:lnTo>
                      <a:pt x="116" y="196"/>
                    </a:lnTo>
                    <a:close/>
                    <a:moveTo>
                      <a:pt x="108" y="204"/>
                    </a:moveTo>
                    <a:lnTo>
                      <a:pt x="108" y="202"/>
                    </a:lnTo>
                    <a:lnTo>
                      <a:pt x="108" y="204"/>
                    </a:lnTo>
                    <a:close/>
                    <a:moveTo>
                      <a:pt x="114" y="196"/>
                    </a:moveTo>
                    <a:lnTo>
                      <a:pt x="112" y="198"/>
                    </a:lnTo>
                    <a:lnTo>
                      <a:pt x="114" y="196"/>
                    </a:lnTo>
                    <a:close/>
                    <a:moveTo>
                      <a:pt x="27" y="279"/>
                    </a:moveTo>
                    <a:lnTo>
                      <a:pt x="27" y="281"/>
                    </a:lnTo>
                    <a:lnTo>
                      <a:pt x="27" y="279"/>
                    </a:lnTo>
                    <a:lnTo>
                      <a:pt x="27" y="281"/>
                    </a:lnTo>
                    <a:lnTo>
                      <a:pt x="27" y="279"/>
                    </a:lnTo>
                    <a:close/>
                    <a:moveTo>
                      <a:pt x="27" y="281"/>
                    </a:moveTo>
                    <a:lnTo>
                      <a:pt x="27" y="279"/>
                    </a:lnTo>
                    <a:lnTo>
                      <a:pt x="27" y="281"/>
                    </a:lnTo>
                    <a:close/>
                    <a:moveTo>
                      <a:pt x="27" y="279"/>
                    </a:moveTo>
                    <a:lnTo>
                      <a:pt x="25" y="279"/>
                    </a:lnTo>
                    <a:lnTo>
                      <a:pt x="27" y="281"/>
                    </a:lnTo>
                    <a:lnTo>
                      <a:pt x="25" y="281"/>
                    </a:lnTo>
                    <a:lnTo>
                      <a:pt x="27" y="281"/>
                    </a:lnTo>
                    <a:lnTo>
                      <a:pt x="25" y="281"/>
                    </a:lnTo>
                    <a:lnTo>
                      <a:pt x="25" y="279"/>
                    </a:lnTo>
                    <a:lnTo>
                      <a:pt x="27" y="279"/>
                    </a:lnTo>
                    <a:close/>
                    <a:moveTo>
                      <a:pt x="29" y="277"/>
                    </a:moveTo>
                    <a:lnTo>
                      <a:pt x="31" y="277"/>
                    </a:lnTo>
                    <a:lnTo>
                      <a:pt x="33" y="275"/>
                    </a:lnTo>
                    <a:lnTo>
                      <a:pt x="35" y="275"/>
                    </a:lnTo>
                    <a:lnTo>
                      <a:pt x="37" y="277"/>
                    </a:lnTo>
                    <a:lnTo>
                      <a:pt x="35" y="277"/>
                    </a:lnTo>
                    <a:lnTo>
                      <a:pt x="35" y="275"/>
                    </a:lnTo>
                    <a:lnTo>
                      <a:pt x="35" y="277"/>
                    </a:lnTo>
                    <a:lnTo>
                      <a:pt x="35" y="275"/>
                    </a:lnTo>
                    <a:lnTo>
                      <a:pt x="33" y="275"/>
                    </a:lnTo>
                    <a:lnTo>
                      <a:pt x="33" y="277"/>
                    </a:lnTo>
                    <a:lnTo>
                      <a:pt x="31" y="277"/>
                    </a:lnTo>
                    <a:lnTo>
                      <a:pt x="29" y="277"/>
                    </a:lnTo>
                    <a:lnTo>
                      <a:pt x="29" y="279"/>
                    </a:lnTo>
                    <a:lnTo>
                      <a:pt x="27" y="279"/>
                    </a:lnTo>
                    <a:lnTo>
                      <a:pt x="29" y="277"/>
                    </a:lnTo>
                    <a:close/>
                    <a:moveTo>
                      <a:pt x="27" y="279"/>
                    </a:moveTo>
                    <a:lnTo>
                      <a:pt x="25" y="279"/>
                    </a:lnTo>
                    <a:lnTo>
                      <a:pt x="27" y="279"/>
                    </a:lnTo>
                    <a:close/>
                    <a:moveTo>
                      <a:pt x="25" y="279"/>
                    </a:moveTo>
                    <a:lnTo>
                      <a:pt x="25" y="281"/>
                    </a:lnTo>
                    <a:lnTo>
                      <a:pt x="25" y="279"/>
                    </a:lnTo>
                    <a:close/>
                    <a:moveTo>
                      <a:pt x="23" y="281"/>
                    </a:moveTo>
                    <a:lnTo>
                      <a:pt x="21" y="281"/>
                    </a:lnTo>
                    <a:lnTo>
                      <a:pt x="23" y="281"/>
                    </a:lnTo>
                    <a:close/>
                    <a:moveTo>
                      <a:pt x="21" y="281"/>
                    </a:moveTo>
                    <a:lnTo>
                      <a:pt x="21" y="283"/>
                    </a:lnTo>
                    <a:lnTo>
                      <a:pt x="21" y="281"/>
                    </a:lnTo>
                    <a:close/>
                    <a:moveTo>
                      <a:pt x="12" y="289"/>
                    </a:moveTo>
                    <a:lnTo>
                      <a:pt x="10" y="290"/>
                    </a:lnTo>
                    <a:lnTo>
                      <a:pt x="12" y="289"/>
                    </a:lnTo>
                    <a:lnTo>
                      <a:pt x="12" y="287"/>
                    </a:lnTo>
                    <a:lnTo>
                      <a:pt x="12" y="289"/>
                    </a:lnTo>
                    <a:close/>
                    <a:moveTo>
                      <a:pt x="14" y="285"/>
                    </a:moveTo>
                    <a:lnTo>
                      <a:pt x="14" y="287"/>
                    </a:lnTo>
                    <a:lnTo>
                      <a:pt x="14" y="285"/>
                    </a:lnTo>
                    <a:close/>
                    <a:moveTo>
                      <a:pt x="14" y="285"/>
                    </a:moveTo>
                    <a:lnTo>
                      <a:pt x="14" y="287"/>
                    </a:lnTo>
                    <a:lnTo>
                      <a:pt x="12" y="287"/>
                    </a:lnTo>
                    <a:lnTo>
                      <a:pt x="14" y="285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" name="Freeform 151">
                <a:extLst>
                  <a:ext uri="{FF2B5EF4-FFF2-40B4-BE49-F238E27FC236}">
                    <a16:creationId xmlns="" xmlns:a16="http://schemas.microsoft.com/office/drawing/2014/main" id="{991C4BC8-A66A-472F-B4C6-6AB93B5AA72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16775" y="1476376"/>
                <a:ext cx="1050925" cy="806450"/>
              </a:xfrm>
              <a:custGeom>
                <a:avLst/>
                <a:gdLst>
                  <a:gd name="T0" fmla="*/ 632 w 662"/>
                  <a:gd name="T1" fmla="*/ 92 h 508"/>
                  <a:gd name="T2" fmla="*/ 624 w 662"/>
                  <a:gd name="T3" fmla="*/ 69 h 508"/>
                  <a:gd name="T4" fmla="*/ 599 w 662"/>
                  <a:gd name="T5" fmla="*/ 85 h 508"/>
                  <a:gd name="T6" fmla="*/ 603 w 662"/>
                  <a:gd name="T7" fmla="*/ 81 h 508"/>
                  <a:gd name="T8" fmla="*/ 614 w 662"/>
                  <a:gd name="T9" fmla="*/ 54 h 508"/>
                  <a:gd name="T10" fmla="*/ 464 w 662"/>
                  <a:gd name="T11" fmla="*/ 210 h 508"/>
                  <a:gd name="T12" fmla="*/ 614 w 662"/>
                  <a:gd name="T13" fmla="*/ 8 h 508"/>
                  <a:gd name="T14" fmla="*/ 610 w 662"/>
                  <a:gd name="T15" fmla="*/ 16 h 508"/>
                  <a:gd name="T16" fmla="*/ 551 w 662"/>
                  <a:gd name="T17" fmla="*/ 91 h 508"/>
                  <a:gd name="T18" fmla="*/ 536 w 662"/>
                  <a:gd name="T19" fmla="*/ 81 h 508"/>
                  <a:gd name="T20" fmla="*/ 513 w 662"/>
                  <a:gd name="T21" fmla="*/ 58 h 508"/>
                  <a:gd name="T22" fmla="*/ 470 w 662"/>
                  <a:gd name="T23" fmla="*/ 87 h 508"/>
                  <a:gd name="T24" fmla="*/ 445 w 662"/>
                  <a:gd name="T25" fmla="*/ 102 h 508"/>
                  <a:gd name="T26" fmla="*/ 440 w 662"/>
                  <a:gd name="T27" fmla="*/ 89 h 508"/>
                  <a:gd name="T28" fmla="*/ 413 w 662"/>
                  <a:gd name="T29" fmla="*/ 108 h 508"/>
                  <a:gd name="T30" fmla="*/ 415 w 662"/>
                  <a:gd name="T31" fmla="*/ 98 h 508"/>
                  <a:gd name="T32" fmla="*/ 413 w 662"/>
                  <a:gd name="T33" fmla="*/ 96 h 508"/>
                  <a:gd name="T34" fmla="*/ 413 w 662"/>
                  <a:gd name="T35" fmla="*/ 96 h 508"/>
                  <a:gd name="T36" fmla="*/ 411 w 662"/>
                  <a:gd name="T37" fmla="*/ 92 h 508"/>
                  <a:gd name="T38" fmla="*/ 416 w 662"/>
                  <a:gd name="T39" fmla="*/ 79 h 508"/>
                  <a:gd name="T40" fmla="*/ 405 w 662"/>
                  <a:gd name="T41" fmla="*/ 91 h 508"/>
                  <a:gd name="T42" fmla="*/ 413 w 662"/>
                  <a:gd name="T43" fmla="*/ 81 h 508"/>
                  <a:gd name="T44" fmla="*/ 401 w 662"/>
                  <a:gd name="T45" fmla="*/ 92 h 508"/>
                  <a:gd name="T46" fmla="*/ 399 w 662"/>
                  <a:gd name="T47" fmla="*/ 91 h 508"/>
                  <a:gd name="T48" fmla="*/ 386 w 662"/>
                  <a:gd name="T49" fmla="*/ 87 h 508"/>
                  <a:gd name="T50" fmla="*/ 376 w 662"/>
                  <a:gd name="T51" fmla="*/ 89 h 508"/>
                  <a:gd name="T52" fmla="*/ 359 w 662"/>
                  <a:gd name="T53" fmla="*/ 92 h 508"/>
                  <a:gd name="T54" fmla="*/ 351 w 662"/>
                  <a:gd name="T55" fmla="*/ 92 h 508"/>
                  <a:gd name="T56" fmla="*/ 347 w 662"/>
                  <a:gd name="T57" fmla="*/ 96 h 508"/>
                  <a:gd name="T58" fmla="*/ 332 w 662"/>
                  <a:gd name="T59" fmla="*/ 104 h 508"/>
                  <a:gd name="T60" fmla="*/ 566 w 662"/>
                  <a:gd name="T61" fmla="*/ 508 h 508"/>
                  <a:gd name="T62" fmla="*/ 576 w 662"/>
                  <a:gd name="T63" fmla="*/ 454 h 508"/>
                  <a:gd name="T64" fmla="*/ 549 w 662"/>
                  <a:gd name="T65" fmla="*/ 327 h 508"/>
                  <a:gd name="T66" fmla="*/ 534 w 662"/>
                  <a:gd name="T67" fmla="*/ 331 h 508"/>
                  <a:gd name="T68" fmla="*/ 505 w 662"/>
                  <a:gd name="T69" fmla="*/ 339 h 508"/>
                  <a:gd name="T70" fmla="*/ 495 w 662"/>
                  <a:gd name="T71" fmla="*/ 339 h 508"/>
                  <a:gd name="T72" fmla="*/ 434 w 662"/>
                  <a:gd name="T73" fmla="*/ 404 h 508"/>
                  <a:gd name="T74" fmla="*/ 432 w 662"/>
                  <a:gd name="T75" fmla="*/ 404 h 508"/>
                  <a:gd name="T76" fmla="*/ 434 w 662"/>
                  <a:gd name="T77" fmla="*/ 383 h 508"/>
                  <a:gd name="T78" fmla="*/ 447 w 662"/>
                  <a:gd name="T79" fmla="*/ 362 h 508"/>
                  <a:gd name="T80" fmla="*/ 411 w 662"/>
                  <a:gd name="T81" fmla="*/ 389 h 508"/>
                  <a:gd name="T82" fmla="*/ 386 w 662"/>
                  <a:gd name="T83" fmla="*/ 375 h 508"/>
                  <a:gd name="T84" fmla="*/ 338 w 662"/>
                  <a:gd name="T85" fmla="*/ 323 h 508"/>
                  <a:gd name="T86" fmla="*/ 174 w 662"/>
                  <a:gd name="T87" fmla="*/ 264 h 508"/>
                  <a:gd name="T88" fmla="*/ 121 w 662"/>
                  <a:gd name="T89" fmla="*/ 300 h 508"/>
                  <a:gd name="T90" fmla="*/ 303 w 662"/>
                  <a:gd name="T91" fmla="*/ 106 h 508"/>
                  <a:gd name="T92" fmla="*/ 82 w 662"/>
                  <a:gd name="T93" fmla="*/ 315 h 508"/>
                  <a:gd name="T94" fmla="*/ 46 w 662"/>
                  <a:gd name="T95" fmla="*/ 339 h 508"/>
                  <a:gd name="T96" fmla="*/ 0 w 662"/>
                  <a:gd name="T97" fmla="*/ 373 h 508"/>
                  <a:gd name="T98" fmla="*/ 21 w 662"/>
                  <a:gd name="T99" fmla="*/ 350 h 508"/>
                  <a:gd name="T100" fmla="*/ 140 w 662"/>
                  <a:gd name="T101" fmla="*/ 239 h 508"/>
                  <a:gd name="T102" fmla="*/ 92 w 662"/>
                  <a:gd name="T103" fmla="*/ 283 h 508"/>
                  <a:gd name="T104" fmla="*/ 117 w 662"/>
                  <a:gd name="T105" fmla="*/ 254 h 508"/>
                  <a:gd name="T106" fmla="*/ 180 w 662"/>
                  <a:gd name="T107" fmla="*/ 191 h 508"/>
                  <a:gd name="T108" fmla="*/ 215 w 662"/>
                  <a:gd name="T109" fmla="*/ 154 h 508"/>
                  <a:gd name="T110" fmla="*/ 188 w 662"/>
                  <a:gd name="T111" fmla="*/ 181 h 508"/>
                  <a:gd name="T112" fmla="*/ 194 w 662"/>
                  <a:gd name="T113" fmla="*/ 175 h 508"/>
                  <a:gd name="T114" fmla="*/ 192 w 662"/>
                  <a:gd name="T115" fmla="*/ 175 h 508"/>
                  <a:gd name="T116" fmla="*/ 194 w 662"/>
                  <a:gd name="T117" fmla="*/ 173 h 508"/>
                  <a:gd name="T118" fmla="*/ 105 w 662"/>
                  <a:gd name="T119" fmla="*/ 256 h 508"/>
                  <a:gd name="T120" fmla="*/ 86 w 662"/>
                  <a:gd name="T121" fmla="*/ 273 h 508"/>
                  <a:gd name="T122" fmla="*/ 88 w 662"/>
                  <a:gd name="T123" fmla="*/ 267 h 508"/>
                  <a:gd name="T124" fmla="*/ 90 w 662"/>
                  <a:gd name="T125" fmla="*/ 266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62" h="508">
                    <a:moveTo>
                      <a:pt x="601" y="173"/>
                    </a:moveTo>
                    <a:lnTo>
                      <a:pt x="599" y="173"/>
                    </a:lnTo>
                    <a:lnTo>
                      <a:pt x="601" y="173"/>
                    </a:lnTo>
                    <a:close/>
                    <a:moveTo>
                      <a:pt x="632" y="92"/>
                    </a:moveTo>
                    <a:lnTo>
                      <a:pt x="630" y="92"/>
                    </a:lnTo>
                    <a:lnTo>
                      <a:pt x="632" y="92"/>
                    </a:lnTo>
                    <a:close/>
                    <a:moveTo>
                      <a:pt x="632" y="92"/>
                    </a:moveTo>
                    <a:lnTo>
                      <a:pt x="630" y="92"/>
                    </a:lnTo>
                    <a:lnTo>
                      <a:pt x="632" y="92"/>
                    </a:lnTo>
                    <a:close/>
                    <a:moveTo>
                      <a:pt x="499" y="252"/>
                    </a:moveTo>
                    <a:lnTo>
                      <a:pt x="505" y="256"/>
                    </a:lnTo>
                    <a:lnTo>
                      <a:pt x="499" y="252"/>
                    </a:lnTo>
                    <a:close/>
                    <a:moveTo>
                      <a:pt x="624" y="67"/>
                    </a:moveTo>
                    <a:lnTo>
                      <a:pt x="624" y="69"/>
                    </a:lnTo>
                    <a:lnTo>
                      <a:pt x="624" y="67"/>
                    </a:lnTo>
                    <a:close/>
                    <a:moveTo>
                      <a:pt x="662" y="2"/>
                    </a:moveTo>
                    <a:lnTo>
                      <a:pt x="662" y="0"/>
                    </a:lnTo>
                    <a:lnTo>
                      <a:pt x="662" y="2"/>
                    </a:lnTo>
                    <a:close/>
                    <a:moveTo>
                      <a:pt x="599" y="85"/>
                    </a:moveTo>
                    <a:lnTo>
                      <a:pt x="599" y="87"/>
                    </a:lnTo>
                    <a:lnTo>
                      <a:pt x="599" y="85"/>
                    </a:lnTo>
                    <a:close/>
                    <a:moveTo>
                      <a:pt x="599" y="87"/>
                    </a:moveTo>
                    <a:lnTo>
                      <a:pt x="599" y="85"/>
                    </a:lnTo>
                    <a:lnTo>
                      <a:pt x="599" y="87"/>
                    </a:lnTo>
                    <a:close/>
                    <a:moveTo>
                      <a:pt x="603" y="81"/>
                    </a:moveTo>
                    <a:lnTo>
                      <a:pt x="603" y="83"/>
                    </a:lnTo>
                    <a:lnTo>
                      <a:pt x="603" y="81"/>
                    </a:lnTo>
                    <a:close/>
                    <a:moveTo>
                      <a:pt x="603" y="81"/>
                    </a:moveTo>
                    <a:lnTo>
                      <a:pt x="603" y="83"/>
                    </a:lnTo>
                    <a:lnTo>
                      <a:pt x="603" y="81"/>
                    </a:lnTo>
                    <a:close/>
                    <a:moveTo>
                      <a:pt x="603" y="81"/>
                    </a:moveTo>
                    <a:lnTo>
                      <a:pt x="601" y="81"/>
                    </a:lnTo>
                    <a:lnTo>
                      <a:pt x="603" y="81"/>
                    </a:lnTo>
                    <a:close/>
                    <a:moveTo>
                      <a:pt x="614" y="52"/>
                    </a:moveTo>
                    <a:lnTo>
                      <a:pt x="614" y="54"/>
                    </a:lnTo>
                    <a:lnTo>
                      <a:pt x="614" y="52"/>
                    </a:lnTo>
                    <a:close/>
                    <a:moveTo>
                      <a:pt x="484" y="192"/>
                    </a:moveTo>
                    <a:lnTo>
                      <a:pt x="484" y="194"/>
                    </a:lnTo>
                    <a:lnTo>
                      <a:pt x="484" y="192"/>
                    </a:lnTo>
                    <a:close/>
                    <a:moveTo>
                      <a:pt x="464" y="210"/>
                    </a:moveTo>
                    <a:lnTo>
                      <a:pt x="464" y="212"/>
                    </a:lnTo>
                    <a:lnTo>
                      <a:pt x="464" y="210"/>
                    </a:lnTo>
                    <a:close/>
                    <a:moveTo>
                      <a:pt x="612" y="14"/>
                    </a:moveTo>
                    <a:lnTo>
                      <a:pt x="612" y="16"/>
                    </a:lnTo>
                    <a:lnTo>
                      <a:pt x="612" y="14"/>
                    </a:lnTo>
                    <a:close/>
                    <a:moveTo>
                      <a:pt x="612" y="16"/>
                    </a:moveTo>
                    <a:lnTo>
                      <a:pt x="610" y="16"/>
                    </a:lnTo>
                    <a:lnTo>
                      <a:pt x="612" y="16"/>
                    </a:lnTo>
                    <a:close/>
                    <a:moveTo>
                      <a:pt x="614" y="8"/>
                    </a:moveTo>
                    <a:lnTo>
                      <a:pt x="614" y="10"/>
                    </a:lnTo>
                    <a:lnTo>
                      <a:pt x="614" y="8"/>
                    </a:lnTo>
                    <a:close/>
                    <a:moveTo>
                      <a:pt x="610" y="14"/>
                    </a:moveTo>
                    <a:lnTo>
                      <a:pt x="610" y="16"/>
                    </a:lnTo>
                    <a:lnTo>
                      <a:pt x="610" y="14"/>
                    </a:lnTo>
                    <a:close/>
                    <a:moveTo>
                      <a:pt x="610" y="14"/>
                    </a:moveTo>
                    <a:lnTo>
                      <a:pt x="610" y="16"/>
                    </a:lnTo>
                    <a:lnTo>
                      <a:pt x="610" y="14"/>
                    </a:lnTo>
                    <a:close/>
                    <a:moveTo>
                      <a:pt x="551" y="92"/>
                    </a:moveTo>
                    <a:lnTo>
                      <a:pt x="553" y="92"/>
                    </a:lnTo>
                    <a:lnTo>
                      <a:pt x="551" y="92"/>
                    </a:lnTo>
                    <a:close/>
                    <a:moveTo>
                      <a:pt x="551" y="91"/>
                    </a:moveTo>
                    <a:lnTo>
                      <a:pt x="551" y="92"/>
                    </a:lnTo>
                    <a:lnTo>
                      <a:pt x="551" y="91"/>
                    </a:lnTo>
                    <a:close/>
                    <a:moveTo>
                      <a:pt x="605" y="12"/>
                    </a:moveTo>
                    <a:lnTo>
                      <a:pt x="603" y="12"/>
                    </a:lnTo>
                    <a:lnTo>
                      <a:pt x="605" y="12"/>
                    </a:lnTo>
                    <a:close/>
                    <a:moveTo>
                      <a:pt x="536" y="91"/>
                    </a:moveTo>
                    <a:lnTo>
                      <a:pt x="534" y="91"/>
                    </a:lnTo>
                    <a:lnTo>
                      <a:pt x="536" y="91"/>
                    </a:lnTo>
                    <a:close/>
                    <a:moveTo>
                      <a:pt x="536" y="81"/>
                    </a:moveTo>
                    <a:lnTo>
                      <a:pt x="536" y="83"/>
                    </a:lnTo>
                    <a:lnTo>
                      <a:pt x="536" y="81"/>
                    </a:lnTo>
                    <a:close/>
                    <a:moveTo>
                      <a:pt x="528" y="81"/>
                    </a:moveTo>
                    <a:lnTo>
                      <a:pt x="530" y="81"/>
                    </a:lnTo>
                    <a:lnTo>
                      <a:pt x="528" y="81"/>
                    </a:lnTo>
                    <a:close/>
                    <a:moveTo>
                      <a:pt x="513" y="56"/>
                    </a:moveTo>
                    <a:lnTo>
                      <a:pt x="513" y="58"/>
                    </a:lnTo>
                    <a:lnTo>
                      <a:pt x="513" y="56"/>
                    </a:lnTo>
                    <a:close/>
                    <a:moveTo>
                      <a:pt x="488" y="67"/>
                    </a:moveTo>
                    <a:lnTo>
                      <a:pt x="488" y="69"/>
                    </a:lnTo>
                    <a:lnTo>
                      <a:pt x="488" y="67"/>
                    </a:lnTo>
                    <a:close/>
                    <a:moveTo>
                      <a:pt x="470" y="87"/>
                    </a:moveTo>
                    <a:lnTo>
                      <a:pt x="470" y="85"/>
                    </a:lnTo>
                    <a:lnTo>
                      <a:pt x="470" y="87"/>
                    </a:lnTo>
                    <a:close/>
                    <a:moveTo>
                      <a:pt x="476" y="75"/>
                    </a:moveTo>
                    <a:lnTo>
                      <a:pt x="476" y="73"/>
                    </a:lnTo>
                    <a:lnTo>
                      <a:pt x="476" y="75"/>
                    </a:lnTo>
                    <a:close/>
                    <a:moveTo>
                      <a:pt x="472" y="69"/>
                    </a:moveTo>
                    <a:lnTo>
                      <a:pt x="472" y="67"/>
                    </a:lnTo>
                    <a:lnTo>
                      <a:pt x="472" y="69"/>
                    </a:lnTo>
                    <a:close/>
                    <a:moveTo>
                      <a:pt x="445" y="102"/>
                    </a:moveTo>
                    <a:lnTo>
                      <a:pt x="443" y="102"/>
                    </a:lnTo>
                    <a:lnTo>
                      <a:pt x="445" y="102"/>
                    </a:lnTo>
                    <a:close/>
                    <a:moveTo>
                      <a:pt x="403" y="139"/>
                    </a:moveTo>
                    <a:lnTo>
                      <a:pt x="401" y="139"/>
                    </a:lnTo>
                    <a:lnTo>
                      <a:pt x="403" y="139"/>
                    </a:lnTo>
                    <a:close/>
                    <a:moveTo>
                      <a:pt x="438" y="89"/>
                    </a:moveTo>
                    <a:lnTo>
                      <a:pt x="440" y="89"/>
                    </a:lnTo>
                    <a:lnTo>
                      <a:pt x="438" y="89"/>
                    </a:lnTo>
                    <a:close/>
                    <a:moveTo>
                      <a:pt x="436" y="91"/>
                    </a:moveTo>
                    <a:lnTo>
                      <a:pt x="436" y="92"/>
                    </a:lnTo>
                    <a:lnTo>
                      <a:pt x="436" y="91"/>
                    </a:lnTo>
                    <a:close/>
                    <a:moveTo>
                      <a:pt x="413" y="108"/>
                    </a:moveTo>
                    <a:lnTo>
                      <a:pt x="413" y="110"/>
                    </a:lnTo>
                    <a:lnTo>
                      <a:pt x="413" y="108"/>
                    </a:lnTo>
                    <a:close/>
                    <a:moveTo>
                      <a:pt x="413" y="100"/>
                    </a:moveTo>
                    <a:lnTo>
                      <a:pt x="413" y="102"/>
                    </a:lnTo>
                    <a:lnTo>
                      <a:pt x="413" y="100"/>
                    </a:lnTo>
                    <a:close/>
                    <a:moveTo>
                      <a:pt x="413" y="102"/>
                    </a:moveTo>
                    <a:lnTo>
                      <a:pt x="413" y="100"/>
                    </a:lnTo>
                    <a:lnTo>
                      <a:pt x="413" y="102"/>
                    </a:lnTo>
                    <a:close/>
                    <a:moveTo>
                      <a:pt x="415" y="98"/>
                    </a:moveTo>
                    <a:lnTo>
                      <a:pt x="413" y="98"/>
                    </a:lnTo>
                    <a:lnTo>
                      <a:pt x="415" y="98"/>
                    </a:lnTo>
                    <a:close/>
                    <a:moveTo>
                      <a:pt x="415" y="96"/>
                    </a:moveTo>
                    <a:lnTo>
                      <a:pt x="415" y="98"/>
                    </a:lnTo>
                    <a:lnTo>
                      <a:pt x="415" y="96"/>
                    </a:lnTo>
                    <a:close/>
                    <a:moveTo>
                      <a:pt x="415" y="96"/>
                    </a:moveTo>
                    <a:lnTo>
                      <a:pt x="413" y="96"/>
                    </a:lnTo>
                    <a:lnTo>
                      <a:pt x="415" y="96"/>
                    </a:lnTo>
                    <a:close/>
                    <a:moveTo>
                      <a:pt x="413" y="96"/>
                    </a:moveTo>
                    <a:lnTo>
                      <a:pt x="415" y="96"/>
                    </a:lnTo>
                    <a:lnTo>
                      <a:pt x="413" y="96"/>
                    </a:lnTo>
                    <a:lnTo>
                      <a:pt x="415" y="96"/>
                    </a:lnTo>
                    <a:lnTo>
                      <a:pt x="413" y="96"/>
                    </a:lnTo>
                    <a:close/>
                    <a:moveTo>
                      <a:pt x="413" y="96"/>
                    </a:moveTo>
                    <a:lnTo>
                      <a:pt x="413" y="98"/>
                    </a:lnTo>
                    <a:lnTo>
                      <a:pt x="413" y="96"/>
                    </a:lnTo>
                    <a:close/>
                    <a:moveTo>
                      <a:pt x="411" y="94"/>
                    </a:moveTo>
                    <a:lnTo>
                      <a:pt x="413" y="94"/>
                    </a:lnTo>
                    <a:lnTo>
                      <a:pt x="411" y="94"/>
                    </a:lnTo>
                    <a:close/>
                    <a:moveTo>
                      <a:pt x="411" y="94"/>
                    </a:moveTo>
                    <a:lnTo>
                      <a:pt x="411" y="92"/>
                    </a:lnTo>
                    <a:lnTo>
                      <a:pt x="409" y="92"/>
                    </a:lnTo>
                    <a:lnTo>
                      <a:pt x="411" y="92"/>
                    </a:lnTo>
                    <a:lnTo>
                      <a:pt x="411" y="94"/>
                    </a:lnTo>
                    <a:close/>
                    <a:moveTo>
                      <a:pt x="407" y="94"/>
                    </a:moveTo>
                    <a:lnTo>
                      <a:pt x="405" y="94"/>
                    </a:lnTo>
                    <a:lnTo>
                      <a:pt x="407" y="94"/>
                    </a:lnTo>
                    <a:close/>
                    <a:moveTo>
                      <a:pt x="416" y="79"/>
                    </a:moveTo>
                    <a:lnTo>
                      <a:pt x="418" y="79"/>
                    </a:lnTo>
                    <a:lnTo>
                      <a:pt x="416" y="79"/>
                    </a:lnTo>
                    <a:close/>
                    <a:moveTo>
                      <a:pt x="405" y="94"/>
                    </a:moveTo>
                    <a:lnTo>
                      <a:pt x="403" y="94"/>
                    </a:lnTo>
                    <a:lnTo>
                      <a:pt x="405" y="94"/>
                    </a:lnTo>
                    <a:close/>
                    <a:moveTo>
                      <a:pt x="407" y="91"/>
                    </a:moveTo>
                    <a:lnTo>
                      <a:pt x="405" y="91"/>
                    </a:lnTo>
                    <a:lnTo>
                      <a:pt x="407" y="91"/>
                    </a:lnTo>
                    <a:close/>
                    <a:moveTo>
                      <a:pt x="413" y="81"/>
                    </a:moveTo>
                    <a:lnTo>
                      <a:pt x="411" y="81"/>
                    </a:lnTo>
                    <a:lnTo>
                      <a:pt x="413" y="81"/>
                    </a:lnTo>
                    <a:close/>
                    <a:moveTo>
                      <a:pt x="413" y="81"/>
                    </a:moveTo>
                    <a:lnTo>
                      <a:pt x="411" y="81"/>
                    </a:lnTo>
                    <a:lnTo>
                      <a:pt x="413" y="81"/>
                    </a:lnTo>
                    <a:close/>
                    <a:moveTo>
                      <a:pt x="403" y="92"/>
                    </a:moveTo>
                    <a:lnTo>
                      <a:pt x="401" y="92"/>
                    </a:lnTo>
                    <a:lnTo>
                      <a:pt x="403" y="92"/>
                    </a:lnTo>
                    <a:close/>
                    <a:moveTo>
                      <a:pt x="409" y="81"/>
                    </a:moveTo>
                    <a:lnTo>
                      <a:pt x="411" y="81"/>
                    </a:lnTo>
                    <a:lnTo>
                      <a:pt x="409" y="81"/>
                    </a:lnTo>
                    <a:close/>
                    <a:moveTo>
                      <a:pt x="401" y="92"/>
                    </a:moveTo>
                    <a:lnTo>
                      <a:pt x="399" y="92"/>
                    </a:lnTo>
                    <a:lnTo>
                      <a:pt x="401" y="92"/>
                    </a:lnTo>
                    <a:close/>
                    <a:moveTo>
                      <a:pt x="401" y="91"/>
                    </a:moveTo>
                    <a:lnTo>
                      <a:pt x="401" y="92"/>
                    </a:lnTo>
                    <a:lnTo>
                      <a:pt x="399" y="91"/>
                    </a:lnTo>
                    <a:lnTo>
                      <a:pt x="401" y="91"/>
                    </a:lnTo>
                    <a:close/>
                    <a:moveTo>
                      <a:pt x="399" y="91"/>
                    </a:moveTo>
                    <a:lnTo>
                      <a:pt x="401" y="91"/>
                    </a:lnTo>
                    <a:lnTo>
                      <a:pt x="399" y="91"/>
                    </a:lnTo>
                    <a:close/>
                    <a:moveTo>
                      <a:pt x="399" y="91"/>
                    </a:moveTo>
                    <a:lnTo>
                      <a:pt x="401" y="91"/>
                    </a:lnTo>
                    <a:lnTo>
                      <a:pt x="399" y="91"/>
                    </a:lnTo>
                    <a:close/>
                    <a:moveTo>
                      <a:pt x="386" y="89"/>
                    </a:moveTo>
                    <a:lnTo>
                      <a:pt x="386" y="87"/>
                    </a:lnTo>
                    <a:lnTo>
                      <a:pt x="386" y="89"/>
                    </a:lnTo>
                    <a:close/>
                    <a:moveTo>
                      <a:pt x="378" y="91"/>
                    </a:moveTo>
                    <a:lnTo>
                      <a:pt x="376" y="91"/>
                    </a:lnTo>
                    <a:lnTo>
                      <a:pt x="378" y="91"/>
                    </a:lnTo>
                    <a:close/>
                    <a:moveTo>
                      <a:pt x="376" y="89"/>
                    </a:moveTo>
                    <a:lnTo>
                      <a:pt x="376" y="91"/>
                    </a:lnTo>
                    <a:lnTo>
                      <a:pt x="376" y="89"/>
                    </a:lnTo>
                    <a:close/>
                    <a:moveTo>
                      <a:pt x="372" y="91"/>
                    </a:moveTo>
                    <a:lnTo>
                      <a:pt x="370" y="91"/>
                    </a:lnTo>
                    <a:lnTo>
                      <a:pt x="372" y="91"/>
                    </a:lnTo>
                    <a:close/>
                    <a:moveTo>
                      <a:pt x="370" y="92"/>
                    </a:moveTo>
                    <a:lnTo>
                      <a:pt x="370" y="91"/>
                    </a:lnTo>
                    <a:lnTo>
                      <a:pt x="370" y="92"/>
                    </a:lnTo>
                    <a:close/>
                    <a:moveTo>
                      <a:pt x="359" y="92"/>
                    </a:moveTo>
                    <a:lnTo>
                      <a:pt x="357" y="92"/>
                    </a:lnTo>
                    <a:lnTo>
                      <a:pt x="359" y="92"/>
                    </a:lnTo>
                    <a:close/>
                    <a:moveTo>
                      <a:pt x="353" y="92"/>
                    </a:moveTo>
                    <a:lnTo>
                      <a:pt x="351" y="92"/>
                    </a:lnTo>
                    <a:lnTo>
                      <a:pt x="353" y="92"/>
                    </a:lnTo>
                    <a:close/>
                    <a:moveTo>
                      <a:pt x="351" y="94"/>
                    </a:moveTo>
                    <a:lnTo>
                      <a:pt x="351" y="92"/>
                    </a:lnTo>
                    <a:lnTo>
                      <a:pt x="351" y="94"/>
                    </a:lnTo>
                    <a:close/>
                    <a:moveTo>
                      <a:pt x="345" y="96"/>
                    </a:moveTo>
                    <a:lnTo>
                      <a:pt x="347" y="96"/>
                    </a:lnTo>
                    <a:lnTo>
                      <a:pt x="345" y="96"/>
                    </a:lnTo>
                    <a:close/>
                    <a:moveTo>
                      <a:pt x="347" y="96"/>
                    </a:moveTo>
                    <a:lnTo>
                      <a:pt x="345" y="96"/>
                    </a:lnTo>
                    <a:lnTo>
                      <a:pt x="347" y="96"/>
                    </a:lnTo>
                    <a:close/>
                    <a:moveTo>
                      <a:pt x="334" y="102"/>
                    </a:moveTo>
                    <a:lnTo>
                      <a:pt x="334" y="104"/>
                    </a:lnTo>
                    <a:lnTo>
                      <a:pt x="334" y="102"/>
                    </a:lnTo>
                    <a:close/>
                    <a:moveTo>
                      <a:pt x="334" y="102"/>
                    </a:moveTo>
                    <a:lnTo>
                      <a:pt x="334" y="104"/>
                    </a:lnTo>
                    <a:lnTo>
                      <a:pt x="334" y="102"/>
                    </a:lnTo>
                    <a:close/>
                    <a:moveTo>
                      <a:pt x="332" y="104"/>
                    </a:moveTo>
                    <a:lnTo>
                      <a:pt x="334" y="104"/>
                    </a:lnTo>
                    <a:lnTo>
                      <a:pt x="332" y="104"/>
                    </a:lnTo>
                    <a:close/>
                    <a:moveTo>
                      <a:pt x="330" y="104"/>
                    </a:moveTo>
                    <a:lnTo>
                      <a:pt x="332" y="104"/>
                    </a:lnTo>
                    <a:lnTo>
                      <a:pt x="330" y="104"/>
                    </a:lnTo>
                    <a:close/>
                    <a:moveTo>
                      <a:pt x="564" y="508"/>
                    </a:moveTo>
                    <a:lnTo>
                      <a:pt x="566" y="508"/>
                    </a:lnTo>
                    <a:lnTo>
                      <a:pt x="564" y="508"/>
                    </a:lnTo>
                    <a:close/>
                    <a:moveTo>
                      <a:pt x="564" y="504"/>
                    </a:moveTo>
                    <a:lnTo>
                      <a:pt x="564" y="506"/>
                    </a:lnTo>
                    <a:lnTo>
                      <a:pt x="564" y="504"/>
                    </a:lnTo>
                    <a:close/>
                    <a:moveTo>
                      <a:pt x="576" y="454"/>
                    </a:moveTo>
                    <a:lnTo>
                      <a:pt x="576" y="456"/>
                    </a:lnTo>
                    <a:lnTo>
                      <a:pt x="576" y="454"/>
                    </a:lnTo>
                    <a:close/>
                    <a:moveTo>
                      <a:pt x="576" y="440"/>
                    </a:moveTo>
                    <a:lnTo>
                      <a:pt x="574" y="440"/>
                    </a:lnTo>
                    <a:lnTo>
                      <a:pt x="576" y="440"/>
                    </a:lnTo>
                    <a:close/>
                    <a:moveTo>
                      <a:pt x="576" y="440"/>
                    </a:moveTo>
                    <a:lnTo>
                      <a:pt x="574" y="440"/>
                    </a:lnTo>
                    <a:lnTo>
                      <a:pt x="576" y="440"/>
                    </a:lnTo>
                    <a:close/>
                    <a:moveTo>
                      <a:pt x="549" y="327"/>
                    </a:moveTo>
                    <a:lnTo>
                      <a:pt x="547" y="327"/>
                    </a:lnTo>
                    <a:lnTo>
                      <a:pt x="549" y="327"/>
                    </a:lnTo>
                    <a:close/>
                    <a:moveTo>
                      <a:pt x="532" y="346"/>
                    </a:moveTo>
                    <a:lnTo>
                      <a:pt x="532" y="344"/>
                    </a:lnTo>
                    <a:lnTo>
                      <a:pt x="532" y="346"/>
                    </a:lnTo>
                    <a:close/>
                    <a:moveTo>
                      <a:pt x="534" y="333"/>
                    </a:moveTo>
                    <a:lnTo>
                      <a:pt x="534" y="331"/>
                    </a:lnTo>
                    <a:lnTo>
                      <a:pt x="534" y="333"/>
                    </a:lnTo>
                    <a:close/>
                    <a:moveTo>
                      <a:pt x="505" y="339"/>
                    </a:moveTo>
                    <a:lnTo>
                      <a:pt x="503" y="339"/>
                    </a:lnTo>
                    <a:lnTo>
                      <a:pt x="505" y="339"/>
                    </a:lnTo>
                    <a:close/>
                    <a:moveTo>
                      <a:pt x="505" y="339"/>
                    </a:moveTo>
                    <a:lnTo>
                      <a:pt x="503" y="339"/>
                    </a:lnTo>
                    <a:lnTo>
                      <a:pt x="505" y="339"/>
                    </a:lnTo>
                    <a:close/>
                    <a:moveTo>
                      <a:pt x="472" y="369"/>
                    </a:moveTo>
                    <a:lnTo>
                      <a:pt x="470" y="369"/>
                    </a:lnTo>
                    <a:lnTo>
                      <a:pt x="472" y="369"/>
                    </a:lnTo>
                    <a:close/>
                    <a:moveTo>
                      <a:pt x="438" y="402"/>
                    </a:moveTo>
                    <a:lnTo>
                      <a:pt x="438" y="404"/>
                    </a:lnTo>
                    <a:lnTo>
                      <a:pt x="438" y="402"/>
                    </a:lnTo>
                    <a:close/>
                    <a:moveTo>
                      <a:pt x="495" y="339"/>
                    </a:moveTo>
                    <a:lnTo>
                      <a:pt x="493" y="339"/>
                    </a:lnTo>
                    <a:lnTo>
                      <a:pt x="495" y="339"/>
                    </a:lnTo>
                    <a:close/>
                    <a:moveTo>
                      <a:pt x="434" y="402"/>
                    </a:moveTo>
                    <a:lnTo>
                      <a:pt x="434" y="404"/>
                    </a:lnTo>
                    <a:lnTo>
                      <a:pt x="434" y="402"/>
                    </a:lnTo>
                    <a:close/>
                    <a:moveTo>
                      <a:pt x="434" y="402"/>
                    </a:moveTo>
                    <a:lnTo>
                      <a:pt x="434" y="404"/>
                    </a:lnTo>
                    <a:lnTo>
                      <a:pt x="434" y="402"/>
                    </a:lnTo>
                    <a:close/>
                    <a:moveTo>
                      <a:pt x="432" y="402"/>
                    </a:moveTo>
                    <a:lnTo>
                      <a:pt x="434" y="404"/>
                    </a:lnTo>
                    <a:lnTo>
                      <a:pt x="432" y="404"/>
                    </a:lnTo>
                    <a:lnTo>
                      <a:pt x="432" y="402"/>
                    </a:lnTo>
                    <a:close/>
                    <a:moveTo>
                      <a:pt x="432" y="402"/>
                    </a:moveTo>
                    <a:lnTo>
                      <a:pt x="432" y="404"/>
                    </a:lnTo>
                    <a:lnTo>
                      <a:pt x="432" y="402"/>
                    </a:lnTo>
                    <a:close/>
                    <a:moveTo>
                      <a:pt x="466" y="362"/>
                    </a:moveTo>
                    <a:lnTo>
                      <a:pt x="466" y="364"/>
                    </a:lnTo>
                    <a:lnTo>
                      <a:pt x="466" y="362"/>
                    </a:lnTo>
                    <a:close/>
                    <a:moveTo>
                      <a:pt x="434" y="383"/>
                    </a:moveTo>
                    <a:lnTo>
                      <a:pt x="434" y="385"/>
                    </a:lnTo>
                    <a:lnTo>
                      <a:pt x="434" y="383"/>
                    </a:lnTo>
                    <a:close/>
                    <a:moveTo>
                      <a:pt x="434" y="383"/>
                    </a:moveTo>
                    <a:lnTo>
                      <a:pt x="434" y="385"/>
                    </a:lnTo>
                    <a:lnTo>
                      <a:pt x="434" y="383"/>
                    </a:lnTo>
                    <a:close/>
                    <a:moveTo>
                      <a:pt x="438" y="375"/>
                    </a:moveTo>
                    <a:lnTo>
                      <a:pt x="438" y="373"/>
                    </a:lnTo>
                    <a:lnTo>
                      <a:pt x="438" y="375"/>
                    </a:lnTo>
                    <a:close/>
                    <a:moveTo>
                      <a:pt x="447" y="362"/>
                    </a:moveTo>
                    <a:lnTo>
                      <a:pt x="445" y="362"/>
                    </a:lnTo>
                    <a:lnTo>
                      <a:pt x="447" y="362"/>
                    </a:lnTo>
                    <a:close/>
                    <a:moveTo>
                      <a:pt x="449" y="352"/>
                    </a:moveTo>
                    <a:lnTo>
                      <a:pt x="447" y="352"/>
                    </a:lnTo>
                    <a:lnTo>
                      <a:pt x="449" y="352"/>
                    </a:lnTo>
                    <a:close/>
                    <a:moveTo>
                      <a:pt x="411" y="387"/>
                    </a:moveTo>
                    <a:lnTo>
                      <a:pt x="411" y="389"/>
                    </a:lnTo>
                    <a:lnTo>
                      <a:pt x="411" y="387"/>
                    </a:lnTo>
                    <a:close/>
                    <a:moveTo>
                      <a:pt x="401" y="389"/>
                    </a:moveTo>
                    <a:lnTo>
                      <a:pt x="399" y="389"/>
                    </a:lnTo>
                    <a:lnTo>
                      <a:pt x="401" y="389"/>
                    </a:lnTo>
                    <a:close/>
                    <a:moveTo>
                      <a:pt x="386" y="375"/>
                    </a:moveTo>
                    <a:lnTo>
                      <a:pt x="384" y="375"/>
                    </a:lnTo>
                    <a:lnTo>
                      <a:pt x="386" y="375"/>
                    </a:lnTo>
                    <a:close/>
                    <a:moveTo>
                      <a:pt x="380" y="375"/>
                    </a:moveTo>
                    <a:lnTo>
                      <a:pt x="382" y="375"/>
                    </a:lnTo>
                    <a:lnTo>
                      <a:pt x="380" y="375"/>
                    </a:lnTo>
                    <a:close/>
                    <a:moveTo>
                      <a:pt x="495" y="248"/>
                    </a:moveTo>
                    <a:lnTo>
                      <a:pt x="495" y="250"/>
                    </a:lnTo>
                    <a:lnTo>
                      <a:pt x="495" y="248"/>
                    </a:lnTo>
                    <a:close/>
                    <a:moveTo>
                      <a:pt x="338" y="323"/>
                    </a:moveTo>
                    <a:lnTo>
                      <a:pt x="338" y="321"/>
                    </a:lnTo>
                    <a:lnTo>
                      <a:pt x="338" y="323"/>
                    </a:lnTo>
                    <a:close/>
                    <a:moveTo>
                      <a:pt x="174" y="281"/>
                    </a:moveTo>
                    <a:lnTo>
                      <a:pt x="172" y="281"/>
                    </a:lnTo>
                    <a:lnTo>
                      <a:pt x="174" y="281"/>
                    </a:lnTo>
                    <a:close/>
                    <a:moveTo>
                      <a:pt x="176" y="264"/>
                    </a:moveTo>
                    <a:lnTo>
                      <a:pt x="174" y="264"/>
                    </a:lnTo>
                    <a:lnTo>
                      <a:pt x="176" y="264"/>
                    </a:lnTo>
                    <a:close/>
                    <a:moveTo>
                      <a:pt x="92" y="329"/>
                    </a:moveTo>
                    <a:lnTo>
                      <a:pt x="90" y="329"/>
                    </a:lnTo>
                    <a:lnTo>
                      <a:pt x="90" y="327"/>
                    </a:lnTo>
                    <a:lnTo>
                      <a:pt x="92" y="329"/>
                    </a:lnTo>
                    <a:close/>
                    <a:moveTo>
                      <a:pt x="121" y="298"/>
                    </a:moveTo>
                    <a:lnTo>
                      <a:pt x="121" y="300"/>
                    </a:lnTo>
                    <a:lnTo>
                      <a:pt x="121" y="298"/>
                    </a:lnTo>
                    <a:close/>
                    <a:moveTo>
                      <a:pt x="121" y="298"/>
                    </a:moveTo>
                    <a:lnTo>
                      <a:pt x="121" y="300"/>
                    </a:lnTo>
                    <a:lnTo>
                      <a:pt x="121" y="298"/>
                    </a:lnTo>
                    <a:close/>
                    <a:moveTo>
                      <a:pt x="305" y="106"/>
                    </a:moveTo>
                    <a:lnTo>
                      <a:pt x="303" y="108"/>
                    </a:lnTo>
                    <a:lnTo>
                      <a:pt x="303" y="106"/>
                    </a:lnTo>
                    <a:lnTo>
                      <a:pt x="305" y="106"/>
                    </a:lnTo>
                    <a:close/>
                    <a:moveTo>
                      <a:pt x="280" y="117"/>
                    </a:moveTo>
                    <a:lnTo>
                      <a:pt x="280" y="119"/>
                    </a:lnTo>
                    <a:lnTo>
                      <a:pt x="280" y="117"/>
                    </a:lnTo>
                    <a:close/>
                    <a:moveTo>
                      <a:pt x="82" y="315"/>
                    </a:moveTo>
                    <a:lnTo>
                      <a:pt x="80" y="315"/>
                    </a:lnTo>
                    <a:lnTo>
                      <a:pt x="82" y="315"/>
                    </a:lnTo>
                    <a:close/>
                    <a:moveTo>
                      <a:pt x="82" y="315"/>
                    </a:moveTo>
                    <a:lnTo>
                      <a:pt x="80" y="315"/>
                    </a:lnTo>
                    <a:lnTo>
                      <a:pt x="82" y="315"/>
                    </a:lnTo>
                    <a:close/>
                    <a:moveTo>
                      <a:pt x="121" y="271"/>
                    </a:moveTo>
                    <a:lnTo>
                      <a:pt x="121" y="273"/>
                    </a:lnTo>
                    <a:lnTo>
                      <a:pt x="121" y="271"/>
                    </a:lnTo>
                    <a:close/>
                    <a:moveTo>
                      <a:pt x="46" y="339"/>
                    </a:moveTo>
                    <a:lnTo>
                      <a:pt x="48" y="339"/>
                    </a:lnTo>
                    <a:lnTo>
                      <a:pt x="46" y="339"/>
                    </a:lnTo>
                    <a:close/>
                    <a:moveTo>
                      <a:pt x="57" y="329"/>
                    </a:moveTo>
                    <a:lnTo>
                      <a:pt x="55" y="329"/>
                    </a:lnTo>
                    <a:lnTo>
                      <a:pt x="57" y="329"/>
                    </a:lnTo>
                    <a:close/>
                    <a:moveTo>
                      <a:pt x="0" y="371"/>
                    </a:moveTo>
                    <a:lnTo>
                      <a:pt x="0" y="373"/>
                    </a:lnTo>
                    <a:lnTo>
                      <a:pt x="0" y="371"/>
                    </a:lnTo>
                    <a:close/>
                    <a:moveTo>
                      <a:pt x="0" y="369"/>
                    </a:moveTo>
                    <a:lnTo>
                      <a:pt x="1" y="369"/>
                    </a:lnTo>
                    <a:lnTo>
                      <a:pt x="0" y="369"/>
                    </a:lnTo>
                    <a:close/>
                    <a:moveTo>
                      <a:pt x="21" y="350"/>
                    </a:moveTo>
                    <a:lnTo>
                      <a:pt x="21" y="352"/>
                    </a:lnTo>
                    <a:lnTo>
                      <a:pt x="21" y="350"/>
                    </a:lnTo>
                    <a:close/>
                    <a:moveTo>
                      <a:pt x="98" y="281"/>
                    </a:moveTo>
                    <a:lnTo>
                      <a:pt x="99" y="281"/>
                    </a:lnTo>
                    <a:lnTo>
                      <a:pt x="98" y="281"/>
                    </a:lnTo>
                    <a:close/>
                    <a:moveTo>
                      <a:pt x="140" y="239"/>
                    </a:moveTo>
                    <a:lnTo>
                      <a:pt x="138" y="239"/>
                    </a:lnTo>
                    <a:lnTo>
                      <a:pt x="140" y="239"/>
                    </a:lnTo>
                    <a:close/>
                    <a:moveTo>
                      <a:pt x="140" y="239"/>
                    </a:moveTo>
                    <a:lnTo>
                      <a:pt x="138" y="239"/>
                    </a:lnTo>
                    <a:lnTo>
                      <a:pt x="140" y="239"/>
                    </a:lnTo>
                    <a:close/>
                    <a:moveTo>
                      <a:pt x="132" y="242"/>
                    </a:moveTo>
                    <a:lnTo>
                      <a:pt x="134" y="242"/>
                    </a:lnTo>
                    <a:lnTo>
                      <a:pt x="132" y="242"/>
                    </a:lnTo>
                    <a:close/>
                    <a:moveTo>
                      <a:pt x="90" y="283"/>
                    </a:moveTo>
                    <a:lnTo>
                      <a:pt x="92" y="283"/>
                    </a:lnTo>
                    <a:lnTo>
                      <a:pt x="90" y="283"/>
                    </a:lnTo>
                    <a:close/>
                    <a:moveTo>
                      <a:pt x="90" y="285"/>
                    </a:moveTo>
                    <a:lnTo>
                      <a:pt x="88" y="285"/>
                    </a:lnTo>
                    <a:lnTo>
                      <a:pt x="90" y="285"/>
                    </a:lnTo>
                    <a:close/>
                    <a:moveTo>
                      <a:pt x="117" y="254"/>
                    </a:moveTo>
                    <a:lnTo>
                      <a:pt x="115" y="254"/>
                    </a:lnTo>
                    <a:lnTo>
                      <a:pt x="117" y="254"/>
                    </a:lnTo>
                    <a:close/>
                    <a:moveTo>
                      <a:pt x="190" y="179"/>
                    </a:moveTo>
                    <a:lnTo>
                      <a:pt x="190" y="181"/>
                    </a:lnTo>
                    <a:lnTo>
                      <a:pt x="190" y="179"/>
                    </a:lnTo>
                    <a:close/>
                    <a:moveTo>
                      <a:pt x="117" y="254"/>
                    </a:moveTo>
                    <a:lnTo>
                      <a:pt x="115" y="254"/>
                    </a:lnTo>
                    <a:lnTo>
                      <a:pt x="117" y="254"/>
                    </a:lnTo>
                    <a:close/>
                    <a:moveTo>
                      <a:pt x="180" y="191"/>
                    </a:moveTo>
                    <a:lnTo>
                      <a:pt x="178" y="191"/>
                    </a:lnTo>
                    <a:lnTo>
                      <a:pt x="180" y="191"/>
                    </a:lnTo>
                    <a:close/>
                    <a:moveTo>
                      <a:pt x="224" y="144"/>
                    </a:moveTo>
                    <a:lnTo>
                      <a:pt x="222" y="144"/>
                    </a:lnTo>
                    <a:lnTo>
                      <a:pt x="224" y="144"/>
                    </a:lnTo>
                    <a:close/>
                    <a:moveTo>
                      <a:pt x="215" y="152"/>
                    </a:moveTo>
                    <a:lnTo>
                      <a:pt x="215" y="154"/>
                    </a:lnTo>
                    <a:lnTo>
                      <a:pt x="215" y="152"/>
                    </a:lnTo>
                    <a:close/>
                    <a:moveTo>
                      <a:pt x="215" y="152"/>
                    </a:moveTo>
                    <a:lnTo>
                      <a:pt x="217" y="152"/>
                    </a:lnTo>
                    <a:lnTo>
                      <a:pt x="215" y="152"/>
                    </a:lnTo>
                    <a:close/>
                    <a:moveTo>
                      <a:pt x="188" y="181"/>
                    </a:moveTo>
                    <a:lnTo>
                      <a:pt x="188" y="183"/>
                    </a:lnTo>
                    <a:lnTo>
                      <a:pt x="188" y="181"/>
                    </a:lnTo>
                    <a:close/>
                    <a:moveTo>
                      <a:pt x="217" y="150"/>
                    </a:moveTo>
                    <a:lnTo>
                      <a:pt x="217" y="152"/>
                    </a:lnTo>
                    <a:lnTo>
                      <a:pt x="217" y="150"/>
                    </a:lnTo>
                    <a:close/>
                    <a:moveTo>
                      <a:pt x="196" y="171"/>
                    </a:moveTo>
                    <a:lnTo>
                      <a:pt x="196" y="173"/>
                    </a:lnTo>
                    <a:lnTo>
                      <a:pt x="196" y="171"/>
                    </a:lnTo>
                    <a:close/>
                    <a:moveTo>
                      <a:pt x="194" y="175"/>
                    </a:moveTo>
                    <a:lnTo>
                      <a:pt x="192" y="175"/>
                    </a:lnTo>
                    <a:lnTo>
                      <a:pt x="194" y="175"/>
                    </a:lnTo>
                    <a:close/>
                    <a:moveTo>
                      <a:pt x="192" y="175"/>
                    </a:moveTo>
                    <a:lnTo>
                      <a:pt x="190" y="175"/>
                    </a:lnTo>
                    <a:lnTo>
                      <a:pt x="192" y="175"/>
                    </a:lnTo>
                    <a:close/>
                    <a:moveTo>
                      <a:pt x="190" y="175"/>
                    </a:moveTo>
                    <a:lnTo>
                      <a:pt x="192" y="175"/>
                    </a:lnTo>
                    <a:lnTo>
                      <a:pt x="190" y="175"/>
                    </a:lnTo>
                    <a:close/>
                    <a:moveTo>
                      <a:pt x="111" y="256"/>
                    </a:moveTo>
                    <a:lnTo>
                      <a:pt x="109" y="256"/>
                    </a:lnTo>
                    <a:lnTo>
                      <a:pt x="111" y="256"/>
                    </a:lnTo>
                    <a:close/>
                    <a:moveTo>
                      <a:pt x="194" y="173"/>
                    </a:moveTo>
                    <a:lnTo>
                      <a:pt x="192" y="173"/>
                    </a:lnTo>
                    <a:lnTo>
                      <a:pt x="194" y="173"/>
                    </a:lnTo>
                    <a:close/>
                    <a:moveTo>
                      <a:pt x="190" y="175"/>
                    </a:moveTo>
                    <a:lnTo>
                      <a:pt x="190" y="177"/>
                    </a:lnTo>
                    <a:lnTo>
                      <a:pt x="190" y="175"/>
                    </a:lnTo>
                    <a:close/>
                    <a:moveTo>
                      <a:pt x="105" y="258"/>
                    </a:moveTo>
                    <a:lnTo>
                      <a:pt x="103" y="258"/>
                    </a:lnTo>
                    <a:lnTo>
                      <a:pt x="105" y="258"/>
                    </a:lnTo>
                    <a:close/>
                    <a:moveTo>
                      <a:pt x="105" y="256"/>
                    </a:moveTo>
                    <a:lnTo>
                      <a:pt x="105" y="258"/>
                    </a:lnTo>
                    <a:lnTo>
                      <a:pt x="105" y="256"/>
                    </a:lnTo>
                    <a:close/>
                    <a:moveTo>
                      <a:pt x="103" y="256"/>
                    </a:moveTo>
                    <a:lnTo>
                      <a:pt x="105" y="256"/>
                    </a:lnTo>
                    <a:lnTo>
                      <a:pt x="103" y="256"/>
                    </a:lnTo>
                    <a:close/>
                    <a:moveTo>
                      <a:pt x="86" y="271"/>
                    </a:moveTo>
                    <a:lnTo>
                      <a:pt x="86" y="273"/>
                    </a:lnTo>
                    <a:lnTo>
                      <a:pt x="86" y="271"/>
                    </a:lnTo>
                    <a:close/>
                    <a:moveTo>
                      <a:pt x="101" y="258"/>
                    </a:moveTo>
                    <a:lnTo>
                      <a:pt x="103" y="258"/>
                    </a:lnTo>
                    <a:lnTo>
                      <a:pt x="101" y="258"/>
                    </a:lnTo>
                    <a:close/>
                    <a:moveTo>
                      <a:pt x="88" y="267"/>
                    </a:moveTo>
                    <a:lnTo>
                      <a:pt x="88" y="269"/>
                    </a:lnTo>
                    <a:lnTo>
                      <a:pt x="88" y="267"/>
                    </a:lnTo>
                    <a:close/>
                    <a:moveTo>
                      <a:pt x="96" y="262"/>
                    </a:moveTo>
                    <a:lnTo>
                      <a:pt x="96" y="260"/>
                    </a:lnTo>
                    <a:lnTo>
                      <a:pt x="96" y="262"/>
                    </a:lnTo>
                    <a:close/>
                    <a:moveTo>
                      <a:pt x="96" y="262"/>
                    </a:moveTo>
                    <a:lnTo>
                      <a:pt x="94" y="262"/>
                    </a:lnTo>
                    <a:lnTo>
                      <a:pt x="96" y="262"/>
                    </a:lnTo>
                    <a:close/>
                    <a:moveTo>
                      <a:pt x="90" y="266"/>
                    </a:moveTo>
                    <a:lnTo>
                      <a:pt x="88" y="266"/>
                    </a:lnTo>
                    <a:lnTo>
                      <a:pt x="90" y="266"/>
                    </a:lnTo>
                    <a:close/>
                    <a:moveTo>
                      <a:pt x="142" y="212"/>
                    </a:moveTo>
                    <a:lnTo>
                      <a:pt x="142" y="214"/>
                    </a:lnTo>
                    <a:lnTo>
                      <a:pt x="142" y="212"/>
                    </a:lnTo>
                    <a:close/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264" name="Рисунок 263">
              <a:extLst>
                <a:ext uri="{FF2B5EF4-FFF2-40B4-BE49-F238E27FC236}">
                  <a16:creationId xmlns="" xmlns:a16="http://schemas.microsoft.com/office/drawing/2014/main" id="{F1807611-11D9-471A-9D2E-BD4E1D0B7F9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10000" b="90000" l="10000" r="90000"/>
                      </a14:imgEffect>
                      <a14:imgEffect>
                        <a14:brightnessContrast bright="20000" contrast="-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938452" y="4648360"/>
              <a:ext cx="485775" cy="609600"/>
            </a:xfrm>
            <a:prstGeom prst="rect">
              <a:avLst/>
            </a:prstGeom>
          </p:spPr>
        </p:pic>
      </p:grpSp>
      <p:sp>
        <p:nvSpPr>
          <p:cNvPr id="268" name="Прямоугольник 267">
            <a:extLst>
              <a:ext uri="{FF2B5EF4-FFF2-40B4-BE49-F238E27FC236}">
                <a16:creationId xmlns="" xmlns:a16="http://schemas.microsoft.com/office/drawing/2014/main" id="{1AC4FCCB-8E9F-4C6D-8585-CD520387E422}"/>
              </a:ext>
            </a:extLst>
          </p:cNvPr>
          <p:cNvSpPr/>
          <p:nvPr/>
        </p:nvSpPr>
        <p:spPr>
          <a:xfrm>
            <a:off x="5831955" y="1549907"/>
            <a:ext cx="6715937" cy="4770537"/>
          </a:xfrm>
          <a:prstGeom prst="rect">
            <a:avLst/>
          </a:prstGeom>
          <a:solidFill>
            <a:srgbClr val="FFFFFF">
              <a:alpha val="69804"/>
            </a:srgbClr>
          </a:solidFill>
        </p:spPr>
        <p:txBody>
          <a:bodyPr wrap="square" numCol="2">
            <a:spAutoFit/>
          </a:bodyPr>
          <a:lstStyle/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Алтайский край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Белгород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Владимир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Волгоград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Иванов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Калининград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Калуж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 smtClean="0"/>
              <a:t>Краснодарский </a:t>
            </a:r>
            <a:r>
              <a:rPr lang="ru-RU" sz="1600" dirty="0"/>
              <a:t>край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Красноярский край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Липец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Нижегород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 smtClean="0"/>
              <a:t>Пензенская </a:t>
            </a:r>
            <a:r>
              <a:rPr lang="ru-RU" sz="1600" dirty="0"/>
              <a:t>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Пермский край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Республика Башкортостан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 smtClean="0"/>
              <a:t>Республика </a:t>
            </a:r>
            <a:r>
              <a:rPr lang="ru-RU" sz="1600" dirty="0"/>
              <a:t>Мордовия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Республика Татарстан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Ростов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Рязан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Самар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Санкт- Петербург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Саратов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Свердлов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Ставропольский край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Тамбов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Том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Туль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Тюмен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Удмуртская Республика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Челябин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Чувашская Республика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/>
              <a:t>Ярославская 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endParaRPr lang="ru-RU" sz="1600" dirty="0" smtClean="0">
              <a:solidFill>
                <a:srgbClr val="979EBA"/>
              </a:solidFill>
            </a:endParaRP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endParaRPr lang="ru-RU" sz="1600" dirty="0">
              <a:solidFill>
                <a:srgbClr val="979EBA"/>
              </a:solidFill>
            </a:endParaRP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 smtClean="0">
                <a:solidFill>
                  <a:srgbClr val="979EBA"/>
                </a:solidFill>
              </a:rPr>
              <a:t>Кемеровская </a:t>
            </a:r>
            <a:r>
              <a:rPr lang="ru-RU" sz="1600" dirty="0">
                <a:solidFill>
                  <a:srgbClr val="979EBA"/>
                </a:solidFill>
              </a:rPr>
              <a:t>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 smtClean="0">
                <a:solidFill>
                  <a:srgbClr val="979EBA"/>
                </a:solidFill>
              </a:rPr>
              <a:t>Новгородская </a:t>
            </a:r>
            <a:r>
              <a:rPr lang="ru-RU" sz="1600" dirty="0">
                <a:solidFill>
                  <a:srgbClr val="979EBA"/>
                </a:solidFill>
              </a:rPr>
              <a:t>область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>
                <a:solidFill>
                  <a:srgbClr val="979EBA"/>
                </a:solidFill>
              </a:rPr>
              <a:t>Республика Бурятия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 smtClean="0">
                <a:solidFill>
                  <a:srgbClr val="979EBA"/>
                </a:solidFill>
              </a:rPr>
              <a:t>Республика </a:t>
            </a:r>
            <a:r>
              <a:rPr lang="ru-RU" sz="1600" dirty="0">
                <a:solidFill>
                  <a:srgbClr val="979EBA"/>
                </a:solidFill>
              </a:rPr>
              <a:t>Крым</a:t>
            </a:r>
          </a:p>
          <a:p>
            <a:pPr marL="0" lvl="1" indent="-342900">
              <a:buClr>
                <a:srgbClr val="979EBA"/>
              </a:buClr>
              <a:buFont typeface="+mj-lt"/>
              <a:buAutoNum type="arabicPeriod"/>
            </a:pPr>
            <a:r>
              <a:rPr lang="ru-RU" sz="1600" dirty="0" smtClean="0">
                <a:solidFill>
                  <a:srgbClr val="979EBA"/>
                </a:solidFill>
              </a:rPr>
              <a:t>Ямало-Ненецкий АО</a:t>
            </a:r>
            <a:endParaRPr lang="ru-RU" sz="1600" dirty="0">
              <a:solidFill>
                <a:srgbClr val="979EBA"/>
              </a:solidFill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EC92F316-2F3A-4530-8DE7-818B47122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771" y="810660"/>
            <a:ext cx="11530869" cy="439152"/>
          </a:xfrm>
        </p:spPr>
        <p:txBody>
          <a:bodyPr>
            <a:noAutofit/>
          </a:bodyPr>
          <a:lstStyle/>
          <a:p>
            <a:r>
              <a:rPr lang="ru-RU" dirty="0"/>
              <a:t>В 2019 году в национальном проекте участвуют 36 </a:t>
            </a:r>
            <a:r>
              <a:rPr lang="ru-RU" dirty="0" smtClean="0"/>
              <a:t>субъектов РФ, 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с 2020 </a:t>
            </a:r>
            <a:r>
              <a:rPr lang="ru-RU" dirty="0" smtClean="0"/>
              <a:t>к реализации национального проекта присоединятся </a:t>
            </a:r>
            <a:r>
              <a:rPr lang="ru-RU" dirty="0"/>
              <a:t>еще не менее </a:t>
            </a:r>
            <a:r>
              <a:rPr lang="ru-RU" dirty="0" smtClean="0"/>
              <a:t>14</a:t>
            </a:r>
            <a:endParaRPr lang="ru-RU" dirty="0"/>
          </a:p>
        </p:txBody>
      </p:sp>
      <p:sp>
        <p:nvSpPr>
          <p:cNvPr id="259" name="TextBox 258"/>
          <p:cNvSpPr txBox="1"/>
          <p:nvPr/>
        </p:nvSpPr>
        <p:spPr>
          <a:xfrm>
            <a:off x="9102340" y="4599363"/>
            <a:ext cx="288106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i="1" dirty="0" smtClean="0"/>
              <a:t>В отдельных мероприятиях – без участия в ФП «Поддержка занятости»:</a:t>
            </a:r>
            <a:endParaRPr lang="ru-RU" sz="1100" i="1" dirty="0"/>
          </a:p>
        </p:txBody>
      </p:sp>
    </p:spTree>
    <p:extLst>
      <p:ext uri="{BB962C8B-B14F-4D97-AF65-F5344CB8AC3E}">
        <p14:creationId xmlns:p14="http://schemas.microsoft.com/office/powerpoint/2010/main" val="23130422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Объект 23" hidden="1">
            <a:extLst>
              <a:ext uri="{FF2B5EF4-FFF2-40B4-BE49-F238E27FC236}">
                <a16:creationId xmlns="" xmlns:a16="http://schemas.microsoft.com/office/drawing/2014/main" id="{CBF0579A-72CD-4636-B6E7-2339023812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5104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85" name="think-cell Slide" r:id="rId18" imgW="395" imgH="396" progId="TCLayout.ActiveDocument.1">
                  <p:embed/>
                </p:oleObj>
              </mc:Choice>
              <mc:Fallback>
                <p:oleObj name="think-cell Slide" r:id="rId18" imgW="395" imgH="396" progId="TCLayout.ActiveDocument.1">
                  <p:embed/>
                  <p:pic>
                    <p:nvPicPr>
                      <p:cNvPr id="24" name="Объект 23" hidden="1">
                        <a:extLst>
                          <a:ext uri="{FF2B5EF4-FFF2-40B4-BE49-F238E27FC236}">
                            <a16:creationId xmlns="" xmlns:a16="http://schemas.microsoft.com/office/drawing/2014/main" id="{CBF0579A-72CD-4636-B6E7-2339023812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2B7CF48E-642A-43DE-8FC5-E1D07320E6E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5" name="Прямоугольник 124">
            <a:extLst>
              <a:ext uri="{FF2B5EF4-FFF2-40B4-BE49-F238E27FC236}">
                <a16:creationId xmlns="" xmlns:a16="http://schemas.microsoft.com/office/drawing/2014/main" id="{75528CF8-B14A-4E65-9852-E2A8618FEC84}"/>
              </a:ext>
            </a:extLst>
          </p:cNvPr>
          <p:cNvSpPr/>
          <p:nvPr/>
        </p:nvSpPr>
        <p:spPr>
          <a:xfrm>
            <a:off x="5616546" y="1938286"/>
            <a:ext cx="6401849" cy="449280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223" name="Прямоугольник 222">
            <a:extLst>
              <a:ext uri="{FF2B5EF4-FFF2-40B4-BE49-F238E27FC236}">
                <a16:creationId xmlns="" xmlns:a16="http://schemas.microsoft.com/office/drawing/2014/main" id="{62E42DC9-862B-4CBC-98B9-C606D03253C3}"/>
              </a:ext>
            </a:extLst>
          </p:cNvPr>
          <p:cNvSpPr/>
          <p:nvPr/>
        </p:nvSpPr>
        <p:spPr>
          <a:xfrm>
            <a:off x="325771" y="5468938"/>
            <a:ext cx="4932000" cy="984250"/>
          </a:xfrm>
          <a:prstGeom prst="rect">
            <a:avLst/>
          </a:prstGeom>
          <a:solidFill>
            <a:srgbClr val="EAF2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335361" y="1951038"/>
            <a:ext cx="4922410" cy="9842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221" name="Прямоугольник 220">
            <a:extLst>
              <a:ext uri="{FF2B5EF4-FFF2-40B4-BE49-F238E27FC236}">
                <a16:creationId xmlns="" xmlns:a16="http://schemas.microsoft.com/office/drawing/2014/main" id="{C4D5ED79-8210-4B80-969D-F7B4C5F5144A}"/>
              </a:ext>
            </a:extLst>
          </p:cNvPr>
          <p:cNvSpPr/>
          <p:nvPr/>
        </p:nvSpPr>
        <p:spPr>
          <a:xfrm>
            <a:off x="335361" y="3124200"/>
            <a:ext cx="4922410" cy="9842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sp>
        <p:nvSpPr>
          <p:cNvPr id="222" name="Прямоугольник 221">
            <a:extLst>
              <a:ext uri="{FF2B5EF4-FFF2-40B4-BE49-F238E27FC236}">
                <a16:creationId xmlns="" xmlns:a16="http://schemas.microsoft.com/office/drawing/2014/main" id="{C5F1E8C6-90EA-45D4-8614-DFB5AC8ADA2C}"/>
              </a:ext>
            </a:extLst>
          </p:cNvPr>
          <p:cNvSpPr/>
          <p:nvPr/>
        </p:nvSpPr>
        <p:spPr>
          <a:xfrm>
            <a:off x="335361" y="4295775"/>
            <a:ext cx="4922410" cy="9842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/>
          </a:p>
        </p:txBody>
      </p:sp>
      <p:graphicFrame>
        <p:nvGraphicFramePr>
          <p:cNvPr id="103" name="Chart 3">
            <a:extLst>
              <a:ext uri="{FF2B5EF4-FFF2-40B4-BE49-F238E27FC236}">
                <a16:creationId xmlns="" xmlns:a16="http://schemas.microsoft.com/office/drawing/2014/main" id="{511A3672-ADC7-4F48-9EAD-01998A5D97C6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47796948"/>
              </p:ext>
            </p:extLst>
          </p:nvPr>
        </p:nvGraphicFramePr>
        <p:xfrm>
          <a:off x="444500" y="2111375"/>
          <a:ext cx="4029075" cy="4340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cxnSp>
        <p:nvCxnSpPr>
          <p:cNvPr id="178" name="Прямая соединительная линия 177">
            <a:extLst>
              <a:ext uri="{FF2B5EF4-FFF2-40B4-BE49-F238E27FC236}">
                <a16:creationId xmlns="" xmlns:a16="http://schemas.microsoft.com/office/drawing/2014/main" id="{05FA3341-9BC8-4C5E-A5A3-E56A2DB2BDD0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 flipV="1">
            <a:off x="566738" y="2608263"/>
            <a:ext cx="268288" cy="666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Прямая соединительная линия 179">
            <a:extLst>
              <a:ext uri="{FF2B5EF4-FFF2-40B4-BE49-F238E27FC236}">
                <a16:creationId xmlns="" xmlns:a16="http://schemas.microsoft.com/office/drawing/2014/main" id="{DB972FB5-6DB6-496A-8138-6C50BDE81C0C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 flipV="1">
            <a:off x="676275" y="3778250"/>
            <a:ext cx="158750" cy="666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Прямая соединительная линия 181">
            <a:extLst>
              <a:ext uri="{FF2B5EF4-FFF2-40B4-BE49-F238E27FC236}">
                <a16:creationId xmlns="" xmlns:a16="http://schemas.microsoft.com/office/drawing/2014/main" id="{E94B3E45-905D-4C1B-85C0-F2DEBAC5FAE0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 flipH="1" flipV="1">
            <a:off x="612775" y="4948238"/>
            <a:ext cx="222250" cy="666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Прямая соединительная линия 184">
            <a:extLst>
              <a:ext uri="{FF2B5EF4-FFF2-40B4-BE49-F238E27FC236}">
                <a16:creationId xmlns="" xmlns:a16="http://schemas.microsoft.com/office/drawing/2014/main" id="{4F8AD906-E818-4C0A-AD9C-406710097A87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H="1" flipV="1">
            <a:off x="803275" y="6118225"/>
            <a:ext cx="31750" cy="666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Text Placeholder 2">
            <a:extLst>
              <a:ext uri="{FF2B5EF4-FFF2-40B4-BE49-F238E27FC236}">
                <a16:creationId xmlns="" xmlns:a16="http://schemas.microsoft.com/office/drawing/2014/main" id="{3EB27FED-32A9-4ABF-B5D4-D074A50BEBCC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449388" y="4703763"/>
            <a:ext cx="66357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ACC6C55-7B6E-438B-B14E-F510AC0F5D09}" type="datetime'''''11'' ''7''''''''''5''''''''''''''''''''''''''''''''''2'''">
              <a:rPr lang="ru-RU" altLang="en-US" sz="1600">
                <a:solidFill>
                  <a:schemeClr val="bg1">
                    <a:lumMod val="50000"/>
                  </a:schemeClr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1 752</a:t>
            </a:fld>
            <a:endParaRPr lang="ru-RU" sz="1600" dirty="0">
              <a:solidFill>
                <a:schemeClr val="bg1">
                  <a:lumMod val="50000"/>
                </a:schemeClr>
              </a:solidFill>
              <a:sym typeface="+mn-lt"/>
            </a:endParaRPr>
          </a:p>
        </p:txBody>
      </p:sp>
      <p:sp>
        <p:nvSpPr>
          <p:cNvPr id="142" name="Text Placeholder 2">
            <a:extLst>
              <a:ext uri="{FF2B5EF4-FFF2-40B4-BE49-F238E27FC236}">
                <a16:creationId xmlns="" xmlns:a16="http://schemas.microsoft.com/office/drawing/2014/main" id="{856082ED-1F15-4419-8B66-5EBF7487A578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097213" y="3533775"/>
            <a:ext cx="677863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6F832E8-93B6-476A-B390-3DA4376791CA}" type="datetime'3''3'''''''''' ''3''''''''''''''5''8'''''''">
              <a:rPr lang="ru-RU" altLang="en-US" sz="1600">
                <a:solidFill>
                  <a:schemeClr val="bg1">
                    <a:lumMod val="50000"/>
                  </a:schemeClr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3 358</a:t>
            </a:fld>
            <a:endParaRPr lang="ru-RU" sz="1600" dirty="0">
              <a:solidFill>
                <a:schemeClr val="bg1">
                  <a:lumMod val="50000"/>
                </a:schemeClr>
              </a:solidFill>
              <a:sym typeface="+mn-lt"/>
            </a:endParaRPr>
          </a:p>
        </p:txBody>
      </p:sp>
      <p:sp>
        <p:nvSpPr>
          <p:cNvPr id="138" name="Text Placeholder 2">
            <a:extLst>
              <a:ext uri="{FF2B5EF4-FFF2-40B4-BE49-F238E27FC236}">
                <a16:creationId xmlns="" xmlns:a16="http://schemas.microsoft.com/office/drawing/2014/main" id="{66F2FA6D-4A38-4C12-9C7A-477D8877B21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974725" y="2363788"/>
            <a:ext cx="5651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F988C8B-0BDD-412D-AC06-94C5A7A5DDDF}" type="datetime'5'''''''''''''''''''''''''' 5''4''''''''''''5'''">
              <a:rPr lang="ru-RU" altLang="en-US" sz="1600" smtClean="0">
                <a:solidFill>
                  <a:schemeClr val="bg1">
                    <a:lumMod val="50000"/>
                  </a:schemeClr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 545</a:t>
            </a:fld>
            <a:endParaRPr lang="ru-RU" sz="1600" dirty="0">
              <a:solidFill>
                <a:schemeClr val="bg1">
                  <a:lumMod val="50000"/>
                </a:schemeClr>
              </a:solidFill>
              <a:sym typeface="+mn-lt"/>
            </a:endParaRPr>
          </a:p>
        </p:txBody>
      </p:sp>
      <p:sp>
        <p:nvSpPr>
          <p:cNvPr id="150" name="Text Placeholder 2">
            <a:extLst>
              <a:ext uri="{FF2B5EF4-FFF2-40B4-BE49-F238E27FC236}">
                <a16:creationId xmlns="" xmlns:a16="http://schemas.microsoft.com/office/drawing/2014/main" id="{57014624-1196-46D8-A981-3D911B4F0D9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416425" y="5873750"/>
            <a:ext cx="677863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C85AB37-D081-43CE-96F1-7EAAD7AD3F6D}" type="datetime'50'' ''6''''54'''''''''''''''''''">
              <a:rPr lang="ru-RU" altLang="en-US" sz="1600">
                <a:solidFill>
                  <a:schemeClr val="bg1">
                    <a:lumMod val="50000"/>
                  </a:schemeClr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0 654</a:t>
            </a:fld>
            <a:endParaRPr lang="ru-RU" sz="1600" dirty="0">
              <a:solidFill>
                <a:schemeClr val="bg1">
                  <a:lumMod val="50000"/>
                </a:schemeClr>
              </a:solidFill>
              <a:sym typeface="+mn-lt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Бюджет национального проекта в 2019 году – более 7 млрд рублей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5</a:t>
            </a:fld>
            <a:endParaRPr lang="ru-RU" dirty="0"/>
          </a:p>
        </p:txBody>
      </p:sp>
      <p:grpSp>
        <p:nvGrpSpPr>
          <p:cNvPr id="56" name="Группа 55">
            <a:extLst>
              <a:ext uri="{FF2B5EF4-FFF2-40B4-BE49-F238E27FC236}">
                <a16:creationId xmlns="" xmlns:a16="http://schemas.microsoft.com/office/drawing/2014/main" id="{B684EFE5-8368-4CBA-A795-5AB42DA91F67}"/>
              </a:ext>
            </a:extLst>
          </p:cNvPr>
          <p:cNvGrpSpPr/>
          <p:nvPr/>
        </p:nvGrpSpPr>
        <p:grpSpPr>
          <a:xfrm>
            <a:off x="5791200" y="5448079"/>
            <a:ext cx="5716588" cy="823815"/>
            <a:chOff x="5591175" y="4701954"/>
            <a:chExt cx="5716588" cy="823815"/>
          </a:xfrm>
        </p:grpSpPr>
        <p:sp>
          <p:nvSpPr>
            <p:cNvPr id="15" name="Прямоугольник 14"/>
            <p:cNvSpPr/>
            <p:nvPr/>
          </p:nvSpPr>
          <p:spPr>
            <a:xfrm>
              <a:off x="6747371" y="4701954"/>
              <a:ext cx="4560392" cy="8238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150000"/>
                </a:lnSpc>
                <a:spcBef>
                  <a:spcPts val="306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r>
                <a:rPr lang="ru-RU" sz="1600" dirty="0"/>
                <a:t>Обучение работников предприятий </a:t>
              </a:r>
            </a:p>
            <a:p>
              <a:pPr marL="285750" indent="-285750">
                <a:lnSpc>
                  <a:spcPct val="150000"/>
                </a:lnSpc>
                <a:spcBef>
                  <a:spcPts val="306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r>
                <a:rPr lang="ru-RU" sz="1600" dirty="0"/>
                <a:t>Модернизация службы занятости</a:t>
              </a:r>
            </a:p>
          </p:txBody>
        </p:sp>
        <p:sp>
          <p:nvSpPr>
            <p:cNvPr id="18" name="Левая круглая скобка 17"/>
            <p:cNvSpPr/>
            <p:nvPr/>
          </p:nvSpPr>
          <p:spPr>
            <a:xfrm>
              <a:off x="5591175" y="4810780"/>
              <a:ext cx="77740" cy="612000"/>
            </a:xfrm>
            <a:prstGeom prst="leftBracket">
              <a:avLst/>
            </a:prstGeom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5752933" y="4800362"/>
              <a:ext cx="1198688" cy="28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/>
                <a:t>1 </a:t>
              </a:r>
              <a:r>
                <a:rPr lang="ru-RU" sz="1600" b="1" dirty="0" smtClean="0"/>
                <a:t>605</a:t>
              </a:r>
              <a:endParaRPr lang="ru-RU" sz="1600" b="1" dirty="0"/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5752933" y="5196487"/>
              <a:ext cx="1198688" cy="28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 smtClean="0"/>
                <a:t>672</a:t>
              </a:r>
              <a:endParaRPr lang="ru-RU" sz="1600" b="1" dirty="0"/>
            </a:p>
          </p:txBody>
        </p:sp>
      </p:grpSp>
      <p:grpSp>
        <p:nvGrpSpPr>
          <p:cNvPr id="53" name="Группа 52">
            <a:extLst>
              <a:ext uri="{FF2B5EF4-FFF2-40B4-BE49-F238E27FC236}">
                <a16:creationId xmlns="" xmlns:a16="http://schemas.microsoft.com/office/drawing/2014/main" id="{B7CA9E14-B0C4-4FAE-B2D8-3F536FBE5A38}"/>
              </a:ext>
            </a:extLst>
          </p:cNvPr>
          <p:cNvGrpSpPr/>
          <p:nvPr/>
        </p:nvGrpSpPr>
        <p:grpSpPr>
          <a:xfrm>
            <a:off x="5791200" y="1973256"/>
            <a:ext cx="6227196" cy="2092881"/>
            <a:chOff x="5591175" y="1731956"/>
            <a:chExt cx="6227196" cy="2092881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6747370" y="1731956"/>
              <a:ext cx="5071001" cy="20928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150000"/>
                </a:lnSpc>
                <a:spcBef>
                  <a:spcPts val="306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r>
                <a:rPr lang="ru-RU" sz="1600" dirty="0"/>
                <a:t>Обучение руководителей</a:t>
              </a:r>
            </a:p>
            <a:p>
              <a:pPr marL="285750" indent="-285750">
                <a:lnSpc>
                  <a:spcPct val="150000"/>
                </a:lnSpc>
                <a:spcBef>
                  <a:spcPts val="306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r>
                <a:rPr lang="ru-RU" sz="1600" dirty="0"/>
                <a:t>Сокращение административных барьеров</a:t>
              </a:r>
            </a:p>
            <a:p>
              <a:pPr marL="285750" indent="-285750">
                <a:lnSpc>
                  <a:spcPct val="150000"/>
                </a:lnSpc>
                <a:spcBef>
                  <a:spcPts val="306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r>
                <a:rPr lang="ru-RU" sz="1600" dirty="0"/>
                <a:t>Поддержка выхода на экспорт</a:t>
              </a:r>
            </a:p>
            <a:p>
              <a:pPr marL="285750" indent="-285750">
                <a:lnSpc>
                  <a:spcPct val="150000"/>
                </a:lnSpc>
                <a:spcBef>
                  <a:spcPts val="306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r>
                <a:rPr lang="ru-RU" sz="1600" dirty="0"/>
                <a:t>Финансовые </a:t>
              </a:r>
              <a:r>
                <a:rPr lang="ru-RU" sz="1600" dirty="0" smtClean="0"/>
                <a:t>и нефинансовые меры </a:t>
              </a:r>
              <a:r>
                <a:rPr lang="ru-RU" sz="1600" dirty="0"/>
                <a:t>поддержки</a:t>
              </a:r>
            </a:p>
            <a:p>
              <a:pPr marL="285750" indent="-285750">
                <a:lnSpc>
                  <a:spcPct val="150000"/>
                </a:lnSpc>
                <a:spcBef>
                  <a:spcPts val="306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r>
                <a:rPr lang="ru-RU" sz="1600" dirty="0"/>
                <a:t>Международные проекты</a:t>
              </a:r>
            </a:p>
          </p:txBody>
        </p:sp>
        <p:sp>
          <p:nvSpPr>
            <p:cNvPr id="16" name="Левая круглая скобка 15"/>
            <p:cNvSpPr/>
            <p:nvPr/>
          </p:nvSpPr>
          <p:spPr>
            <a:xfrm>
              <a:off x="5591175" y="1875787"/>
              <a:ext cx="77742" cy="1800000"/>
            </a:xfrm>
            <a:prstGeom prst="leftBracket">
              <a:avLst/>
            </a:prstGeom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5752933" y="1825514"/>
              <a:ext cx="1198688" cy="28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/>
                <a:t>789</a:t>
              </a: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5752933" y="2229824"/>
              <a:ext cx="1198688" cy="28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/>
                <a:t>200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5752933" y="2634134"/>
              <a:ext cx="1198688" cy="28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/>
                <a:t>64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5752933" y="3038444"/>
              <a:ext cx="1198688" cy="288000"/>
            </a:xfrm>
            <a:prstGeom prst="rect">
              <a:avLst/>
            </a:prstGeom>
            <a:solidFill>
              <a:srgbClr val="EAF2F7"/>
            </a:solidFill>
            <a:ln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/>
                <a:t>Х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5752933" y="3442753"/>
              <a:ext cx="1198688" cy="288000"/>
            </a:xfrm>
            <a:prstGeom prst="rect">
              <a:avLst/>
            </a:prstGeom>
            <a:solidFill>
              <a:srgbClr val="EAF2F7"/>
            </a:solidFill>
            <a:ln>
              <a:solidFill>
                <a:schemeClr val="accent4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/>
                <a:t>Х</a:t>
              </a:r>
            </a:p>
          </p:txBody>
        </p:sp>
      </p:grpSp>
      <p:grpSp>
        <p:nvGrpSpPr>
          <p:cNvPr id="54" name="Группа 53">
            <a:extLst>
              <a:ext uri="{FF2B5EF4-FFF2-40B4-BE49-F238E27FC236}">
                <a16:creationId xmlns="" xmlns:a16="http://schemas.microsoft.com/office/drawing/2014/main" id="{56A15CE8-5E38-491E-84A2-2148A1F05FCB}"/>
              </a:ext>
            </a:extLst>
          </p:cNvPr>
          <p:cNvGrpSpPr/>
          <p:nvPr/>
        </p:nvGrpSpPr>
        <p:grpSpPr>
          <a:xfrm>
            <a:off x="5791200" y="4322374"/>
            <a:ext cx="5716588" cy="823815"/>
            <a:chOff x="5591175" y="3756086"/>
            <a:chExt cx="5716588" cy="823815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6747371" y="3756086"/>
              <a:ext cx="4560392" cy="8238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150000"/>
                </a:lnSpc>
                <a:spcBef>
                  <a:spcPts val="306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r>
                <a:rPr lang="ru-RU" sz="1600" dirty="0"/>
                <a:t>Работа на предприятиях в регионах</a:t>
              </a:r>
            </a:p>
            <a:p>
              <a:pPr marL="285750" indent="-285750">
                <a:lnSpc>
                  <a:spcPct val="150000"/>
                </a:lnSpc>
                <a:spcBef>
                  <a:spcPts val="306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</a:pPr>
              <a:r>
                <a:rPr lang="ru-RU" sz="1600" dirty="0"/>
                <a:t>Работа на предприятиях экспертов ФЦК</a:t>
              </a:r>
            </a:p>
          </p:txBody>
        </p:sp>
        <p:sp>
          <p:nvSpPr>
            <p:cNvPr id="17" name="Левая круглая скобка 16"/>
            <p:cNvSpPr/>
            <p:nvPr/>
          </p:nvSpPr>
          <p:spPr>
            <a:xfrm>
              <a:off x="5591175" y="3903196"/>
              <a:ext cx="77740" cy="612000"/>
            </a:xfrm>
            <a:prstGeom prst="leftBracket">
              <a:avLst/>
            </a:prstGeom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5752933" y="3866179"/>
              <a:ext cx="1198688" cy="28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/>
                <a:t>1 966</a:t>
              </a:r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5752933" y="4259550"/>
              <a:ext cx="1198688" cy="288000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 smtClean="0"/>
                <a:t>1 956</a:t>
              </a:r>
              <a:endParaRPr lang="ru-RU" sz="1600" b="1" dirty="0"/>
            </a:p>
          </p:txBody>
        </p:sp>
      </p:grpSp>
      <p:sp>
        <p:nvSpPr>
          <p:cNvPr id="42" name="TextBox 41"/>
          <p:cNvSpPr txBox="1"/>
          <p:nvPr/>
        </p:nvSpPr>
        <p:spPr>
          <a:xfrm>
            <a:off x="287338" y="1387827"/>
            <a:ext cx="320833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/>
              <a:t>Бюджет проектов, </a:t>
            </a:r>
            <a:r>
              <a:rPr lang="ru-RU" sz="1600" dirty="0"/>
              <a:t>млн рублей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5867400" y="1387827"/>
            <a:ext cx="266290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/>
              <a:t>Основные мероприятия</a:t>
            </a: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335360" y="1719845"/>
            <a:ext cx="1168303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520700" y="3179763"/>
            <a:ext cx="23310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rgbClr val="203277"/>
                </a:solidFill>
              </a:rPr>
              <a:t>Адресная поддержка</a:t>
            </a:r>
          </a:p>
        </p:txBody>
      </p:sp>
      <p:grpSp>
        <p:nvGrpSpPr>
          <p:cNvPr id="63" name="Group 578">
            <a:extLst>
              <a:ext uri="{FF2B5EF4-FFF2-40B4-BE49-F238E27FC236}">
                <a16:creationId xmlns="" xmlns:a16="http://schemas.microsoft.com/office/drawing/2014/main" id="{611FBEF0-FA15-4E86-99CA-ED43DE9750F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52975" y="3217863"/>
            <a:ext cx="287338" cy="288622"/>
            <a:chOff x="399" y="2382"/>
            <a:chExt cx="340" cy="341"/>
          </a:xfrm>
          <a:solidFill>
            <a:srgbClr val="203277"/>
          </a:solidFill>
        </p:grpSpPr>
        <p:sp>
          <p:nvSpPr>
            <p:cNvPr id="66" name="Freeform 579">
              <a:extLst>
                <a:ext uri="{FF2B5EF4-FFF2-40B4-BE49-F238E27FC236}">
                  <a16:creationId xmlns="" xmlns:a16="http://schemas.microsoft.com/office/drawing/2014/main" id="{26370E6C-5D19-43FF-8352-65A08D27FF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3" y="2503"/>
              <a:ext cx="212" cy="127"/>
            </a:xfrm>
            <a:custGeom>
              <a:avLst/>
              <a:gdLst>
                <a:gd name="T0" fmla="*/ 287 w 320"/>
                <a:gd name="T1" fmla="*/ 9 h 192"/>
                <a:gd name="T2" fmla="*/ 277 w 320"/>
                <a:gd name="T3" fmla="*/ 0 h 192"/>
                <a:gd name="T4" fmla="*/ 213 w 320"/>
                <a:gd name="T5" fmla="*/ 0 h 192"/>
                <a:gd name="T6" fmla="*/ 202 w 320"/>
                <a:gd name="T7" fmla="*/ 9 h 192"/>
                <a:gd name="T8" fmla="*/ 190 w 320"/>
                <a:gd name="T9" fmla="*/ 107 h 192"/>
                <a:gd name="T10" fmla="*/ 112 w 320"/>
                <a:gd name="T11" fmla="*/ 55 h 192"/>
                <a:gd name="T12" fmla="*/ 101 w 320"/>
                <a:gd name="T13" fmla="*/ 55 h 192"/>
                <a:gd name="T14" fmla="*/ 96 w 320"/>
                <a:gd name="T15" fmla="*/ 64 h 192"/>
                <a:gd name="T16" fmla="*/ 96 w 320"/>
                <a:gd name="T17" fmla="*/ 108 h 192"/>
                <a:gd name="T18" fmla="*/ 16 w 320"/>
                <a:gd name="T19" fmla="*/ 55 h 192"/>
                <a:gd name="T20" fmla="*/ 5 w 320"/>
                <a:gd name="T21" fmla="*/ 55 h 192"/>
                <a:gd name="T22" fmla="*/ 0 w 320"/>
                <a:gd name="T23" fmla="*/ 64 h 192"/>
                <a:gd name="T24" fmla="*/ 0 w 320"/>
                <a:gd name="T25" fmla="*/ 181 h 192"/>
                <a:gd name="T26" fmla="*/ 10 w 320"/>
                <a:gd name="T27" fmla="*/ 192 h 192"/>
                <a:gd name="T28" fmla="*/ 309 w 320"/>
                <a:gd name="T29" fmla="*/ 192 h 192"/>
                <a:gd name="T30" fmla="*/ 317 w 320"/>
                <a:gd name="T31" fmla="*/ 188 h 192"/>
                <a:gd name="T32" fmla="*/ 319 w 320"/>
                <a:gd name="T33" fmla="*/ 179 h 192"/>
                <a:gd name="T34" fmla="*/ 287 w 320"/>
                <a:gd name="T35" fmla="*/ 9 h 192"/>
                <a:gd name="T36" fmla="*/ 187 w 320"/>
                <a:gd name="T37" fmla="*/ 131 h 192"/>
                <a:gd name="T38" fmla="*/ 182 w 320"/>
                <a:gd name="T39" fmla="*/ 171 h 192"/>
                <a:gd name="T40" fmla="*/ 117 w 320"/>
                <a:gd name="T41" fmla="*/ 171 h 192"/>
                <a:gd name="T42" fmla="*/ 117 w 320"/>
                <a:gd name="T43" fmla="*/ 84 h 192"/>
                <a:gd name="T44" fmla="*/ 187 w 320"/>
                <a:gd name="T45" fmla="*/ 131 h 192"/>
                <a:gd name="T46" fmla="*/ 96 w 320"/>
                <a:gd name="T47" fmla="*/ 134 h 192"/>
                <a:gd name="T48" fmla="*/ 96 w 320"/>
                <a:gd name="T49" fmla="*/ 171 h 192"/>
                <a:gd name="T50" fmla="*/ 21 w 320"/>
                <a:gd name="T51" fmla="*/ 171 h 192"/>
                <a:gd name="T52" fmla="*/ 21 w 320"/>
                <a:gd name="T53" fmla="*/ 84 h 192"/>
                <a:gd name="T54" fmla="*/ 96 w 320"/>
                <a:gd name="T55" fmla="*/ 134 h 192"/>
                <a:gd name="T56" fmla="*/ 204 w 320"/>
                <a:gd name="T57" fmla="*/ 171 h 192"/>
                <a:gd name="T58" fmla="*/ 222 w 320"/>
                <a:gd name="T59" fmla="*/ 21 h 192"/>
                <a:gd name="T60" fmla="*/ 268 w 320"/>
                <a:gd name="T61" fmla="*/ 21 h 192"/>
                <a:gd name="T62" fmla="*/ 296 w 320"/>
                <a:gd name="T63" fmla="*/ 171 h 192"/>
                <a:gd name="T64" fmla="*/ 204 w 320"/>
                <a:gd name="T65" fmla="*/ 171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20" h="192">
                  <a:moveTo>
                    <a:pt x="287" y="9"/>
                  </a:moveTo>
                  <a:cubicBezTo>
                    <a:pt x="287" y="4"/>
                    <a:pt x="282" y="0"/>
                    <a:pt x="277" y="0"/>
                  </a:cubicBezTo>
                  <a:cubicBezTo>
                    <a:pt x="213" y="0"/>
                    <a:pt x="213" y="0"/>
                    <a:pt x="213" y="0"/>
                  </a:cubicBezTo>
                  <a:cubicBezTo>
                    <a:pt x="208" y="0"/>
                    <a:pt x="203" y="4"/>
                    <a:pt x="202" y="9"/>
                  </a:cubicBezTo>
                  <a:cubicBezTo>
                    <a:pt x="190" y="107"/>
                    <a:pt x="190" y="107"/>
                    <a:pt x="190" y="107"/>
                  </a:cubicBezTo>
                  <a:cubicBezTo>
                    <a:pt x="112" y="55"/>
                    <a:pt x="112" y="55"/>
                    <a:pt x="112" y="55"/>
                  </a:cubicBezTo>
                  <a:cubicBezTo>
                    <a:pt x="109" y="53"/>
                    <a:pt x="105" y="53"/>
                    <a:pt x="101" y="55"/>
                  </a:cubicBezTo>
                  <a:cubicBezTo>
                    <a:pt x="98" y="56"/>
                    <a:pt x="96" y="60"/>
                    <a:pt x="96" y="64"/>
                  </a:cubicBezTo>
                  <a:cubicBezTo>
                    <a:pt x="96" y="108"/>
                    <a:pt x="96" y="108"/>
                    <a:pt x="96" y="108"/>
                  </a:cubicBezTo>
                  <a:cubicBezTo>
                    <a:pt x="16" y="55"/>
                    <a:pt x="16" y="55"/>
                    <a:pt x="16" y="55"/>
                  </a:cubicBezTo>
                  <a:cubicBezTo>
                    <a:pt x="13" y="53"/>
                    <a:pt x="9" y="53"/>
                    <a:pt x="5" y="55"/>
                  </a:cubicBezTo>
                  <a:cubicBezTo>
                    <a:pt x="2" y="56"/>
                    <a:pt x="0" y="60"/>
                    <a:pt x="0" y="64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187"/>
                    <a:pt x="4" y="192"/>
                    <a:pt x="10" y="192"/>
                  </a:cubicBezTo>
                  <a:cubicBezTo>
                    <a:pt x="309" y="192"/>
                    <a:pt x="309" y="192"/>
                    <a:pt x="309" y="192"/>
                  </a:cubicBezTo>
                  <a:cubicBezTo>
                    <a:pt x="312" y="192"/>
                    <a:pt x="315" y="191"/>
                    <a:pt x="317" y="188"/>
                  </a:cubicBezTo>
                  <a:cubicBezTo>
                    <a:pt x="319" y="186"/>
                    <a:pt x="320" y="182"/>
                    <a:pt x="319" y="179"/>
                  </a:cubicBezTo>
                  <a:lnTo>
                    <a:pt x="287" y="9"/>
                  </a:lnTo>
                  <a:close/>
                  <a:moveTo>
                    <a:pt x="187" y="131"/>
                  </a:moveTo>
                  <a:cubicBezTo>
                    <a:pt x="182" y="171"/>
                    <a:pt x="182" y="171"/>
                    <a:pt x="182" y="171"/>
                  </a:cubicBezTo>
                  <a:cubicBezTo>
                    <a:pt x="117" y="171"/>
                    <a:pt x="117" y="171"/>
                    <a:pt x="117" y="171"/>
                  </a:cubicBezTo>
                  <a:cubicBezTo>
                    <a:pt x="117" y="84"/>
                    <a:pt x="117" y="84"/>
                    <a:pt x="117" y="84"/>
                  </a:cubicBezTo>
                  <a:lnTo>
                    <a:pt x="187" y="131"/>
                  </a:lnTo>
                  <a:close/>
                  <a:moveTo>
                    <a:pt x="96" y="134"/>
                  </a:moveTo>
                  <a:cubicBezTo>
                    <a:pt x="96" y="171"/>
                    <a:pt x="96" y="171"/>
                    <a:pt x="96" y="171"/>
                  </a:cubicBezTo>
                  <a:cubicBezTo>
                    <a:pt x="21" y="171"/>
                    <a:pt x="21" y="171"/>
                    <a:pt x="21" y="171"/>
                  </a:cubicBezTo>
                  <a:cubicBezTo>
                    <a:pt x="21" y="84"/>
                    <a:pt x="21" y="84"/>
                    <a:pt x="21" y="84"/>
                  </a:cubicBezTo>
                  <a:lnTo>
                    <a:pt x="96" y="134"/>
                  </a:lnTo>
                  <a:close/>
                  <a:moveTo>
                    <a:pt x="204" y="171"/>
                  </a:moveTo>
                  <a:cubicBezTo>
                    <a:pt x="222" y="21"/>
                    <a:pt x="222" y="21"/>
                    <a:pt x="222" y="21"/>
                  </a:cubicBezTo>
                  <a:cubicBezTo>
                    <a:pt x="268" y="21"/>
                    <a:pt x="268" y="21"/>
                    <a:pt x="268" y="21"/>
                  </a:cubicBezTo>
                  <a:cubicBezTo>
                    <a:pt x="296" y="171"/>
                    <a:pt x="296" y="171"/>
                    <a:pt x="296" y="171"/>
                  </a:cubicBezTo>
                  <a:lnTo>
                    <a:pt x="204" y="1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67" name="Freeform 580">
              <a:extLst>
                <a:ext uri="{FF2B5EF4-FFF2-40B4-BE49-F238E27FC236}">
                  <a16:creationId xmlns="" xmlns:a16="http://schemas.microsoft.com/office/drawing/2014/main" id="{8FE6E7F6-34EA-433E-AEE9-8916C90CBA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" y="2445"/>
              <a:ext cx="20" cy="44"/>
            </a:xfrm>
            <a:custGeom>
              <a:avLst/>
              <a:gdLst>
                <a:gd name="T0" fmla="*/ 8 w 31"/>
                <a:gd name="T1" fmla="*/ 46 h 65"/>
                <a:gd name="T2" fmla="*/ 8 w 31"/>
                <a:gd name="T3" fmla="*/ 61 h 65"/>
                <a:gd name="T4" fmla="*/ 16 w 31"/>
                <a:gd name="T5" fmla="*/ 65 h 65"/>
                <a:gd name="T6" fmla="*/ 23 w 31"/>
                <a:gd name="T7" fmla="*/ 62 h 65"/>
                <a:gd name="T8" fmla="*/ 31 w 31"/>
                <a:gd name="T9" fmla="*/ 43 h 65"/>
                <a:gd name="T10" fmla="*/ 23 w 31"/>
                <a:gd name="T11" fmla="*/ 25 h 65"/>
                <a:gd name="T12" fmla="*/ 23 w 31"/>
                <a:gd name="T13" fmla="*/ 19 h 65"/>
                <a:gd name="T14" fmla="*/ 23 w 31"/>
                <a:gd name="T15" fmla="*/ 4 h 65"/>
                <a:gd name="T16" fmla="*/ 8 w 31"/>
                <a:gd name="T17" fmla="*/ 4 h 65"/>
                <a:gd name="T18" fmla="*/ 0 w 31"/>
                <a:gd name="T19" fmla="*/ 22 h 65"/>
                <a:gd name="T20" fmla="*/ 8 w 31"/>
                <a:gd name="T21" fmla="*/ 40 h 65"/>
                <a:gd name="T22" fmla="*/ 8 w 31"/>
                <a:gd name="T23" fmla="*/ 4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" h="65">
                  <a:moveTo>
                    <a:pt x="8" y="46"/>
                  </a:moveTo>
                  <a:cubicBezTo>
                    <a:pt x="4" y="50"/>
                    <a:pt x="4" y="57"/>
                    <a:pt x="8" y="61"/>
                  </a:cubicBezTo>
                  <a:cubicBezTo>
                    <a:pt x="10" y="64"/>
                    <a:pt x="13" y="65"/>
                    <a:pt x="16" y="65"/>
                  </a:cubicBezTo>
                  <a:cubicBezTo>
                    <a:pt x="18" y="65"/>
                    <a:pt x="21" y="64"/>
                    <a:pt x="23" y="62"/>
                  </a:cubicBezTo>
                  <a:cubicBezTo>
                    <a:pt x="24" y="60"/>
                    <a:pt x="31" y="53"/>
                    <a:pt x="31" y="43"/>
                  </a:cubicBezTo>
                  <a:cubicBezTo>
                    <a:pt x="31" y="39"/>
                    <a:pt x="30" y="32"/>
                    <a:pt x="23" y="25"/>
                  </a:cubicBezTo>
                  <a:cubicBezTo>
                    <a:pt x="22" y="24"/>
                    <a:pt x="20" y="22"/>
                    <a:pt x="23" y="19"/>
                  </a:cubicBezTo>
                  <a:cubicBezTo>
                    <a:pt x="27" y="15"/>
                    <a:pt x="27" y="8"/>
                    <a:pt x="23" y="4"/>
                  </a:cubicBezTo>
                  <a:cubicBezTo>
                    <a:pt x="19" y="0"/>
                    <a:pt x="12" y="0"/>
                    <a:pt x="8" y="4"/>
                  </a:cubicBezTo>
                  <a:cubicBezTo>
                    <a:pt x="7" y="5"/>
                    <a:pt x="0" y="12"/>
                    <a:pt x="0" y="22"/>
                  </a:cubicBezTo>
                  <a:cubicBezTo>
                    <a:pt x="0" y="27"/>
                    <a:pt x="2" y="34"/>
                    <a:pt x="8" y="40"/>
                  </a:cubicBezTo>
                  <a:cubicBezTo>
                    <a:pt x="9" y="41"/>
                    <a:pt x="11" y="43"/>
                    <a:pt x="8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71" name="Freeform 581">
              <a:extLst>
                <a:ext uri="{FF2B5EF4-FFF2-40B4-BE49-F238E27FC236}">
                  <a16:creationId xmlns="" xmlns:a16="http://schemas.microsoft.com/office/drawing/2014/main" id="{1D434EB8-33E7-4106-8A56-EA3829C4FF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" y="2445"/>
              <a:ext cx="21" cy="44"/>
            </a:xfrm>
            <a:custGeom>
              <a:avLst/>
              <a:gdLst>
                <a:gd name="T0" fmla="*/ 8 w 31"/>
                <a:gd name="T1" fmla="*/ 46 h 65"/>
                <a:gd name="T2" fmla="*/ 8 w 31"/>
                <a:gd name="T3" fmla="*/ 61 h 65"/>
                <a:gd name="T4" fmla="*/ 15 w 31"/>
                <a:gd name="T5" fmla="*/ 65 h 65"/>
                <a:gd name="T6" fmla="*/ 23 w 31"/>
                <a:gd name="T7" fmla="*/ 62 h 65"/>
                <a:gd name="T8" fmla="*/ 31 w 31"/>
                <a:gd name="T9" fmla="*/ 43 h 65"/>
                <a:gd name="T10" fmla="*/ 23 w 31"/>
                <a:gd name="T11" fmla="*/ 25 h 65"/>
                <a:gd name="T12" fmla="*/ 23 w 31"/>
                <a:gd name="T13" fmla="*/ 19 h 65"/>
                <a:gd name="T14" fmla="*/ 23 w 31"/>
                <a:gd name="T15" fmla="*/ 4 h 65"/>
                <a:gd name="T16" fmla="*/ 8 w 31"/>
                <a:gd name="T17" fmla="*/ 4 h 65"/>
                <a:gd name="T18" fmla="*/ 0 w 31"/>
                <a:gd name="T19" fmla="*/ 22 h 65"/>
                <a:gd name="T20" fmla="*/ 8 w 31"/>
                <a:gd name="T21" fmla="*/ 40 h 65"/>
                <a:gd name="T22" fmla="*/ 8 w 31"/>
                <a:gd name="T23" fmla="*/ 4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" h="65">
                  <a:moveTo>
                    <a:pt x="8" y="46"/>
                  </a:moveTo>
                  <a:cubicBezTo>
                    <a:pt x="4" y="50"/>
                    <a:pt x="4" y="57"/>
                    <a:pt x="8" y="61"/>
                  </a:cubicBezTo>
                  <a:cubicBezTo>
                    <a:pt x="10" y="64"/>
                    <a:pt x="13" y="65"/>
                    <a:pt x="15" y="65"/>
                  </a:cubicBezTo>
                  <a:cubicBezTo>
                    <a:pt x="18" y="65"/>
                    <a:pt x="21" y="64"/>
                    <a:pt x="23" y="62"/>
                  </a:cubicBezTo>
                  <a:cubicBezTo>
                    <a:pt x="24" y="60"/>
                    <a:pt x="31" y="53"/>
                    <a:pt x="31" y="43"/>
                  </a:cubicBezTo>
                  <a:cubicBezTo>
                    <a:pt x="31" y="39"/>
                    <a:pt x="30" y="32"/>
                    <a:pt x="23" y="25"/>
                  </a:cubicBezTo>
                  <a:cubicBezTo>
                    <a:pt x="22" y="24"/>
                    <a:pt x="20" y="22"/>
                    <a:pt x="23" y="19"/>
                  </a:cubicBezTo>
                  <a:cubicBezTo>
                    <a:pt x="27" y="15"/>
                    <a:pt x="27" y="8"/>
                    <a:pt x="23" y="4"/>
                  </a:cubicBezTo>
                  <a:cubicBezTo>
                    <a:pt x="19" y="0"/>
                    <a:pt x="12" y="0"/>
                    <a:pt x="8" y="4"/>
                  </a:cubicBezTo>
                  <a:cubicBezTo>
                    <a:pt x="7" y="5"/>
                    <a:pt x="0" y="12"/>
                    <a:pt x="0" y="22"/>
                  </a:cubicBezTo>
                  <a:cubicBezTo>
                    <a:pt x="0" y="27"/>
                    <a:pt x="1" y="34"/>
                    <a:pt x="8" y="40"/>
                  </a:cubicBezTo>
                  <a:cubicBezTo>
                    <a:pt x="9" y="41"/>
                    <a:pt x="11" y="43"/>
                    <a:pt x="8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72" name="Freeform 582">
              <a:extLst>
                <a:ext uri="{FF2B5EF4-FFF2-40B4-BE49-F238E27FC236}">
                  <a16:creationId xmlns="" xmlns:a16="http://schemas.microsoft.com/office/drawing/2014/main" id="{93623DCF-5BFF-4FC6-8944-9D6D4B2F92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9" y="2382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520700" y="4346575"/>
            <a:ext cx="23897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rgbClr val="203277"/>
                </a:solidFill>
              </a:rPr>
              <a:t>Поддержка занятости</a:t>
            </a:r>
          </a:p>
        </p:txBody>
      </p:sp>
      <p:grpSp>
        <p:nvGrpSpPr>
          <p:cNvPr id="76" name="Group 545">
            <a:extLst>
              <a:ext uri="{FF2B5EF4-FFF2-40B4-BE49-F238E27FC236}">
                <a16:creationId xmlns="" xmlns:a16="http://schemas.microsoft.com/office/drawing/2014/main" id="{F743F145-D25F-4DAB-AD14-6CF96FB1462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51388" y="4384675"/>
            <a:ext cx="288925" cy="289317"/>
            <a:chOff x="1885" y="1944"/>
            <a:chExt cx="340" cy="340"/>
          </a:xfrm>
          <a:solidFill>
            <a:srgbClr val="203277"/>
          </a:solidFill>
        </p:grpSpPr>
        <p:sp>
          <p:nvSpPr>
            <p:cNvPr id="77" name="Freeform 546">
              <a:extLst>
                <a:ext uri="{FF2B5EF4-FFF2-40B4-BE49-F238E27FC236}">
                  <a16:creationId xmlns="" xmlns:a16="http://schemas.microsoft.com/office/drawing/2014/main" id="{EDD6A191-E11D-48C7-948B-5007997123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" y="194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78" name="Freeform 547">
              <a:extLst>
                <a:ext uri="{FF2B5EF4-FFF2-40B4-BE49-F238E27FC236}">
                  <a16:creationId xmlns="" xmlns:a16="http://schemas.microsoft.com/office/drawing/2014/main" id="{AD462D0A-DA88-4598-8DAC-24C5A3BFBE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7" y="2007"/>
              <a:ext cx="215" cy="185"/>
            </a:xfrm>
            <a:custGeom>
              <a:avLst/>
              <a:gdLst>
                <a:gd name="T0" fmla="*/ 318 w 323"/>
                <a:gd name="T1" fmla="*/ 259 h 278"/>
                <a:gd name="T2" fmla="*/ 257 w 323"/>
                <a:gd name="T3" fmla="*/ 241 h 278"/>
                <a:gd name="T4" fmla="*/ 229 w 323"/>
                <a:gd name="T5" fmla="*/ 236 h 278"/>
                <a:gd name="T6" fmla="*/ 212 w 323"/>
                <a:gd name="T7" fmla="*/ 223 h 278"/>
                <a:gd name="T8" fmla="*/ 213 w 323"/>
                <a:gd name="T9" fmla="*/ 220 h 278"/>
                <a:gd name="T10" fmla="*/ 246 w 323"/>
                <a:gd name="T11" fmla="*/ 142 h 278"/>
                <a:gd name="T12" fmla="*/ 233 w 323"/>
                <a:gd name="T13" fmla="*/ 33 h 278"/>
                <a:gd name="T14" fmla="*/ 161 w 323"/>
                <a:gd name="T15" fmla="*/ 1 h 278"/>
                <a:gd name="T16" fmla="*/ 161 w 323"/>
                <a:gd name="T17" fmla="*/ 1 h 278"/>
                <a:gd name="T18" fmla="*/ 90 w 323"/>
                <a:gd name="T19" fmla="*/ 33 h 278"/>
                <a:gd name="T20" fmla="*/ 77 w 323"/>
                <a:gd name="T21" fmla="*/ 142 h 278"/>
                <a:gd name="T22" fmla="*/ 110 w 323"/>
                <a:gd name="T23" fmla="*/ 220 h 278"/>
                <a:gd name="T24" fmla="*/ 111 w 323"/>
                <a:gd name="T25" fmla="*/ 223 h 278"/>
                <a:gd name="T26" fmla="*/ 94 w 323"/>
                <a:gd name="T27" fmla="*/ 236 h 278"/>
                <a:gd name="T28" fmla="*/ 66 w 323"/>
                <a:gd name="T29" fmla="*/ 241 h 278"/>
                <a:gd name="T30" fmla="*/ 5 w 323"/>
                <a:gd name="T31" fmla="*/ 259 h 278"/>
                <a:gd name="T32" fmla="*/ 4 w 323"/>
                <a:gd name="T33" fmla="*/ 274 h 278"/>
                <a:gd name="T34" fmla="*/ 12 w 323"/>
                <a:gd name="T35" fmla="*/ 278 h 278"/>
                <a:gd name="T36" fmla="*/ 19 w 323"/>
                <a:gd name="T37" fmla="*/ 275 h 278"/>
                <a:gd name="T38" fmla="*/ 69 w 323"/>
                <a:gd name="T39" fmla="*/ 263 h 278"/>
                <a:gd name="T40" fmla="*/ 101 w 323"/>
                <a:gd name="T41" fmla="*/ 256 h 278"/>
                <a:gd name="T42" fmla="*/ 131 w 323"/>
                <a:gd name="T43" fmla="*/ 229 h 278"/>
                <a:gd name="T44" fmla="*/ 128 w 323"/>
                <a:gd name="T45" fmla="*/ 208 h 278"/>
                <a:gd name="T46" fmla="*/ 97 w 323"/>
                <a:gd name="T47" fmla="*/ 137 h 278"/>
                <a:gd name="T48" fmla="*/ 106 w 323"/>
                <a:gd name="T49" fmla="*/ 46 h 278"/>
                <a:gd name="T50" fmla="*/ 161 w 323"/>
                <a:gd name="T51" fmla="*/ 22 h 278"/>
                <a:gd name="T52" fmla="*/ 162 w 323"/>
                <a:gd name="T53" fmla="*/ 22 h 278"/>
                <a:gd name="T54" fmla="*/ 162 w 323"/>
                <a:gd name="T55" fmla="*/ 22 h 278"/>
                <a:gd name="T56" fmla="*/ 162 w 323"/>
                <a:gd name="T57" fmla="*/ 22 h 278"/>
                <a:gd name="T58" fmla="*/ 217 w 323"/>
                <a:gd name="T59" fmla="*/ 46 h 278"/>
                <a:gd name="T60" fmla="*/ 226 w 323"/>
                <a:gd name="T61" fmla="*/ 137 h 278"/>
                <a:gd name="T62" fmla="*/ 195 w 323"/>
                <a:gd name="T63" fmla="*/ 208 h 278"/>
                <a:gd name="T64" fmla="*/ 192 w 323"/>
                <a:gd name="T65" fmla="*/ 229 h 278"/>
                <a:gd name="T66" fmla="*/ 222 w 323"/>
                <a:gd name="T67" fmla="*/ 256 h 278"/>
                <a:gd name="T68" fmla="*/ 254 w 323"/>
                <a:gd name="T69" fmla="*/ 263 h 278"/>
                <a:gd name="T70" fmla="*/ 304 w 323"/>
                <a:gd name="T71" fmla="*/ 275 h 278"/>
                <a:gd name="T72" fmla="*/ 311 w 323"/>
                <a:gd name="T73" fmla="*/ 278 h 278"/>
                <a:gd name="T74" fmla="*/ 319 w 323"/>
                <a:gd name="T75" fmla="*/ 274 h 278"/>
                <a:gd name="T76" fmla="*/ 318 w 323"/>
                <a:gd name="T77" fmla="*/ 259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3" h="278">
                  <a:moveTo>
                    <a:pt x="318" y="259"/>
                  </a:moveTo>
                  <a:cubicBezTo>
                    <a:pt x="306" y="249"/>
                    <a:pt x="281" y="245"/>
                    <a:pt x="257" y="241"/>
                  </a:cubicBezTo>
                  <a:cubicBezTo>
                    <a:pt x="246" y="240"/>
                    <a:pt x="235" y="238"/>
                    <a:pt x="229" y="236"/>
                  </a:cubicBezTo>
                  <a:cubicBezTo>
                    <a:pt x="220" y="232"/>
                    <a:pt x="214" y="226"/>
                    <a:pt x="212" y="223"/>
                  </a:cubicBezTo>
                  <a:cubicBezTo>
                    <a:pt x="212" y="221"/>
                    <a:pt x="212" y="221"/>
                    <a:pt x="213" y="220"/>
                  </a:cubicBezTo>
                  <a:cubicBezTo>
                    <a:pt x="226" y="202"/>
                    <a:pt x="240" y="170"/>
                    <a:pt x="246" y="142"/>
                  </a:cubicBezTo>
                  <a:cubicBezTo>
                    <a:pt x="258" y="95"/>
                    <a:pt x="253" y="58"/>
                    <a:pt x="233" y="33"/>
                  </a:cubicBezTo>
                  <a:cubicBezTo>
                    <a:pt x="207" y="0"/>
                    <a:pt x="163" y="1"/>
                    <a:pt x="161" y="1"/>
                  </a:cubicBezTo>
                  <a:cubicBezTo>
                    <a:pt x="161" y="1"/>
                    <a:pt x="161" y="1"/>
                    <a:pt x="161" y="1"/>
                  </a:cubicBezTo>
                  <a:cubicBezTo>
                    <a:pt x="158" y="1"/>
                    <a:pt x="116" y="1"/>
                    <a:pt x="90" y="33"/>
                  </a:cubicBezTo>
                  <a:cubicBezTo>
                    <a:pt x="70" y="58"/>
                    <a:pt x="65" y="95"/>
                    <a:pt x="77" y="142"/>
                  </a:cubicBezTo>
                  <a:cubicBezTo>
                    <a:pt x="83" y="170"/>
                    <a:pt x="97" y="202"/>
                    <a:pt x="110" y="220"/>
                  </a:cubicBezTo>
                  <a:cubicBezTo>
                    <a:pt x="111" y="221"/>
                    <a:pt x="111" y="221"/>
                    <a:pt x="111" y="223"/>
                  </a:cubicBezTo>
                  <a:cubicBezTo>
                    <a:pt x="110" y="226"/>
                    <a:pt x="103" y="232"/>
                    <a:pt x="94" y="236"/>
                  </a:cubicBezTo>
                  <a:cubicBezTo>
                    <a:pt x="88" y="238"/>
                    <a:pt x="77" y="240"/>
                    <a:pt x="66" y="241"/>
                  </a:cubicBezTo>
                  <a:cubicBezTo>
                    <a:pt x="42" y="245"/>
                    <a:pt x="17" y="249"/>
                    <a:pt x="5" y="259"/>
                  </a:cubicBezTo>
                  <a:cubicBezTo>
                    <a:pt x="1" y="263"/>
                    <a:pt x="0" y="270"/>
                    <a:pt x="4" y="274"/>
                  </a:cubicBezTo>
                  <a:cubicBezTo>
                    <a:pt x="6" y="277"/>
                    <a:pt x="9" y="278"/>
                    <a:pt x="12" y="278"/>
                  </a:cubicBezTo>
                  <a:cubicBezTo>
                    <a:pt x="15" y="278"/>
                    <a:pt x="17" y="277"/>
                    <a:pt x="19" y="275"/>
                  </a:cubicBezTo>
                  <a:cubicBezTo>
                    <a:pt x="27" y="269"/>
                    <a:pt x="51" y="265"/>
                    <a:pt x="69" y="263"/>
                  </a:cubicBezTo>
                  <a:cubicBezTo>
                    <a:pt x="82" y="261"/>
                    <a:pt x="94" y="259"/>
                    <a:pt x="101" y="256"/>
                  </a:cubicBezTo>
                  <a:cubicBezTo>
                    <a:pt x="117" y="250"/>
                    <a:pt x="128" y="240"/>
                    <a:pt x="131" y="229"/>
                  </a:cubicBezTo>
                  <a:cubicBezTo>
                    <a:pt x="133" y="221"/>
                    <a:pt x="132" y="214"/>
                    <a:pt x="128" y="208"/>
                  </a:cubicBezTo>
                  <a:cubicBezTo>
                    <a:pt x="116" y="192"/>
                    <a:pt x="103" y="162"/>
                    <a:pt x="97" y="137"/>
                  </a:cubicBezTo>
                  <a:cubicBezTo>
                    <a:pt x="88" y="96"/>
                    <a:pt x="91" y="66"/>
                    <a:pt x="106" y="46"/>
                  </a:cubicBezTo>
                  <a:cubicBezTo>
                    <a:pt x="126" y="22"/>
                    <a:pt x="160" y="22"/>
                    <a:pt x="161" y="22"/>
                  </a:cubicBezTo>
                  <a:cubicBezTo>
                    <a:pt x="161" y="22"/>
                    <a:pt x="161" y="22"/>
                    <a:pt x="162" y="22"/>
                  </a:cubicBezTo>
                  <a:cubicBezTo>
                    <a:pt x="162" y="22"/>
                    <a:pt x="162" y="22"/>
                    <a:pt x="162" y="22"/>
                  </a:cubicBezTo>
                  <a:cubicBezTo>
                    <a:pt x="162" y="22"/>
                    <a:pt x="162" y="22"/>
                    <a:pt x="162" y="22"/>
                  </a:cubicBezTo>
                  <a:cubicBezTo>
                    <a:pt x="162" y="22"/>
                    <a:pt x="197" y="22"/>
                    <a:pt x="217" y="46"/>
                  </a:cubicBezTo>
                  <a:cubicBezTo>
                    <a:pt x="232" y="66"/>
                    <a:pt x="235" y="96"/>
                    <a:pt x="226" y="137"/>
                  </a:cubicBezTo>
                  <a:cubicBezTo>
                    <a:pt x="220" y="162"/>
                    <a:pt x="207" y="192"/>
                    <a:pt x="195" y="208"/>
                  </a:cubicBezTo>
                  <a:cubicBezTo>
                    <a:pt x="191" y="214"/>
                    <a:pt x="190" y="221"/>
                    <a:pt x="192" y="229"/>
                  </a:cubicBezTo>
                  <a:cubicBezTo>
                    <a:pt x="195" y="240"/>
                    <a:pt x="206" y="250"/>
                    <a:pt x="222" y="256"/>
                  </a:cubicBezTo>
                  <a:cubicBezTo>
                    <a:pt x="229" y="259"/>
                    <a:pt x="241" y="261"/>
                    <a:pt x="254" y="263"/>
                  </a:cubicBezTo>
                  <a:cubicBezTo>
                    <a:pt x="272" y="265"/>
                    <a:pt x="296" y="269"/>
                    <a:pt x="304" y="275"/>
                  </a:cubicBezTo>
                  <a:cubicBezTo>
                    <a:pt x="306" y="277"/>
                    <a:pt x="308" y="278"/>
                    <a:pt x="311" y="278"/>
                  </a:cubicBezTo>
                  <a:cubicBezTo>
                    <a:pt x="314" y="278"/>
                    <a:pt x="317" y="277"/>
                    <a:pt x="319" y="274"/>
                  </a:cubicBezTo>
                  <a:cubicBezTo>
                    <a:pt x="323" y="270"/>
                    <a:pt x="322" y="263"/>
                    <a:pt x="318" y="2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</p:grpSp>
      <p:sp>
        <p:nvSpPr>
          <p:cNvPr id="137" name="Прямоугольник 136">
            <a:extLst>
              <a:ext uri="{FF2B5EF4-FFF2-40B4-BE49-F238E27FC236}">
                <a16:creationId xmlns="" xmlns:a16="http://schemas.microsoft.com/office/drawing/2014/main" id="{0C12EDB4-30FA-4336-9014-4848A1D0C21C}"/>
              </a:ext>
            </a:extLst>
          </p:cNvPr>
          <p:cNvSpPr/>
          <p:nvPr/>
        </p:nvSpPr>
        <p:spPr>
          <a:xfrm>
            <a:off x="520700" y="5465763"/>
            <a:ext cx="3582988" cy="3603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</a:rPr>
              <a:t>Всего в </a:t>
            </a:r>
            <a:r>
              <a:rPr lang="ru-RU" sz="1600" b="1" dirty="0" smtClean="0">
                <a:solidFill>
                  <a:schemeClr val="tx1"/>
                </a:solidFill>
              </a:rPr>
              <a:t>национальном </a:t>
            </a:r>
            <a:r>
              <a:rPr lang="ru-RU" sz="1600" b="1" dirty="0">
                <a:solidFill>
                  <a:schemeClr val="tx1"/>
                </a:solidFill>
              </a:rPr>
              <a:t>проекте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20700" y="2014538"/>
            <a:ext cx="197252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rgbClr val="203277"/>
                </a:solidFill>
              </a:rPr>
              <a:t>Системные меры</a:t>
            </a:r>
          </a:p>
        </p:txBody>
      </p:sp>
      <p:grpSp>
        <p:nvGrpSpPr>
          <p:cNvPr id="73" name="Group 526">
            <a:extLst>
              <a:ext uri="{FF2B5EF4-FFF2-40B4-BE49-F238E27FC236}">
                <a16:creationId xmlns="" xmlns:a16="http://schemas.microsoft.com/office/drawing/2014/main" id="{B84C3A82-D909-48EA-8E4F-3C585FB60FA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51388" y="2060574"/>
            <a:ext cx="288925" cy="289364"/>
            <a:chOff x="3464" y="1974"/>
            <a:chExt cx="340" cy="340"/>
          </a:xfrm>
          <a:solidFill>
            <a:srgbClr val="203277"/>
          </a:solidFill>
        </p:grpSpPr>
        <p:sp>
          <p:nvSpPr>
            <p:cNvPr id="74" name="Freeform 527">
              <a:extLst>
                <a:ext uri="{FF2B5EF4-FFF2-40B4-BE49-F238E27FC236}">
                  <a16:creationId xmlns="" xmlns:a16="http://schemas.microsoft.com/office/drawing/2014/main" id="{8FA987E1-76FA-48C3-A243-095B8568863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4" y="197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75" name="Freeform 528">
              <a:extLst>
                <a:ext uri="{FF2B5EF4-FFF2-40B4-BE49-F238E27FC236}">
                  <a16:creationId xmlns="" xmlns:a16="http://schemas.microsoft.com/office/drawing/2014/main" id="{DCE707BC-B6BA-449D-8ED4-0D05161847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41" y="2037"/>
              <a:ext cx="185" cy="199"/>
            </a:xfrm>
            <a:custGeom>
              <a:avLst/>
              <a:gdLst>
                <a:gd name="T0" fmla="*/ 268 w 279"/>
                <a:gd name="T1" fmla="*/ 299 h 299"/>
                <a:gd name="T2" fmla="*/ 12 w 279"/>
                <a:gd name="T3" fmla="*/ 299 h 299"/>
                <a:gd name="T4" fmla="*/ 3 w 279"/>
                <a:gd name="T5" fmla="*/ 294 h 299"/>
                <a:gd name="T6" fmla="*/ 2 w 279"/>
                <a:gd name="T7" fmla="*/ 284 h 299"/>
                <a:gd name="T8" fmla="*/ 23 w 279"/>
                <a:gd name="T9" fmla="*/ 241 h 299"/>
                <a:gd name="T10" fmla="*/ 33 w 279"/>
                <a:gd name="T11" fmla="*/ 235 h 299"/>
                <a:gd name="T12" fmla="*/ 246 w 279"/>
                <a:gd name="T13" fmla="*/ 235 h 299"/>
                <a:gd name="T14" fmla="*/ 256 w 279"/>
                <a:gd name="T15" fmla="*/ 241 h 299"/>
                <a:gd name="T16" fmla="*/ 277 w 279"/>
                <a:gd name="T17" fmla="*/ 284 h 299"/>
                <a:gd name="T18" fmla="*/ 277 w 279"/>
                <a:gd name="T19" fmla="*/ 294 h 299"/>
                <a:gd name="T20" fmla="*/ 268 w 279"/>
                <a:gd name="T21" fmla="*/ 299 h 299"/>
                <a:gd name="T22" fmla="*/ 29 w 279"/>
                <a:gd name="T23" fmla="*/ 278 h 299"/>
                <a:gd name="T24" fmla="*/ 250 w 279"/>
                <a:gd name="T25" fmla="*/ 278 h 299"/>
                <a:gd name="T26" fmla="*/ 240 w 279"/>
                <a:gd name="T27" fmla="*/ 257 h 299"/>
                <a:gd name="T28" fmla="*/ 40 w 279"/>
                <a:gd name="T29" fmla="*/ 257 h 299"/>
                <a:gd name="T30" fmla="*/ 29 w 279"/>
                <a:gd name="T31" fmla="*/ 278 h 299"/>
                <a:gd name="T32" fmla="*/ 257 w 279"/>
                <a:gd name="T33" fmla="*/ 86 h 299"/>
                <a:gd name="T34" fmla="*/ 22 w 279"/>
                <a:gd name="T35" fmla="*/ 86 h 299"/>
                <a:gd name="T36" fmla="*/ 12 w 279"/>
                <a:gd name="T37" fmla="*/ 78 h 299"/>
                <a:gd name="T38" fmla="*/ 17 w 279"/>
                <a:gd name="T39" fmla="*/ 66 h 299"/>
                <a:gd name="T40" fmla="*/ 135 w 279"/>
                <a:gd name="T41" fmla="*/ 2 h 299"/>
                <a:gd name="T42" fmla="*/ 145 w 279"/>
                <a:gd name="T43" fmla="*/ 2 h 299"/>
                <a:gd name="T44" fmla="*/ 262 w 279"/>
                <a:gd name="T45" fmla="*/ 66 h 299"/>
                <a:gd name="T46" fmla="*/ 267 w 279"/>
                <a:gd name="T47" fmla="*/ 78 h 299"/>
                <a:gd name="T48" fmla="*/ 257 w 279"/>
                <a:gd name="T49" fmla="*/ 86 h 299"/>
                <a:gd name="T50" fmla="*/ 64 w 279"/>
                <a:gd name="T51" fmla="*/ 65 h 299"/>
                <a:gd name="T52" fmla="*/ 215 w 279"/>
                <a:gd name="T53" fmla="*/ 65 h 299"/>
                <a:gd name="T54" fmla="*/ 140 w 279"/>
                <a:gd name="T55" fmla="*/ 23 h 299"/>
                <a:gd name="T56" fmla="*/ 64 w 279"/>
                <a:gd name="T57" fmla="*/ 65 h 299"/>
                <a:gd name="T58" fmla="*/ 54 w 279"/>
                <a:gd name="T59" fmla="*/ 203 h 299"/>
                <a:gd name="T60" fmla="*/ 54 w 279"/>
                <a:gd name="T61" fmla="*/ 118 h 299"/>
                <a:gd name="T62" fmla="*/ 44 w 279"/>
                <a:gd name="T63" fmla="*/ 107 h 299"/>
                <a:gd name="T64" fmla="*/ 33 w 279"/>
                <a:gd name="T65" fmla="*/ 118 h 299"/>
                <a:gd name="T66" fmla="*/ 33 w 279"/>
                <a:gd name="T67" fmla="*/ 203 h 299"/>
                <a:gd name="T68" fmla="*/ 44 w 279"/>
                <a:gd name="T69" fmla="*/ 214 h 299"/>
                <a:gd name="T70" fmla="*/ 54 w 279"/>
                <a:gd name="T71" fmla="*/ 203 h 299"/>
                <a:gd name="T72" fmla="*/ 118 w 279"/>
                <a:gd name="T73" fmla="*/ 203 h 299"/>
                <a:gd name="T74" fmla="*/ 118 w 279"/>
                <a:gd name="T75" fmla="*/ 118 h 299"/>
                <a:gd name="T76" fmla="*/ 108 w 279"/>
                <a:gd name="T77" fmla="*/ 107 h 299"/>
                <a:gd name="T78" fmla="*/ 97 w 279"/>
                <a:gd name="T79" fmla="*/ 118 h 299"/>
                <a:gd name="T80" fmla="*/ 97 w 279"/>
                <a:gd name="T81" fmla="*/ 203 h 299"/>
                <a:gd name="T82" fmla="*/ 108 w 279"/>
                <a:gd name="T83" fmla="*/ 214 h 299"/>
                <a:gd name="T84" fmla="*/ 118 w 279"/>
                <a:gd name="T85" fmla="*/ 203 h 299"/>
                <a:gd name="T86" fmla="*/ 182 w 279"/>
                <a:gd name="T87" fmla="*/ 203 h 299"/>
                <a:gd name="T88" fmla="*/ 182 w 279"/>
                <a:gd name="T89" fmla="*/ 118 h 299"/>
                <a:gd name="T90" fmla="*/ 172 w 279"/>
                <a:gd name="T91" fmla="*/ 107 h 299"/>
                <a:gd name="T92" fmla="*/ 161 w 279"/>
                <a:gd name="T93" fmla="*/ 118 h 299"/>
                <a:gd name="T94" fmla="*/ 161 w 279"/>
                <a:gd name="T95" fmla="*/ 203 h 299"/>
                <a:gd name="T96" fmla="*/ 172 w 279"/>
                <a:gd name="T97" fmla="*/ 214 h 299"/>
                <a:gd name="T98" fmla="*/ 182 w 279"/>
                <a:gd name="T99" fmla="*/ 203 h 299"/>
                <a:gd name="T100" fmla="*/ 246 w 279"/>
                <a:gd name="T101" fmla="*/ 203 h 299"/>
                <a:gd name="T102" fmla="*/ 246 w 279"/>
                <a:gd name="T103" fmla="*/ 118 h 299"/>
                <a:gd name="T104" fmla="*/ 236 w 279"/>
                <a:gd name="T105" fmla="*/ 107 h 299"/>
                <a:gd name="T106" fmla="*/ 225 w 279"/>
                <a:gd name="T107" fmla="*/ 118 h 299"/>
                <a:gd name="T108" fmla="*/ 225 w 279"/>
                <a:gd name="T109" fmla="*/ 203 h 299"/>
                <a:gd name="T110" fmla="*/ 236 w 279"/>
                <a:gd name="T111" fmla="*/ 214 h 299"/>
                <a:gd name="T112" fmla="*/ 246 w 279"/>
                <a:gd name="T113" fmla="*/ 20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79" h="299">
                  <a:moveTo>
                    <a:pt x="268" y="299"/>
                  </a:moveTo>
                  <a:cubicBezTo>
                    <a:pt x="12" y="299"/>
                    <a:pt x="12" y="299"/>
                    <a:pt x="12" y="299"/>
                  </a:cubicBezTo>
                  <a:cubicBezTo>
                    <a:pt x="8" y="299"/>
                    <a:pt x="5" y="297"/>
                    <a:pt x="3" y="294"/>
                  </a:cubicBezTo>
                  <a:cubicBezTo>
                    <a:pt x="1" y="291"/>
                    <a:pt x="0" y="287"/>
                    <a:pt x="2" y="284"/>
                  </a:cubicBezTo>
                  <a:cubicBezTo>
                    <a:pt x="23" y="241"/>
                    <a:pt x="23" y="241"/>
                    <a:pt x="23" y="241"/>
                  </a:cubicBezTo>
                  <a:cubicBezTo>
                    <a:pt x="25" y="238"/>
                    <a:pt x="29" y="235"/>
                    <a:pt x="33" y="235"/>
                  </a:cubicBezTo>
                  <a:cubicBezTo>
                    <a:pt x="246" y="235"/>
                    <a:pt x="246" y="235"/>
                    <a:pt x="246" y="235"/>
                  </a:cubicBezTo>
                  <a:cubicBezTo>
                    <a:pt x="250" y="235"/>
                    <a:pt x="254" y="238"/>
                    <a:pt x="256" y="241"/>
                  </a:cubicBezTo>
                  <a:cubicBezTo>
                    <a:pt x="277" y="284"/>
                    <a:pt x="277" y="284"/>
                    <a:pt x="277" y="284"/>
                  </a:cubicBezTo>
                  <a:cubicBezTo>
                    <a:pt x="279" y="287"/>
                    <a:pt x="279" y="291"/>
                    <a:pt x="277" y="294"/>
                  </a:cubicBezTo>
                  <a:cubicBezTo>
                    <a:pt x="275" y="297"/>
                    <a:pt x="271" y="299"/>
                    <a:pt x="268" y="299"/>
                  </a:cubicBezTo>
                  <a:close/>
                  <a:moveTo>
                    <a:pt x="29" y="278"/>
                  </a:moveTo>
                  <a:cubicBezTo>
                    <a:pt x="250" y="278"/>
                    <a:pt x="250" y="278"/>
                    <a:pt x="250" y="278"/>
                  </a:cubicBezTo>
                  <a:cubicBezTo>
                    <a:pt x="240" y="257"/>
                    <a:pt x="240" y="257"/>
                    <a:pt x="240" y="257"/>
                  </a:cubicBezTo>
                  <a:cubicBezTo>
                    <a:pt x="40" y="257"/>
                    <a:pt x="40" y="257"/>
                    <a:pt x="40" y="257"/>
                  </a:cubicBezTo>
                  <a:lnTo>
                    <a:pt x="29" y="278"/>
                  </a:lnTo>
                  <a:close/>
                  <a:moveTo>
                    <a:pt x="257" y="86"/>
                  </a:moveTo>
                  <a:cubicBezTo>
                    <a:pt x="22" y="86"/>
                    <a:pt x="22" y="86"/>
                    <a:pt x="22" y="86"/>
                  </a:cubicBezTo>
                  <a:cubicBezTo>
                    <a:pt x="17" y="86"/>
                    <a:pt x="13" y="83"/>
                    <a:pt x="12" y="78"/>
                  </a:cubicBezTo>
                  <a:cubicBezTo>
                    <a:pt x="11" y="73"/>
                    <a:pt x="13" y="68"/>
                    <a:pt x="17" y="66"/>
                  </a:cubicBezTo>
                  <a:cubicBezTo>
                    <a:pt x="135" y="2"/>
                    <a:pt x="135" y="2"/>
                    <a:pt x="135" y="2"/>
                  </a:cubicBezTo>
                  <a:cubicBezTo>
                    <a:pt x="138" y="0"/>
                    <a:pt x="142" y="0"/>
                    <a:pt x="145" y="2"/>
                  </a:cubicBezTo>
                  <a:cubicBezTo>
                    <a:pt x="262" y="66"/>
                    <a:pt x="262" y="66"/>
                    <a:pt x="262" y="66"/>
                  </a:cubicBezTo>
                  <a:cubicBezTo>
                    <a:pt x="266" y="68"/>
                    <a:pt x="269" y="73"/>
                    <a:pt x="267" y="78"/>
                  </a:cubicBezTo>
                  <a:cubicBezTo>
                    <a:pt x="266" y="83"/>
                    <a:pt x="262" y="86"/>
                    <a:pt x="257" y="86"/>
                  </a:cubicBezTo>
                  <a:close/>
                  <a:moveTo>
                    <a:pt x="64" y="65"/>
                  </a:moveTo>
                  <a:cubicBezTo>
                    <a:pt x="215" y="65"/>
                    <a:pt x="215" y="65"/>
                    <a:pt x="215" y="65"/>
                  </a:cubicBezTo>
                  <a:cubicBezTo>
                    <a:pt x="140" y="23"/>
                    <a:pt x="140" y="23"/>
                    <a:pt x="140" y="23"/>
                  </a:cubicBezTo>
                  <a:lnTo>
                    <a:pt x="64" y="65"/>
                  </a:lnTo>
                  <a:close/>
                  <a:moveTo>
                    <a:pt x="54" y="203"/>
                  </a:moveTo>
                  <a:cubicBezTo>
                    <a:pt x="54" y="118"/>
                    <a:pt x="54" y="118"/>
                    <a:pt x="54" y="118"/>
                  </a:cubicBezTo>
                  <a:cubicBezTo>
                    <a:pt x="54" y="112"/>
                    <a:pt x="50" y="107"/>
                    <a:pt x="44" y="107"/>
                  </a:cubicBezTo>
                  <a:cubicBezTo>
                    <a:pt x="38" y="107"/>
                    <a:pt x="33" y="112"/>
                    <a:pt x="33" y="118"/>
                  </a:cubicBezTo>
                  <a:cubicBezTo>
                    <a:pt x="33" y="203"/>
                    <a:pt x="33" y="203"/>
                    <a:pt x="33" y="203"/>
                  </a:cubicBezTo>
                  <a:cubicBezTo>
                    <a:pt x="33" y="209"/>
                    <a:pt x="38" y="214"/>
                    <a:pt x="44" y="214"/>
                  </a:cubicBezTo>
                  <a:cubicBezTo>
                    <a:pt x="50" y="214"/>
                    <a:pt x="54" y="209"/>
                    <a:pt x="54" y="203"/>
                  </a:cubicBezTo>
                  <a:close/>
                  <a:moveTo>
                    <a:pt x="118" y="203"/>
                  </a:moveTo>
                  <a:cubicBezTo>
                    <a:pt x="118" y="118"/>
                    <a:pt x="118" y="118"/>
                    <a:pt x="118" y="118"/>
                  </a:cubicBezTo>
                  <a:cubicBezTo>
                    <a:pt x="118" y="112"/>
                    <a:pt x="114" y="107"/>
                    <a:pt x="108" y="107"/>
                  </a:cubicBezTo>
                  <a:cubicBezTo>
                    <a:pt x="102" y="107"/>
                    <a:pt x="97" y="112"/>
                    <a:pt x="97" y="118"/>
                  </a:cubicBezTo>
                  <a:cubicBezTo>
                    <a:pt x="97" y="203"/>
                    <a:pt x="97" y="203"/>
                    <a:pt x="97" y="203"/>
                  </a:cubicBezTo>
                  <a:cubicBezTo>
                    <a:pt x="97" y="209"/>
                    <a:pt x="102" y="214"/>
                    <a:pt x="108" y="214"/>
                  </a:cubicBezTo>
                  <a:cubicBezTo>
                    <a:pt x="114" y="214"/>
                    <a:pt x="118" y="209"/>
                    <a:pt x="118" y="203"/>
                  </a:cubicBezTo>
                  <a:close/>
                  <a:moveTo>
                    <a:pt x="182" y="203"/>
                  </a:moveTo>
                  <a:cubicBezTo>
                    <a:pt x="182" y="118"/>
                    <a:pt x="182" y="118"/>
                    <a:pt x="182" y="118"/>
                  </a:cubicBezTo>
                  <a:cubicBezTo>
                    <a:pt x="182" y="112"/>
                    <a:pt x="178" y="107"/>
                    <a:pt x="172" y="107"/>
                  </a:cubicBezTo>
                  <a:cubicBezTo>
                    <a:pt x="166" y="107"/>
                    <a:pt x="161" y="112"/>
                    <a:pt x="161" y="118"/>
                  </a:cubicBezTo>
                  <a:cubicBezTo>
                    <a:pt x="161" y="203"/>
                    <a:pt x="161" y="203"/>
                    <a:pt x="161" y="203"/>
                  </a:cubicBezTo>
                  <a:cubicBezTo>
                    <a:pt x="161" y="209"/>
                    <a:pt x="166" y="214"/>
                    <a:pt x="172" y="214"/>
                  </a:cubicBezTo>
                  <a:cubicBezTo>
                    <a:pt x="178" y="214"/>
                    <a:pt x="182" y="209"/>
                    <a:pt x="182" y="203"/>
                  </a:cubicBezTo>
                  <a:close/>
                  <a:moveTo>
                    <a:pt x="246" y="203"/>
                  </a:moveTo>
                  <a:cubicBezTo>
                    <a:pt x="246" y="118"/>
                    <a:pt x="246" y="118"/>
                    <a:pt x="246" y="118"/>
                  </a:cubicBezTo>
                  <a:cubicBezTo>
                    <a:pt x="246" y="112"/>
                    <a:pt x="242" y="107"/>
                    <a:pt x="236" y="107"/>
                  </a:cubicBezTo>
                  <a:cubicBezTo>
                    <a:pt x="230" y="107"/>
                    <a:pt x="225" y="112"/>
                    <a:pt x="225" y="118"/>
                  </a:cubicBezTo>
                  <a:cubicBezTo>
                    <a:pt x="225" y="203"/>
                    <a:pt x="225" y="203"/>
                    <a:pt x="225" y="203"/>
                  </a:cubicBezTo>
                  <a:cubicBezTo>
                    <a:pt x="225" y="209"/>
                    <a:pt x="230" y="214"/>
                    <a:pt x="236" y="214"/>
                  </a:cubicBezTo>
                  <a:cubicBezTo>
                    <a:pt x="242" y="214"/>
                    <a:pt x="246" y="209"/>
                    <a:pt x="246" y="2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</p:grpSp>
      <p:sp>
        <p:nvSpPr>
          <p:cNvPr id="235" name="Прямоугольник 234">
            <a:extLst>
              <a:ext uri="{FF2B5EF4-FFF2-40B4-BE49-F238E27FC236}">
                <a16:creationId xmlns="" xmlns:a16="http://schemas.microsoft.com/office/drawing/2014/main" id="{40F74D92-C1C3-4F65-AE0E-703C6C637086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10490200" y="1206500"/>
            <a:ext cx="214313" cy="160338"/>
          </a:xfrm>
          <a:prstGeom prst="rect">
            <a:avLst/>
          </a:prstGeom>
          <a:solidFill>
            <a:srgbClr val="D6D7D9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4" name="Прямоугольник 233">
            <a:extLst>
              <a:ext uri="{FF2B5EF4-FFF2-40B4-BE49-F238E27FC236}">
                <a16:creationId xmlns="" xmlns:a16="http://schemas.microsoft.com/office/drawing/2014/main" id="{FA4FB683-81F6-4ADE-97D3-E70D0902964B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9786938" y="1206500"/>
            <a:ext cx="214313" cy="160338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1" name="Text Placeholder 2">
            <a:extLst>
              <a:ext uri="{FF2B5EF4-FFF2-40B4-BE49-F238E27FC236}">
                <a16:creationId xmlns="" xmlns:a16="http://schemas.microsoft.com/office/drawing/2014/main" id="{E4446126-16CE-4DB7-9B22-64C64C26A10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0755313" y="1201738"/>
            <a:ext cx="10398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CB37207-2B9A-4C2C-8B72-5A1D16B08243}" type="datetime'В''се''г''''''''''о,'''''''''''''' ''2''''''''0''''1''9-2''4'">
              <a:rPr lang="ru-RU" altLang="en-US" sz="1200" smtClean="0">
                <a:solidFill>
                  <a:srgbClr val="D6D7D9"/>
                </a:solidFill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Всего, 2019-24</a:t>
            </a:fld>
            <a:endParaRPr lang="ru-RU" sz="1200" dirty="0">
              <a:solidFill>
                <a:srgbClr val="D6D7D9"/>
              </a:solidFill>
              <a:sym typeface="+mn-lt"/>
            </a:endParaRPr>
          </a:p>
        </p:txBody>
      </p:sp>
      <p:sp>
        <p:nvSpPr>
          <p:cNvPr id="232" name="Text Placeholder 2">
            <a:extLst>
              <a:ext uri="{FF2B5EF4-FFF2-40B4-BE49-F238E27FC236}">
                <a16:creationId xmlns="" xmlns:a16="http://schemas.microsoft.com/office/drawing/2014/main" id="{5EF1819F-0AF2-4302-8629-1324A59B1C9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0052050" y="1201738"/>
            <a:ext cx="3365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14500" indent="-34290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23A0487-843D-4FF5-AD9C-0996B6718BB4}" type="datetime'2''''''''''''''''''''''0''1''''9'''''''">
              <a:rPr lang="ru-RU" altLang="en-US" sz="120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ru-RU" sz="1200" dirty="0">
              <a:sym typeface="+mn-lt"/>
            </a:endParaRPr>
          </a:p>
        </p:txBody>
      </p:sp>
      <p:sp>
        <p:nvSpPr>
          <p:cNvPr id="109" name="Прямоугольник 108">
            <a:extLst>
              <a:ext uri="{FF2B5EF4-FFF2-40B4-BE49-F238E27FC236}">
                <a16:creationId xmlns="" xmlns:a16="http://schemas.microsoft.com/office/drawing/2014/main" id="{A618D723-B4B1-4269-BCD4-FC2C89FAB1D6}"/>
              </a:ext>
            </a:extLst>
          </p:cNvPr>
          <p:cNvSpPr/>
          <p:nvPr/>
        </p:nvSpPr>
        <p:spPr>
          <a:xfrm>
            <a:off x="9794106" y="1463675"/>
            <a:ext cx="207145" cy="161925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/>
              <a:t>7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="" xmlns:a16="http://schemas.microsoft.com/office/drawing/2014/main" id="{C22F59E9-00FF-4590-9CCC-4AF201104B8D}"/>
              </a:ext>
            </a:extLst>
          </p:cNvPr>
          <p:cNvSpPr txBox="1"/>
          <p:nvPr/>
        </p:nvSpPr>
        <p:spPr>
          <a:xfrm>
            <a:off x="9975850" y="1401763"/>
            <a:ext cx="1592808" cy="2762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Бюджет в 2019 году</a:t>
            </a:r>
          </a:p>
        </p:txBody>
      </p:sp>
      <p:cxnSp>
        <p:nvCxnSpPr>
          <p:cNvPr id="69" name="Соединитель: уступ 68">
            <a:extLst>
              <a:ext uri="{FF2B5EF4-FFF2-40B4-BE49-F238E27FC236}">
                <a16:creationId xmlns="" xmlns:a16="http://schemas.microsoft.com/office/drawing/2014/main" id="{74DEE7AE-69D9-465A-AA79-68107F4BCAE3}"/>
              </a:ext>
            </a:extLst>
          </p:cNvPr>
          <p:cNvCxnSpPr>
            <a:stCxn id="7" idx="3"/>
            <a:endCxn id="16" idx="1"/>
          </p:cNvCxnSpPr>
          <p:nvPr/>
        </p:nvCxnSpPr>
        <p:spPr>
          <a:xfrm>
            <a:off x="5257771" y="2443163"/>
            <a:ext cx="533429" cy="573924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15" name="Соединитель: уступ 114">
            <a:extLst>
              <a:ext uri="{FF2B5EF4-FFF2-40B4-BE49-F238E27FC236}">
                <a16:creationId xmlns="" xmlns:a16="http://schemas.microsoft.com/office/drawing/2014/main" id="{2BB9542D-CE5B-4C81-8779-1896DD40F858}"/>
              </a:ext>
            </a:extLst>
          </p:cNvPr>
          <p:cNvCxnSpPr>
            <a:cxnSpLocks/>
            <a:stCxn id="221" idx="3"/>
            <a:endCxn id="17" idx="1"/>
          </p:cNvCxnSpPr>
          <p:nvPr/>
        </p:nvCxnSpPr>
        <p:spPr>
          <a:xfrm>
            <a:off x="5257771" y="3616325"/>
            <a:ext cx="533429" cy="1159159"/>
          </a:xfrm>
          <a:prstGeom prst="bentConnector3">
            <a:avLst>
              <a:gd name="adj1" fmla="val 45238"/>
            </a:avLst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20" name="Соединитель: уступ 119">
            <a:extLst>
              <a:ext uri="{FF2B5EF4-FFF2-40B4-BE49-F238E27FC236}">
                <a16:creationId xmlns="" xmlns:a16="http://schemas.microsoft.com/office/drawing/2014/main" id="{D364E442-43D7-4F6B-82F5-CE9CD576BF13}"/>
              </a:ext>
            </a:extLst>
          </p:cNvPr>
          <p:cNvCxnSpPr>
            <a:cxnSpLocks/>
            <a:stCxn id="222" idx="3"/>
            <a:endCxn id="18" idx="1"/>
          </p:cNvCxnSpPr>
          <p:nvPr/>
        </p:nvCxnSpPr>
        <p:spPr>
          <a:xfrm>
            <a:off x="5257771" y="4787900"/>
            <a:ext cx="533429" cy="1075005"/>
          </a:xfrm>
          <a:prstGeom prst="bentConnector3">
            <a:avLst>
              <a:gd name="adj1" fmla="val 16669"/>
            </a:avLst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16913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D222FA71-F11E-40A7-B2A5-4B70DE5871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3230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0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B08823C8-4300-46C2-B244-1633A6D069A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="" xmlns:a16="http://schemas.microsoft.com/office/drawing/2014/main" id="{1E6BFE59-4D19-4B2E-A9FC-2CA3590126AB}"/>
              </a:ext>
            </a:extLst>
          </p:cNvPr>
          <p:cNvSpPr/>
          <p:nvPr/>
        </p:nvSpPr>
        <p:spPr>
          <a:xfrm>
            <a:off x="4293681" y="6479403"/>
            <a:ext cx="1296000" cy="28788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8023D945-476E-4E53-B736-CCDA76093F6C}"/>
              </a:ext>
            </a:extLst>
          </p:cNvPr>
          <p:cNvSpPr/>
          <p:nvPr/>
        </p:nvSpPr>
        <p:spPr>
          <a:xfrm>
            <a:off x="406764" y="1567775"/>
            <a:ext cx="11521280" cy="47187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>
            <a:extLst>
              <a:ext uri="{FF2B5EF4-FFF2-40B4-BE49-F238E27FC236}">
                <a16:creationId xmlns="" xmlns:a16="http://schemas.microsoft.com/office/drawing/2014/main" id="{26309144-AE65-44EC-9DF7-E01E00602393}"/>
              </a:ext>
            </a:extLst>
          </p:cNvPr>
          <p:cNvSpPr/>
          <p:nvPr/>
        </p:nvSpPr>
        <p:spPr>
          <a:xfrm>
            <a:off x="9110888" y="6469457"/>
            <a:ext cx="1728000" cy="28788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5F4F91D6-502E-46CA-A67C-31C46478EF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dirty="0"/>
              <a:t>Обучим 3200+ руководителей предприятий и служб занятости населения </a:t>
            </a:r>
            <a:br>
              <a:rPr lang="ru-RU" dirty="0"/>
            </a:br>
            <a:r>
              <a:rPr lang="ru-RU" dirty="0"/>
              <a:t>навыкам управления в условиях </a:t>
            </a:r>
            <a:r>
              <a:rPr lang="ru-RU" dirty="0" smtClean="0"/>
              <a:t>изменений в 2019 году</a:t>
            </a:r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673EDE44-AA92-43FA-9CC1-B6D3AF97D1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432DF3BB-BBE4-4E90-9723-9D4EC2C3BF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7876D46F-25EC-4D98-9EBF-7BA76032634C}"/>
              </a:ext>
            </a:extLst>
          </p:cNvPr>
          <p:cNvSpPr txBox="1"/>
          <p:nvPr/>
        </p:nvSpPr>
        <p:spPr>
          <a:xfrm>
            <a:off x="470063" y="1663600"/>
            <a:ext cx="5684441" cy="45550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2000" dirty="0"/>
              <a:t>На базе </a:t>
            </a:r>
            <a:r>
              <a:rPr lang="ru-RU" sz="2000" b="1" dirty="0"/>
              <a:t>ВАВТ</a:t>
            </a:r>
            <a:r>
              <a:rPr lang="ru-RU" sz="2000" dirty="0"/>
              <a:t> </a:t>
            </a:r>
            <a:br>
              <a:rPr lang="ru-RU" sz="2000" dirty="0"/>
            </a:br>
            <a:r>
              <a:rPr lang="ru-RU" sz="2000" dirty="0"/>
              <a:t>совместно с ведущими вузами</a:t>
            </a:r>
          </a:p>
          <a:p>
            <a:pPr marL="285750" indent="-285750">
              <a:spcAft>
                <a:spcPts val="12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2000" dirty="0"/>
              <a:t>12 потоков по 5-6 месяцев, </a:t>
            </a:r>
            <a:br>
              <a:rPr lang="ru-RU" sz="2000" dirty="0"/>
            </a:br>
            <a:r>
              <a:rPr lang="ru-RU" sz="2000" dirty="0"/>
              <a:t>набор </a:t>
            </a:r>
            <a:r>
              <a:rPr lang="ru-RU" sz="2000" dirty="0" smtClean="0"/>
              <a:t>до сентября </a:t>
            </a:r>
          </a:p>
          <a:p>
            <a:pPr marL="285750" indent="-285750">
              <a:spcAft>
                <a:spcPts val="12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2000" dirty="0" smtClean="0"/>
              <a:t>Специальная </a:t>
            </a:r>
            <a:r>
              <a:rPr lang="ru-RU" sz="2000" dirty="0"/>
              <a:t>программа – </a:t>
            </a:r>
            <a:r>
              <a:rPr lang="ru-RU" sz="2000" b="1" dirty="0"/>
              <a:t>5 модулей</a:t>
            </a:r>
            <a:r>
              <a:rPr lang="ru-RU" sz="2000" dirty="0"/>
              <a:t>, включает стажировку на площадке </a:t>
            </a:r>
            <a:br>
              <a:rPr lang="ru-RU" sz="2000" dirty="0"/>
            </a:br>
            <a:r>
              <a:rPr lang="ru-RU" sz="2000" dirty="0"/>
              <a:t>и защиту личных проектов</a:t>
            </a:r>
          </a:p>
          <a:p>
            <a:pPr marL="285750" indent="-285750">
              <a:spcAft>
                <a:spcPts val="12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2000" dirty="0"/>
              <a:t>Обучение за счет федерального бюджета</a:t>
            </a:r>
          </a:p>
          <a:p>
            <a:pPr marL="285750" indent="-285750">
              <a:spcAft>
                <a:spcPts val="12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2000" dirty="0" smtClean="0"/>
              <a:t>10</a:t>
            </a:r>
            <a:r>
              <a:rPr lang="ru-RU" sz="2000" dirty="0"/>
              <a:t>% лучших студентов </a:t>
            </a:r>
            <a:r>
              <a:rPr lang="ru-RU" sz="2000" dirty="0" smtClean="0"/>
              <a:t>пройдут стажировку</a:t>
            </a:r>
            <a:r>
              <a:rPr lang="ru-RU" sz="2000" dirty="0"/>
              <a:t/>
            </a:r>
            <a:br>
              <a:rPr lang="ru-RU" sz="2000" dirty="0"/>
            </a:br>
            <a:r>
              <a:rPr lang="ru-RU" sz="2000" dirty="0"/>
              <a:t>в </a:t>
            </a:r>
            <a:r>
              <a:rPr lang="ru-RU" sz="2000" dirty="0" smtClean="0"/>
              <a:t>Японии, Германии </a:t>
            </a:r>
            <a:r>
              <a:rPr lang="ru-RU" sz="2000" dirty="0"/>
              <a:t>или </a:t>
            </a:r>
            <a:r>
              <a:rPr lang="ru-RU" sz="2000" dirty="0" smtClean="0"/>
              <a:t>Франции</a:t>
            </a:r>
            <a:endParaRPr lang="ru-RU" sz="2000" dirty="0"/>
          </a:p>
          <a:p>
            <a:pPr marL="285750" indent="-285750">
              <a:spcAft>
                <a:spcPts val="12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2000" b="1" dirty="0" smtClean="0"/>
              <a:t>700+ человек </a:t>
            </a:r>
            <a:r>
              <a:rPr lang="ru-RU" sz="2000" dirty="0" smtClean="0"/>
              <a:t>уже прошли обучение</a:t>
            </a:r>
            <a:br>
              <a:rPr lang="ru-RU" sz="2000" dirty="0" smtClean="0"/>
            </a:br>
            <a:r>
              <a:rPr lang="ru-RU" sz="2000" dirty="0" smtClean="0"/>
              <a:t>в рамках первого модуля</a:t>
            </a:r>
            <a:endParaRPr lang="ru-RU" sz="2000" dirty="0"/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746974EA-C36F-45B0-A217-C1CBDDAC21D3}"/>
              </a:ext>
            </a:extLst>
          </p:cNvPr>
          <p:cNvSpPr txBox="1"/>
          <p:nvPr/>
        </p:nvSpPr>
        <p:spPr>
          <a:xfrm>
            <a:off x="1406230" y="6459511"/>
            <a:ext cx="95615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Подробнее – в приложении А, на</a:t>
            </a:r>
            <a:r>
              <a:rPr lang="en-US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лидерыпро.рф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, а ваши вопросы и предложения ждут на   </a:t>
            </a:r>
            <a:r>
              <a:rPr lang="en-US" sz="1400" dirty="0">
                <a:solidFill>
                  <a:schemeClr val="bg2"/>
                </a:solidFill>
              </a:rPr>
              <a:t>leaders-pro@vavt.ru</a:t>
            </a:r>
            <a:endParaRPr lang="ru-RU" sz="1400" dirty="0">
              <a:solidFill>
                <a:schemeClr val="bg2"/>
              </a:solidFill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73F7507D-C17C-4B20-ACED-BEA27BC445F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21422" y="1401176"/>
            <a:ext cx="4510289" cy="4555093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="" xmlns:a16="http://schemas.microsoft.com/office/drawing/2014/main" id="{387748F0-B1C3-45E8-B09E-9F0076A9AAB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662192">
            <a:off x="9890976" y="1582454"/>
            <a:ext cx="2095155" cy="208336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B20EDB24-0084-4D82-9391-816D94FC1F0C}"/>
              </a:ext>
            </a:extLst>
          </p:cNvPr>
          <p:cNvSpPr txBox="1"/>
          <p:nvPr/>
        </p:nvSpPr>
        <p:spPr>
          <a:xfrm rot="726673">
            <a:off x="10609940" y="3698631"/>
            <a:ext cx="12426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accent3">
                    <a:lumMod val="60000"/>
                    <a:lumOff val="40000"/>
                  </a:schemeClr>
                </a:solidFill>
              </a:rPr>
              <a:t>@</a:t>
            </a:r>
            <a:r>
              <a:rPr lang="en-US" sz="1200" dirty="0" err="1">
                <a:solidFill>
                  <a:schemeClr val="accent3">
                    <a:lumMod val="60000"/>
                    <a:lumOff val="40000"/>
                  </a:schemeClr>
                </a:solidFill>
              </a:rPr>
              <a:t>minec_russia</a:t>
            </a:r>
            <a:endParaRPr lang="ru-RU" sz="1200" dirty="0">
              <a:solidFill>
                <a:schemeClr val="accent3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37075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69CCB4B5-1F6C-4F81-9FB4-F395DB8682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3674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2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FA745327-D0C8-40CB-8C2B-312FC63CA58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>
            <a:extLst>
              <a:ext uri="{FF2B5EF4-FFF2-40B4-BE49-F238E27FC236}">
                <a16:creationId xmlns="" xmlns:a16="http://schemas.microsoft.com/office/drawing/2014/main" id="{A9BAB2B3-C115-4DDC-A6A1-8CA342A46C6C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723374" y="3986590"/>
            <a:ext cx="8257840" cy="2146997"/>
          </a:xfrm>
          <a:prstGeom prst="rect">
            <a:avLst/>
          </a:prstGeom>
        </p:spPr>
      </p:pic>
      <p:sp>
        <p:nvSpPr>
          <p:cNvPr id="18" name="Стрелка: пятиугольник 17">
            <a:extLst>
              <a:ext uri="{FF2B5EF4-FFF2-40B4-BE49-F238E27FC236}">
                <a16:creationId xmlns="" xmlns:a16="http://schemas.microsoft.com/office/drawing/2014/main" id="{579DE89E-CD50-4606-85C0-D3C3751D8A39}"/>
              </a:ext>
            </a:extLst>
          </p:cNvPr>
          <p:cNvSpPr/>
          <p:nvPr/>
        </p:nvSpPr>
        <p:spPr>
          <a:xfrm>
            <a:off x="346170" y="1775979"/>
            <a:ext cx="11725034" cy="175938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43E189DE-3C94-45A7-B79B-3F58B2ACBF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Барьеры для производительности труда будут снижены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466CE912-D86D-40F6-91CC-254210FD6B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287DF5A7-7006-4660-A6D7-3D792BF02E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7</a:t>
            </a:fld>
            <a:endParaRPr lang="ru-RU" dirty="0"/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="" xmlns:a16="http://schemas.microsoft.com/office/drawing/2014/main" id="{B8DC48C8-04F7-4005-A601-0F3F64F9F485}"/>
              </a:ext>
            </a:extLst>
          </p:cNvPr>
          <p:cNvCxnSpPr>
            <a:cxnSpLocks/>
          </p:cNvCxnSpPr>
          <p:nvPr/>
        </p:nvCxnSpPr>
        <p:spPr>
          <a:xfrm>
            <a:off x="673770" y="1785280"/>
            <a:ext cx="0" cy="347973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BD7DC80F-501B-4A5F-94C9-1922669D7854}"/>
              </a:ext>
            </a:extLst>
          </p:cNvPr>
          <p:cNvSpPr txBox="1"/>
          <p:nvPr/>
        </p:nvSpPr>
        <p:spPr>
          <a:xfrm>
            <a:off x="741146" y="2135709"/>
            <a:ext cx="268699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dirty="0"/>
              <a:t>Методология оценки затрат предприятия, связанных с административными барьерами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A46AC71C-6075-4133-9EF3-91C9709E3CEF}"/>
              </a:ext>
            </a:extLst>
          </p:cNvPr>
          <p:cNvSpPr txBox="1"/>
          <p:nvPr/>
        </p:nvSpPr>
        <p:spPr>
          <a:xfrm>
            <a:off x="741146" y="3944096"/>
            <a:ext cx="258919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dirty="0"/>
              <a:t>Рекомендации по анализу и мониторингу применения измененных в </a:t>
            </a:r>
            <a:r>
              <a:rPr lang="ru-RU" dirty="0" smtClean="0"/>
              <a:t>ходе реализации национального </a:t>
            </a:r>
            <a:r>
              <a:rPr lang="ru-RU" dirty="0"/>
              <a:t>проекта </a:t>
            </a:r>
            <a:r>
              <a:rPr lang="ru-RU" dirty="0" smtClean="0"/>
              <a:t>НПА</a:t>
            </a:r>
            <a:r>
              <a:rPr lang="ru-RU" baseline="30000" dirty="0" smtClean="0"/>
              <a:t>1</a:t>
            </a:r>
            <a:endParaRPr lang="ru-RU" baseline="30000" dirty="0"/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B014825A-30D3-4B06-ACF6-2623EA57EA01}"/>
              </a:ext>
            </a:extLst>
          </p:cNvPr>
          <p:cNvSpPr txBox="1"/>
          <p:nvPr/>
        </p:nvSpPr>
        <p:spPr>
          <a:xfrm>
            <a:off x="3767274" y="2135709"/>
            <a:ext cx="258919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dirty="0"/>
              <a:t>Перечень положений </a:t>
            </a:r>
            <a:r>
              <a:rPr lang="ru-RU" dirty="0" smtClean="0"/>
              <a:t>НПА</a:t>
            </a:r>
            <a:r>
              <a:rPr lang="ru-RU" dirty="0"/>
              <a:t>,</a:t>
            </a:r>
            <a:br>
              <a:rPr lang="ru-RU" dirty="0"/>
            </a:br>
            <a:r>
              <a:rPr lang="ru-RU" dirty="0"/>
              <a:t>которые будут изменены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B381A917-10DC-439C-81E0-4389AE4A7A05}"/>
              </a:ext>
            </a:extLst>
          </p:cNvPr>
          <p:cNvSpPr txBox="1"/>
          <p:nvPr/>
        </p:nvSpPr>
        <p:spPr>
          <a:xfrm>
            <a:off x="596768" y="1456446"/>
            <a:ext cx="14580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Август 2019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56DB3F4B-ED89-40DE-85BE-9EDB7154E1A2}"/>
              </a:ext>
            </a:extLst>
          </p:cNvPr>
          <p:cNvSpPr txBox="1"/>
          <p:nvPr/>
        </p:nvSpPr>
        <p:spPr>
          <a:xfrm>
            <a:off x="6408442" y="1428337"/>
            <a:ext cx="16612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Декабрь 2019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13A3DAA9-FA72-4986-872C-93559A2FEA52}"/>
              </a:ext>
            </a:extLst>
          </p:cNvPr>
          <p:cNvSpPr txBox="1"/>
          <p:nvPr/>
        </p:nvSpPr>
        <p:spPr>
          <a:xfrm>
            <a:off x="6453740" y="2135709"/>
            <a:ext cx="268544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dirty="0"/>
              <a:t>План работы по </a:t>
            </a:r>
            <a:r>
              <a:rPr lang="ru-RU" dirty="0" smtClean="0"/>
              <a:t>совершенствованию существующего регулирования </a:t>
            </a:r>
            <a:br>
              <a:rPr lang="ru-RU" dirty="0" smtClean="0"/>
            </a:br>
            <a:r>
              <a:rPr lang="ru-RU" dirty="0" smtClean="0"/>
              <a:t>и система мониторинга</a:t>
            </a:r>
            <a:endParaRPr lang="ru-RU" dirty="0"/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1D79DDC4-4EA9-4B99-8AF0-B3F2637E386C}"/>
              </a:ext>
            </a:extLst>
          </p:cNvPr>
          <p:cNvSpPr txBox="1"/>
          <p:nvPr/>
        </p:nvSpPr>
        <p:spPr>
          <a:xfrm>
            <a:off x="9478321" y="2135709"/>
            <a:ext cx="258919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dirty="0"/>
              <a:t>Принятие или изменение НПА – ежегодно по принятому плану</a:t>
            </a:r>
          </a:p>
        </p:txBody>
      </p:sp>
      <p:sp>
        <p:nvSpPr>
          <p:cNvPr id="21" name="Стрелка: шеврон 20">
            <a:extLst>
              <a:ext uri="{FF2B5EF4-FFF2-40B4-BE49-F238E27FC236}">
                <a16:creationId xmlns="" xmlns:a16="http://schemas.microsoft.com/office/drawing/2014/main" id="{27DE2959-10CF-4C4D-9C5B-9AE10CAFD2FA}"/>
              </a:ext>
            </a:extLst>
          </p:cNvPr>
          <p:cNvSpPr/>
          <p:nvPr/>
        </p:nvSpPr>
        <p:spPr>
          <a:xfrm>
            <a:off x="8961016" y="1877976"/>
            <a:ext cx="240842" cy="382212"/>
          </a:xfrm>
          <a:prstGeom prst="chevr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2" name="Стрелка: шеврон 21">
            <a:extLst>
              <a:ext uri="{FF2B5EF4-FFF2-40B4-BE49-F238E27FC236}">
                <a16:creationId xmlns="" xmlns:a16="http://schemas.microsoft.com/office/drawing/2014/main" id="{A063CEE8-E506-4683-BEDA-B2F75097AB16}"/>
              </a:ext>
            </a:extLst>
          </p:cNvPr>
          <p:cNvSpPr/>
          <p:nvPr/>
        </p:nvSpPr>
        <p:spPr>
          <a:xfrm>
            <a:off x="9140208" y="1877976"/>
            <a:ext cx="240842" cy="382212"/>
          </a:xfrm>
          <a:prstGeom prst="chevron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8DE65EEE-ACCB-415D-8479-4BB03B58FB85}"/>
              </a:ext>
            </a:extLst>
          </p:cNvPr>
          <p:cNvSpPr txBox="1"/>
          <p:nvPr/>
        </p:nvSpPr>
        <p:spPr>
          <a:xfrm>
            <a:off x="3866150" y="1456446"/>
            <a:ext cx="15616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Ноябрь 2019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="" xmlns:a16="http://schemas.microsoft.com/office/drawing/2014/main" id="{C6C8B85E-A15E-49A3-9AD4-6217B37E46D9}"/>
              </a:ext>
            </a:extLst>
          </p:cNvPr>
          <p:cNvCxnSpPr/>
          <p:nvPr/>
        </p:nvCxnSpPr>
        <p:spPr>
          <a:xfrm>
            <a:off x="3723374" y="1785280"/>
            <a:ext cx="0" cy="18241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>
            <a:extLst>
              <a:ext uri="{FF2B5EF4-FFF2-40B4-BE49-F238E27FC236}">
                <a16:creationId xmlns="" xmlns:a16="http://schemas.microsoft.com/office/drawing/2014/main" id="{FFFD2447-795A-4BB1-81B8-ED2EBA4DE834}"/>
              </a:ext>
            </a:extLst>
          </p:cNvPr>
          <p:cNvCxnSpPr/>
          <p:nvPr/>
        </p:nvCxnSpPr>
        <p:spPr>
          <a:xfrm>
            <a:off x="6431281" y="1785279"/>
            <a:ext cx="0" cy="18241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>
            <a:extLst>
              <a:ext uri="{FF2B5EF4-FFF2-40B4-BE49-F238E27FC236}">
                <a16:creationId xmlns="" xmlns:a16="http://schemas.microsoft.com/office/drawing/2014/main" id="{49FE6839-CC79-4FFB-9E9D-637E03D57395}"/>
              </a:ext>
            </a:extLst>
          </p:cNvPr>
          <p:cNvCxnSpPr>
            <a:cxnSpLocks/>
          </p:cNvCxnSpPr>
          <p:nvPr/>
        </p:nvCxnSpPr>
        <p:spPr>
          <a:xfrm>
            <a:off x="9478321" y="1785279"/>
            <a:ext cx="0" cy="24979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55A02765-94AD-4B9E-936E-BCB5D681B2BA}"/>
              </a:ext>
            </a:extLst>
          </p:cNvPr>
          <p:cNvSpPr txBox="1"/>
          <p:nvPr/>
        </p:nvSpPr>
        <p:spPr>
          <a:xfrm>
            <a:off x="9393814" y="1401997"/>
            <a:ext cx="14029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2020–2024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414842" y="6492353"/>
            <a:ext cx="280557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  <a:t>1 Здесь и далее – НПА и иных актов</a:t>
            </a:r>
            <a:endParaRPr lang="ru-RU" sz="12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3401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/>
          <p:cNvSpPr/>
          <p:nvPr/>
        </p:nvSpPr>
        <p:spPr>
          <a:xfrm>
            <a:off x="432263" y="4278621"/>
            <a:ext cx="5235420" cy="173720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432263" y="1795548"/>
            <a:ext cx="5235420" cy="198430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581ED64D-71C0-48A1-8451-08F147F02A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675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5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5804A3F4-9B51-42D9-BEF3-9A505AF3449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6AE76CB2-D921-46E9-B966-BBBB7DC354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300 предприятий получат поддержку выхода на экспорт в 2019 году</a:t>
            </a:r>
            <a:endParaRPr lang="ru-RU" dirty="0"/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063B8E1A-CEEC-43E3-9D1F-08EDF0E9D9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B465B577-4616-4711-9CF8-7D7142F1BB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224459" y="6491377"/>
            <a:ext cx="1632181" cy="196131"/>
          </a:xfrm>
        </p:spPr>
        <p:txBody>
          <a:bodyPr/>
          <a:lstStyle/>
          <a:p>
            <a:r>
              <a:rPr lang="ru-RU" dirty="0"/>
              <a:t>Страница </a:t>
            </a:r>
            <a:fld id="{197A8AD3-02BD-4CAC-AF0B-F1BD6FDC906F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16" name="Прямоугольник 15">
            <a:extLst>
              <a:ext uri="{FF2B5EF4-FFF2-40B4-BE49-F238E27FC236}">
                <a16:creationId xmlns="" xmlns:a16="http://schemas.microsoft.com/office/drawing/2014/main" id="{11793CC5-6DA7-45F5-A735-3C549B68129B}"/>
              </a:ext>
            </a:extLst>
          </p:cNvPr>
          <p:cNvSpPr/>
          <p:nvPr/>
        </p:nvSpPr>
        <p:spPr>
          <a:xfrm>
            <a:off x="5896274" y="3811820"/>
            <a:ext cx="5731249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28637" indent="-342900">
              <a:spcAft>
                <a:spcPts val="600"/>
              </a:spcAft>
              <a:buFont typeface="+mj-lt"/>
              <a:buAutoNum type="arabicParenR"/>
              <a:tabLst>
                <a:tab pos="4398963" algn="l"/>
                <a:tab pos="4929188" algn="l"/>
              </a:tabLst>
            </a:pPr>
            <a:r>
              <a:rPr lang="ru-RU" sz="1400" dirty="0" smtClean="0"/>
              <a:t>Региональные </a:t>
            </a:r>
            <a:r>
              <a:rPr lang="ru-RU" sz="1400" dirty="0"/>
              <a:t>проектные офисы обеспечивают сбор заявок от предприятий-участников </a:t>
            </a:r>
            <a:r>
              <a:rPr lang="ru-RU" sz="1400" dirty="0" smtClean="0"/>
              <a:t>нацпроекта</a:t>
            </a:r>
            <a:endParaRPr lang="ru-RU" sz="1400" dirty="0"/>
          </a:p>
          <a:p>
            <a:pPr marL="528637" indent="-342900">
              <a:spcAft>
                <a:spcPts val="600"/>
              </a:spcAft>
              <a:buFont typeface="+mj-lt"/>
              <a:buAutoNum type="arabicParenR"/>
              <a:tabLst>
                <a:tab pos="4398963" algn="l"/>
                <a:tab pos="4929188" algn="l"/>
              </a:tabLst>
            </a:pPr>
            <a:r>
              <a:rPr lang="ru-RU" sz="1400" dirty="0"/>
              <a:t>Предприятия заполняют заявку и анкету по оценке экспортной зрелости</a:t>
            </a:r>
          </a:p>
          <a:p>
            <a:pPr marL="528637" indent="-342900">
              <a:spcAft>
                <a:spcPts val="600"/>
              </a:spcAft>
              <a:buFont typeface="+mj-lt"/>
              <a:buAutoNum type="arabicParenR"/>
              <a:tabLst>
                <a:tab pos="4398963" algn="l"/>
                <a:tab pos="4929188" algn="l"/>
              </a:tabLst>
            </a:pPr>
            <a:r>
              <a:rPr lang="ru-RU" sz="1400" dirty="0"/>
              <a:t>РЭЦ формирует перечни предприятий с очередностью прохождения предприятиями экспортных акселераторов </a:t>
            </a:r>
            <a:endParaRPr lang="ru-RU" sz="1400" dirty="0" smtClean="0"/>
          </a:p>
          <a:p>
            <a:pPr marL="528637" indent="-342900">
              <a:spcAft>
                <a:spcPts val="600"/>
              </a:spcAft>
              <a:buFont typeface="+mj-lt"/>
              <a:buAutoNum type="arabicParenR"/>
              <a:tabLst>
                <a:tab pos="4398963" algn="l"/>
                <a:tab pos="4929188" algn="l"/>
              </a:tabLst>
            </a:pPr>
            <a:r>
              <a:rPr lang="ru-RU" sz="1400" dirty="0" smtClean="0"/>
              <a:t>Команды </a:t>
            </a:r>
            <a:r>
              <a:rPr lang="ru-RU" sz="1400" dirty="0"/>
              <a:t>в составе 2-3 чел. от предприятий проходят </a:t>
            </a:r>
            <a:r>
              <a:rPr lang="ru-RU" sz="1400" dirty="0" smtClean="0"/>
              <a:t/>
            </a:r>
            <a:br>
              <a:rPr lang="ru-RU" sz="1400" dirty="0" smtClean="0"/>
            </a:br>
            <a:r>
              <a:rPr lang="ru-RU" sz="1400" dirty="0" smtClean="0"/>
              <a:t>3 </a:t>
            </a:r>
            <a:r>
              <a:rPr lang="ru-RU" sz="1400" dirty="0"/>
              <a:t>модуля очного обучения в РЭЦ в Москве</a:t>
            </a:r>
          </a:p>
          <a:p>
            <a:pPr marL="528637" indent="-342900">
              <a:spcAft>
                <a:spcPts val="600"/>
              </a:spcAft>
              <a:buFont typeface="+mj-lt"/>
              <a:buAutoNum type="arabicParenR"/>
              <a:tabLst>
                <a:tab pos="4398963" algn="l"/>
                <a:tab pos="4929188" algn="l"/>
              </a:tabLst>
            </a:pPr>
            <a:r>
              <a:rPr lang="ru-RU" sz="1400" dirty="0"/>
              <a:t>Через 6 месяцев после прохождения обучения предприятия предоставляют отчет о результатах экспортного проекта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B38936B1-9FD3-42C8-B3B9-C3F101A03632}"/>
              </a:ext>
            </a:extLst>
          </p:cNvPr>
          <p:cNvSpPr txBox="1"/>
          <p:nvPr/>
        </p:nvSpPr>
        <p:spPr>
          <a:xfrm>
            <a:off x="325771" y="1361544"/>
            <a:ext cx="53419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/>
              <a:t>Проведен пилотный экспортный акселератор в 2018 году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D8E7DEC2-10AA-4534-8E61-40BDDDB10563}"/>
              </a:ext>
            </a:extLst>
          </p:cNvPr>
          <p:cNvSpPr txBox="1"/>
          <p:nvPr/>
        </p:nvSpPr>
        <p:spPr>
          <a:xfrm>
            <a:off x="325771" y="3905294"/>
            <a:ext cx="51188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/>
              <a:t>В 2019 году программа расширена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18239" y="2017866"/>
            <a:ext cx="5109231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3750" lvl="1" indent="-285750">
              <a:spcAft>
                <a:spcPts val="6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b="1" dirty="0"/>
              <a:t>12 </a:t>
            </a:r>
            <a:r>
              <a:rPr lang="ru-RU" sz="1400" b="1" dirty="0" smtClean="0"/>
              <a:t>предприятий</a:t>
            </a:r>
          </a:p>
          <a:p>
            <a:pPr marL="393750" lvl="1" indent="-285750">
              <a:spcAft>
                <a:spcPts val="6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b="1" dirty="0" smtClean="0"/>
              <a:t>3 </a:t>
            </a:r>
            <a:r>
              <a:rPr lang="ru-RU" sz="1400" b="1" dirty="0"/>
              <a:t>экспортных </a:t>
            </a:r>
            <a:r>
              <a:rPr lang="ru-RU" sz="1400" b="1" dirty="0" smtClean="0"/>
              <a:t>контракта </a:t>
            </a:r>
            <a:br>
              <a:rPr lang="ru-RU" sz="1400" b="1" dirty="0" smtClean="0"/>
            </a:br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</a:rPr>
              <a:t>(ПАО </a:t>
            </a: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«</a:t>
            </a:r>
            <a:r>
              <a:rPr lang="ru-RU" sz="1400" dirty="0" err="1">
                <a:solidFill>
                  <a:schemeClr val="bg1">
                    <a:lumMod val="50000"/>
                  </a:schemeClr>
                </a:solidFill>
              </a:rPr>
              <a:t>Лысьвенский</a:t>
            </a:r>
            <a:r>
              <a:rPr lang="ru-RU" sz="1400" dirty="0">
                <a:solidFill>
                  <a:schemeClr val="bg1">
                    <a:lumMod val="50000"/>
                  </a:schemeClr>
                </a:solidFill>
              </a:rPr>
              <a:t> завод эмалированной стали», ООО «Пегас-Агро», АО «Искож</a:t>
            </a:r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</a:rPr>
              <a:t>»)</a:t>
            </a:r>
            <a:endParaRPr lang="ru-RU" sz="1400" b="1" dirty="0">
              <a:solidFill>
                <a:schemeClr val="bg1">
                  <a:lumMod val="50000"/>
                </a:schemeClr>
              </a:solidFill>
            </a:endParaRPr>
          </a:p>
          <a:p>
            <a:pPr marL="393750" lvl="1" indent="-285750">
              <a:spcAft>
                <a:spcPts val="6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b="1" dirty="0"/>
              <a:t>148 миллионов </a:t>
            </a:r>
            <a:r>
              <a:rPr lang="ru-RU" sz="1400" b="1" dirty="0" smtClean="0"/>
              <a:t>рублей ‒</a:t>
            </a:r>
            <a:r>
              <a:rPr lang="ru-RU" sz="1400" dirty="0" smtClean="0"/>
              <a:t> </a:t>
            </a:r>
            <a:r>
              <a:rPr lang="ru-RU" sz="1400" dirty="0"/>
              <a:t>общая сумма заключенных экспортных контрактов </a:t>
            </a:r>
            <a:r>
              <a:rPr lang="ru-RU" sz="1400" dirty="0" smtClean="0"/>
              <a:t>со странами ЕАЭС </a:t>
            </a:r>
            <a:r>
              <a:rPr lang="ru-RU" sz="1400" dirty="0"/>
              <a:t>и </a:t>
            </a:r>
            <a:r>
              <a:rPr lang="ru-RU" sz="1400" dirty="0" smtClean="0"/>
              <a:t>Украиной</a:t>
            </a:r>
            <a:endParaRPr lang="ru-RU" sz="14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518239" y="4692140"/>
            <a:ext cx="609600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3750" lvl="1" indent="-285750">
              <a:spcAft>
                <a:spcPts val="6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b="1" dirty="0"/>
              <a:t>8 потоков </a:t>
            </a:r>
            <a:r>
              <a:rPr lang="ru-RU" sz="1400" dirty="0"/>
              <a:t>обучения</a:t>
            </a:r>
          </a:p>
          <a:p>
            <a:pPr marL="393750" lvl="1" indent="-285750">
              <a:spcAft>
                <a:spcPts val="6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Получено</a:t>
            </a:r>
            <a:r>
              <a:rPr lang="ru-RU" sz="1400" b="1" dirty="0"/>
              <a:t> более 100 </a:t>
            </a:r>
            <a:r>
              <a:rPr lang="ru-RU" sz="1400" b="1" dirty="0" smtClean="0"/>
              <a:t>заявок</a:t>
            </a:r>
          </a:p>
          <a:p>
            <a:pPr marL="393750" lvl="1" indent="-285750">
              <a:spcAft>
                <a:spcPts val="6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 smtClean="0"/>
              <a:t>Цель – </a:t>
            </a:r>
            <a:r>
              <a:rPr lang="ru-RU" sz="1400" b="1" dirty="0" smtClean="0"/>
              <a:t>75 </a:t>
            </a:r>
            <a:r>
              <a:rPr lang="ru-RU" sz="1400" b="1" dirty="0"/>
              <a:t>экспортных контрактов </a:t>
            </a:r>
            <a:r>
              <a:rPr lang="ru-RU" sz="1400" dirty="0"/>
              <a:t>до 1 июля </a:t>
            </a:r>
            <a:r>
              <a:rPr lang="ru-RU" sz="1400" dirty="0" smtClean="0"/>
              <a:t>2020</a:t>
            </a:r>
            <a:endParaRPr lang="ru-RU" sz="1400" dirty="0"/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B38936B1-9FD3-42C8-B3B9-C3F101A03632}"/>
              </a:ext>
            </a:extLst>
          </p:cNvPr>
          <p:cNvSpPr txBox="1"/>
          <p:nvPr/>
        </p:nvSpPr>
        <p:spPr>
          <a:xfrm>
            <a:off x="6175258" y="1361544"/>
            <a:ext cx="2437014" cy="307777"/>
          </a:xfrm>
          <a:prstGeom prst="rect">
            <a:avLst/>
          </a:prstGeom>
          <a:solidFill>
            <a:schemeClr val="accent3"/>
          </a:solidFill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solidFill>
                  <a:schemeClr val="bg1"/>
                </a:solidFill>
              </a:rPr>
              <a:t>Программа акселератора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096000" y="1795548"/>
            <a:ext cx="5225935" cy="1400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 smtClean="0"/>
              <a:t>2 дня лекций, </a:t>
            </a:r>
            <a:r>
              <a:rPr lang="ru-RU" sz="1400" b="1" dirty="0" smtClean="0"/>
              <a:t>3 месяца </a:t>
            </a:r>
            <a:r>
              <a:rPr lang="ru-RU" sz="1400" dirty="0" smtClean="0"/>
              <a:t>межмодульных занятий, </a:t>
            </a:r>
            <a:r>
              <a:rPr lang="ru-RU" sz="1400" b="1" dirty="0" smtClean="0"/>
              <a:t>сопровождение</a:t>
            </a:r>
            <a:r>
              <a:rPr lang="ru-RU" sz="1400" dirty="0" smtClean="0"/>
              <a:t> </a:t>
            </a:r>
            <a:r>
              <a:rPr lang="ru-RU" sz="1400" dirty="0" err="1" smtClean="0"/>
              <a:t>тьютора</a:t>
            </a:r>
            <a:endParaRPr lang="ru-RU" sz="1400" dirty="0"/>
          </a:p>
          <a:p>
            <a:pPr marL="285750" indent="-285750">
              <a:spcAft>
                <a:spcPts val="6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 smtClean="0"/>
              <a:t>Подготовка </a:t>
            </a:r>
            <a:r>
              <a:rPr lang="ru-RU" sz="1400" dirty="0"/>
              <a:t>предприятия к экспорту</a:t>
            </a:r>
          </a:p>
          <a:p>
            <a:pPr marL="285750" indent="-285750">
              <a:spcAft>
                <a:spcPts val="6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Формирование </a:t>
            </a:r>
            <a:r>
              <a:rPr lang="ru-RU" sz="1400" b="1" dirty="0"/>
              <a:t>конкурентоспособного предложения</a:t>
            </a:r>
          </a:p>
          <a:p>
            <a:pPr marL="285750" indent="-285750">
              <a:spcAft>
                <a:spcPts val="600"/>
              </a:spcAft>
              <a:buClr>
                <a:schemeClr val="tx2">
                  <a:lumMod val="90000"/>
                  <a:lumOff val="10000"/>
                </a:schemeClr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Заключение внешнеторгового </a:t>
            </a:r>
            <a:r>
              <a:rPr lang="ru-RU" sz="1400" b="1" dirty="0" smtClean="0"/>
              <a:t>контракта</a:t>
            </a:r>
            <a:endParaRPr lang="ru-RU" sz="1400" b="1" dirty="0"/>
          </a:p>
        </p:txBody>
      </p:sp>
      <p:sp>
        <p:nvSpPr>
          <p:cNvPr id="12" name="Шеврон 11"/>
          <p:cNvSpPr/>
          <p:nvPr/>
        </p:nvSpPr>
        <p:spPr>
          <a:xfrm rot="5400000">
            <a:off x="564073" y="1663931"/>
            <a:ext cx="268325" cy="531945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1" name="Шеврон 20"/>
          <p:cNvSpPr/>
          <p:nvPr/>
        </p:nvSpPr>
        <p:spPr>
          <a:xfrm rot="5400000">
            <a:off x="564072" y="4144898"/>
            <a:ext cx="268325" cy="531945"/>
          </a:xfrm>
          <a:prstGeom prst="chevr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5863025" y="1361544"/>
            <a:ext cx="0" cy="490138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B38936B1-9FD3-42C8-B3B9-C3F101A03632}"/>
              </a:ext>
            </a:extLst>
          </p:cNvPr>
          <p:cNvSpPr txBox="1"/>
          <p:nvPr/>
        </p:nvSpPr>
        <p:spPr>
          <a:xfrm>
            <a:off x="6175258" y="3357021"/>
            <a:ext cx="1701941" cy="307777"/>
          </a:xfrm>
          <a:prstGeom prst="rect">
            <a:avLst/>
          </a:prstGeom>
          <a:solidFill>
            <a:schemeClr val="accent3"/>
          </a:solidFill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solidFill>
                  <a:schemeClr val="bg1"/>
                </a:solidFill>
              </a:rPr>
              <a:t>Порядок участия</a:t>
            </a:r>
            <a:endParaRPr lang="ru-RU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4103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Прямоугольник 43"/>
          <p:cNvSpPr/>
          <p:nvPr/>
        </p:nvSpPr>
        <p:spPr>
          <a:xfrm>
            <a:off x="6829320" y="3793546"/>
            <a:ext cx="4971175" cy="267223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>
            <a:off x="6829320" y="2042162"/>
            <a:ext cx="4971175" cy="125334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6378EBDE-599B-400D-8C23-9765B601D1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0771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2924D53F-1301-4465-9B93-C85A9129496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3E02EF50-322C-45EA-AF36-AC681168D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771" y="714408"/>
            <a:ext cx="11530869" cy="439152"/>
          </a:xfrm>
        </p:spPr>
        <p:txBody>
          <a:bodyPr>
            <a:noAutofit/>
          </a:bodyPr>
          <a:lstStyle/>
          <a:p>
            <a:r>
              <a:rPr lang="ru-RU" sz="1900" dirty="0"/>
              <a:t>Финансовые меры поддержки – </a:t>
            </a:r>
            <a:r>
              <a:rPr lang="ru-RU" sz="1900" dirty="0" smtClean="0"/>
              <a:t>реализована программа льготных займов </a:t>
            </a:r>
            <a:r>
              <a:rPr lang="ru-RU" sz="1900" dirty="0"/>
              <a:t>ФРП по ставке 1%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74FC5B98-EA58-4D2E-81C2-D8445F985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9037E6-67B8-43F6-AC5E-0E140C1271C4}" type="datetime4">
              <a:rPr lang="ru-RU" smtClean="0"/>
              <a:pPr/>
              <a:t>1 августа 2019 г.</a:t>
            </a:fld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CF9120A3-8890-4A69-A2F5-E194D784B3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/>
              <a:t>Страница </a:t>
            </a:r>
            <a:fld id="{197A8AD3-02BD-4CAC-AF0B-F1BD6FDC906F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A2B11D69-7AC6-40B9-B488-823D51F54AD6}"/>
              </a:ext>
            </a:extLst>
          </p:cNvPr>
          <p:cNvSpPr/>
          <p:nvPr/>
        </p:nvSpPr>
        <p:spPr>
          <a:xfrm>
            <a:off x="6919602" y="1658851"/>
            <a:ext cx="4748465" cy="18235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6"/>
              </a:spcBef>
              <a:buClr>
                <a:schemeClr val="tx2"/>
              </a:buClr>
            </a:pPr>
            <a:r>
              <a:rPr lang="ru-RU" sz="1400" b="1" dirty="0">
                <a:solidFill>
                  <a:srgbClr val="003C86"/>
                </a:solidFill>
              </a:rPr>
              <a:t>Основные </a:t>
            </a:r>
            <a:r>
              <a:rPr lang="ru-RU" sz="1400" b="1" dirty="0" smtClean="0">
                <a:solidFill>
                  <a:srgbClr val="003C86"/>
                </a:solidFill>
              </a:rPr>
              <a:t>условия</a:t>
            </a:r>
            <a:r>
              <a:rPr lang="ru-RU" sz="1400" dirty="0"/>
              <a:t/>
            </a:r>
            <a:br>
              <a:rPr lang="ru-RU" sz="1400" dirty="0"/>
            </a:br>
            <a:endParaRPr lang="ru-RU" sz="1400" dirty="0" smtClean="0"/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400" dirty="0" smtClean="0"/>
              <a:t>Процентная ставка:	</a:t>
            </a:r>
            <a:r>
              <a:rPr lang="ru-RU" sz="1400" b="1" dirty="0" smtClean="0">
                <a:solidFill>
                  <a:srgbClr val="003C86"/>
                </a:solidFill>
              </a:rPr>
              <a:t>1%</a:t>
            </a:r>
            <a:r>
              <a:rPr lang="ru-RU" sz="1400" dirty="0" smtClean="0"/>
              <a:t> годовых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400" dirty="0" smtClean="0"/>
              <a:t>Сумма </a:t>
            </a:r>
            <a:r>
              <a:rPr lang="ru-RU" sz="1400" dirty="0"/>
              <a:t>займа: 		</a:t>
            </a:r>
            <a:r>
              <a:rPr lang="ru-RU" sz="1400" b="1" dirty="0">
                <a:solidFill>
                  <a:srgbClr val="003C86"/>
                </a:solidFill>
              </a:rPr>
              <a:t>50-300</a:t>
            </a:r>
            <a:r>
              <a:rPr lang="ru-RU" sz="1400" dirty="0"/>
              <a:t> млн. руб.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Срок займа: 		до </a:t>
            </a:r>
            <a:r>
              <a:rPr lang="ru-RU" sz="1400" b="1" dirty="0">
                <a:solidFill>
                  <a:srgbClr val="003C86"/>
                </a:solidFill>
              </a:rPr>
              <a:t>60 </a:t>
            </a:r>
            <a:r>
              <a:rPr lang="ru-RU" sz="1400" dirty="0"/>
              <a:t>мес.</a:t>
            </a:r>
          </a:p>
          <a:p>
            <a:pPr marL="285750" lvl="0" indent="-285750">
              <a:spcBef>
                <a:spcPts val="306"/>
              </a:spcBef>
              <a:buClr>
                <a:srgbClr val="00295C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Общий бюджет проекта:	от </a:t>
            </a:r>
            <a:r>
              <a:rPr lang="ru-RU" sz="1400" b="1" dirty="0">
                <a:solidFill>
                  <a:srgbClr val="003C86"/>
                </a:solidFill>
              </a:rPr>
              <a:t>62,5 </a:t>
            </a:r>
            <a:r>
              <a:rPr lang="ru-RU" sz="1400" dirty="0">
                <a:solidFill>
                  <a:srgbClr val="000000"/>
                </a:solidFill>
              </a:rPr>
              <a:t>млн. руб.</a:t>
            </a:r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ru-RU" sz="1400" dirty="0"/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="" xmlns:a16="http://schemas.microsoft.com/office/drawing/2014/main" id="{81C4FF63-453E-4807-9EA5-712DE285496E}"/>
              </a:ext>
            </a:extLst>
          </p:cNvPr>
          <p:cNvCxnSpPr>
            <a:cxnSpLocks/>
          </p:cNvCxnSpPr>
          <p:nvPr/>
        </p:nvCxnSpPr>
        <p:spPr>
          <a:xfrm>
            <a:off x="346172" y="1570490"/>
            <a:ext cx="1145432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>
            <a:extLst>
              <a:ext uri="{FF2B5EF4-FFF2-40B4-BE49-F238E27FC236}">
                <a16:creationId xmlns="" xmlns:a16="http://schemas.microsoft.com/office/drawing/2014/main" id="{468EDD8A-568F-4C0D-A31A-5D9E5B07C77D}"/>
              </a:ext>
            </a:extLst>
          </p:cNvPr>
          <p:cNvSpPr/>
          <p:nvPr/>
        </p:nvSpPr>
        <p:spPr>
          <a:xfrm>
            <a:off x="677014" y="2182512"/>
            <a:ext cx="142580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6"/>
              </a:spcBef>
              <a:buClr>
                <a:schemeClr val="tx2"/>
              </a:buClr>
            </a:pPr>
            <a:r>
              <a:rPr lang="ru-RU" sz="1400" b="1" dirty="0"/>
              <a:t>1. </a:t>
            </a:r>
            <a:r>
              <a:rPr lang="ru-RU" sz="1400" dirty="0"/>
              <a:t>Включение предприятия в </a:t>
            </a:r>
            <a:r>
              <a:rPr lang="ru-RU" sz="1400" dirty="0" smtClean="0"/>
              <a:t>региональный проект </a:t>
            </a:r>
            <a:r>
              <a:rPr lang="ru-RU" sz="1400" dirty="0"/>
              <a:t>ППТ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="" xmlns:a16="http://schemas.microsoft.com/office/drawing/2014/main" id="{D27FF8EB-BAE7-4E97-9CA1-4B4E6C677B09}"/>
              </a:ext>
            </a:extLst>
          </p:cNvPr>
          <p:cNvSpPr/>
          <p:nvPr/>
        </p:nvSpPr>
        <p:spPr>
          <a:xfrm>
            <a:off x="2017897" y="2182512"/>
            <a:ext cx="1377909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6"/>
              </a:spcBef>
              <a:buClr>
                <a:schemeClr val="tx2"/>
              </a:buClr>
            </a:pPr>
            <a:r>
              <a:rPr lang="ru-RU" sz="1400" b="1" dirty="0"/>
              <a:t>2. </a:t>
            </a:r>
            <a:r>
              <a:rPr lang="ru-RU" sz="1400" dirty="0"/>
              <a:t>Определение потребности в </a:t>
            </a:r>
            <a:r>
              <a:rPr lang="ru-RU" sz="1400" dirty="0" err="1" smtClean="0"/>
              <a:t>финансирова-нии</a:t>
            </a:r>
            <a:endParaRPr lang="ru-RU" sz="1400" dirty="0"/>
          </a:p>
        </p:txBody>
      </p:sp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F205300C-2E46-4742-AE83-06F782A5766A}"/>
              </a:ext>
            </a:extLst>
          </p:cNvPr>
          <p:cNvSpPr/>
          <p:nvPr/>
        </p:nvSpPr>
        <p:spPr>
          <a:xfrm>
            <a:off x="3313502" y="2182512"/>
            <a:ext cx="123455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6"/>
              </a:spcBef>
              <a:buClr>
                <a:schemeClr val="tx2"/>
              </a:buClr>
            </a:pPr>
            <a:r>
              <a:rPr lang="ru-RU" sz="1400" b="1" dirty="0"/>
              <a:t>3. </a:t>
            </a:r>
            <a:r>
              <a:rPr lang="ru-RU" sz="1400" dirty="0"/>
              <a:t>Самооценка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="" xmlns:a16="http://schemas.microsoft.com/office/drawing/2014/main" id="{0D80D13C-85EF-488B-9DC9-D32C12E92147}"/>
              </a:ext>
            </a:extLst>
          </p:cNvPr>
          <p:cNvSpPr/>
          <p:nvPr/>
        </p:nvSpPr>
        <p:spPr>
          <a:xfrm>
            <a:off x="4591618" y="2182512"/>
            <a:ext cx="123455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6"/>
              </a:spcBef>
              <a:buClr>
                <a:schemeClr val="tx2"/>
              </a:buClr>
            </a:pPr>
            <a:r>
              <a:rPr lang="ru-RU" sz="1400" b="1" dirty="0"/>
              <a:t>4. </a:t>
            </a:r>
            <a:r>
              <a:rPr lang="ru-RU" sz="1400" dirty="0"/>
              <a:t>Подача заявки на сертификат ФЦК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="" xmlns:a16="http://schemas.microsoft.com/office/drawing/2014/main" id="{E181714B-0A1D-4A3A-BFD6-4F1419F9EDE0}"/>
              </a:ext>
            </a:extLst>
          </p:cNvPr>
          <p:cNvSpPr/>
          <p:nvPr/>
        </p:nvSpPr>
        <p:spPr>
          <a:xfrm>
            <a:off x="409169" y="1705816"/>
            <a:ext cx="23542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6"/>
              </a:spcBef>
              <a:buClr>
                <a:schemeClr val="tx2"/>
              </a:buClr>
            </a:pPr>
            <a:r>
              <a:rPr lang="ru-RU" sz="1400" b="1" dirty="0">
                <a:solidFill>
                  <a:srgbClr val="003C86"/>
                </a:solidFill>
              </a:rPr>
              <a:t>Схема получения займа</a:t>
            </a:r>
            <a:endParaRPr lang="ru-RU" sz="1400" dirty="0"/>
          </a:p>
        </p:txBody>
      </p:sp>
      <p:sp>
        <p:nvSpPr>
          <p:cNvPr id="16" name="Прямоугольник 15">
            <a:extLst>
              <a:ext uri="{FF2B5EF4-FFF2-40B4-BE49-F238E27FC236}">
                <a16:creationId xmlns="" xmlns:a16="http://schemas.microsoft.com/office/drawing/2014/main" id="{BB648A92-7829-4A3A-873B-8C925E975BD2}"/>
              </a:ext>
            </a:extLst>
          </p:cNvPr>
          <p:cNvSpPr/>
          <p:nvPr/>
        </p:nvSpPr>
        <p:spPr>
          <a:xfrm>
            <a:off x="702007" y="3635509"/>
            <a:ext cx="123455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6"/>
              </a:spcBef>
              <a:buClr>
                <a:schemeClr val="tx2"/>
              </a:buClr>
            </a:pPr>
            <a:r>
              <a:rPr lang="ru-RU" sz="1400" b="1" dirty="0"/>
              <a:t>5. </a:t>
            </a:r>
            <a:r>
              <a:rPr lang="ru-RU" sz="1400" dirty="0"/>
              <a:t>Входная экспертиза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="" xmlns:a16="http://schemas.microsoft.com/office/drawing/2014/main" id="{BCE2CDA6-4BF9-4645-B16E-39C9A84BEEB7}"/>
              </a:ext>
            </a:extLst>
          </p:cNvPr>
          <p:cNvSpPr/>
          <p:nvPr/>
        </p:nvSpPr>
        <p:spPr>
          <a:xfrm>
            <a:off x="2015364" y="3635509"/>
            <a:ext cx="127410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6"/>
              </a:spcBef>
              <a:buClr>
                <a:schemeClr val="tx2"/>
              </a:buClr>
            </a:pPr>
            <a:r>
              <a:rPr lang="ru-RU" sz="1400" b="1" dirty="0"/>
              <a:t>6. </a:t>
            </a:r>
            <a:r>
              <a:rPr lang="ru-RU" sz="1400" dirty="0"/>
              <a:t>Оценка потока предприятия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="" xmlns:a16="http://schemas.microsoft.com/office/drawing/2014/main" id="{24AE474B-A98F-4280-A2AB-3146CBF2E6E3}"/>
              </a:ext>
            </a:extLst>
          </p:cNvPr>
          <p:cNvSpPr/>
          <p:nvPr/>
        </p:nvSpPr>
        <p:spPr>
          <a:xfrm>
            <a:off x="3395806" y="3635509"/>
            <a:ext cx="123455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6"/>
              </a:spcBef>
              <a:buClr>
                <a:schemeClr val="tx2"/>
              </a:buClr>
            </a:pPr>
            <a:r>
              <a:rPr lang="ru-RU" sz="1400" b="1" dirty="0"/>
              <a:t>7. </a:t>
            </a:r>
            <a:r>
              <a:rPr lang="ru-RU" sz="1400" dirty="0"/>
              <a:t>Выдача </a:t>
            </a:r>
            <a:r>
              <a:rPr lang="ru-RU" sz="1400" dirty="0" err="1" smtClean="0"/>
              <a:t>сертифи</a:t>
            </a:r>
            <a:r>
              <a:rPr lang="ru-RU" sz="1400" dirty="0" smtClean="0"/>
              <a:t>-ката </a:t>
            </a:r>
            <a:r>
              <a:rPr lang="ru-RU" sz="1400" dirty="0"/>
              <a:t>ФЦК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="" xmlns:a16="http://schemas.microsoft.com/office/drawing/2014/main" id="{B4659DB5-2409-4C33-855F-B24EB7F7212F}"/>
              </a:ext>
            </a:extLst>
          </p:cNvPr>
          <p:cNvSpPr/>
          <p:nvPr/>
        </p:nvSpPr>
        <p:spPr>
          <a:xfrm>
            <a:off x="4606486" y="3635509"/>
            <a:ext cx="123455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6"/>
              </a:spcBef>
              <a:buClr>
                <a:schemeClr val="tx2"/>
              </a:buClr>
            </a:pPr>
            <a:r>
              <a:rPr lang="ru-RU" sz="1400" b="1" dirty="0"/>
              <a:t>8. </a:t>
            </a:r>
            <a:r>
              <a:rPr lang="ru-RU" sz="1400" dirty="0"/>
              <a:t>Подача заявки на </a:t>
            </a:r>
            <a:r>
              <a:rPr lang="ru-RU" sz="1400" dirty="0" err="1"/>
              <a:t>займ</a:t>
            </a:r>
            <a:r>
              <a:rPr lang="ru-RU" sz="1400" dirty="0"/>
              <a:t> ФРП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="" xmlns:a16="http://schemas.microsoft.com/office/drawing/2014/main" id="{E6EBEA6E-3773-464C-B331-4E5B6AE0F7F4}"/>
              </a:ext>
            </a:extLst>
          </p:cNvPr>
          <p:cNvSpPr/>
          <p:nvPr/>
        </p:nvSpPr>
        <p:spPr>
          <a:xfrm>
            <a:off x="677014" y="5116441"/>
            <a:ext cx="123455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6"/>
              </a:spcBef>
              <a:buClr>
                <a:schemeClr val="tx2"/>
              </a:buClr>
            </a:pPr>
            <a:r>
              <a:rPr lang="ru-RU" sz="1400" b="1" dirty="0"/>
              <a:t>9. </a:t>
            </a:r>
            <a:r>
              <a:rPr lang="ru-RU" sz="1400" dirty="0"/>
              <a:t>Экспресс-оценка, входная экспертиза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7B35D697-D181-40D8-8EDA-BB6486B65E95}"/>
              </a:ext>
            </a:extLst>
          </p:cNvPr>
          <p:cNvSpPr/>
          <p:nvPr/>
        </p:nvSpPr>
        <p:spPr>
          <a:xfrm>
            <a:off x="2017898" y="5193385"/>
            <a:ext cx="137790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6"/>
              </a:spcBef>
              <a:buClr>
                <a:schemeClr val="tx2"/>
              </a:buClr>
            </a:pPr>
            <a:r>
              <a:rPr lang="ru-RU" sz="1400" b="1" dirty="0"/>
              <a:t>10. </a:t>
            </a:r>
            <a:r>
              <a:rPr lang="ru-RU" sz="1400" dirty="0"/>
              <a:t>Комплексная экспертиза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="" xmlns:a16="http://schemas.microsoft.com/office/drawing/2014/main" id="{7B8EE590-E9C3-4D61-942E-6ABE858399B9}"/>
              </a:ext>
            </a:extLst>
          </p:cNvPr>
          <p:cNvSpPr/>
          <p:nvPr/>
        </p:nvSpPr>
        <p:spPr>
          <a:xfrm>
            <a:off x="3371520" y="5193383"/>
            <a:ext cx="123455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6"/>
              </a:spcBef>
              <a:buClr>
                <a:schemeClr val="tx2"/>
              </a:buClr>
            </a:pPr>
            <a:r>
              <a:rPr lang="ru-RU" sz="1400" b="1" dirty="0"/>
              <a:t>11. </a:t>
            </a:r>
            <a:r>
              <a:rPr lang="ru-RU" sz="1400" dirty="0"/>
              <a:t>Экспертный совет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="" xmlns:a16="http://schemas.microsoft.com/office/drawing/2014/main" id="{EE4187EF-9E7F-4E5F-BAC3-00232F7B3774}"/>
              </a:ext>
            </a:extLst>
          </p:cNvPr>
          <p:cNvSpPr/>
          <p:nvPr/>
        </p:nvSpPr>
        <p:spPr>
          <a:xfrm>
            <a:off x="4652700" y="5193383"/>
            <a:ext cx="123455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6"/>
              </a:spcBef>
              <a:buClr>
                <a:schemeClr val="tx2"/>
              </a:buClr>
            </a:pPr>
            <a:r>
              <a:rPr lang="ru-RU" sz="1400" b="1" dirty="0"/>
              <a:t>12. </a:t>
            </a:r>
            <a:r>
              <a:rPr lang="ru-RU" sz="1400" dirty="0"/>
              <a:t>Подписание договора займа</a:t>
            </a:r>
          </a:p>
        </p:txBody>
      </p:sp>
      <p:sp>
        <p:nvSpPr>
          <p:cNvPr id="24" name="Правая круглая скобка 23">
            <a:extLst>
              <a:ext uri="{FF2B5EF4-FFF2-40B4-BE49-F238E27FC236}">
                <a16:creationId xmlns="" xmlns:a16="http://schemas.microsoft.com/office/drawing/2014/main" id="{910BA80A-A342-472D-926E-0A7A1D256FE4}"/>
              </a:ext>
            </a:extLst>
          </p:cNvPr>
          <p:cNvSpPr/>
          <p:nvPr/>
        </p:nvSpPr>
        <p:spPr>
          <a:xfrm>
            <a:off x="5812211" y="2355954"/>
            <a:ext cx="104239" cy="1059449"/>
          </a:xfrm>
          <a:prstGeom prst="rightBracket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="" xmlns:a16="http://schemas.microsoft.com/office/drawing/2014/main" id="{B801F35F-0086-48BF-9801-4900FA3C391A}"/>
              </a:ext>
            </a:extLst>
          </p:cNvPr>
          <p:cNvCxnSpPr/>
          <p:nvPr/>
        </p:nvCxnSpPr>
        <p:spPr>
          <a:xfrm flipH="1">
            <a:off x="736726" y="3415403"/>
            <a:ext cx="5082678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Правая круглая скобка 25">
            <a:extLst>
              <a:ext uri="{FF2B5EF4-FFF2-40B4-BE49-F238E27FC236}">
                <a16:creationId xmlns="" xmlns:a16="http://schemas.microsoft.com/office/drawing/2014/main" id="{D5E63047-DD6F-4FB9-AA7D-3171391874CC}"/>
              </a:ext>
            </a:extLst>
          </p:cNvPr>
          <p:cNvSpPr/>
          <p:nvPr/>
        </p:nvSpPr>
        <p:spPr>
          <a:xfrm>
            <a:off x="5811091" y="3896952"/>
            <a:ext cx="109634" cy="1153234"/>
          </a:xfrm>
          <a:prstGeom prst="rightBracket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="" xmlns:a16="http://schemas.microsoft.com/office/drawing/2014/main" id="{6E5D9704-C1CB-4821-A014-622B68FD0E65}"/>
              </a:ext>
            </a:extLst>
          </p:cNvPr>
          <p:cNvCxnSpPr/>
          <p:nvPr/>
        </p:nvCxnSpPr>
        <p:spPr>
          <a:xfrm flipH="1" flipV="1">
            <a:off x="702007" y="5050186"/>
            <a:ext cx="5110203" cy="4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Скругленная соединительная линия 94">
            <a:extLst>
              <a:ext uri="{FF2B5EF4-FFF2-40B4-BE49-F238E27FC236}">
                <a16:creationId xmlns="" xmlns:a16="http://schemas.microsoft.com/office/drawing/2014/main" id="{8A52C945-6E47-4789-B760-3BC05476E931}"/>
              </a:ext>
            </a:extLst>
          </p:cNvPr>
          <p:cNvCxnSpPr/>
          <p:nvPr/>
        </p:nvCxnSpPr>
        <p:spPr>
          <a:xfrm rot="5400000">
            <a:off x="553276" y="5179704"/>
            <a:ext cx="314086" cy="55051"/>
          </a:xfrm>
          <a:prstGeom prst="curvedConnector4">
            <a:avLst>
              <a:gd name="adj1" fmla="val 1139"/>
              <a:gd name="adj2" fmla="val 515251"/>
            </a:avLst>
          </a:prstGeom>
          <a:ln w="127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Прямоугольник 28">
            <a:extLst>
              <a:ext uri="{FF2B5EF4-FFF2-40B4-BE49-F238E27FC236}">
                <a16:creationId xmlns="" xmlns:a16="http://schemas.microsoft.com/office/drawing/2014/main" id="{82B4610A-A4C1-4969-B0FB-ED5BA15C3132}"/>
              </a:ext>
            </a:extLst>
          </p:cNvPr>
          <p:cNvSpPr/>
          <p:nvPr/>
        </p:nvSpPr>
        <p:spPr>
          <a:xfrm>
            <a:off x="346172" y="1628313"/>
            <a:ext cx="6376814" cy="4837471"/>
          </a:xfrm>
          <a:prstGeom prst="rect">
            <a:avLst/>
          </a:prstGeom>
          <a:noFill/>
          <a:ln w="9525">
            <a:solidFill>
              <a:srgbClr val="6385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" name="Picture 5">
            <a:extLst>
              <a:ext uri="{FF2B5EF4-FFF2-40B4-BE49-F238E27FC236}">
                <a16:creationId xmlns="" xmlns:a16="http://schemas.microsoft.com/office/drawing/2014/main" id="{5435D523-ACDE-4829-9C68-3497B41523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6365" y="3770940"/>
            <a:ext cx="625844" cy="233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" name="Picture 6">
            <a:extLst>
              <a:ext uri="{FF2B5EF4-FFF2-40B4-BE49-F238E27FC236}">
                <a16:creationId xmlns="" xmlns:a16="http://schemas.microsoft.com/office/drawing/2014/main" id="{AC19F524-E021-4398-9524-3D4EE88447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9692" y="5206492"/>
            <a:ext cx="745017" cy="2980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2" name="Прямоугольник 31">
            <a:extLst>
              <a:ext uri="{FF2B5EF4-FFF2-40B4-BE49-F238E27FC236}">
                <a16:creationId xmlns="" xmlns:a16="http://schemas.microsoft.com/office/drawing/2014/main" id="{04861EAB-AAC2-4A66-A8F8-6769F7A65676}"/>
              </a:ext>
            </a:extLst>
          </p:cNvPr>
          <p:cNvSpPr/>
          <p:nvPr/>
        </p:nvSpPr>
        <p:spPr>
          <a:xfrm>
            <a:off x="6934960" y="3409534"/>
            <a:ext cx="4748465" cy="3016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6"/>
              </a:spcBef>
              <a:buClr>
                <a:schemeClr val="tx2"/>
              </a:buClr>
            </a:pPr>
            <a:r>
              <a:rPr lang="ru-RU" sz="1400" b="1" dirty="0">
                <a:solidFill>
                  <a:srgbClr val="003C86"/>
                </a:solidFill>
              </a:rPr>
              <a:t>Задачи и </a:t>
            </a:r>
            <a:r>
              <a:rPr lang="ru-RU" sz="1400" b="1" dirty="0" smtClean="0">
                <a:solidFill>
                  <a:srgbClr val="003C86"/>
                </a:solidFill>
              </a:rPr>
              <a:t>результаты</a:t>
            </a:r>
            <a:r>
              <a:rPr lang="ru-RU" sz="1400" dirty="0"/>
              <a:t/>
            </a:r>
            <a:br>
              <a:rPr lang="ru-RU" sz="1400" dirty="0"/>
            </a:br>
            <a:endParaRPr lang="ru-RU" sz="1400" dirty="0"/>
          </a:p>
          <a:p>
            <a:pPr marL="285750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Экспертный совет ФРП одобрил </a:t>
            </a:r>
            <a:r>
              <a:rPr lang="ru-RU" sz="1400" b="1" dirty="0">
                <a:solidFill>
                  <a:srgbClr val="003C86"/>
                </a:solidFill>
              </a:rPr>
              <a:t>2 </a:t>
            </a:r>
            <a:r>
              <a:rPr lang="ru-RU" sz="1400" dirty="0"/>
              <a:t>займа:</a:t>
            </a:r>
          </a:p>
          <a:p>
            <a:pPr marL="742950" lvl="1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ООО НПП «</a:t>
            </a:r>
            <a:r>
              <a:rPr lang="ru-RU" sz="1400" dirty="0" err="1"/>
              <a:t>Тасма</a:t>
            </a:r>
            <a:r>
              <a:rPr lang="ru-RU" sz="1400" dirty="0"/>
              <a:t>» (Республика Татарстан)</a:t>
            </a:r>
          </a:p>
          <a:p>
            <a:pPr marL="742950" lvl="1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ООО «Эм-Кат» (Республика Мордовия)</a:t>
            </a:r>
          </a:p>
          <a:p>
            <a:pPr marL="742950" lvl="1" indent="-285750">
              <a:spcBef>
                <a:spcPts val="306"/>
              </a:spcBef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ru-RU" sz="1400" dirty="0"/>
          </a:p>
          <a:p>
            <a:pPr marL="285750" lvl="0" indent="-285750">
              <a:spcBef>
                <a:spcPts val="306"/>
              </a:spcBef>
              <a:buClr>
                <a:srgbClr val="00295C"/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rgbClr val="000000"/>
                </a:solidFill>
              </a:rPr>
              <a:t>Профинансирован </a:t>
            </a:r>
            <a:r>
              <a:rPr lang="ru-RU" sz="1400" b="1" dirty="0">
                <a:solidFill>
                  <a:srgbClr val="003C86"/>
                </a:solidFill>
              </a:rPr>
              <a:t>1 </a:t>
            </a:r>
            <a:r>
              <a:rPr lang="ru-RU" sz="1400" dirty="0">
                <a:solidFill>
                  <a:srgbClr val="000000"/>
                </a:solidFill>
              </a:rPr>
              <a:t>проект:</a:t>
            </a:r>
          </a:p>
          <a:p>
            <a:pPr marL="742950" lvl="1" indent="-285750">
              <a:spcBef>
                <a:spcPts val="306"/>
              </a:spcBef>
              <a:buClr>
                <a:srgbClr val="00295C"/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rgbClr val="000000"/>
                </a:solidFill>
              </a:rPr>
              <a:t>ООО НПП «</a:t>
            </a:r>
            <a:r>
              <a:rPr lang="ru-RU" sz="1400" dirty="0" err="1">
                <a:solidFill>
                  <a:srgbClr val="000000"/>
                </a:solidFill>
              </a:rPr>
              <a:t>Тасма</a:t>
            </a:r>
            <a:r>
              <a:rPr lang="ru-RU" sz="1400" dirty="0">
                <a:solidFill>
                  <a:srgbClr val="000000"/>
                </a:solidFill>
              </a:rPr>
              <a:t>» (Республика Татарстан) – договор займа подписан 6 мая 2019 г.</a:t>
            </a:r>
            <a:r>
              <a:rPr lang="ru-RU" sz="1400" dirty="0"/>
              <a:t> </a:t>
            </a:r>
          </a:p>
          <a:p>
            <a:pPr marL="742950" lvl="1" indent="-285750">
              <a:spcBef>
                <a:spcPts val="306"/>
              </a:spcBef>
              <a:buClr>
                <a:srgbClr val="00295C"/>
              </a:buClr>
              <a:buFont typeface="Wingdings" panose="05000000000000000000" pitchFamily="2" charset="2"/>
              <a:buChar char="§"/>
            </a:pPr>
            <a:endParaRPr lang="ru-RU" sz="1400" dirty="0"/>
          </a:p>
          <a:p>
            <a:pPr marL="285750" lvl="0" indent="-285750">
              <a:spcBef>
                <a:spcPts val="306"/>
              </a:spcBef>
              <a:buClr>
                <a:srgbClr val="00295C"/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rgbClr val="000000"/>
                </a:solidFill>
              </a:rPr>
              <a:t>В рамках программы планируется выдать </a:t>
            </a:r>
            <a:r>
              <a:rPr lang="ru-RU" sz="1400" dirty="0" smtClean="0">
                <a:solidFill>
                  <a:srgbClr val="000000"/>
                </a:solidFill>
              </a:rPr>
              <a:t/>
            </a:r>
            <a:br>
              <a:rPr lang="ru-RU" sz="1400" dirty="0" smtClean="0">
                <a:solidFill>
                  <a:srgbClr val="000000"/>
                </a:solidFill>
              </a:rPr>
            </a:br>
            <a:r>
              <a:rPr lang="ru-RU" sz="1400" dirty="0" smtClean="0">
                <a:solidFill>
                  <a:srgbClr val="000000"/>
                </a:solidFill>
              </a:rPr>
              <a:t>не менее </a:t>
            </a:r>
            <a:r>
              <a:rPr lang="ru-RU" sz="1400" b="1" dirty="0">
                <a:solidFill>
                  <a:srgbClr val="003C86"/>
                </a:solidFill>
              </a:rPr>
              <a:t>165 </a:t>
            </a:r>
            <a:r>
              <a:rPr lang="ru-RU" sz="1400" dirty="0" smtClean="0">
                <a:solidFill>
                  <a:srgbClr val="000000"/>
                </a:solidFill>
              </a:rPr>
              <a:t>займов</a:t>
            </a:r>
            <a:r>
              <a:rPr lang="ru-RU" sz="1400" baseline="30000" dirty="0" smtClean="0">
                <a:solidFill>
                  <a:srgbClr val="000000"/>
                </a:solidFill>
              </a:rPr>
              <a:t>1</a:t>
            </a:r>
            <a:endParaRPr lang="ru-RU" sz="1400" dirty="0"/>
          </a:p>
        </p:txBody>
      </p:sp>
      <p:cxnSp>
        <p:nvCxnSpPr>
          <p:cNvPr id="33" name="Прямая со стрелкой 32">
            <a:extLst>
              <a:ext uri="{FF2B5EF4-FFF2-40B4-BE49-F238E27FC236}">
                <a16:creationId xmlns="" xmlns:a16="http://schemas.microsoft.com/office/drawing/2014/main" id="{5F98122B-F57D-4C9F-ABCC-BA6D13A99874}"/>
              </a:ext>
            </a:extLst>
          </p:cNvPr>
          <p:cNvCxnSpPr/>
          <p:nvPr/>
        </p:nvCxnSpPr>
        <p:spPr>
          <a:xfrm>
            <a:off x="1780848" y="3205553"/>
            <a:ext cx="209241" cy="2"/>
          </a:xfrm>
          <a:prstGeom prst="straightConnector1">
            <a:avLst/>
          </a:prstGeom>
          <a:ln w="12700"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>
            <a:extLst>
              <a:ext uri="{FF2B5EF4-FFF2-40B4-BE49-F238E27FC236}">
                <a16:creationId xmlns="" xmlns:a16="http://schemas.microsoft.com/office/drawing/2014/main" id="{D521CBDD-AD9A-41CC-9BCA-0E82A417B199}"/>
              </a:ext>
            </a:extLst>
          </p:cNvPr>
          <p:cNvCxnSpPr/>
          <p:nvPr/>
        </p:nvCxnSpPr>
        <p:spPr>
          <a:xfrm>
            <a:off x="3155715" y="2360401"/>
            <a:ext cx="209241" cy="2"/>
          </a:xfrm>
          <a:prstGeom prst="straightConnector1">
            <a:avLst/>
          </a:prstGeom>
          <a:ln w="12700"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>
            <a:extLst>
              <a:ext uri="{FF2B5EF4-FFF2-40B4-BE49-F238E27FC236}">
                <a16:creationId xmlns="" xmlns:a16="http://schemas.microsoft.com/office/drawing/2014/main" id="{EF3B695A-E841-4A52-99BC-FEA660951957}"/>
              </a:ext>
            </a:extLst>
          </p:cNvPr>
          <p:cNvCxnSpPr/>
          <p:nvPr/>
        </p:nvCxnSpPr>
        <p:spPr>
          <a:xfrm>
            <a:off x="4370245" y="2360401"/>
            <a:ext cx="209241" cy="2"/>
          </a:xfrm>
          <a:prstGeom prst="straightConnector1">
            <a:avLst/>
          </a:prstGeom>
          <a:ln w="12700"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 стрелкой 35">
            <a:extLst>
              <a:ext uri="{FF2B5EF4-FFF2-40B4-BE49-F238E27FC236}">
                <a16:creationId xmlns="" xmlns:a16="http://schemas.microsoft.com/office/drawing/2014/main" id="{B8684F8C-217D-4856-B7B8-06197195C39F}"/>
              </a:ext>
            </a:extLst>
          </p:cNvPr>
          <p:cNvCxnSpPr/>
          <p:nvPr/>
        </p:nvCxnSpPr>
        <p:spPr>
          <a:xfrm>
            <a:off x="1792979" y="3863696"/>
            <a:ext cx="209241" cy="2"/>
          </a:xfrm>
          <a:prstGeom prst="straightConnector1">
            <a:avLst/>
          </a:prstGeom>
          <a:ln w="12700"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>
            <a:extLst>
              <a:ext uri="{FF2B5EF4-FFF2-40B4-BE49-F238E27FC236}">
                <a16:creationId xmlns="" xmlns:a16="http://schemas.microsoft.com/office/drawing/2014/main" id="{F22D0C79-F9E3-4F6A-86CF-C909F6A1D583}"/>
              </a:ext>
            </a:extLst>
          </p:cNvPr>
          <p:cNvCxnSpPr/>
          <p:nvPr/>
        </p:nvCxnSpPr>
        <p:spPr>
          <a:xfrm>
            <a:off x="3201739" y="3856970"/>
            <a:ext cx="209241" cy="2"/>
          </a:xfrm>
          <a:prstGeom prst="straightConnector1">
            <a:avLst/>
          </a:prstGeom>
          <a:ln w="12700"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37">
            <a:extLst>
              <a:ext uri="{FF2B5EF4-FFF2-40B4-BE49-F238E27FC236}">
                <a16:creationId xmlns="" xmlns:a16="http://schemas.microsoft.com/office/drawing/2014/main" id="{D27C8531-64B8-4D4D-BB9B-5E96E8B9E831}"/>
              </a:ext>
            </a:extLst>
          </p:cNvPr>
          <p:cNvCxnSpPr/>
          <p:nvPr/>
        </p:nvCxnSpPr>
        <p:spPr>
          <a:xfrm>
            <a:off x="4438345" y="3858371"/>
            <a:ext cx="209241" cy="2"/>
          </a:xfrm>
          <a:prstGeom prst="straightConnector1">
            <a:avLst/>
          </a:prstGeom>
          <a:ln w="12700"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>
            <a:extLst>
              <a:ext uri="{FF2B5EF4-FFF2-40B4-BE49-F238E27FC236}">
                <a16:creationId xmlns="" xmlns:a16="http://schemas.microsoft.com/office/drawing/2014/main" id="{962CC5F4-3DF4-4E37-98BE-1EA16B4321E4}"/>
              </a:ext>
            </a:extLst>
          </p:cNvPr>
          <p:cNvCxnSpPr/>
          <p:nvPr/>
        </p:nvCxnSpPr>
        <p:spPr>
          <a:xfrm>
            <a:off x="1831095" y="5364273"/>
            <a:ext cx="209241" cy="2"/>
          </a:xfrm>
          <a:prstGeom prst="straightConnector1">
            <a:avLst/>
          </a:prstGeom>
          <a:ln w="12700"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 стрелкой 39">
            <a:extLst>
              <a:ext uri="{FF2B5EF4-FFF2-40B4-BE49-F238E27FC236}">
                <a16:creationId xmlns="" xmlns:a16="http://schemas.microsoft.com/office/drawing/2014/main" id="{A090105A-9E3E-48CD-9B13-87CE2DEB389E}"/>
              </a:ext>
            </a:extLst>
          </p:cNvPr>
          <p:cNvCxnSpPr/>
          <p:nvPr/>
        </p:nvCxnSpPr>
        <p:spPr>
          <a:xfrm>
            <a:off x="3201025" y="5355496"/>
            <a:ext cx="209241" cy="2"/>
          </a:xfrm>
          <a:prstGeom prst="straightConnector1">
            <a:avLst/>
          </a:prstGeom>
          <a:ln w="12700"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 стрелкой 40">
            <a:extLst>
              <a:ext uri="{FF2B5EF4-FFF2-40B4-BE49-F238E27FC236}">
                <a16:creationId xmlns="" xmlns:a16="http://schemas.microsoft.com/office/drawing/2014/main" id="{CFC15589-BC6B-41BD-967D-BEEE0AAEA33F}"/>
              </a:ext>
            </a:extLst>
          </p:cNvPr>
          <p:cNvCxnSpPr/>
          <p:nvPr/>
        </p:nvCxnSpPr>
        <p:spPr>
          <a:xfrm>
            <a:off x="4438345" y="5373290"/>
            <a:ext cx="209241" cy="2"/>
          </a:xfrm>
          <a:prstGeom prst="straightConnector1">
            <a:avLst/>
          </a:prstGeom>
          <a:ln w="12700"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Скругленная соединительная линия 114">
            <a:extLst>
              <a:ext uri="{FF2B5EF4-FFF2-40B4-BE49-F238E27FC236}">
                <a16:creationId xmlns="" xmlns:a16="http://schemas.microsoft.com/office/drawing/2014/main" id="{470EC249-4699-4DD7-BC6C-175F5CFCAAFD}"/>
              </a:ext>
            </a:extLst>
          </p:cNvPr>
          <p:cNvCxnSpPr/>
          <p:nvPr/>
        </p:nvCxnSpPr>
        <p:spPr>
          <a:xfrm rot="5400000">
            <a:off x="561589" y="3543395"/>
            <a:ext cx="314086" cy="55051"/>
          </a:xfrm>
          <a:prstGeom prst="curvedConnector4">
            <a:avLst>
              <a:gd name="adj1" fmla="val 1139"/>
              <a:gd name="adj2" fmla="val 515251"/>
            </a:avLst>
          </a:prstGeom>
          <a:ln w="127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346172" y="1273144"/>
            <a:ext cx="839881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800"/>
              </a:spcAft>
            </a:pPr>
            <a:r>
              <a:rPr lang="ru-RU" sz="1400" i="1" dirty="0" smtClean="0">
                <a:solidFill>
                  <a:schemeClr val="bg1">
                    <a:lumMod val="50000"/>
                  </a:schemeClr>
                </a:solidFill>
              </a:rPr>
              <a:t>Действует для </a:t>
            </a:r>
            <a:r>
              <a:rPr lang="ru-RU" sz="1400" i="1" dirty="0">
                <a:solidFill>
                  <a:schemeClr val="bg1">
                    <a:lumMod val="50000"/>
                  </a:schemeClr>
                </a:solidFill>
              </a:rPr>
              <a:t>предприятий обрабатывающих отраслей промышленности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6829320" y="6499904"/>
            <a:ext cx="33246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solidFill>
                  <a:schemeClr val="bg1">
                    <a:lumMod val="50000"/>
                  </a:schemeClr>
                </a:solidFill>
              </a:rPr>
              <a:t>1 При среднем размере займа 100 млн руб.</a:t>
            </a:r>
            <a:endParaRPr lang="ru-RU" sz="12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90825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BTACCENT" val="Text2"/>
  <p:tag name="ISNEWSLIDENUMBER" val="False"/>
  <p:tag name="PREVIOUSNAME" val="C:\Users\Uliana Loginova\Box Sync\Healthcare topics RU0308\Help for Yulia\1.pptx"/>
  <p:tag name="THINKCELLPRESENTATIONDONOTDELETE" val="&lt;?xml version=&quot;1.0&quot; encoding=&quot;UTF-16&quot; standalone=&quot;yes&quot;?&gt;&lt;root reqver=&quot;24162&quot;&gt;&lt;version val=&quot;2713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%m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EE&quot; g=&quot;EF&quot; b=&quot;F0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8vCwfQQLqLIBYOww0f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RfA2.jRbKi8gNiwSGt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irjZv9RNGng69c1ECnc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ZzEze_RbSnMgkmaEUZA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DHXHi3QLmj3w8FpGe5N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7vqgOrT0aEftKUN29.2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AnZDn5QPCRZrTRS4yWm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aabZSbSk.0023Upb6zh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VrAwMrStihgagnfrmq9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C54y32RdmF6myrxUHeG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qiYD40SGaZj102iAhO7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30a83BQ7aAtiGKryL1A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hS_KwYQu672pYsYima.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ybjNalTF6rdXaf474KL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khDr98T3y15O5B.6b8b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8py0v7TNCKZ0pFpguaZ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aGBpkSQPKATmTLGJ3sh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R3kqEzRXeTTlsz6rsq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DoHz68Q6SJFCu35dRWd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8XR8nbTXOFSj8QcQRQ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8XR8nbTXOFSj8QcQRQ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kfDunMSniiftg102BbF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ejOzOhSnOM.KLDBzq98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EusIOlsUeuLPIDtGhmO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EusIOlsUeuLPIDtGhmO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EusIOlsUeuLPIDtGhmO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rfjmGY2k2RDYBCXYhiZ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rfjmGY2k2RDYBCXYhiZ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EusIOlsUeuLPIDtGhmO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rfjmGY2k2RDYBCXYhiZ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rfjmGY2k2RDYBCXYhiZ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EusIOlsUeuLPIDtGhm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rfjmGY2k2RDYBCXYhiZ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rfjmGY2k2RDYBCXYhiZ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EMohdfS4WITz5qk1yd.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VSms4BSPOaFUVqapj2d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U8GegYQoCOes2ag7zT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f6HnkXTvmiBDxYgqdI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O718oLS2Kb2nf8.aIBf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iEWjPUSVWDJWBcOYGvg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7iIOjvSeSuNZeWNEkIc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BUzZ4qQ3i5Jxl5c_1ck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f1yIQhT_yp7QzzeWLWv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YSL2IPTzat8AIlRi3oO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7rzx_xSi.mNWyO.QJk4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mu74mnQsG6QKrSMo6i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PUybGhQ5GNB1451i4qPQ"/>
</p:tagLst>
</file>

<file path=ppt/theme/theme1.xml><?xml version="1.0" encoding="utf-8"?>
<a:theme xmlns:a="http://schemas.openxmlformats.org/drawingml/2006/main" name="Office Theme">
  <a:themeElements>
    <a:clrScheme name="MInEco_1994">
      <a:dk1>
        <a:srgbClr val="000000"/>
      </a:dk1>
      <a:lt1>
        <a:srgbClr val="FFFFFF"/>
      </a:lt1>
      <a:dk2>
        <a:srgbClr val="00295C"/>
      </a:dk2>
      <a:lt2>
        <a:srgbClr val="FFFFFF"/>
      </a:lt2>
      <a:accent1>
        <a:srgbClr val="4F4A4D"/>
      </a:accent1>
      <a:accent2>
        <a:srgbClr val="203277"/>
      </a:accent2>
      <a:accent3>
        <a:srgbClr val="6385BB"/>
      </a:accent3>
      <a:accent4>
        <a:srgbClr val="97BCD5"/>
      </a:accent4>
      <a:accent5>
        <a:srgbClr val="E0D030"/>
      </a:accent5>
      <a:accent6>
        <a:srgbClr val="BB1A2C"/>
      </a:accent6>
      <a:hlink>
        <a:srgbClr val="2568FF"/>
      </a:hlink>
      <a:folHlink>
        <a:srgbClr val="7F7F7F"/>
      </a:folHlink>
    </a:clrScheme>
    <a:fontScheme name="MinEc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MInEco_1994">
    <a:dk1>
      <a:srgbClr val="000000"/>
    </a:dk1>
    <a:lt1>
      <a:srgbClr val="FFFFFF"/>
    </a:lt1>
    <a:dk2>
      <a:srgbClr val="00295C"/>
    </a:dk2>
    <a:lt2>
      <a:srgbClr val="FFFFFF"/>
    </a:lt2>
    <a:accent1>
      <a:srgbClr val="4F4A4D"/>
    </a:accent1>
    <a:accent2>
      <a:srgbClr val="203277"/>
    </a:accent2>
    <a:accent3>
      <a:srgbClr val="6385BB"/>
    </a:accent3>
    <a:accent4>
      <a:srgbClr val="97BCD5"/>
    </a:accent4>
    <a:accent5>
      <a:srgbClr val="E0D030"/>
    </a:accent5>
    <a:accent6>
      <a:srgbClr val="BB1A2C"/>
    </a:accent6>
    <a:hlink>
      <a:srgbClr val="2568FF"/>
    </a:hlink>
    <a:folHlink>
      <a:srgbClr val="7F7F7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8302</TotalTime>
  <Words>3187</Words>
  <Application>Microsoft Office PowerPoint</Application>
  <PresentationFormat>Широкоэкранный</PresentationFormat>
  <Paragraphs>751</Paragraphs>
  <Slides>28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8</vt:i4>
      </vt:variant>
    </vt:vector>
  </HeadingPairs>
  <TitlesOfParts>
    <vt:vector size="36" baseType="lpstr">
      <vt:lpstr>Arial</vt:lpstr>
      <vt:lpstr>Calibri</vt:lpstr>
      <vt:lpstr>Cambria Math</vt:lpstr>
      <vt:lpstr>Times New Roman</vt:lpstr>
      <vt:lpstr>Wingdings</vt:lpstr>
      <vt:lpstr>Wingdings 2</vt:lpstr>
      <vt:lpstr>Office Theme</vt:lpstr>
      <vt:lpstr>think-cell Slide</vt:lpstr>
      <vt:lpstr>Национальный проект «Производительность труда  и поддержка занятости»</vt:lpstr>
      <vt:lpstr>Презентация PowerPoint</vt:lpstr>
      <vt:lpstr>В составе национального проекта три федеральных проекта</vt:lpstr>
      <vt:lpstr>В 2019 году в национальном проекте участвуют 36 субъектов РФ,  с 2020 к реализации национального проекта присоединятся еще не менее 14</vt:lpstr>
      <vt:lpstr>Бюджет национального проекта в 2019 году – более 7 млрд рублей</vt:lpstr>
      <vt:lpstr>Обучим 3200+ руководителей предприятий и служб занятости населения  навыкам управления в условиях изменений в 2019 году</vt:lpstr>
      <vt:lpstr>Барьеры для производительности труда будут снижены</vt:lpstr>
      <vt:lpstr>300 предприятий получат поддержку выхода на экспорт в 2019 году</vt:lpstr>
      <vt:lpstr>Финансовые меры поддержки – реализована программа льготных займов ФРП по ставке 1%</vt:lpstr>
      <vt:lpstr>Финансовые меры поддержи – предлагаются льготные кредиты МСП по ставке до 8,5%</vt:lpstr>
      <vt:lpstr>Финансовые меры поддержи – расширен перечень налоговых льгот</vt:lpstr>
      <vt:lpstr>Обмен опытом с партнерами из Японии, Германии и Франции</vt:lpstr>
      <vt:lpstr>Работа на предприятиях – Федеральный центр компетенций работает  на 180+ предприятиях </vt:lpstr>
      <vt:lpstr>Подход по работе с предприятиями в регионе: 1 предприятие = 3 месяца = 2 эксперта </vt:lpstr>
      <vt:lpstr>Пример проекта ФЦК на предприятии – ООО «Аэрозоль Новомосковск», Тульская область</vt:lpstr>
      <vt:lpstr>Работа на предприятиях – РЦК, партнеры, консультанты</vt:lpstr>
      <vt:lpstr>Возможность обучить работников предприятий – 18 400+ человек в 2019 году,  почти 2000 уже приступили к обучению </vt:lpstr>
      <vt:lpstr>Создается новая служба занятости населения – современная и проактивная,  в 2019 году – пилотные проекты</vt:lpstr>
      <vt:lpstr>Приложения</vt:lpstr>
      <vt:lpstr>Программа курса обучения управленческих кадров</vt:lpstr>
      <vt:lpstr>Рекомендации по обучению в федеральном проекте «Поддержка занятости»</vt:lpstr>
      <vt:lpstr>Дополнительно – частые вопросы</vt:lpstr>
      <vt:lpstr>В чем преимущества участия для регионов?</vt:lpstr>
      <vt:lpstr>В чем преимущества участия для предприятий?</vt:lpstr>
      <vt:lpstr>В чем разница между обучением в федеральных проектах?</vt:lpstr>
      <vt:lpstr>Презентация PowerPoint</vt:lpstr>
      <vt:lpstr>Какие соглашения требуется заключить субъектам РФ?</vt:lpstr>
      <vt:lpstr>Какие соглашения требуется заключить предприятиям?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иоритетная программа «Повышение производительности труда и поддержка занятости»</dc:title>
  <dc:creator>PC User</dc:creator>
  <cp:lastModifiedBy>2g</cp:lastModifiedBy>
  <cp:revision>527</cp:revision>
  <cp:lastPrinted>2019-06-28T14:37:15Z</cp:lastPrinted>
  <dcterms:created xsi:type="dcterms:W3CDTF">2016-12-12T14:47:23Z</dcterms:created>
  <dcterms:modified xsi:type="dcterms:W3CDTF">2019-08-01T02:56:54Z</dcterms:modified>
</cp:coreProperties>
</file>